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diagrams/quickStyle2.xml" ContentType="application/vnd.openxmlformats-officedocument.drawingml.diagramStyl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Default Extension="wav" ContentType="audio/wav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Default Extension="vml" ContentType="application/vnd.openxmlformats-officedocument.vmlDrawing"/>
  <Default Extension="gif" ContentType="image/gif"/>
  <Override PartName="/ppt/diagrams/layout2.xml" ContentType="application/vnd.openxmlformats-officedocument.drawingml.diagramLayout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diagrams/colors2.xml" ContentType="application/vnd.openxmlformats-officedocument.drawingml.diagramColor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diagrams/quickStyle1.xml" ContentType="application/vnd.openxmlformats-officedocument.drawingml.diagramStyle+xml"/>
  <Override PartName="/ppt/tags/tag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sldIdLst>
    <p:sldId id="274" r:id="rId2"/>
    <p:sldId id="275" r:id="rId3"/>
    <p:sldId id="314" r:id="rId4"/>
    <p:sldId id="280" r:id="rId5"/>
    <p:sldId id="315" r:id="rId6"/>
    <p:sldId id="319" r:id="rId7"/>
    <p:sldId id="320" r:id="rId8"/>
    <p:sldId id="322" r:id="rId9"/>
    <p:sldId id="330" r:id="rId10"/>
    <p:sldId id="331" r:id="rId11"/>
    <p:sldId id="333" r:id="rId12"/>
    <p:sldId id="334" r:id="rId13"/>
    <p:sldId id="335" r:id="rId14"/>
    <p:sldId id="358" r:id="rId15"/>
    <p:sldId id="353" r:id="rId16"/>
    <p:sldId id="345" r:id="rId17"/>
    <p:sldId id="354" r:id="rId18"/>
    <p:sldId id="359" r:id="rId19"/>
    <p:sldId id="337" r:id="rId20"/>
    <p:sldId id="360" r:id="rId21"/>
    <p:sldId id="342" r:id="rId22"/>
    <p:sldId id="355" r:id="rId23"/>
    <p:sldId id="357" r:id="rId24"/>
  </p:sldIdLst>
  <p:sldSz cx="9906000" cy="6858000" type="A4"/>
  <p:notesSz cx="6858000" cy="9144000"/>
  <p:defaultTextStyle>
    <a:defPPr>
      <a:defRPr lang="en-US"/>
    </a:defPPr>
    <a:lvl1pPr marL="0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48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96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45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92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40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88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36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184" algn="l" defTabSz="91429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990000"/>
    <a:srgbClr val="CC00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4660"/>
  </p:normalViewPr>
  <p:slideViewPr>
    <p:cSldViewPr>
      <p:cViewPr varScale="1">
        <p:scale>
          <a:sx n="73" d="100"/>
          <a:sy n="73" d="100"/>
        </p:scale>
        <p:origin x="-252" y="-102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209A459-8710-4BBB-9025-8C70EE5AE1C4}" type="doc">
      <dgm:prSet loTypeId="urn:microsoft.com/office/officeart/2005/8/layout/venn1" loCatId="relationship" qsTypeId="urn:microsoft.com/office/officeart/2005/8/quickstyle/3d2" qsCatId="3D" csTypeId="urn:microsoft.com/office/officeart/2005/8/colors/colorful4" csCatId="colorful" phldr="1"/>
      <dgm:spPr/>
    </dgm:pt>
    <dgm:pt modelId="{7F806AF4-FE3E-4052-8D15-3D630348FC79}">
      <dgm:prSet phldrT="[Text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2400" b="1" u="sng" dirty="0" smtClean="0"/>
            <a:t>History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600" dirty="0" smtClean="0"/>
            <a:t>East-West Trade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600" dirty="0" smtClean="0"/>
            <a:t>Child of the Cold War</a:t>
          </a:r>
          <a:endParaRPr lang="en-US" sz="1600" dirty="0"/>
        </a:p>
      </dgm:t>
    </dgm:pt>
    <dgm:pt modelId="{168E317A-D05B-4CF5-82AA-875C04C6206A}" type="parTrans" cxnId="{383477CF-8AD3-46D1-B97F-72AA1948A87B}">
      <dgm:prSet/>
      <dgm:spPr/>
      <dgm:t>
        <a:bodyPr/>
        <a:lstStyle/>
        <a:p>
          <a:endParaRPr lang="en-US"/>
        </a:p>
      </dgm:t>
    </dgm:pt>
    <dgm:pt modelId="{ABD19EF7-C67B-4F41-86D0-4FD6C6CAA72B}" type="sibTrans" cxnId="{383477CF-8AD3-46D1-B97F-72AA1948A87B}">
      <dgm:prSet/>
      <dgm:spPr/>
      <dgm:t>
        <a:bodyPr/>
        <a:lstStyle/>
        <a:p>
          <a:endParaRPr lang="en-US"/>
        </a:p>
      </dgm:t>
    </dgm:pt>
    <dgm:pt modelId="{2D7FD1DA-7F45-421E-9B33-0A370404872D}">
      <dgm:prSet phldrT="[Text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2400" b="1" u="sng" dirty="0" smtClean="0"/>
            <a:t>Markets</a:t>
          </a:r>
          <a:endParaRPr lang="en-US" sz="2400" b="0" u="none" dirty="0" smtClean="0"/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600" b="0" u="none" dirty="0" smtClean="0"/>
            <a:t>Primary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600" b="0" u="none" dirty="0" smtClean="0"/>
            <a:t>Secondary</a:t>
          </a:r>
          <a:endParaRPr lang="en-US" sz="1600" b="1" u="sng" dirty="0"/>
        </a:p>
      </dgm:t>
    </dgm:pt>
    <dgm:pt modelId="{E370757B-FC1E-4F32-83A4-7D59591CB763}" type="parTrans" cxnId="{49A82B47-2D50-4984-9588-A5E89F332754}">
      <dgm:prSet/>
      <dgm:spPr/>
      <dgm:t>
        <a:bodyPr/>
        <a:lstStyle/>
        <a:p>
          <a:endParaRPr lang="en-US"/>
        </a:p>
      </dgm:t>
    </dgm:pt>
    <dgm:pt modelId="{99912BFF-D579-41AA-9188-240C6469B666}" type="sibTrans" cxnId="{49A82B47-2D50-4984-9588-A5E89F332754}">
      <dgm:prSet/>
      <dgm:spPr/>
      <dgm:t>
        <a:bodyPr/>
        <a:lstStyle/>
        <a:p>
          <a:endParaRPr lang="en-US"/>
        </a:p>
      </dgm:t>
    </dgm:pt>
    <dgm:pt modelId="{EFA4AB2D-9896-4002-995C-6B73D9C900AF}">
      <dgm:prSet phldrT="[Text]" custT="1"/>
      <dgm:spPr/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en-US" sz="2400" b="1" u="sng" dirty="0" smtClean="0"/>
            <a:t>Centers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600" dirty="0" smtClean="0"/>
            <a:t>London,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600" dirty="0" smtClean="0"/>
            <a:t>Zurich,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600" dirty="0" smtClean="0"/>
            <a:t>New York,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600" dirty="0" smtClean="0"/>
            <a:t>Singapore, 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en-US" sz="1600" dirty="0" smtClean="0"/>
            <a:t>Gulf Region</a:t>
          </a:r>
          <a:endParaRPr lang="en-US" sz="1600" dirty="0"/>
        </a:p>
      </dgm:t>
    </dgm:pt>
    <dgm:pt modelId="{31768241-A8A1-481C-B656-BE6CB4F47AC9}" type="parTrans" cxnId="{69864E08-0E24-48D4-9EAB-C01607418076}">
      <dgm:prSet/>
      <dgm:spPr/>
      <dgm:t>
        <a:bodyPr/>
        <a:lstStyle/>
        <a:p>
          <a:endParaRPr lang="en-US"/>
        </a:p>
      </dgm:t>
    </dgm:pt>
    <dgm:pt modelId="{3A20D503-EB50-4AA2-88C3-A3D62347AD35}" type="sibTrans" cxnId="{69864E08-0E24-48D4-9EAB-C01607418076}">
      <dgm:prSet/>
      <dgm:spPr/>
      <dgm:t>
        <a:bodyPr/>
        <a:lstStyle/>
        <a:p>
          <a:endParaRPr lang="en-US"/>
        </a:p>
      </dgm:t>
    </dgm:pt>
    <dgm:pt modelId="{D02661D9-8B36-40EA-AB16-30E7BADA319F}" type="pres">
      <dgm:prSet presAssocID="{E209A459-8710-4BBB-9025-8C70EE5AE1C4}" presName="compositeShape" presStyleCnt="0">
        <dgm:presLayoutVars>
          <dgm:chMax val="7"/>
          <dgm:dir/>
          <dgm:resizeHandles val="exact"/>
        </dgm:presLayoutVars>
      </dgm:prSet>
      <dgm:spPr/>
    </dgm:pt>
    <dgm:pt modelId="{0E57B40D-ACEB-4646-8906-32EFE3FEFEC2}" type="pres">
      <dgm:prSet presAssocID="{7F806AF4-FE3E-4052-8D15-3D630348FC79}" presName="circ1" presStyleLbl="vennNode1" presStyleIdx="0" presStyleCnt="3"/>
      <dgm:spPr/>
      <dgm:t>
        <a:bodyPr/>
        <a:lstStyle/>
        <a:p>
          <a:endParaRPr lang="en-US"/>
        </a:p>
      </dgm:t>
    </dgm:pt>
    <dgm:pt modelId="{30656E4C-3DFD-48EC-BDD6-FC8FD6A97288}" type="pres">
      <dgm:prSet presAssocID="{7F806AF4-FE3E-4052-8D15-3D630348FC79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D47D30-3EE7-4A51-BD09-B721747255D3}" type="pres">
      <dgm:prSet presAssocID="{2D7FD1DA-7F45-421E-9B33-0A370404872D}" presName="circ2" presStyleLbl="vennNode1" presStyleIdx="1" presStyleCnt="3"/>
      <dgm:spPr/>
      <dgm:t>
        <a:bodyPr/>
        <a:lstStyle/>
        <a:p>
          <a:endParaRPr lang="en-US"/>
        </a:p>
      </dgm:t>
    </dgm:pt>
    <dgm:pt modelId="{7C652FBA-8A7F-4A45-910D-294B9B9FC22B}" type="pres">
      <dgm:prSet presAssocID="{2D7FD1DA-7F45-421E-9B33-0A370404872D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1C1D68A-91D2-44BF-AB04-B1AD422080FF}" type="pres">
      <dgm:prSet presAssocID="{EFA4AB2D-9896-4002-995C-6B73D9C900AF}" presName="circ3" presStyleLbl="vennNode1" presStyleIdx="2" presStyleCnt="3"/>
      <dgm:spPr/>
      <dgm:t>
        <a:bodyPr/>
        <a:lstStyle/>
        <a:p>
          <a:endParaRPr lang="en-US"/>
        </a:p>
      </dgm:t>
    </dgm:pt>
    <dgm:pt modelId="{4521CC6D-EFEF-42A8-9E15-38978AB7E4D8}" type="pres">
      <dgm:prSet presAssocID="{EFA4AB2D-9896-4002-995C-6B73D9C900AF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9A82B47-2D50-4984-9588-A5E89F332754}" srcId="{E209A459-8710-4BBB-9025-8C70EE5AE1C4}" destId="{2D7FD1DA-7F45-421E-9B33-0A370404872D}" srcOrd="1" destOrd="0" parTransId="{E370757B-FC1E-4F32-83A4-7D59591CB763}" sibTransId="{99912BFF-D579-41AA-9188-240C6469B666}"/>
    <dgm:cxn modelId="{69864E08-0E24-48D4-9EAB-C01607418076}" srcId="{E209A459-8710-4BBB-9025-8C70EE5AE1C4}" destId="{EFA4AB2D-9896-4002-995C-6B73D9C900AF}" srcOrd="2" destOrd="0" parTransId="{31768241-A8A1-481C-B656-BE6CB4F47AC9}" sibTransId="{3A20D503-EB50-4AA2-88C3-A3D62347AD35}"/>
    <dgm:cxn modelId="{17EB3917-3526-4151-B55F-1609A0598164}" type="presOf" srcId="{EFA4AB2D-9896-4002-995C-6B73D9C900AF}" destId="{4521CC6D-EFEF-42A8-9E15-38978AB7E4D8}" srcOrd="1" destOrd="0" presId="urn:microsoft.com/office/officeart/2005/8/layout/venn1"/>
    <dgm:cxn modelId="{383477CF-8AD3-46D1-B97F-72AA1948A87B}" srcId="{E209A459-8710-4BBB-9025-8C70EE5AE1C4}" destId="{7F806AF4-FE3E-4052-8D15-3D630348FC79}" srcOrd="0" destOrd="0" parTransId="{168E317A-D05B-4CF5-82AA-875C04C6206A}" sibTransId="{ABD19EF7-C67B-4F41-86D0-4FD6C6CAA72B}"/>
    <dgm:cxn modelId="{FF6E6CBC-B0AC-404C-A84A-059E9E96010D}" type="presOf" srcId="{EFA4AB2D-9896-4002-995C-6B73D9C900AF}" destId="{31C1D68A-91D2-44BF-AB04-B1AD422080FF}" srcOrd="0" destOrd="0" presId="urn:microsoft.com/office/officeart/2005/8/layout/venn1"/>
    <dgm:cxn modelId="{0B8AA54A-6C51-44B1-BBA3-92B30B832E9D}" type="presOf" srcId="{2D7FD1DA-7F45-421E-9B33-0A370404872D}" destId="{7C652FBA-8A7F-4A45-910D-294B9B9FC22B}" srcOrd="1" destOrd="0" presId="urn:microsoft.com/office/officeart/2005/8/layout/venn1"/>
    <dgm:cxn modelId="{227ABCAE-0673-47DC-BABD-F9C12311ABA8}" type="presOf" srcId="{E209A459-8710-4BBB-9025-8C70EE5AE1C4}" destId="{D02661D9-8B36-40EA-AB16-30E7BADA319F}" srcOrd="0" destOrd="0" presId="urn:microsoft.com/office/officeart/2005/8/layout/venn1"/>
    <dgm:cxn modelId="{7E559110-B5FE-49B5-8383-13ED5184AA2A}" type="presOf" srcId="{7F806AF4-FE3E-4052-8D15-3D630348FC79}" destId="{0E57B40D-ACEB-4646-8906-32EFE3FEFEC2}" srcOrd="0" destOrd="0" presId="urn:microsoft.com/office/officeart/2005/8/layout/venn1"/>
    <dgm:cxn modelId="{71322050-9ADE-4D58-BCCA-2E0F5D86D70B}" type="presOf" srcId="{2D7FD1DA-7F45-421E-9B33-0A370404872D}" destId="{82D47D30-3EE7-4A51-BD09-B721747255D3}" srcOrd="0" destOrd="0" presId="urn:microsoft.com/office/officeart/2005/8/layout/venn1"/>
    <dgm:cxn modelId="{9AFED73D-562F-4727-A536-D6D88E4F0DA3}" type="presOf" srcId="{7F806AF4-FE3E-4052-8D15-3D630348FC79}" destId="{30656E4C-3DFD-48EC-BDD6-FC8FD6A97288}" srcOrd="1" destOrd="0" presId="urn:microsoft.com/office/officeart/2005/8/layout/venn1"/>
    <dgm:cxn modelId="{F17FAB21-F3D8-461E-A2BE-B69C19687E32}" type="presParOf" srcId="{D02661D9-8B36-40EA-AB16-30E7BADA319F}" destId="{0E57B40D-ACEB-4646-8906-32EFE3FEFEC2}" srcOrd="0" destOrd="0" presId="urn:microsoft.com/office/officeart/2005/8/layout/venn1"/>
    <dgm:cxn modelId="{FD166BF4-8199-4AD5-BB0D-F5ED21EAE74E}" type="presParOf" srcId="{D02661D9-8B36-40EA-AB16-30E7BADA319F}" destId="{30656E4C-3DFD-48EC-BDD6-FC8FD6A97288}" srcOrd="1" destOrd="0" presId="urn:microsoft.com/office/officeart/2005/8/layout/venn1"/>
    <dgm:cxn modelId="{53122ABF-F480-4E1E-9CEA-3D80ED9698FF}" type="presParOf" srcId="{D02661D9-8B36-40EA-AB16-30E7BADA319F}" destId="{82D47D30-3EE7-4A51-BD09-B721747255D3}" srcOrd="2" destOrd="0" presId="urn:microsoft.com/office/officeart/2005/8/layout/venn1"/>
    <dgm:cxn modelId="{9658B190-8A91-4E5C-9B85-87F294D694D7}" type="presParOf" srcId="{D02661D9-8B36-40EA-AB16-30E7BADA319F}" destId="{7C652FBA-8A7F-4A45-910D-294B9B9FC22B}" srcOrd="3" destOrd="0" presId="urn:microsoft.com/office/officeart/2005/8/layout/venn1"/>
    <dgm:cxn modelId="{9998DB02-A09E-42BD-B523-0BB1973C55E5}" type="presParOf" srcId="{D02661D9-8B36-40EA-AB16-30E7BADA319F}" destId="{31C1D68A-91D2-44BF-AB04-B1AD422080FF}" srcOrd="4" destOrd="0" presId="urn:microsoft.com/office/officeart/2005/8/layout/venn1"/>
    <dgm:cxn modelId="{56B0E725-699A-4875-BA94-BF466CA3D211}" type="presParOf" srcId="{D02661D9-8B36-40EA-AB16-30E7BADA319F}" destId="{4521CC6D-EFEF-42A8-9E15-38978AB7E4D8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AEC621D-5DC0-48A8-80E0-0240807F145A}" type="doc">
      <dgm:prSet loTypeId="urn:microsoft.com/office/officeart/2005/8/layout/hChevron3" loCatId="process" qsTypeId="urn:microsoft.com/office/officeart/2005/8/quickstyle/simple1" qsCatId="simple" csTypeId="urn:microsoft.com/office/officeart/2005/8/colors/colorful1" csCatId="colorful" phldr="1"/>
      <dgm:spPr/>
    </dgm:pt>
    <dgm:pt modelId="{0A7ABAB4-7D76-498A-9359-DCE9000C61B1}">
      <dgm:prSet phldrT="[Text]" custT="1">
        <dgm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dgm:style>
      </dgm:prSet>
      <dgm:spPr>
        <a:solidFill>
          <a:schemeClr val="tx2"/>
        </a:solidFill>
      </dgm:spPr>
      <dgm:t>
        <a:bodyPr/>
        <a:lstStyle/>
        <a:p>
          <a:pPr marL="360363" indent="0" algn="l"/>
          <a:r>
            <a:rPr lang="en-US" sz="1800" b="1" u="sng" dirty="0" smtClean="0"/>
            <a:t>Originating</a:t>
          </a:r>
          <a:r>
            <a:rPr lang="en-US" sz="1800" dirty="0" smtClean="0"/>
            <a:t> </a:t>
          </a:r>
        </a:p>
        <a:p>
          <a:pPr marL="360363" indent="0" algn="l"/>
          <a:r>
            <a:rPr lang="en-US" sz="1800" dirty="0" smtClean="0"/>
            <a:t>the assets</a:t>
          </a:r>
          <a:endParaRPr lang="en-US" sz="1800" dirty="0"/>
        </a:p>
      </dgm:t>
    </dgm:pt>
    <dgm:pt modelId="{F3610DAF-49BD-41B6-B5FC-EF8AFE28009E}" type="parTrans" cxnId="{B1EB2F6D-A40C-41A4-9773-44910033F086}">
      <dgm:prSet/>
      <dgm:spPr/>
      <dgm:t>
        <a:bodyPr/>
        <a:lstStyle/>
        <a:p>
          <a:endParaRPr lang="en-US"/>
        </a:p>
      </dgm:t>
    </dgm:pt>
    <dgm:pt modelId="{37FC21FD-6A61-4F5B-8C17-9CA3CFD49ED5}" type="sibTrans" cxnId="{B1EB2F6D-A40C-41A4-9773-44910033F086}">
      <dgm:prSet/>
      <dgm:spPr/>
      <dgm:t>
        <a:bodyPr/>
        <a:lstStyle/>
        <a:p>
          <a:endParaRPr lang="en-US"/>
        </a:p>
      </dgm:t>
    </dgm:pt>
    <dgm:pt modelId="{050A7DC2-C45B-419D-8BA9-4A3C286D54ED}">
      <dgm:prSet phldrT="[Text]" custT="1">
        <dgm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dgm:style>
      </dgm:prSet>
      <dgm:spPr>
        <a:solidFill>
          <a:srgbClr val="00B0F0"/>
        </a:solidFill>
      </dgm:spPr>
      <dgm:t>
        <a:bodyPr/>
        <a:lstStyle/>
        <a:p>
          <a:pPr marL="360363" indent="0" algn="l"/>
          <a:r>
            <a:rPr lang="en-US" sz="1800" b="1" u="sng" dirty="0" smtClean="0">
              <a:solidFill>
                <a:schemeClr val="tx1"/>
              </a:solidFill>
            </a:rPr>
            <a:t>Structuring </a:t>
          </a:r>
        </a:p>
        <a:p>
          <a:pPr marL="360363" indent="0" algn="l"/>
          <a:r>
            <a:rPr lang="en-US" sz="1800" dirty="0" smtClean="0">
              <a:solidFill>
                <a:schemeClr val="tx1"/>
              </a:solidFill>
            </a:rPr>
            <a:t>the transaction</a:t>
          </a:r>
          <a:endParaRPr lang="en-US" sz="1800" dirty="0">
            <a:solidFill>
              <a:schemeClr val="tx1"/>
            </a:solidFill>
          </a:endParaRPr>
        </a:p>
      </dgm:t>
    </dgm:pt>
    <dgm:pt modelId="{24F0A568-B8D8-4A25-8D16-4E807989D19C}" type="parTrans" cxnId="{20C26000-3E6E-4926-8AC9-A8425FE17AC4}">
      <dgm:prSet/>
      <dgm:spPr/>
      <dgm:t>
        <a:bodyPr/>
        <a:lstStyle/>
        <a:p>
          <a:endParaRPr lang="en-US"/>
        </a:p>
      </dgm:t>
    </dgm:pt>
    <dgm:pt modelId="{9EF3966F-EC36-4633-8A21-7C31FFCE212E}" type="sibTrans" cxnId="{20C26000-3E6E-4926-8AC9-A8425FE17AC4}">
      <dgm:prSet/>
      <dgm:spPr/>
      <dgm:t>
        <a:bodyPr/>
        <a:lstStyle/>
        <a:p>
          <a:endParaRPr lang="en-US"/>
        </a:p>
      </dgm:t>
    </dgm:pt>
    <dgm:pt modelId="{B2EDDA35-30D7-4EA6-9689-E26C16BC1071}">
      <dgm:prSet phldrT="[Text]" custT="1">
        <dgm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dgm:style>
      </dgm:prSet>
      <dgm:spPr/>
      <dgm:t>
        <a:bodyPr/>
        <a:lstStyle/>
        <a:p>
          <a:pPr marL="360363" indent="0" algn="l">
            <a:lnSpc>
              <a:spcPct val="100000"/>
            </a:lnSpc>
            <a:spcAft>
              <a:spcPts val="0"/>
            </a:spcAft>
          </a:pPr>
          <a:r>
            <a:rPr lang="en-US" sz="1800" b="1" u="sng" dirty="0" smtClean="0"/>
            <a:t>Identify </a:t>
          </a:r>
        </a:p>
        <a:p>
          <a:pPr marL="360363" indent="0" algn="l">
            <a:lnSpc>
              <a:spcPct val="100000"/>
            </a:lnSpc>
            <a:spcAft>
              <a:spcPts val="0"/>
            </a:spcAft>
          </a:pPr>
          <a:r>
            <a:rPr lang="en-US" sz="1800" dirty="0" smtClean="0"/>
            <a:t>Buyers / Investors</a:t>
          </a:r>
        </a:p>
      </dgm:t>
    </dgm:pt>
    <dgm:pt modelId="{CBDB6A4F-2A4F-412C-92E1-78A1B9C2932F}" type="parTrans" cxnId="{A2F54CFB-66CD-4B65-AB2D-DFED6801D525}">
      <dgm:prSet/>
      <dgm:spPr/>
      <dgm:t>
        <a:bodyPr/>
        <a:lstStyle/>
        <a:p>
          <a:endParaRPr lang="en-US"/>
        </a:p>
      </dgm:t>
    </dgm:pt>
    <dgm:pt modelId="{6E7D9CCE-97A2-4EC9-8CE8-4EFB954FD8F1}" type="sibTrans" cxnId="{A2F54CFB-66CD-4B65-AB2D-DFED6801D525}">
      <dgm:prSet/>
      <dgm:spPr/>
      <dgm:t>
        <a:bodyPr/>
        <a:lstStyle/>
        <a:p>
          <a:endParaRPr lang="en-US"/>
        </a:p>
      </dgm:t>
    </dgm:pt>
    <dgm:pt modelId="{53E1F8D2-C6EF-47F8-B0AD-53870352B719}" type="pres">
      <dgm:prSet presAssocID="{9AEC621D-5DC0-48A8-80E0-0240807F145A}" presName="Name0" presStyleCnt="0">
        <dgm:presLayoutVars>
          <dgm:dir/>
          <dgm:resizeHandles val="exact"/>
        </dgm:presLayoutVars>
      </dgm:prSet>
      <dgm:spPr/>
    </dgm:pt>
    <dgm:pt modelId="{FF9700AA-50A8-409A-8E0B-F4213447590C}" type="pres">
      <dgm:prSet presAssocID="{0A7ABAB4-7D76-498A-9359-DCE9000C61B1}" presName="parTxOnly" presStyleLbl="node1" presStyleIdx="0" presStyleCnt="3" custLinFactNeighborX="-1789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9AF06ED-27E6-45B5-9889-97E97F754347}" type="pres">
      <dgm:prSet presAssocID="{37FC21FD-6A61-4F5B-8C17-9CA3CFD49ED5}" presName="parSpace" presStyleCnt="0"/>
      <dgm:spPr/>
    </dgm:pt>
    <dgm:pt modelId="{150BDDCF-F865-442D-9F88-B51D0DF03769}" type="pres">
      <dgm:prSet presAssocID="{050A7DC2-C45B-419D-8BA9-4A3C286D54ED}" presName="parTxOnly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48885B5-74E9-4FFE-8FA7-BD0164139FD0}" type="pres">
      <dgm:prSet presAssocID="{9EF3966F-EC36-4633-8A21-7C31FFCE212E}" presName="parSpace" presStyleCnt="0"/>
      <dgm:spPr/>
    </dgm:pt>
    <dgm:pt modelId="{D12ABF7E-83FE-4FA4-9B17-7744708454BC}" type="pres">
      <dgm:prSet presAssocID="{B2EDDA35-30D7-4EA6-9689-E26C16BC1071}" presName="parTxOnly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0C26000-3E6E-4926-8AC9-A8425FE17AC4}" srcId="{9AEC621D-5DC0-48A8-80E0-0240807F145A}" destId="{050A7DC2-C45B-419D-8BA9-4A3C286D54ED}" srcOrd="1" destOrd="0" parTransId="{24F0A568-B8D8-4A25-8D16-4E807989D19C}" sibTransId="{9EF3966F-EC36-4633-8A21-7C31FFCE212E}"/>
    <dgm:cxn modelId="{630ACF5E-FDC7-4AE7-9475-028D88FA159A}" type="presOf" srcId="{9AEC621D-5DC0-48A8-80E0-0240807F145A}" destId="{53E1F8D2-C6EF-47F8-B0AD-53870352B719}" srcOrd="0" destOrd="0" presId="urn:microsoft.com/office/officeart/2005/8/layout/hChevron3"/>
    <dgm:cxn modelId="{F9ED7B22-BA54-4560-9572-93FAE617AF60}" type="presOf" srcId="{0A7ABAB4-7D76-498A-9359-DCE9000C61B1}" destId="{FF9700AA-50A8-409A-8E0B-F4213447590C}" srcOrd="0" destOrd="0" presId="urn:microsoft.com/office/officeart/2005/8/layout/hChevron3"/>
    <dgm:cxn modelId="{B1EB2F6D-A40C-41A4-9773-44910033F086}" srcId="{9AEC621D-5DC0-48A8-80E0-0240807F145A}" destId="{0A7ABAB4-7D76-498A-9359-DCE9000C61B1}" srcOrd="0" destOrd="0" parTransId="{F3610DAF-49BD-41B6-B5FC-EF8AFE28009E}" sibTransId="{37FC21FD-6A61-4F5B-8C17-9CA3CFD49ED5}"/>
    <dgm:cxn modelId="{B8F380CD-6F60-4E5D-AD08-03911148CAB4}" type="presOf" srcId="{B2EDDA35-30D7-4EA6-9689-E26C16BC1071}" destId="{D12ABF7E-83FE-4FA4-9B17-7744708454BC}" srcOrd="0" destOrd="0" presId="urn:microsoft.com/office/officeart/2005/8/layout/hChevron3"/>
    <dgm:cxn modelId="{1896D787-D06D-4904-9769-3184253C53EF}" type="presOf" srcId="{050A7DC2-C45B-419D-8BA9-4A3C286D54ED}" destId="{150BDDCF-F865-442D-9F88-B51D0DF03769}" srcOrd="0" destOrd="0" presId="urn:microsoft.com/office/officeart/2005/8/layout/hChevron3"/>
    <dgm:cxn modelId="{A2F54CFB-66CD-4B65-AB2D-DFED6801D525}" srcId="{9AEC621D-5DC0-48A8-80E0-0240807F145A}" destId="{B2EDDA35-30D7-4EA6-9689-E26C16BC1071}" srcOrd="2" destOrd="0" parTransId="{CBDB6A4F-2A4F-412C-92E1-78A1B9C2932F}" sibTransId="{6E7D9CCE-97A2-4EC9-8CE8-4EFB954FD8F1}"/>
    <dgm:cxn modelId="{CE335B05-F2BD-49B0-BB48-5089D81D279A}" type="presParOf" srcId="{53E1F8D2-C6EF-47F8-B0AD-53870352B719}" destId="{FF9700AA-50A8-409A-8E0B-F4213447590C}" srcOrd="0" destOrd="0" presId="urn:microsoft.com/office/officeart/2005/8/layout/hChevron3"/>
    <dgm:cxn modelId="{DC1630E7-77BC-436F-BBCD-8A8AD34AF158}" type="presParOf" srcId="{53E1F8D2-C6EF-47F8-B0AD-53870352B719}" destId="{F9AF06ED-27E6-45B5-9889-97E97F754347}" srcOrd="1" destOrd="0" presId="urn:microsoft.com/office/officeart/2005/8/layout/hChevron3"/>
    <dgm:cxn modelId="{EFA91DB0-0BB3-4C3D-9B7F-345814443B3E}" type="presParOf" srcId="{53E1F8D2-C6EF-47F8-B0AD-53870352B719}" destId="{150BDDCF-F865-442D-9F88-B51D0DF03769}" srcOrd="2" destOrd="0" presId="urn:microsoft.com/office/officeart/2005/8/layout/hChevron3"/>
    <dgm:cxn modelId="{643DB0C4-BE6D-4D56-B280-706D1A590BAC}" type="presParOf" srcId="{53E1F8D2-C6EF-47F8-B0AD-53870352B719}" destId="{F48885B5-74E9-4FFE-8FA7-BD0164139FD0}" srcOrd="3" destOrd="0" presId="urn:microsoft.com/office/officeart/2005/8/layout/hChevron3"/>
    <dgm:cxn modelId="{BDD8B828-865C-4509-82E2-628F5F2023B7}" type="presParOf" srcId="{53E1F8D2-C6EF-47F8-B0AD-53870352B719}" destId="{D12ABF7E-83FE-4FA4-9B17-7744708454BC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E57B40D-ACEB-4646-8906-32EFE3FEFEC2}">
      <dsp:nvSpPr>
        <dsp:cNvPr id="0" name=""/>
        <dsp:cNvSpPr/>
      </dsp:nvSpPr>
      <dsp:spPr>
        <a:xfrm>
          <a:off x="1281742" y="71107"/>
          <a:ext cx="3413179" cy="3413179"/>
        </a:xfrm>
        <a:prstGeom prst="ellipse">
          <a:avLst/>
        </a:prstGeom>
        <a:gradFill rotWithShape="0">
          <a:gsLst>
            <a:gs pos="0">
              <a:schemeClr val="accent4">
                <a:alpha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alpha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alpha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2400" b="1" u="sng" kern="1200" dirty="0" smtClean="0"/>
            <a:t>History</a:t>
          </a:r>
        </a:p>
        <a:p>
          <a:pPr lvl="0" algn="ctr" defTabSz="10668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600" kern="1200" dirty="0" smtClean="0"/>
            <a:t>East-West Trade</a:t>
          </a:r>
        </a:p>
        <a:p>
          <a:pPr lvl="0" algn="ctr" defTabSz="10668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600" kern="1200" dirty="0" smtClean="0"/>
            <a:t>Child of the Cold War</a:t>
          </a:r>
          <a:endParaRPr lang="en-US" sz="1600" kern="1200" dirty="0"/>
        </a:p>
      </dsp:txBody>
      <dsp:txXfrm>
        <a:off x="1736832" y="668414"/>
        <a:ext cx="2502998" cy="1535930"/>
      </dsp:txXfrm>
    </dsp:sp>
    <dsp:sp modelId="{82D47D30-3EE7-4A51-BD09-B721747255D3}">
      <dsp:nvSpPr>
        <dsp:cNvPr id="0" name=""/>
        <dsp:cNvSpPr/>
      </dsp:nvSpPr>
      <dsp:spPr>
        <a:xfrm>
          <a:off x="2513331" y="2204344"/>
          <a:ext cx="3413179" cy="3413179"/>
        </a:xfrm>
        <a:prstGeom prst="ellipse">
          <a:avLst/>
        </a:prstGeom>
        <a:gradFill rotWithShape="0">
          <a:gsLst>
            <a:gs pos="0">
              <a:schemeClr val="accent4">
                <a:alpha val="50000"/>
                <a:hueOff val="-2232385"/>
                <a:satOff val="13449"/>
                <a:lumOff val="1078"/>
                <a:alphaOff val="0"/>
                <a:shade val="51000"/>
                <a:satMod val="130000"/>
              </a:schemeClr>
            </a:gs>
            <a:gs pos="80000">
              <a:schemeClr val="accent4">
                <a:alpha val="50000"/>
                <a:hueOff val="-2232385"/>
                <a:satOff val="13449"/>
                <a:lumOff val="1078"/>
                <a:alphaOff val="0"/>
                <a:shade val="93000"/>
                <a:satMod val="130000"/>
              </a:schemeClr>
            </a:gs>
            <a:gs pos="100000">
              <a:schemeClr val="accent4">
                <a:alpha val="50000"/>
                <a:hueOff val="-2232385"/>
                <a:satOff val="13449"/>
                <a:lumOff val="107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2400" b="1" u="sng" kern="1200" dirty="0" smtClean="0"/>
            <a:t>Markets</a:t>
          </a:r>
          <a:endParaRPr lang="en-US" sz="2400" b="0" u="none" kern="1200" dirty="0" smtClean="0"/>
        </a:p>
        <a:p>
          <a:pPr lvl="0" algn="ctr" defTabSz="10668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600" b="0" u="none" kern="1200" dirty="0" smtClean="0"/>
            <a:t>Primary</a:t>
          </a:r>
        </a:p>
        <a:p>
          <a:pPr lvl="0" algn="ctr" defTabSz="10668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600" b="0" u="none" kern="1200" dirty="0" smtClean="0"/>
            <a:t>Secondary</a:t>
          </a:r>
          <a:endParaRPr lang="en-US" sz="1600" b="1" u="sng" kern="1200" dirty="0"/>
        </a:p>
      </dsp:txBody>
      <dsp:txXfrm>
        <a:off x="3557195" y="3086082"/>
        <a:ext cx="2047907" cy="1877248"/>
      </dsp:txXfrm>
    </dsp:sp>
    <dsp:sp modelId="{31C1D68A-91D2-44BF-AB04-B1AD422080FF}">
      <dsp:nvSpPr>
        <dsp:cNvPr id="0" name=""/>
        <dsp:cNvSpPr/>
      </dsp:nvSpPr>
      <dsp:spPr>
        <a:xfrm>
          <a:off x="50153" y="2204344"/>
          <a:ext cx="3413179" cy="3413179"/>
        </a:xfrm>
        <a:prstGeom prst="ellipse">
          <a:avLst/>
        </a:prstGeom>
        <a:gradFill rotWithShape="0">
          <a:gsLst>
            <a:gs pos="0">
              <a:schemeClr val="accent4">
                <a:alpha val="50000"/>
                <a:hueOff val="-4464770"/>
                <a:satOff val="26899"/>
                <a:lumOff val="2156"/>
                <a:alphaOff val="0"/>
                <a:shade val="51000"/>
                <a:satMod val="130000"/>
              </a:schemeClr>
            </a:gs>
            <a:gs pos="80000">
              <a:schemeClr val="accent4">
                <a:alpha val="50000"/>
                <a:hueOff val="-4464770"/>
                <a:satOff val="26899"/>
                <a:lumOff val="2156"/>
                <a:alphaOff val="0"/>
                <a:shade val="93000"/>
                <a:satMod val="130000"/>
              </a:schemeClr>
            </a:gs>
            <a:gs pos="100000">
              <a:schemeClr val="accent4">
                <a:alpha val="50000"/>
                <a:hueOff val="-4464770"/>
                <a:satOff val="26899"/>
                <a:lumOff val="2156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2400" b="1" u="sng" kern="1200" dirty="0" smtClean="0"/>
            <a:t>Centers</a:t>
          </a:r>
        </a:p>
        <a:p>
          <a:pPr lvl="0" algn="ctr" defTabSz="10668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600" kern="1200" dirty="0" smtClean="0"/>
            <a:t>London, </a:t>
          </a:r>
        </a:p>
        <a:p>
          <a:pPr lvl="0" algn="ctr" defTabSz="10668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600" kern="1200" dirty="0" smtClean="0"/>
            <a:t>Zurich, </a:t>
          </a:r>
        </a:p>
        <a:p>
          <a:pPr lvl="0" algn="ctr" defTabSz="10668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600" kern="1200" dirty="0" smtClean="0"/>
            <a:t>New York, </a:t>
          </a:r>
        </a:p>
        <a:p>
          <a:pPr lvl="0" algn="ctr" defTabSz="10668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600" kern="1200" dirty="0" smtClean="0"/>
            <a:t>Singapore, </a:t>
          </a:r>
        </a:p>
        <a:p>
          <a:pPr lvl="0" algn="ctr" defTabSz="10668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600" kern="1200" dirty="0" smtClean="0"/>
            <a:t>Gulf Region</a:t>
          </a:r>
          <a:endParaRPr lang="en-US" sz="1600" kern="1200" dirty="0"/>
        </a:p>
      </dsp:txBody>
      <dsp:txXfrm>
        <a:off x="371561" y="3086082"/>
        <a:ext cx="2047907" cy="1877248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F9700AA-50A8-409A-8E0B-F4213447590C}">
      <dsp:nvSpPr>
        <dsp:cNvPr id="0" name=""/>
        <dsp:cNvSpPr/>
      </dsp:nvSpPr>
      <dsp:spPr>
        <a:xfrm>
          <a:off x="0" y="0"/>
          <a:ext cx="3707919" cy="977198"/>
        </a:xfrm>
        <a:prstGeom prst="homePlate">
          <a:avLst/>
        </a:prstGeom>
        <a:solidFill>
          <a:schemeClr val="tx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dsp:style>
      <dsp:txBody>
        <a:bodyPr spcFirstLastPara="0" vert="horz" wrap="square" lIns="96012" tIns="48006" rIns="24003" bIns="48006" numCol="1" spcCol="1270" anchor="ctr" anchorCtr="0">
          <a:noAutofit/>
        </a:bodyPr>
        <a:lstStyle/>
        <a:p>
          <a:pPr marL="360363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u="sng" kern="1200" dirty="0" smtClean="0"/>
            <a:t>Originating</a:t>
          </a:r>
          <a:r>
            <a:rPr lang="en-US" sz="1800" kern="1200" dirty="0" smtClean="0"/>
            <a:t> </a:t>
          </a:r>
        </a:p>
        <a:p>
          <a:pPr marL="360363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the assets</a:t>
          </a:r>
          <a:endParaRPr lang="en-US" sz="1800" kern="1200" dirty="0"/>
        </a:p>
      </dsp:txBody>
      <dsp:txXfrm>
        <a:off x="0" y="0"/>
        <a:ext cx="3707919" cy="977198"/>
      </dsp:txXfrm>
    </dsp:sp>
    <dsp:sp modelId="{150BDDCF-F865-442D-9F88-B51D0DF03769}">
      <dsp:nvSpPr>
        <dsp:cNvPr id="0" name=""/>
        <dsp:cNvSpPr/>
      </dsp:nvSpPr>
      <dsp:spPr>
        <a:xfrm>
          <a:off x="2970576" y="0"/>
          <a:ext cx="3707919" cy="977198"/>
        </a:xfrm>
        <a:prstGeom prst="chevron">
          <a:avLst/>
        </a:prstGeom>
        <a:solidFill>
          <a:srgbClr val="00B0F0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5"/>
        </a:lnRef>
        <a:fillRef idx="3">
          <a:schemeClr val="accent5"/>
        </a:fillRef>
        <a:effectRef idx="3">
          <a:schemeClr val="accent5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marL="360363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u="sng" kern="1200" dirty="0" smtClean="0">
              <a:solidFill>
                <a:schemeClr val="tx1"/>
              </a:solidFill>
            </a:rPr>
            <a:t>Structuring </a:t>
          </a:r>
        </a:p>
        <a:p>
          <a:pPr marL="360363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>
              <a:solidFill>
                <a:schemeClr val="tx1"/>
              </a:solidFill>
            </a:rPr>
            <a:t>the transaction</a:t>
          </a:r>
          <a:endParaRPr lang="en-US" sz="1800" kern="1200" dirty="0">
            <a:solidFill>
              <a:schemeClr val="tx1"/>
            </a:solidFill>
          </a:endParaRPr>
        </a:p>
      </dsp:txBody>
      <dsp:txXfrm>
        <a:off x="2970576" y="0"/>
        <a:ext cx="3707919" cy="977198"/>
      </dsp:txXfrm>
    </dsp:sp>
    <dsp:sp modelId="{D12ABF7E-83FE-4FA4-9B17-7744708454BC}">
      <dsp:nvSpPr>
        <dsp:cNvPr id="0" name=""/>
        <dsp:cNvSpPr/>
      </dsp:nvSpPr>
      <dsp:spPr>
        <a:xfrm>
          <a:off x="5936911" y="0"/>
          <a:ext cx="3707919" cy="977198"/>
        </a:xfrm>
        <a:prstGeom prst="chevron">
          <a:avLst/>
        </a:prstGeom>
        <a:gradFill rotWithShape="1">
          <a:gsLst>
            <a:gs pos="0">
              <a:schemeClr val="accent5">
                <a:shade val="51000"/>
                <a:satMod val="130000"/>
              </a:schemeClr>
            </a:gs>
            <a:gs pos="80000">
              <a:schemeClr val="accent5">
                <a:shade val="93000"/>
                <a:satMod val="130000"/>
              </a:schemeClr>
            </a:gs>
            <a:gs pos="100000">
              <a:schemeClr val="accent5"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hemeClr val="accent5"/>
        </a:lnRef>
        <a:fillRef idx="3">
          <a:schemeClr val="accent5"/>
        </a:fillRef>
        <a:effectRef idx="3">
          <a:schemeClr val="accent5"/>
        </a:effectRef>
        <a:fontRef idx="minor">
          <a:schemeClr val="lt1"/>
        </a:fontRef>
      </dsp:style>
      <dsp:txBody>
        <a:bodyPr spcFirstLastPara="0" vert="horz" wrap="square" lIns="72009" tIns="48006" rIns="24003" bIns="48006" numCol="1" spcCol="1270" anchor="ctr" anchorCtr="0">
          <a:noAutofit/>
        </a:bodyPr>
        <a:lstStyle/>
        <a:p>
          <a:pPr marL="360363" lvl="0" indent="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800" b="1" u="sng" kern="1200" dirty="0" smtClean="0"/>
            <a:t>Identify </a:t>
          </a:r>
        </a:p>
        <a:p>
          <a:pPr marL="360363" lvl="0" indent="0" algn="l" defTabSz="8001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en-US" sz="1800" kern="1200" dirty="0" smtClean="0"/>
            <a:t>Buyers / Investors</a:t>
          </a:r>
        </a:p>
      </dsp:txBody>
      <dsp:txXfrm>
        <a:off x="5936911" y="0"/>
        <a:ext cx="3707919" cy="97719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6E2232-C4A9-4637-B582-74A8841250EC}" type="datetimeFigureOut">
              <a:rPr lang="en-US" smtClean="0"/>
              <a:pPr/>
              <a:t>5/16/201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660E424-4FB8-4DE6-83F1-861FD7283DFF}" type="slidenum">
              <a:rPr lang="en-GB" smtClean="0"/>
              <a:pPr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48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96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45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92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40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88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36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84" algn="l" defTabSz="91429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7"/>
          <p:cNvSpPr txBox="1">
            <a:spLocks noGrp="1" noChangeArrowheads="1"/>
          </p:cNvSpPr>
          <p:nvPr/>
        </p:nvSpPr>
        <p:spPr bwMode="auto">
          <a:xfrm>
            <a:off x="5361267" y="8592273"/>
            <a:ext cx="794375" cy="258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990600" eaLnBrk="0" hangingPunct="0">
              <a:spcAft>
                <a:spcPct val="3000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-110" charset="-128"/>
              </a:defRPr>
            </a:lvl1pPr>
            <a:lvl2pPr marL="741363" indent="-284163" defTabSz="990600" eaLnBrk="0" hangingPunct="0">
              <a:spcAft>
                <a:spcPct val="3000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-110" charset="-128"/>
              </a:defRPr>
            </a:lvl2pPr>
            <a:lvl3pPr marL="1143000" indent="-230188" defTabSz="990600" eaLnBrk="0" hangingPunct="0">
              <a:spcAft>
                <a:spcPct val="3000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-110" charset="-128"/>
              </a:defRPr>
            </a:lvl3pPr>
            <a:lvl4pPr marL="1600200" indent="-228600" defTabSz="990600" eaLnBrk="0" hangingPunct="0">
              <a:spcAft>
                <a:spcPct val="3000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-110" charset="-128"/>
              </a:defRPr>
            </a:lvl4pPr>
            <a:lvl5pPr marL="2057400" indent="-228600" defTabSz="990600" eaLnBrk="0" hangingPunct="0">
              <a:spcAft>
                <a:spcPct val="3000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-110" charset="-128"/>
              </a:defRPr>
            </a:lvl5pPr>
            <a:lvl6pPr marL="2514600" indent="-228600" algn="ctr" defTabSz="99060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3CC"/>
              </a:buClr>
              <a:defRPr sz="1000">
                <a:solidFill>
                  <a:schemeClr val="tx1"/>
                </a:solidFill>
                <a:latin typeface="Arial" charset="0"/>
                <a:ea typeface="ＭＳ Ｐゴシック" pitchFamily="-110" charset="-128"/>
              </a:defRPr>
            </a:lvl6pPr>
            <a:lvl7pPr marL="2971800" indent="-228600" algn="ctr" defTabSz="99060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3CC"/>
              </a:buClr>
              <a:defRPr sz="1000">
                <a:solidFill>
                  <a:schemeClr val="tx1"/>
                </a:solidFill>
                <a:latin typeface="Arial" charset="0"/>
                <a:ea typeface="ＭＳ Ｐゴシック" pitchFamily="-110" charset="-128"/>
              </a:defRPr>
            </a:lvl7pPr>
            <a:lvl8pPr marL="3429000" indent="-228600" algn="ctr" defTabSz="99060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3CC"/>
              </a:buClr>
              <a:defRPr sz="1000">
                <a:solidFill>
                  <a:schemeClr val="tx1"/>
                </a:solidFill>
                <a:latin typeface="Arial" charset="0"/>
                <a:ea typeface="ＭＳ Ｐゴシック" pitchFamily="-110" charset="-128"/>
              </a:defRPr>
            </a:lvl8pPr>
            <a:lvl9pPr marL="3886200" indent="-228600" algn="ctr" defTabSz="99060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3CC"/>
              </a:buClr>
              <a:defRPr sz="1000">
                <a:solidFill>
                  <a:schemeClr val="tx1"/>
                </a:solidFill>
                <a:latin typeface="Arial" charset="0"/>
                <a:ea typeface="ＭＳ Ｐゴシック" pitchFamily="-110" charset="-128"/>
              </a:defRPr>
            </a:lvl9pPr>
          </a:lstStyle>
          <a:p>
            <a:pPr algn="r" eaLnBrk="1" hangingPunct="1">
              <a:spcAft>
                <a:spcPct val="0"/>
              </a:spcAft>
              <a:buClrTx/>
            </a:pPr>
            <a:fld id="{0FAE3C8E-9B71-4CB6-82AD-4842D50BBB6F}" type="slidenum">
              <a:rPr lang="en-GB" sz="700">
                <a:solidFill>
                  <a:prstClr val="black"/>
                </a:solidFill>
              </a:rPr>
              <a:pPr algn="r" eaLnBrk="1" hangingPunct="1">
                <a:spcAft>
                  <a:spcPct val="0"/>
                </a:spcAft>
                <a:buClrTx/>
              </a:pPr>
              <a:t>1</a:t>
            </a:fld>
            <a:endParaRPr lang="en-GB" sz="700" dirty="0">
              <a:solidFill>
                <a:prstClr val="black"/>
              </a:solidFill>
            </a:endParaRPr>
          </a:p>
        </p:txBody>
      </p:sp>
      <p:sp>
        <p:nvSpPr>
          <p:cNvPr id="419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685800"/>
            <a:ext cx="4953000" cy="3429000"/>
          </a:xfrm>
          <a:ln/>
        </p:spPr>
      </p:sp>
      <p:sp>
        <p:nvSpPr>
          <p:cNvPr id="4198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497" y="4341524"/>
            <a:ext cx="5487013" cy="411600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5734" tIns="42867" rIns="85734" bIns="42867"/>
          <a:lstStyle/>
          <a:p>
            <a:pPr eaLnBrk="1" hangingPunct="1"/>
            <a:endParaRPr lang="fr-CH" smtClean="0">
              <a:ea typeface="ＭＳ Ｐゴシック" pitchFamily="-110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9686DC9C-5F5E-4B70-9695-22AD112DFCDD}" type="slidenum">
              <a:rPr lang="en-US" smtClean="0">
                <a:latin typeface="Arial" pitchFamily="34" charset="0"/>
              </a:rPr>
              <a:pPr/>
              <a:t>5</a:t>
            </a:fld>
            <a:endParaRPr lang="en-US" smtClean="0">
              <a:latin typeface="Arial" pitchFamily="34" charset="0"/>
            </a:endParaRPr>
          </a:p>
        </p:txBody>
      </p:sp>
      <p:sp>
        <p:nvSpPr>
          <p:cNvPr id="634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20775" y="806450"/>
            <a:ext cx="4613275" cy="3194050"/>
          </a:xfrm>
          <a:ln/>
        </p:spPr>
      </p:sp>
      <p:sp>
        <p:nvSpPr>
          <p:cNvPr id="6349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5525" y="4359959"/>
            <a:ext cx="5025417" cy="3162885"/>
          </a:xfrm>
          <a:noFill/>
          <a:ln/>
        </p:spPr>
        <p:txBody>
          <a:bodyPr/>
          <a:lstStyle/>
          <a:p>
            <a:pPr>
              <a:spcBef>
                <a:spcPct val="0"/>
              </a:spcBef>
            </a:pPr>
            <a:endParaRPr lang="fr-FR" sz="2400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7"/>
          <p:cNvSpPr txBox="1">
            <a:spLocks noGrp="1" noChangeArrowheads="1"/>
          </p:cNvSpPr>
          <p:nvPr/>
        </p:nvSpPr>
        <p:spPr bwMode="auto">
          <a:xfrm>
            <a:off x="5361269" y="8592272"/>
            <a:ext cx="794375" cy="258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990600" eaLnBrk="0" hangingPunct="0">
              <a:spcAft>
                <a:spcPct val="3000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-110" charset="-128"/>
              </a:defRPr>
            </a:lvl1pPr>
            <a:lvl2pPr marL="741363" indent="-284163" defTabSz="990600" eaLnBrk="0" hangingPunct="0">
              <a:spcAft>
                <a:spcPct val="3000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-110" charset="-128"/>
              </a:defRPr>
            </a:lvl2pPr>
            <a:lvl3pPr marL="1143000" indent="-230188" defTabSz="990600" eaLnBrk="0" hangingPunct="0">
              <a:spcAft>
                <a:spcPct val="3000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-110" charset="-128"/>
              </a:defRPr>
            </a:lvl3pPr>
            <a:lvl4pPr marL="1600200" indent="-228600" defTabSz="990600" eaLnBrk="0" hangingPunct="0">
              <a:spcAft>
                <a:spcPct val="3000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-110" charset="-128"/>
              </a:defRPr>
            </a:lvl4pPr>
            <a:lvl5pPr marL="2057400" indent="-228600" defTabSz="990600" eaLnBrk="0" hangingPunct="0">
              <a:spcAft>
                <a:spcPct val="3000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pitchFamily="-110" charset="-128"/>
              </a:defRPr>
            </a:lvl5pPr>
            <a:lvl6pPr marL="2514600" indent="-228600" algn="ctr" defTabSz="99060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3CC"/>
              </a:buClr>
              <a:defRPr sz="1000">
                <a:solidFill>
                  <a:schemeClr val="tx1"/>
                </a:solidFill>
                <a:latin typeface="Arial" charset="0"/>
                <a:ea typeface="ＭＳ Ｐゴシック" pitchFamily="-110" charset="-128"/>
              </a:defRPr>
            </a:lvl6pPr>
            <a:lvl7pPr marL="2971800" indent="-228600" algn="ctr" defTabSz="99060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3CC"/>
              </a:buClr>
              <a:defRPr sz="1000">
                <a:solidFill>
                  <a:schemeClr val="tx1"/>
                </a:solidFill>
                <a:latin typeface="Arial" charset="0"/>
                <a:ea typeface="ＭＳ Ｐゴシック" pitchFamily="-110" charset="-128"/>
              </a:defRPr>
            </a:lvl7pPr>
            <a:lvl8pPr marL="3429000" indent="-228600" algn="ctr" defTabSz="99060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3CC"/>
              </a:buClr>
              <a:defRPr sz="1000">
                <a:solidFill>
                  <a:schemeClr val="tx1"/>
                </a:solidFill>
                <a:latin typeface="Arial" charset="0"/>
                <a:ea typeface="ＭＳ Ｐゴシック" pitchFamily="-110" charset="-128"/>
              </a:defRPr>
            </a:lvl8pPr>
            <a:lvl9pPr marL="3886200" indent="-228600" algn="ctr" defTabSz="990600" eaLnBrk="0" fontAlgn="base" hangingPunct="0">
              <a:spcBef>
                <a:spcPct val="0"/>
              </a:spcBef>
              <a:spcAft>
                <a:spcPct val="30000"/>
              </a:spcAft>
              <a:buClr>
                <a:srgbClr val="0033CC"/>
              </a:buClr>
              <a:defRPr sz="1000">
                <a:solidFill>
                  <a:schemeClr val="tx1"/>
                </a:solidFill>
                <a:latin typeface="Arial" charset="0"/>
                <a:ea typeface="ＭＳ Ｐゴシック" pitchFamily="-110" charset="-128"/>
              </a:defRPr>
            </a:lvl9pPr>
          </a:lstStyle>
          <a:p>
            <a:pPr algn="r" eaLnBrk="1" hangingPunct="1">
              <a:spcAft>
                <a:spcPct val="0"/>
              </a:spcAft>
              <a:buClrTx/>
            </a:pPr>
            <a:fld id="{0FAE3C8E-9B71-4CB6-82AD-4842D50BBB6F}" type="slidenum">
              <a:rPr lang="en-GB" sz="800">
                <a:solidFill>
                  <a:prstClr val="black"/>
                </a:solidFill>
              </a:rPr>
              <a:pPr algn="r" eaLnBrk="1" hangingPunct="1">
                <a:spcAft>
                  <a:spcPct val="0"/>
                </a:spcAft>
                <a:buClrTx/>
              </a:pPr>
              <a:t>23</a:t>
            </a:fld>
            <a:endParaRPr lang="en-GB" sz="800" dirty="0">
              <a:solidFill>
                <a:prstClr val="black"/>
              </a:solidFill>
            </a:endParaRPr>
          </a:p>
        </p:txBody>
      </p:sp>
      <p:sp>
        <p:nvSpPr>
          <p:cNvPr id="419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52500" y="685800"/>
            <a:ext cx="4953000" cy="3429000"/>
          </a:xfrm>
          <a:ln/>
        </p:spPr>
      </p:sp>
      <p:sp>
        <p:nvSpPr>
          <p:cNvPr id="4198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498" y="4341523"/>
            <a:ext cx="5487013" cy="4116006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4" rIns="89611" bIns="44804"/>
          <a:lstStyle/>
          <a:p>
            <a:pPr eaLnBrk="1" hangingPunct="1"/>
            <a:endParaRPr lang="fr-CH" smtClean="0">
              <a:ea typeface="ＭＳ Ｐゴシック" pitchFamily="-110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8"/>
            <a:ext cx="8420100" cy="1470025"/>
          </a:xfrm>
          <a:prstGeom prst="rect">
            <a:avLst/>
          </a:prstGeom>
        </p:spPr>
        <p:txBody>
          <a:bodyPr lIns="91429" tIns="45715" rIns="91429" bIns="45715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 lIns="91429" tIns="45715" rIns="91429" bIns="45715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2ABE9-6071-4D16-A39E-5B809A1D04EE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0552" y="476673"/>
            <a:ext cx="7560840" cy="396044"/>
          </a:xfrm>
          <a:prstGeom prst="rect">
            <a:avLst/>
          </a:prstGeom>
          <a:noFill/>
        </p:spPr>
        <p:txBody>
          <a:bodyPr lIns="0" tIns="0" rIns="0" bIns="0" anchor="ctr"/>
          <a:lstStyle>
            <a:lvl1pPr algn="l">
              <a:defRPr sz="2400" b="1" u="none" spc="300" baseline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2ABE9-6071-4D16-A39E-5B809A1D04EE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920551" y="908720"/>
            <a:ext cx="7560001" cy="0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2ABE9-6071-4D16-A39E-5B809A1D04EE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6" hidden="1"/>
          <p:cNvGraphicFramePr>
            <a:graphicFrameLocks/>
          </p:cNvGraphicFramePr>
          <p:nvPr/>
        </p:nvGraphicFramePr>
        <p:xfrm>
          <a:off x="6350" y="1"/>
          <a:ext cx="158750" cy="158751"/>
        </p:xfrm>
        <a:graphic>
          <a:graphicData uri="http://schemas.openxmlformats.org/presentationml/2006/ole">
            <p:oleObj spid="_x0000_s9218" name="think-cell Slide" r:id="rId3" imgW="0" imgH="0" progId="">
              <p:embed/>
            </p:oleObj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561513" y="6597352"/>
            <a:ext cx="344488" cy="260648"/>
          </a:xfrm>
        </p:spPr>
        <p:txBody>
          <a:bodyPr/>
          <a:lstStyle/>
          <a:p>
            <a:fld id="{FAB2ABE9-6071-4D16-A39E-5B809A1D04EE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16509977"/>
      </p:ext>
    </p:extLst>
  </p:cSld>
  <p:clrMapOvr>
    <a:masterClrMapping/>
  </p:clrMapOvr>
  <p:transition spd="slow">
    <p:fade thruBlk="1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:\0_office\FCI\0_marcom\11 03_jakarta\mk &amp; press toolbox\FCI logo.jpg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229733" y="6098523"/>
            <a:ext cx="1056446" cy="541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Straight Connector 3"/>
          <p:cNvCxnSpPr/>
          <p:nvPr userDrawn="1"/>
        </p:nvCxnSpPr>
        <p:spPr>
          <a:xfrm>
            <a:off x="975556" y="691399"/>
            <a:ext cx="8658649" cy="0"/>
          </a:xfrm>
          <a:prstGeom prst="line">
            <a:avLst/>
          </a:prstGeom>
          <a:ln w="635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4558" y="44624"/>
            <a:ext cx="8658962" cy="634083"/>
          </a:xfrm>
          <a:prstGeom prst="rect">
            <a:avLst/>
          </a:prstGeom>
        </p:spPr>
        <p:txBody>
          <a:bodyPr lIns="96642" tIns="48320" rIns="96642" bIns="48320"/>
          <a:lstStyle>
            <a:lvl1pPr algn="l">
              <a:defRPr sz="3100" b="1" cap="small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74558" y="980729"/>
            <a:ext cx="8658962" cy="4883099"/>
          </a:xfrm>
          <a:prstGeom prst="rect">
            <a:avLst/>
          </a:prstGeom>
        </p:spPr>
        <p:txBody>
          <a:bodyPr lIns="96642" tIns="48320" rIns="96642" bIns="48320"/>
          <a:lstStyle>
            <a:lvl1pPr>
              <a:buSzPct val="70000"/>
              <a:buFont typeface="Wingdings" pitchFamily="2" charset="2"/>
              <a:buChar char="q"/>
              <a:defRPr sz="3100"/>
            </a:lvl1pPr>
            <a:lvl2pPr>
              <a:buFont typeface="Wingdings" pitchFamily="2" charset="2"/>
              <a:buChar char="§"/>
              <a:defRPr sz="2500"/>
            </a:lvl2pPr>
            <a:lvl3pPr>
              <a:spcBef>
                <a:spcPts val="634"/>
              </a:spcBef>
              <a:defRPr sz="2100"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9477274" y="6597781"/>
            <a:ext cx="391516" cy="216345"/>
          </a:xfrm>
          <a:solidFill>
            <a:schemeClr val="bg1"/>
          </a:solidFill>
        </p:spPr>
        <p:txBody>
          <a:bodyPr/>
          <a:lstStyle>
            <a:lvl1pPr>
              <a:defRPr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fld id="{A0A13CE0-F618-4B59-ABE8-671DFE214FD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2908" y="260351"/>
            <a:ext cx="7254081" cy="1143000"/>
          </a:xfrm>
          <a:prstGeom prst="rect">
            <a:avLst/>
          </a:prstGeom>
        </p:spPr>
        <p:txBody>
          <a:bodyPr lIns="91429" tIns="45715" rIns="91429" bIns="45715"/>
          <a:lstStyle/>
          <a:p>
            <a:r>
              <a:rPr lang="en-US" smtClean="0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 sz="2800"/>
            </a:lvl1pPr>
            <a:lvl2pPr>
              <a:defRPr sz="23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BE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1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EE5176-2E63-4413-8F80-E1D554C6BCB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hyperlink" Target="http://www.forfaiting.com/" TargetMode="External"/><Relationship Id="rId4" Type="http://schemas.openxmlformats.org/officeDocument/2006/relationships/slideLayout" Target="../slideLayouts/slideLayout4.xml"/><Relationship Id="rId9" Type="http://schemas.openxmlformats.org/officeDocument/2006/relationships/hyperlink" Target="http://www.fimbank.com/" TargetMode="Externa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8" cstate="email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633520" y="6669360"/>
            <a:ext cx="272480" cy="188640"/>
          </a:xfrm>
          <a:prstGeom prst="rect">
            <a:avLst/>
          </a:prstGeom>
        </p:spPr>
        <p:txBody>
          <a:bodyPr vert="horz" lIns="91429" tIns="45715" rIns="91429" bIns="45715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B2ABE9-6071-4D16-A39E-5B809A1D04E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TextBox 2"/>
          <p:cNvSpPr txBox="1"/>
          <p:nvPr userDrawn="1"/>
        </p:nvSpPr>
        <p:spPr>
          <a:xfrm>
            <a:off x="36001" y="6669361"/>
            <a:ext cx="244297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100" b="1" dirty="0" smtClean="0">
                <a:solidFill>
                  <a:schemeClr val="tx2"/>
                </a:solidFill>
                <a:hlinkClick r:id="rId9"/>
              </a:rPr>
              <a:t>www.fimbank.com</a:t>
            </a:r>
            <a:r>
              <a:rPr lang="en-US" sz="1100" b="1" dirty="0" smtClean="0">
                <a:solidFill>
                  <a:schemeClr val="tx2"/>
                </a:solidFill>
              </a:rPr>
              <a:t> / </a:t>
            </a:r>
            <a:r>
              <a:rPr lang="en-US" sz="1100" b="1" dirty="0" smtClean="0">
                <a:solidFill>
                  <a:schemeClr val="tx2"/>
                </a:solidFill>
                <a:hlinkClick r:id="rId10"/>
              </a:rPr>
              <a:t>www.forfaiting.com</a:t>
            </a:r>
            <a:endParaRPr lang="en-US" sz="1100" b="1" dirty="0">
              <a:solidFill>
                <a:schemeClr val="tx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60" r:id="rId4"/>
    <p:sldLayoutId id="2147483661" r:id="rId5"/>
    <p:sldLayoutId id="2147483662" r:id="rId6"/>
  </p:sldLayoutIdLst>
  <p:hf hdr="0" ftr="0" dt="0"/>
  <p:txStyles>
    <p:titleStyle>
      <a:lvl1pPr algn="ctr" defTabSz="914296" rtl="0" eaLnBrk="1" latinLnBrk="0" hangingPunct="1">
        <a:spcBef>
          <a:spcPct val="0"/>
        </a:spcBef>
        <a:buNone/>
        <a:defRPr sz="4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1" indent="-342861" algn="l" defTabSz="914296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66" indent="-285717" algn="l" defTabSz="914296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70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17" indent="-228574" algn="l" defTabSz="914296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66" indent="-228574" algn="l" defTabSz="914296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14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62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10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8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4.jpeg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audio" Target="../media/audio1.wav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hawaiiweathertoday.com/2010/01/hawaiian-islands-weather-details-aloha-paragraphs-january-20-21-2010/" TargetMode="External"/><Relationship Id="rId3" Type="http://schemas.openxmlformats.org/officeDocument/2006/relationships/notesSlide" Target="../notesSlides/notesSlide3.xml"/><Relationship Id="rId7" Type="http://schemas.openxmlformats.org/officeDocument/2006/relationships/hyperlink" Target="http://www.islandexpedition.com/Gallery.html" TargetMode="External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5.bin"/><Relationship Id="rId5" Type="http://schemas.openxmlformats.org/officeDocument/2006/relationships/oleObject" Target="../embeddings/oleObject4.bin"/><Relationship Id="rId10" Type="http://schemas.openxmlformats.org/officeDocument/2006/relationships/hyperlink" Target="http://entertainment.howstuffworks.com/sailing2.htm" TargetMode="External"/><Relationship Id="rId4" Type="http://schemas.openxmlformats.org/officeDocument/2006/relationships/image" Target="../media/image23.jpeg"/><Relationship Id="rId9" Type="http://schemas.openxmlformats.org/officeDocument/2006/relationships/hyperlink" Target="http://www.wunderground.com/wximage/boyntonbeachboy/853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gif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9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635470830"/>
              </p:ext>
            </p:ext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p:oleObj spid="_x0000_s47106" name="think-cell Slide" r:id="rId5" imgW="360" imgH="360" progId="">
              <p:embed/>
            </p:oleObj>
          </a:graphicData>
        </a:graphic>
      </p:graphicFrame>
      <p:graphicFrame>
        <p:nvGraphicFramePr>
          <p:cNvPr id="12290" name="Rectangle 2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244559589"/>
              </p:ext>
            </p:extLst>
          </p:nvPr>
        </p:nvGraphicFramePr>
        <p:xfrm>
          <a:off x="6350" y="1"/>
          <a:ext cx="158750" cy="158751"/>
        </p:xfrm>
        <a:graphic>
          <a:graphicData uri="http://schemas.openxmlformats.org/presentationml/2006/ole">
            <p:oleObj spid="_x0000_s47107" name="think-cell Slide" r:id="rId6" imgW="0" imgH="0" progId="">
              <p:embed/>
            </p:oleObj>
          </a:graphicData>
        </a:graphic>
      </p:graphicFrame>
      <p:pic>
        <p:nvPicPr>
          <p:cNvPr id="612811" name="Picture 459"/>
          <p:cNvPicPr>
            <a:picLocks noChangeAspect="1" noChangeArrowheads="1"/>
          </p:cNvPicPr>
          <p:nvPr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20452" y="27385"/>
            <a:ext cx="5437571" cy="67894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extBox 4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529065" y="1857366"/>
            <a:ext cx="4320480" cy="1015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9" tIns="45715" rIns="91429" bIns="45715">
            <a:spAutoFit/>
          </a:bodyPr>
          <a:lstStyle/>
          <a:p>
            <a:pPr algn="r">
              <a:defRPr/>
            </a:pPr>
            <a:r>
              <a:rPr lang="en-US" sz="6000" b="1" dirty="0" smtClean="0">
                <a:solidFill>
                  <a:srgbClr val="00B0F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FORFAITING</a:t>
            </a:r>
          </a:p>
        </p:txBody>
      </p:sp>
      <p:sp>
        <p:nvSpPr>
          <p:cNvPr id="7" name="TextBox 16"/>
          <p:cNvSpPr txBox="1">
            <a:spLocks noChangeArrowheads="1"/>
          </p:cNvSpPr>
          <p:nvPr/>
        </p:nvSpPr>
        <p:spPr bwMode="auto">
          <a:xfrm>
            <a:off x="5673079" y="3304724"/>
            <a:ext cx="4176465" cy="35086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9" tIns="45715" rIns="91429" bIns="45715">
            <a:spAutoFit/>
          </a:bodyPr>
          <a:lstStyle/>
          <a:p>
            <a:pPr algn="r"/>
            <a:r>
              <a:rPr lang="en-US" sz="3200" b="1" dirty="0" smtClean="0">
                <a:solidFill>
                  <a:srgbClr val="06204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rPr>
              <a:t>The Basics and Future</a:t>
            </a:r>
          </a:p>
          <a:p>
            <a:pPr algn="r"/>
            <a:endParaRPr lang="en-US" sz="2000" dirty="0" smtClean="0">
              <a:solidFill>
                <a:srgbClr val="06204A"/>
              </a:solidFill>
              <a:latin typeface="+mj-lt"/>
            </a:endParaRPr>
          </a:p>
          <a:p>
            <a:pPr algn="r"/>
            <a:endParaRPr lang="en-US" sz="2000" dirty="0" smtClean="0">
              <a:solidFill>
                <a:srgbClr val="06204A"/>
              </a:solidFill>
              <a:latin typeface="+mj-lt"/>
            </a:endParaRPr>
          </a:p>
          <a:p>
            <a:pPr algn="r"/>
            <a:endParaRPr lang="en-US" sz="2000" dirty="0" smtClean="0">
              <a:solidFill>
                <a:srgbClr val="06204A"/>
              </a:solidFill>
              <a:latin typeface="+mj-lt"/>
            </a:endParaRPr>
          </a:p>
          <a:p>
            <a:pPr algn="r"/>
            <a:endParaRPr lang="en-US" sz="2000" dirty="0" smtClean="0">
              <a:solidFill>
                <a:srgbClr val="06204A"/>
              </a:solidFill>
              <a:latin typeface="+mj-lt"/>
            </a:endParaRPr>
          </a:p>
          <a:p>
            <a:pPr algn="r"/>
            <a:r>
              <a:rPr lang="en-US" sz="2000" dirty="0" smtClean="0">
                <a:solidFill>
                  <a:srgbClr val="06204A"/>
                </a:solidFill>
                <a:latin typeface="+mj-lt"/>
              </a:rPr>
              <a:t>Moscow</a:t>
            </a:r>
          </a:p>
          <a:p>
            <a:pPr algn="r"/>
            <a:r>
              <a:rPr lang="en-US" dirty="0" smtClean="0">
                <a:solidFill>
                  <a:srgbClr val="06204A"/>
                </a:solidFill>
                <a:latin typeface="+mj-lt"/>
              </a:rPr>
              <a:t>22</a:t>
            </a:r>
            <a:r>
              <a:rPr lang="en-US" baseline="30000" dirty="0" smtClean="0">
                <a:solidFill>
                  <a:srgbClr val="06204A"/>
                </a:solidFill>
                <a:latin typeface="+mj-lt"/>
              </a:rPr>
              <a:t>nd</a:t>
            </a:r>
            <a:r>
              <a:rPr lang="en-US" dirty="0" smtClean="0">
                <a:solidFill>
                  <a:srgbClr val="06204A"/>
                </a:solidFill>
                <a:latin typeface="+mj-lt"/>
              </a:rPr>
              <a:t> of May 2014</a:t>
            </a:r>
          </a:p>
          <a:p>
            <a:pPr algn="r"/>
            <a:endParaRPr lang="en-US" dirty="0" smtClean="0">
              <a:solidFill>
                <a:srgbClr val="06204A"/>
              </a:solidFill>
              <a:latin typeface="+mj-lt"/>
            </a:endParaRPr>
          </a:p>
          <a:p>
            <a:pPr algn="r"/>
            <a:endParaRPr lang="en-US" dirty="0" smtClean="0">
              <a:solidFill>
                <a:srgbClr val="06204A"/>
              </a:solidFill>
              <a:latin typeface="+mj-lt"/>
            </a:endParaRPr>
          </a:p>
          <a:p>
            <a:pPr algn="r"/>
            <a:r>
              <a:rPr lang="en-US" dirty="0" smtClean="0">
                <a:solidFill>
                  <a:srgbClr val="06204A"/>
                </a:solidFill>
                <a:latin typeface="+mj-lt"/>
              </a:rPr>
              <a:t>Margrith </a:t>
            </a:r>
            <a:r>
              <a:rPr lang="en-US" dirty="0" err="1" smtClean="0">
                <a:solidFill>
                  <a:srgbClr val="06204A"/>
                </a:solidFill>
                <a:latin typeface="+mj-lt"/>
              </a:rPr>
              <a:t>Lütschg</a:t>
            </a:r>
            <a:r>
              <a:rPr lang="en-US" dirty="0" smtClean="0">
                <a:solidFill>
                  <a:srgbClr val="06204A"/>
                </a:solidFill>
                <a:latin typeface="+mj-lt"/>
              </a:rPr>
              <a:t> – Emmenegger</a:t>
            </a:r>
          </a:p>
          <a:p>
            <a:pPr algn="r"/>
            <a:r>
              <a:rPr lang="en-US" dirty="0" smtClean="0">
                <a:solidFill>
                  <a:srgbClr val="06204A"/>
                </a:solidFill>
                <a:latin typeface="+mj-lt"/>
              </a:rPr>
              <a:t>President</a:t>
            </a:r>
            <a:r>
              <a:rPr lang="en-US" dirty="0">
                <a:solidFill>
                  <a:srgbClr val="06204A"/>
                </a:solidFill>
                <a:latin typeface="+mj-lt"/>
              </a:rPr>
              <a:t> </a:t>
            </a:r>
            <a:r>
              <a:rPr lang="en-US" dirty="0" smtClean="0">
                <a:solidFill>
                  <a:srgbClr val="06204A"/>
                </a:solidFill>
                <a:latin typeface="+mj-lt"/>
              </a:rPr>
              <a:t>of FIMBank Group</a:t>
            </a:r>
          </a:p>
        </p:txBody>
      </p:sp>
    </p:spTree>
    <p:extLst>
      <p:ext uri="{BB962C8B-B14F-4D97-AF65-F5344CB8AC3E}">
        <p14:creationId xmlns:p14="http://schemas.microsoft.com/office/powerpoint/2010/main" xmlns="" val="3856495868"/>
      </p:ext>
    </p:extLst>
  </p:cSld>
  <p:clrMapOvr>
    <a:masterClrMapping/>
  </p:clrMapOvr>
  <p:transition spd="slow">
    <p:dissolv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1" name="Picture 66"/>
          <p:cNvPicPr>
            <a:picLocks noChangeAspect="1" noChangeArrowheads="1"/>
          </p:cNvPicPr>
          <p:nvPr/>
        </p:nvPicPr>
        <p:blipFill>
          <a:blip r:embed="rId3" cstate="email"/>
          <a:srcRect l="4554" r="5123" b="8192"/>
          <a:stretch>
            <a:fillRect/>
          </a:stretch>
        </p:blipFill>
        <p:spPr bwMode="auto">
          <a:xfrm>
            <a:off x="507339" y="908720"/>
            <a:ext cx="8717400" cy="3978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72" name="Rectangle 5"/>
          <p:cNvSpPr>
            <a:spLocks noChangeArrowheads="1"/>
          </p:cNvSpPr>
          <p:nvPr/>
        </p:nvSpPr>
        <p:spPr bwMode="auto">
          <a:xfrm>
            <a:off x="4808984" y="4880203"/>
            <a:ext cx="4400864" cy="1015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9" tIns="45715" rIns="91429" bIns="45715">
            <a:spAutoFit/>
          </a:bodyPr>
          <a:lstStyle/>
          <a:p>
            <a:pPr marL="342861" indent="-342861" eaLnBrk="0" hangingPunct="0">
              <a:buAutoNum type="arabicPeriod" startAt="6"/>
            </a:pPr>
            <a:r>
              <a:rPr lang="en-GB" sz="1200" dirty="0" smtClean="0">
                <a:solidFill>
                  <a:srgbClr val="002060"/>
                </a:solidFill>
              </a:rPr>
              <a:t>Exporter </a:t>
            </a:r>
            <a:r>
              <a:rPr lang="en-GB" sz="1200" dirty="0">
                <a:solidFill>
                  <a:srgbClr val="002060"/>
                </a:solidFill>
              </a:rPr>
              <a:t>delivers documents to the </a:t>
            </a:r>
            <a:r>
              <a:rPr lang="en-GB" sz="1200" dirty="0" err="1" smtClean="0">
                <a:solidFill>
                  <a:srgbClr val="002060"/>
                </a:solidFill>
              </a:rPr>
              <a:t>Forfaiter</a:t>
            </a:r>
            <a:endParaRPr lang="en-GB" sz="1200" dirty="0" smtClean="0">
              <a:solidFill>
                <a:srgbClr val="002060"/>
              </a:solidFill>
            </a:endParaRPr>
          </a:p>
          <a:p>
            <a:pPr marL="342861" indent="-342861" eaLnBrk="0" hangingPunct="0">
              <a:buFontTx/>
              <a:buAutoNum type="arabicPeriod" startAt="6"/>
            </a:pPr>
            <a:r>
              <a:rPr lang="en-GB" sz="1200" dirty="0" err="1" smtClean="0">
                <a:solidFill>
                  <a:srgbClr val="002060"/>
                </a:solidFill>
              </a:rPr>
              <a:t>Forfaiter</a:t>
            </a:r>
            <a:r>
              <a:rPr lang="en-GB" sz="1200" dirty="0" smtClean="0">
                <a:solidFill>
                  <a:srgbClr val="002060"/>
                </a:solidFill>
              </a:rPr>
              <a:t> pays cash ‘without recourse’ to the Exporter</a:t>
            </a:r>
          </a:p>
          <a:p>
            <a:pPr marL="342861" indent="-342861" eaLnBrk="0" hangingPunct="0">
              <a:buFontTx/>
              <a:buAutoNum type="arabicPeriod" startAt="6"/>
            </a:pPr>
            <a:r>
              <a:rPr lang="en-GB" sz="1200" dirty="0" err="1" smtClean="0">
                <a:solidFill>
                  <a:srgbClr val="002060"/>
                </a:solidFill>
              </a:rPr>
              <a:t>Forfaiter</a:t>
            </a:r>
            <a:r>
              <a:rPr lang="en-GB" sz="1200" dirty="0" smtClean="0">
                <a:solidFill>
                  <a:srgbClr val="002060"/>
                </a:solidFill>
              </a:rPr>
              <a:t> presents documents to Bank at maturity for payment</a:t>
            </a:r>
            <a:endParaRPr lang="en-US" sz="1200" dirty="0" smtClean="0">
              <a:solidFill>
                <a:srgbClr val="002060"/>
              </a:solidFill>
            </a:endParaRPr>
          </a:p>
          <a:p>
            <a:pPr marL="342861" indent="-342861" eaLnBrk="0" hangingPunct="0">
              <a:buFontTx/>
              <a:buAutoNum type="arabicPeriod" startAt="6"/>
            </a:pPr>
            <a:r>
              <a:rPr lang="en-GB" sz="1200" dirty="0" smtClean="0">
                <a:solidFill>
                  <a:srgbClr val="002060"/>
                </a:solidFill>
              </a:rPr>
              <a:t>Importer repays Bank at maturity</a:t>
            </a:r>
          </a:p>
          <a:p>
            <a:pPr marL="342861" indent="-342861" eaLnBrk="0" hangingPunct="0">
              <a:buFontTx/>
              <a:buAutoNum type="arabicPeriod" startAt="6"/>
            </a:pPr>
            <a:r>
              <a:rPr lang="en-GB" sz="1200" dirty="0" smtClean="0">
                <a:solidFill>
                  <a:srgbClr val="002060"/>
                </a:solidFill>
              </a:rPr>
              <a:t>Bank repays </a:t>
            </a:r>
            <a:r>
              <a:rPr lang="en-GB" sz="1200" dirty="0" err="1" smtClean="0">
                <a:solidFill>
                  <a:srgbClr val="002060"/>
                </a:solidFill>
              </a:rPr>
              <a:t>Forfaiter</a:t>
            </a:r>
            <a:r>
              <a:rPr lang="en-GB" sz="1200" dirty="0" smtClean="0">
                <a:solidFill>
                  <a:srgbClr val="002060"/>
                </a:solidFill>
              </a:rPr>
              <a:t> at maturity</a:t>
            </a:r>
            <a:endParaRPr lang="en-US" sz="1200" dirty="0" smtClean="0">
              <a:solidFill>
                <a:srgbClr val="002060"/>
              </a:solidFill>
            </a:endParaRPr>
          </a:p>
        </p:txBody>
      </p:sp>
      <p:sp>
        <p:nvSpPr>
          <p:cNvPr id="32773" name="Rectangle 6"/>
          <p:cNvSpPr>
            <a:spLocks noChangeArrowheads="1"/>
          </p:cNvSpPr>
          <p:nvPr/>
        </p:nvSpPr>
        <p:spPr bwMode="auto">
          <a:xfrm>
            <a:off x="507339" y="4880203"/>
            <a:ext cx="4234127" cy="1015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45715" rIns="91429" bIns="45715">
            <a:spAutoFit/>
          </a:bodyPr>
          <a:lstStyle/>
          <a:p>
            <a:pPr marL="228600" indent="-228600">
              <a:buAutoNum type="arabicPeriod"/>
            </a:pPr>
            <a:r>
              <a:rPr lang="en-GB" sz="1200" dirty="0" err="1" smtClean="0">
                <a:solidFill>
                  <a:srgbClr val="002060"/>
                </a:solidFill>
              </a:rPr>
              <a:t>Forfaiter</a:t>
            </a:r>
            <a:r>
              <a:rPr lang="en-GB" sz="1200" dirty="0" smtClean="0">
                <a:solidFill>
                  <a:srgbClr val="002060"/>
                </a:solidFill>
              </a:rPr>
              <a:t> </a:t>
            </a:r>
            <a:r>
              <a:rPr lang="en-GB" sz="1200" dirty="0">
                <a:solidFill>
                  <a:srgbClr val="002060"/>
                </a:solidFill>
              </a:rPr>
              <a:t>commits to purchase deal from the </a:t>
            </a:r>
            <a:r>
              <a:rPr lang="en-GB" sz="1200" dirty="0" smtClean="0">
                <a:solidFill>
                  <a:srgbClr val="002060"/>
                </a:solidFill>
              </a:rPr>
              <a:t>Exporter</a:t>
            </a:r>
          </a:p>
          <a:p>
            <a:pPr marL="228600" indent="-228600">
              <a:buFontTx/>
              <a:buAutoNum type="arabicPeriod"/>
            </a:pPr>
            <a:r>
              <a:rPr lang="en-GB" sz="1200" dirty="0" smtClean="0">
                <a:solidFill>
                  <a:srgbClr val="002060"/>
                </a:solidFill>
              </a:rPr>
              <a:t>Commercial contract between Exporter and Importer</a:t>
            </a:r>
            <a:endParaRPr lang="en-US" sz="1200" dirty="0" smtClean="0">
              <a:solidFill>
                <a:srgbClr val="002060"/>
              </a:solidFill>
            </a:endParaRPr>
          </a:p>
          <a:p>
            <a:pPr marL="228600" indent="-228600">
              <a:buFontTx/>
              <a:buAutoNum type="arabicPeriod"/>
            </a:pPr>
            <a:r>
              <a:rPr lang="en-GB" sz="1200" dirty="0" smtClean="0">
                <a:solidFill>
                  <a:srgbClr val="002060"/>
                </a:solidFill>
              </a:rPr>
              <a:t>Bank gives guarantee/ </a:t>
            </a:r>
            <a:r>
              <a:rPr lang="en-GB" sz="1200" dirty="0" err="1" smtClean="0">
                <a:solidFill>
                  <a:srgbClr val="002060"/>
                </a:solidFill>
              </a:rPr>
              <a:t>aval</a:t>
            </a:r>
            <a:endParaRPr lang="en-US" sz="1200" dirty="0" smtClean="0">
              <a:solidFill>
                <a:srgbClr val="002060"/>
              </a:solidFill>
            </a:endParaRPr>
          </a:p>
          <a:p>
            <a:pPr marL="228600" indent="-228600">
              <a:buAutoNum type="arabicPeriod"/>
            </a:pPr>
            <a:r>
              <a:rPr lang="en-GB" sz="1200" dirty="0" smtClean="0">
                <a:solidFill>
                  <a:srgbClr val="002060"/>
                </a:solidFill>
              </a:rPr>
              <a:t>Delivery of goods from Exporter to Importer</a:t>
            </a:r>
          </a:p>
          <a:p>
            <a:pPr marL="228600" indent="-228600">
              <a:buAutoNum type="arabicPeriod"/>
            </a:pPr>
            <a:r>
              <a:rPr lang="en-GB" sz="1200" dirty="0" smtClean="0">
                <a:solidFill>
                  <a:srgbClr val="002060"/>
                </a:solidFill>
              </a:rPr>
              <a:t>Importer hands over documents to Exporter</a:t>
            </a:r>
            <a:endParaRPr lang="en-US" sz="1200" dirty="0">
              <a:solidFill>
                <a:srgbClr val="002060"/>
              </a:solidFill>
            </a:endParaRPr>
          </a:p>
        </p:txBody>
      </p:sp>
      <p:sp>
        <p:nvSpPr>
          <p:cNvPr id="8" name="Line 25"/>
          <p:cNvSpPr>
            <a:spLocks noChangeShapeType="1"/>
          </p:cNvSpPr>
          <p:nvPr/>
        </p:nvSpPr>
        <p:spPr bwMode="auto">
          <a:xfrm flipV="1">
            <a:off x="973402" y="2424113"/>
            <a:ext cx="1720" cy="1314451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 type="triangle" w="med" len="med"/>
            <a:tailEnd type="triangle" w="med" len="med"/>
          </a:ln>
        </p:spPr>
        <p:txBody>
          <a:bodyPr lIns="91429" tIns="45715" rIns="91429" bIns="45715"/>
          <a:lstStyle/>
          <a:p>
            <a:endParaRPr lang="en-US"/>
          </a:p>
        </p:txBody>
      </p:sp>
      <p:sp>
        <p:nvSpPr>
          <p:cNvPr id="9" name="Rectangle 26"/>
          <p:cNvSpPr>
            <a:spLocks noChangeArrowheads="1"/>
          </p:cNvSpPr>
          <p:nvPr/>
        </p:nvSpPr>
        <p:spPr bwMode="auto">
          <a:xfrm>
            <a:off x="739512" y="2809875"/>
            <a:ext cx="22529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3073" tIns="27557" rIns="53073" bIns="27557"/>
          <a:lstStyle/>
          <a:p>
            <a:r>
              <a:rPr lang="en-US" sz="1400" b="1" dirty="0">
                <a:solidFill>
                  <a:srgbClr val="000000"/>
                </a:solidFill>
              </a:rPr>
              <a:t>1.</a:t>
            </a:r>
            <a:endParaRPr lang="en-US" sz="1400" dirty="0"/>
          </a:p>
        </p:txBody>
      </p:sp>
      <p:sp>
        <p:nvSpPr>
          <p:cNvPr id="10" name="Line 29"/>
          <p:cNvSpPr>
            <a:spLocks noChangeShapeType="1"/>
          </p:cNvSpPr>
          <p:nvPr/>
        </p:nvSpPr>
        <p:spPr bwMode="auto">
          <a:xfrm rot="5400000" flipV="1">
            <a:off x="4172215" y="-58471"/>
            <a:ext cx="0" cy="2964921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 type="triangle" w="med" len="med"/>
            <a:tailEnd type="triangle" w="med" len="med"/>
          </a:ln>
        </p:spPr>
        <p:txBody>
          <a:bodyPr lIns="91429" tIns="45715" rIns="91429" bIns="45715"/>
          <a:lstStyle/>
          <a:p>
            <a:endParaRPr lang="en-US"/>
          </a:p>
        </p:txBody>
      </p:sp>
      <p:sp>
        <p:nvSpPr>
          <p:cNvPr id="11" name="Rectangle 30"/>
          <p:cNvSpPr>
            <a:spLocks noChangeArrowheads="1"/>
          </p:cNvSpPr>
          <p:nvPr/>
        </p:nvSpPr>
        <p:spPr bwMode="auto">
          <a:xfrm>
            <a:off x="4015714" y="1193800"/>
            <a:ext cx="225292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3073" tIns="27557" rIns="53073" bIns="27557"/>
          <a:lstStyle/>
          <a:p>
            <a:r>
              <a:rPr lang="en-US" sz="1400" b="1" dirty="0">
                <a:solidFill>
                  <a:srgbClr val="000000"/>
                </a:solidFill>
              </a:rPr>
              <a:t>2.</a:t>
            </a:r>
            <a:endParaRPr lang="en-US" sz="1400" dirty="0"/>
          </a:p>
        </p:txBody>
      </p:sp>
      <p:sp>
        <p:nvSpPr>
          <p:cNvPr id="13" name="Line 32"/>
          <p:cNvSpPr>
            <a:spLocks noChangeShapeType="1"/>
          </p:cNvSpPr>
          <p:nvPr/>
        </p:nvSpPr>
        <p:spPr bwMode="auto">
          <a:xfrm rot="5400000" flipV="1">
            <a:off x="4189413" y="388939"/>
            <a:ext cx="0" cy="2930525"/>
          </a:xfrm>
          <a:prstGeom prst="line">
            <a:avLst/>
          </a:prstGeom>
          <a:noFill/>
          <a:ln w="38100">
            <a:solidFill>
              <a:srgbClr val="000000"/>
            </a:solidFill>
            <a:prstDash val="sysDot"/>
            <a:round/>
            <a:headEnd/>
            <a:tailEnd type="triangle" w="med" len="med"/>
          </a:ln>
        </p:spPr>
        <p:txBody>
          <a:bodyPr lIns="91429" tIns="45715" rIns="91429" bIns="45715"/>
          <a:lstStyle/>
          <a:p>
            <a:endParaRPr lang="en-US"/>
          </a:p>
        </p:txBody>
      </p:sp>
      <p:sp>
        <p:nvSpPr>
          <p:cNvPr id="14" name="Rectangle 33"/>
          <p:cNvSpPr>
            <a:spLocks noChangeArrowheads="1"/>
          </p:cNvSpPr>
          <p:nvPr/>
        </p:nvSpPr>
        <p:spPr bwMode="auto">
          <a:xfrm>
            <a:off x="4961600" y="1597025"/>
            <a:ext cx="225292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3073" tIns="27557" rIns="53073" bIns="27557"/>
          <a:lstStyle/>
          <a:p>
            <a:r>
              <a:rPr lang="en-US" sz="1400" b="1" dirty="0">
                <a:solidFill>
                  <a:srgbClr val="000000"/>
                </a:solidFill>
              </a:rPr>
              <a:t>4.</a:t>
            </a:r>
            <a:endParaRPr lang="en-US" sz="1400" dirty="0"/>
          </a:p>
        </p:txBody>
      </p:sp>
      <p:pic>
        <p:nvPicPr>
          <p:cNvPr id="15" name="Picture 34" descr="LFC Presentation1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547932" y="1535115"/>
            <a:ext cx="1061111" cy="674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Line 37"/>
          <p:cNvSpPr>
            <a:spLocks noChangeShapeType="1"/>
          </p:cNvSpPr>
          <p:nvPr/>
        </p:nvSpPr>
        <p:spPr bwMode="auto">
          <a:xfrm flipV="1">
            <a:off x="6824134" y="2370137"/>
            <a:ext cx="1720" cy="1314451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/>
            <a:tailEnd type="triangle" w="med" len="med"/>
          </a:ln>
        </p:spPr>
        <p:txBody>
          <a:bodyPr lIns="91429" tIns="45715" rIns="91429" bIns="45715"/>
          <a:lstStyle/>
          <a:p>
            <a:endParaRPr lang="en-US"/>
          </a:p>
        </p:txBody>
      </p:sp>
      <p:sp>
        <p:nvSpPr>
          <p:cNvPr id="18" name="Rectangle 38"/>
          <p:cNvSpPr>
            <a:spLocks noChangeArrowheads="1"/>
          </p:cNvSpPr>
          <p:nvPr/>
        </p:nvSpPr>
        <p:spPr bwMode="auto">
          <a:xfrm>
            <a:off x="6521452" y="2895600"/>
            <a:ext cx="22529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3073" tIns="27557" rIns="53073" bIns="27557"/>
          <a:lstStyle/>
          <a:p>
            <a:r>
              <a:rPr lang="en-US" sz="1400" b="1" dirty="0">
                <a:solidFill>
                  <a:srgbClr val="000000"/>
                </a:solidFill>
              </a:rPr>
              <a:t>3.</a:t>
            </a:r>
            <a:endParaRPr lang="en-US" sz="1400" dirty="0"/>
          </a:p>
        </p:txBody>
      </p:sp>
      <p:sp>
        <p:nvSpPr>
          <p:cNvPr id="20" name="Line 41"/>
          <p:cNvSpPr>
            <a:spLocks noChangeShapeType="1"/>
          </p:cNvSpPr>
          <p:nvPr/>
        </p:nvSpPr>
        <p:spPr bwMode="auto">
          <a:xfrm rot="5400000" flipV="1">
            <a:off x="4172215" y="806716"/>
            <a:ext cx="0" cy="2964921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 type="triangle" w="med" len="med"/>
            <a:tailEnd/>
          </a:ln>
        </p:spPr>
        <p:txBody>
          <a:bodyPr lIns="91429" tIns="45715" rIns="91429" bIns="45715"/>
          <a:lstStyle/>
          <a:p>
            <a:endParaRPr lang="en-US"/>
          </a:p>
        </p:txBody>
      </p:sp>
      <p:sp>
        <p:nvSpPr>
          <p:cNvPr id="21" name="Rectangle 42"/>
          <p:cNvSpPr>
            <a:spLocks noChangeArrowheads="1"/>
          </p:cNvSpPr>
          <p:nvPr/>
        </p:nvSpPr>
        <p:spPr bwMode="auto">
          <a:xfrm>
            <a:off x="3002758" y="2030414"/>
            <a:ext cx="22529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3073" tIns="27557" rIns="53073" bIns="27557"/>
          <a:lstStyle/>
          <a:p>
            <a:r>
              <a:rPr lang="en-US" sz="1400" b="1" dirty="0">
                <a:solidFill>
                  <a:srgbClr val="000000"/>
                </a:solidFill>
              </a:rPr>
              <a:t>5.</a:t>
            </a:r>
            <a:endParaRPr lang="en-US" sz="1400" dirty="0"/>
          </a:p>
        </p:txBody>
      </p:sp>
      <p:sp>
        <p:nvSpPr>
          <p:cNvPr id="23" name="Line 45"/>
          <p:cNvSpPr>
            <a:spLocks noChangeShapeType="1"/>
          </p:cNvSpPr>
          <p:nvPr/>
        </p:nvSpPr>
        <p:spPr bwMode="auto">
          <a:xfrm flipV="1">
            <a:off x="1442908" y="2443163"/>
            <a:ext cx="1719" cy="1314451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 type="triangle" w="med" len="med"/>
            <a:tailEnd/>
          </a:ln>
        </p:spPr>
        <p:txBody>
          <a:bodyPr lIns="91429" tIns="45715" rIns="91429" bIns="45715"/>
          <a:lstStyle/>
          <a:p>
            <a:endParaRPr lang="en-US"/>
          </a:p>
        </p:txBody>
      </p:sp>
      <p:sp>
        <p:nvSpPr>
          <p:cNvPr id="24" name="Rectangle 46"/>
          <p:cNvSpPr>
            <a:spLocks noChangeArrowheads="1"/>
          </p:cNvSpPr>
          <p:nvPr/>
        </p:nvSpPr>
        <p:spPr bwMode="auto">
          <a:xfrm>
            <a:off x="1207296" y="2806700"/>
            <a:ext cx="22529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3073" tIns="27557" rIns="53073" bIns="27557"/>
          <a:lstStyle/>
          <a:p>
            <a:r>
              <a:rPr lang="en-US" sz="1400" b="1" dirty="0">
                <a:solidFill>
                  <a:srgbClr val="000000"/>
                </a:solidFill>
              </a:rPr>
              <a:t>6.</a:t>
            </a:r>
            <a:endParaRPr lang="en-US" sz="1400" dirty="0"/>
          </a:p>
        </p:txBody>
      </p:sp>
      <p:sp>
        <p:nvSpPr>
          <p:cNvPr id="25" name="Line 48"/>
          <p:cNvSpPr>
            <a:spLocks noChangeShapeType="1"/>
          </p:cNvSpPr>
          <p:nvPr/>
        </p:nvSpPr>
        <p:spPr bwMode="auto">
          <a:xfrm flipV="1">
            <a:off x="1910691" y="2424113"/>
            <a:ext cx="1719" cy="1314451"/>
          </a:xfrm>
          <a:prstGeom prst="line">
            <a:avLst/>
          </a:prstGeom>
          <a:noFill/>
          <a:ln w="38100">
            <a:solidFill>
              <a:srgbClr val="000000"/>
            </a:solidFill>
            <a:prstDash val="dash"/>
            <a:round/>
            <a:headEnd/>
            <a:tailEnd type="triangle" w="med" len="med"/>
          </a:ln>
        </p:spPr>
        <p:txBody>
          <a:bodyPr lIns="91429" tIns="45715" rIns="91429" bIns="45715"/>
          <a:lstStyle/>
          <a:p>
            <a:endParaRPr lang="en-US"/>
          </a:p>
        </p:txBody>
      </p:sp>
      <p:sp>
        <p:nvSpPr>
          <p:cNvPr id="26" name="Rectangle 49"/>
          <p:cNvSpPr>
            <a:spLocks noChangeArrowheads="1"/>
          </p:cNvSpPr>
          <p:nvPr/>
        </p:nvSpPr>
        <p:spPr bwMode="auto">
          <a:xfrm>
            <a:off x="1676798" y="2878141"/>
            <a:ext cx="225292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3073" tIns="27557" rIns="53073" bIns="27557"/>
          <a:lstStyle/>
          <a:p>
            <a:r>
              <a:rPr lang="en-US" sz="1400" b="1" dirty="0">
                <a:solidFill>
                  <a:srgbClr val="000000"/>
                </a:solidFill>
              </a:rPr>
              <a:t>7.</a:t>
            </a:r>
            <a:endParaRPr lang="en-US" sz="1400" b="1" dirty="0"/>
          </a:p>
        </p:txBody>
      </p:sp>
      <p:sp>
        <p:nvSpPr>
          <p:cNvPr id="28" name="Line 52"/>
          <p:cNvSpPr>
            <a:spLocks noChangeShapeType="1"/>
          </p:cNvSpPr>
          <p:nvPr/>
        </p:nvSpPr>
        <p:spPr bwMode="auto">
          <a:xfrm rot="5400000" flipV="1">
            <a:off x="4211770" y="2166675"/>
            <a:ext cx="0" cy="4134379"/>
          </a:xfrm>
          <a:prstGeom prst="line">
            <a:avLst/>
          </a:prstGeom>
          <a:noFill/>
          <a:ln w="38100">
            <a:solidFill>
              <a:srgbClr val="000000"/>
            </a:solidFill>
            <a:round/>
            <a:headEnd/>
            <a:tailEnd type="triangle" w="med" len="med"/>
          </a:ln>
        </p:spPr>
        <p:txBody>
          <a:bodyPr lIns="91429" tIns="45715" rIns="91429" bIns="45715"/>
          <a:lstStyle/>
          <a:p>
            <a:endParaRPr lang="en-US"/>
          </a:p>
        </p:txBody>
      </p:sp>
      <p:sp>
        <p:nvSpPr>
          <p:cNvPr id="29" name="Rectangle 53"/>
          <p:cNvSpPr>
            <a:spLocks noChangeArrowheads="1"/>
          </p:cNvSpPr>
          <p:nvPr/>
        </p:nvSpPr>
        <p:spPr bwMode="auto">
          <a:xfrm>
            <a:off x="3860933" y="3975100"/>
            <a:ext cx="225292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3073" tIns="27557" rIns="53073" bIns="27557"/>
          <a:lstStyle/>
          <a:p>
            <a:r>
              <a:rPr lang="en-US" sz="1400" b="1" dirty="0">
                <a:solidFill>
                  <a:srgbClr val="000000"/>
                </a:solidFill>
              </a:rPr>
              <a:t>8.</a:t>
            </a:r>
            <a:endParaRPr lang="en-US" sz="1400" dirty="0"/>
          </a:p>
        </p:txBody>
      </p:sp>
      <p:sp>
        <p:nvSpPr>
          <p:cNvPr id="31" name="Line 56"/>
          <p:cNvSpPr>
            <a:spLocks noChangeShapeType="1"/>
          </p:cNvSpPr>
          <p:nvPr/>
        </p:nvSpPr>
        <p:spPr bwMode="auto">
          <a:xfrm flipV="1">
            <a:off x="7291917" y="2370137"/>
            <a:ext cx="1720" cy="1314451"/>
          </a:xfrm>
          <a:prstGeom prst="line">
            <a:avLst/>
          </a:prstGeom>
          <a:noFill/>
          <a:ln w="38100">
            <a:solidFill>
              <a:srgbClr val="000000"/>
            </a:solidFill>
            <a:prstDash val="dash"/>
            <a:round/>
            <a:headEnd type="triangle" w="med" len="med"/>
            <a:tailEnd/>
          </a:ln>
        </p:spPr>
        <p:txBody>
          <a:bodyPr lIns="91429" tIns="45715" rIns="91429" bIns="45715"/>
          <a:lstStyle/>
          <a:p>
            <a:endParaRPr lang="en-US"/>
          </a:p>
        </p:txBody>
      </p:sp>
      <p:sp>
        <p:nvSpPr>
          <p:cNvPr id="32" name="Rectangle 57"/>
          <p:cNvSpPr>
            <a:spLocks noChangeArrowheads="1"/>
          </p:cNvSpPr>
          <p:nvPr/>
        </p:nvSpPr>
        <p:spPr bwMode="auto">
          <a:xfrm>
            <a:off x="6989235" y="2895600"/>
            <a:ext cx="22529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3073" tIns="27557" rIns="53073" bIns="27557"/>
          <a:lstStyle/>
          <a:p>
            <a:r>
              <a:rPr lang="en-US" sz="1400" b="1" dirty="0">
                <a:solidFill>
                  <a:srgbClr val="000000"/>
                </a:solidFill>
              </a:rPr>
              <a:t>9.</a:t>
            </a:r>
            <a:endParaRPr lang="en-US" sz="1400" dirty="0"/>
          </a:p>
        </p:txBody>
      </p:sp>
      <p:sp>
        <p:nvSpPr>
          <p:cNvPr id="34" name="Line 60"/>
          <p:cNvSpPr>
            <a:spLocks noChangeShapeType="1"/>
          </p:cNvSpPr>
          <p:nvPr/>
        </p:nvSpPr>
        <p:spPr bwMode="auto">
          <a:xfrm rot="5400000" flipV="1">
            <a:off x="4266804" y="2518966"/>
            <a:ext cx="0" cy="4179094"/>
          </a:xfrm>
          <a:prstGeom prst="line">
            <a:avLst/>
          </a:prstGeom>
          <a:noFill/>
          <a:ln w="38100">
            <a:solidFill>
              <a:srgbClr val="000000"/>
            </a:solidFill>
            <a:prstDash val="dash"/>
            <a:round/>
            <a:headEnd type="triangle" w="med" len="med"/>
            <a:tailEnd/>
          </a:ln>
        </p:spPr>
        <p:txBody>
          <a:bodyPr lIns="91429" tIns="45715" rIns="91429" bIns="45715"/>
          <a:lstStyle/>
          <a:p>
            <a:endParaRPr lang="en-US"/>
          </a:p>
        </p:txBody>
      </p:sp>
      <p:sp>
        <p:nvSpPr>
          <p:cNvPr id="35" name="Rectangle 61"/>
          <p:cNvSpPr>
            <a:spLocks noChangeArrowheads="1"/>
          </p:cNvSpPr>
          <p:nvPr/>
        </p:nvSpPr>
        <p:spPr bwMode="auto">
          <a:xfrm>
            <a:off x="3781823" y="4333875"/>
            <a:ext cx="225292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53073" tIns="27557" rIns="53073" bIns="27557"/>
          <a:lstStyle/>
          <a:p>
            <a:r>
              <a:rPr lang="en-US" sz="1400" b="1" dirty="0">
                <a:solidFill>
                  <a:srgbClr val="000000"/>
                </a:solidFill>
              </a:rPr>
              <a:t>10.</a:t>
            </a:r>
            <a:endParaRPr lang="en-US" sz="1400" b="1" dirty="0"/>
          </a:p>
        </p:txBody>
      </p:sp>
      <p:sp>
        <p:nvSpPr>
          <p:cNvPr id="36" name="Title 3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Forfaiting : Typical Transaction Flow</a:t>
            </a:r>
            <a:endParaRPr lang="en-US" dirty="0"/>
          </a:p>
        </p:txBody>
      </p:sp>
      <p:sp>
        <p:nvSpPr>
          <p:cNvPr id="37" name="Rectangle 6"/>
          <p:cNvSpPr>
            <a:spLocks noChangeArrowheads="1"/>
          </p:cNvSpPr>
          <p:nvPr/>
        </p:nvSpPr>
        <p:spPr bwMode="auto">
          <a:xfrm>
            <a:off x="560512" y="5877272"/>
            <a:ext cx="8640960" cy="73442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36000" tIns="36000" rIns="36000" bIns="36000">
            <a:spAutoFit/>
          </a:bodyPr>
          <a:lstStyle/>
          <a:p>
            <a:pPr algn="just" eaLnBrk="0" hangingPunct="0">
              <a:spcBef>
                <a:spcPct val="50000"/>
              </a:spcBef>
              <a:defRPr/>
            </a:pPr>
            <a:r>
              <a:rPr lang="en-GB" sz="1400" b="1" u="sng" dirty="0" smtClean="0">
                <a:solidFill>
                  <a:srgbClr val="002060"/>
                </a:solidFill>
              </a:rPr>
              <a:t>What Next ?</a:t>
            </a:r>
          </a:p>
          <a:p>
            <a:pPr eaLnBrk="0" hangingPunct="0">
              <a:spcBef>
                <a:spcPts val="600"/>
              </a:spcBef>
              <a:buSzPct val="65000"/>
              <a:defRPr/>
            </a:pPr>
            <a:r>
              <a:rPr lang="en-GB" sz="1200" dirty="0" smtClean="0">
                <a:solidFill>
                  <a:srgbClr val="002060"/>
                </a:solidFill>
              </a:rPr>
              <a:t>After </a:t>
            </a:r>
            <a:r>
              <a:rPr lang="en-GB" sz="1200" dirty="0">
                <a:solidFill>
                  <a:srgbClr val="002060"/>
                </a:solidFill>
              </a:rPr>
              <a:t>discounting the </a:t>
            </a:r>
            <a:r>
              <a:rPr lang="en-GB" sz="1200" dirty="0" err="1" smtClean="0">
                <a:solidFill>
                  <a:srgbClr val="002060"/>
                </a:solidFill>
              </a:rPr>
              <a:t>Forfaiter</a:t>
            </a:r>
            <a:r>
              <a:rPr lang="en-GB" sz="1200" dirty="0" smtClean="0">
                <a:solidFill>
                  <a:srgbClr val="002060"/>
                </a:solidFill>
              </a:rPr>
              <a:t> </a:t>
            </a:r>
            <a:r>
              <a:rPr lang="en-GB" sz="1200" dirty="0">
                <a:solidFill>
                  <a:srgbClr val="002060"/>
                </a:solidFill>
              </a:rPr>
              <a:t>can </a:t>
            </a:r>
            <a:r>
              <a:rPr lang="en-GB" sz="1200" dirty="0" smtClean="0">
                <a:solidFill>
                  <a:srgbClr val="002060"/>
                </a:solidFill>
              </a:rPr>
              <a:t>(a) hold the instruments </a:t>
            </a:r>
            <a:r>
              <a:rPr lang="en-GB" sz="1200" dirty="0">
                <a:solidFill>
                  <a:srgbClr val="002060"/>
                </a:solidFill>
              </a:rPr>
              <a:t>to maturity</a:t>
            </a:r>
            <a:r>
              <a:rPr lang="en-GB" sz="1200" dirty="0">
                <a:solidFill>
                  <a:schemeClr val="accent3"/>
                </a:solidFill>
              </a:rPr>
              <a:t> </a:t>
            </a:r>
            <a:r>
              <a:rPr lang="en-GB" sz="1200" dirty="0">
                <a:solidFill>
                  <a:srgbClr val="002060"/>
                </a:solidFill>
              </a:rPr>
              <a:t>and claim payment from </a:t>
            </a:r>
            <a:r>
              <a:rPr lang="en-GB" sz="1200" dirty="0" smtClean="0">
                <a:solidFill>
                  <a:srgbClr val="002060"/>
                </a:solidFill>
              </a:rPr>
              <a:t>the Obligor/Guarantor </a:t>
            </a:r>
            <a:r>
              <a:rPr lang="en-GB" sz="1200" dirty="0">
                <a:solidFill>
                  <a:srgbClr val="002060"/>
                </a:solidFill>
              </a:rPr>
              <a:t>or </a:t>
            </a:r>
            <a:endParaRPr lang="en-GB" sz="1200" dirty="0" smtClean="0">
              <a:solidFill>
                <a:srgbClr val="002060"/>
              </a:solidFill>
            </a:endParaRPr>
          </a:p>
          <a:p>
            <a:pPr eaLnBrk="0" hangingPunct="0">
              <a:buSzPct val="65000"/>
              <a:defRPr/>
            </a:pPr>
            <a:r>
              <a:rPr lang="en-GB" sz="1200" dirty="0" smtClean="0">
                <a:solidFill>
                  <a:srgbClr val="002060"/>
                </a:solidFill>
              </a:rPr>
              <a:t>(b) sell </a:t>
            </a:r>
            <a:r>
              <a:rPr lang="en-GB" sz="1200" dirty="0">
                <a:solidFill>
                  <a:srgbClr val="002060"/>
                </a:solidFill>
              </a:rPr>
              <a:t>them to third </a:t>
            </a:r>
            <a:r>
              <a:rPr lang="en-GB" sz="1200" dirty="0" smtClean="0">
                <a:solidFill>
                  <a:srgbClr val="002060"/>
                </a:solidFill>
              </a:rPr>
              <a:t>parties through </a:t>
            </a:r>
            <a:r>
              <a:rPr lang="en-GB" sz="1200" b="1" i="1" u="sng" dirty="0" smtClean="0">
                <a:solidFill>
                  <a:srgbClr val="002060"/>
                </a:solidFill>
              </a:rPr>
              <a:t>Trading</a:t>
            </a:r>
            <a:r>
              <a:rPr lang="en-GB" sz="1200" dirty="0" smtClean="0">
                <a:solidFill>
                  <a:srgbClr val="002060"/>
                </a:solidFill>
              </a:rPr>
              <a:t> on secondary market =&gt; in </a:t>
            </a:r>
            <a:r>
              <a:rPr lang="en-GB" sz="1200" dirty="0">
                <a:solidFill>
                  <a:srgbClr val="002060"/>
                </a:solidFill>
              </a:rPr>
              <a:t>our opinion</a:t>
            </a:r>
            <a:r>
              <a:rPr lang="en-GB" sz="1200" dirty="0">
                <a:solidFill>
                  <a:schemeClr val="accent3"/>
                </a:solidFill>
              </a:rPr>
              <a:t> </a:t>
            </a:r>
            <a:r>
              <a:rPr lang="en-GB" sz="1200" dirty="0" smtClean="0">
                <a:solidFill>
                  <a:srgbClr val="002060"/>
                </a:solidFill>
              </a:rPr>
              <a:t>this is the </a:t>
            </a:r>
            <a:r>
              <a:rPr lang="en-GB" sz="1200" b="1" i="1" u="sng" dirty="0" smtClean="0">
                <a:solidFill>
                  <a:srgbClr val="002060"/>
                </a:solidFill>
              </a:rPr>
              <a:t>“</a:t>
            </a:r>
            <a:r>
              <a:rPr lang="en-GB" sz="1200" b="1" i="1" u="sng" dirty="0">
                <a:solidFill>
                  <a:srgbClr val="002060"/>
                </a:solidFill>
              </a:rPr>
              <a:t>True Forfaiting</a:t>
            </a:r>
            <a:r>
              <a:rPr lang="en-GB" sz="1200" b="1" i="1" u="sng" dirty="0" smtClean="0">
                <a:solidFill>
                  <a:srgbClr val="002060"/>
                </a:solidFill>
              </a:rPr>
              <a:t>”</a:t>
            </a:r>
            <a:endParaRPr lang="en-GB" sz="1200" b="1" i="1" u="sng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000"/>
                            </p:stCondLst>
                            <p:childTnLst>
                              <p:par>
                                <p:cTn id="1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" presetClass="entr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out)">
                                      <p:cBhvr>
                                        <p:cTn id="3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2500"/>
                            </p:stCondLst>
                            <p:childTnLst>
                              <p:par>
                                <p:cTn id="4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000"/>
                            </p:stCondLst>
                            <p:childTnLst>
                              <p:par>
                                <p:cTn id="5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50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4000"/>
                            </p:stCondLst>
                            <p:childTnLst>
                              <p:par>
                                <p:cTn id="64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4500"/>
                            </p:stCondLst>
                            <p:childTnLst>
                              <p:par>
                                <p:cTn id="71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7" fill="hold">
                            <p:stCondLst>
                              <p:cond delay="5000"/>
                            </p:stCondLst>
                            <p:childTnLst>
                              <p:par>
                                <p:cTn id="78" presetID="27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80" dur="2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tx1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81" dur="2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2" dur="200"/>
                                        <p:tgtEl>
                                          <p:spTgt spid="3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  <p:subTnLst>
                                    <p:audio>
                                      <p:cMediaNode vol="100000">
                                        <p:cTn display="0" masterRel="sameClick">
                                          <p:stCondLst>
                                            <p:cond evt="begin" delay="0">
                                              <p:tn val="78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2" name="type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0" grpId="0" animBg="1"/>
      <p:bldP spid="11" grpId="0"/>
      <p:bldP spid="13" grpId="0" animBg="1"/>
      <p:bldP spid="14" grpId="0"/>
      <p:bldP spid="17" grpId="0" animBg="1"/>
      <p:bldP spid="18" grpId="0"/>
      <p:bldP spid="20" grpId="0" animBg="1"/>
      <p:bldP spid="21" grpId="0"/>
      <p:bldP spid="23" grpId="0" animBg="1"/>
      <p:bldP spid="24" grpId="0"/>
      <p:bldP spid="25" grpId="0" animBg="1"/>
      <p:bldP spid="26" grpId="0"/>
      <p:bldP spid="28" grpId="0" animBg="1"/>
      <p:bldP spid="29" grpId="0"/>
      <p:bldP spid="31" grpId="0" animBg="1"/>
      <p:bldP spid="32" grpId="0"/>
      <p:bldP spid="34" grpId="0" animBg="1"/>
      <p:bldP spid="35" grpId="0"/>
      <p:bldP spid="3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/>
          <p:cNvGrpSpPr>
            <a:grpSpLocks/>
          </p:cNvGrpSpPr>
          <p:nvPr/>
        </p:nvGrpSpPr>
        <p:grpSpPr bwMode="auto">
          <a:xfrm>
            <a:off x="992560" y="1087512"/>
            <a:ext cx="3138620" cy="1549400"/>
            <a:chOff x="464" y="913"/>
            <a:chExt cx="1825" cy="976"/>
          </a:xfrm>
        </p:grpSpPr>
        <p:grpSp>
          <p:nvGrpSpPr>
            <p:cNvPr id="3" name="Group 7"/>
            <p:cNvGrpSpPr>
              <a:grpSpLocks/>
            </p:cNvGrpSpPr>
            <p:nvPr/>
          </p:nvGrpSpPr>
          <p:grpSpPr bwMode="auto">
            <a:xfrm>
              <a:off x="464" y="913"/>
              <a:ext cx="790" cy="976"/>
              <a:chOff x="464" y="913"/>
              <a:chExt cx="790" cy="976"/>
            </a:xfrm>
          </p:grpSpPr>
          <p:grpSp>
            <p:nvGrpSpPr>
              <p:cNvPr id="4" name="Group 8"/>
              <p:cNvGrpSpPr>
                <a:grpSpLocks/>
              </p:cNvGrpSpPr>
              <p:nvPr/>
            </p:nvGrpSpPr>
            <p:grpSpPr bwMode="auto">
              <a:xfrm>
                <a:off x="643" y="973"/>
                <a:ext cx="248" cy="438"/>
                <a:chOff x="643" y="973"/>
                <a:chExt cx="248" cy="438"/>
              </a:xfrm>
            </p:grpSpPr>
            <p:grpSp>
              <p:nvGrpSpPr>
                <p:cNvPr id="5" name="Group 9"/>
                <p:cNvGrpSpPr>
                  <a:grpSpLocks/>
                </p:cNvGrpSpPr>
                <p:nvPr/>
              </p:nvGrpSpPr>
              <p:grpSpPr bwMode="auto">
                <a:xfrm>
                  <a:off x="643" y="973"/>
                  <a:ext cx="248" cy="438"/>
                  <a:chOff x="643" y="973"/>
                  <a:chExt cx="248" cy="438"/>
                </a:xfrm>
              </p:grpSpPr>
              <p:sp>
                <p:nvSpPr>
                  <p:cNvPr id="38886" name="Freeform 10"/>
                  <p:cNvSpPr>
                    <a:spLocks/>
                  </p:cNvSpPr>
                  <p:nvPr/>
                </p:nvSpPr>
                <p:spPr bwMode="auto">
                  <a:xfrm>
                    <a:off x="643" y="1067"/>
                    <a:ext cx="248" cy="62"/>
                  </a:xfrm>
                  <a:custGeom>
                    <a:avLst/>
                    <a:gdLst>
                      <a:gd name="T0" fmla="*/ 0 w 744"/>
                      <a:gd name="T1" fmla="*/ 0 h 186"/>
                      <a:gd name="T2" fmla="*/ 0 w 744"/>
                      <a:gd name="T3" fmla="*/ 0 h 186"/>
                      <a:gd name="T4" fmla="*/ 0 w 744"/>
                      <a:gd name="T5" fmla="*/ 0 h 186"/>
                      <a:gd name="T6" fmla="*/ 0 w 744"/>
                      <a:gd name="T7" fmla="*/ 0 h 186"/>
                      <a:gd name="T8" fmla="*/ 0 w 744"/>
                      <a:gd name="T9" fmla="*/ 0 h 18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44"/>
                      <a:gd name="T16" fmla="*/ 0 h 186"/>
                      <a:gd name="T17" fmla="*/ 744 w 744"/>
                      <a:gd name="T18" fmla="*/ 186 h 18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44" h="186">
                        <a:moveTo>
                          <a:pt x="550" y="186"/>
                        </a:moveTo>
                        <a:lnTo>
                          <a:pt x="744" y="87"/>
                        </a:lnTo>
                        <a:lnTo>
                          <a:pt x="208" y="0"/>
                        </a:lnTo>
                        <a:lnTo>
                          <a:pt x="0" y="102"/>
                        </a:lnTo>
                        <a:lnTo>
                          <a:pt x="550" y="186"/>
                        </a:lnTo>
                        <a:close/>
                      </a:path>
                    </a:pathLst>
                  </a:custGeom>
                  <a:solidFill>
                    <a:srgbClr val="5FBF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87" name="Freeform 11"/>
                  <p:cNvSpPr>
                    <a:spLocks/>
                  </p:cNvSpPr>
                  <p:nvPr/>
                </p:nvSpPr>
                <p:spPr bwMode="auto">
                  <a:xfrm>
                    <a:off x="655" y="973"/>
                    <a:ext cx="207" cy="31"/>
                  </a:xfrm>
                  <a:custGeom>
                    <a:avLst/>
                    <a:gdLst>
                      <a:gd name="T0" fmla="*/ 0 w 619"/>
                      <a:gd name="T1" fmla="*/ 0 h 91"/>
                      <a:gd name="T2" fmla="*/ 0 w 619"/>
                      <a:gd name="T3" fmla="*/ 0 h 91"/>
                      <a:gd name="T4" fmla="*/ 0 w 619"/>
                      <a:gd name="T5" fmla="*/ 0 h 91"/>
                      <a:gd name="T6" fmla="*/ 0 w 619"/>
                      <a:gd name="T7" fmla="*/ 0 h 91"/>
                      <a:gd name="T8" fmla="*/ 0 w 619"/>
                      <a:gd name="T9" fmla="*/ 0 h 9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19"/>
                      <a:gd name="T16" fmla="*/ 0 h 91"/>
                      <a:gd name="T17" fmla="*/ 619 w 619"/>
                      <a:gd name="T18" fmla="*/ 91 h 9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19" h="91">
                        <a:moveTo>
                          <a:pt x="0" y="46"/>
                        </a:moveTo>
                        <a:lnTo>
                          <a:pt x="483" y="91"/>
                        </a:lnTo>
                        <a:lnTo>
                          <a:pt x="619" y="50"/>
                        </a:lnTo>
                        <a:lnTo>
                          <a:pt x="148" y="0"/>
                        </a:lnTo>
                        <a:lnTo>
                          <a:pt x="0" y="46"/>
                        </a:lnTo>
                        <a:close/>
                      </a:path>
                    </a:pathLst>
                  </a:custGeom>
                  <a:solidFill>
                    <a:srgbClr val="5FBF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88" name="Freeform 12"/>
                  <p:cNvSpPr>
                    <a:spLocks/>
                  </p:cNvSpPr>
                  <p:nvPr/>
                </p:nvSpPr>
                <p:spPr bwMode="auto">
                  <a:xfrm>
                    <a:off x="817" y="990"/>
                    <a:ext cx="45" cy="127"/>
                  </a:xfrm>
                  <a:custGeom>
                    <a:avLst/>
                    <a:gdLst>
                      <a:gd name="T0" fmla="*/ 0 w 136"/>
                      <a:gd name="T1" fmla="*/ 0 h 381"/>
                      <a:gd name="T2" fmla="*/ 0 w 136"/>
                      <a:gd name="T3" fmla="*/ 0 h 381"/>
                      <a:gd name="T4" fmla="*/ 0 w 136"/>
                      <a:gd name="T5" fmla="*/ 0 h 381"/>
                      <a:gd name="T6" fmla="*/ 0 w 136"/>
                      <a:gd name="T7" fmla="*/ 0 h 381"/>
                      <a:gd name="T8" fmla="*/ 0 w 136"/>
                      <a:gd name="T9" fmla="*/ 0 h 38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36"/>
                      <a:gd name="T16" fmla="*/ 0 h 381"/>
                      <a:gd name="T17" fmla="*/ 136 w 136"/>
                      <a:gd name="T18" fmla="*/ 381 h 38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36" h="381">
                        <a:moveTo>
                          <a:pt x="0" y="40"/>
                        </a:moveTo>
                        <a:lnTo>
                          <a:pt x="136" y="0"/>
                        </a:lnTo>
                        <a:lnTo>
                          <a:pt x="136" y="319"/>
                        </a:lnTo>
                        <a:lnTo>
                          <a:pt x="0" y="381"/>
                        </a:lnTo>
                        <a:lnTo>
                          <a:pt x="0" y="40"/>
                        </a:lnTo>
                        <a:close/>
                      </a:path>
                    </a:pathLst>
                  </a:custGeom>
                  <a:solidFill>
                    <a:srgbClr val="00FF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89" name="Freeform 13"/>
                  <p:cNvSpPr>
                    <a:spLocks/>
                  </p:cNvSpPr>
                  <p:nvPr/>
                </p:nvSpPr>
                <p:spPr bwMode="auto">
                  <a:xfrm>
                    <a:off x="655" y="989"/>
                    <a:ext cx="162" cy="127"/>
                  </a:xfrm>
                  <a:custGeom>
                    <a:avLst/>
                    <a:gdLst>
                      <a:gd name="T0" fmla="*/ 0 w 485"/>
                      <a:gd name="T1" fmla="*/ 0 h 383"/>
                      <a:gd name="T2" fmla="*/ 0 w 485"/>
                      <a:gd name="T3" fmla="*/ 0 h 383"/>
                      <a:gd name="T4" fmla="*/ 0 w 485"/>
                      <a:gd name="T5" fmla="*/ 0 h 383"/>
                      <a:gd name="T6" fmla="*/ 0 w 485"/>
                      <a:gd name="T7" fmla="*/ 0 h 383"/>
                      <a:gd name="T8" fmla="*/ 0 w 485"/>
                      <a:gd name="T9" fmla="*/ 0 h 38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485"/>
                      <a:gd name="T16" fmla="*/ 0 h 383"/>
                      <a:gd name="T17" fmla="*/ 485 w 485"/>
                      <a:gd name="T18" fmla="*/ 383 h 38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485" h="383">
                        <a:moveTo>
                          <a:pt x="1" y="0"/>
                        </a:moveTo>
                        <a:lnTo>
                          <a:pt x="485" y="45"/>
                        </a:lnTo>
                        <a:lnTo>
                          <a:pt x="485" y="383"/>
                        </a:lnTo>
                        <a:lnTo>
                          <a:pt x="0" y="305"/>
                        </a:ln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7FFF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90" name="Freeform 14"/>
                  <p:cNvSpPr>
                    <a:spLocks/>
                  </p:cNvSpPr>
                  <p:nvPr/>
                </p:nvSpPr>
                <p:spPr bwMode="auto">
                  <a:xfrm>
                    <a:off x="826" y="1095"/>
                    <a:ext cx="65" cy="316"/>
                  </a:xfrm>
                  <a:custGeom>
                    <a:avLst/>
                    <a:gdLst>
                      <a:gd name="T0" fmla="*/ 0 w 194"/>
                      <a:gd name="T1" fmla="*/ 0 h 947"/>
                      <a:gd name="T2" fmla="*/ 0 w 194"/>
                      <a:gd name="T3" fmla="*/ 0 h 947"/>
                      <a:gd name="T4" fmla="*/ 0 w 194"/>
                      <a:gd name="T5" fmla="*/ 0 h 947"/>
                      <a:gd name="T6" fmla="*/ 0 w 194"/>
                      <a:gd name="T7" fmla="*/ 0 h 947"/>
                      <a:gd name="T8" fmla="*/ 0 w 194"/>
                      <a:gd name="T9" fmla="*/ 0 h 94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94"/>
                      <a:gd name="T16" fmla="*/ 0 h 947"/>
                      <a:gd name="T17" fmla="*/ 194 w 194"/>
                      <a:gd name="T18" fmla="*/ 947 h 94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94" h="947">
                        <a:moveTo>
                          <a:pt x="194" y="0"/>
                        </a:moveTo>
                        <a:lnTo>
                          <a:pt x="0" y="100"/>
                        </a:lnTo>
                        <a:lnTo>
                          <a:pt x="0" y="947"/>
                        </a:lnTo>
                        <a:lnTo>
                          <a:pt x="194" y="826"/>
                        </a:lnTo>
                        <a:lnTo>
                          <a:pt x="194" y="0"/>
                        </a:lnTo>
                        <a:close/>
                      </a:path>
                    </a:pathLst>
                  </a:custGeom>
                  <a:solidFill>
                    <a:srgbClr val="00FF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91" name="Freeform 15"/>
                  <p:cNvSpPr>
                    <a:spLocks/>
                  </p:cNvSpPr>
                  <p:nvPr/>
                </p:nvSpPr>
                <p:spPr bwMode="auto">
                  <a:xfrm>
                    <a:off x="643" y="1100"/>
                    <a:ext cx="184" cy="311"/>
                  </a:xfrm>
                  <a:custGeom>
                    <a:avLst/>
                    <a:gdLst>
                      <a:gd name="T0" fmla="*/ 0 w 552"/>
                      <a:gd name="T1" fmla="*/ 0 h 932"/>
                      <a:gd name="T2" fmla="*/ 0 w 552"/>
                      <a:gd name="T3" fmla="*/ 0 h 932"/>
                      <a:gd name="T4" fmla="*/ 0 w 552"/>
                      <a:gd name="T5" fmla="*/ 0 h 932"/>
                      <a:gd name="T6" fmla="*/ 0 w 552"/>
                      <a:gd name="T7" fmla="*/ 0 h 932"/>
                      <a:gd name="T8" fmla="*/ 0 w 552"/>
                      <a:gd name="T9" fmla="*/ 0 h 93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52"/>
                      <a:gd name="T16" fmla="*/ 0 h 932"/>
                      <a:gd name="T17" fmla="*/ 552 w 552"/>
                      <a:gd name="T18" fmla="*/ 932 h 93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52" h="932">
                        <a:moveTo>
                          <a:pt x="0" y="0"/>
                        </a:moveTo>
                        <a:lnTo>
                          <a:pt x="552" y="85"/>
                        </a:lnTo>
                        <a:lnTo>
                          <a:pt x="550" y="932"/>
                        </a:lnTo>
                        <a:lnTo>
                          <a:pt x="0" y="819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7FFF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6" name="Group 16"/>
                <p:cNvGrpSpPr>
                  <a:grpSpLocks/>
                </p:cNvGrpSpPr>
                <p:nvPr/>
              </p:nvGrpSpPr>
              <p:grpSpPr bwMode="auto">
                <a:xfrm>
                  <a:off x="663" y="993"/>
                  <a:ext cx="156" cy="185"/>
                  <a:chOff x="663" y="993"/>
                  <a:chExt cx="156" cy="185"/>
                </a:xfrm>
              </p:grpSpPr>
              <p:sp>
                <p:nvSpPr>
                  <p:cNvPr id="38877" name="Freeform 17"/>
                  <p:cNvSpPr>
                    <a:spLocks/>
                  </p:cNvSpPr>
                  <p:nvPr/>
                </p:nvSpPr>
                <p:spPr bwMode="auto">
                  <a:xfrm>
                    <a:off x="663" y="993"/>
                    <a:ext cx="24" cy="12"/>
                  </a:xfrm>
                  <a:custGeom>
                    <a:avLst/>
                    <a:gdLst>
                      <a:gd name="T0" fmla="*/ 0 w 72"/>
                      <a:gd name="T1" fmla="*/ 0 h 34"/>
                      <a:gd name="T2" fmla="*/ 0 w 72"/>
                      <a:gd name="T3" fmla="*/ 0 h 34"/>
                      <a:gd name="T4" fmla="*/ 0 w 72"/>
                      <a:gd name="T5" fmla="*/ 0 h 34"/>
                      <a:gd name="T6" fmla="*/ 0 w 72"/>
                      <a:gd name="T7" fmla="*/ 0 h 34"/>
                      <a:gd name="T8" fmla="*/ 0 w 72"/>
                      <a:gd name="T9" fmla="*/ 0 h 3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2"/>
                      <a:gd name="T16" fmla="*/ 0 h 34"/>
                      <a:gd name="T17" fmla="*/ 72 w 72"/>
                      <a:gd name="T18" fmla="*/ 34 h 3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2" h="34">
                        <a:moveTo>
                          <a:pt x="0" y="0"/>
                        </a:moveTo>
                        <a:lnTo>
                          <a:pt x="72" y="8"/>
                        </a:lnTo>
                        <a:lnTo>
                          <a:pt x="72" y="34"/>
                        </a:lnTo>
                        <a:lnTo>
                          <a:pt x="0" y="2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78" name="Freeform 18"/>
                  <p:cNvSpPr>
                    <a:spLocks/>
                  </p:cNvSpPr>
                  <p:nvPr/>
                </p:nvSpPr>
                <p:spPr bwMode="auto">
                  <a:xfrm>
                    <a:off x="694" y="1013"/>
                    <a:ext cx="24" cy="10"/>
                  </a:xfrm>
                  <a:custGeom>
                    <a:avLst/>
                    <a:gdLst>
                      <a:gd name="T0" fmla="*/ 0 w 72"/>
                      <a:gd name="T1" fmla="*/ 0 h 32"/>
                      <a:gd name="T2" fmla="*/ 0 w 72"/>
                      <a:gd name="T3" fmla="*/ 0 h 32"/>
                      <a:gd name="T4" fmla="*/ 0 w 72"/>
                      <a:gd name="T5" fmla="*/ 0 h 32"/>
                      <a:gd name="T6" fmla="*/ 0 w 72"/>
                      <a:gd name="T7" fmla="*/ 0 h 32"/>
                      <a:gd name="T8" fmla="*/ 0 w 72"/>
                      <a:gd name="T9" fmla="*/ 0 h 3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2"/>
                      <a:gd name="T16" fmla="*/ 0 h 32"/>
                      <a:gd name="T17" fmla="*/ 72 w 72"/>
                      <a:gd name="T18" fmla="*/ 32 h 3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2" h="32">
                        <a:moveTo>
                          <a:pt x="0" y="0"/>
                        </a:moveTo>
                        <a:lnTo>
                          <a:pt x="72" y="6"/>
                        </a:lnTo>
                        <a:lnTo>
                          <a:pt x="72" y="32"/>
                        </a:lnTo>
                        <a:lnTo>
                          <a:pt x="0" y="25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79" name="Freeform 19"/>
                  <p:cNvSpPr>
                    <a:spLocks/>
                  </p:cNvSpPr>
                  <p:nvPr/>
                </p:nvSpPr>
                <p:spPr bwMode="auto">
                  <a:xfrm>
                    <a:off x="727" y="1000"/>
                    <a:ext cx="24" cy="11"/>
                  </a:xfrm>
                  <a:custGeom>
                    <a:avLst/>
                    <a:gdLst>
                      <a:gd name="T0" fmla="*/ 0 w 71"/>
                      <a:gd name="T1" fmla="*/ 0 h 33"/>
                      <a:gd name="T2" fmla="*/ 0 w 71"/>
                      <a:gd name="T3" fmla="*/ 0 h 33"/>
                      <a:gd name="T4" fmla="*/ 0 w 71"/>
                      <a:gd name="T5" fmla="*/ 0 h 33"/>
                      <a:gd name="T6" fmla="*/ 0 w 71"/>
                      <a:gd name="T7" fmla="*/ 0 h 33"/>
                      <a:gd name="T8" fmla="*/ 0 w 71"/>
                      <a:gd name="T9" fmla="*/ 0 h 3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1"/>
                      <a:gd name="T16" fmla="*/ 0 h 33"/>
                      <a:gd name="T17" fmla="*/ 71 w 71"/>
                      <a:gd name="T18" fmla="*/ 33 h 3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1" h="33">
                        <a:moveTo>
                          <a:pt x="0" y="0"/>
                        </a:moveTo>
                        <a:lnTo>
                          <a:pt x="71" y="8"/>
                        </a:lnTo>
                        <a:lnTo>
                          <a:pt x="71" y="33"/>
                        </a:lnTo>
                        <a:lnTo>
                          <a:pt x="0" y="25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80" name="Freeform 20"/>
                  <p:cNvSpPr>
                    <a:spLocks/>
                  </p:cNvSpPr>
                  <p:nvPr/>
                </p:nvSpPr>
                <p:spPr bwMode="auto">
                  <a:xfrm>
                    <a:off x="762" y="1004"/>
                    <a:ext cx="24" cy="10"/>
                  </a:xfrm>
                  <a:custGeom>
                    <a:avLst/>
                    <a:gdLst>
                      <a:gd name="T0" fmla="*/ 0 w 72"/>
                      <a:gd name="T1" fmla="*/ 0 h 32"/>
                      <a:gd name="T2" fmla="*/ 0 w 72"/>
                      <a:gd name="T3" fmla="*/ 0 h 32"/>
                      <a:gd name="T4" fmla="*/ 0 w 72"/>
                      <a:gd name="T5" fmla="*/ 0 h 32"/>
                      <a:gd name="T6" fmla="*/ 0 w 72"/>
                      <a:gd name="T7" fmla="*/ 0 h 32"/>
                      <a:gd name="T8" fmla="*/ 0 w 72"/>
                      <a:gd name="T9" fmla="*/ 0 h 3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2"/>
                      <a:gd name="T16" fmla="*/ 0 h 32"/>
                      <a:gd name="T17" fmla="*/ 72 w 72"/>
                      <a:gd name="T18" fmla="*/ 32 h 3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2" h="32">
                        <a:moveTo>
                          <a:pt x="0" y="0"/>
                        </a:moveTo>
                        <a:lnTo>
                          <a:pt x="72" y="7"/>
                        </a:lnTo>
                        <a:lnTo>
                          <a:pt x="72" y="32"/>
                        </a:lnTo>
                        <a:lnTo>
                          <a:pt x="0" y="25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81" name="Freeform 21"/>
                  <p:cNvSpPr>
                    <a:spLocks/>
                  </p:cNvSpPr>
                  <p:nvPr/>
                </p:nvSpPr>
                <p:spPr bwMode="auto">
                  <a:xfrm>
                    <a:off x="762" y="1021"/>
                    <a:ext cx="24" cy="11"/>
                  </a:xfrm>
                  <a:custGeom>
                    <a:avLst/>
                    <a:gdLst>
                      <a:gd name="T0" fmla="*/ 0 w 72"/>
                      <a:gd name="T1" fmla="*/ 0 h 32"/>
                      <a:gd name="T2" fmla="*/ 0 w 72"/>
                      <a:gd name="T3" fmla="*/ 0 h 32"/>
                      <a:gd name="T4" fmla="*/ 0 w 72"/>
                      <a:gd name="T5" fmla="*/ 0 h 32"/>
                      <a:gd name="T6" fmla="*/ 0 w 72"/>
                      <a:gd name="T7" fmla="*/ 0 h 32"/>
                      <a:gd name="T8" fmla="*/ 0 w 72"/>
                      <a:gd name="T9" fmla="*/ 0 h 3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2"/>
                      <a:gd name="T16" fmla="*/ 0 h 32"/>
                      <a:gd name="T17" fmla="*/ 72 w 72"/>
                      <a:gd name="T18" fmla="*/ 32 h 3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2" h="32">
                        <a:moveTo>
                          <a:pt x="0" y="0"/>
                        </a:moveTo>
                        <a:lnTo>
                          <a:pt x="72" y="7"/>
                        </a:lnTo>
                        <a:lnTo>
                          <a:pt x="72" y="32"/>
                        </a:lnTo>
                        <a:lnTo>
                          <a:pt x="0" y="24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82" name="Freeform 22"/>
                  <p:cNvSpPr>
                    <a:spLocks/>
                  </p:cNvSpPr>
                  <p:nvPr/>
                </p:nvSpPr>
                <p:spPr bwMode="auto">
                  <a:xfrm>
                    <a:off x="726" y="1037"/>
                    <a:ext cx="24" cy="11"/>
                  </a:xfrm>
                  <a:custGeom>
                    <a:avLst/>
                    <a:gdLst>
                      <a:gd name="T0" fmla="*/ 0 w 71"/>
                      <a:gd name="T1" fmla="*/ 0 h 33"/>
                      <a:gd name="T2" fmla="*/ 0 w 71"/>
                      <a:gd name="T3" fmla="*/ 0 h 33"/>
                      <a:gd name="T4" fmla="*/ 0 w 71"/>
                      <a:gd name="T5" fmla="*/ 0 h 33"/>
                      <a:gd name="T6" fmla="*/ 0 w 71"/>
                      <a:gd name="T7" fmla="*/ 0 h 33"/>
                      <a:gd name="T8" fmla="*/ 0 w 71"/>
                      <a:gd name="T9" fmla="*/ 0 h 3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1"/>
                      <a:gd name="T16" fmla="*/ 0 h 33"/>
                      <a:gd name="T17" fmla="*/ 71 w 71"/>
                      <a:gd name="T18" fmla="*/ 33 h 3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1" h="33">
                        <a:moveTo>
                          <a:pt x="0" y="0"/>
                        </a:moveTo>
                        <a:lnTo>
                          <a:pt x="71" y="8"/>
                        </a:lnTo>
                        <a:lnTo>
                          <a:pt x="71" y="33"/>
                        </a:lnTo>
                        <a:lnTo>
                          <a:pt x="0" y="25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83" name="Freeform 23"/>
                  <p:cNvSpPr>
                    <a:spLocks/>
                  </p:cNvSpPr>
                  <p:nvPr/>
                </p:nvSpPr>
                <p:spPr bwMode="auto">
                  <a:xfrm>
                    <a:off x="762" y="1058"/>
                    <a:ext cx="24" cy="11"/>
                  </a:xfrm>
                  <a:custGeom>
                    <a:avLst/>
                    <a:gdLst>
                      <a:gd name="T0" fmla="*/ 0 w 72"/>
                      <a:gd name="T1" fmla="*/ 0 h 32"/>
                      <a:gd name="T2" fmla="*/ 0 w 72"/>
                      <a:gd name="T3" fmla="*/ 0 h 32"/>
                      <a:gd name="T4" fmla="*/ 0 w 72"/>
                      <a:gd name="T5" fmla="*/ 0 h 32"/>
                      <a:gd name="T6" fmla="*/ 0 w 72"/>
                      <a:gd name="T7" fmla="*/ 0 h 32"/>
                      <a:gd name="T8" fmla="*/ 0 w 72"/>
                      <a:gd name="T9" fmla="*/ 0 h 3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2"/>
                      <a:gd name="T16" fmla="*/ 0 h 32"/>
                      <a:gd name="T17" fmla="*/ 72 w 72"/>
                      <a:gd name="T18" fmla="*/ 32 h 3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2" h="32">
                        <a:moveTo>
                          <a:pt x="0" y="0"/>
                        </a:moveTo>
                        <a:lnTo>
                          <a:pt x="72" y="6"/>
                        </a:lnTo>
                        <a:lnTo>
                          <a:pt x="72" y="32"/>
                        </a:lnTo>
                        <a:lnTo>
                          <a:pt x="0" y="25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84" name="Freeform 24"/>
                  <p:cNvSpPr>
                    <a:spLocks/>
                  </p:cNvSpPr>
                  <p:nvPr/>
                </p:nvSpPr>
                <p:spPr bwMode="auto">
                  <a:xfrm>
                    <a:off x="794" y="1133"/>
                    <a:ext cx="24" cy="11"/>
                  </a:xfrm>
                  <a:custGeom>
                    <a:avLst/>
                    <a:gdLst>
                      <a:gd name="T0" fmla="*/ 0 w 72"/>
                      <a:gd name="T1" fmla="*/ 0 h 34"/>
                      <a:gd name="T2" fmla="*/ 0 w 72"/>
                      <a:gd name="T3" fmla="*/ 0 h 34"/>
                      <a:gd name="T4" fmla="*/ 0 w 72"/>
                      <a:gd name="T5" fmla="*/ 0 h 34"/>
                      <a:gd name="T6" fmla="*/ 0 w 72"/>
                      <a:gd name="T7" fmla="*/ 0 h 34"/>
                      <a:gd name="T8" fmla="*/ 0 w 72"/>
                      <a:gd name="T9" fmla="*/ 0 h 3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2"/>
                      <a:gd name="T16" fmla="*/ 0 h 34"/>
                      <a:gd name="T17" fmla="*/ 72 w 72"/>
                      <a:gd name="T18" fmla="*/ 34 h 3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2" h="34">
                        <a:moveTo>
                          <a:pt x="0" y="0"/>
                        </a:moveTo>
                        <a:lnTo>
                          <a:pt x="72" y="8"/>
                        </a:lnTo>
                        <a:lnTo>
                          <a:pt x="72" y="34"/>
                        </a:lnTo>
                        <a:lnTo>
                          <a:pt x="0" y="2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85" name="Freeform 25"/>
                  <p:cNvSpPr>
                    <a:spLocks/>
                  </p:cNvSpPr>
                  <p:nvPr/>
                </p:nvSpPr>
                <p:spPr bwMode="auto">
                  <a:xfrm>
                    <a:off x="795" y="1168"/>
                    <a:ext cx="24" cy="10"/>
                  </a:xfrm>
                  <a:custGeom>
                    <a:avLst/>
                    <a:gdLst>
                      <a:gd name="T0" fmla="*/ 0 w 71"/>
                      <a:gd name="T1" fmla="*/ 0 h 32"/>
                      <a:gd name="T2" fmla="*/ 0 w 71"/>
                      <a:gd name="T3" fmla="*/ 0 h 32"/>
                      <a:gd name="T4" fmla="*/ 0 w 71"/>
                      <a:gd name="T5" fmla="*/ 0 h 32"/>
                      <a:gd name="T6" fmla="*/ 0 w 71"/>
                      <a:gd name="T7" fmla="*/ 0 h 32"/>
                      <a:gd name="T8" fmla="*/ 0 w 71"/>
                      <a:gd name="T9" fmla="*/ 0 h 3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1"/>
                      <a:gd name="T16" fmla="*/ 0 h 32"/>
                      <a:gd name="T17" fmla="*/ 71 w 71"/>
                      <a:gd name="T18" fmla="*/ 32 h 3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1" h="32">
                        <a:moveTo>
                          <a:pt x="0" y="0"/>
                        </a:moveTo>
                        <a:lnTo>
                          <a:pt x="71" y="7"/>
                        </a:lnTo>
                        <a:lnTo>
                          <a:pt x="71" y="32"/>
                        </a:lnTo>
                        <a:lnTo>
                          <a:pt x="0" y="2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7" name="Group 26"/>
              <p:cNvGrpSpPr>
                <a:grpSpLocks/>
              </p:cNvGrpSpPr>
              <p:nvPr/>
            </p:nvGrpSpPr>
            <p:grpSpPr bwMode="auto">
              <a:xfrm>
                <a:off x="840" y="913"/>
                <a:ext cx="307" cy="612"/>
                <a:chOff x="840" y="913"/>
                <a:chExt cx="307" cy="612"/>
              </a:xfrm>
            </p:grpSpPr>
            <p:grpSp>
              <p:nvGrpSpPr>
                <p:cNvPr id="8" name="Group 27"/>
                <p:cNvGrpSpPr>
                  <a:grpSpLocks/>
                </p:cNvGrpSpPr>
                <p:nvPr/>
              </p:nvGrpSpPr>
              <p:grpSpPr bwMode="auto">
                <a:xfrm>
                  <a:off x="840" y="913"/>
                  <a:ext cx="307" cy="612"/>
                  <a:chOff x="840" y="913"/>
                  <a:chExt cx="307" cy="612"/>
                </a:xfrm>
              </p:grpSpPr>
              <p:sp>
                <p:nvSpPr>
                  <p:cNvPr id="38866" name="Freeform 28"/>
                  <p:cNvSpPr>
                    <a:spLocks/>
                  </p:cNvSpPr>
                  <p:nvPr/>
                </p:nvSpPr>
                <p:spPr bwMode="auto">
                  <a:xfrm>
                    <a:off x="842" y="1088"/>
                    <a:ext cx="305" cy="118"/>
                  </a:xfrm>
                  <a:custGeom>
                    <a:avLst/>
                    <a:gdLst>
                      <a:gd name="T0" fmla="*/ 0 w 914"/>
                      <a:gd name="T1" fmla="*/ 0 h 354"/>
                      <a:gd name="T2" fmla="*/ 0 w 914"/>
                      <a:gd name="T3" fmla="*/ 0 h 354"/>
                      <a:gd name="T4" fmla="*/ 0 w 914"/>
                      <a:gd name="T5" fmla="*/ 0 h 354"/>
                      <a:gd name="T6" fmla="*/ 0 w 914"/>
                      <a:gd name="T7" fmla="*/ 0 h 354"/>
                      <a:gd name="T8" fmla="*/ 0 w 914"/>
                      <a:gd name="T9" fmla="*/ 0 h 35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914"/>
                      <a:gd name="T16" fmla="*/ 0 h 354"/>
                      <a:gd name="T17" fmla="*/ 914 w 914"/>
                      <a:gd name="T18" fmla="*/ 354 h 35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914" h="354">
                        <a:moveTo>
                          <a:pt x="0" y="259"/>
                        </a:moveTo>
                        <a:lnTo>
                          <a:pt x="516" y="354"/>
                        </a:lnTo>
                        <a:lnTo>
                          <a:pt x="914" y="69"/>
                        </a:lnTo>
                        <a:lnTo>
                          <a:pt x="416" y="0"/>
                        </a:lnTo>
                        <a:lnTo>
                          <a:pt x="0" y="259"/>
                        </a:lnTo>
                        <a:close/>
                      </a:path>
                    </a:pathLst>
                  </a:custGeom>
                  <a:solidFill>
                    <a:srgbClr val="FF5F1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67" name="Freeform 29"/>
                  <p:cNvSpPr>
                    <a:spLocks/>
                  </p:cNvSpPr>
                  <p:nvPr/>
                </p:nvSpPr>
                <p:spPr bwMode="auto">
                  <a:xfrm>
                    <a:off x="884" y="989"/>
                    <a:ext cx="127" cy="199"/>
                  </a:xfrm>
                  <a:custGeom>
                    <a:avLst/>
                    <a:gdLst>
                      <a:gd name="T0" fmla="*/ 0 w 380"/>
                      <a:gd name="T1" fmla="*/ 0 h 599"/>
                      <a:gd name="T2" fmla="*/ 0 w 380"/>
                      <a:gd name="T3" fmla="*/ 0 h 599"/>
                      <a:gd name="T4" fmla="*/ 0 w 380"/>
                      <a:gd name="T5" fmla="*/ 0 h 599"/>
                      <a:gd name="T6" fmla="*/ 0 w 380"/>
                      <a:gd name="T7" fmla="*/ 0 h 599"/>
                      <a:gd name="T8" fmla="*/ 0 w 380"/>
                      <a:gd name="T9" fmla="*/ 0 h 59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80"/>
                      <a:gd name="T16" fmla="*/ 0 h 599"/>
                      <a:gd name="T17" fmla="*/ 380 w 380"/>
                      <a:gd name="T18" fmla="*/ 599 h 59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80" h="599">
                        <a:moveTo>
                          <a:pt x="0" y="0"/>
                        </a:moveTo>
                        <a:lnTo>
                          <a:pt x="380" y="29"/>
                        </a:lnTo>
                        <a:lnTo>
                          <a:pt x="380" y="599"/>
                        </a:lnTo>
                        <a:lnTo>
                          <a:pt x="0" y="519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5F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68" name="Freeform 30"/>
                  <p:cNvSpPr>
                    <a:spLocks/>
                  </p:cNvSpPr>
                  <p:nvPr/>
                </p:nvSpPr>
                <p:spPr bwMode="auto">
                  <a:xfrm>
                    <a:off x="1009" y="956"/>
                    <a:ext cx="109" cy="231"/>
                  </a:xfrm>
                  <a:custGeom>
                    <a:avLst/>
                    <a:gdLst>
                      <a:gd name="T0" fmla="*/ 0 w 329"/>
                      <a:gd name="T1" fmla="*/ 0 h 694"/>
                      <a:gd name="T2" fmla="*/ 0 w 329"/>
                      <a:gd name="T3" fmla="*/ 0 h 694"/>
                      <a:gd name="T4" fmla="*/ 0 w 329"/>
                      <a:gd name="T5" fmla="*/ 0 h 694"/>
                      <a:gd name="T6" fmla="*/ 0 w 329"/>
                      <a:gd name="T7" fmla="*/ 0 h 694"/>
                      <a:gd name="T8" fmla="*/ 0 w 329"/>
                      <a:gd name="T9" fmla="*/ 0 h 69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29"/>
                      <a:gd name="T16" fmla="*/ 0 h 694"/>
                      <a:gd name="T17" fmla="*/ 329 w 329"/>
                      <a:gd name="T18" fmla="*/ 694 h 69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29" h="694">
                        <a:moveTo>
                          <a:pt x="0" y="128"/>
                        </a:moveTo>
                        <a:lnTo>
                          <a:pt x="0" y="694"/>
                        </a:lnTo>
                        <a:lnTo>
                          <a:pt x="329" y="466"/>
                        </a:lnTo>
                        <a:lnTo>
                          <a:pt x="329" y="0"/>
                        </a:lnTo>
                        <a:lnTo>
                          <a:pt x="0" y="128"/>
                        </a:lnTo>
                        <a:close/>
                      </a:path>
                    </a:pathLst>
                  </a:custGeom>
                  <a:solidFill>
                    <a:srgbClr val="BF3F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69" name="Freeform 31"/>
                  <p:cNvSpPr>
                    <a:spLocks/>
                  </p:cNvSpPr>
                  <p:nvPr/>
                </p:nvSpPr>
                <p:spPr bwMode="auto">
                  <a:xfrm>
                    <a:off x="884" y="947"/>
                    <a:ext cx="234" cy="51"/>
                  </a:xfrm>
                  <a:custGeom>
                    <a:avLst/>
                    <a:gdLst>
                      <a:gd name="T0" fmla="*/ 0 w 703"/>
                      <a:gd name="T1" fmla="*/ 0 h 155"/>
                      <a:gd name="T2" fmla="*/ 0 w 703"/>
                      <a:gd name="T3" fmla="*/ 0 h 155"/>
                      <a:gd name="T4" fmla="*/ 0 w 703"/>
                      <a:gd name="T5" fmla="*/ 0 h 155"/>
                      <a:gd name="T6" fmla="*/ 0 w 703"/>
                      <a:gd name="T7" fmla="*/ 0 h 155"/>
                      <a:gd name="T8" fmla="*/ 0 w 703"/>
                      <a:gd name="T9" fmla="*/ 0 h 15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03"/>
                      <a:gd name="T16" fmla="*/ 0 h 155"/>
                      <a:gd name="T17" fmla="*/ 703 w 703"/>
                      <a:gd name="T18" fmla="*/ 155 h 15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03" h="155">
                        <a:moveTo>
                          <a:pt x="0" y="126"/>
                        </a:moveTo>
                        <a:lnTo>
                          <a:pt x="374" y="155"/>
                        </a:lnTo>
                        <a:lnTo>
                          <a:pt x="703" y="27"/>
                        </a:lnTo>
                        <a:lnTo>
                          <a:pt x="374" y="0"/>
                        </a:lnTo>
                        <a:lnTo>
                          <a:pt x="0" y="126"/>
                        </a:lnTo>
                        <a:close/>
                      </a:path>
                    </a:pathLst>
                  </a:custGeom>
                  <a:solidFill>
                    <a:srgbClr val="FF5F1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70" name="Freeform 32"/>
                  <p:cNvSpPr>
                    <a:spLocks/>
                  </p:cNvSpPr>
                  <p:nvPr/>
                </p:nvSpPr>
                <p:spPr bwMode="auto">
                  <a:xfrm>
                    <a:off x="914" y="913"/>
                    <a:ext cx="171" cy="31"/>
                  </a:xfrm>
                  <a:custGeom>
                    <a:avLst/>
                    <a:gdLst>
                      <a:gd name="T0" fmla="*/ 0 w 514"/>
                      <a:gd name="T1" fmla="*/ 0 h 93"/>
                      <a:gd name="T2" fmla="*/ 0 w 514"/>
                      <a:gd name="T3" fmla="*/ 0 h 93"/>
                      <a:gd name="T4" fmla="*/ 0 w 514"/>
                      <a:gd name="T5" fmla="*/ 0 h 93"/>
                      <a:gd name="T6" fmla="*/ 0 w 514"/>
                      <a:gd name="T7" fmla="*/ 0 h 93"/>
                      <a:gd name="T8" fmla="*/ 0 w 514"/>
                      <a:gd name="T9" fmla="*/ 0 h 9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14"/>
                      <a:gd name="T16" fmla="*/ 0 h 93"/>
                      <a:gd name="T17" fmla="*/ 514 w 514"/>
                      <a:gd name="T18" fmla="*/ 93 h 9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14" h="93">
                        <a:moveTo>
                          <a:pt x="0" y="74"/>
                        </a:moveTo>
                        <a:lnTo>
                          <a:pt x="272" y="93"/>
                        </a:lnTo>
                        <a:lnTo>
                          <a:pt x="514" y="22"/>
                        </a:lnTo>
                        <a:lnTo>
                          <a:pt x="256" y="0"/>
                        </a:lnTo>
                        <a:lnTo>
                          <a:pt x="0" y="74"/>
                        </a:lnTo>
                        <a:close/>
                      </a:path>
                    </a:pathLst>
                  </a:custGeom>
                  <a:solidFill>
                    <a:srgbClr val="FF5F1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71" name="Freeform 33"/>
                  <p:cNvSpPr>
                    <a:spLocks/>
                  </p:cNvSpPr>
                  <p:nvPr/>
                </p:nvSpPr>
                <p:spPr bwMode="auto">
                  <a:xfrm>
                    <a:off x="914" y="938"/>
                    <a:ext cx="89" cy="48"/>
                  </a:xfrm>
                  <a:custGeom>
                    <a:avLst/>
                    <a:gdLst>
                      <a:gd name="T0" fmla="*/ 0 w 268"/>
                      <a:gd name="T1" fmla="*/ 0 h 145"/>
                      <a:gd name="T2" fmla="*/ 0 w 268"/>
                      <a:gd name="T3" fmla="*/ 0 h 145"/>
                      <a:gd name="T4" fmla="*/ 0 w 268"/>
                      <a:gd name="T5" fmla="*/ 0 h 145"/>
                      <a:gd name="T6" fmla="*/ 0 w 268"/>
                      <a:gd name="T7" fmla="*/ 0 h 145"/>
                      <a:gd name="T8" fmla="*/ 0 w 268"/>
                      <a:gd name="T9" fmla="*/ 0 h 14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8"/>
                      <a:gd name="T16" fmla="*/ 0 h 145"/>
                      <a:gd name="T17" fmla="*/ 268 w 268"/>
                      <a:gd name="T18" fmla="*/ 145 h 14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8" h="145">
                        <a:moveTo>
                          <a:pt x="0" y="0"/>
                        </a:moveTo>
                        <a:lnTo>
                          <a:pt x="268" y="18"/>
                        </a:lnTo>
                        <a:lnTo>
                          <a:pt x="268" y="145"/>
                        </a:lnTo>
                        <a:lnTo>
                          <a:pt x="0" y="12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FF5F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72" name="Freeform 34"/>
                  <p:cNvSpPr>
                    <a:spLocks/>
                  </p:cNvSpPr>
                  <p:nvPr/>
                </p:nvSpPr>
                <p:spPr bwMode="auto">
                  <a:xfrm>
                    <a:off x="1003" y="920"/>
                    <a:ext cx="82" cy="66"/>
                  </a:xfrm>
                  <a:custGeom>
                    <a:avLst/>
                    <a:gdLst>
                      <a:gd name="T0" fmla="*/ 0 w 246"/>
                      <a:gd name="T1" fmla="*/ 0 h 197"/>
                      <a:gd name="T2" fmla="*/ 0 w 246"/>
                      <a:gd name="T3" fmla="*/ 0 h 197"/>
                      <a:gd name="T4" fmla="*/ 0 w 246"/>
                      <a:gd name="T5" fmla="*/ 0 h 197"/>
                      <a:gd name="T6" fmla="*/ 0 w 246"/>
                      <a:gd name="T7" fmla="*/ 0 h 197"/>
                      <a:gd name="T8" fmla="*/ 0 w 246"/>
                      <a:gd name="T9" fmla="*/ 0 h 19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46"/>
                      <a:gd name="T16" fmla="*/ 0 h 197"/>
                      <a:gd name="T17" fmla="*/ 246 w 246"/>
                      <a:gd name="T18" fmla="*/ 197 h 19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46" h="197">
                        <a:moveTo>
                          <a:pt x="0" y="71"/>
                        </a:moveTo>
                        <a:lnTo>
                          <a:pt x="0" y="197"/>
                        </a:lnTo>
                        <a:lnTo>
                          <a:pt x="246" y="102"/>
                        </a:lnTo>
                        <a:lnTo>
                          <a:pt x="246" y="0"/>
                        </a:lnTo>
                        <a:lnTo>
                          <a:pt x="0" y="71"/>
                        </a:lnTo>
                        <a:close/>
                      </a:path>
                    </a:pathLst>
                  </a:custGeom>
                  <a:solidFill>
                    <a:srgbClr val="BF3F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73" name="Freeform 35"/>
                  <p:cNvSpPr>
                    <a:spLocks/>
                  </p:cNvSpPr>
                  <p:nvPr/>
                </p:nvSpPr>
                <p:spPr bwMode="auto">
                  <a:xfrm>
                    <a:off x="1013" y="1110"/>
                    <a:ext cx="134" cy="415"/>
                  </a:xfrm>
                  <a:custGeom>
                    <a:avLst/>
                    <a:gdLst>
                      <a:gd name="T0" fmla="*/ 0 w 402"/>
                      <a:gd name="T1" fmla="*/ 0 h 1245"/>
                      <a:gd name="T2" fmla="*/ 0 w 402"/>
                      <a:gd name="T3" fmla="*/ 0 h 1245"/>
                      <a:gd name="T4" fmla="*/ 0 w 402"/>
                      <a:gd name="T5" fmla="*/ 0 h 1245"/>
                      <a:gd name="T6" fmla="*/ 0 w 402"/>
                      <a:gd name="T7" fmla="*/ 0 h 1245"/>
                      <a:gd name="T8" fmla="*/ 0 w 402"/>
                      <a:gd name="T9" fmla="*/ 0 h 124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402"/>
                      <a:gd name="T16" fmla="*/ 0 h 1245"/>
                      <a:gd name="T17" fmla="*/ 402 w 402"/>
                      <a:gd name="T18" fmla="*/ 1245 h 124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402" h="1245">
                        <a:moveTo>
                          <a:pt x="402" y="0"/>
                        </a:moveTo>
                        <a:lnTo>
                          <a:pt x="3" y="288"/>
                        </a:lnTo>
                        <a:lnTo>
                          <a:pt x="0" y="1245"/>
                        </a:lnTo>
                        <a:lnTo>
                          <a:pt x="402" y="871"/>
                        </a:lnTo>
                        <a:lnTo>
                          <a:pt x="402" y="0"/>
                        </a:lnTo>
                        <a:close/>
                      </a:path>
                    </a:pathLst>
                  </a:custGeom>
                  <a:solidFill>
                    <a:srgbClr val="BF3F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74" name="Freeform 36"/>
                  <p:cNvSpPr>
                    <a:spLocks/>
                  </p:cNvSpPr>
                  <p:nvPr/>
                </p:nvSpPr>
                <p:spPr bwMode="auto">
                  <a:xfrm>
                    <a:off x="840" y="1174"/>
                    <a:ext cx="174" cy="351"/>
                  </a:xfrm>
                  <a:custGeom>
                    <a:avLst/>
                    <a:gdLst>
                      <a:gd name="T0" fmla="*/ 0 w 520"/>
                      <a:gd name="T1" fmla="*/ 0 h 1052"/>
                      <a:gd name="T2" fmla="*/ 0 w 520"/>
                      <a:gd name="T3" fmla="*/ 0 h 1052"/>
                      <a:gd name="T4" fmla="*/ 0 w 520"/>
                      <a:gd name="T5" fmla="*/ 0 h 1052"/>
                      <a:gd name="T6" fmla="*/ 0 w 520"/>
                      <a:gd name="T7" fmla="*/ 0 h 1052"/>
                      <a:gd name="T8" fmla="*/ 0 w 520"/>
                      <a:gd name="T9" fmla="*/ 0 h 105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20"/>
                      <a:gd name="T16" fmla="*/ 0 h 1052"/>
                      <a:gd name="T17" fmla="*/ 520 w 520"/>
                      <a:gd name="T18" fmla="*/ 1052 h 105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20" h="1052">
                        <a:moveTo>
                          <a:pt x="5" y="0"/>
                        </a:moveTo>
                        <a:lnTo>
                          <a:pt x="520" y="95"/>
                        </a:lnTo>
                        <a:lnTo>
                          <a:pt x="520" y="1052"/>
                        </a:lnTo>
                        <a:lnTo>
                          <a:pt x="0" y="881"/>
                        </a:lnTo>
                        <a:lnTo>
                          <a:pt x="5" y="0"/>
                        </a:lnTo>
                        <a:close/>
                      </a:path>
                    </a:pathLst>
                  </a:custGeom>
                  <a:solidFill>
                    <a:srgbClr val="FF5F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9" name="Group 37"/>
                <p:cNvGrpSpPr>
                  <a:grpSpLocks/>
                </p:cNvGrpSpPr>
                <p:nvPr/>
              </p:nvGrpSpPr>
              <p:grpSpPr bwMode="auto">
                <a:xfrm>
                  <a:off x="860" y="994"/>
                  <a:ext cx="137" cy="261"/>
                  <a:chOff x="860" y="994"/>
                  <a:chExt cx="137" cy="261"/>
                </a:xfrm>
              </p:grpSpPr>
              <p:grpSp>
                <p:nvGrpSpPr>
                  <p:cNvPr id="10" name="Group 38"/>
                  <p:cNvGrpSpPr>
                    <a:grpSpLocks/>
                  </p:cNvGrpSpPr>
                  <p:nvPr/>
                </p:nvGrpSpPr>
                <p:grpSpPr bwMode="auto">
                  <a:xfrm>
                    <a:off x="892" y="994"/>
                    <a:ext cx="105" cy="59"/>
                    <a:chOff x="892" y="994"/>
                    <a:chExt cx="105" cy="59"/>
                  </a:xfrm>
                </p:grpSpPr>
                <p:sp>
                  <p:nvSpPr>
                    <p:cNvPr id="38862" name="Freeform 39"/>
                    <p:cNvSpPr>
                      <a:spLocks/>
                    </p:cNvSpPr>
                    <p:nvPr/>
                  </p:nvSpPr>
                  <p:spPr bwMode="auto">
                    <a:xfrm>
                      <a:off x="892" y="994"/>
                      <a:ext cx="22" cy="47"/>
                    </a:xfrm>
                    <a:custGeom>
                      <a:avLst/>
                      <a:gdLst>
                        <a:gd name="T0" fmla="*/ 0 w 64"/>
                        <a:gd name="T1" fmla="*/ 0 h 141"/>
                        <a:gd name="T2" fmla="*/ 0 w 64"/>
                        <a:gd name="T3" fmla="*/ 0 h 141"/>
                        <a:gd name="T4" fmla="*/ 0 w 64"/>
                        <a:gd name="T5" fmla="*/ 0 h 141"/>
                        <a:gd name="T6" fmla="*/ 0 w 64"/>
                        <a:gd name="T7" fmla="*/ 0 h 141"/>
                        <a:gd name="T8" fmla="*/ 0 w 64"/>
                        <a:gd name="T9" fmla="*/ 0 h 14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64"/>
                        <a:gd name="T16" fmla="*/ 0 h 141"/>
                        <a:gd name="T17" fmla="*/ 64 w 64"/>
                        <a:gd name="T18" fmla="*/ 141 h 141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64" h="141">
                          <a:moveTo>
                            <a:pt x="0" y="0"/>
                          </a:moveTo>
                          <a:lnTo>
                            <a:pt x="64" y="6"/>
                          </a:lnTo>
                          <a:lnTo>
                            <a:pt x="64" y="141"/>
                          </a:lnTo>
                          <a:lnTo>
                            <a:pt x="1" y="13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863" name="Freeform 40"/>
                    <p:cNvSpPr>
                      <a:spLocks/>
                    </p:cNvSpPr>
                    <p:nvPr/>
                  </p:nvSpPr>
                  <p:spPr bwMode="auto">
                    <a:xfrm>
                      <a:off x="920" y="997"/>
                      <a:ext cx="21" cy="48"/>
                    </a:xfrm>
                    <a:custGeom>
                      <a:avLst/>
                      <a:gdLst>
                        <a:gd name="T0" fmla="*/ 0 w 62"/>
                        <a:gd name="T1" fmla="*/ 0 h 143"/>
                        <a:gd name="T2" fmla="*/ 0 w 62"/>
                        <a:gd name="T3" fmla="*/ 0 h 143"/>
                        <a:gd name="T4" fmla="*/ 0 w 62"/>
                        <a:gd name="T5" fmla="*/ 0 h 143"/>
                        <a:gd name="T6" fmla="*/ 0 w 62"/>
                        <a:gd name="T7" fmla="*/ 0 h 143"/>
                        <a:gd name="T8" fmla="*/ 0 w 62"/>
                        <a:gd name="T9" fmla="*/ 0 h 14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62"/>
                        <a:gd name="T16" fmla="*/ 0 h 143"/>
                        <a:gd name="T17" fmla="*/ 62 w 62"/>
                        <a:gd name="T18" fmla="*/ 143 h 14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62" h="143">
                          <a:moveTo>
                            <a:pt x="0" y="0"/>
                          </a:moveTo>
                          <a:lnTo>
                            <a:pt x="62" y="6"/>
                          </a:lnTo>
                          <a:lnTo>
                            <a:pt x="62" y="143"/>
                          </a:lnTo>
                          <a:lnTo>
                            <a:pt x="0" y="13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864" name="Freeform 41"/>
                    <p:cNvSpPr>
                      <a:spLocks/>
                    </p:cNvSpPr>
                    <p:nvPr/>
                  </p:nvSpPr>
                  <p:spPr bwMode="auto">
                    <a:xfrm>
                      <a:off x="947" y="1000"/>
                      <a:ext cx="23" cy="49"/>
                    </a:xfrm>
                    <a:custGeom>
                      <a:avLst/>
                      <a:gdLst>
                        <a:gd name="T0" fmla="*/ 0 w 67"/>
                        <a:gd name="T1" fmla="*/ 0 h 147"/>
                        <a:gd name="T2" fmla="*/ 0 w 67"/>
                        <a:gd name="T3" fmla="*/ 0 h 147"/>
                        <a:gd name="T4" fmla="*/ 0 w 67"/>
                        <a:gd name="T5" fmla="*/ 0 h 147"/>
                        <a:gd name="T6" fmla="*/ 0 w 67"/>
                        <a:gd name="T7" fmla="*/ 0 h 147"/>
                        <a:gd name="T8" fmla="*/ 0 w 67"/>
                        <a:gd name="T9" fmla="*/ 0 h 147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67"/>
                        <a:gd name="T16" fmla="*/ 0 h 147"/>
                        <a:gd name="T17" fmla="*/ 67 w 67"/>
                        <a:gd name="T18" fmla="*/ 147 h 147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67" h="147">
                          <a:moveTo>
                            <a:pt x="0" y="0"/>
                          </a:moveTo>
                          <a:lnTo>
                            <a:pt x="67" y="7"/>
                          </a:lnTo>
                          <a:lnTo>
                            <a:pt x="64" y="147"/>
                          </a:lnTo>
                          <a:lnTo>
                            <a:pt x="0" y="138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865" name="Freeform 42"/>
                    <p:cNvSpPr>
                      <a:spLocks/>
                    </p:cNvSpPr>
                    <p:nvPr/>
                  </p:nvSpPr>
                  <p:spPr bwMode="auto">
                    <a:xfrm>
                      <a:off x="976" y="1003"/>
                      <a:ext cx="21" cy="50"/>
                    </a:xfrm>
                    <a:custGeom>
                      <a:avLst/>
                      <a:gdLst>
                        <a:gd name="T0" fmla="*/ 0 w 62"/>
                        <a:gd name="T1" fmla="*/ 0 h 151"/>
                        <a:gd name="T2" fmla="*/ 0 w 62"/>
                        <a:gd name="T3" fmla="*/ 0 h 151"/>
                        <a:gd name="T4" fmla="*/ 0 w 62"/>
                        <a:gd name="T5" fmla="*/ 0 h 151"/>
                        <a:gd name="T6" fmla="*/ 0 w 62"/>
                        <a:gd name="T7" fmla="*/ 0 h 151"/>
                        <a:gd name="T8" fmla="*/ 0 w 62"/>
                        <a:gd name="T9" fmla="*/ 0 h 15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62"/>
                        <a:gd name="T16" fmla="*/ 0 h 151"/>
                        <a:gd name="T17" fmla="*/ 62 w 62"/>
                        <a:gd name="T18" fmla="*/ 151 h 151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62" h="151">
                          <a:moveTo>
                            <a:pt x="0" y="0"/>
                          </a:moveTo>
                          <a:lnTo>
                            <a:pt x="62" y="7"/>
                          </a:lnTo>
                          <a:lnTo>
                            <a:pt x="62" y="151"/>
                          </a:lnTo>
                          <a:lnTo>
                            <a:pt x="0" y="14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1" name="Group 43"/>
                  <p:cNvGrpSpPr>
                    <a:grpSpLocks/>
                  </p:cNvGrpSpPr>
                  <p:nvPr/>
                </p:nvGrpSpPr>
                <p:grpSpPr bwMode="auto">
                  <a:xfrm>
                    <a:off x="892" y="1050"/>
                    <a:ext cx="104" cy="61"/>
                    <a:chOff x="892" y="1050"/>
                    <a:chExt cx="104" cy="61"/>
                  </a:xfrm>
                </p:grpSpPr>
                <p:sp>
                  <p:nvSpPr>
                    <p:cNvPr id="38858" name="Freeform 44"/>
                    <p:cNvSpPr>
                      <a:spLocks/>
                    </p:cNvSpPr>
                    <p:nvPr/>
                  </p:nvSpPr>
                  <p:spPr bwMode="auto">
                    <a:xfrm>
                      <a:off x="892" y="1050"/>
                      <a:ext cx="21" cy="48"/>
                    </a:xfrm>
                    <a:custGeom>
                      <a:avLst/>
                      <a:gdLst>
                        <a:gd name="T0" fmla="*/ 0 w 64"/>
                        <a:gd name="T1" fmla="*/ 0 h 145"/>
                        <a:gd name="T2" fmla="*/ 0 w 64"/>
                        <a:gd name="T3" fmla="*/ 0 h 145"/>
                        <a:gd name="T4" fmla="*/ 0 w 64"/>
                        <a:gd name="T5" fmla="*/ 0 h 145"/>
                        <a:gd name="T6" fmla="*/ 0 w 64"/>
                        <a:gd name="T7" fmla="*/ 0 h 145"/>
                        <a:gd name="T8" fmla="*/ 0 w 64"/>
                        <a:gd name="T9" fmla="*/ 0 h 14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64"/>
                        <a:gd name="T16" fmla="*/ 0 h 145"/>
                        <a:gd name="T17" fmla="*/ 64 w 64"/>
                        <a:gd name="T18" fmla="*/ 145 h 14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64" h="145">
                          <a:moveTo>
                            <a:pt x="0" y="0"/>
                          </a:moveTo>
                          <a:lnTo>
                            <a:pt x="64" y="9"/>
                          </a:lnTo>
                          <a:lnTo>
                            <a:pt x="64" y="145"/>
                          </a:lnTo>
                          <a:lnTo>
                            <a:pt x="1" y="13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859" name="Freeform 45"/>
                    <p:cNvSpPr>
                      <a:spLocks/>
                    </p:cNvSpPr>
                    <p:nvPr/>
                  </p:nvSpPr>
                  <p:spPr bwMode="auto">
                    <a:xfrm>
                      <a:off x="919" y="1054"/>
                      <a:ext cx="22" cy="49"/>
                    </a:xfrm>
                    <a:custGeom>
                      <a:avLst/>
                      <a:gdLst>
                        <a:gd name="T0" fmla="*/ 0 w 64"/>
                        <a:gd name="T1" fmla="*/ 0 h 147"/>
                        <a:gd name="T2" fmla="*/ 0 w 64"/>
                        <a:gd name="T3" fmla="*/ 0 h 147"/>
                        <a:gd name="T4" fmla="*/ 0 w 64"/>
                        <a:gd name="T5" fmla="*/ 0 h 147"/>
                        <a:gd name="T6" fmla="*/ 0 w 64"/>
                        <a:gd name="T7" fmla="*/ 0 h 147"/>
                        <a:gd name="T8" fmla="*/ 0 w 64"/>
                        <a:gd name="T9" fmla="*/ 0 h 147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64"/>
                        <a:gd name="T16" fmla="*/ 0 h 147"/>
                        <a:gd name="T17" fmla="*/ 64 w 64"/>
                        <a:gd name="T18" fmla="*/ 147 h 147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64" h="147">
                          <a:moveTo>
                            <a:pt x="2" y="0"/>
                          </a:moveTo>
                          <a:lnTo>
                            <a:pt x="64" y="12"/>
                          </a:lnTo>
                          <a:lnTo>
                            <a:pt x="63" y="147"/>
                          </a:lnTo>
                          <a:lnTo>
                            <a:pt x="0" y="136"/>
                          </a:lnTo>
                          <a:lnTo>
                            <a:pt x="2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860" name="Freeform 46"/>
                    <p:cNvSpPr>
                      <a:spLocks/>
                    </p:cNvSpPr>
                    <p:nvPr/>
                  </p:nvSpPr>
                  <p:spPr bwMode="auto">
                    <a:xfrm>
                      <a:off x="947" y="1058"/>
                      <a:ext cx="22" cy="48"/>
                    </a:xfrm>
                    <a:custGeom>
                      <a:avLst/>
                      <a:gdLst>
                        <a:gd name="T0" fmla="*/ 0 w 67"/>
                        <a:gd name="T1" fmla="*/ 0 h 144"/>
                        <a:gd name="T2" fmla="*/ 0 w 67"/>
                        <a:gd name="T3" fmla="*/ 0 h 144"/>
                        <a:gd name="T4" fmla="*/ 0 w 67"/>
                        <a:gd name="T5" fmla="*/ 0 h 144"/>
                        <a:gd name="T6" fmla="*/ 0 w 67"/>
                        <a:gd name="T7" fmla="*/ 0 h 144"/>
                        <a:gd name="T8" fmla="*/ 0 w 67"/>
                        <a:gd name="T9" fmla="*/ 0 h 14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67"/>
                        <a:gd name="T16" fmla="*/ 0 h 144"/>
                        <a:gd name="T17" fmla="*/ 67 w 67"/>
                        <a:gd name="T18" fmla="*/ 144 h 14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67" h="144">
                          <a:moveTo>
                            <a:pt x="0" y="0"/>
                          </a:moveTo>
                          <a:lnTo>
                            <a:pt x="67" y="8"/>
                          </a:lnTo>
                          <a:lnTo>
                            <a:pt x="64" y="144"/>
                          </a:lnTo>
                          <a:lnTo>
                            <a:pt x="0" y="13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861" name="Freeform 47"/>
                    <p:cNvSpPr>
                      <a:spLocks/>
                    </p:cNvSpPr>
                    <p:nvPr/>
                  </p:nvSpPr>
                  <p:spPr bwMode="auto">
                    <a:xfrm>
                      <a:off x="975" y="1062"/>
                      <a:ext cx="21" cy="49"/>
                    </a:xfrm>
                    <a:custGeom>
                      <a:avLst/>
                      <a:gdLst>
                        <a:gd name="T0" fmla="*/ 0 w 63"/>
                        <a:gd name="T1" fmla="*/ 0 h 146"/>
                        <a:gd name="T2" fmla="*/ 0 w 63"/>
                        <a:gd name="T3" fmla="*/ 0 h 146"/>
                        <a:gd name="T4" fmla="*/ 0 w 63"/>
                        <a:gd name="T5" fmla="*/ 0 h 146"/>
                        <a:gd name="T6" fmla="*/ 0 w 63"/>
                        <a:gd name="T7" fmla="*/ 0 h 146"/>
                        <a:gd name="T8" fmla="*/ 0 w 63"/>
                        <a:gd name="T9" fmla="*/ 0 h 14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63"/>
                        <a:gd name="T16" fmla="*/ 0 h 146"/>
                        <a:gd name="T17" fmla="*/ 63 w 63"/>
                        <a:gd name="T18" fmla="*/ 146 h 14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63" h="146">
                          <a:moveTo>
                            <a:pt x="0" y="0"/>
                          </a:moveTo>
                          <a:lnTo>
                            <a:pt x="63" y="11"/>
                          </a:lnTo>
                          <a:lnTo>
                            <a:pt x="63" y="146"/>
                          </a:lnTo>
                          <a:lnTo>
                            <a:pt x="0" y="13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12" name="Group 48"/>
                  <p:cNvGrpSpPr>
                    <a:grpSpLocks/>
                  </p:cNvGrpSpPr>
                  <p:nvPr/>
                </p:nvGrpSpPr>
                <p:grpSpPr bwMode="auto">
                  <a:xfrm>
                    <a:off x="860" y="1186"/>
                    <a:ext cx="131" cy="69"/>
                    <a:chOff x="860" y="1186"/>
                    <a:chExt cx="131" cy="69"/>
                  </a:xfrm>
                </p:grpSpPr>
                <p:grpSp>
                  <p:nvGrpSpPr>
                    <p:cNvPr id="13" name="Group 49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860" y="1186"/>
                      <a:ext cx="131" cy="44"/>
                      <a:chOff x="860" y="1186"/>
                      <a:chExt cx="131" cy="44"/>
                    </a:xfrm>
                  </p:grpSpPr>
                  <p:sp>
                    <p:nvSpPr>
                      <p:cNvPr id="38854" name="Freeform 5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93" y="1193"/>
                        <a:ext cx="29" cy="22"/>
                      </a:xfrm>
                      <a:custGeom>
                        <a:avLst/>
                        <a:gdLst>
                          <a:gd name="T0" fmla="*/ 0 w 85"/>
                          <a:gd name="T1" fmla="*/ 0 h 67"/>
                          <a:gd name="T2" fmla="*/ 0 w 85"/>
                          <a:gd name="T3" fmla="*/ 0 h 67"/>
                          <a:gd name="T4" fmla="*/ 0 w 85"/>
                          <a:gd name="T5" fmla="*/ 0 h 67"/>
                          <a:gd name="T6" fmla="*/ 0 w 85"/>
                          <a:gd name="T7" fmla="*/ 0 h 67"/>
                          <a:gd name="T8" fmla="*/ 0 w 85"/>
                          <a:gd name="T9" fmla="*/ 0 h 67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85"/>
                          <a:gd name="T16" fmla="*/ 0 h 67"/>
                          <a:gd name="T17" fmla="*/ 85 w 85"/>
                          <a:gd name="T18" fmla="*/ 67 h 67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85" h="67">
                            <a:moveTo>
                              <a:pt x="1" y="0"/>
                            </a:moveTo>
                            <a:lnTo>
                              <a:pt x="85" y="16"/>
                            </a:lnTo>
                            <a:lnTo>
                              <a:pt x="85" y="67"/>
                            </a:lnTo>
                            <a:lnTo>
                              <a:pt x="0" y="50"/>
                            </a:lnTo>
                            <a:lnTo>
                              <a:pt x="1" y="0"/>
                            </a:lnTo>
                            <a:close/>
                          </a:path>
                        </a:pathLst>
                      </a:custGeom>
                      <a:solidFill>
                        <a:srgbClr val="000000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855" name="Freeform 5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928" y="1199"/>
                        <a:ext cx="28" cy="24"/>
                      </a:xfrm>
                      <a:custGeom>
                        <a:avLst/>
                        <a:gdLst>
                          <a:gd name="T0" fmla="*/ 0 w 84"/>
                          <a:gd name="T1" fmla="*/ 0 h 71"/>
                          <a:gd name="T2" fmla="*/ 0 w 84"/>
                          <a:gd name="T3" fmla="*/ 0 h 71"/>
                          <a:gd name="T4" fmla="*/ 0 w 84"/>
                          <a:gd name="T5" fmla="*/ 0 h 71"/>
                          <a:gd name="T6" fmla="*/ 0 w 84"/>
                          <a:gd name="T7" fmla="*/ 0 h 71"/>
                          <a:gd name="T8" fmla="*/ 0 w 84"/>
                          <a:gd name="T9" fmla="*/ 0 h 71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84"/>
                          <a:gd name="T16" fmla="*/ 0 h 71"/>
                          <a:gd name="T17" fmla="*/ 84 w 84"/>
                          <a:gd name="T18" fmla="*/ 71 h 71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84" h="71">
                            <a:moveTo>
                              <a:pt x="0" y="0"/>
                            </a:moveTo>
                            <a:lnTo>
                              <a:pt x="84" y="17"/>
                            </a:lnTo>
                            <a:lnTo>
                              <a:pt x="84" y="71"/>
                            </a:lnTo>
                            <a:lnTo>
                              <a:pt x="0" y="53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000000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856" name="Freeform 5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963" y="1206"/>
                        <a:ext cx="28" cy="24"/>
                      </a:xfrm>
                      <a:custGeom>
                        <a:avLst/>
                        <a:gdLst>
                          <a:gd name="T0" fmla="*/ 0 w 84"/>
                          <a:gd name="T1" fmla="*/ 0 h 71"/>
                          <a:gd name="T2" fmla="*/ 0 w 84"/>
                          <a:gd name="T3" fmla="*/ 0 h 71"/>
                          <a:gd name="T4" fmla="*/ 0 w 84"/>
                          <a:gd name="T5" fmla="*/ 0 h 71"/>
                          <a:gd name="T6" fmla="*/ 0 w 84"/>
                          <a:gd name="T7" fmla="*/ 0 h 71"/>
                          <a:gd name="T8" fmla="*/ 0 w 84"/>
                          <a:gd name="T9" fmla="*/ 0 h 71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84"/>
                          <a:gd name="T16" fmla="*/ 0 h 71"/>
                          <a:gd name="T17" fmla="*/ 84 w 84"/>
                          <a:gd name="T18" fmla="*/ 71 h 71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84" h="71">
                            <a:moveTo>
                              <a:pt x="0" y="0"/>
                            </a:moveTo>
                            <a:lnTo>
                              <a:pt x="84" y="18"/>
                            </a:lnTo>
                            <a:lnTo>
                              <a:pt x="84" y="71"/>
                            </a:lnTo>
                            <a:lnTo>
                              <a:pt x="0" y="54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000000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857" name="Freeform 5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60" y="1186"/>
                        <a:ext cx="28" cy="23"/>
                      </a:xfrm>
                      <a:custGeom>
                        <a:avLst/>
                        <a:gdLst>
                          <a:gd name="T0" fmla="*/ 0 w 84"/>
                          <a:gd name="T1" fmla="*/ 0 h 67"/>
                          <a:gd name="T2" fmla="*/ 0 w 84"/>
                          <a:gd name="T3" fmla="*/ 0 h 67"/>
                          <a:gd name="T4" fmla="*/ 0 w 84"/>
                          <a:gd name="T5" fmla="*/ 0 h 67"/>
                          <a:gd name="T6" fmla="*/ 0 w 84"/>
                          <a:gd name="T7" fmla="*/ 0 h 67"/>
                          <a:gd name="T8" fmla="*/ 0 w 84"/>
                          <a:gd name="T9" fmla="*/ 0 h 67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84"/>
                          <a:gd name="T16" fmla="*/ 0 h 67"/>
                          <a:gd name="T17" fmla="*/ 84 w 84"/>
                          <a:gd name="T18" fmla="*/ 67 h 67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84" h="67">
                            <a:moveTo>
                              <a:pt x="0" y="0"/>
                            </a:moveTo>
                            <a:lnTo>
                              <a:pt x="84" y="16"/>
                            </a:lnTo>
                            <a:lnTo>
                              <a:pt x="84" y="67"/>
                            </a:lnTo>
                            <a:lnTo>
                              <a:pt x="0" y="50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000000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</p:grpSp>
                <p:grpSp>
                  <p:nvGrpSpPr>
                    <p:cNvPr id="14" name="Group 54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860" y="1211"/>
                      <a:ext cx="131" cy="44"/>
                      <a:chOff x="860" y="1211"/>
                      <a:chExt cx="131" cy="44"/>
                    </a:xfrm>
                  </p:grpSpPr>
                  <p:sp>
                    <p:nvSpPr>
                      <p:cNvPr id="38850" name="Freeform 5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93" y="1218"/>
                        <a:ext cx="29" cy="22"/>
                      </a:xfrm>
                      <a:custGeom>
                        <a:avLst/>
                        <a:gdLst>
                          <a:gd name="T0" fmla="*/ 0 w 85"/>
                          <a:gd name="T1" fmla="*/ 0 h 68"/>
                          <a:gd name="T2" fmla="*/ 0 w 85"/>
                          <a:gd name="T3" fmla="*/ 0 h 68"/>
                          <a:gd name="T4" fmla="*/ 0 w 85"/>
                          <a:gd name="T5" fmla="*/ 0 h 68"/>
                          <a:gd name="T6" fmla="*/ 0 w 85"/>
                          <a:gd name="T7" fmla="*/ 0 h 68"/>
                          <a:gd name="T8" fmla="*/ 0 w 85"/>
                          <a:gd name="T9" fmla="*/ 0 h 68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85"/>
                          <a:gd name="T16" fmla="*/ 0 h 68"/>
                          <a:gd name="T17" fmla="*/ 85 w 85"/>
                          <a:gd name="T18" fmla="*/ 68 h 68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85" h="68">
                            <a:moveTo>
                              <a:pt x="2" y="0"/>
                            </a:moveTo>
                            <a:lnTo>
                              <a:pt x="85" y="16"/>
                            </a:lnTo>
                            <a:lnTo>
                              <a:pt x="85" y="68"/>
                            </a:lnTo>
                            <a:lnTo>
                              <a:pt x="0" y="52"/>
                            </a:lnTo>
                            <a:lnTo>
                              <a:pt x="2" y="0"/>
                            </a:lnTo>
                            <a:close/>
                          </a:path>
                        </a:pathLst>
                      </a:custGeom>
                      <a:solidFill>
                        <a:srgbClr val="000000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851" name="Freeform 5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928" y="1224"/>
                        <a:ext cx="28" cy="23"/>
                      </a:xfrm>
                      <a:custGeom>
                        <a:avLst/>
                        <a:gdLst>
                          <a:gd name="T0" fmla="*/ 0 w 84"/>
                          <a:gd name="T1" fmla="*/ 0 h 68"/>
                          <a:gd name="T2" fmla="*/ 0 w 84"/>
                          <a:gd name="T3" fmla="*/ 0 h 68"/>
                          <a:gd name="T4" fmla="*/ 0 w 84"/>
                          <a:gd name="T5" fmla="*/ 0 h 68"/>
                          <a:gd name="T6" fmla="*/ 0 w 84"/>
                          <a:gd name="T7" fmla="*/ 0 h 68"/>
                          <a:gd name="T8" fmla="*/ 0 w 84"/>
                          <a:gd name="T9" fmla="*/ 0 h 68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84"/>
                          <a:gd name="T16" fmla="*/ 0 h 68"/>
                          <a:gd name="T17" fmla="*/ 84 w 84"/>
                          <a:gd name="T18" fmla="*/ 68 h 68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84" h="68">
                            <a:moveTo>
                              <a:pt x="0" y="0"/>
                            </a:moveTo>
                            <a:lnTo>
                              <a:pt x="84" y="17"/>
                            </a:lnTo>
                            <a:lnTo>
                              <a:pt x="84" y="68"/>
                            </a:lnTo>
                            <a:lnTo>
                              <a:pt x="0" y="53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000000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852" name="Freeform 57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963" y="1232"/>
                        <a:ext cx="28" cy="23"/>
                      </a:xfrm>
                      <a:custGeom>
                        <a:avLst/>
                        <a:gdLst>
                          <a:gd name="T0" fmla="*/ 0 w 84"/>
                          <a:gd name="T1" fmla="*/ 0 h 68"/>
                          <a:gd name="T2" fmla="*/ 0 w 84"/>
                          <a:gd name="T3" fmla="*/ 0 h 68"/>
                          <a:gd name="T4" fmla="*/ 0 w 84"/>
                          <a:gd name="T5" fmla="*/ 0 h 68"/>
                          <a:gd name="T6" fmla="*/ 0 w 84"/>
                          <a:gd name="T7" fmla="*/ 0 h 68"/>
                          <a:gd name="T8" fmla="*/ 0 w 84"/>
                          <a:gd name="T9" fmla="*/ 0 h 68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84"/>
                          <a:gd name="T16" fmla="*/ 0 h 68"/>
                          <a:gd name="T17" fmla="*/ 84 w 84"/>
                          <a:gd name="T18" fmla="*/ 68 h 68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84" h="68">
                            <a:moveTo>
                              <a:pt x="0" y="0"/>
                            </a:moveTo>
                            <a:lnTo>
                              <a:pt x="84" y="18"/>
                            </a:lnTo>
                            <a:lnTo>
                              <a:pt x="84" y="68"/>
                            </a:lnTo>
                            <a:lnTo>
                              <a:pt x="0" y="49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000000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853" name="Freeform 58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860" y="1211"/>
                        <a:ext cx="28" cy="23"/>
                      </a:xfrm>
                      <a:custGeom>
                        <a:avLst/>
                        <a:gdLst>
                          <a:gd name="T0" fmla="*/ 0 w 84"/>
                          <a:gd name="T1" fmla="*/ 0 h 68"/>
                          <a:gd name="T2" fmla="*/ 0 w 84"/>
                          <a:gd name="T3" fmla="*/ 0 h 68"/>
                          <a:gd name="T4" fmla="*/ 0 w 84"/>
                          <a:gd name="T5" fmla="*/ 0 h 68"/>
                          <a:gd name="T6" fmla="*/ 0 w 84"/>
                          <a:gd name="T7" fmla="*/ 0 h 68"/>
                          <a:gd name="T8" fmla="*/ 0 w 84"/>
                          <a:gd name="T9" fmla="*/ 0 h 68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84"/>
                          <a:gd name="T16" fmla="*/ 0 h 68"/>
                          <a:gd name="T17" fmla="*/ 84 w 84"/>
                          <a:gd name="T18" fmla="*/ 68 h 68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84" h="68">
                            <a:moveTo>
                              <a:pt x="0" y="0"/>
                            </a:moveTo>
                            <a:lnTo>
                              <a:pt x="84" y="16"/>
                            </a:lnTo>
                            <a:lnTo>
                              <a:pt x="84" y="68"/>
                            </a:lnTo>
                            <a:lnTo>
                              <a:pt x="0" y="53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000000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</p:grpSp>
              </p:grpSp>
            </p:grpSp>
          </p:grpSp>
          <p:grpSp>
            <p:nvGrpSpPr>
              <p:cNvPr id="15" name="Group 59"/>
              <p:cNvGrpSpPr>
                <a:grpSpLocks/>
              </p:cNvGrpSpPr>
              <p:nvPr/>
            </p:nvGrpSpPr>
            <p:grpSpPr bwMode="auto">
              <a:xfrm>
                <a:off x="1037" y="1133"/>
                <a:ext cx="217" cy="554"/>
                <a:chOff x="1037" y="1133"/>
                <a:chExt cx="217" cy="554"/>
              </a:xfrm>
            </p:grpSpPr>
            <p:grpSp>
              <p:nvGrpSpPr>
                <p:cNvPr id="16" name="Group 60"/>
                <p:cNvGrpSpPr>
                  <a:grpSpLocks/>
                </p:cNvGrpSpPr>
                <p:nvPr/>
              </p:nvGrpSpPr>
              <p:grpSpPr bwMode="auto">
                <a:xfrm>
                  <a:off x="1037" y="1133"/>
                  <a:ext cx="217" cy="554"/>
                  <a:chOff x="1037" y="1133"/>
                  <a:chExt cx="217" cy="554"/>
                </a:xfrm>
              </p:grpSpPr>
              <p:sp>
                <p:nvSpPr>
                  <p:cNvPr id="38832" name="Freeform 61"/>
                  <p:cNvSpPr>
                    <a:spLocks/>
                  </p:cNvSpPr>
                  <p:nvPr/>
                </p:nvSpPr>
                <p:spPr bwMode="auto">
                  <a:xfrm>
                    <a:off x="1078" y="1151"/>
                    <a:ext cx="127" cy="48"/>
                  </a:xfrm>
                  <a:custGeom>
                    <a:avLst/>
                    <a:gdLst>
                      <a:gd name="T0" fmla="*/ 0 w 382"/>
                      <a:gd name="T1" fmla="*/ 0 h 144"/>
                      <a:gd name="T2" fmla="*/ 0 w 382"/>
                      <a:gd name="T3" fmla="*/ 0 h 144"/>
                      <a:gd name="T4" fmla="*/ 0 w 382"/>
                      <a:gd name="T5" fmla="*/ 0 h 144"/>
                      <a:gd name="T6" fmla="*/ 0 w 382"/>
                      <a:gd name="T7" fmla="*/ 0 h 144"/>
                      <a:gd name="T8" fmla="*/ 0 w 382"/>
                      <a:gd name="T9" fmla="*/ 0 h 14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382"/>
                      <a:gd name="T16" fmla="*/ 0 h 144"/>
                      <a:gd name="T17" fmla="*/ 382 w 382"/>
                      <a:gd name="T18" fmla="*/ 144 h 14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382" h="144">
                        <a:moveTo>
                          <a:pt x="0" y="113"/>
                        </a:moveTo>
                        <a:lnTo>
                          <a:pt x="235" y="144"/>
                        </a:lnTo>
                        <a:lnTo>
                          <a:pt x="382" y="21"/>
                        </a:lnTo>
                        <a:lnTo>
                          <a:pt x="160" y="0"/>
                        </a:lnTo>
                        <a:lnTo>
                          <a:pt x="0" y="113"/>
                        </a:lnTo>
                        <a:close/>
                      </a:path>
                    </a:pathLst>
                  </a:custGeom>
                  <a:solidFill>
                    <a:srgbClr val="00DFF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17" name="Group 62"/>
                  <p:cNvGrpSpPr>
                    <a:grpSpLocks/>
                  </p:cNvGrpSpPr>
                  <p:nvPr/>
                </p:nvGrpSpPr>
                <p:grpSpPr bwMode="auto">
                  <a:xfrm>
                    <a:off x="1098" y="1133"/>
                    <a:ext cx="89" cy="58"/>
                    <a:chOff x="1098" y="1133"/>
                    <a:chExt cx="89" cy="58"/>
                  </a:xfrm>
                </p:grpSpPr>
                <p:sp>
                  <p:nvSpPr>
                    <p:cNvPr id="38840" name="Freeform 63"/>
                    <p:cNvSpPr>
                      <a:spLocks/>
                    </p:cNvSpPr>
                    <p:nvPr/>
                  </p:nvSpPr>
                  <p:spPr bwMode="auto">
                    <a:xfrm>
                      <a:off x="1098" y="1156"/>
                      <a:ext cx="54" cy="35"/>
                    </a:xfrm>
                    <a:custGeom>
                      <a:avLst/>
                      <a:gdLst>
                        <a:gd name="T0" fmla="*/ 0 w 161"/>
                        <a:gd name="T1" fmla="*/ 0 h 106"/>
                        <a:gd name="T2" fmla="*/ 0 w 161"/>
                        <a:gd name="T3" fmla="*/ 0 h 106"/>
                        <a:gd name="T4" fmla="*/ 0 w 161"/>
                        <a:gd name="T5" fmla="*/ 0 h 106"/>
                        <a:gd name="T6" fmla="*/ 0 w 161"/>
                        <a:gd name="T7" fmla="*/ 0 h 106"/>
                        <a:gd name="T8" fmla="*/ 0 w 161"/>
                        <a:gd name="T9" fmla="*/ 0 h 10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61"/>
                        <a:gd name="T16" fmla="*/ 0 h 106"/>
                        <a:gd name="T17" fmla="*/ 161 w 161"/>
                        <a:gd name="T18" fmla="*/ 106 h 10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61" h="106">
                          <a:moveTo>
                            <a:pt x="1" y="0"/>
                          </a:moveTo>
                          <a:lnTo>
                            <a:pt x="161" y="18"/>
                          </a:lnTo>
                          <a:lnTo>
                            <a:pt x="161" y="106"/>
                          </a:lnTo>
                          <a:lnTo>
                            <a:pt x="0" y="86"/>
                          </a:lnTo>
                          <a:lnTo>
                            <a:pt x="1" y="0"/>
                          </a:lnTo>
                          <a:close/>
                        </a:path>
                      </a:pathLst>
                    </a:custGeom>
                    <a:solidFill>
                      <a:srgbClr val="00BFD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841" name="Freeform 64"/>
                    <p:cNvSpPr>
                      <a:spLocks/>
                    </p:cNvSpPr>
                    <p:nvPr/>
                  </p:nvSpPr>
                  <p:spPr bwMode="auto">
                    <a:xfrm>
                      <a:off x="1152" y="1138"/>
                      <a:ext cx="35" cy="53"/>
                    </a:xfrm>
                    <a:custGeom>
                      <a:avLst/>
                      <a:gdLst>
                        <a:gd name="T0" fmla="*/ 0 w 105"/>
                        <a:gd name="T1" fmla="*/ 0 h 159"/>
                        <a:gd name="T2" fmla="*/ 0 w 105"/>
                        <a:gd name="T3" fmla="*/ 0 h 159"/>
                        <a:gd name="T4" fmla="*/ 0 w 105"/>
                        <a:gd name="T5" fmla="*/ 0 h 159"/>
                        <a:gd name="T6" fmla="*/ 0 w 105"/>
                        <a:gd name="T7" fmla="*/ 0 h 159"/>
                        <a:gd name="T8" fmla="*/ 0 w 105"/>
                        <a:gd name="T9" fmla="*/ 0 h 159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05"/>
                        <a:gd name="T16" fmla="*/ 0 h 159"/>
                        <a:gd name="T17" fmla="*/ 105 w 105"/>
                        <a:gd name="T18" fmla="*/ 159 h 159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05" h="159">
                          <a:moveTo>
                            <a:pt x="0" y="73"/>
                          </a:moveTo>
                          <a:lnTo>
                            <a:pt x="0" y="159"/>
                          </a:lnTo>
                          <a:lnTo>
                            <a:pt x="105" y="73"/>
                          </a:lnTo>
                          <a:lnTo>
                            <a:pt x="105" y="0"/>
                          </a:lnTo>
                          <a:lnTo>
                            <a:pt x="0" y="73"/>
                          </a:lnTo>
                          <a:close/>
                        </a:path>
                      </a:pathLst>
                    </a:custGeom>
                    <a:solidFill>
                      <a:srgbClr val="009FB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842" name="Freeform 65"/>
                    <p:cNvSpPr>
                      <a:spLocks/>
                    </p:cNvSpPr>
                    <p:nvPr/>
                  </p:nvSpPr>
                  <p:spPr bwMode="auto">
                    <a:xfrm>
                      <a:off x="1099" y="1133"/>
                      <a:ext cx="88" cy="29"/>
                    </a:xfrm>
                    <a:custGeom>
                      <a:avLst/>
                      <a:gdLst>
                        <a:gd name="T0" fmla="*/ 0 w 265"/>
                        <a:gd name="T1" fmla="*/ 0 h 87"/>
                        <a:gd name="T2" fmla="*/ 0 w 265"/>
                        <a:gd name="T3" fmla="*/ 0 h 87"/>
                        <a:gd name="T4" fmla="*/ 0 w 265"/>
                        <a:gd name="T5" fmla="*/ 0 h 87"/>
                        <a:gd name="T6" fmla="*/ 0 w 265"/>
                        <a:gd name="T7" fmla="*/ 0 h 87"/>
                        <a:gd name="T8" fmla="*/ 0 w 265"/>
                        <a:gd name="T9" fmla="*/ 0 h 87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65"/>
                        <a:gd name="T16" fmla="*/ 0 h 87"/>
                        <a:gd name="T17" fmla="*/ 265 w 265"/>
                        <a:gd name="T18" fmla="*/ 87 h 87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65" h="87">
                          <a:moveTo>
                            <a:pt x="0" y="68"/>
                          </a:moveTo>
                          <a:lnTo>
                            <a:pt x="160" y="87"/>
                          </a:lnTo>
                          <a:lnTo>
                            <a:pt x="265" y="15"/>
                          </a:lnTo>
                          <a:lnTo>
                            <a:pt x="108" y="0"/>
                          </a:lnTo>
                          <a:lnTo>
                            <a:pt x="0" y="68"/>
                          </a:lnTo>
                          <a:close/>
                        </a:path>
                      </a:pathLst>
                    </a:custGeom>
                    <a:solidFill>
                      <a:srgbClr val="00DFF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38834" name="Freeform 66"/>
                  <p:cNvSpPr>
                    <a:spLocks/>
                  </p:cNvSpPr>
                  <p:nvPr/>
                </p:nvSpPr>
                <p:spPr bwMode="auto">
                  <a:xfrm>
                    <a:off x="1078" y="1189"/>
                    <a:ext cx="78" cy="191"/>
                  </a:xfrm>
                  <a:custGeom>
                    <a:avLst/>
                    <a:gdLst>
                      <a:gd name="T0" fmla="*/ 0 w 232"/>
                      <a:gd name="T1" fmla="*/ 0 h 574"/>
                      <a:gd name="T2" fmla="*/ 0 w 232"/>
                      <a:gd name="T3" fmla="*/ 0 h 574"/>
                      <a:gd name="T4" fmla="*/ 0 w 232"/>
                      <a:gd name="T5" fmla="*/ 0 h 574"/>
                      <a:gd name="T6" fmla="*/ 0 w 232"/>
                      <a:gd name="T7" fmla="*/ 0 h 574"/>
                      <a:gd name="T8" fmla="*/ 0 w 232"/>
                      <a:gd name="T9" fmla="*/ 0 h 57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32"/>
                      <a:gd name="T16" fmla="*/ 0 h 574"/>
                      <a:gd name="T17" fmla="*/ 232 w 232"/>
                      <a:gd name="T18" fmla="*/ 574 h 57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32" h="574">
                        <a:moveTo>
                          <a:pt x="0" y="0"/>
                        </a:moveTo>
                        <a:lnTo>
                          <a:pt x="232" y="30"/>
                        </a:lnTo>
                        <a:lnTo>
                          <a:pt x="232" y="574"/>
                        </a:lnTo>
                        <a:lnTo>
                          <a:pt x="0" y="517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BFD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35" name="Freeform 67"/>
                  <p:cNvSpPr>
                    <a:spLocks/>
                  </p:cNvSpPr>
                  <p:nvPr/>
                </p:nvSpPr>
                <p:spPr bwMode="auto">
                  <a:xfrm>
                    <a:off x="1156" y="1159"/>
                    <a:ext cx="48" cy="221"/>
                  </a:xfrm>
                  <a:custGeom>
                    <a:avLst/>
                    <a:gdLst>
                      <a:gd name="T0" fmla="*/ 0 w 146"/>
                      <a:gd name="T1" fmla="*/ 0 h 664"/>
                      <a:gd name="T2" fmla="*/ 0 w 146"/>
                      <a:gd name="T3" fmla="*/ 0 h 664"/>
                      <a:gd name="T4" fmla="*/ 0 w 146"/>
                      <a:gd name="T5" fmla="*/ 0 h 664"/>
                      <a:gd name="T6" fmla="*/ 0 w 146"/>
                      <a:gd name="T7" fmla="*/ 0 h 664"/>
                      <a:gd name="T8" fmla="*/ 0 w 146"/>
                      <a:gd name="T9" fmla="*/ 0 h 66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46"/>
                      <a:gd name="T16" fmla="*/ 0 h 664"/>
                      <a:gd name="T17" fmla="*/ 146 w 146"/>
                      <a:gd name="T18" fmla="*/ 664 h 66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46" h="664">
                        <a:moveTo>
                          <a:pt x="0" y="121"/>
                        </a:moveTo>
                        <a:lnTo>
                          <a:pt x="146" y="0"/>
                        </a:lnTo>
                        <a:lnTo>
                          <a:pt x="146" y="508"/>
                        </a:lnTo>
                        <a:lnTo>
                          <a:pt x="0" y="664"/>
                        </a:lnTo>
                        <a:lnTo>
                          <a:pt x="0" y="121"/>
                        </a:lnTo>
                        <a:close/>
                      </a:path>
                    </a:pathLst>
                  </a:custGeom>
                  <a:solidFill>
                    <a:srgbClr val="009FB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36" name="Freeform 68"/>
                  <p:cNvSpPr>
                    <a:spLocks/>
                  </p:cNvSpPr>
                  <p:nvPr/>
                </p:nvSpPr>
                <p:spPr bwMode="auto">
                  <a:xfrm>
                    <a:off x="1155" y="1328"/>
                    <a:ext cx="99" cy="158"/>
                  </a:xfrm>
                  <a:custGeom>
                    <a:avLst/>
                    <a:gdLst>
                      <a:gd name="T0" fmla="*/ 0 w 299"/>
                      <a:gd name="T1" fmla="*/ 0 h 474"/>
                      <a:gd name="T2" fmla="*/ 0 w 299"/>
                      <a:gd name="T3" fmla="*/ 0 h 474"/>
                      <a:gd name="T4" fmla="*/ 0 w 299"/>
                      <a:gd name="T5" fmla="*/ 0 h 474"/>
                      <a:gd name="T6" fmla="*/ 0 w 299"/>
                      <a:gd name="T7" fmla="*/ 0 h 474"/>
                      <a:gd name="T8" fmla="*/ 0 w 299"/>
                      <a:gd name="T9" fmla="*/ 0 h 474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99"/>
                      <a:gd name="T16" fmla="*/ 0 h 474"/>
                      <a:gd name="T17" fmla="*/ 299 w 299"/>
                      <a:gd name="T18" fmla="*/ 474 h 474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99" h="474">
                        <a:moveTo>
                          <a:pt x="149" y="0"/>
                        </a:moveTo>
                        <a:lnTo>
                          <a:pt x="0" y="155"/>
                        </a:lnTo>
                        <a:lnTo>
                          <a:pt x="56" y="474"/>
                        </a:lnTo>
                        <a:lnTo>
                          <a:pt x="299" y="175"/>
                        </a:lnTo>
                        <a:lnTo>
                          <a:pt x="149" y="0"/>
                        </a:lnTo>
                        <a:close/>
                      </a:path>
                    </a:pathLst>
                  </a:custGeom>
                  <a:solidFill>
                    <a:srgbClr val="00808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37" name="Freeform 69"/>
                  <p:cNvSpPr>
                    <a:spLocks/>
                  </p:cNvSpPr>
                  <p:nvPr/>
                </p:nvSpPr>
                <p:spPr bwMode="auto">
                  <a:xfrm>
                    <a:off x="1037" y="1361"/>
                    <a:ext cx="136" cy="125"/>
                  </a:xfrm>
                  <a:custGeom>
                    <a:avLst/>
                    <a:gdLst>
                      <a:gd name="T0" fmla="*/ 0 w 408"/>
                      <a:gd name="T1" fmla="*/ 0 h 375"/>
                      <a:gd name="T2" fmla="*/ 0 w 408"/>
                      <a:gd name="T3" fmla="*/ 0 h 375"/>
                      <a:gd name="T4" fmla="*/ 0 w 408"/>
                      <a:gd name="T5" fmla="*/ 0 h 375"/>
                      <a:gd name="T6" fmla="*/ 0 w 408"/>
                      <a:gd name="T7" fmla="*/ 0 h 375"/>
                      <a:gd name="T8" fmla="*/ 0 w 408"/>
                      <a:gd name="T9" fmla="*/ 0 h 37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408"/>
                      <a:gd name="T16" fmla="*/ 0 h 375"/>
                      <a:gd name="T17" fmla="*/ 408 w 408"/>
                      <a:gd name="T18" fmla="*/ 375 h 37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408" h="375">
                        <a:moveTo>
                          <a:pt x="119" y="0"/>
                        </a:moveTo>
                        <a:lnTo>
                          <a:pt x="353" y="56"/>
                        </a:lnTo>
                        <a:lnTo>
                          <a:pt x="408" y="375"/>
                        </a:lnTo>
                        <a:lnTo>
                          <a:pt x="0" y="269"/>
                        </a:lnTo>
                        <a:lnTo>
                          <a:pt x="119" y="0"/>
                        </a:lnTo>
                        <a:close/>
                      </a:path>
                    </a:pathLst>
                  </a:custGeom>
                  <a:solidFill>
                    <a:srgbClr val="009FB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38" name="Freeform 70"/>
                  <p:cNvSpPr>
                    <a:spLocks/>
                  </p:cNvSpPr>
                  <p:nvPr/>
                </p:nvSpPr>
                <p:spPr bwMode="auto">
                  <a:xfrm>
                    <a:off x="1172" y="1387"/>
                    <a:ext cx="82" cy="300"/>
                  </a:xfrm>
                  <a:custGeom>
                    <a:avLst/>
                    <a:gdLst>
                      <a:gd name="T0" fmla="*/ 0 w 245"/>
                      <a:gd name="T1" fmla="*/ 0 h 902"/>
                      <a:gd name="T2" fmla="*/ 0 w 245"/>
                      <a:gd name="T3" fmla="*/ 0 h 902"/>
                      <a:gd name="T4" fmla="*/ 0 w 245"/>
                      <a:gd name="T5" fmla="*/ 0 h 902"/>
                      <a:gd name="T6" fmla="*/ 0 w 245"/>
                      <a:gd name="T7" fmla="*/ 0 h 902"/>
                      <a:gd name="T8" fmla="*/ 0 w 245"/>
                      <a:gd name="T9" fmla="*/ 0 h 90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45"/>
                      <a:gd name="T16" fmla="*/ 0 h 902"/>
                      <a:gd name="T17" fmla="*/ 245 w 245"/>
                      <a:gd name="T18" fmla="*/ 902 h 90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45" h="902">
                        <a:moveTo>
                          <a:pt x="2" y="299"/>
                        </a:moveTo>
                        <a:lnTo>
                          <a:pt x="245" y="0"/>
                        </a:lnTo>
                        <a:lnTo>
                          <a:pt x="245" y="488"/>
                        </a:lnTo>
                        <a:lnTo>
                          <a:pt x="0" y="902"/>
                        </a:lnTo>
                        <a:lnTo>
                          <a:pt x="2" y="299"/>
                        </a:lnTo>
                        <a:close/>
                      </a:path>
                    </a:pathLst>
                  </a:custGeom>
                  <a:solidFill>
                    <a:srgbClr val="009FB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839" name="Freeform 71"/>
                  <p:cNvSpPr>
                    <a:spLocks/>
                  </p:cNvSpPr>
                  <p:nvPr/>
                </p:nvSpPr>
                <p:spPr bwMode="auto">
                  <a:xfrm>
                    <a:off x="1037" y="1451"/>
                    <a:ext cx="136" cy="236"/>
                  </a:xfrm>
                  <a:custGeom>
                    <a:avLst/>
                    <a:gdLst>
                      <a:gd name="T0" fmla="*/ 0 w 407"/>
                      <a:gd name="T1" fmla="*/ 0 h 708"/>
                      <a:gd name="T2" fmla="*/ 0 w 407"/>
                      <a:gd name="T3" fmla="*/ 0 h 708"/>
                      <a:gd name="T4" fmla="*/ 0 w 407"/>
                      <a:gd name="T5" fmla="*/ 0 h 708"/>
                      <a:gd name="T6" fmla="*/ 0 w 407"/>
                      <a:gd name="T7" fmla="*/ 0 h 708"/>
                      <a:gd name="T8" fmla="*/ 0 w 407"/>
                      <a:gd name="T9" fmla="*/ 0 h 70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407"/>
                      <a:gd name="T16" fmla="*/ 0 h 708"/>
                      <a:gd name="T17" fmla="*/ 407 w 407"/>
                      <a:gd name="T18" fmla="*/ 708 h 70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407" h="708">
                        <a:moveTo>
                          <a:pt x="0" y="0"/>
                        </a:moveTo>
                        <a:lnTo>
                          <a:pt x="407" y="105"/>
                        </a:lnTo>
                        <a:lnTo>
                          <a:pt x="407" y="708"/>
                        </a:lnTo>
                        <a:lnTo>
                          <a:pt x="0" y="572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BFD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8" name="Group 72"/>
                <p:cNvGrpSpPr>
                  <a:grpSpLocks/>
                </p:cNvGrpSpPr>
                <p:nvPr/>
              </p:nvGrpSpPr>
              <p:grpSpPr bwMode="auto">
                <a:xfrm>
                  <a:off x="1086" y="1198"/>
                  <a:ext cx="58" cy="124"/>
                  <a:chOff x="1086" y="1198"/>
                  <a:chExt cx="58" cy="124"/>
                </a:xfrm>
              </p:grpSpPr>
              <p:grpSp>
                <p:nvGrpSpPr>
                  <p:cNvPr id="19" name="Group 73"/>
                  <p:cNvGrpSpPr>
                    <a:grpSpLocks/>
                  </p:cNvGrpSpPr>
                  <p:nvPr/>
                </p:nvGrpSpPr>
                <p:grpSpPr bwMode="auto">
                  <a:xfrm>
                    <a:off x="1086" y="1198"/>
                    <a:ext cx="58" cy="41"/>
                    <a:chOff x="1086" y="1198"/>
                    <a:chExt cx="58" cy="41"/>
                  </a:xfrm>
                </p:grpSpPr>
                <p:sp>
                  <p:nvSpPr>
                    <p:cNvPr id="38829" name="Freeform 74"/>
                    <p:cNvSpPr>
                      <a:spLocks/>
                    </p:cNvSpPr>
                    <p:nvPr/>
                  </p:nvSpPr>
                  <p:spPr bwMode="auto">
                    <a:xfrm>
                      <a:off x="1086" y="1198"/>
                      <a:ext cx="13" cy="33"/>
                    </a:xfrm>
                    <a:custGeom>
                      <a:avLst/>
                      <a:gdLst>
                        <a:gd name="T0" fmla="*/ 0 w 37"/>
                        <a:gd name="T1" fmla="*/ 0 h 100"/>
                        <a:gd name="T2" fmla="*/ 0 w 37"/>
                        <a:gd name="T3" fmla="*/ 0 h 100"/>
                        <a:gd name="T4" fmla="*/ 0 w 37"/>
                        <a:gd name="T5" fmla="*/ 0 h 100"/>
                        <a:gd name="T6" fmla="*/ 0 w 37"/>
                        <a:gd name="T7" fmla="*/ 0 h 100"/>
                        <a:gd name="T8" fmla="*/ 0 w 37"/>
                        <a:gd name="T9" fmla="*/ 0 h 100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7"/>
                        <a:gd name="T16" fmla="*/ 0 h 100"/>
                        <a:gd name="T17" fmla="*/ 37 w 37"/>
                        <a:gd name="T18" fmla="*/ 100 h 100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7" h="100">
                          <a:moveTo>
                            <a:pt x="0" y="0"/>
                          </a:moveTo>
                          <a:lnTo>
                            <a:pt x="37" y="4"/>
                          </a:lnTo>
                          <a:lnTo>
                            <a:pt x="37" y="100"/>
                          </a:lnTo>
                          <a:lnTo>
                            <a:pt x="0" y="9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830" name="Freeform 75"/>
                    <p:cNvSpPr>
                      <a:spLocks/>
                    </p:cNvSpPr>
                    <p:nvPr/>
                  </p:nvSpPr>
                  <p:spPr bwMode="auto">
                    <a:xfrm>
                      <a:off x="1108" y="1201"/>
                      <a:ext cx="13" cy="35"/>
                    </a:xfrm>
                    <a:custGeom>
                      <a:avLst/>
                      <a:gdLst>
                        <a:gd name="T0" fmla="*/ 0 w 38"/>
                        <a:gd name="T1" fmla="*/ 0 h 106"/>
                        <a:gd name="T2" fmla="*/ 0 w 38"/>
                        <a:gd name="T3" fmla="*/ 0 h 106"/>
                        <a:gd name="T4" fmla="*/ 0 w 38"/>
                        <a:gd name="T5" fmla="*/ 0 h 106"/>
                        <a:gd name="T6" fmla="*/ 0 w 38"/>
                        <a:gd name="T7" fmla="*/ 0 h 106"/>
                        <a:gd name="T8" fmla="*/ 0 w 38"/>
                        <a:gd name="T9" fmla="*/ 0 h 10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8"/>
                        <a:gd name="T16" fmla="*/ 0 h 106"/>
                        <a:gd name="T17" fmla="*/ 38 w 38"/>
                        <a:gd name="T18" fmla="*/ 106 h 10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8" h="106">
                          <a:moveTo>
                            <a:pt x="0" y="0"/>
                          </a:moveTo>
                          <a:lnTo>
                            <a:pt x="38" y="5"/>
                          </a:lnTo>
                          <a:lnTo>
                            <a:pt x="38" y="106"/>
                          </a:lnTo>
                          <a:lnTo>
                            <a:pt x="0" y="98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831" name="Freeform 76"/>
                    <p:cNvSpPr>
                      <a:spLocks/>
                    </p:cNvSpPr>
                    <p:nvPr/>
                  </p:nvSpPr>
                  <p:spPr bwMode="auto">
                    <a:xfrm>
                      <a:off x="1132" y="1205"/>
                      <a:ext cx="12" cy="34"/>
                    </a:xfrm>
                    <a:custGeom>
                      <a:avLst/>
                      <a:gdLst>
                        <a:gd name="T0" fmla="*/ 0 w 37"/>
                        <a:gd name="T1" fmla="*/ 0 h 103"/>
                        <a:gd name="T2" fmla="*/ 0 w 37"/>
                        <a:gd name="T3" fmla="*/ 0 h 103"/>
                        <a:gd name="T4" fmla="*/ 0 w 37"/>
                        <a:gd name="T5" fmla="*/ 0 h 103"/>
                        <a:gd name="T6" fmla="*/ 0 w 37"/>
                        <a:gd name="T7" fmla="*/ 0 h 103"/>
                        <a:gd name="T8" fmla="*/ 0 w 37"/>
                        <a:gd name="T9" fmla="*/ 0 h 103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7"/>
                        <a:gd name="T16" fmla="*/ 0 h 103"/>
                        <a:gd name="T17" fmla="*/ 37 w 37"/>
                        <a:gd name="T18" fmla="*/ 103 h 103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7" h="103">
                          <a:moveTo>
                            <a:pt x="0" y="0"/>
                          </a:moveTo>
                          <a:lnTo>
                            <a:pt x="37" y="5"/>
                          </a:lnTo>
                          <a:lnTo>
                            <a:pt x="37" y="103"/>
                          </a:lnTo>
                          <a:lnTo>
                            <a:pt x="0" y="98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20" name="Group 77"/>
                  <p:cNvGrpSpPr>
                    <a:grpSpLocks/>
                  </p:cNvGrpSpPr>
                  <p:nvPr/>
                </p:nvGrpSpPr>
                <p:grpSpPr bwMode="auto">
                  <a:xfrm>
                    <a:off x="1086" y="1237"/>
                    <a:ext cx="58" cy="44"/>
                    <a:chOff x="1086" y="1237"/>
                    <a:chExt cx="58" cy="44"/>
                  </a:xfrm>
                </p:grpSpPr>
                <p:sp>
                  <p:nvSpPr>
                    <p:cNvPr id="38826" name="Freeform 78"/>
                    <p:cNvSpPr>
                      <a:spLocks/>
                    </p:cNvSpPr>
                    <p:nvPr/>
                  </p:nvSpPr>
                  <p:spPr bwMode="auto">
                    <a:xfrm>
                      <a:off x="1086" y="1237"/>
                      <a:ext cx="13" cy="35"/>
                    </a:xfrm>
                    <a:custGeom>
                      <a:avLst/>
                      <a:gdLst>
                        <a:gd name="T0" fmla="*/ 0 w 37"/>
                        <a:gd name="T1" fmla="*/ 0 h 104"/>
                        <a:gd name="T2" fmla="*/ 0 w 37"/>
                        <a:gd name="T3" fmla="*/ 0 h 104"/>
                        <a:gd name="T4" fmla="*/ 0 w 37"/>
                        <a:gd name="T5" fmla="*/ 0 h 104"/>
                        <a:gd name="T6" fmla="*/ 0 w 37"/>
                        <a:gd name="T7" fmla="*/ 0 h 104"/>
                        <a:gd name="T8" fmla="*/ 0 w 37"/>
                        <a:gd name="T9" fmla="*/ 0 h 10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7"/>
                        <a:gd name="T16" fmla="*/ 0 h 104"/>
                        <a:gd name="T17" fmla="*/ 37 w 37"/>
                        <a:gd name="T18" fmla="*/ 104 h 10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7" h="104">
                          <a:moveTo>
                            <a:pt x="0" y="0"/>
                          </a:moveTo>
                          <a:lnTo>
                            <a:pt x="37" y="8"/>
                          </a:lnTo>
                          <a:lnTo>
                            <a:pt x="37" y="104"/>
                          </a:lnTo>
                          <a:lnTo>
                            <a:pt x="0" y="96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827" name="Freeform 79"/>
                    <p:cNvSpPr>
                      <a:spLocks/>
                    </p:cNvSpPr>
                    <p:nvPr/>
                  </p:nvSpPr>
                  <p:spPr bwMode="auto">
                    <a:xfrm>
                      <a:off x="1108" y="1242"/>
                      <a:ext cx="13" cy="35"/>
                    </a:xfrm>
                    <a:custGeom>
                      <a:avLst/>
                      <a:gdLst>
                        <a:gd name="T0" fmla="*/ 0 w 38"/>
                        <a:gd name="T1" fmla="*/ 0 h 104"/>
                        <a:gd name="T2" fmla="*/ 0 w 38"/>
                        <a:gd name="T3" fmla="*/ 0 h 104"/>
                        <a:gd name="T4" fmla="*/ 0 w 38"/>
                        <a:gd name="T5" fmla="*/ 0 h 104"/>
                        <a:gd name="T6" fmla="*/ 0 w 38"/>
                        <a:gd name="T7" fmla="*/ 0 h 104"/>
                        <a:gd name="T8" fmla="*/ 0 w 38"/>
                        <a:gd name="T9" fmla="*/ 0 h 10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8"/>
                        <a:gd name="T16" fmla="*/ 0 h 104"/>
                        <a:gd name="T17" fmla="*/ 38 w 38"/>
                        <a:gd name="T18" fmla="*/ 104 h 10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8" h="104">
                          <a:moveTo>
                            <a:pt x="0" y="0"/>
                          </a:moveTo>
                          <a:lnTo>
                            <a:pt x="38" y="8"/>
                          </a:lnTo>
                          <a:lnTo>
                            <a:pt x="38" y="104"/>
                          </a:lnTo>
                          <a:lnTo>
                            <a:pt x="0" y="98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828" name="Freeform 80"/>
                    <p:cNvSpPr>
                      <a:spLocks/>
                    </p:cNvSpPr>
                    <p:nvPr/>
                  </p:nvSpPr>
                  <p:spPr bwMode="auto">
                    <a:xfrm>
                      <a:off x="1132" y="1247"/>
                      <a:ext cx="12" cy="34"/>
                    </a:xfrm>
                    <a:custGeom>
                      <a:avLst/>
                      <a:gdLst>
                        <a:gd name="T0" fmla="*/ 0 w 37"/>
                        <a:gd name="T1" fmla="*/ 0 h 104"/>
                        <a:gd name="T2" fmla="*/ 0 w 37"/>
                        <a:gd name="T3" fmla="*/ 0 h 104"/>
                        <a:gd name="T4" fmla="*/ 0 w 37"/>
                        <a:gd name="T5" fmla="*/ 0 h 104"/>
                        <a:gd name="T6" fmla="*/ 0 w 37"/>
                        <a:gd name="T7" fmla="*/ 0 h 104"/>
                        <a:gd name="T8" fmla="*/ 0 w 37"/>
                        <a:gd name="T9" fmla="*/ 0 h 10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7"/>
                        <a:gd name="T16" fmla="*/ 0 h 104"/>
                        <a:gd name="T17" fmla="*/ 37 w 37"/>
                        <a:gd name="T18" fmla="*/ 104 h 10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7" h="104">
                          <a:moveTo>
                            <a:pt x="0" y="0"/>
                          </a:moveTo>
                          <a:lnTo>
                            <a:pt x="37" y="8"/>
                          </a:lnTo>
                          <a:lnTo>
                            <a:pt x="37" y="104"/>
                          </a:lnTo>
                          <a:lnTo>
                            <a:pt x="0" y="9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21" name="Group 81"/>
                  <p:cNvGrpSpPr>
                    <a:grpSpLocks/>
                  </p:cNvGrpSpPr>
                  <p:nvPr/>
                </p:nvGrpSpPr>
                <p:grpSpPr bwMode="auto">
                  <a:xfrm>
                    <a:off x="1086" y="1277"/>
                    <a:ext cx="58" cy="45"/>
                    <a:chOff x="1086" y="1277"/>
                    <a:chExt cx="58" cy="45"/>
                  </a:xfrm>
                </p:grpSpPr>
                <p:sp>
                  <p:nvSpPr>
                    <p:cNvPr id="38823" name="Freeform 82"/>
                    <p:cNvSpPr>
                      <a:spLocks/>
                    </p:cNvSpPr>
                    <p:nvPr/>
                  </p:nvSpPr>
                  <p:spPr bwMode="auto">
                    <a:xfrm>
                      <a:off x="1086" y="1277"/>
                      <a:ext cx="13" cy="35"/>
                    </a:xfrm>
                    <a:custGeom>
                      <a:avLst/>
                      <a:gdLst>
                        <a:gd name="T0" fmla="*/ 0 w 37"/>
                        <a:gd name="T1" fmla="*/ 0 h 105"/>
                        <a:gd name="T2" fmla="*/ 0 w 37"/>
                        <a:gd name="T3" fmla="*/ 0 h 105"/>
                        <a:gd name="T4" fmla="*/ 0 w 37"/>
                        <a:gd name="T5" fmla="*/ 0 h 105"/>
                        <a:gd name="T6" fmla="*/ 0 w 37"/>
                        <a:gd name="T7" fmla="*/ 0 h 105"/>
                        <a:gd name="T8" fmla="*/ 0 w 37"/>
                        <a:gd name="T9" fmla="*/ 0 h 105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7"/>
                        <a:gd name="T16" fmla="*/ 0 h 105"/>
                        <a:gd name="T17" fmla="*/ 37 w 37"/>
                        <a:gd name="T18" fmla="*/ 105 h 105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7" h="105">
                          <a:moveTo>
                            <a:pt x="0" y="0"/>
                          </a:moveTo>
                          <a:lnTo>
                            <a:pt x="37" y="9"/>
                          </a:lnTo>
                          <a:lnTo>
                            <a:pt x="37" y="105"/>
                          </a:lnTo>
                          <a:lnTo>
                            <a:pt x="0" y="9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824" name="Freeform 83"/>
                    <p:cNvSpPr>
                      <a:spLocks/>
                    </p:cNvSpPr>
                    <p:nvPr/>
                  </p:nvSpPr>
                  <p:spPr bwMode="auto">
                    <a:xfrm>
                      <a:off x="1108" y="1283"/>
                      <a:ext cx="13" cy="34"/>
                    </a:xfrm>
                    <a:custGeom>
                      <a:avLst/>
                      <a:gdLst>
                        <a:gd name="T0" fmla="*/ 0 w 38"/>
                        <a:gd name="T1" fmla="*/ 0 h 104"/>
                        <a:gd name="T2" fmla="*/ 0 w 38"/>
                        <a:gd name="T3" fmla="*/ 0 h 104"/>
                        <a:gd name="T4" fmla="*/ 0 w 38"/>
                        <a:gd name="T5" fmla="*/ 0 h 104"/>
                        <a:gd name="T6" fmla="*/ 0 w 38"/>
                        <a:gd name="T7" fmla="*/ 0 h 104"/>
                        <a:gd name="T8" fmla="*/ 0 w 38"/>
                        <a:gd name="T9" fmla="*/ 0 h 10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8"/>
                        <a:gd name="T16" fmla="*/ 0 h 104"/>
                        <a:gd name="T17" fmla="*/ 38 w 38"/>
                        <a:gd name="T18" fmla="*/ 104 h 10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8" h="104">
                          <a:moveTo>
                            <a:pt x="0" y="0"/>
                          </a:moveTo>
                          <a:lnTo>
                            <a:pt x="38" y="6"/>
                          </a:lnTo>
                          <a:lnTo>
                            <a:pt x="38" y="104"/>
                          </a:lnTo>
                          <a:lnTo>
                            <a:pt x="0" y="97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825" name="Freeform 84"/>
                    <p:cNvSpPr>
                      <a:spLocks/>
                    </p:cNvSpPr>
                    <p:nvPr/>
                  </p:nvSpPr>
                  <p:spPr bwMode="auto">
                    <a:xfrm>
                      <a:off x="1132" y="1287"/>
                      <a:ext cx="12" cy="35"/>
                    </a:xfrm>
                    <a:custGeom>
                      <a:avLst/>
                      <a:gdLst>
                        <a:gd name="T0" fmla="*/ 0 w 37"/>
                        <a:gd name="T1" fmla="*/ 0 h 104"/>
                        <a:gd name="T2" fmla="*/ 0 w 37"/>
                        <a:gd name="T3" fmla="*/ 0 h 104"/>
                        <a:gd name="T4" fmla="*/ 0 w 37"/>
                        <a:gd name="T5" fmla="*/ 0 h 104"/>
                        <a:gd name="T6" fmla="*/ 0 w 37"/>
                        <a:gd name="T7" fmla="*/ 0 h 104"/>
                        <a:gd name="T8" fmla="*/ 0 w 37"/>
                        <a:gd name="T9" fmla="*/ 0 h 10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7"/>
                        <a:gd name="T16" fmla="*/ 0 h 104"/>
                        <a:gd name="T17" fmla="*/ 37 w 37"/>
                        <a:gd name="T18" fmla="*/ 104 h 10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7" h="104">
                          <a:moveTo>
                            <a:pt x="0" y="0"/>
                          </a:moveTo>
                          <a:lnTo>
                            <a:pt x="37" y="8"/>
                          </a:lnTo>
                          <a:lnTo>
                            <a:pt x="37" y="104"/>
                          </a:lnTo>
                          <a:lnTo>
                            <a:pt x="0" y="9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</p:grpSp>
          </p:grpSp>
          <p:grpSp>
            <p:nvGrpSpPr>
              <p:cNvPr id="22" name="Group 85"/>
              <p:cNvGrpSpPr>
                <a:grpSpLocks/>
              </p:cNvGrpSpPr>
              <p:nvPr/>
            </p:nvGrpSpPr>
            <p:grpSpPr bwMode="auto">
              <a:xfrm>
                <a:off x="464" y="1016"/>
                <a:ext cx="324" cy="677"/>
                <a:chOff x="464" y="1016"/>
                <a:chExt cx="324" cy="677"/>
              </a:xfrm>
            </p:grpSpPr>
            <p:sp>
              <p:nvSpPr>
                <p:cNvPr id="38790" name="Freeform 86"/>
                <p:cNvSpPr>
                  <a:spLocks/>
                </p:cNvSpPr>
                <p:nvPr/>
              </p:nvSpPr>
              <p:spPr bwMode="auto">
                <a:xfrm>
                  <a:off x="464" y="1056"/>
                  <a:ext cx="323" cy="74"/>
                </a:xfrm>
                <a:custGeom>
                  <a:avLst/>
                  <a:gdLst>
                    <a:gd name="T0" fmla="*/ 0 w 971"/>
                    <a:gd name="T1" fmla="*/ 0 h 223"/>
                    <a:gd name="T2" fmla="*/ 0 w 971"/>
                    <a:gd name="T3" fmla="*/ 0 h 223"/>
                    <a:gd name="T4" fmla="*/ 0 w 971"/>
                    <a:gd name="T5" fmla="*/ 0 h 223"/>
                    <a:gd name="T6" fmla="*/ 0 w 971"/>
                    <a:gd name="T7" fmla="*/ 0 h 223"/>
                    <a:gd name="T8" fmla="*/ 0 w 971"/>
                    <a:gd name="T9" fmla="*/ 0 h 223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971"/>
                    <a:gd name="T16" fmla="*/ 0 h 223"/>
                    <a:gd name="T17" fmla="*/ 971 w 971"/>
                    <a:gd name="T18" fmla="*/ 223 h 223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971" h="223">
                      <a:moveTo>
                        <a:pt x="0" y="132"/>
                      </a:moveTo>
                      <a:lnTo>
                        <a:pt x="554" y="223"/>
                      </a:lnTo>
                      <a:lnTo>
                        <a:pt x="971" y="65"/>
                      </a:lnTo>
                      <a:lnTo>
                        <a:pt x="461" y="0"/>
                      </a:lnTo>
                      <a:lnTo>
                        <a:pt x="0" y="132"/>
                      </a:lnTo>
                      <a:close/>
                    </a:path>
                  </a:pathLst>
                </a:custGeom>
                <a:solidFill>
                  <a:srgbClr val="DF3F5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791" name="Freeform 87"/>
                <p:cNvSpPr>
                  <a:spLocks/>
                </p:cNvSpPr>
                <p:nvPr/>
              </p:nvSpPr>
              <p:spPr bwMode="auto">
                <a:xfrm>
                  <a:off x="464" y="1099"/>
                  <a:ext cx="184" cy="593"/>
                </a:xfrm>
                <a:custGeom>
                  <a:avLst/>
                  <a:gdLst>
                    <a:gd name="T0" fmla="*/ 0 w 554"/>
                    <a:gd name="T1" fmla="*/ 0 h 1780"/>
                    <a:gd name="T2" fmla="*/ 0 w 554"/>
                    <a:gd name="T3" fmla="*/ 0 h 1780"/>
                    <a:gd name="T4" fmla="*/ 0 w 554"/>
                    <a:gd name="T5" fmla="*/ 0 h 1780"/>
                    <a:gd name="T6" fmla="*/ 0 w 554"/>
                    <a:gd name="T7" fmla="*/ 0 h 1780"/>
                    <a:gd name="T8" fmla="*/ 0 w 554"/>
                    <a:gd name="T9" fmla="*/ 0 h 1780"/>
                    <a:gd name="T10" fmla="*/ 0 w 554"/>
                    <a:gd name="T11" fmla="*/ 0 h 1780"/>
                    <a:gd name="T12" fmla="*/ 0 w 554"/>
                    <a:gd name="T13" fmla="*/ 0 h 1780"/>
                    <a:gd name="T14" fmla="*/ 0 w 554"/>
                    <a:gd name="T15" fmla="*/ 0 h 1780"/>
                    <a:gd name="T16" fmla="*/ 0 w 554"/>
                    <a:gd name="T17" fmla="*/ 0 h 1780"/>
                    <a:gd name="T18" fmla="*/ 0 w 554"/>
                    <a:gd name="T19" fmla="*/ 0 h 1780"/>
                    <a:gd name="T20" fmla="*/ 0 w 554"/>
                    <a:gd name="T21" fmla="*/ 0 h 1780"/>
                    <a:gd name="T22" fmla="*/ 0 w 554"/>
                    <a:gd name="T23" fmla="*/ 0 h 1780"/>
                    <a:gd name="T24" fmla="*/ 0 w 554"/>
                    <a:gd name="T25" fmla="*/ 0 h 178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554"/>
                    <a:gd name="T40" fmla="*/ 0 h 1780"/>
                    <a:gd name="T41" fmla="*/ 554 w 554"/>
                    <a:gd name="T42" fmla="*/ 1780 h 178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554" h="1780">
                      <a:moveTo>
                        <a:pt x="0" y="0"/>
                      </a:moveTo>
                      <a:lnTo>
                        <a:pt x="554" y="92"/>
                      </a:lnTo>
                      <a:lnTo>
                        <a:pt x="554" y="1780"/>
                      </a:lnTo>
                      <a:lnTo>
                        <a:pt x="436" y="1741"/>
                      </a:lnTo>
                      <a:lnTo>
                        <a:pt x="437" y="1528"/>
                      </a:lnTo>
                      <a:lnTo>
                        <a:pt x="281" y="1466"/>
                      </a:lnTo>
                      <a:lnTo>
                        <a:pt x="281" y="1657"/>
                      </a:lnTo>
                      <a:lnTo>
                        <a:pt x="193" y="1617"/>
                      </a:lnTo>
                      <a:lnTo>
                        <a:pt x="193" y="1427"/>
                      </a:lnTo>
                      <a:lnTo>
                        <a:pt x="69" y="1371"/>
                      </a:lnTo>
                      <a:lnTo>
                        <a:pt x="69" y="1564"/>
                      </a:lnTo>
                      <a:lnTo>
                        <a:pt x="0" y="153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5F7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23" name="Group 88"/>
                <p:cNvGrpSpPr>
                  <a:grpSpLocks/>
                </p:cNvGrpSpPr>
                <p:nvPr/>
              </p:nvGrpSpPr>
              <p:grpSpPr bwMode="auto">
                <a:xfrm>
                  <a:off x="470" y="1016"/>
                  <a:ext cx="318" cy="677"/>
                  <a:chOff x="470" y="1016"/>
                  <a:chExt cx="318" cy="677"/>
                </a:xfrm>
              </p:grpSpPr>
              <p:sp>
                <p:nvSpPr>
                  <p:cNvPr id="38793" name="Freeform 89"/>
                  <p:cNvSpPr>
                    <a:spLocks/>
                  </p:cNvSpPr>
                  <p:nvPr/>
                </p:nvSpPr>
                <p:spPr bwMode="auto">
                  <a:xfrm>
                    <a:off x="648" y="1077"/>
                    <a:ext cx="140" cy="616"/>
                  </a:xfrm>
                  <a:custGeom>
                    <a:avLst/>
                    <a:gdLst>
                      <a:gd name="T0" fmla="*/ 0 w 418"/>
                      <a:gd name="T1" fmla="*/ 0 h 1847"/>
                      <a:gd name="T2" fmla="*/ 0 w 418"/>
                      <a:gd name="T3" fmla="*/ 0 h 1847"/>
                      <a:gd name="T4" fmla="*/ 0 w 418"/>
                      <a:gd name="T5" fmla="*/ 0 h 1847"/>
                      <a:gd name="T6" fmla="*/ 0 w 418"/>
                      <a:gd name="T7" fmla="*/ 0 h 1847"/>
                      <a:gd name="T8" fmla="*/ 0 w 418"/>
                      <a:gd name="T9" fmla="*/ 0 h 184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418"/>
                      <a:gd name="T16" fmla="*/ 0 h 1847"/>
                      <a:gd name="T17" fmla="*/ 418 w 418"/>
                      <a:gd name="T18" fmla="*/ 1847 h 184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418" h="1847">
                        <a:moveTo>
                          <a:pt x="0" y="156"/>
                        </a:moveTo>
                        <a:lnTo>
                          <a:pt x="413" y="0"/>
                        </a:lnTo>
                        <a:lnTo>
                          <a:pt x="418" y="1428"/>
                        </a:lnTo>
                        <a:lnTo>
                          <a:pt x="0" y="1847"/>
                        </a:lnTo>
                        <a:lnTo>
                          <a:pt x="0" y="156"/>
                        </a:lnTo>
                        <a:close/>
                      </a:path>
                    </a:pathLst>
                  </a:custGeom>
                  <a:solidFill>
                    <a:srgbClr val="DF1F3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24" name="Group 90"/>
                  <p:cNvGrpSpPr>
                    <a:grpSpLocks/>
                  </p:cNvGrpSpPr>
                  <p:nvPr/>
                </p:nvGrpSpPr>
                <p:grpSpPr bwMode="auto">
                  <a:xfrm>
                    <a:off x="557" y="1585"/>
                    <a:ext cx="54" cy="66"/>
                    <a:chOff x="557" y="1585"/>
                    <a:chExt cx="54" cy="66"/>
                  </a:xfrm>
                </p:grpSpPr>
                <p:sp>
                  <p:nvSpPr>
                    <p:cNvPr id="38816" name="Freeform 91"/>
                    <p:cNvSpPr>
                      <a:spLocks/>
                    </p:cNvSpPr>
                    <p:nvPr/>
                  </p:nvSpPr>
                  <p:spPr bwMode="auto">
                    <a:xfrm>
                      <a:off x="587" y="1598"/>
                      <a:ext cx="24" cy="46"/>
                    </a:xfrm>
                    <a:custGeom>
                      <a:avLst/>
                      <a:gdLst>
                        <a:gd name="T0" fmla="*/ 0 w 72"/>
                        <a:gd name="T1" fmla="*/ 0 h 139"/>
                        <a:gd name="T2" fmla="*/ 0 w 72"/>
                        <a:gd name="T3" fmla="*/ 0 h 139"/>
                        <a:gd name="T4" fmla="*/ 0 w 72"/>
                        <a:gd name="T5" fmla="*/ 0 h 139"/>
                        <a:gd name="T6" fmla="*/ 0 w 72"/>
                        <a:gd name="T7" fmla="*/ 0 h 139"/>
                        <a:gd name="T8" fmla="*/ 0 w 72"/>
                        <a:gd name="T9" fmla="*/ 0 h 139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72"/>
                        <a:gd name="T16" fmla="*/ 0 h 139"/>
                        <a:gd name="T17" fmla="*/ 72 w 72"/>
                        <a:gd name="T18" fmla="*/ 139 h 139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72" h="139">
                          <a:moveTo>
                            <a:pt x="0" y="0"/>
                          </a:moveTo>
                          <a:lnTo>
                            <a:pt x="0" y="105"/>
                          </a:lnTo>
                          <a:lnTo>
                            <a:pt x="72" y="139"/>
                          </a:lnTo>
                          <a:lnTo>
                            <a:pt x="72" y="3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001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817" name="Freeform 92"/>
                    <p:cNvSpPr>
                      <a:spLocks/>
                    </p:cNvSpPr>
                    <p:nvPr/>
                  </p:nvSpPr>
                  <p:spPr bwMode="auto">
                    <a:xfrm>
                      <a:off x="557" y="1585"/>
                      <a:ext cx="32" cy="66"/>
                    </a:xfrm>
                    <a:custGeom>
                      <a:avLst/>
                      <a:gdLst>
                        <a:gd name="T0" fmla="*/ 0 w 94"/>
                        <a:gd name="T1" fmla="*/ 0 h 198"/>
                        <a:gd name="T2" fmla="*/ 0 w 94"/>
                        <a:gd name="T3" fmla="*/ 0 h 198"/>
                        <a:gd name="T4" fmla="*/ 0 w 94"/>
                        <a:gd name="T5" fmla="*/ 0 h 198"/>
                        <a:gd name="T6" fmla="*/ 0 w 94"/>
                        <a:gd name="T7" fmla="*/ 0 h 198"/>
                        <a:gd name="T8" fmla="*/ 0 w 94"/>
                        <a:gd name="T9" fmla="*/ 0 h 19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94"/>
                        <a:gd name="T16" fmla="*/ 0 h 198"/>
                        <a:gd name="T17" fmla="*/ 94 w 94"/>
                        <a:gd name="T18" fmla="*/ 198 h 19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94" h="198">
                          <a:moveTo>
                            <a:pt x="0" y="0"/>
                          </a:moveTo>
                          <a:lnTo>
                            <a:pt x="0" y="198"/>
                          </a:lnTo>
                          <a:lnTo>
                            <a:pt x="94" y="141"/>
                          </a:lnTo>
                          <a:lnTo>
                            <a:pt x="94" y="4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DF1F3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25" name="Group 93"/>
                  <p:cNvGrpSpPr>
                    <a:grpSpLocks/>
                  </p:cNvGrpSpPr>
                  <p:nvPr/>
                </p:nvGrpSpPr>
                <p:grpSpPr bwMode="auto">
                  <a:xfrm>
                    <a:off x="486" y="1554"/>
                    <a:ext cx="55" cy="67"/>
                    <a:chOff x="486" y="1554"/>
                    <a:chExt cx="55" cy="67"/>
                  </a:xfrm>
                </p:grpSpPr>
                <p:sp>
                  <p:nvSpPr>
                    <p:cNvPr id="38814" name="Freeform 94"/>
                    <p:cNvSpPr>
                      <a:spLocks/>
                    </p:cNvSpPr>
                    <p:nvPr/>
                  </p:nvSpPr>
                  <p:spPr bwMode="auto">
                    <a:xfrm>
                      <a:off x="517" y="1566"/>
                      <a:ext cx="24" cy="47"/>
                    </a:xfrm>
                    <a:custGeom>
                      <a:avLst/>
                      <a:gdLst>
                        <a:gd name="T0" fmla="*/ 0 w 72"/>
                        <a:gd name="T1" fmla="*/ 0 h 139"/>
                        <a:gd name="T2" fmla="*/ 0 w 72"/>
                        <a:gd name="T3" fmla="*/ 0 h 139"/>
                        <a:gd name="T4" fmla="*/ 0 w 72"/>
                        <a:gd name="T5" fmla="*/ 0 h 139"/>
                        <a:gd name="T6" fmla="*/ 0 w 72"/>
                        <a:gd name="T7" fmla="*/ 0 h 139"/>
                        <a:gd name="T8" fmla="*/ 0 w 72"/>
                        <a:gd name="T9" fmla="*/ 0 h 139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72"/>
                        <a:gd name="T16" fmla="*/ 0 h 139"/>
                        <a:gd name="T17" fmla="*/ 72 w 72"/>
                        <a:gd name="T18" fmla="*/ 139 h 139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72" h="139">
                          <a:moveTo>
                            <a:pt x="0" y="0"/>
                          </a:moveTo>
                          <a:lnTo>
                            <a:pt x="0" y="107"/>
                          </a:lnTo>
                          <a:lnTo>
                            <a:pt x="72" y="139"/>
                          </a:lnTo>
                          <a:lnTo>
                            <a:pt x="72" y="31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FF001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815" name="Freeform 95"/>
                    <p:cNvSpPr>
                      <a:spLocks/>
                    </p:cNvSpPr>
                    <p:nvPr/>
                  </p:nvSpPr>
                  <p:spPr bwMode="auto">
                    <a:xfrm>
                      <a:off x="486" y="1554"/>
                      <a:ext cx="31" cy="67"/>
                    </a:xfrm>
                    <a:custGeom>
                      <a:avLst/>
                      <a:gdLst>
                        <a:gd name="T0" fmla="*/ 0 w 93"/>
                        <a:gd name="T1" fmla="*/ 0 h 200"/>
                        <a:gd name="T2" fmla="*/ 0 w 93"/>
                        <a:gd name="T3" fmla="*/ 0 h 200"/>
                        <a:gd name="T4" fmla="*/ 0 w 93"/>
                        <a:gd name="T5" fmla="*/ 0 h 200"/>
                        <a:gd name="T6" fmla="*/ 0 w 93"/>
                        <a:gd name="T7" fmla="*/ 0 h 200"/>
                        <a:gd name="T8" fmla="*/ 0 w 93"/>
                        <a:gd name="T9" fmla="*/ 0 h 200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93"/>
                        <a:gd name="T16" fmla="*/ 0 h 200"/>
                        <a:gd name="T17" fmla="*/ 93 w 93"/>
                        <a:gd name="T18" fmla="*/ 200 h 200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93" h="200">
                          <a:moveTo>
                            <a:pt x="0" y="0"/>
                          </a:moveTo>
                          <a:lnTo>
                            <a:pt x="0" y="200"/>
                          </a:lnTo>
                          <a:lnTo>
                            <a:pt x="93" y="144"/>
                          </a:lnTo>
                          <a:lnTo>
                            <a:pt x="93" y="4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DF1F3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26" name="Group 96"/>
                  <p:cNvGrpSpPr>
                    <a:grpSpLocks/>
                  </p:cNvGrpSpPr>
                  <p:nvPr/>
                </p:nvGrpSpPr>
                <p:grpSpPr bwMode="auto">
                  <a:xfrm>
                    <a:off x="470" y="1113"/>
                    <a:ext cx="166" cy="469"/>
                    <a:chOff x="470" y="1113"/>
                    <a:chExt cx="166" cy="469"/>
                  </a:xfrm>
                </p:grpSpPr>
                <p:sp>
                  <p:nvSpPr>
                    <p:cNvPr id="38803" name="Freeform 97"/>
                    <p:cNvSpPr>
                      <a:spLocks/>
                    </p:cNvSpPr>
                    <p:nvPr/>
                  </p:nvSpPr>
                  <p:spPr bwMode="auto">
                    <a:xfrm>
                      <a:off x="477" y="1114"/>
                      <a:ext cx="150" cy="468"/>
                    </a:xfrm>
                    <a:custGeom>
                      <a:avLst/>
                      <a:gdLst>
                        <a:gd name="T0" fmla="*/ 0 w 452"/>
                        <a:gd name="T1" fmla="*/ 0 h 1404"/>
                        <a:gd name="T2" fmla="*/ 0 w 452"/>
                        <a:gd name="T3" fmla="*/ 0 h 1404"/>
                        <a:gd name="T4" fmla="*/ 0 w 452"/>
                        <a:gd name="T5" fmla="*/ 0 h 1404"/>
                        <a:gd name="T6" fmla="*/ 0 w 452"/>
                        <a:gd name="T7" fmla="*/ 0 h 1404"/>
                        <a:gd name="T8" fmla="*/ 0 w 452"/>
                        <a:gd name="T9" fmla="*/ 0 h 140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452"/>
                        <a:gd name="T16" fmla="*/ 0 h 1404"/>
                        <a:gd name="T17" fmla="*/ 452 w 452"/>
                        <a:gd name="T18" fmla="*/ 1404 h 140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452" h="1404">
                          <a:moveTo>
                            <a:pt x="0" y="0"/>
                          </a:moveTo>
                          <a:lnTo>
                            <a:pt x="452" y="75"/>
                          </a:lnTo>
                          <a:lnTo>
                            <a:pt x="452" y="1404"/>
                          </a:lnTo>
                          <a:lnTo>
                            <a:pt x="2" y="121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27" name="Group 98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470" y="1113"/>
                      <a:ext cx="166" cy="459"/>
                      <a:chOff x="470" y="1113"/>
                      <a:chExt cx="166" cy="459"/>
                    </a:xfrm>
                  </p:grpSpPr>
                  <p:sp>
                    <p:nvSpPr>
                      <p:cNvPr id="38805" name="Line 99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71" y="1465"/>
                        <a:ext cx="165" cy="55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FF5F7F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806" name="Line 100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70" y="1405"/>
                        <a:ext cx="165" cy="48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FF5F7F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807" name="Line 101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73" y="1345"/>
                        <a:ext cx="162" cy="43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FF5F7F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808" name="Line 102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72" y="1282"/>
                        <a:ext cx="162" cy="39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FF5F7F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809" name="Line 103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75" y="1221"/>
                        <a:ext cx="159" cy="33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FF5F7F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810" name="Line 104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470" y="1166"/>
                        <a:ext cx="162" cy="27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FF5F7F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811" name="Line 105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09" y="1113"/>
                        <a:ext cx="1" cy="428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FF5F7F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812" name="Line 106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46" y="1120"/>
                        <a:ext cx="1" cy="438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FF5F7F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813" name="Line 107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586" y="1126"/>
                        <a:ext cx="1" cy="446"/>
                      </a:xfrm>
                      <a:prstGeom prst="line">
                        <a:avLst/>
                      </a:prstGeom>
                      <a:noFill/>
                      <a:ln w="6350">
                        <a:solidFill>
                          <a:srgbClr val="FF5F7F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</p:grpSp>
              </p:grpSp>
              <p:grpSp>
                <p:nvGrpSpPr>
                  <p:cNvPr id="28" name="Group 108"/>
                  <p:cNvGrpSpPr>
                    <a:grpSpLocks/>
                  </p:cNvGrpSpPr>
                  <p:nvPr/>
                </p:nvGrpSpPr>
                <p:grpSpPr bwMode="auto">
                  <a:xfrm>
                    <a:off x="533" y="1016"/>
                    <a:ext cx="193" cy="95"/>
                    <a:chOff x="533" y="1016"/>
                    <a:chExt cx="193" cy="95"/>
                  </a:xfrm>
                </p:grpSpPr>
                <p:grpSp>
                  <p:nvGrpSpPr>
                    <p:cNvPr id="29" name="Group 109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533" y="1016"/>
                      <a:ext cx="193" cy="95"/>
                      <a:chOff x="533" y="1016"/>
                      <a:chExt cx="193" cy="95"/>
                    </a:xfrm>
                  </p:grpSpPr>
                  <p:sp>
                    <p:nvSpPr>
                      <p:cNvPr id="38800" name="Freeform 110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33" y="1016"/>
                        <a:ext cx="193" cy="37"/>
                      </a:xfrm>
                      <a:custGeom>
                        <a:avLst/>
                        <a:gdLst>
                          <a:gd name="T0" fmla="*/ 0 w 580"/>
                          <a:gd name="T1" fmla="*/ 0 h 113"/>
                          <a:gd name="T2" fmla="*/ 0 w 580"/>
                          <a:gd name="T3" fmla="*/ 0 h 113"/>
                          <a:gd name="T4" fmla="*/ 0 w 580"/>
                          <a:gd name="T5" fmla="*/ 0 h 113"/>
                          <a:gd name="T6" fmla="*/ 0 w 580"/>
                          <a:gd name="T7" fmla="*/ 0 h 113"/>
                          <a:gd name="T8" fmla="*/ 0 w 580"/>
                          <a:gd name="T9" fmla="*/ 0 h 11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580"/>
                          <a:gd name="T16" fmla="*/ 0 h 113"/>
                          <a:gd name="T17" fmla="*/ 580 w 580"/>
                          <a:gd name="T18" fmla="*/ 113 h 11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580" h="113">
                            <a:moveTo>
                              <a:pt x="0" y="73"/>
                            </a:moveTo>
                            <a:lnTo>
                              <a:pt x="337" y="113"/>
                            </a:lnTo>
                            <a:lnTo>
                              <a:pt x="580" y="37"/>
                            </a:lnTo>
                            <a:lnTo>
                              <a:pt x="252" y="0"/>
                            </a:lnTo>
                            <a:lnTo>
                              <a:pt x="0" y="73"/>
                            </a:lnTo>
                            <a:close/>
                          </a:path>
                        </a:pathLst>
                      </a:custGeom>
                      <a:solidFill>
                        <a:srgbClr val="DF3F5F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801" name="Freeform 11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645" y="1028"/>
                        <a:ext cx="80" cy="83"/>
                      </a:xfrm>
                      <a:custGeom>
                        <a:avLst/>
                        <a:gdLst>
                          <a:gd name="T0" fmla="*/ 0 w 240"/>
                          <a:gd name="T1" fmla="*/ 0 h 249"/>
                          <a:gd name="T2" fmla="*/ 0 w 240"/>
                          <a:gd name="T3" fmla="*/ 0 h 249"/>
                          <a:gd name="T4" fmla="*/ 0 w 240"/>
                          <a:gd name="T5" fmla="*/ 0 h 249"/>
                          <a:gd name="T6" fmla="*/ 0 w 240"/>
                          <a:gd name="T7" fmla="*/ 0 h 249"/>
                          <a:gd name="T8" fmla="*/ 0 w 240"/>
                          <a:gd name="T9" fmla="*/ 0 h 249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240"/>
                          <a:gd name="T16" fmla="*/ 0 h 249"/>
                          <a:gd name="T17" fmla="*/ 240 w 240"/>
                          <a:gd name="T18" fmla="*/ 249 h 249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240" h="249">
                            <a:moveTo>
                              <a:pt x="0" y="76"/>
                            </a:moveTo>
                            <a:lnTo>
                              <a:pt x="240" y="0"/>
                            </a:lnTo>
                            <a:lnTo>
                              <a:pt x="240" y="158"/>
                            </a:lnTo>
                            <a:lnTo>
                              <a:pt x="0" y="249"/>
                            </a:lnTo>
                            <a:lnTo>
                              <a:pt x="0" y="76"/>
                            </a:lnTo>
                            <a:close/>
                          </a:path>
                        </a:pathLst>
                      </a:custGeom>
                      <a:solidFill>
                        <a:srgbClr val="DF1F3F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802" name="Freeform 11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533" y="1040"/>
                        <a:ext cx="112" cy="71"/>
                      </a:xfrm>
                      <a:custGeom>
                        <a:avLst/>
                        <a:gdLst>
                          <a:gd name="T0" fmla="*/ 0 w 336"/>
                          <a:gd name="T1" fmla="*/ 0 h 213"/>
                          <a:gd name="T2" fmla="*/ 0 w 336"/>
                          <a:gd name="T3" fmla="*/ 0 h 213"/>
                          <a:gd name="T4" fmla="*/ 0 w 336"/>
                          <a:gd name="T5" fmla="*/ 0 h 213"/>
                          <a:gd name="T6" fmla="*/ 0 w 336"/>
                          <a:gd name="T7" fmla="*/ 0 h 213"/>
                          <a:gd name="T8" fmla="*/ 0 w 336"/>
                          <a:gd name="T9" fmla="*/ 0 h 213"/>
                          <a:gd name="T10" fmla="*/ 0 60000 65536"/>
                          <a:gd name="T11" fmla="*/ 0 60000 65536"/>
                          <a:gd name="T12" fmla="*/ 0 60000 65536"/>
                          <a:gd name="T13" fmla="*/ 0 60000 65536"/>
                          <a:gd name="T14" fmla="*/ 0 60000 65536"/>
                          <a:gd name="T15" fmla="*/ 0 w 336"/>
                          <a:gd name="T16" fmla="*/ 0 h 213"/>
                          <a:gd name="T17" fmla="*/ 336 w 336"/>
                          <a:gd name="T18" fmla="*/ 213 h 213"/>
                        </a:gdLst>
                        <a:ahLst/>
                        <a:cxnLst>
                          <a:cxn ang="T10">
                            <a:pos x="T0" y="T1"/>
                          </a:cxn>
                          <a:cxn ang="T11">
                            <a:pos x="T2" y="T3"/>
                          </a:cxn>
                          <a:cxn ang="T12">
                            <a:pos x="T4" y="T5"/>
                          </a:cxn>
                          <a:cxn ang="T13">
                            <a:pos x="T6" y="T7"/>
                          </a:cxn>
                          <a:cxn ang="T14">
                            <a:pos x="T8" y="T9"/>
                          </a:cxn>
                        </a:cxnLst>
                        <a:rect l="T15" t="T16" r="T17" b="T18"/>
                        <a:pathLst>
                          <a:path w="336" h="213">
                            <a:moveTo>
                              <a:pt x="336" y="40"/>
                            </a:moveTo>
                            <a:lnTo>
                              <a:pt x="336" y="213"/>
                            </a:lnTo>
                            <a:lnTo>
                              <a:pt x="0" y="164"/>
                            </a:lnTo>
                            <a:lnTo>
                              <a:pt x="0" y="0"/>
                            </a:lnTo>
                            <a:lnTo>
                              <a:pt x="336" y="40"/>
                            </a:lnTo>
                            <a:close/>
                          </a:path>
                        </a:pathLst>
                      </a:custGeom>
                      <a:solidFill>
                        <a:srgbClr val="FF5F7F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38799" name="Freeform 113"/>
                    <p:cNvSpPr>
                      <a:spLocks/>
                    </p:cNvSpPr>
                    <p:nvPr/>
                  </p:nvSpPr>
                  <p:spPr bwMode="auto">
                    <a:xfrm>
                      <a:off x="547" y="1052"/>
                      <a:ext cx="65" cy="17"/>
                    </a:xfrm>
                    <a:custGeom>
                      <a:avLst/>
                      <a:gdLst>
                        <a:gd name="T0" fmla="*/ 0 w 193"/>
                        <a:gd name="T1" fmla="*/ 0 h 51"/>
                        <a:gd name="T2" fmla="*/ 0 w 193"/>
                        <a:gd name="T3" fmla="*/ 0 h 51"/>
                        <a:gd name="T4" fmla="*/ 0 w 193"/>
                        <a:gd name="T5" fmla="*/ 0 h 51"/>
                        <a:gd name="T6" fmla="*/ 0 w 193"/>
                        <a:gd name="T7" fmla="*/ 0 h 51"/>
                        <a:gd name="T8" fmla="*/ 0 w 193"/>
                        <a:gd name="T9" fmla="*/ 0 h 5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193"/>
                        <a:gd name="T16" fmla="*/ 0 h 51"/>
                        <a:gd name="T17" fmla="*/ 193 w 193"/>
                        <a:gd name="T18" fmla="*/ 51 h 51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193" h="51">
                          <a:moveTo>
                            <a:pt x="1" y="0"/>
                          </a:moveTo>
                          <a:lnTo>
                            <a:pt x="193" y="20"/>
                          </a:lnTo>
                          <a:lnTo>
                            <a:pt x="193" y="51"/>
                          </a:lnTo>
                          <a:lnTo>
                            <a:pt x="0" y="32"/>
                          </a:lnTo>
                          <a:lnTo>
                            <a:pt x="1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</p:grpSp>
          </p:grpSp>
          <p:grpSp>
            <p:nvGrpSpPr>
              <p:cNvPr id="30" name="Group 114"/>
              <p:cNvGrpSpPr>
                <a:grpSpLocks/>
              </p:cNvGrpSpPr>
              <p:nvPr/>
            </p:nvGrpSpPr>
            <p:grpSpPr bwMode="auto">
              <a:xfrm>
                <a:off x="675" y="1230"/>
                <a:ext cx="309" cy="542"/>
                <a:chOff x="675" y="1230"/>
                <a:chExt cx="309" cy="542"/>
              </a:xfrm>
            </p:grpSpPr>
            <p:grpSp>
              <p:nvGrpSpPr>
                <p:cNvPr id="31" name="Group 115"/>
                <p:cNvGrpSpPr>
                  <a:grpSpLocks/>
                </p:cNvGrpSpPr>
                <p:nvPr/>
              </p:nvGrpSpPr>
              <p:grpSpPr bwMode="auto">
                <a:xfrm>
                  <a:off x="675" y="1230"/>
                  <a:ext cx="309" cy="542"/>
                  <a:chOff x="675" y="1230"/>
                  <a:chExt cx="309" cy="542"/>
                </a:xfrm>
              </p:grpSpPr>
              <p:sp>
                <p:nvSpPr>
                  <p:cNvPr id="38783" name="Freeform 116"/>
                  <p:cNvSpPr>
                    <a:spLocks/>
                  </p:cNvSpPr>
                  <p:nvPr/>
                </p:nvSpPr>
                <p:spPr bwMode="auto">
                  <a:xfrm>
                    <a:off x="675" y="1239"/>
                    <a:ext cx="309" cy="147"/>
                  </a:xfrm>
                  <a:custGeom>
                    <a:avLst/>
                    <a:gdLst>
                      <a:gd name="T0" fmla="*/ 0 w 927"/>
                      <a:gd name="T1" fmla="*/ 0 h 441"/>
                      <a:gd name="T2" fmla="*/ 0 w 927"/>
                      <a:gd name="T3" fmla="*/ 0 h 441"/>
                      <a:gd name="T4" fmla="*/ 0 w 927"/>
                      <a:gd name="T5" fmla="*/ 0 h 441"/>
                      <a:gd name="T6" fmla="*/ 0 w 927"/>
                      <a:gd name="T7" fmla="*/ 0 h 441"/>
                      <a:gd name="T8" fmla="*/ 0 w 927"/>
                      <a:gd name="T9" fmla="*/ 0 h 44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927"/>
                      <a:gd name="T16" fmla="*/ 0 h 441"/>
                      <a:gd name="T17" fmla="*/ 927 w 927"/>
                      <a:gd name="T18" fmla="*/ 441 h 44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927" h="441">
                        <a:moveTo>
                          <a:pt x="0" y="324"/>
                        </a:moveTo>
                        <a:lnTo>
                          <a:pt x="448" y="441"/>
                        </a:lnTo>
                        <a:lnTo>
                          <a:pt x="927" y="81"/>
                        </a:lnTo>
                        <a:lnTo>
                          <a:pt x="540" y="0"/>
                        </a:lnTo>
                        <a:lnTo>
                          <a:pt x="0" y="324"/>
                        </a:lnTo>
                        <a:close/>
                      </a:path>
                    </a:pathLst>
                  </a:custGeom>
                  <a:solidFill>
                    <a:srgbClr val="DF9FF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784" name="Freeform 117"/>
                  <p:cNvSpPr>
                    <a:spLocks/>
                  </p:cNvSpPr>
                  <p:nvPr/>
                </p:nvSpPr>
                <p:spPr bwMode="auto">
                  <a:xfrm>
                    <a:off x="675" y="1347"/>
                    <a:ext cx="150" cy="425"/>
                  </a:xfrm>
                  <a:custGeom>
                    <a:avLst/>
                    <a:gdLst>
                      <a:gd name="T0" fmla="*/ 0 w 448"/>
                      <a:gd name="T1" fmla="*/ 0 h 1277"/>
                      <a:gd name="T2" fmla="*/ 0 w 448"/>
                      <a:gd name="T3" fmla="*/ 0 h 1277"/>
                      <a:gd name="T4" fmla="*/ 0 w 448"/>
                      <a:gd name="T5" fmla="*/ 0 h 1277"/>
                      <a:gd name="T6" fmla="*/ 0 w 448"/>
                      <a:gd name="T7" fmla="*/ 0 h 1277"/>
                      <a:gd name="T8" fmla="*/ 0 w 448"/>
                      <a:gd name="T9" fmla="*/ 0 h 127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448"/>
                      <a:gd name="T16" fmla="*/ 0 h 1277"/>
                      <a:gd name="T17" fmla="*/ 448 w 448"/>
                      <a:gd name="T18" fmla="*/ 1277 h 127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448" h="1277">
                        <a:moveTo>
                          <a:pt x="0" y="0"/>
                        </a:moveTo>
                        <a:lnTo>
                          <a:pt x="448" y="116"/>
                        </a:lnTo>
                        <a:lnTo>
                          <a:pt x="448" y="1277"/>
                        </a:lnTo>
                        <a:lnTo>
                          <a:pt x="0" y="108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BF5FF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785" name="Freeform 118"/>
                  <p:cNvSpPr>
                    <a:spLocks/>
                  </p:cNvSpPr>
                  <p:nvPr/>
                </p:nvSpPr>
                <p:spPr bwMode="auto">
                  <a:xfrm>
                    <a:off x="824" y="1266"/>
                    <a:ext cx="160" cy="506"/>
                  </a:xfrm>
                  <a:custGeom>
                    <a:avLst/>
                    <a:gdLst>
                      <a:gd name="T0" fmla="*/ 0 w 479"/>
                      <a:gd name="T1" fmla="*/ 0 h 1520"/>
                      <a:gd name="T2" fmla="*/ 0 w 479"/>
                      <a:gd name="T3" fmla="*/ 0 h 1520"/>
                      <a:gd name="T4" fmla="*/ 0 w 479"/>
                      <a:gd name="T5" fmla="*/ 0 h 1520"/>
                      <a:gd name="T6" fmla="*/ 0 w 479"/>
                      <a:gd name="T7" fmla="*/ 0 h 1520"/>
                      <a:gd name="T8" fmla="*/ 0 w 479"/>
                      <a:gd name="T9" fmla="*/ 0 h 152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479"/>
                      <a:gd name="T16" fmla="*/ 0 h 1520"/>
                      <a:gd name="T17" fmla="*/ 479 w 479"/>
                      <a:gd name="T18" fmla="*/ 1520 h 152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479" h="1520">
                        <a:moveTo>
                          <a:pt x="0" y="360"/>
                        </a:moveTo>
                        <a:lnTo>
                          <a:pt x="0" y="1520"/>
                        </a:lnTo>
                        <a:lnTo>
                          <a:pt x="479" y="969"/>
                        </a:lnTo>
                        <a:lnTo>
                          <a:pt x="479" y="0"/>
                        </a:lnTo>
                        <a:lnTo>
                          <a:pt x="0" y="360"/>
                        </a:lnTo>
                        <a:close/>
                      </a:path>
                    </a:pathLst>
                  </a:custGeom>
                  <a:solidFill>
                    <a:srgbClr val="9F3FD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36787" name="Group 119"/>
                  <p:cNvGrpSpPr>
                    <a:grpSpLocks/>
                  </p:cNvGrpSpPr>
                  <p:nvPr/>
                </p:nvGrpSpPr>
                <p:grpSpPr bwMode="auto">
                  <a:xfrm>
                    <a:off x="714" y="1230"/>
                    <a:ext cx="235" cy="134"/>
                    <a:chOff x="714" y="1230"/>
                    <a:chExt cx="235" cy="134"/>
                  </a:xfrm>
                </p:grpSpPr>
                <p:sp>
                  <p:nvSpPr>
                    <p:cNvPr id="38787" name="Freeform 120"/>
                    <p:cNvSpPr>
                      <a:spLocks/>
                    </p:cNvSpPr>
                    <p:nvPr/>
                  </p:nvSpPr>
                  <p:spPr bwMode="auto">
                    <a:xfrm>
                      <a:off x="714" y="1230"/>
                      <a:ext cx="235" cy="110"/>
                    </a:xfrm>
                    <a:custGeom>
                      <a:avLst/>
                      <a:gdLst>
                        <a:gd name="T0" fmla="*/ 0 w 706"/>
                        <a:gd name="T1" fmla="*/ 0 h 331"/>
                        <a:gd name="T2" fmla="*/ 0 w 706"/>
                        <a:gd name="T3" fmla="*/ 0 h 331"/>
                        <a:gd name="T4" fmla="*/ 0 w 706"/>
                        <a:gd name="T5" fmla="*/ 0 h 331"/>
                        <a:gd name="T6" fmla="*/ 0 w 706"/>
                        <a:gd name="T7" fmla="*/ 0 h 331"/>
                        <a:gd name="T8" fmla="*/ 0 w 706"/>
                        <a:gd name="T9" fmla="*/ 0 h 331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706"/>
                        <a:gd name="T16" fmla="*/ 0 h 331"/>
                        <a:gd name="T17" fmla="*/ 706 w 706"/>
                        <a:gd name="T18" fmla="*/ 331 h 331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706" h="331">
                          <a:moveTo>
                            <a:pt x="0" y="248"/>
                          </a:moveTo>
                          <a:lnTo>
                            <a:pt x="321" y="331"/>
                          </a:lnTo>
                          <a:lnTo>
                            <a:pt x="706" y="55"/>
                          </a:lnTo>
                          <a:lnTo>
                            <a:pt x="422" y="0"/>
                          </a:lnTo>
                          <a:lnTo>
                            <a:pt x="0" y="248"/>
                          </a:lnTo>
                          <a:close/>
                        </a:path>
                      </a:pathLst>
                    </a:custGeom>
                    <a:solidFill>
                      <a:srgbClr val="DF9FF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788" name="Freeform 121"/>
                    <p:cNvSpPr>
                      <a:spLocks/>
                    </p:cNvSpPr>
                    <p:nvPr/>
                  </p:nvSpPr>
                  <p:spPr bwMode="auto">
                    <a:xfrm>
                      <a:off x="821" y="1249"/>
                      <a:ext cx="128" cy="115"/>
                    </a:xfrm>
                    <a:custGeom>
                      <a:avLst/>
                      <a:gdLst>
                        <a:gd name="T0" fmla="*/ 0 w 386"/>
                        <a:gd name="T1" fmla="*/ 0 h 347"/>
                        <a:gd name="T2" fmla="*/ 0 w 386"/>
                        <a:gd name="T3" fmla="*/ 0 h 347"/>
                        <a:gd name="T4" fmla="*/ 0 w 386"/>
                        <a:gd name="T5" fmla="*/ 0 h 347"/>
                        <a:gd name="T6" fmla="*/ 0 w 386"/>
                        <a:gd name="T7" fmla="*/ 0 h 347"/>
                        <a:gd name="T8" fmla="*/ 0 w 386"/>
                        <a:gd name="T9" fmla="*/ 0 h 347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86"/>
                        <a:gd name="T16" fmla="*/ 0 h 347"/>
                        <a:gd name="T17" fmla="*/ 386 w 386"/>
                        <a:gd name="T18" fmla="*/ 347 h 347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86" h="347">
                          <a:moveTo>
                            <a:pt x="0" y="275"/>
                          </a:moveTo>
                          <a:lnTo>
                            <a:pt x="386" y="0"/>
                          </a:lnTo>
                          <a:lnTo>
                            <a:pt x="386" y="66"/>
                          </a:lnTo>
                          <a:lnTo>
                            <a:pt x="0" y="347"/>
                          </a:lnTo>
                          <a:lnTo>
                            <a:pt x="0" y="275"/>
                          </a:lnTo>
                          <a:close/>
                        </a:path>
                      </a:pathLst>
                    </a:custGeom>
                    <a:solidFill>
                      <a:srgbClr val="9F3FD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789" name="Freeform 122"/>
                    <p:cNvSpPr>
                      <a:spLocks/>
                    </p:cNvSpPr>
                    <p:nvPr/>
                  </p:nvSpPr>
                  <p:spPr bwMode="auto">
                    <a:xfrm>
                      <a:off x="714" y="1313"/>
                      <a:ext cx="107" cy="51"/>
                    </a:xfrm>
                    <a:custGeom>
                      <a:avLst/>
                      <a:gdLst>
                        <a:gd name="T0" fmla="*/ 0 w 320"/>
                        <a:gd name="T1" fmla="*/ 0 h 154"/>
                        <a:gd name="T2" fmla="*/ 0 w 320"/>
                        <a:gd name="T3" fmla="*/ 0 h 154"/>
                        <a:gd name="T4" fmla="*/ 0 w 320"/>
                        <a:gd name="T5" fmla="*/ 0 h 154"/>
                        <a:gd name="T6" fmla="*/ 0 w 320"/>
                        <a:gd name="T7" fmla="*/ 0 h 154"/>
                        <a:gd name="T8" fmla="*/ 0 w 320"/>
                        <a:gd name="T9" fmla="*/ 0 h 15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20"/>
                        <a:gd name="T16" fmla="*/ 0 h 154"/>
                        <a:gd name="T17" fmla="*/ 320 w 320"/>
                        <a:gd name="T18" fmla="*/ 154 h 15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20" h="154">
                          <a:moveTo>
                            <a:pt x="320" y="82"/>
                          </a:moveTo>
                          <a:lnTo>
                            <a:pt x="320" y="154"/>
                          </a:lnTo>
                          <a:lnTo>
                            <a:pt x="0" y="68"/>
                          </a:lnTo>
                          <a:lnTo>
                            <a:pt x="0" y="0"/>
                          </a:lnTo>
                          <a:lnTo>
                            <a:pt x="320" y="82"/>
                          </a:lnTo>
                          <a:close/>
                        </a:path>
                      </a:pathLst>
                    </a:custGeom>
                    <a:solidFill>
                      <a:srgbClr val="BF5FF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</p:grpSp>
            <p:grpSp>
              <p:nvGrpSpPr>
                <p:cNvPr id="36788" name="Group 123"/>
                <p:cNvGrpSpPr>
                  <a:grpSpLocks/>
                </p:cNvGrpSpPr>
                <p:nvPr/>
              </p:nvGrpSpPr>
              <p:grpSpPr bwMode="auto">
                <a:xfrm>
                  <a:off x="683" y="1360"/>
                  <a:ext cx="133" cy="395"/>
                  <a:chOff x="683" y="1360"/>
                  <a:chExt cx="133" cy="395"/>
                </a:xfrm>
              </p:grpSpPr>
              <p:sp>
                <p:nvSpPr>
                  <p:cNvPr id="38779" name="Freeform 124"/>
                  <p:cNvSpPr>
                    <a:spLocks/>
                  </p:cNvSpPr>
                  <p:nvPr/>
                </p:nvSpPr>
                <p:spPr bwMode="auto">
                  <a:xfrm>
                    <a:off x="683" y="1360"/>
                    <a:ext cx="133" cy="395"/>
                  </a:xfrm>
                  <a:custGeom>
                    <a:avLst/>
                    <a:gdLst>
                      <a:gd name="T0" fmla="*/ 0 w 400"/>
                      <a:gd name="T1" fmla="*/ 0 h 1183"/>
                      <a:gd name="T2" fmla="*/ 0 w 400"/>
                      <a:gd name="T3" fmla="*/ 0 h 1183"/>
                      <a:gd name="T4" fmla="*/ 0 w 400"/>
                      <a:gd name="T5" fmla="*/ 0 h 1183"/>
                      <a:gd name="T6" fmla="*/ 0 w 400"/>
                      <a:gd name="T7" fmla="*/ 0 h 1183"/>
                      <a:gd name="T8" fmla="*/ 0 w 400"/>
                      <a:gd name="T9" fmla="*/ 0 h 118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400"/>
                      <a:gd name="T16" fmla="*/ 0 h 1183"/>
                      <a:gd name="T17" fmla="*/ 400 w 400"/>
                      <a:gd name="T18" fmla="*/ 1183 h 118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400" h="1183">
                        <a:moveTo>
                          <a:pt x="0" y="0"/>
                        </a:moveTo>
                        <a:lnTo>
                          <a:pt x="400" y="106"/>
                        </a:lnTo>
                        <a:lnTo>
                          <a:pt x="400" y="1183"/>
                        </a:lnTo>
                        <a:lnTo>
                          <a:pt x="0" y="100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0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780" name="Freeform 125"/>
                  <p:cNvSpPr>
                    <a:spLocks/>
                  </p:cNvSpPr>
                  <p:nvPr/>
                </p:nvSpPr>
                <p:spPr bwMode="auto">
                  <a:xfrm>
                    <a:off x="702" y="1365"/>
                    <a:ext cx="14" cy="349"/>
                  </a:xfrm>
                  <a:custGeom>
                    <a:avLst/>
                    <a:gdLst>
                      <a:gd name="T0" fmla="*/ 0 w 43"/>
                      <a:gd name="T1" fmla="*/ 0 h 1046"/>
                      <a:gd name="T2" fmla="*/ 0 w 43"/>
                      <a:gd name="T3" fmla="*/ 0 h 1046"/>
                      <a:gd name="T4" fmla="*/ 0 w 43"/>
                      <a:gd name="T5" fmla="*/ 0 h 1046"/>
                      <a:gd name="T6" fmla="*/ 0 w 43"/>
                      <a:gd name="T7" fmla="*/ 0 h 1046"/>
                      <a:gd name="T8" fmla="*/ 0 w 43"/>
                      <a:gd name="T9" fmla="*/ 0 h 1046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43"/>
                      <a:gd name="T16" fmla="*/ 0 h 1046"/>
                      <a:gd name="T17" fmla="*/ 43 w 43"/>
                      <a:gd name="T18" fmla="*/ 1046 h 1046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43" h="1046">
                        <a:moveTo>
                          <a:pt x="1" y="0"/>
                        </a:moveTo>
                        <a:lnTo>
                          <a:pt x="0" y="1030"/>
                        </a:lnTo>
                        <a:lnTo>
                          <a:pt x="41" y="1046"/>
                        </a:lnTo>
                        <a:lnTo>
                          <a:pt x="43" y="10"/>
                        </a:ln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BF5FF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781" name="Freeform 126"/>
                  <p:cNvSpPr>
                    <a:spLocks/>
                  </p:cNvSpPr>
                  <p:nvPr/>
                </p:nvSpPr>
                <p:spPr bwMode="auto">
                  <a:xfrm>
                    <a:off x="738" y="1372"/>
                    <a:ext cx="16" cy="357"/>
                  </a:xfrm>
                  <a:custGeom>
                    <a:avLst/>
                    <a:gdLst>
                      <a:gd name="T0" fmla="*/ 0 w 46"/>
                      <a:gd name="T1" fmla="*/ 0 h 1069"/>
                      <a:gd name="T2" fmla="*/ 0 w 46"/>
                      <a:gd name="T3" fmla="*/ 0 h 1069"/>
                      <a:gd name="T4" fmla="*/ 0 w 46"/>
                      <a:gd name="T5" fmla="*/ 0 h 1069"/>
                      <a:gd name="T6" fmla="*/ 0 w 46"/>
                      <a:gd name="T7" fmla="*/ 0 h 1069"/>
                      <a:gd name="T8" fmla="*/ 0 w 46"/>
                      <a:gd name="T9" fmla="*/ 0 h 106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46"/>
                      <a:gd name="T16" fmla="*/ 0 h 1069"/>
                      <a:gd name="T17" fmla="*/ 46 w 46"/>
                      <a:gd name="T18" fmla="*/ 1069 h 106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46" h="1069">
                        <a:moveTo>
                          <a:pt x="0" y="0"/>
                        </a:moveTo>
                        <a:lnTo>
                          <a:pt x="0" y="1049"/>
                        </a:lnTo>
                        <a:lnTo>
                          <a:pt x="43" y="1069"/>
                        </a:lnTo>
                        <a:lnTo>
                          <a:pt x="46" y="16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BF5FF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782" name="Freeform 127"/>
                  <p:cNvSpPr>
                    <a:spLocks/>
                  </p:cNvSpPr>
                  <p:nvPr/>
                </p:nvSpPr>
                <p:spPr bwMode="auto">
                  <a:xfrm>
                    <a:off x="778" y="1385"/>
                    <a:ext cx="15" cy="359"/>
                  </a:xfrm>
                  <a:custGeom>
                    <a:avLst/>
                    <a:gdLst>
                      <a:gd name="T0" fmla="*/ 0 w 46"/>
                      <a:gd name="T1" fmla="*/ 0 h 1077"/>
                      <a:gd name="T2" fmla="*/ 0 w 46"/>
                      <a:gd name="T3" fmla="*/ 0 h 1077"/>
                      <a:gd name="T4" fmla="*/ 0 w 46"/>
                      <a:gd name="T5" fmla="*/ 0 h 1077"/>
                      <a:gd name="T6" fmla="*/ 0 w 46"/>
                      <a:gd name="T7" fmla="*/ 0 h 1077"/>
                      <a:gd name="T8" fmla="*/ 0 w 46"/>
                      <a:gd name="T9" fmla="*/ 0 h 107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46"/>
                      <a:gd name="T16" fmla="*/ 0 h 1077"/>
                      <a:gd name="T17" fmla="*/ 46 w 46"/>
                      <a:gd name="T18" fmla="*/ 1077 h 107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46" h="1077">
                        <a:moveTo>
                          <a:pt x="1" y="0"/>
                        </a:moveTo>
                        <a:lnTo>
                          <a:pt x="0" y="1053"/>
                        </a:lnTo>
                        <a:lnTo>
                          <a:pt x="46" y="1077"/>
                        </a:lnTo>
                        <a:lnTo>
                          <a:pt x="44" y="9"/>
                        </a:lnTo>
                        <a:lnTo>
                          <a:pt x="1" y="0"/>
                        </a:lnTo>
                        <a:close/>
                      </a:path>
                    </a:pathLst>
                  </a:custGeom>
                  <a:solidFill>
                    <a:srgbClr val="BF5FF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37364" name="Group 128"/>
              <p:cNvGrpSpPr>
                <a:grpSpLocks/>
              </p:cNvGrpSpPr>
              <p:nvPr/>
            </p:nvGrpSpPr>
            <p:grpSpPr bwMode="auto">
              <a:xfrm>
                <a:off x="890" y="1257"/>
                <a:ext cx="287" cy="632"/>
                <a:chOff x="890" y="1257"/>
                <a:chExt cx="287" cy="632"/>
              </a:xfrm>
            </p:grpSpPr>
            <p:grpSp>
              <p:nvGrpSpPr>
                <p:cNvPr id="37365" name="Group 129"/>
                <p:cNvGrpSpPr>
                  <a:grpSpLocks/>
                </p:cNvGrpSpPr>
                <p:nvPr/>
              </p:nvGrpSpPr>
              <p:grpSpPr bwMode="auto">
                <a:xfrm>
                  <a:off x="890" y="1257"/>
                  <a:ext cx="287" cy="632"/>
                  <a:chOff x="890" y="1257"/>
                  <a:chExt cx="287" cy="632"/>
                </a:xfrm>
              </p:grpSpPr>
              <p:grpSp>
                <p:nvGrpSpPr>
                  <p:cNvPr id="37366" name="Group 130"/>
                  <p:cNvGrpSpPr>
                    <a:grpSpLocks/>
                  </p:cNvGrpSpPr>
                  <p:nvPr/>
                </p:nvGrpSpPr>
                <p:grpSpPr bwMode="auto">
                  <a:xfrm>
                    <a:off x="922" y="1734"/>
                    <a:ext cx="223" cy="155"/>
                    <a:chOff x="922" y="1734"/>
                    <a:chExt cx="223" cy="155"/>
                  </a:xfrm>
                </p:grpSpPr>
                <p:sp>
                  <p:nvSpPr>
                    <p:cNvPr id="38775" name="Freeform 131"/>
                    <p:cNvSpPr>
                      <a:spLocks/>
                    </p:cNvSpPr>
                    <p:nvPr/>
                  </p:nvSpPr>
                  <p:spPr bwMode="auto">
                    <a:xfrm>
                      <a:off x="922" y="1792"/>
                      <a:ext cx="143" cy="97"/>
                    </a:xfrm>
                    <a:custGeom>
                      <a:avLst/>
                      <a:gdLst>
                        <a:gd name="T0" fmla="*/ 0 w 430"/>
                        <a:gd name="T1" fmla="*/ 0 h 290"/>
                        <a:gd name="T2" fmla="*/ 0 w 430"/>
                        <a:gd name="T3" fmla="*/ 0 h 290"/>
                        <a:gd name="T4" fmla="*/ 0 w 430"/>
                        <a:gd name="T5" fmla="*/ 0 h 290"/>
                        <a:gd name="T6" fmla="*/ 0 w 430"/>
                        <a:gd name="T7" fmla="*/ 0 h 290"/>
                        <a:gd name="T8" fmla="*/ 0 w 430"/>
                        <a:gd name="T9" fmla="*/ 0 h 290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430"/>
                        <a:gd name="T16" fmla="*/ 0 h 290"/>
                        <a:gd name="T17" fmla="*/ 430 w 430"/>
                        <a:gd name="T18" fmla="*/ 290 h 290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430" h="290">
                          <a:moveTo>
                            <a:pt x="0" y="0"/>
                          </a:moveTo>
                          <a:lnTo>
                            <a:pt x="0" y="87"/>
                          </a:lnTo>
                          <a:lnTo>
                            <a:pt x="430" y="290"/>
                          </a:lnTo>
                          <a:lnTo>
                            <a:pt x="430" y="199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1F9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776" name="Freeform 132"/>
                    <p:cNvSpPr>
                      <a:spLocks/>
                    </p:cNvSpPr>
                    <p:nvPr/>
                  </p:nvSpPr>
                  <p:spPr bwMode="auto">
                    <a:xfrm>
                      <a:off x="1065" y="1734"/>
                      <a:ext cx="80" cy="155"/>
                    </a:xfrm>
                    <a:custGeom>
                      <a:avLst/>
                      <a:gdLst>
                        <a:gd name="T0" fmla="*/ 0 w 240"/>
                        <a:gd name="T1" fmla="*/ 0 h 466"/>
                        <a:gd name="T2" fmla="*/ 0 w 240"/>
                        <a:gd name="T3" fmla="*/ 0 h 466"/>
                        <a:gd name="T4" fmla="*/ 0 w 240"/>
                        <a:gd name="T5" fmla="*/ 0 h 466"/>
                        <a:gd name="T6" fmla="*/ 0 w 240"/>
                        <a:gd name="T7" fmla="*/ 0 h 466"/>
                        <a:gd name="T8" fmla="*/ 0 w 240"/>
                        <a:gd name="T9" fmla="*/ 0 h 46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40"/>
                        <a:gd name="T16" fmla="*/ 0 h 466"/>
                        <a:gd name="T17" fmla="*/ 240 w 240"/>
                        <a:gd name="T18" fmla="*/ 466 h 46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40" h="466">
                          <a:moveTo>
                            <a:pt x="0" y="375"/>
                          </a:moveTo>
                          <a:lnTo>
                            <a:pt x="0" y="466"/>
                          </a:lnTo>
                          <a:lnTo>
                            <a:pt x="240" y="73"/>
                          </a:lnTo>
                          <a:lnTo>
                            <a:pt x="240" y="0"/>
                          </a:lnTo>
                          <a:lnTo>
                            <a:pt x="0" y="375"/>
                          </a:lnTo>
                          <a:close/>
                        </a:path>
                      </a:pathLst>
                    </a:custGeom>
                    <a:solidFill>
                      <a:srgbClr val="001F5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38767" name="Freeform 133"/>
                  <p:cNvSpPr>
                    <a:spLocks/>
                  </p:cNvSpPr>
                  <p:nvPr/>
                </p:nvSpPr>
                <p:spPr bwMode="auto">
                  <a:xfrm>
                    <a:off x="890" y="1629"/>
                    <a:ext cx="287" cy="240"/>
                  </a:xfrm>
                  <a:custGeom>
                    <a:avLst/>
                    <a:gdLst>
                      <a:gd name="T0" fmla="*/ 0 w 863"/>
                      <a:gd name="T1" fmla="*/ 0 h 720"/>
                      <a:gd name="T2" fmla="*/ 0 w 863"/>
                      <a:gd name="T3" fmla="*/ 0 h 720"/>
                      <a:gd name="T4" fmla="*/ 0 w 863"/>
                      <a:gd name="T5" fmla="*/ 0 h 720"/>
                      <a:gd name="T6" fmla="*/ 0 w 863"/>
                      <a:gd name="T7" fmla="*/ 0 h 720"/>
                      <a:gd name="T8" fmla="*/ 0 w 863"/>
                      <a:gd name="T9" fmla="*/ 0 h 720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863"/>
                      <a:gd name="T16" fmla="*/ 0 h 720"/>
                      <a:gd name="T17" fmla="*/ 863 w 863"/>
                      <a:gd name="T18" fmla="*/ 720 h 720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863" h="720">
                        <a:moveTo>
                          <a:pt x="0" y="453"/>
                        </a:moveTo>
                        <a:lnTo>
                          <a:pt x="574" y="720"/>
                        </a:lnTo>
                        <a:lnTo>
                          <a:pt x="863" y="245"/>
                        </a:lnTo>
                        <a:lnTo>
                          <a:pt x="313" y="0"/>
                        </a:lnTo>
                        <a:lnTo>
                          <a:pt x="0" y="453"/>
                        </a:lnTo>
                        <a:close/>
                      </a:path>
                    </a:pathLst>
                  </a:custGeom>
                  <a:solidFill>
                    <a:srgbClr val="5F7FF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768" name="Freeform 134"/>
                  <p:cNvSpPr>
                    <a:spLocks/>
                  </p:cNvSpPr>
                  <p:nvPr/>
                </p:nvSpPr>
                <p:spPr bwMode="auto">
                  <a:xfrm>
                    <a:off x="915" y="1481"/>
                    <a:ext cx="227" cy="136"/>
                  </a:xfrm>
                  <a:custGeom>
                    <a:avLst/>
                    <a:gdLst>
                      <a:gd name="T0" fmla="*/ 0 w 681"/>
                      <a:gd name="T1" fmla="*/ 0 h 408"/>
                      <a:gd name="T2" fmla="*/ 0 w 681"/>
                      <a:gd name="T3" fmla="*/ 0 h 408"/>
                      <a:gd name="T4" fmla="*/ 0 w 681"/>
                      <a:gd name="T5" fmla="*/ 0 h 408"/>
                      <a:gd name="T6" fmla="*/ 0 w 681"/>
                      <a:gd name="T7" fmla="*/ 0 h 408"/>
                      <a:gd name="T8" fmla="*/ 0 w 681"/>
                      <a:gd name="T9" fmla="*/ 0 h 40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81"/>
                      <a:gd name="T16" fmla="*/ 0 h 408"/>
                      <a:gd name="T17" fmla="*/ 681 w 681"/>
                      <a:gd name="T18" fmla="*/ 408 h 40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81" h="408">
                        <a:moveTo>
                          <a:pt x="449" y="408"/>
                        </a:moveTo>
                        <a:lnTo>
                          <a:pt x="681" y="141"/>
                        </a:lnTo>
                        <a:lnTo>
                          <a:pt x="256" y="0"/>
                        </a:lnTo>
                        <a:lnTo>
                          <a:pt x="0" y="260"/>
                        </a:lnTo>
                        <a:lnTo>
                          <a:pt x="449" y="408"/>
                        </a:lnTo>
                        <a:close/>
                      </a:path>
                    </a:pathLst>
                  </a:custGeom>
                  <a:solidFill>
                    <a:srgbClr val="9FBFF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769" name="Freeform 135"/>
                  <p:cNvSpPr>
                    <a:spLocks/>
                  </p:cNvSpPr>
                  <p:nvPr/>
                </p:nvSpPr>
                <p:spPr bwMode="auto">
                  <a:xfrm>
                    <a:off x="1029" y="1258"/>
                    <a:ext cx="79" cy="159"/>
                  </a:xfrm>
                  <a:custGeom>
                    <a:avLst/>
                    <a:gdLst>
                      <a:gd name="T0" fmla="*/ 0 w 236"/>
                      <a:gd name="T1" fmla="*/ 0 h 479"/>
                      <a:gd name="T2" fmla="*/ 0 w 236"/>
                      <a:gd name="T3" fmla="*/ 0 h 479"/>
                      <a:gd name="T4" fmla="*/ 0 w 236"/>
                      <a:gd name="T5" fmla="*/ 0 h 479"/>
                      <a:gd name="T6" fmla="*/ 0 w 236"/>
                      <a:gd name="T7" fmla="*/ 0 h 479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236"/>
                      <a:gd name="T13" fmla="*/ 0 h 479"/>
                      <a:gd name="T14" fmla="*/ 236 w 236"/>
                      <a:gd name="T15" fmla="*/ 479 h 479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236" h="479">
                        <a:moveTo>
                          <a:pt x="0" y="0"/>
                        </a:moveTo>
                        <a:lnTo>
                          <a:pt x="57" y="479"/>
                        </a:lnTo>
                        <a:lnTo>
                          <a:pt x="236" y="32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F7FF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770" name="Freeform 136"/>
                  <p:cNvSpPr>
                    <a:spLocks/>
                  </p:cNvSpPr>
                  <p:nvPr/>
                </p:nvSpPr>
                <p:spPr bwMode="auto">
                  <a:xfrm>
                    <a:off x="961" y="1257"/>
                    <a:ext cx="87" cy="160"/>
                  </a:xfrm>
                  <a:custGeom>
                    <a:avLst/>
                    <a:gdLst>
                      <a:gd name="T0" fmla="*/ 0 w 261"/>
                      <a:gd name="T1" fmla="*/ 0 h 482"/>
                      <a:gd name="T2" fmla="*/ 0 w 261"/>
                      <a:gd name="T3" fmla="*/ 0 h 482"/>
                      <a:gd name="T4" fmla="*/ 0 w 261"/>
                      <a:gd name="T5" fmla="*/ 0 h 482"/>
                      <a:gd name="T6" fmla="*/ 0 w 261"/>
                      <a:gd name="T7" fmla="*/ 0 h 482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0 w 261"/>
                      <a:gd name="T13" fmla="*/ 0 h 482"/>
                      <a:gd name="T14" fmla="*/ 261 w 261"/>
                      <a:gd name="T15" fmla="*/ 482 h 482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261" h="482">
                        <a:moveTo>
                          <a:pt x="205" y="0"/>
                        </a:moveTo>
                        <a:lnTo>
                          <a:pt x="261" y="482"/>
                        </a:lnTo>
                        <a:lnTo>
                          <a:pt x="0" y="431"/>
                        </a:lnTo>
                        <a:lnTo>
                          <a:pt x="205" y="0"/>
                        </a:lnTo>
                        <a:close/>
                      </a:path>
                    </a:pathLst>
                  </a:custGeom>
                  <a:solidFill>
                    <a:srgbClr val="9FBFF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771" name="Freeform 137"/>
                  <p:cNvSpPr>
                    <a:spLocks/>
                  </p:cNvSpPr>
                  <p:nvPr/>
                </p:nvSpPr>
                <p:spPr bwMode="auto">
                  <a:xfrm>
                    <a:off x="961" y="1400"/>
                    <a:ext cx="87" cy="194"/>
                  </a:xfrm>
                  <a:custGeom>
                    <a:avLst/>
                    <a:gdLst>
                      <a:gd name="T0" fmla="*/ 0 w 260"/>
                      <a:gd name="T1" fmla="*/ 0 h 582"/>
                      <a:gd name="T2" fmla="*/ 0 w 260"/>
                      <a:gd name="T3" fmla="*/ 0 h 582"/>
                      <a:gd name="T4" fmla="*/ 0 w 260"/>
                      <a:gd name="T5" fmla="*/ 0 h 582"/>
                      <a:gd name="T6" fmla="*/ 0 w 260"/>
                      <a:gd name="T7" fmla="*/ 0 h 582"/>
                      <a:gd name="T8" fmla="*/ 0 w 260"/>
                      <a:gd name="T9" fmla="*/ 0 h 58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60"/>
                      <a:gd name="T16" fmla="*/ 0 h 582"/>
                      <a:gd name="T17" fmla="*/ 260 w 260"/>
                      <a:gd name="T18" fmla="*/ 582 h 58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60" h="582">
                        <a:moveTo>
                          <a:pt x="0" y="0"/>
                        </a:moveTo>
                        <a:lnTo>
                          <a:pt x="260" y="50"/>
                        </a:lnTo>
                        <a:lnTo>
                          <a:pt x="260" y="582"/>
                        </a:lnTo>
                        <a:lnTo>
                          <a:pt x="0" y="495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5F7FF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772" name="Freeform 138"/>
                  <p:cNvSpPr>
                    <a:spLocks/>
                  </p:cNvSpPr>
                  <p:nvPr/>
                </p:nvSpPr>
                <p:spPr bwMode="auto">
                  <a:xfrm>
                    <a:off x="1048" y="1364"/>
                    <a:ext cx="60" cy="231"/>
                  </a:xfrm>
                  <a:custGeom>
                    <a:avLst/>
                    <a:gdLst>
                      <a:gd name="T0" fmla="*/ 0 w 179"/>
                      <a:gd name="T1" fmla="*/ 0 h 693"/>
                      <a:gd name="T2" fmla="*/ 0 w 179"/>
                      <a:gd name="T3" fmla="*/ 0 h 693"/>
                      <a:gd name="T4" fmla="*/ 0 w 179"/>
                      <a:gd name="T5" fmla="*/ 0 h 693"/>
                      <a:gd name="T6" fmla="*/ 0 w 179"/>
                      <a:gd name="T7" fmla="*/ 0 h 693"/>
                      <a:gd name="T8" fmla="*/ 0 w 179"/>
                      <a:gd name="T9" fmla="*/ 0 h 693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79"/>
                      <a:gd name="T16" fmla="*/ 0 h 693"/>
                      <a:gd name="T17" fmla="*/ 179 w 179"/>
                      <a:gd name="T18" fmla="*/ 693 h 693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79" h="693">
                        <a:moveTo>
                          <a:pt x="0" y="159"/>
                        </a:moveTo>
                        <a:lnTo>
                          <a:pt x="179" y="0"/>
                        </a:lnTo>
                        <a:lnTo>
                          <a:pt x="179" y="495"/>
                        </a:lnTo>
                        <a:lnTo>
                          <a:pt x="0" y="693"/>
                        </a:lnTo>
                        <a:lnTo>
                          <a:pt x="0" y="159"/>
                        </a:lnTo>
                        <a:close/>
                      </a:path>
                    </a:pathLst>
                  </a:custGeom>
                  <a:solidFill>
                    <a:srgbClr val="3F7FF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773" name="Freeform 139"/>
                  <p:cNvSpPr>
                    <a:spLocks/>
                  </p:cNvSpPr>
                  <p:nvPr/>
                </p:nvSpPr>
                <p:spPr bwMode="auto">
                  <a:xfrm>
                    <a:off x="915" y="1567"/>
                    <a:ext cx="149" cy="261"/>
                  </a:xfrm>
                  <a:custGeom>
                    <a:avLst/>
                    <a:gdLst>
                      <a:gd name="T0" fmla="*/ 0 w 446"/>
                      <a:gd name="T1" fmla="*/ 0 h 782"/>
                      <a:gd name="T2" fmla="*/ 0 w 446"/>
                      <a:gd name="T3" fmla="*/ 0 h 782"/>
                      <a:gd name="T4" fmla="*/ 0 w 446"/>
                      <a:gd name="T5" fmla="*/ 0 h 782"/>
                      <a:gd name="T6" fmla="*/ 0 w 446"/>
                      <a:gd name="T7" fmla="*/ 0 h 782"/>
                      <a:gd name="T8" fmla="*/ 0 w 446"/>
                      <a:gd name="T9" fmla="*/ 0 h 78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446"/>
                      <a:gd name="T16" fmla="*/ 0 h 782"/>
                      <a:gd name="T17" fmla="*/ 446 w 446"/>
                      <a:gd name="T18" fmla="*/ 782 h 78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446" h="782">
                        <a:moveTo>
                          <a:pt x="0" y="0"/>
                        </a:moveTo>
                        <a:lnTo>
                          <a:pt x="446" y="148"/>
                        </a:lnTo>
                        <a:lnTo>
                          <a:pt x="446" y="782"/>
                        </a:lnTo>
                        <a:lnTo>
                          <a:pt x="0" y="58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rgbClr val="3F7FF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774" name="Freeform 140"/>
                  <p:cNvSpPr>
                    <a:spLocks/>
                  </p:cNvSpPr>
                  <p:nvPr/>
                </p:nvSpPr>
                <p:spPr bwMode="auto">
                  <a:xfrm>
                    <a:off x="1064" y="1527"/>
                    <a:ext cx="78" cy="301"/>
                  </a:xfrm>
                  <a:custGeom>
                    <a:avLst/>
                    <a:gdLst>
                      <a:gd name="T0" fmla="*/ 0 w 234"/>
                      <a:gd name="T1" fmla="*/ 0 h 902"/>
                      <a:gd name="T2" fmla="*/ 0 w 234"/>
                      <a:gd name="T3" fmla="*/ 0 h 902"/>
                      <a:gd name="T4" fmla="*/ 0 w 234"/>
                      <a:gd name="T5" fmla="*/ 0 h 902"/>
                      <a:gd name="T6" fmla="*/ 0 w 234"/>
                      <a:gd name="T7" fmla="*/ 0 h 902"/>
                      <a:gd name="T8" fmla="*/ 0 w 234"/>
                      <a:gd name="T9" fmla="*/ 0 h 90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34"/>
                      <a:gd name="T16" fmla="*/ 0 h 902"/>
                      <a:gd name="T17" fmla="*/ 234 w 234"/>
                      <a:gd name="T18" fmla="*/ 902 h 90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34" h="902">
                        <a:moveTo>
                          <a:pt x="0" y="268"/>
                        </a:moveTo>
                        <a:lnTo>
                          <a:pt x="234" y="0"/>
                        </a:lnTo>
                        <a:lnTo>
                          <a:pt x="234" y="540"/>
                        </a:lnTo>
                        <a:lnTo>
                          <a:pt x="0" y="902"/>
                        </a:lnTo>
                        <a:lnTo>
                          <a:pt x="0" y="268"/>
                        </a:lnTo>
                        <a:close/>
                      </a:path>
                    </a:pathLst>
                  </a:custGeom>
                  <a:solidFill>
                    <a:srgbClr val="001F9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37367" name="Group 141"/>
                <p:cNvGrpSpPr>
                  <a:grpSpLocks/>
                </p:cNvGrpSpPr>
                <p:nvPr/>
              </p:nvGrpSpPr>
              <p:grpSpPr bwMode="auto">
                <a:xfrm>
                  <a:off x="944" y="1421"/>
                  <a:ext cx="92" cy="363"/>
                  <a:chOff x="944" y="1421"/>
                  <a:chExt cx="92" cy="363"/>
                </a:xfrm>
              </p:grpSpPr>
              <p:grpSp>
                <p:nvGrpSpPr>
                  <p:cNvPr id="37921" name="Group 142"/>
                  <p:cNvGrpSpPr>
                    <a:grpSpLocks/>
                  </p:cNvGrpSpPr>
                  <p:nvPr/>
                </p:nvGrpSpPr>
                <p:grpSpPr bwMode="auto">
                  <a:xfrm>
                    <a:off x="989" y="1421"/>
                    <a:ext cx="30" cy="104"/>
                    <a:chOff x="989" y="1421"/>
                    <a:chExt cx="30" cy="104"/>
                  </a:xfrm>
                </p:grpSpPr>
                <p:sp>
                  <p:nvSpPr>
                    <p:cNvPr id="38762" name="Arc 143"/>
                    <p:cNvSpPr>
                      <a:spLocks/>
                    </p:cNvSpPr>
                    <p:nvPr/>
                  </p:nvSpPr>
                  <p:spPr bwMode="auto">
                    <a:xfrm>
                      <a:off x="1008" y="1422"/>
                      <a:ext cx="11" cy="54"/>
                    </a:xfrm>
                    <a:custGeom>
                      <a:avLst/>
                      <a:gdLst>
                        <a:gd name="T0" fmla="*/ 0 w 21600"/>
                        <a:gd name="T1" fmla="*/ 0 h 23322"/>
                        <a:gd name="T2" fmla="*/ 0 w 21600"/>
                        <a:gd name="T3" fmla="*/ 0 h 23322"/>
                        <a:gd name="T4" fmla="*/ 0 w 21600"/>
                        <a:gd name="T5" fmla="*/ 0 h 23322"/>
                        <a:gd name="T6" fmla="*/ 0 60000 65536"/>
                        <a:gd name="T7" fmla="*/ 0 60000 65536"/>
                        <a:gd name="T8" fmla="*/ 0 60000 65536"/>
                        <a:gd name="T9" fmla="*/ 0 w 21600"/>
                        <a:gd name="T10" fmla="*/ 0 h 23322"/>
                        <a:gd name="T11" fmla="*/ 21600 w 21600"/>
                        <a:gd name="T12" fmla="*/ 23322 h 23322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1600" h="23322" fill="none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cubicBezTo>
                            <a:pt x="21600" y="22174"/>
                            <a:pt x="21577" y="22749"/>
                            <a:pt x="21531" y="23322"/>
                          </a:cubicBezTo>
                        </a:path>
                        <a:path w="21600" h="23322" stroke="0" extrusionOk="0">
                          <a:moveTo>
                            <a:pt x="-1" y="0"/>
                          </a:moveTo>
                          <a:cubicBezTo>
                            <a:pt x="11929" y="0"/>
                            <a:pt x="21600" y="9670"/>
                            <a:pt x="21600" y="21600"/>
                          </a:cubicBezTo>
                          <a:cubicBezTo>
                            <a:pt x="21600" y="22174"/>
                            <a:pt x="21577" y="22749"/>
                            <a:pt x="21531" y="23322"/>
                          </a:cubicBezTo>
                          <a:lnTo>
                            <a:pt x="0" y="2160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6350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763" name="Arc 144"/>
                    <p:cNvSpPr>
                      <a:spLocks/>
                    </p:cNvSpPr>
                    <p:nvPr/>
                  </p:nvSpPr>
                  <p:spPr bwMode="auto">
                    <a:xfrm>
                      <a:off x="990" y="1421"/>
                      <a:ext cx="10" cy="50"/>
                    </a:xfrm>
                    <a:custGeom>
                      <a:avLst/>
                      <a:gdLst>
                        <a:gd name="T0" fmla="*/ 0 w 21491"/>
                        <a:gd name="T1" fmla="*/ 0 h 21600"/>
                        <a:gd name="T2" fmla="*/ 0 w 21491"/>
                        <a:gd name="T3" fmla="*/ 0 h 21600"/>
                        <a:gd name="T4" fmla="*/ 0 w 21491"/>
                        <a:gd name="T5" fmla="*/ 0 h 21600"/>
                        <a:gd name="T6" fmla="*/ 0 60000 65536"/>
                        <a:gd name="T7" fmla="*/ 0 60000 65536"/>
                        <a:gd name="T8" fmla="*/ 0 60000 65536"/>
                        <a:gd name="T9" fmla="*/ 0 w 21491"/>
                        <a:gd name="T10" fmla="*/ 0 h 21600"/>
                        <a:gd name="T11" fmla="*/ 21491 w 21491"/>
                        <a:gd name="T12" fmla="*/ 21600 h 21600"/>
                      </a:gdLst>
                      <a:ahLst/>
                      <a:cxnLst>
                        <a:cxn ang="T6">
                          <a:pos x="T0" y="T1"/>
                        </a:cxn>
                        <a:cxn ang="T7">
                          <a:pos x="T2" y="T3"/>
                        </a:cxn>
                        <a:cxn ang="T8">
                          <a:pos x="T4" y="T5"/>
                        </a:cxn>
                      </a:cxnLst>
                      <a:rect l="T9" t="T10" r="T11" b="T12"/>
                      <a:pathLst>
                        <a:path w="21491" h="21600" fill="none" extrusionOk="0">
                          <a:moveTo>
                            <a:pt x="0" y="19429"/>
                          </a:moveTo>
                          <a:cubicBezTo>
                            <a:pt x="1114" y="8396"/>
                            <a:pt x="10402" y="0"/>
                            <a:pt x="21490" y="0"/>
                          </a:cubicBezTo>
                        </a:path>
                        <a:path w="21491" h="21600" stroke="0" extrusionOk="0">
                          <a:moveTo>
                            <a:pt x="0" y="19429"/>
                          </a:moveTo>
                          <a:cubicBezTo>
                            <a:pt x="1114" y="8396"/>
                            <a:pt x="10402" y="0"/>
                            <a:pt x="21490" y="0"/>
                          </a:cubicBezTo>
                          <a:lnTo>
                            <a:pt x="21491" y="2160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6350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764" name="Freeform 145"/>
                    <p:cNvSpPr>
                      <a:spLocks/>
                    </p:cNvSpPr>
                    <p:nvPr/>
                  </p:nvSpPr>
                  <p:spPr bwMode="auto">
                    <a:xfrm>
                      <a:off x="989" y="1473"/>
                      <a:ext cx="10" cy="46"/>
                    </a:xfrm>
                    <a:custGeom>
                      <a:avLst/>
                      <a:gdLst>
                        <a:gd name="T0" fmla="*/ 0 w 30"/>
                        <a:gd name="T1" fmla="*/ 0 h 137"/>
                        <a:gd name="T2" fmla="*/ 0 w 30"/>
                        <a:gd name="T3" fmla="*/ 0 h 137"/>
                        <a:gd name="T4" fmla="*/ 0 w 30"/>
                        <a:gd name="T5" fmla="*/ 0 h 137"/>
                        <a:gd name="T6" fmla="*/ 0 w 30"/>
                        <a:gd name="T7" fmla="*/ 0 h 137"/>
                        <a:gd name="T8" fmla="*/ 0 w 30"/>
                        <a:gd name="T9" fmla="*/ 0 h 137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0"/>
                        <a:gd name="T16" fmla="*/ 0 h 137"/>
                        <a:gd name="T17" fmla="*/ 30 w 30"/>
                        <a:gd name="T18" fmla="*/ 137 h 137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0" h="137">
                          <a:moveTo>
                            <a:pt x="0" y="0"/>
                          </a:moveTo>
                          <a:lnTo>
                            <a:pt x="0" y="127"/>
                          </a:lnTo>
                          <a:lnTo>
                            <a:pt x="30" y="137"/>
                          </a:lnTo>
                          <a:lnTo>
                            <a:pt x="30" y="13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6350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765" name="Freeform 146"/>
                    <p:cNvSpPr>
                      <a:spLocks/>
                    </p:cNvSpPr>
                    <p:nvPr/>
                  </p:nvSpPr>
                  <p:spPr bwMode="auto">
                    <a:xfrm>
                      <a:off x="1008" y="1479"/>
                      <a:ext cx="10" cy="46"/>
                    </a:xfrm>
                    <a:custGeom>
                      <a:avLst/>
                      <a:gdLst>
                        <a:gd name="T0" fmla="*/ 0 w 30"/>
                        <a:gd name="T1" fmla="*/ 0 h 138"/>
                        <a:gd name="T2" fmla="*/ 0 w 30"/>
                        <a:gd name="T3" fmla="*/ 0 h 138"/>
                        <a:gd name="T4" fmla="*/ 0 w 30"/>
                        <a:gd name="T5" fmla="*/ 0 h 138"/>
                        <a:gd name="T6" fmla="*/ 0 w 30"/>
                        <a:gd name="T7" fmla="*/ 0 h 138"/>
                        <a:gd name="T8" fmla="*/ 0 w 30"/>
                        <a:gd name="T9" fmla="*/ 0 h 138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30"/>
                        <a:gd name="T16" fmla="*/ 0 h 138"/>
                        <a:gd name="T17" fmla="*/ 30 w 30"/>
                        <a:gd name="T18" fmla="*/ 138 h 138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30" h="138">
                          <a:moveTo>
                            <a:pt x="0" y="0"/>
                          </a:moveTo>
                          <a:lnTo>
                            <a:pt x="0" y="127"/>
                          </a:lnTo>
                          <a:lnTo>
                            <a:pt x="30" y="138"/>
                          </a:lnTo>
                          <a:lnTo>
                            <a:pt x="30" y="14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6350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37922" name="Group 147"/>
                  <p:cNvGrpSpPr>
                    <a:grpSpLocks/>
                  </p:cNvGrpSpPr>
                  <p:nvPr/>
                </p:nvGrpSpPr>
                <p:grpSpPr bwMode="auto">
                  <a:xfrm>
                    <a:off x="944" y="1623"/>
                    <a:ext cx="92" cy="161"/>
                    <a:chOff x="944" y="1623"/>
                    <a:chExt cx="92" cy="161"/>
                  </a:xfrm>
                </p:grpSpPr>
                <p:sp>
                  <p:nvSpPr>
                    <p:cNvPr id="38760" name="Freeform 148"/>
                    <p:cNvSpPr>
                      <a:spLocks/>
                    </p:cNvSpPr>
                    <p:nvPr/>
                  </p:nvSpPr>
                  <p:spPr bwMode="auto">
                    <a:xfrm>
                      <a:off x="944" y="1680"/>
                      <a:ext cx="92" cy="104"/>
                    </a:xfrm>
                    <a:custGeom>
                      <a:avLst/>
                      <a:gdLst>
                        <a:gd name="T0" fmla="*/ 0 w 275"/>
                        <a:gd name="T1" fmla="*/ 0 h 314"/>
                        <a:gd name="T2" fmla="*/ 0 w 275"/>
                        <a:gd name="T3" fmla="*/ 0 h 314"/>
                        <a:gd name="T4" fmla="*/ 0 w 275"/>
                        <a:gd name="T5" fmla="*/ 0 h 314"/>
                        <a:gd name="T6" fmla="*/ 0 w 275"/>
                        <a:gd name="T7" fmla="*/ 0 h 314"/>
                        <a:gd name="T8" fmla="*/ 0 w 275"/>
                        <a:gd name="T9" fmla="*/ 0 h 314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75"/>
                        <a:gd name="T16" fmla="*/ 0 h 314"/>
                        <a:gd name="T17" fmla="*/ 275 w 275"/>
                        <a:gd name="T18" fmla="*/ 314 h 314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75" h="314">
                          <a:moveTo>
                            <a:pt x="0" y="0"/>
                          </a:moveTo>
                          <a:lnTo>
                            <a:pt x="0" y="197"/>
                          </a:lnTo>
                          <a:lnTo>
                            <a:pt x="275" y="314"/>
                          </a:lnTo>
                          <a:lnTo>
                            <a:pt x="275" y="115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761" name="Freeform 149"/>
                    <p:cNvSpPr>
                      <a:spLocks/>
                    </p:cNvSpPr>
                    <p:nvPr/>
                  </p:nvSpPr>
                  <p:spPr bwMode="auto">
                    <a:xfrm>
                      <a:off x="945" y="1623"/>
                      <a:ext cx="87" cy="79"/>
                    </a:xfrm>
                    <a:custGeom>
                      <a:avLst/>
                      <a:gdLst>
                        <a:gd name="T0" fmla="*/ 0 w 259"/>
                        <a:gd name="T1" fmla="*/ 0 h 236"/>
                        <a:gd name="T2" fmla="*/ 0 w 259"/>
                        <a:gd name="T3" fmla="*/ 0 h 236"/>
                        <a:gd name="T4" fmla="*/ 0 w 259"/>
                        <a:gd name="T5" fmla="*/ 0 h 236"/>
                        <a:gd name="T6" fmla="*/ 0 w 259"/>
                        <a:gd name="T7" fmla="*/ 0 h 236"/>
                        <a:gd name="T8" fmla="*/ 0 w 259"/>
                        <a:gd name="T9" fmla="*/ 0 h 236"/>
                        <a:gd name="T10" fmla="*/ 0 60000 65536"/>
                        <a:gd name="T11" fmla="*/ 0 60000 65536"/>
                        <a:gd name="T12" fmla="*/ 0 60000 65536"/>
                        <a:gd name="T13" fmla="*/ 0 60000 65536"/>
                        <a:gd name="T14" fmla="*/ 0 60000 65536"/>
                        <a:gd name="T15" fmla="*/ 0 w 259"/>
                        <a:gd name="T16" fmla="*/ 0 h 236"/>
                        <a:gd name="T17" fmla="*/ 259 w 259"/>
                        <a:gd name="T18" fmla="*/ 236 h 236"/>
                      </a:gdLst>
                      <a:ahLst/>
                      <a:cxnLst>
                        <a:cxn ang="T10">
                          <a:pos x="T0" y="T1"/>
                        </a:cxn>
                        <a:cxn ang="T11">
                          <a:pos x="T2" y="T3"/>
                        </a:cxn>
                        <a:cxn ang="T12">
                          <a:pos x="T4" y="T5"/>
                        </a:cxn>
                        <a:cxn ang="T13">
                          <a:pos x="T6" y="T7"/>
                        </a:cxn>
                        <a:cxn ang="T14">
                          <a:pos x="T8" y="T9"/>
                        </a:cxn>
                      </a:cxnLst>
                      <a:rect l="T15" t="T16" r="T17" b="T18"/>
                      <a:pathLst>
                        <a:path w="259" h="236">
                          <a:moveTo>
                            <a:pt x="0" y="0"/>
                          </a:moveTo>
                          <a:lnTo>
                            <a:pt x="0" y="137"/>
                          </a:lnTo>
                          <a:lnTo>
                            <a:pt x="259" y="236"/>
                          </a:lnTo>
                          <a:lnTo>
                            <a:pt x="259" y="100"/>
                          </a:lnTo>
                          <a:lnTo>
                            <a:pt x="0" y="0"/>
                          </a:lnTo>
                          <a:close/>
                        </a:path>
                      </a:pathLst>
                    </a:cu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</p:grpSp>
          </p:grpSp>
        </p:grpSp>
        <p:sp>
          <p:nvSpPr>
            <p:cNvPr id="38747" name="Rectangle 151"/>
            <p:cNvSpPr>
              <a:spLocks noChangeArrowheads="1"/>
            </p:cNvSpPr>
            <p:nvPr/>
          </p:nvSpPr>
          <p:spPr bwMode="auto">
            <a:xfrm>
              <a:off x="1412" y="1163"/>
              <a:ext cx="72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</a:rPr>
                <a:t>Building Projects</a:t>
              </a:r>
              <a:endParaRPr lang="en-US" sz="1400" b="1" dirty="0"/>
            </a:p>
          </p:txBody>
        </p:sp>
        <p:sp>
          <p:nvSpPr>
            <p:cNvPr id="38748" name="Rectangle 152"/>
            <p:cNvSpPr>
              <a:spLocks noChangeArrowheads="1"/>
            </p:cNvSpPr>
            <p:nvPr/>
          </p:nvSpPr>
          <p:spPr bwMode="auto">
            <a:xfrm>
              <a:off x="1412" y="1358"/>
              <a:ext cx="87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</a:rPr>
                <a:t>(e.g. Hotel/Hospital </a:t>
              </a:r>
              <a:endParaRPr lang="en-US" sz="1400" b="1" dirty="0"/>
            </a:p>
          </p:txBody>
        </p:sp>
        <p:sp>
          <p:nvSpPr>
            <p:cNvPr id="38749" name="Rectangle 153"/>
            <p:cNvSpPr>
              <a:spLocks noChangeArrowheads="1"/>
            </p:cNvSpPr>
            <p:nvPr/>
          </p:nvSpPr>
          <p:spPr bwMode="auto">
            <a:xfrm>
              <a:off x="1412" y="1553"/>
              <a:ext cx="382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</a:rPr>
                <a:t>Projects)</a:t>
              </a:r>
              <a:endParaRPr lang="en-US" sz="1400" b="1" dirty="0"/>
            </a:p>
          </p:txBody>
        </p:sp>
      </p:grpSp>
      <p:grpSp>
        <p:nvGrpSpPr>
          <p:cNvPr id="34816" name="Group 154"/>
          <p:cNvGrpSpPr>
            <a:grpSpLocks/>
          </p:cNvGrpSpPr>
          <p:nvPr/>
        </p:nvGrpSpPr>
        <p:grpSpPr bwMode="auto">
          <a:xfrm>
            <a:off x="272703" y="4725144"/>
            <a:ext cx="2144580" cy="1670051"/>
            <a:chOff x="96" y="2370"/>
            <a:chExt cx="1247" cy="1052"/>
          </a:xfrm>
        </p:grpSpPr>
        <p:sp>
          <p:nvSpPr>
            <p:cNvPr id="38687" name="Rectangle 156"/>
            <p:cNvSpPr>
              <a:spLocks noChangeArrowheads="1"/>
            </p:cNvSpPr>
            <p:nvPr/>
          </p:nvSpPr>
          <p:spPr bwMode="auto">
            <a:xfrm>
              <a:off x="96" y="2460"/>
              <a:ext cx="57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</a:rPr>
                <a:t>Construction </a:t>
              </a:r>
              <a:endParaRPr lang="en-US" sz="1400" b="1" dirty="0"/>
            </a:p>
          </p:txBody>
        </p:sp>
        <p:sp>
          <p:nvSpPr>
            <p:cNvPr id="38688" name="Rectangle 157"/>
            <p:cNvSpPr>
              <a:spLocks noChangeArrowheads="1"/>
            </p:cNvSpPr>
            <p:nvPr/>
          </p:nvSpPr>
          <p:spPr bwMode="auto">
            <a:xfrm>
              <a:off x="212" y="2597"/>
              <a:ext cx="472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</a:rPr>
                <a:t>Equipment</a:t>
              </a:r>
              <a:endParaRPr lang="en-US" sz="1400" b="1" dirty="0"/>
            </a:p>
          </p:txBody>
        </p:sp>
        <p:grpSp>
          <p:nvGrpSpPr>
            <p:cNvPr id="34817" name="Group 158"/>
            <p:cNvGrpSpPr>
              <a:grpSpLocks/>
            </p:cNvGrpSpPr>
            <p:nvPr/>
          </p:nvGrpSpPr>
          <p:grpSpPr bwMode="auto">
            <a:xfrm>
              <a:off x="336" y="2370"/>
              <a:ext cx="1007" cy="1052"/>
              <a:chOff x="336" y="2370"/>
              <a:chExt cx="1007" cy="1052"/>
            </a:xfrm>
          </p:grpSpPr>
          <p:sp>
            <p:nvSpPr>
              <p:cNvPr id="38690" name="Freeform 159"/>
              <p:cNvSpPr>
                <a:spLocks/>
              </p:cNvSpPr>
              <p:nvPr/>
            </p:nvSpPr>
            <p:spPr bwMode="auto">
              <a:xfrm>
                <a:off x="582" y="2986"/>
                <a:ext cx="211" cy="94"/>
              </a:xfrm>
              <a:custGeom>
                <a:avLst/>
                <a:gdLst>
                  <a:gd name="T0" fmla="*/ 204 w 211"/>
                  <a:gd name="T1" fmla="*/ 10 h 94"/>
                  <a:gd name="T2" fmla="*/ 110 w 211"/>
                  <a:gd name="T3" fmla="*/ 0 h 94"/>
                  <a:gd name="T4" fmla="*/ 7 w 211"/>
                  <a:gd name="T5" fmla="*/ 10 h 94"/>
                  <a:gd name="T6" fmla="*/ 0 w 211"/>
                  <a:gd name="T7" fmla="*/ 80 h 94"/>
                  <a:gd name="T8" fmla="*/ 211 w 211"/>
                  <a:gd name="T9" fmla="*/ 94 h 94"/>
                  <a:gd name="T10" fmla="*/ 204 w 211"/>
                  <a:gd name="T11" fmla="*/ 10 h 9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1"/>
                  <a:gd name="T19" fmla="*/ 0 h 94"/>
                  <a:gd name="T20" fmla="*/ 211 w 211"/>
                  <a:gd name="T21" fmla="*/ 94 h 9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1" h="94">
                    <a:moveTo>
                      <a:pt x="204" y="10"/>
                    </a:moveTo>
                    <a:lnTo>
                      <a:pt x="110" y="0"/>
                    </a:lnTo>
                    <a:lnTo>
                      <a:pt x="7" y="10"/>
                    </a:lnTo>
                    <a:lnTo>
                      <a:pt x="0" y="80"/>
                    </a:lnTo>
                    <a:lnTo>
                      <a:pt x="211" y="94"/>
                    </a:lnTo>
                    <a:lnTo>
                      <a:pt x="204" y="10"/>
                    </a:lnTo>
                    <a:close/>
                  </a:path>
                </a:pathLst>
              </a:custGeom>
              <a:solidFill>
                <a:srgbClr val="FED100"/>
              </a:solidFill>
              <a:ln w="0">
                <a:solidFill>
                  <a:srgbClr val="FED1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691" name="Freeform 160"/>
              <p:cNvSpPr>
                <a:spLocks/>
              </p:cNvSpPr>
              <p:nvPr/>
            </p:nvSpPr>
            <p:spPr bwMode="auto">
              <a:xfrm>
                <a:off x="516" y="3222"/>
                <a:ext cx="505" cy="176"/>
              </a:xfrm>
              <a:custGeom>
                <a:avLst/>
                <a:gdLst>
                  <a:gd name="T0" fmla="*/ 83 w 505"/>
                  <a:gd name="T1" fmla="*/ 6 h 176"/>
                  <a:gd name="T2" fmla="*/ 80 w 505"/>
                  <a:gd name="T3" fmla="*/ 3 h 176"/>
                  <a:gd name="T4" fmla="*/ 69 w 505"/>
                  <a:gd name="T5" fmla="*/ 3 h 176"/>
                  <a:gd name="T6" fmla="*/ 59 w 505"/>
                  <a:gd name="T7" fmla="*/ 0 h 176"/>
                  <a:gd name="T8" fmla="*/ 41 w 505"/>
                  <a:gd name="T9" fmla="*/ 0 h 176"/>
                  <a:gd name="T10" fmla="*/ 28 w 505"/>
                  <a:gd name="T11" fmla="*/ 3 h 176"/>
                  <a:gd name="T12" fmla="*/ 17 w 505"/>
                  <a:gd name="T13" fmla="*/ 6 h 176"/>
                  <a:gd name="T14" fmla="*/ 7 w 505"/>
                  <a:gd name="T15" fmla="*/ 17 h 176"/>
                  <a:gd name="T16" fmla="*/ 3 w 505"/>
                  <a:gd name="T17" fmla="*/ 34 h 176"/>
                  <a:gd name="T18" fmla="*/ 0 w 505"/>
                  <a:gd name="T19" fmla="*/ 34 h 176"/>
                  <a:gd name="T20" fmla="*/ 0 w 505"/>
                  <a:gd name="T21" fmla="*/ 41 h 176"/>
                  <a:gd name="T22" fmla="*/ 3 w 505"/>
                  <a:gd name="T23" fmla="*/ 48 h 176"/>
                  <a:gd name="T24" fmla="*/ 14 w 505"/>
                  <a:gd name="T25" fmla="*/ 62 h 176"/>
                  <a:gd name="T26" fmla="*/ 28 w 505"/>
                  <a:gd name="T27" fmla="*/ 72 h 176"/>
                  <a:gd name="T28" fmla="*/ 52 w 505"/>
                  <a:gd name="T29" fmla="*/ 86 h 176"/>
                  <a:gd name="T30" fmla="*/ 69 w 505"/>
                  <a:gd name="T31" fmla="*/ 93 h 176"/>
                  <a:gd name="T32" fmla="*/ 90 w 505"/>
                  <a:gd name="T33" fmla="*/ 100 h 176"/>
                  <a:gd name="T34" fmla="*/ 114 w 505"/>
                  <a:gd name="T35" fmla="*/ 107 h 176"/>
                  <a:gd name="T36" fmla="*/ 142 w 505"/>
                  <a:gd name="T37" fmla="*/ 114 h 176"/>
                  <a:gd name="T38" fmla="*/ 439 w 505"/>
                  <a:gd name="T39" fmla="*/ 176 h 176"/>
                  <a:gd name="T40" fmla="*/ 443 w 505"/>
                  <a:gd name="T41" fmla="*/ 173 h 176"/>
                  <a:gd name="T42" fmla="*/ 453 w 505"/>
                  <a:gd name="T43" fmla="*/ 173 h 176"/>
                  <a:gd name="T44" fmla="*/ 467 w 505"/>
                  <a:gd name="T45" fmla="*/ 166 h 176"/>
                  <a:gd name="T46" fmla="*/ 481 w 505"/>
                  <a:gd name="T47" fmla="*/ 159 h 176"/>
                  <a:gd name="T48" fmla="*/ 495 w 505"/>
                  <a:gd name="T49" fmla="*/ 145 h 176"/>
                  <a:gd name="T50" fmla="*/ 505 w 505"/>
                  <a:gd name="T51" fmla="*/ 128 h 176"/>
                  <a:gd name="T52" fmla="*/ 505 w 505"/>
                  <a:gd name="T53" fmla="*/ 103 h 176"/>
                  <a:gd name="T54" fmla="*/ 495 w 505"/>
                  <a:gd name="T55" fmla="*/ 76 h 176"/>
                  <a:gd name="T56" fmla="*/ 495 w 505"/>
                  <a:gd name="T57" fmla="*/ 72 h 176"/>
                  <a:gd name="T58" fmla="*/ 491 w 505"/>
                  <a:gd name="T59" fmla="*/ 65 h 176"/>
                  <a:gd name="T60" fmla="*/ 484 w 505"/>
                  <a:gd name="T61" fmla="*/ 62 h 176"/>
                  <a:gd name="T62" fmla="*/ 478 w 505"/>
                  <a:gd name="T63" fmla="*/ 58 h 176"/>
                  <a:gd name="T64" fmla="*/ 467 w 505"/>
                  <a:gd name="T65" fmla="*/ 55 h 176"/>
                  <a:gd name="T66" fmla="*/ 450 w 505"/>
                  <a:gd name="T67" fmla="*/ 48 h 176"/>
                  <a:gd name="T68" fmla="*/ 429 w 505"/>
                  <a:gd name="T69" fmla="*/ 45 h 176"/>
                  <a:gd name="T70" fmla="*/ 405 w 505"/>
                  <a:gd name="T71" fmla="*/ 38 h 176"/>
                  <a:gd name="T72" fmla="*/ 370 w 505"/>
                  <a:gd name="T73" fmla="*/ 31 h 176"/>
                  <a:gd name="T74" fmla="*/ 329 w 505"/>
                  <a:gd name="T75" fmla="*/ 27 h 176"/>
                  <a:gd name="T76" fmla="*/ 280 w 505"/>
                  <a:gd name="T77" fmla="*/ 20 h 176"/>
                  <a:gd name="T78" fmla="*/ 225 w 505"/>
                  <a:gd name="T79" fmla="*/ 13 h 176"/>
                  <a:gd name="T80" fmla="*/ 159 w 505"/>
                  <a:gd name="T81" fmla="*/ 10 h 176"/>
                  <a:gd name="T82" fmla="*/ 83 w 505"/>
                  <a:gd name="T83" fmla="*/ 6 h 17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505"/>
                  <a:gd name="T127" fmla="*/ 0 h 176"/>
                  <a:gd name="T128" fmla="*/ 505 w 505"/>
                  <a:gd name="T129" fmla="*/ 176 h 17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505" h="176">
                    <a:moveTo>
                      <a:pt x="83" y="6"/>
                    </a:moveTo>
                    <a:lnTo>
                      <a:pt x="80" y="3"/>
                    </a:lnTo>
                    <a:lnTo>
                      <a:pt x="69" y="3"/>
                    </a:lnTo>
                    <a:lnTo>
                      <a:pt x="59" y="0"/>
                    </a:lnTo>
                    <a:lnTo>
                      <a:pt x="41" y="0"/>
                    </a:lnTo>
                    <a:lnTo>
                      <a:pt x="28" y="3"/>
                    </a:lnTo>
                    <a:lnTo>
                      <a:pt x="17" y="6"/>
                    </a:lnTo>
                    <a:lnTo>
                      <a:pt x="7" y="17"/>
                    </a:lnTo>
                    <a:lnTo>
                      <a:pt x="3" y="34"/>
                    </a:lnTo>
                    <a:lnTo>
                      <a:pt x="0" y="34"/>
                    </a:lnTo>
                    <a:lnTo>
                      <a:pt x="0" y="41"/>
                    </a:lnTo>
                    <a:lnTo>
                      <a:pt x="3" y="48"/>
                    </a:lnTo>
                    <a:lnTo>
                      <a:pt x="14" y="62"/>
                    </a:lnTo>
                    <a:lnTo>
                      <a:pt x="28" y="72"/>
                    </a:lnTo>
                    <a:lnTo>
                      <a:pt x="52" y="86"/>
                    </a:lnTo>
                    <a:lnTo>
                      <a:pt x="69" y="93"/>
                    </a:lnTo>
                    <a:lnTo>
                      <a:pt x="90" y="100"/>
                    </a:lnTo>
                    <a:lnTo>
                      <a:pt x="114" y="107"/>
                    </a:lnTo>
                    <a:lnTo>
                      <a:pt x="142" y="114"/>
                    </a:lnTo>
                    <a:lnTo>
                      <a:pt x="439" y="176"/>
                    </a:lnTo>
                    <a:lnTo>
                      <a:pt x="443" y="173"/>
                    </a:lnTo>
                    <a:lnTo>
                      <a:pt x="453" y="173"/>
                    </a:lnTo>
                    <a:lnTo>
                      <a:pt x="467" y="166"/>
                    </a:lnTo>
                    <a:lnTo>
                      <a:pt x="481" y="159"/>
                    </a:lnTo>
                    <a:lnTo>
                      <a:pt x="495" y="145"/>
                    </a:lnTo>
                    <a:lnTo>
                      <a:pt x="505" y="128"/>
                    </a:lnTo>
                    <a:lnTo>
                      <a:pt x="505" y="103"/>
                    </a:lnTo>
                    <a:lnTo>
                      <a:pt x="495" y="76"/>
                    </a:lnTo>
                    <a:lnTo>
                      <a:pt x="495" y="72"/>
                    </a:lnTo>
                    <a:lnTo>
                      <a:pt x="491" y="65"/>
                    </a:lnTo>
                    <a:lnTo>
                      <a:pt x="484" y="62"/>
                    </a:lnTo>
                    <a:lnTo>
                      <a:pt x="478" y="58"/>
                    </a:lnTo>
                    <a:lnTo>
                      <a:pt x="467" y="55"/>
                    </a:lnTo>
                    <a:lnTo>
                      <a:pt x="450" y="48"/>
                    </a:lnTo>
                    <a:lnTo>
                      <a:pt x="429" y="45"/>
                    </a:lnTo>
                    <a:lnTo>
                      <a:pt x="405" y="38"/>
                    </a:lnTo>
                    <a:lnTo>
                      <a:pt x="370" y="31"/>
                    </a:lnTo>
                    <a:lnTo>
                      <a:pt x="329" y="27"/>
                    </a:lnTo>
                    <a:lnTo>
                      <a:pt x="280" y="20"/>
                    </a:lnTo>
                    <a:lnTo>
                      <a:pt x="225" y="13"/>
                    </a:lnTo>
                    <a:lnTo>
                      <a:pt x="159" y="10"/>
                    </a:lnTo>
                    <a:lnTo>
                      <a:pt x="83" y="6"/>
                    </a:lnTo>
                    <a:close/>
                  </a:path>
                </a:pathLst>
              </a:custGeom>
              <a:solidFill>
                <a:srgbClr val="B5B4B4"/>
              </a:solidFill>
              <a:ln w="0">
                <a:solidFill>
                  <a:srgbClr val="B5B4B4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692" name="Freeform 161"/>
              <p:cNvSpPr>
                <a:spLocks/>
              </p:cNvSpPr>
              <p:nvPr/>
            </p:nvSpPr>
            <p:spPr bwMode="auto">
              <a:xfrm>
                <a:off x="568" y="3218"/>
                <a:ext cx="516" cy="173"/>
              </a:xfrm>
              <a:custGeom>
                <a:avLst/>
                <a:gdLst>
                  <a:gd name="T0" fmla="*/ 0 w 516"/>
                  <a:gd name="T1" fmla="*/ 4 h 173"/>
                  <a:gd name="T2" fmla="*/ 429 w 516"/>
                  <a:gd name="T3" fmla="*/ 45 h 173"/>
                  <a:gd name="T4" fmla="*/ 429 w 516"/>
                  <a:gd name="T5" fmla="*/ 45 h 173"/>
                  <a:gd name="T6" fmla="*/ 436 w 516"/>
                  <a:gd name="T7" fmla="*/ 45 h 173"/>
                  <a:gd name="T8" fmla="*/ 450 w 516"/>
                  <a:gd name="T9" fmla="*/ 55 h 173"/>
                  <a:gd name="T10" fmla="*/ 457 w 516"/>
                  <a:gd name="T11" fmla="*/ 62 h 173"/>
                  <a:gd name="T12" fmla="*/ 464 w 516"/>
                  <a:gd name="T13" fmla="*/ 73 h 173"/>
                  <a:gd name="T14" fmla="*/ 467 w 516"/>
                  <a:gd name="T15" fmla="*/ 90 h 173"/>
                  <a:gd name="T16" fmla="*/ 471 w 516"/>
                  <a:gd name="T17" fmla="*/ 111 h 173"/>
                  <a:gd name="T18" fmla="*/ 471 w 516"/>
                  <a:gd name="T19" fmla="*/ 111 h 173"/>
                  <a:gd name="T20" fmla="*/ 467 w 516"/>
                  <a:gd name="T21" fmla="*/ 118 h 173"/>
                  <a:gd name="T22" fmla="*/ 467 w 516"/>
                  <a:gd name="T23" fmla="*/ 125 h 173"/>
                  <a:gd name="T24" fmla="*/ 460 w 516"/>
                  <a:gd name="T25" fmla="*/ 135 h 173"/>
                  <a:gd name="T26" fmla="*/ 450 w 516"/>
                  <a:gd name="T27" fmla="*/ 145 h 173"/>
                  <a:gd name="T28" fmla="*/ 436 w 516"/>
                  <a:gd name="T29" fmla="*/ 156 h 173"/>
                  <a:gd name="T30" fmla="*/ 415 w 516"/>
                  <a:gd name="T31" fmla="*/ 166 h 173"/>
                  <a:gd name="T32" fmla="*/ 387 w 516"/>
                  <a:gd name="T33" fmla="*/ 173 h 173"/>
                  <a:gd name="T34" fmla="*/ 391 w 516"/>
                  <a:gd name="T35" fmla="*/ 170 h 173"/>
                  <a:gd name="T36" fmla="*/ 405 w 516"/>
                  <a:gd name="T37" fmla="*/ 170 h 173"/>
                  <a:gd name="T38" fmla="*/ 429 w 516"/>
                  <a:gd name="T39" fmla="*/ 166 h 173"/>
                  <a:gd name="T40" fmla="*/ 450 w 516"/>
                  <a:gd name="T41" fmla="*/ 159 h 173"/>
                  <a:gd name="T42" fmla="*/ 474 w 516"/>
                  <a:gd name="T43" fmla="*/ 145 h 173"/>
                  <a:gd name="T44" fmla="*/ 495 w 516"/>
                  <a:gd name="T45" fmla="*/ 128 h 173"/>
                  <a:gd name="T46" fmla="*/ 509 w 516"/>
                  <a:gd name="T47" fmla="*/ 104 h 173"/>
                  <a:gd name="T48" fmla="*/ 516 w 516"/>
                  <a:gd name="T49" fmla="*/ 76 h 173"/>
                  <a:gd name="T50" fmla="*/ 512 w 516"/>
                  <a:gd name="T51" fmla="*/ 73 h 173"/>
                  <a:gd name="T52" fmla="*/ 512 w 516"/>
                  <a:gd name="T53" fmla="*/ 62 h 173"/>
                  <a:gd name="T54" fmla="*/ 505 w 516"/>
                  <a:gd name="T55" fmla="*/ 52 h 173"/>
                  <a:gd name="T56" fmla="*/ 498 w 516"/>
                  <a:gd name="T57" fmla="*/ 38 h 173"/>
                  <a:gd name="T58" fmla="*/ 484 w 516"/>
                  <a:gd name="T59" fmla="*/ 21 h 173"/>
                  <a:gd name="T60" fmla="*/ 464 w 516"/>
                  <a:gd name="T61" fmla="*/ 10 h 173"/>
                  <a:gd name="T62" fmla="*/ 436 w 516"/>
                  <a:gd name="T63" fmla="*/ 0 h 173"/>
                  <a:gd name="T64" fmla="*/ 401 w 516"/>
                  <a:gd name="T65" fmla="*/ 0 h 173"/>
                  <a:gd name="T66" fmla="*/ 0 w 516"/>
                  <a:gd name="T67" fmla="*/ 4 h 17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516"/>
                  <a:gd name="T103" fmla="*/ 0 h 173"/>
                  <a:gd name="T104" fmla="*/ 516 w 516"/>
                  <a:gd name="T105" fmla="*/ 173 h 173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516" h="173">
                    <a:moveTo>
                      <a:pt x="0" y="4"/>
                    </a:moveTo>
                    <a:lnTo>
                      <a:pt x="429" y="45"/>
                    </a:lnTo>
                    <a:lnTo>
                      <a:pt x="436" y="45"/>
                    </a:lnTo>
                    <a:lnTo>
                      <a:pt x="450" y="55"/>
                    </a:lnTo>
                    <a:lnTo>
                      <a:pt x="457" y="62"/>
                    </a:lnTo>
                    <a:lnTo>
                      <a:pt x="464" y="73"/>
                    </a:lnTo>
                    <a:lnTo>
                      <a:pt x="467" y="90"/>
                    </a:lnTo>
                    <a:lnTo>
                      <a:pt x="471" y="111"/>
                    </a:lnTo>
                    <a:lnTo>
                      <a:pt x="467" y="118"/>
                    </a:lnTo>
                    <a:lnTo>
                      <a:pt x="467" y="125"/>
                    </a:lnTo>
                    <a:lnTo>
                      <a:pt x="460" y="135"/>
                    </a:lnTo>
                    <a:lnTo>
                      <a:pt x="450" y="145"/>
                    </a:lnTo>
                    <a:lnTo>
                      <a:pt x="436" y="156"/>
                    </a:lnTo>
                    <a:lnTo>
                      <a:pt x="415" y="166"/>
                    </a:lnTo>
                    <a:lnTo>
                      <a:pt x="387" y="173"/>
                    </a:lnTo>
                    <a:lnTo>
                      <a:pt x="391" y="170"/>
                    </a:lnTo>
                    <a:lnTo>
                      <a:pt x="405" y="170"/>
                    </a:lnTo>
                    <a:lnTo>
                      <a:pt x="429" y="166"/>
                    </a:lnTo>
                    <a:lnTo>
                      <a:pt x="450" y="159"/>
                    </a:lnTo>
                    <a:lnTo>
                      <a:pt x="474" y="145"/>
                    </a:lnTo>
                    <a:lnTo>
                      <a:pt x="495" y="128"/>
                    </a:lnTo>
                    <a:lnTo>
                      <a:pt x="509" y="104"/>
                    </a:lnTo>
                    <a:lnTo>
                      <a:pt x="516" y="76"/>
                    </a:lnTo>
                    <a:lnTo>
                      <a:pt x="512" y="73"/>
                    </a:lnTo>
                    <a:lnTo>
                      <a:pt x="512" y="62"/>
                    </a:lnTo>
                    <a:lnTo>
                      <a:pt x="505" y="52"/>
                    </a:lnTo>
                    <a:lnTo>
                      <a:pt x="498" y="38"/>
                    </a:lnTo>
                    <a:lnTo>
                      <a:pt x="484" y="21"/>
                    </a:lnTo>
                    <a:lnTo>
                      <a:pt x="464" y="10"/>
                    </a:lnTo>
                    <a:lnTo>
                      <a:pt x="436" y="0"/>
                    </a:lnTo>
                    <a:lnTo>
                      <a:pt x="401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595554"/>
              </a:solidFill>
              <a:ln w="0">
                <a:solidFill>
                  <a:srgbClr val="595554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693" name="Freeform 162"/>
              <p:cNvSpPr>
                <a:spLocks/>
              </p:cNvSpPr>
              <p:nvPr/>
            </p:nvSpPr>
            <p:spPr bwMode="auto">
              <a:xfrm>
                <a:off x="388" y="3235"/>
                <a:ext cx="522" cy="184"/>
              </a:xfrm>
              <a:custGeom>
                <a:avLst/>
                <a:gdLst>
                  <a:gd name="T0" fmla="*/ 0 w 522"/>
                  <a:gd name="T1" fmla="*/ 0 h 184"/>
                  <a:gd name="T2" fmla="*/ 436 w 522"/>
                  <a:gd name="T3" fmla="*/ 56 h 184"/>
                  <a:gd name="T4" fmla="*/ 436 w 522"/>
                  <a:gd name="T5" fmla="*/ 56 h 184"/>
                  <a:gd name="T6" fmla="*/ 443 w 522"/>
                  <a:gd name="T7" fmla="*/ 59 h 184"/>
                  <a:gd name="T8" fmla="*/ 457 w 522"/>
                  <a:gd name="T9" fmla="*/ 70 h 184"/>
                  <a:gd name="T10" fmla="*/ 471 w 522"/>
                  <a:gd name="T11" fmla="*/ 90 h 184"/>
                  <a:gd name="T12" fmla="*/ 474 w 522"/>
                  <a:gd name="T13" fmla="*/ 104 h 184"/>
                  <a:gd name="T14" fmla="*/ 477 w 522"/>
                  <a:gd name="T15" fmla="*/ 122 h 184"/>
                  <a:gd name="T16" fmla="*/ 477 w 522"/>
                  <a:gd name="T17" fmla="*/ 122 h 184"/>
                  <a:gd name="T18" fmla="*/ 474 w 522"/>
                  <a:gd name="T19" fmla="*/ 128 h 184"/>
                  <a:gd name="T20" fmla="*/ 474 w 522"/>
                  <a:gd name="T21" fmla="*/ 135 h 184"/>
                  <a:gd name="T22" fmla="*/ 467 w 522"/>
                  <a:gd name="T23" fmla="*/ 146 h 184"/>
                  <a:gd name="T24" fmla="*/ 457 w 522"/>
                  <a:gd name="T25" fmla="*/ 156 h 184"/>
                  <a:gd name="T26" fmla="*/ 443 w 522"/>
                  <a:gd name="T27" fmla="*/ 167 h 184"/>
                  <a:gd name="T28" fmla="*/ 422 w 522"/>
                  <a:gd name="T29" fmla="*/ 177 h 184"/>
                  <a:gd name="T30" fmla="*/ 398 w 522"/>
                  <a:gd name="T31" fmla="*/ 184 h 184"/>
                  <a:gd name="T32" fmla="*/ 401 w 522"/>
                  <a:gd name="T33" fmla="*/ 180 h 184"/>
                  <a:gd name="T34" fmla="*/ 415 w 522"/>
                  <a:gd name="T35" fmla="*/ 180 h 184"/>
                  <a:gd name="T36" fmla="*/ 436 w 522"/>
                  <a:gd name="T37" fmla="*/ 177 h 184"/>
                  <a:gd name="T38" fmla="*/ 460 w 522"/>
                  <a:gd name="T39" fmla="*/ 167 h 184"/>
                  <a:gd name="T40" fmla="*/ 484 w 522"/>
                  <a:gd name="T41" fmla="*/ 156 h 184"/>
                  <a:gd name="T42" fmla="*/ 502 w 522"/>
                  <a:gd name="T43" fmla="*/ 139 h 184"/>
                  <a:gd name="T44" fmla="*/ 516 w 522"/>
                  <a:gd name="T45" fmla="*/ 115 h 184"/>
                  <a:gd name="T46" fmla="*/ 522 w 522"/>
                  <a:gd name="T47" fmla="*/ 87 h 184"/>
                  <a:gd name="T48" fmla="*/ 519 w 522"/>
                  <a:gd name="T49" fmla="*/ 83 h 184"/>
                  <a:gd name="T50" fmla="*/ 519 w 522"/>
                  <a:gd name="T51" fmla="*/ 73 h 184"/>
                  <a:gd name="T52" fmla="*/ 516 w 522"/>
                  <a:gd name="T53" fmla="*/ 63 h 184"/>
                  <a:gd name="T54" fmla="*/ 505 w 522"/>
                  <a:gd name="T55" fmla="*/ 49 h 184"/>
                  <a:gd name="T56" fmla="*/ 491 w 522"/>
                  <a:gd name="T57" fmla="*/ 32 h 184"/>
                  <a:gd name="T58" fmla="*/ 471 w 522"/>
                  <a:gd name="T59" fmla="*/ 21 h 184"/>
                  <a:gd name="T60" fmla="*/ 443 w 522"/>
                  <a:gd name="T61" fmla="*/ 11 h 184"/>
                  <a:gd name="T62" fmla="*/ 408 w 522"/>
                  <a:gd name="T63" fmla="*/ 11 h 184"/>
                  <a:gd name="T64" fmla="*/ 0 w 522"/>
                  <a:gd name="T65" fmla="*/ 0 h 18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522"/>
                  <a:gd name="T100" fmla="*/ 0 h 184"/>
                  <a:gd name="T101" fmla="*/ 522 w 522"/>
                  <a:gd name="T102" fmla="*/ 184 h 184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522" h="184">
                    <a:moveTo>
                      <a:pt x="0" y="0"/>
                    </a:moveTo>
                    <a:lnTo>
                      <a:pt x="436" y="56"/>
                    </a:lnTo>
                    <a:lnTo>
                      <a:pt x="443" y="59"/>
                    </a:lnTo>
                    <a:lnTo>
                      <a:pt x="457" y="70"/>
                    </a:lnTo>
                    <a:lnTo>
                      <a:pt x="471" y="90"/>
                    </a:lnTo>
                    <a:lnTo>
                      <a:pt x="474" y="104"/>
                    </a:lnTo>
                    <a:lnTo>
                      <a:pt x="477" y="122"/>
                    </a:lnTo>
                    <a:lnTo>
                      <a:pt x="474" y="128"/>
                    </a:lnTo>
                    <a:lnTo>
                      <a:pt x="474" y="135"/>
                    </a:lnTo>
                    <a:lnTo>
                      <a:pt x="467" y="146"/>
                    </a:lnTo>
                    <a:lnTo>
                      <a:pt x="457" y="156"/>
                    </a:lnTo>
                    <a:lnTo>
                      <a:pt x="443" y="167"/>
                    </a:lnTo>
                    <a:lnTo>
                      <a:pt x="422" y="177"/>
                    </a:lnTo>
                    <a:lnTo>
                      <a:pt x="398" y="184"/>
                    </a:lnTo>
                    <a:lnTo>
                      <a:pt x="401" y="180"/>
                    </a:lnTo>
                    <a:lnTo>
                      <a:pt x="415" y="180"/>
                    </a:lnTo>
                    <a:lnTo>
                      <a:pt x="436" y="177"/>
                    </a:lnTo>
                    <a:lnTo>
                      <a:pt x="460" y="167"/>
                    </a:lnTo>
                    <a:lnTo>
                      <a:pt x="484" y="156"/>
                    </a:lnTo>
                    <a:lnTo>
                      <a:pt x="502" y="139"/>
                    </a:lnTo>
                    <a:lnTo>
                      <a:pt x="516" y="115"/>
                    </a:lnTo>
                    <a:lnTo>
                      <a:pt x="522" y="87"/>
                    </a:lnTo>
                    <a:lnTo>
                      <a:pt x="519" y="83"/>
                    </a:lnTo>
                    <a:lnTo>
                      <a:pt x="519" y="73"/>
                    </a:lnTo>
                    <a:lnTo>
                      <a:pt x="516" y="63"/>
                    </a:lnTo>
                    <a:lnTo>
                      <a:pt x="505" y="49"/>
                    </a:lnTo>
                    <a:lnTo>
                      <a:pt x="491" y="32"/>
                    </a:lnTo>
                    <a:lnTo>
                      <a:pt x="471" y="21"/>
                    </a:lnTo>
                    <a:lnTo>
                      <a:pt x="443" y="11"/>
                    </a:lnTo>
                    <a:lnTo>
                      <a:pt x="408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95554"/>
              </a:solidFill>
              <a:ln w="0">
                <a:solidFill>
                  <a:srgbClr val="595554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694" name="Freeform 163"/>
              <p:cNvSpPr>
                <a:spLocks/>
              </p:cNvSpPr>
              <p:nvPr/>
            </p:nvSpPr>
            <p:spPr bwMode="auto">
              <a:xfrm>
                <a:off x="346" y="3249"/>
                <a:ext cx="506" cy="173"/>
              </a:xfrm>
              <a:custGeom>
                <a:avLst/>
                <a:gdLst>
                  <a:gd name="T0" fmla="*/ 83 w 506"/>
                  <a:gd name="T1" fmla="*/ 7 h 173"/>
                  <a:gd name="T2" fmla="*/ 80 w 506"/>
                  <a:gd name="T3" fmla="*/ 4 h 173"/>
                  <a:gd name="T4" fmla="*/ 70 w 506"/>
                  <a:gd name="T5" fmla="*/ 4 h 173"/>
                  <a:gd name="T6" fmla="*/ 59 w 506"/>
                  <a:gd name="T7" fmla="*/ 0 h 173"/>
                  <a:gd name="T8" fmla="*/ 45 w 506"/>
                  <a:gd name="T9" fmla="*/ 0 h 173"/>
                  <a:gd name="T10" fmla="*/ 32 w 506"/>
                  <a:gd name="T11" fmla="*/ 0 h 173"/>
                  <a:gd name="T12" fmla="*/ 18 w 506"/>
                  <a:gd name="T13" fmla="*/ 7 h 173"/>
                  <a:gd name="T14" fmla="*/ 7 w 506"/>
                  <a:gd name="T15" fmla="*/ 18 h 173"/>
                  <a:gd name="T16" fmla="*/ 4 w 506"/>
                  <a:gd name="T17" fmla="*/ 35 h 173"/>
                  <a:gd name="T18" fmla="*/ 0 w 506"/>
                  <a:gd name="T19" fmla="*/ 35 h 173"/>
                  <a:gd name="T20" fmla="*/ 0 w 506"/>
                  <a:gd name="T21" fmla="*/ 42 h 173"/>
                  <a:gd name="T22" fmla="*/ 4 w 506"/>
                  <a:gd name="T23" fmla="*/ 49 h 173"/>
                  <a:gd name="T24" fmla="*/ 14 w 506"/>
                  <a:gd name="T25" fmla="*/ 59 h 173"/>
                  <a:gd name="T26" fmla="*/ 28 w 506"/>
                  <a:gd name="T27" fmla="*/ 73 h 173"/>
                  <a:gd name="T28" fmla="*/ 56 w 506"/>
                  <a:gd name="T29" fmla="*/ 83 h 173"/>
                  <a:gd name="T30" fmla="*/ 73 w 506"/>
                  <a:gd name="T31" fmla="*/ 90 h 173"/>
                  <a:gd name="T32" fmla="*/ 94 w 506"/>
                  <a:gd name="T33" fmla="*/ 97 h 173"/>
                  <a:gd name="T34" fmla="*/ 115 w 506"/>
                  <a:gd name="T35" fmla="*/ 104 h 173"/>
                  <a:gd name="T36" fmla="*/ 146 w 506"/>
                  <a:gd name="T37" fmla="*/ 111 h 173"/>
                  <a:gd name="T38" fmla="*/ 443 w 506"/>
                  <a:gd name="T39" fmla="*/ 173 h 173"/>
                  <a:gd name="T40" fmla="*/ 447 w 506"/>
                  <a:gd name="T41" fmla="*/ 170 h 173"/>
                  <a:gd name="T42" fmla="*/ 457 w 506"/>
                  <a:gd name="T43" fmla="*/ 170 h 173"/>
                  <a:gd name="T44" fmla="*/ 471 w 506"/>
                  <a:gd name="T45" fmla="*/ 163 h 173"/>
                  <a:gd name="T46" fmla="*/ 485 w 506"/>
                  <a:gd name="T47" fmla="*/ 156 h 173"/>
                  <a:gd name="T48" fmla="*/ 499 w 506"/>
                  <a:gd name="T49" fmla="*/ 142 h 173"/>
                  <a:gd name="T50" fmla="*/ 506 w 506"/>
                  <a:gd name="T51" fmla="*/ 125 h 173"/>
                  <a:gd name="T52" fmla="*/ 506 w 506"/>
                  <a:gd name="T53" fmla="*/ 101 h 173"/>
                  <a:gd name="T54" fmla="*/ 499 w 506"/>
                  <a:gd name="T55" fmla="*/ 73 h 173"/>
                  <a:gd name="T56" fmla="*/ 499 w 506"/>
                  <a:gd name="T57" fmla="*/ 69 h 173"/>
                  <a:gd name="T58" fmla="*/ 495 w 506"/>
                  <a:gd name="T59" fmla="*/ 63 h 173"/>
                  <a:gd name="T60" fmla="*/ 488 w 506"/>
                  <a:gd name="T61" fmla="*/ 59 h 173"/>
                  <a:gd name="T62" fmla="*/ 481 w 506"/>
                  <a:gd name="T63" fmla="*/ 56 h 173"/>
                  <a:gd name="T64" fmla="*/ 471 w 506"/>
                  <a:gd name="T65" fmla="*/ 52 h 173"/>
                  <a:gd name="T66" fmla="*/ 454 w 506"/>
                  <a:gd name="T67" fmla="*/ 45 h 173"/>
                  <a:gd name="T68" fmla="*/ 433 w 506"/>
                  <a:gd name="T69" fmla="*/ 42 h 173"/>
                  <a:gd name="T70" fmla="*/ 405 w 506"/>
                  <a:gd name="T71" fmla="*/ 35 h 173"/>
                  <a:gd name="T72" fmla="*/ 374 w 506"/>
                  <a:gd name="T73" fmla="*/ 31 h 173"/>
                  <a:gd name="T74" fmla="*/ 333 w 506"/>
                  <a:gd name="T75" fmla="*/ 24 h 173"/>
                  <a:gd name="T76" fmla="*/ 284 w 506"/>
                  <a:gd name="T77" fmla="*/ 21 h 173"/>
                  <a:gd name="T78" fmla="*/ 225 w 506"/>
                  <a:gd name="T79" fmla="*/ 14 h 173"/>
                  <a:gd name="T80" fmla="*/ 160 w 506"/>
                  <a:gd name="T81" fmla="*/ 11 h 173"/>
                  <a:gd name="T82" fmla="*/ 83 w 506"/>
                  <a:gd name="T83" fmla="*/ 7 h 17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506"/>
                  <a:gd name="T127" fmla="*/ 0 h 173"/>
                  <a:gd name="T128" fmla="*/ 506 w 506"/>
                  <a:gd name="T129" fmla="*/ 173 h 173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506" h="173">
                    <a:moveTo>
                      <a:pt x="83" y="7"/>
                    </a:moveTo>
                    <a:lnTo>
                      <a:pt x="80" y="4"/>
                    </a:lnTo>
                    <a:lnTo>
                      <a:pt x="70" y="4"/>
                    </a:lnTo>
                    <a:lnTo>
                      <a:pt x="59" y="0"/>
                    </a:lnTo>
                    <a:lnTo>
                      <a:pt x="45" y="0"/>
                    </a:lnTo>
                    <a:lnTo>
                      <a:pt x="32" y="0"/>
                    </a:lnTo>
                    <a:lnTo>
                      <a:pt x="18" y="7"/>
                    </a:lnTo>
                    <a:lnTo>
                      <a:pt x="7" y="18"/>
                    </a:lnTo>
                    <a:lnTo>
                      <a:pt x="4" y="35"/>
                    </a:lnTo>
                    <a:lnTo>
                      <a:pt x="0" y="35"/>
                    </a:lnTo>
                    <a:lnTo>
                      <a:pt x="0" y="42"/>
                    </a:lnTo>
                    <a:lnTo>
                      <a:pt x="4" y="49"/>
                    </a:lnTo>
                    <a:lnTo>
                      <a:pt x="14" y="59"/>
                    </a:lnTo>
                    <a:lnTo>
                      <a:pt x="28" y="73"/>
                    </a:lnTo>
                    <a:lnTo>
                      <a:pt x="56" y="83"/>
                    </a:lnTo>
                    <a:lnTo>
                      <a:pt x="73" y="90"/>
                    </a:lnTo>
                    <a:lnTo>
                      <a:pt x="94" y="97"/>
                    </a:lnTo>
                    <a:lnTo>
                      <a:pt x="115" y="104"/>
                    </a:lnTo>
                    <a:lnTo>
                      <a:pt x="146" y="111"/>
                    </a:lnTo>
                    <a:lnTo>
                      <a:pt x="443" y="173"/>
                    </a:lnTo>
                    <a:lnTo>
                      <a:pt x="447" y="170"/>
                    </a:lnTo>
                    <a:lnTo>
                      <a:pt x="457" y="170"/>
                    </a:lnTo>
                    <a:lnTo>
                      <a:pt x="471" y="163"/>
                    </a:lnTo>
                    <a:lnTo>
                      <a:pt x="485" y="156"/>
                    </a:lnTo>
                    <a:lnTo>
                      <a:pt x="499" y="142"/>
                    </a:lnTo>
                    <a:lnTo>
                      <a:pt x="506" y="125"/>
                    </a:lnTo>
                    <a:lnTo>
                      <a:pt x="506" y="101"/>
                    </a:lnTo>
                    <a:lnTo>
                      <a:pt x="499" y="73"/>
                    </a:lnTo>
                    <a:lnTo>
                      <a:pt x="499" y="69"/>
                    </a:lnTo>
                    <a:lnTo>
                      <a:pt x="495" y="63"/>
                    </a:lnTo>
                    <a:lnTo>
                      <a:pt x="488" y="59"/>
                    </a:lnTo>
                    <a:lnTo>
                      <a:pt x="481" y="56"/>
                    </a:lnTo>
                    <a:lnTo>
                      <a:pt x="471" y="52"/>
                    </a:lnTo>
                    <a:lnTo>
                      <a:pt x="454" y="45"/>
                    </a:lnTo>
                    <a:lnTo>
                      <a:pt x="433" y="42"/>
                    </a:lnTo>
                    <a:lnTo>
                      <a:pt x="405" y="35"/>
                    </a:lnTo>
                    <a:lnTo>
                      <a:pt x="374" y="31"/>
                    </a:lnTo>
                    <a:lnTo>
                      <a:pt x="333" y="24"/>
                    </a:lnTo>
                    <a:lnTo>
                      <a:pt x="284" y="21"/>
                    </a:lnTo>
                    <a:lnTo>
                      <a:pt x="225" y="14"/>
                    </a:lnTo>
                    <a:lnTo>
                      <a:pt x="160" y="11"/>
                    </a:lnTo>
                    <a:lnTo>
                      <a:pt x="83" y="7"/>
                    </a:lnTo>
                    <a:close/>
                  </a:path>
                </a:pathLst>
              </a:custGeom>
              <a:solidFill>
                <a:srgbClr val="B5B4B4"/>
              </a:solidFill>
              <a:ln w="0">
                <a:solidFill>
                  <a:srgbClr val="B5B4B4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695" name="Freeform 164"/>
              <p:cNvSpPr>
                <a:spLocks/>
              </p:cNvSpPr>
              <p:nvPr/>
            </p:nvSpPr>
            <p:spPr bwMode="auto">
              <a:xfrm>
                <a:off x="1087" y="3246"/>
                <a:ext cx="31" cy="27"/>
              </a:xfrm>
              <a:custGeom>
                <a:avLst/>
                <a:gdLst>
                  <a:gd name="T0" fmla="*/ 31 w 31"/>
                  <a:gd name="T1" fmla="*/ 0 h 27"/>
                  <a:gd name="T2" fmla="*/ 28 w 31"/>
                  <a:gd name="T3" fmla="*/ 3 h 27"/>
                  <a:gd name="T4" fmla="*/ 21 w 31"/>
                  <a:gd name="T5" fmla="*/ 14 h 27"/>
                  <a:gd name="T6" fmla="*/ 10 w 31"/>
                  <a:gd name="T7" fmla="*/ 21 h 27"/>
                  <a:gd name="T8" fmla="*/ 0 w 31"/>
                  <a:gd name="T9" fmla="*/ 27 h 27"/>
                  <a:gd name="T10" fmla="*/ 3 w 31"/>
                  <a:gd name="T11" fmla="*/ 27 h 27"/>
                  <a:gd name="T12" fmla="*/ 14 w 31"/>
                  <a:gd name="T13" fmla="*/ 27 h 27"/>
                  <a:gd name="T14" fmla="*/ 21 w 31"/>
                  <a:gd name="T15" fmla="*/ 24 h 27"/>
                  <a:gd name="T16" fmla="*/ 24 w 31"/>
                  <a:gd name="T17" fmla="*/ 21 h 27"/>
                  <a:gd name="T18" fmla="*/ 28 w 31"/>
                  <a:gd name="T19" fmla="*/ 10 h 27"/>
                  <a:gd name="T20" fmla="*/ 31 w 31"/>
                  <a:gd name="T21" fmla="*/ 0 h 2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1"/>
                  <a:gd name="T34" fmla="*/ 0 h 27"/>
                  <a:gd name="T35" fmla="*/ 31 w 31"/>
                  <a:gd name="T36" fmla="*/ 27 h 27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1" h="27">
                    <a:moveTo>
                      <a:pt x="31" y="0"/>
                    </a:moveTo>
                    <a:lnTo>
                      <a:pt x="28" y="3"/>
                    </a:lnTo>
                    <a:lnTo>
                      <a:pt x="21" y="14"/>
                    </a:lnTo>
                    <a:lnTo>
                      <a:pt x="10" y="21"/>
                    </a:lnTo>
                    <a:lnTo>
                      <a:pt x="0" y="27"/>
                    </a:lnTo>
                    <a:lnTo>
                      <a:pt x="3" y="27"/>
                    </a:lnTo>
                    <a:lnTo>
                      <a:pt x="14" y="27"/>
                    </a:lnTo>
                    <a:lnTo>
                      <a:pt x="21" y="24"/>
                    </a:lnTo>
                    <a:lnTo>
                      <a:pt x="24" y="21"/>
                    </a:lnTo>
                    <a:lnTo>
                      <a:pt x="28" y="10"/>
                    </a:lnTo>
                    <a:lnTo>
                      <a:pt x="31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696" name="Freeform 165"/>
              <p:cNvSpPr>
                <a:spLocks/>
              </p:cNvSpPr>
              <p:nvPr/>
            </p:nvSpPr>
            <p:spPr bwMode="auto">
              <a:xfrm>
                <a:off x="949" y="3215"/>
                <a:ext cx="138" cy="166"/>
              </a:xfrm>
              <a:custGeom>
                <a:avLst/>
                <a:gdLst>
                  <a:gd name="T0" fmla="*/ 0 w 138"/>
                  <a:gd name="T1" fmla="*/ 3 h 166"/>
                  <a:gd name="T2" fmla="*/ 3 w 138"/>
                  <a:gd name="T3" fmla="*/ 0 h 166"/>
                  <a:gd name="T4" fmla="*/ 20 w 138"/>
                  <a:gd name="T5" fmla="*/ 0 h 166"/>
                  <a:gd name="T6" fmla="*/ 41 w 138"/>
                  <a:gd name="T7" fmla="*/ 0 h 166"/>
                  <a:gd name="T8" fmla="*/ 69 w 138"/>
                  <a:gd name="T9" fmla="*/ 7 h 166"/>
                  <a:gd name="T10" fmla="*/ 93 w 138"/>
                  <a:gd name="T11" fmla="*/ 17 h 166"/>
                  <a:gd name="T12" fmla="*/ 114 w 138"/>
                  <a:gd name="T13" fmla="*/ 34 h 166"/>
                  <a:gd name="T14" fmla="*/ 131 w 138"/>
                  <a:gd name="T15" fmla="*/ 62 h 166"/>
                  <a:gd name="T16" fmla="*/ 135 w 138"/>
                  <a:gd name="T17" fmla="*/ 79 h 166"/>
                  <a:gd name="T18" fmla="*/ 138 w 138"/>
                  <a:gd name="T19" fmla="*/ 103 h 166"/>
                  <a:gd name="T20" fmla="*/ 135 w 138"/>
                  <a:gd name="T21" fmla="*/ 103 h 166"/>
                  <a:gd name="T22" fmla="*/ 135 w 138"/>
                  <a:gd name="T23" fmla="*/ 114 h 166"/>
                  <a:gd name="T24" fmla="*/ 131 w 138"/>
                  <a:gd name="T25" fmla="*/ 124 h 166"/>
                  <a:gd name="T26" fmla="*/ 124 w 138"/>
                  <a:gd name="T27" fmla="*/ 135 h 166"/>
                  <a:gd name="T28" fmla="*/ 114 w 138"/>
                  <a:gd name="T29" fmla="*/ 148 h 166"/>
                  <a:gd name="T30" fmla="*/ 100 w 138"/>
                  <a:gd name="T31" fmla="*/ 159 h 166"/>
                  <a:gd name="T32" fmla="*/ 76 w 138"/>
                  <a:gd name="T33" fmla="*/ 162 h 166"/>
                  <a:gd name="T34" fmla="*/ 48 w 138"/>
                  <a:gd name="T35" fmla="*/ 166 h 166"/>
                  <a:gd name="T36" fmla="*/ 51 w 138"/>
                  <a:gd name="T37" fmla="*/ 166 h 166"/>
                  <a:gd name="T38" fmla="*/ 62 w 138"/>
                  <a:gd name="T39" fmla="*/ 162 h 166"/>
                  <a:gd name="T40" fmla="*/ 76 w 138"/>
                  <a:gd name="T41" fmla="*/ 159 h 166"/>
                  <a:gd name="T42" fmla="*/ 93 w 138"/>
                  <a:gd name="T43" fmla="*/ 155 h 166"/>
                  <a:gd name="T44" fmla="*/ 107 w 138"/>
                  <a:gd name="T45" fmla="*/ 142 h 166"/>
                  <a:gd name="T46" fmla="*/ 121 w 138"/>
                  <a:gd name="T47" fmla="*/ 124 h 166"/>
                  <a:gd name="T48" fmla="*/ 128 w 138"/>
                  <a:gd name="T49" fmla="*/ 97 h 166"/>
                  <a:gd name="T50" fmla="*/ 128 w 138"/>
                  <a:gd name="T51" fmla="*/ 62 h 166"/>
                  <a:gd name="T52" fmla="*/ 124 w 138"/>
                  <a:gd name="T53" fmla="*/ 58 h 166"/>
                  <a:gd name="T54" fmla="*/ 124 w 138"/>
                  <a:gd name="T55" fmla="*/ 52 h 166"/>
                  <a:gd name="T56" fmla="*/ 117 w 138"/>
                  <a:gd name="T57" fmla="*/ 41 h 166"/>
                  <a:gd name="T58" fmla="*/ 107 w 138"/>
                  <a:gd name="T59" fmla="*/ 31 h 166"/>
                  <a:gd name="T60" fmla="*/ 93 w 138"/>
                  <a:gd name="T61" fmla="*/ 17 h 166"/>
                  <a:gd name="T62" fmla="*/ 69 w 138"/>
                  <a:gd name="T63" fmla="*/ 10 h 166"/>
                  <a:gd name="T64" fmla="*/ 38 w 138"/>
                  <a:gd name="T65" fmla="*/ 3 h 166"/>
                  <a:gd name="T66" fmla="*/ 0 w 138"/>
                  <a:gd name="T67" fmla="*/ 3 h 16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38"/>
                  <a:gd name="T103" fmla="*/ 0 h 166"/>
                  <a:gd name="T104" fmla="*/ 138 w 138"/>
                  <a:gd name="T105" fmla="*/ 166 h 16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38" h="166">
                    <a:moveTo>
                      <a:pt x="0" y="3"/>
                    </a:moveTo>
                    <a:lnTo>
                      <a:pt x="3" y="0"/>
                    </a:lnTo>
                    <a:lnTo>
                      <a:pt x="20" y="0"/>
                    </a:lnTo>
                    <a:lnTo>
                      <a:pt x="41" y="0"/>
                    </a:lnTo>
                    <a:lnTo>
                      <a:pt x="69" y="7"/>
                    </a:lnTo>
                    <a:lnTo>
                      <a:pt x="93" y="17"/>
                    </a:lnTo>
                    <a:lnTo>
                      <a:pt x="114" y="34"/>
                    </a:lnTo>
                    <a:lnTo>
                      <a:pt x="131" y="62"/>
                    </a:lnTo>
                    <a:lnTo>
                      <a:pt x="135" y="79"/>
                    </a:lnTo>
                    <a:lnTo>
                      <a:pt x="138" y="103"/>
                    </a:lnTo>
                    <a:lnTo>
                      <a:pt x="135" y="103"/>
                    </a:lnTo>
                    <a:lnTo>
                      <a:pt x="135" y="114"/>
                    </a:lnTo>
                    <a:lnTo>
                      <a:pt x="131" y="124"/>
                    </a:lnTo>
                    <a:lnTo>
                      <a:pt x="124" y="135"/>
                    </a:lnTo>
                    <a:lnTo>
                      <a:pt x="114" y="148"/>
                    </a:lnTo>
                    <a:lnTo>
                      <a:pt x="100" y="159"/>
                    </a:lnTo>
                    <a:lnTo>
                      <a:pt x="76" y="162"/>
                    </a:lnTo>
                    <a:lnTo>
                      <a:pt x="48" y="166"/>
                    </a:lnTo>
                    <a:lnTo>
                      <a:pt x="51" y="166"/>
                    </a:lnTo>
                    <a:lnTo>
                      <a:pt x="62" y="162"/>
                    </a:lnTo>
                    <a:lnTo>
                      <a:pt x="76" y="159"/>
                    </a:lnTo>
                    <a:lnTo>
                      <a:pt x="93" y="155"/>
                    </a:lnTo>
                    <a:lnTo>
                      <a:pt x="107" y="142"/>
                    </a:lnTo>
                    <a:lnTo>
                      <a:pt x="121" y="124"/>
                    </a:lnTo>
                    <a:lnTo>
                      <a:pt x="128" y="97"/>
                    </a:lnTo>
                    <a:lnTo>
                      <a:pt x="128" y="62"/>
                    </a:lnTo>
                    <a:lnTo>
                      <a:pt x="124" y="58"/>
                    </a:lnTo>
                    <a:lnTo>
                      <a:pt x="124" y="52"/>
                    </a:lnTo>
                    <a:lnTo>
                      <a:pt x="117" y="41"/>
                    </a:lnTo>
                    <a:lnTo>
                      <a:pt x="107" y="31"/>
                    </a:lnTo>
                    <a:lnTo>
                      <a:pt x="93" y="17"/>
                    </a:lnTo>
                    <a:lnTo>
                      <a:pt x="69" y="10"/>
                    </a:lnTo>
                    <a:lnTo>
                      <a:pt x="38" y="3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697" name="Freeform 166"/>
              <p:cNvSpPr>
                <a:spLocks/>
              </p:cNvSpPr>
              <p:nvPr/>
            </p:nvSpPr>
            <p:spPr bwMode="auto">
              <a:xfrm>
                <a:off x="886" y="3232"/>
                <a:ext cx="142" cy="166"/>
              </a:xfrm>
              <a:custGeom>
                <a:avLst/>
                <a:gdLst>
                  <a:gd name="T0" fmla="*/ 0 w 142"/>
                  <a:gd name="T1" fmla="*/ 3 h 166"/>
                  <a:gd name="T2" fmla="*/ 4 w 142"/>
                  <a:gd name="T3" fmla="*/ 0 h 166"/>
                  <a:gd name="T4" fmla="*/ 21 w 142"/>
                  <a:gd name="T5" fmla="*/ 0 h 166"/>
                  <a:gd name="T6" fmla="*/ 45 w 142"/>
                  <a:gd name="T7" fmla="*/ 0 h 166"/>
                  <a:gd name="T8" fmla="*/ 69 w 142"/>
                  <a:gd name="T9" fmla="*/ 7 h 166"/>
                  <a:gd name="T10" fmla="*/ 97 w 142"/>
                  <a:gd name="T11" fmla="*/ 17 h 166"/>
                  <a:gd name="T12" fmla="*/ 118 w 142"/>
                  <a:gd name="T13" fmla="*/ 35 h 166"/>
                  <a:gd name="T14" fmla="*/ 135 w 142"/>
                  <a:gd name="T15" fmla="*/ 62 h 166"/>
                  <a:gd name="T16" fmla="*/ 139 w 142"/>
                  <a:gd name="T17" fmla="*/ 80 h 166"/>
                  <a:gd name="T18" fmla="*/ 142 w 142"/>
                  <a:gd name="T19" fmla="*/ 104 h 166"/>
                  <a:gd name="T20" fmla="*/ 139 w 142"/>
                  <a:gd name="T21" fmla="*/ 104 h 166"/>
                  <a:gd name="T22" fmla="*/ 139 w 142"/>
                  <a:gd name="T23" fmla="*/ 111 h 166"/>
                  <a:gd name="T24" fmla="*/ 135 w 142"/>
                  <a:gd name="T25" fmla="*/ 121 h 166"/>
                  <a:gd name="T26" fmla="*/ 128 w 142"/>
                  <a:gd name="T27" fmla="*/ 135 h 166"/>
                  <a:gd name="T28" fmla="*/ 118 w 142"/>
                  <a:gd name="T29" fmla="*/ 145 h 166"/>
                  <a:gd name="T30" fmla="*/ 101 w 142"/>
                  <a:gd name="T31" fmla="*/ 156 h 166"/>
                  <a:gd name="T32" fmla="*/ 80 w 142"/>
                  <a:gd name="T33" fmla="*/ 163 h 166"/>
                  <a:gd name="T34" fmla="*/ 56 w 142"/>
                  <a:gd name="T35" fmla="*/ 166 h 166"/>
                  <a:gd name="T36" fmla="*/ 59 w 142"/>
                  <a:gd name="T37" fmla="*/ 166 h 166"/>
                  <a:gd name="T38" fmla="*/ 69 w 142"/>
                  <a:gd name="T39" fmla="*/ 163 h 166"/>
                  <a:gd name="T40" fmla="*/ 80 w 142"/>
                  <a:gd name="T41" fmla="*/ 159 h 166"/>
                  <a:gd name="T42" fmla="*/ 97 w 142"/>
                  <a:gd name="T43" fmla="*/ 156 h 166"/>
                  <a:gd name="T44" fmla="*/ 111 w 142"/>
                  <a:gd name="T45" fmla="*/ 142 h 166"/>
                  <a:gd name="T46" fmla="*/ 121 w 142"/>
                  <a:gd name="T47" fmla="*/ 125 h 166"/>
                  <a:gd name="T48" fmla="*/ 128 w 142"/>
                  <a:gd name="T49" fmla="*/ 97 h 166"/>
                  <a:gd name="T50" fmla="*/ 128 w 142"/>
                  <a:gd name="T51" fmla="*/ 62 h 166"/>
                  <a:gd name="T52" fmla="*/ 125 w 142"/>
                  <a:gd name="T53" fmla="*/ 59 h 166"/>
                  <a:gd name="T54" fmla="*/ 125 w 142"/>
                  <a:gd name="T55" fmla="*/ 52 h 166"/>
                  <a:gd name="T56" fmla="*/ 118 w 142"/>
                  <a:gd name="T57" fmla="*/ 41 h 166"/>
                  <a:gd name="T58" fmla="*/ 111 w 142"/>
                  <a:gd name="T59" fmla="*/ 31 h 166"/>
                  <a:gd name="T60" fmla="*/ 94 w 142"/>
                  <a:gd name="T61" fmla="*/ 17 h 166"/>
                  <a:gd name="T62" fmla="*/ 73 w 142"/>
                  <a:gd name="T63" fmla="*/ 10 h 166"/>
                  <a:gd name="T64" fmla="*/ 38 w 142"/>
                  <a:gd name="T65" fmla="*/ 3 h 166"/>
                  <a:gd name="T66" fmla="*/ 0 w 142"/>
                  <a:gd name="T67" fmla="*/ 3 h 16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42"/>
                  <a:gd name="T103" fmla="*/ 0 h 166"/>
                  <a:gd name="T104" fmla="*/ 142 w 142"/>
                  <a:gd name="T105" fmla="*/ 166 h 16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42" h="166">
                    <a:moveTo>
                      <a:pt x="0" y="3"/>
                    </a:moveTo>
                    <a:lnTo>
                      <a:pt x="4" y="0"/>
                    </a:lnTo>
                    <a:lnTo>
                      <a:pt x="21" y="0"/>
                    </a:lnTo>
                    <a:lnTo>
                      <a:pt x="45" y="0"/>
                    </a:lnTo>
                    <a:lnTo>
                      <a:pt x="69" y="7"/>
                    </a:lnTo>
                    <a:lnTo>
                      <a:pt x="97" y="17"/>
                    </a:lnTo>
                    <a:lnTo>
                      <a:pt x="118" y="35"/>
                    </a:lnTo>
                    <a:lnTo>
                      <a:pt x="135" y="62"/>
                    </a:lnTo>
                    <a:lnTo>
                      <a:pt x="139" y="80"/>
                    </a:lnTo>
                    <a:lnTo>
                      <a:pt x="142" y="104"/>
                    </a:lnTo>
                    <a:lnTo>
                      <a:pt x="139" y="104"/>
                    </a:lnTo>
                    <a:lnTo>
                      <a:pt x="139" y="111"/>
                    </a:lnTo>
                    <a:lnTo>
                      <a:pt x="135" y="121"/>
                    </a:lnTo>
                    <a:lnTo>
                      <a:pt x="128" y="135"/>
                    </a:lnTo>
                    <a:lnTo>
                      <a:pt x="118" y="145"/>
                    </a:lnTo>
                    <a:lnTo>
                      <a:pt x="101" y="156"/>
                    </a:lnTo>
                    <a:lnTo>
                      <a:pt x="80" y="163"/>
                    </a:lnTo>
                    <a:lnTo>
                      <a:pt x="56" y="166"/>
                    </a:lnTo>
                    <a:lnTo>
                      <a:pt x="59" y="166"/>
                    </a:lnTo>
                    <a:lnTo>
                      <a:pt x="69" y="163"/>
                    </a:lnTo>
                    <a:lnTo>
                      <a:pt x="80" y="159"/>
                    </a:lnTo>
                    <a:lnTo>
                      <a:pt x="97" y="156"/>
                    </a:lnTo>
                    <a:lnTo>
                      <a:pt x="111" y="142"/>
                    </a:lnTo>
                    <a:lnTo>
                      <a:pt x="121" y="125"/>
                    </a:lnTo>
                    <a:lnTo>
                      <a:pt x="128" y="97"/>
                    </a:lnTo>
                    <a:lnTo>
                      <a:pt x="128" y="62"/>
                    </a:lnTo>
                    <a:lnTo>
                      <a:pt x="125" y="59"/>
                    </a:lnTo>
                    <a:lnTo>
                      <a:pt x="125" y="52"/>
                    </a:lnTo>
                    <a:lnTo>
                      <a:pt x="118" y="41"/>
                    </a:lnTo>
                    <a:lnTo>
                      <a:pt x="111" y="31"/>
                    </a:lnTo>
                    <a:lnTo>
                      <a:pt x="94" y="17"/>
                    </a:lnTo>
                    <a:lnTo>
                      <a:pt x="73" y="10"/>
                    </a:lnTo>
                    <a:lnTo>
                      <a:pt x="38" y="3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698" name="Freeform 167"/>
              <p:cNvSpPr>
                <a:spLocks/>
              </p:cNvSpPr>
              <p:nvPr/>
            </p:nvSpPr>
            <p:spPr bwMode="auto">
              <a:xfrm>
                <a:off x="782" y="3249"/>
                <a:ext cx="139" cy="166"/>
              </a:xfrm>
              <a:custGeom>
                <a:avLst/>
                <a:gdLst>
                  <a:gd name="T0" fmla="*/ 0 w 139"/>
                  <a:gd name="T1" fmla="*/ 4 h 166"/>
                  <a:gd name="T2" fmla="*/ 4 w 139"/>
                  <a:gd name="T3" fmla="*/ 0 h 166"/>
                  <a:gd name="T4" fmla="*/ 21 w 139"/>
                  <a:gd name="T5" fmla="*/ 0 h 166"/>
                  <a:gd name="T6" fmla="*/ 42 w 139"/>
                  <a:gd name="T7" fmla="*/ 0 h 166"/>
                  <a:gd name="T8" fmla="*/ 70 w 139"/>
                  <a:gd name="T9" fmla="*/ 7 h 166"/>
                  <a:gd name="T10" fmla="*/ 94 w 139"/>
                  <a:gd name="T11" fmla="*/ 18 h 166"/>
                  <a:gd name="T12" fmla="*/ 115 w 139"/>
                  <a:gd name="T13" fmla="*/ 35 h 166"/>
                  <a:gd name="T14" fmla="*/ 132 w 139"/>
                  <a:gd name="T15" fmla="*/ 63 h 166"/>
                  <a:gd name="T16" fmla="*/ 135 w 139"/>
                  <a:gd name="T17" fmla="*/ 80 h 166"/>
                  <a:gd name="T18" fmla="*/ 139 w 139"/>
                  <a:gd name="T19" fmla="*/ 104 h 166"/>
                  <a:gd name="T20" fmla="*/ 135 w 139"/>
                  <a:gd name="T21" fmla="*/ 104 h 166"/>
                  <a:gd name="T22" fmla="*/ 135 w 139"/>
                  <a:gd name="T23" fmla="*/ 114 h 166"/>
                  <a:gd name="T24" fmla="*/ 132 w 139"/>
                  <a:gd name="T25" fmla="*/ 125 h 166"/>
                  <a:gd name="T26" fmla="*/ 125 w 139"/>
                  <a:gd name="T27" fmla="*/ 135 h 166"/>
                  <a:gd name="T28" fmla="*/ 115 w 139"/>
                  <a:gd name="T29" fmla="*/ 149 h 166"/>
                  <a:gd name="T30" fmla="*/ 97 w 139"/>
                  <a:gd name="T31" fmla="*/ 159 h 166"/>
                  <a:gd name="T32" fmla="*/ 77 w 139"/>
                  <a:gd name="T33" fmla="*/ 163 h 166"/>
                  <a:gd name="T34" fmla="*/ 49 w 139"/>
                  <a:gd name="T35" fmla="*/ 166 h 166"/>
                  <a:gd name="T36" fmla="*/ 52 w 139"/>
                  <a:gd name="T37" fmla="*/ 166 h 166"/>
                  <a:gd name="T38" fmla="*/ 63 w 139"/>
                  <a:gd name="T39" fmla="*/ 163 h 166"/>
                  <a:gd name="T40" fmla="*/ 77 w 139"/>
                  <a:gd name="T41" fmla="*/ 159 h 166"/>
                  <a:gd name="T42" fmla="*/ 94 w 139"/>
                  <a:gd name="T43" fmla="*/ 156 h 166"/>
                  <a:gd name="T44" fmla="*/ 108 w 139"/>
                  <a:gd name="T45" fmla="*/ 142 h 166"/>
                  <a:gd name="T46" fmla="*/ 122 w 139"/>
                  <a:gd name="T47" fmla="*/ 125 h 166"/>
                  <a:gd name="T48" fmla="*/ 125 w 139"/>
                  <a:gd name="T49" fmla="*/ 97 h 166"/>
                  <a:gd name="T50" fmla="*/ 125 w 139"/>
                  <a:gd name="T51" fmla="*/ 63 h 166"/>
                  <a:gd name="T52" fmla="*/ 122 w 139"/>
                  <a:gd name="T53" fmla="*/ 59 h 166"/>
                  <a:gd name="T54" fmla="*/ 122 w 139"/>
                  <a:gd name="T55" fmla="*/ 52 h 166"/>
                  <a:gd name="T56" fmla="*/ 115 w 139"/>
                  <a:gd name="T57" fmla="*/ 42 h 166"/>
                  <a:gd name="T58" fmla="*/ 108 w 139"/>
                  <a:gd name="T59" fmla="*/ 31 h 166"/>
                  <a:gd name="T60" fmla="*/ 90 w 139"/>
                  <a:gd name="T61" fmla="*/ 21 h 166"/>
                  <a:gd name="T62" fmla="*/ 70 w 139"/>
                  <a:gd name="T63" fmla="*/ 11 h 166"/>
                  <a:gd name="T64" fmla="*/ 39 w 139"/>
                  <a:gd name="T65" fmla="*/ 4 h 166"/>
                  <a:gd name="T66" fmla="*/ 0 w 139"/>
                  <a:gd name="T67" fmla="*/ 4 h 16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39"/>
                  <a:gd name="T103" fmla="*/ 0 h 166"/>
                  <a:gd name="T104" fmla="*/ 139 w 139"/>
                  <a:gd name="T105" fmla="*/ 166 h 16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39" h="166">
                    <a:moveTo>
                      <a:pt x="0" y="4"/>
                    </a:moveTo>
                    <a:lnTo>
                      <a:pt x="4" y="0"/>
                    </a:lnTo>
                    <a:lnTo>
                      <a:pt x="21" y="0"/>
                    </a:lnTo>
                    <a:lnTo>
                      <a:pt x="42" y="0"/>
                    </a:lnTo>
                    <a:lnTo>
                      <a:pt x="70" y="7"/>
                    </a:lnTo>
                    <a:lnTo>
                      <a:pt x="94" y="18"/>
                    </a:lnTo>
                    <a:lnTo>
                      <a:pt x="115" y="35"/>
                    </a:lnTo>
                    <a:lnTo>
                      <a:pt x="132" y="63"/>
                    </a:lnTo>
                    <a:lnTo>
                      <a:pt x="135" y="80"/>
                    </a:lnTo>
                    <a:lnTo>
                      <a:pt x="139" y="104"/>
                    </a:lnTo>
                    <a:lnTo>
                      <a:pt x="135" y="104"/>
                    </a:lnTo>
                    <a:lnTo>
                      <a:pt x="135" y="114"/>
                    </a:lnTo>
                    <a:lnTo>
                      <a:pt x="132" y="125"/>
                    </a:lnTo>
                    <a:lnTo>
                      <a:pt x="125" y="135"/>
                    </a:lnTo>
                    <a:lnTo>
                      <a:pt x="115" y="149"/>
                    </a:lnTo>
                    <a:lnTo>
                      <a:pt x="97" y="159"/>
                    </a:lnTo>
                    <a:lnTo>
                      <a:pt x="77" y="163"/>
                    </a:lnTo>
                    <a:lnTo>
                      <a:pt x="49" y="166"/>
                    </a:lnTo>
                    <a:lnTo>
                      <a:pt x="52" y="166"/>
                    </a:lnTo>
                    <a:lnTo>
                      <a:pt x="63" y="163"/>
                    </a:lnTo>
                    <a:lnTo>
                      <a:pt x="77" y="159"/>
                    </a:lnTo>
                    <a:lnTo>
                      <a:pt x="94" y="156"/>
                    </a:lnTo>
                    <a:lnTo>
                      <a:pt x="108" y="142"/>
                    </a:lnTo>
                    <a:lnTo>
                      <a:pt x="122" y="125"/>
                    </a:lnTo>
                    <a:lnTo>
                      <a:pt x="125" y="97"/>
                    </a:lnTo>
                    <a:lnTo>
                      <a:pt x="125" y="63"/>
                    </a:lnTo>
                    <a:lnTo>
                      <a:pt x="122" y="59"/>
                    </a:lnTo>
                    <a:lnTo>
                      <a:pt x="122" y="52"/>
                    </a:lnTo>
                    <a:lnTo>
                      <a:pt x="115" y="42"/>
                    </a:lnTo>
                    <a:lnTo>
                      <a:pt x="108" y="31"/>
                    </a:lnTo>
                    <a:lnTo>
                      <a:pt x="90" y="21"/>
                    </a:lnTo>
                    <a:lnTo>
                      <a:pt x="70" y="11"/>
                    </a:lnTo>
                    <a:lnTo>
                      <a:pt x="39" y="4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699" name="Freeform 168"/>
              <p:cNvSpPr>
                <a:spLocks/>
              </p:cNvSpPr>
              <p:nvPr/>
            </p:nvSpPr>
            <p:spPr bwMode="auto">
              <a:xfrm>
                <a:off x="395" y="3249"/>
                <a:ext cx="464" cy="173"/>
              </a:xfrm>
              <a:custGeom>
                <a:avLst/>
                <a:gdLst>
                  <a:gd name="T0" fmla="*/ 0 w 464"/>
                  <a:gd name="T1" fmla="*/ 0 h 173"/>
                  <a:gd name="T2" fmla="*/ 405 w 464"/>
                  <a:gd name="T3" fmla="*/ 38 h 173"/>
                  <a:gd name="T4" fmla="*/ 419 w 464"/>
                  <a:gd name="T5" fmla="*/ 42 h 173"/>
                  <a:gd name="T6" fmla="*/ 432 w 464"/>
                  <a:gd name="T7" fmla="*/ 49 h 173"/>
                  <a:gd name="T8" fmla="*/ 443 w 464"/>
                  <a:gd name="T9" fmla="*/ 56 h 173"/>
                  <a:gd name="T10" fmla="*/ 446 w 464"/>
                  <a:gd name="T11" fmla="*/ 66 h 173"/>
                  <a:gd name="T12" fmla="*/ 450 w 464"/>
                  <a:gd name="T13" fmla="*/ 80 h 173"/>
                  <a:gd name="T14" fmla="*/ 453 w 464"/>
                  <a:gd name="T15" fmla="*/ 87 h 173"/>
                  <a:gd name="T16" fmla="*/ 453 w 464"/>
                  <a:gd name="T17" fmla="*/ 90 h 173"/>
                  <a:gd name="T18" fmla="*/ 450 w 464"/>
                  <a:gd name="T19" fmla="*/ 118 h 173"/>
                  <a:gd name="T20" fmla="*/ 443 w 464"/>
                  <a:gd name="T21" fmla="*/ 139 h 173"/>
                  <a:gd name="T22" fmla="*/ 429 w 464"/>
                  <a:gd name="T23" fmla="*/ 153 h 173"/>
                  <a:gd name="T24" fmla="*/ 412 w 464"/>
                  <a:gd name="T25" fmla="*/ 163 h 173"/>
                  <a:gd name="T26" fmla="*/ 394 w 464"/>
                  <a:gd name="T27" fmla="*/ 170 h 173"/>
                  <a:gd name="T28" fmla="*/ 377 w 464"/>
                  <a:gd name="T29" fmla="*/ 170 h 173"/>
                  <a:gd name="T30" fmla="*/ 367 w 464"/>
                  <a:gd name="T31" fmla="*/ 173 h 173"/>
                  <a:gd name="T32" fmla="*/ 363 w 464"/>
                  <a:gd name="T33" fmla="*/ 173 h 173"/>
                  <a:gd name="T34" fmla="*/ 394 w 464"/>
                  <a:gd name="T35" fmla="*/ 170 h 173"/>
                  <a:gd name="T36" fmla="*/ 422 w 464"/>
                  <a:gd name="T37" fmla="*/ 163 h 173"/>
                  <a:gd name="T38" fmla="*/ 439 w 464"/>
                  <a:gd name="T39" fmla="*/ 149 h 173"/>
                  <a:gd name="T40" fmla="*/ 450 w 464"/>
                  <a:gd name="T41" fmla="*/ 135 h 173"/>
                  <a:gd name="T42" fmla="*/ 457 w 464"/>
                  <a:gd name="T43" fmla="*/ 121 h 173"/>
                  <a:gd name="T44" fmla="*/ 460 w 464"/>
                  <a:gd name="T45" fmla="*/ 111 h 173"/>
                  <a:gd name="T46" fmla="*/ 464 w 464"/>
                  <a:gd name="T47" fmla="*/ 101 h 173"/>
                  <a:gd name="T48" fmla="*/ 464 w 464"/>
                  <a:gd name="T49" fmla="*/ 101 h 173"/>
                  <a:gd name="T50" fmla="*/ 460 w 464"/>
                  <a:gd name="T51" fmla="*/ 80 h 173"/>
                  <a:gd name="T52" fmla="*/ 450 w 464"/>
                  <a:gd name="T53" fmla="*/ 63 h 173"/>
                  <a:gd name="T54" fmla="*/ 443 w 464"/>
                  <a:gd name="T55" fmla="*/ 49 h 173"/>
                  <a:gd name="T56" fmla="*/ 432 w 464"/>
                  <a:gd name="T57" fmla="*/ 42 h 173"/>
                  <a:gd name="T58" fmla="*/ 412 w 464"/>
                  <a:gd name="T59" fmla="*/ 31 h 173"/>
                  <a:gd name="T60" fmla="*/ 405 w 464"/>
                  <a:gd name="T61" fmla="*/ 31 h 173"/>
                  <a:gd name="T62" fmla="*/ 405 w 464"/>
                  <a:gd name="T63" fmla="*/ 31 h 173"/>
                  <a:gd name="T64" fmla="*/ 111 w 464"/>
                  <a:gd name="T65" fmla="*/ 7 h 173"/>
                  <a:gd name="T66" fmla="*/ 0 w 464"/>
                  <a:gd name="T67" fmla="*/ 0 h 17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464"/>
                  <a:gd name="T103" fmla="*/ 0 h 173"/>
                  <a:gd name="T104" fmla="*/ 464 w 464"/>
                  <a:gd name="T105" fmla="*/ 173 h 173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464" h="173">
                    <a:moveTo>
                      <a:pt x="0" y="0"/>
                    </a:moveTo>
                    <a:lnTo>
                      <a:pt x="405" y="38"/>
                    </a:lnTo>
                    <a:lnTo>
                      <a:pt x="419" y="42"/>
                    </a:lnTo>
                    <a:lnTo>
                      <a:pt x="432" y="49"/>
                    </a:lnTo>
                    <a:lnTo>
                      <a:pt x="443" y="56"/>
                    </a:lnTo>
                    <a:lnTo>
                      <a:pt x="446" y="66"/>
                    </a:lnTo>
                    <a:lnTo>
                      <a:pt x="450" y="80"/>
                    </a:lnTo>
                    <a:lnTo>
                      <a:pt x="453" y="87"/>
                    </a:lnTo>
                    <a:lnTo>
                      <a:pt x="453" y="90"/>
                    </a:lnTo>
                    <a:lnTo>
                      <a:pt x="450" y="118"/>
                    </a:lnTo>
                    <a:lnTo>
                      <a:pt x="443" y="139"/>
                    </a:lnTo>
                    <a:lnTo>
                      <a:pt x="429" y="153"/>
                    </a:lnTo>
                    <a:lnTo>
                      <a:pt x="412" y="163"/>
                    </a:lnTo>
                    <a:lnTo>
                      <a:pt x="394" y="170"/>
                    </a:lnTo>
                    <a:lnTo>
                      <a:pt x="377" y="170"/>
                    </a:lnTo>
                    <a:lnTo>
                      <a:pt x="367" y="173"/>
                    </a:lnTo>
                    <a:lnTo>
                      <a:pt x="363" y="173"/>
                    </a:lnTo>
                    <a:lnTo>
                      <a:pt x="394" y="170"/>
                    </a:lnTo>
                    <a:lnTo>
                      <a:pt x="422" y="163"/>
                    </a:lnTo>
                    <a:lnTo>
                      <a:pt x="439" y="149"/>
                    </a:lnTo>
                    <a:lnTo>
                      <a:pt x="450" y="135"/>
                    </a:lnTo>
                    <a:lnTo>
                      <a:pt x="457" y="121"/>
                    </a:lnTo>
                    <a:lnTo>
                      <a:pt x="460" y="111"/>
                    </a:lnTo>
                    <a:lnTo>
                      <a:pt x="464" y="101"/>
                    </a:lnTo>
                    <a:lnTo>
                      <a:pt x="460" y="80"/>
                    </a:lnTo>
                    <a:lnTo>
                      <a:pt x="450" y="63"/>
                    </a:lnTo>
                    <a:lnTo>
                      <a:pt x="443" y="49"/>
                    </a:lnTo>
                    <a:lnTo>
                      <a:pt x="432" y="42"/>
                    </a:lnTo>
                    <a:lnTo>
                      <a:pt x="412" y="31"/>
                    </a:lnTo>
                    <a:lnTo>
                      <a:pt x="405" y="31"/>
                    </a:lnTo>
                    <a:lnTo>
                      <a:pt x="111" y="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00" name="Freeform 169"/>
              <p:cNvSpPr>
                <a:spLocks/>
              </p:cNvSpPr>
              <p:nvPr/>
            </p:nvSpPr>
            <p:spPr bwMode="auto">
              <a:xfrm>
                <a:off x="339" y="3256"/>
                <a:ext cx="101" cy="90"/>
              </a:xfrm>
              <a:custGeom>
                <a:avLst/>
                <a:gdLst>
                  <a:gd name="T0" fmla="*/ 28 w 101"/>
                  <a:gd name="T1" fmla="*/ 0 h 90"/>
                  <a:gd name="T2" fmla="*/ 25 w 101"/>
                  <a:gd name="T3" fmla="*/ 0 h 90"/>
                  <a:gd name="T4" fmla="*/ 18 w 101"/>
                  <a:gd name="T5" fmla="*/ 4 h 90"/>
                  <a:gd name="T6" fmla="*/ 4 w 101"/>
                  <a:gd name="T7" fmla="*/ 21 h 90"/>
                  <a:gd name="T8" fmla="*/ 0 w 101"/>
                  <a:gd name="T9" fmla="*/ 31 h 90"/>
                  <a:gd name="T10" fmla="*/ 4 w 101"/>
                  <a:gd name="T11" fmla="*/ 45 h 90"/>
                  <a:gd name="T12" fmla="*/ 11 w 101"/>
                  <a:gd name="T13" fmla="*/ 59 h 90"/>
                  <a:gd name="T14" fmla="*/ 32 w 101"/>
                  <a:gd name="T15" fmla="*/ 73 h 90"/>
                  <a:gd name="T16" fmla="*/ 101 w 101"/>
                  <a:gd name="T17" fmla="*/ 90 h 90"/>
                  <a:gd name="T18" fmla="*/ 97 w 101"/>
                  <a:gd name="T19" fmla="*/ 87 h 90"/>
                  <a:gd name="T20" fmla="*/ 90 w 101"/>
                  <a:gd name="T21" fmla="*/ 87 h 90"/>
                  <a:gd name="T22" fmla="*/ 73 w 101"/>
                  <a:gd name="T23" fmla="*/ 80 h 90"/>
                  <a:gd name="T24" fmla="*/ 49 w 101"/>
                  <a:gd name="T25" fmla="*/ 69 h 90"/>
                  <a:gd name="T26" fmla="*/ 32 w 101"/>
                  <a:gd name="T27" fmla="*/ 62 h 90"/>
                  <a:gd name="T28" fmla="*/ 28 w 101"/>
                  <a:gd name="T29" fmla="*/ 59 h 90"/>
                  <a:gd name="T30" fmla="*/ 25 w 101"/>
                  <a:gd name="T31" fmla="*/ 56 h 90"/>
                  <a:gd name="T32" fmla="*/ 14 w 101"/>
                  <a:gd name="T33" fmla="*/ 45 h 90"/>
                  <a:gd name="T34" fmla="*/ 11 w 101"/>
                  <a:gd name="T35" fmla="*/ 38 h 90"/>
                  <a:gd name="T36" fmla="*/ 11 w 101"/>
                  <a:gd name="T37" fmla="*/ 24 h 90"/>
                  <a:gd name="T38" fmla="*/ 14 w 101"/>
                  <a:gd name="T39" fmla="*/ 14 h 90"/>
                  <a:gd name="T40" fmla="*/ 28 w 101"/>
                  <a:gd name="T41" fmla="*/ 0 h 90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01"/>
                  <a:gd name="T64" fmla="*/ 0 h 90"/>
                  <a:gd name="T65" fmla="*/ 101 w 101"/>
                  <a:gd name="T66" fmla="*/ 90 h 90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01" h="90">
                    <a:moveTo>
                      <a:pt x="28" y="0"/>
                    </a:moveTo>
                    <a:lnTo>
                      <a:pt x="25" y="0"/>
                    </a:lnTo>
                    <a:lnTo>
                      <a:pt x="18" y="4"/>
                    </a:lnTo>
                    <a:lnTo>
                      <a:pt x="4" y="21"/>
                    </a:lnTo>
                    <a:lnTo>
                      <a:pt x="0" y="31"/>
                    </a:lnTo>
                    <a:lnTo>
                      <a:pt x="4" y="45"/>
                    </a:lnTo>
                    <a:lnTo>
                      <a:pt x="11" y="59"/>
                    </a:lnTo>
                    <a:lnTo>
                      <a:pt x="32" y="73"/>
                    </a:lnTo>
                    <a:lnTo>
                      <a:pt x="101" y="90"/>
                    </a:lnTo>
                    <a:lnTo>
                      <a:pt x="97" y="87"/>
                    </a:lnTo>
                    <a:lnTo>
                      <a:pt x="90" y="87"/>
                    </a:lnTo>
                    <a:lnTo>
                      <a:pt x="73" y="80"/>
                    </a:lnTo>
                    <a:lnTo>
                      <a:pt x="49" y="69"/>
                    </a:lnTo>
                    <a:lnTo>
                      <a:pt x="32" y="62"/>
                    </a:lnTo>
                    <a:lnTo>
                      <a:pt x="28" y="59"/>
                    </a:lnTo>
                    <a:lnTo>
                      <a:pt x="25" y="56"/>
                    </a:lnTo>
                    <a:lnTo>
                      <a:pt x="14" y="45"/>
                    </a:lnTo>
                    <a:lnTo>
                      <a:pt x="11" y="38"/>
                    </a:lnTo>
                    <a:lnTo>
                      <a:pt x="11" y="24"/>
                    </a:lnTo>
                    <a:lnTo>
                      <a:pt x="14" y="14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01" name="Freeform 170"/>
              <p:cNvSpPr>
                <a:spLocks/>
              </p:cNvSpPr>
              <p:nvPr/>
            </p:nvSpPr>
            <p:spPr bwMode="auto">
              <a:xfrm>
                <a:off x="703" y="3298"/>
                <a:ext cx="59" cy="104"/>
              </a:xfrm>
              <a:custGeom>
                <a:avLst/>
                <a:gdLst>
                  <a:gd name="T0" fmla="*/ 45 w 59"/>
                  <a:gd name="T1" fmla="*/ 0 h 104"/>
                  <a:gd name="T2" fmla="*/ 41 w 59"/>
                  <a:gd name="T3" fmla="*/ 0 h 104"/>
                  <a:gd name="T4" fmla="*/ 38 w 59"/>
                  <a:gd name="T5" fmla="*/ 0 h 104"/>
                  <a:gd name="T6" fmla="*/ 24 w 59"/>
                  <a:gd name="T7" fmla="*/ 10 h 104"/>
                  <a:gd name="T8" fmla="*/ 10 w 59"/>
                  <a:gd name="T9" fmla="*/ 27 h 104"/>
                  <a:gd name="T10" fmla="*/ 7 w 59"/>
                  <a:gd name="T11" fmla="*/ 38 h 104"/>
                  <a:gd name="T12" fmla="*/ 10 w 59"/>
                  <a:gd name="T13" fmla="*/ 55 h 104"/>
                  <a:gd name="T14" fmla="*/ 10 w 59"/>
                  <a:gd name="T15" fmla="*/ 55 h 104"/>
                  <a:gd name="T16" fmla="*/ 10 w 59"/>
                  <a:gd name="T17" fmla="*/ 59 h 104"/>
                  <a:gd name="T18" fmla="*/ 17 w 59"/>
                  <a:gd name="T19" fmla="*/ 76 h 104"/>
                  <a:gd name="T20" fmla="*/ 31 w 59"/>
                  <a:gd name="T21" fmla="*/ 93 h 104"/>
                  <a:gd name="T22" fmla="*/ 41 w 59"/>
                  <a:gd name="T23" fmla="*/ 97 h 104"/>
                  <a:gd name="T24" fmla="*/ 59 w 59"/>
                  <a:gd name="T25" fmla="*/ 104 h 104"/>
                  <a:gd name="T26" fmla="*/ 55 w 59"/>
                  <a:gd name="T27" fmla="*/ 100 h 104"/>
                  <a:gd name="T28" fmla="*/ 48 w 59"/>
                  <a:gd name="T29" fmla="*/ 100 h 104"/>
                  <a:gd name="T30" fmla="*/ 28 w 59"/>
                  <a:gd name="T31" fmla="*/ 93 h 104"/>
                  <a:gd name="T32" fmla="*/ 17 w 59"/>
                  <a:gd name="T33" fmla="*/ 86 h 104"/>
                  <a:gd name="T34" fmla="*/ 10 w 59"/>
                  <a:gd name="T35" fmla="*/ 76 h 104"/>
                  <a:gd name="T36" fmla="*/ 3 w 59"/>
                  <a:gd name="T37" fmla="*/ 65 h 104"/>
                  <a:gd name="T38" fmla="*/ 0 w 59"/>
                  <a:gd name="T39" fmla="*/ 48 h 104"/>
                  <a:gd name="T40" fmla="*/ 0 w 59"/>
                  <a:gd name="T41" fmla="*/ 45 h 104"/>
                  <a:gd name="T42" fmla="*/ 0 w 59"/>
                  <a:gd name="T43" fmla="*/ 41 h 104"/>
                  <a:gd name="T44" fmla="*/ 3 w 59"/>
                  <a:gd name="T45" fmla="*/ 24 h 104"/>
                  <a:gd name="T46" fmla="*/ 17 w 59"/>
                  <a:gd name="T47" fmla="*/ 10 h 104"/>
                  <a:gd name="T48" fmla="*/ 28 w 59"/>
                  <a:gd name="T49" fmla="*/ 3 h 104"/>
                  <a:gd name="T50" fmla="*/ 45 w 59"/>
                  <a:gd name="T51" fmla="*/ 0 h 104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59"/>
                  <a:gd name="T79" fmla="*/ 0 h 104"/>
                  <a:gd name="T80" fmla="*/ 59 w 59"/>
                  <a:gd name="T81" fmla="*/ 104 h 104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59" h="104">
                    <a:moveTo>
                      <a:pt x="45" y="0"/>
                    </a:moveTo>
                    <a:lnTo>
                      <a:pt x="41" y="0"/>
                    </a:lnTo>
                    <a:lnTo>
                      <a:pt x="38" y="0"/>
                    </a:lnTo>
                    <a:lnTo>
                      <a:pt x="24" y="10"/>
                    </a:lnTo>
                    <a:lnTo>
                      <a:pt x="10" y="27"/>
                    </a:lnTo>
                    <a:lnTo>
                      <a:pt x="7" y="38"/>
                    </a:lnTo>
                    <a:lnTo>
                      <a:pt x="10" y="55"/>
                    </a:lnTo>
                    <a:lnTo>
                      <a:pt x="10" y="59"/>
                    </a:lnTo>
                    <a:lnTo>
                      <a:pt x="17" y="76"/>
                    </a:lnTo>
                    <a:lnTo>
                      <a:pt x="31" y="93"/>
                    </a:lnTo>
                    <a:lnTo>
                      <a:pt x="41" y="97"/>
                    </a:lnTo>
                    <a:lnTo>
                      <a:pt x="59" y="104"/>
                    </a:lnTo>
                    <a:lnTo>
                      <a:pt x="55" y="100"/>
                    </a:lnTo>
                    <a:lnTo>
                      <a:pt x="48" y="100"/>
                    </a:lnTo>
                    <a:lnTo>
                      <a:pt x="28" y="93"/>
                    </a:lnTo>
                    <a:lnTo>
                      <a:pt x="17" y="86"/>
                    </a:lnTo>
                    <a:lnTo>
                      <a:pt x="10" y="76"/>
                    </a:lnTo>
                    <a:lnTo>
                      <a:pt x="3" y="65"/>
                    </a:lnTo>
                    <a:lnTo>
                      <a:pt x="0" y="48"/>
                    </a:lnTo>
                    <a:lnTo>
                      <a:pt x="0" y="45"/>
                    </a:lnTo>
                    <a:lnTo>
                      <a:pt x="0" y="41"/>
                    </a:lnTo>
                    <a:lnTo>
                      <a:pt x="3" y="24"/>
                    </a:lnTo>
                    <a:lnTo>
                      <a:pt x="17" y="10"/>
                    </a:lnTo>
                    <a:lnTo>
                      <a:pt x="28" y="3"/>
                    </a:lnTo>
                    <a:lnTo>
                      <a:pt x="45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02" name="Freeform 171"/>
              <p:cNvSpPr>
                <a:spLocks/>
              </p:cNvSpPr>
              <p:nvPr/>
            </p:nvSpPr>
            <p:spPr bwMode="auto">
              <a:xfrm>
                <a:off x="592" y="3294"/>
                <a:ext cx="49" cy="83"/>
              </a:xfrm>
              <a:custGeom>
                <a:avLst/>
                <a:gdLst>
                  <a:gd name="T0" fmla="*/ 38 w 49"/>
                  <a:gd name="T1" fmla="*/ 0 h 83"/>
                  <a:gd name="T2" fmla="*/ 31 w 49"/>
                  <a:gd name="T3" fmla="*/ 0 h 83"/>
                  <a:gd name="T4" fmla="*/ 21 w 49"/>
                  <a:gd name="T5" fmla="*/ 7 h 83"/>
                  <a:gd name="T6" fmla="*/ 10 w 49"/>
                  <a:gd name="T7" fmla="*/ 21 h 83"/>
                  <a:gd name="T8" fmla="*/ 7 w 49"/>
                  <a:gd name="T9" fmla="*/ 28 h 83"/>
                  <a:gd name="T10" fmla="*/ 10 w 49"/>
                  <a:gd name="T11" fmla="*/ 42 h 83"/>
                  <a:gd name="T12" fmla="*/ 10 w 49"/>
                  <a:gd name="T13" fmla="*/ 45 h 83"/>
                  <a:gd name="T14" fmla="*/ 14 w 49"/>
                  <a:gd name="T15" fmla="*/ 59 h 83"/>
                  <a:gd name="T16" fmla="*/ 24 w 49"/>
                  <a:gd name="T17" fmla="*/ 73 h 83"/>
                  <a:gd name="T18" fmla="*/ 35 w 49"/>
                  <a:gd name="T19" fmla="*/ 76 h 83"/>
                  <a:gd name="T20" fmla="*/ 49 w 49"/>
                  <a:gd name="T21" fmla="*/ 83 h 83"/>
                  <a:gd name="T22" fmla="*/ 45 w 49"/>
                  <a:gd name="T23" fmla="*/ 80 h 83"/>
                  <a:gd name="T24" fmla="*/ 38 w 49"/>
                  <a:gd name="T25" fmla="*/ 80 h 83"/>
                  <a:gd name="T26" fmla="*/ 24 w 49"/>
                  <a:gd name="T27" fmla="*/ 76 h 83"/>
                  <a:gd name="T28" fmla="*/ 7 w 49"/>
                  <a:gd name="T29" fmla="*/ 63 h 83"/>
                  <a:gd name="T30" fmla="*/ 0 w 49"/>
                  <a:gd name="T31" fmla="*/ 52 h 83"/>
                  <a:gd name="T32" fmla="*/ 0 w 49"/>
                  <a:gd name="T33" fmla="*/ 38 h 83"/>
                  <a:gd name="T34" fmla="*/ 0 w 49"/>
                  <a:gd name="T35" fmla="*/ 31 h 83"/>
                  <a:gd name="T36" fmla="*/ 4 w 49"/>
                  <a:gd name="T37" fmla="*/ 21 h 83"/>
                  <a:gd name="T38" fmla="*/ 14 w 49"/>
                  <a:gd name="T39" fmla="*/ 7 h 83"/>
                  <a:gd name="T40" fmla="*/ 24 w 49"/>
                  <a:gd name="T41" fmla="*/ 4 h 83"/>
                  <a:gd name="T42" fmla="*/ 38 w 49"/>
                  <a:gd name="T43" fmla="*/ 0 h 83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49"/>
                  <a:gd name="T67" fmla="*/ 0 h 83"/>
                  <a:gd name="T68" fmla="*/ 49 w 49"/>
                  <a:gd name="T69" fmla="*/ 83 h 83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49" h="83">
                    <a:moveTo>
                      <a:pt x="38" y="0"/>
                    </a:moveTo>
                    <a:lnTo>
                      <a:pt x="31" y="0"/>
                    </a:lnTo>
                    <a:lnTo>
                      <a:pt x="21" y="7"/>
                    </a:lnTo>
                    <a:lnTo>
                      <a:pt x="10" y="21"/>
                    </a:lnTo>
                    <a:lnTo>
                      <a:pt x="7" y="28"/>
                    </a:lnTo>
                    <a:lnTo>
                      <a:pt x="10" y="42"/>
                    </a:lnTo>
                    <a:lnTo>
                      <a:pt x="10" y="45"/>
                    </a:lnTo>
                    <a:lnTo>
                      <a:pt x="14" y="59"/>
                    </a:lnTo>
                    <a:lnTo>
                      <a:pt x="24" y="73"/>
                    </a:lnTo>
                    <a:lnTo>
                      <a:pt x="35" y="76"/>
                    </a:lnTo>
                    <a:lnTo>
                      <a:pt x="49" y="83"/>
                    </a:lnTo>
                    <a:lnTo>
                      <a:pt x="45" y="80"/>
                    </a:lnTo>
                    <a:lnTo>
                      <a:pt x="38" y="80"/>
                    </a:lnTo>
                    <a:lnTo>
                      <a:pt x="24" y="76"/>
                    </a:lnTo>
                    <a:lnTo>
                      <a:pt x="7" y="63"/>
                    </a:lnTo>
                    <a:lnTo>
                      <a:pt x="0" y="52"/>
                    </a:lnTo>
                    <a:lnTo>
                      <a:pt x="0" y="38"/>
                    </a:lnTo>
                    <a:lnTo>
                      <a:pt x="0" y="31"/>
                    </a:lnTo>
                    <a:lnTo>
                      <a:pt x="4" y="21"/>
                    </a:lnTo>
                    <a:lnTo>
                      <a:pt x="14" y="7"/>
                    </a:lnTo>
                    <a:lnTo>
                      <a:pt x="24" y="4"/>
                    </a:lnTo>
                    <a:lnTo>
                      <a:pt x="38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03" name="Freeform 172"/>
              <p:cNvSpPr>
                <a:spLocks/>
              </p:cNvSpPr>
              <p:nvPr/>
            </p:nvSpPr>
            <p:spPr bwMode="auto">
              <a:xfrm>
                <a:off x="478" y="3284"/>
                <a:ext cx="38" cy="66"/>
              </a:xfrm>
              <a:custGeom>
                <a:avLst/>
                <a:gdLst>
                  <a:gd name="T0" fmla="*/ 31 w 38"/>
                  <a:gd name="T1" fmla="*/ 0 h 66"/>
                  <a:gd name="T2" fmla="*/ 24 w 38"/>
                  <a:gd name="T3" fmla="*/ 0 h 66"/>
                  <a:gd name="T4" fmla="*/ 17 w 38"/>
                  <a:gd name="T5" fmla="*/ 7 h 66"/>
                  <a:gd name="T6" fmla="*/ 7 w 38"/>
                  <a:gd name="T7" fmla="*/ 17 h 66"/>
                  <a:gd name="T8" fmla="*/ 7 w 38"/>
                  <a:gd name="T9" fmla="*/ 34 h 66"/>
                  <a:gd name="T10" fmla="*/ 7 w 38"/>
                  <a:gd name="T11" fmla="*/ 38 h 66"/>
                  <a:gd name="T12" fmla="*/ 10 w 38"/>
                  <a:gd name="T13" fmla="*/ 48 h 66"/>
                  <a:gd name="T14" fmla="*/ 21 w 38"/>
                  <a:gd name="T15" fmla="*/ 59 h 66"/>
                  <a:gd name="T16" fmla="*/ 38 w 38"/>
                  <a:gd name="T17" fmla="*/ 66 h 66"/>
                  <a:gd name="T18" fmla="*/ 31 w 38"/>
                  <a:gd name="T19" fmla="*/ 62 h 66"/>
                  <a:gd name="T20" fmla="*/ 17 w 38"/>
                  <a:gd name="T21" fmla="*/ 59 h 66"/>
                  <a:gd name="T22" fmla="*/ 7 w 38"/>
                  <a:gd name="T23" fmla="*/ 48 h 66"/>
                  <a:gd name="T24" fmla="*/ 0 w 38"/>
                  <a:gd name="T25" fmla="*/ 31 h 66"/>
                  <a:gd name="T26" fmla="*/ 0 w 38"/>
                  <a:gd name="T27" fmla="*/ 24 h 66"/>
                  <a:gd name="T28" fmla="*/ 3 w 38"/>
                  <a:gd name="T29" fmla="*/ 17 h 66"/>
                  <a:gd name="T30" fmla="*/ 10 w 38"/>
                  <a:gd name="T31" fmla="*/ 7 h 66"/>
                  <a:gd name="T32" fmla="*/ 31 w 38"/>
                  <a:gd name="T33" fmla="*/ 0 h 6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8"/>
                  <a:gd name="T52" fmla="*/ 0 h 66"/>
                  <a:gd name="T53" fmla="*/ 38 w 38"/>
                  <a:gd name="T54" fmla="*/ 66 h 6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8" h="66">
                    <a:moveTo>
                      <a:pt x="31" y="0"/>
                    </a:moveTo>
                    <a:lnTo>
                      <a:pt x="24" y="0"/>
                    </a:lnTo>
                    <a:lnTo>
                      <a:pt x="17" y="7"/>
                    </a:lnTo>
                    <a:lnTo>
                      <a:pt x="7" y="17"/>
                    </a:lnTo>
                    <a:lnTo>
                      <a:pt x="7" y="34"/>
                    </a:lnTo>
                    <a:lnTo>
                      <a:pt x="7" y="38"/>
                    </a:lnTo>
                    <a:lnTo>
                      <a:pt x="10" y="48"/>
                    </a:lnTo>
                    <a:lnTo>
                      <a:pt x="21" y="59"/>
                    </a:lnTo>
                    <a:lnTo>
                      <a:pt x="38" y="66"/>
                    </a:lnTo>
                    <a:lnTo>
                      <a:pt x="31" y="62"/>
                    </a:lnTo>
                    <a:lnTo>
                      <a:pt x="17" y="59"/>
                    </a:lnTo>
                    <a:lnTo>
                      <a:pt x="7" y="48"/>
                    </a:lnTo>
                    <a:lnTo>
                      <a:pt x="0" y="31"/>
                    </a:lnTo>
                    <a:lnTo>
                      <a:pt x="0" y="24"/>
                    </a:lnTo>
                    <a:lnTo>
                      <a:pt x="3" y="17"/>
                    </a:lnTo>
                    <a:lnTo>
                      <a:pt x="10" y="7"/>
                    </a:lnTo>
                    <a:lnTo>
                      <a:pt x="31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04" name="Freeform 173"/>
              <p:cNvSpPr>
                <a:spLocks/>
              </p:cNvSpPr>
              <p:nvPr/>
            </p:nvSpPr>
            <p:spPr bwMode="auto">
              <a:xfrm>
                <a:off x="395" y="3260"/>
                <a:ext cx="38" cy="65"/>
              </a:xfrm>
              <a:custGeom>
                <a:avLst/>
                <a:gdLst>
                  <a:gd name="T0" fmla="*/ 28 w 38"/>
                  <a:gd name="T1" fmla="*/ 0 h 65"/>
                  <a:gd name="T2" fmla="*/ 21 w 38"/>
                  <a:gd name="T3" fmla="*/ 0 h 65"/>
                  <a:gd name="T4" fmla="*/ 14 w 38"/>
                  <a:gd name="T5" fmla="*/ 7 h 65"/>
                  <a:gd name="T6" fmla="*/ 7 w 38"/>
                  <a:gd name="T7" fmla="*/ 17 h 65"/>
                  <a:gd name="T8" fmla="*/ 7 w 38"/>
                  <a:gd name="T9" fmla="*/ 34 h 65"/>
                  <a:gd name="T10" fmla="*/ 7 w 38"/>
                  <a:gd name="T11" fmla="*/ 38 h 65"/>
                  <a:gd name="T12" fmla="*/ 10 w 38"/>
                  <a:gd name="T13" fmla="*/ 48 h 65"/>
                  <a:gd name="T14" fmla="*/ 21 w 38"/>
                  <a:gd name="T15" fmla="*/ 58 h 65"/>
                  <a:gd name="T16" fmla="*/ 38 w 38"/>
                  <a:gd name="T17" fmla="*/ 65 h 65"/>
                  <a:gd name="T18" fmla="*/ 34 w 38"/>
                  <a:gd name="T19" fmla="*/ 65 h 65"/>
                  <a:gd name="T20" fmla="*/ 31 w 38"/>
                  <a:gd name="T21" fmla="*/ 62 h 65"/>
                  <a:gd name="T22" fmla="*/ 17 w 38"/>
                  <a:gd name="T23" fmla="*/ 58 h 65"/>
                  <a:gd name="T24" fmla="*/ 3 w 38"/>
                  <a:gd name="T25" fmla="*/ 52 h 65"/>
                  <a:gd name="T26" fmla="*/ 0 w 38"/>
                  <a:gd name="T27" fmla="*/ 45 h 65"/>
                  <a:gd name="T28" fmla="*/ 0 w 38"/>
                  <a:gd name="T29" fmla="*/ 34 h 65"/>
                  <a:gd name="T30" fmla="*/ 0 w 38"/>
                  <a:gd name="T31" fmla="*/ 27 h 65"/>
                  <a:gd name="T32" fmla="*/ 3 w 38"/>
                  <a:gd name="T33" fmla="*/ 17 h 65"/>
                  <a:gd name="T34" fmla="*/ 10 w 38"/>
                  <a:gd name="T35" fmla="*/ 7 h 65"/>
                  <a:gd name="T36" fmla="*/ 28 w 38"/>
                  <a:gd name="T37" fmla="*/ 0 h 6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8"/>
                  <a:gd name="T58" fmla="*/ 0 h 65"/>
                  <a:gd name="T59" fmla="*/ 38 w 38"/>
                  <a:gd name="T60" fmla="*/ 65 h 6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8" h="65">
                    <a:moveTo>
                      <a:pt x="28" y="0"/>
                    </a:moveTo>
                    <a:lnTo>
                      <a:pt x="21" y="0"/>
                    </a:lnTo>
                    <a:lnTo>
                      <a:pt x="14" y="7"/>
                    </a:lnTo>
                    <a:lnTo>
                      <a:pt x="7" y="17"/>
                    </a:lnTo>
                    <a:lnTo>
                      <a:pt x="7" y="34"/>
                    </a:lnTo>
                    <a:lnTo>
                      <a:pt x="7" y="38"/>
                    </a:lnTo>
                    <a:lnTo>
                      <a:pt x="10" y="48"/>
                    </a:lnTo>
                    <a:lnTo>
                      <a:pt x="21" y="58"/>
                    </a:lnTo>
                    <a:lnTo>
                      <a:pt x="38" y="65"/>
                    </a:lnTo>
                    <a:lnTo>
                      <a:pt x="34" y="65"/>
                    </a:lnTo>
                    <a:lnTo>
                      <a:pt x="31" y="62"/>
                    </a:lnTo>
                    <a:lnTo>
                      <a:pt x="17" y="58"/>
                    </a:lnTo>
                    <a:lnTo>
                      <a:pt x="3" y="52"/>
                    </a:lnTo>
                    <a:lnTo>
                      <a:pt x="0" y="45"/>
                    </a:lnTo>
                    <a:lnTo>
                      <a:pt x="0" y="34"/>
                    </a:lnTo>
                    <a:lnTo>
                      <a:pt x="0" y="27"/>
                    </a:lnTo>
                    <a:lnTo>
                      <a:pt x="3" y="17"/>
                    </a:lnTo>
                    <a:lnTo>
                      <a:pt x="10" y="7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05" name="Freeform 174"/>
              <p:cNvSpPr>
                <a:spLocks/>
              </p:cNvSpPr>
              <p:nvPr/>
            </p:nvSpPr>
            <p:spPr bwMode="auto">
              <a:xfrm>
                <a:off x="419" y="2370"/>
                <a:ext cx="893" cy="869"/>
              </a:xfrm>
              <a:custGeom>
                <a:avLst/>
                <a:gdLst>
                  <a:gd name="T0" fmla="*/ 42 w 893"/>
                  <a:gd name="T1" fmla="*/ 775 h 869"/>
                  <a:gd name="T2" fmla="*/ 0 w 893"/>
                  <a:gd name="T3" fmla="*/ 841 h 869"/>
                  <a:gd name="T4" fmla="*/ 568 w 893"/>
                  <a:gd name="T5" fmla="*/ 820 h 869"/>
                  <a:gd name="T6" fmla="*/ 547 w 893"/>
                  <a:gd name="T7" fmla="*/ 495 h 869"/>
                  <a:gd name="T8" fmla="*/ 481 w 893"/>
                  <a:gd name="T9" fmla="*/ 304 h 869"/>
                  <a:gd name="T10" fmla="*/ 488 w 893"/>
                  <a:gd name="T11" fmla="*/ 294 h 869"/>
                  <a:gd name="T12" fmla="*/ 512 w 893"/>
                  <a:gd name="T13" fmla="*/ 277 h 869"/>
                  <a:gd name="T14" fmla="*/ 585 w 893"/>
                  <a:gd name="T15" fmla="*/ 218 h 869"/>
                  <a:gd name="T16" fmla="*/ 678 w 893"/>
                  <a:gd name="T17" fmla="*/ 159 h 869"/>
                  <a:gd name="T18" fmla="*/ 744 w 893"/>
                  <a:gd name="T19" fmla="*/ 131 h 869"/>
                  <a:gd name="T20" fmla="*/ 765 w 893"/>
                  <a:gd name="T21" fmla="*/ 128 h 869"/>
                  <a:gd name="T22" fmla="*/ 765 w 893"/>
                  <a:gd name="T23" fmla="*/ 152 h 869"/>
                  <a:gd name="T24" fmla="*/ 765 w 893"/>
                  <a:gd name="T25" fmla="*/ 197 h 869"/>
                  <a:gd name="T26" fmla="*/ 765 w 893"/>
                  <a:gd name="T27" fmla="*/ 284 h 869"/>
                  <a:gd name="T28" fmla="*/ 751 w 893"/>
                  <a:gd name="T29" fmla="*/ 419 h 869"/>
                  <a:gd name="T30" fmla="*/ 723 w 893"/>
                  <a:gd name="T31" fmla="*/ 512 h 869"/>
                  <a:gd name="T32" fmla="*/ 710 w 893"/>
                  <a:gd name="T33" fmla="*/ 543 h 869"/>
                  <a:gd name="T34" fmla="*/ 713 w 893"/>
                  <a:gd name="T35" fmla="*/ 568 h 869"/>
                  <a:gd name="T36" fmla="*/ 727 w 893"/>
                  <a:gd name="T37" fmla="*/ 578 h 869"/>
                  <a:gd name="T38" fmla="*/ 734 w 893"/>
                  <a:gd name="T39" fmla="*/ 571 h 869"/>
                  <a:gd name="T40" fmla="*/ 751 w 893"/>
                  <a:gd name="T41" fmla="*/ 554 h 869"/>
                  <a:gd name="T42" fmla="*/ 768 w 893"/>
                  <a:gd name="T43" fmla="*/ 512 h 869"/>
                  <a:gd name="T44" fmla="*/ 768 w 893"/>
                  <a:gd name="T45" fmla="*/ 498 h 869"/>
                  <a:gd name="T46" fmla="*/ 775 w 893"/>
                  <a:gd name="T47" fmla="*/ 467 h 869"/>
                  <a:gd name="T48" fmla="*/ 799 w 893"/>
                  <a:gd name="T49" fmla="*/ 367 h 869"/>
                  <a:gd name="T50" fmla="*/ 834 w 893"/>
                  <a:gd name="T51" fmla="*/ 266 h 869"/>
                  <a:gd name="T52" fmla="*/ 848 w 893"/>
                  <a:gd name="T53" fmla="*/ 232 h 869"/>
                  <a:gd name="T54" fmla="*/ 865 w 893"/>
                  <a:gd name="T55" fmla="*/ 214 h 869"/>
                  <a:gd name="T56" fmla="*/ 872 w 893"/>
                  <a:gd name="T57" fmla="*/ 201 h 869"/>
                  <a:gd name="T58" fmla="*/ 886 w 893"/>
                  <a:gd name="T59" fmla="*/ 166 h 869"/>
                  <a:gd name="T60" fmla="*/ 893 w 893"/>
                  <a:gd name="T61" fmla="*/ 111 h 869"/>
                  <a:gd name="T62" fmla="*/ 876 w 893"/>
                  <a:gd name="T63" fmla="*/ 34 h 869"/>
                  <a:gd name="T64" fmla="*/ 869 w 893"/>
                  <a:gd name="T65" fmla="*/ 24 h 869"/>
                  <a:gd name="T66" fmla="*/ 834 w 893"/>
                  <a:gd name="T67" fmla="*/ 3 h 869"/>
                  <a:gd name="T68" fmla="*/ 796 w 893"/>
                  <a:gd name="T69" fmla="*/ 7 h 869"/>
                  <a:gd name="T70" fmla="*/ 768 w 893"/>
                  <a:gd name="T71" fmla="*/ 21 h 869"/>
                  <a:gd name="T72" fmla="*/ 748 w 893"/>
                  <a:gd name="T73" fmla="*/ 34 h 869"/>
                  <a:gd name="T74" fmla="*/ 689 w 893"/>
                  <a:gd name="T75" fmla="*/ 69 h 869"/>
                  <a:gd name="T76" fmla="*/ 581 w 893"/>
                  <a:gd name="T77" fmla="*/ 131 h 869"/>
                  <a:gd name="T78" fmla="*/ 481 w 893"/>
                  <a:gd name="T79" fmla="*/ 187 h 869"/>
                  <a:gd name="T80" fmla="*/ 446 w 893"/>
                  <a:gd name="T81" fmla="*/ 201 h 869"/>
                  <a:gd name="T82" fmla="*/ 436 w 893"/>
                  <a:gd name="T83" fmla="*/ 204 h 869"/>
                  <a:gd name="T84" fmla="*/ 419 w 893"/>
                  <a:gd name="T85" fmla="*/ 225 h 869"/>
                  <a:gd name="T86" fmla="*/ 405 w 893"/>
                  <a:gd name="T87" fmla="*/ 263 h 869"/>
                  <a:gd name="T88" fmla="*/ 402 w 893"/>
                  <a:gd name="T89" fmla="*/ 325 h 869"/>
                  <a:gd name="T90" fmla="*/ 398 w 893"/>
                  <a:gd name="T91" fmla="*/ 336 h 869"/>
                  <a:gd name="T92" fmla="*/ 395 w 893"/>
                  <a:gd name="T93" fmla="*/ 370 h 869"/>
                  <a:gd name="T94" fmla="*/ 391 w 893"/>
                  <a:gd name="T95" fmla="*/ 422 h 869"/>
                  <a:gd name="T96" fmla="*/ 377 w 893"/>
                  <a:gd name="T97" fmla="*/ 543 h 869"/>
                  <a:gd name="T98" fmla="*/ 367 w 893"/>
                  <a:gd name="T99" fmla="*/ 623 h 869"/>
                  <a:gd name="T100" fmla="*/ 360 w 893"/>
                  <a:gd name="T101" fmla="*/ 661 h 869"/>
                  <a:gd name="T102" fmla="*/ 45 w 893"/>
                  <a:gd name="T103" fmla="*/ 716 h 869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893"/>
                  <a:gd name="T157" fmla="*/ 0 h 869"/>
                  <a:gd name="T158" fmla="*/ 893 w 893"/>
                  <a:gd name="T159" fmla="*/ 869 h 869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893" h="869">
                    <a:moveTo>
                      <a:pt x="45" y="716"/>
                    </a:moveTo>
                    <a:lnTo>
                      <a:pt x="42" y="775"/>
                    </a:lnTo>
                    <a:lnTo>
                      <a:pt x="4" y="786"/>
                    </a:lnTo>
                    <a:lnTo>
                      <a:pt x="0" y="841"/>
                    </a:lnTo>
                    <a:lnTo>
                      <a:pt x="325" y="869"/>
                    </a:lnTo>
                    <a:lnTo>
                      <a:pt x="568" y="820"/>
                    </a:lnTo>
                    <a:lnTo>
                      <a:pt x="602" y="678"/>
                    </a:lnTo>
                    <a:lnTo>
                      <a:pt x="547" y="495"/>
                    </a:lnTo>
                    <a:lnTo>
                      <a:pt x="436" y="509"/>
                    </a:lnTo>
                    <a:lnTo>
                      <a:pt x="481" y="304"/>
                    </a:lnTo>
                    <a:lnTo>
                      <a:pt x="481" y="301"/>
                    </a:lnTo>
                    <a:lnTo>
                      <a:pt x="488" y="294"/>
                    </a:lnTo>
                    <a:lnTo>
                      <a:pt x="498" y="287"/>
                    </a:lnTo>
                    <a:lnTo>
                      <a:pt x="512" y="277"/>
                    </a:lnTo>
                    <a:lnTo>
                      <a:pt x="543" y="249"/>
                    </a:lnTo>
                    <a:lnTo>
                      <a:pt x="585" y="218"/>
                    </a:lnTo>
                    <a:lnTo>
                      <a:pt x="633" y="187"/>
                    </a:lnTo>
                    <a:lnTo>
                      <a:pt x="678" y="159"/>
                    </a:lnTo>
                    <a:lnTo>
                      <a:pt x="723" y="138"/>
                    </a:lnTo>
                    <a:lnTo>
                      <a:pt x="744" y="131"/>
                    </a:lnTo>
                    <a:lnTo>
                      <a:pt x="765" y="128"/>
                    </a:lnTo>
                    <a:lnTo>
                      <a:pt x="765" y="138"/>
                    </a:lnTo>
                    <a:lnTo>
                      <a:pt x="765" y="152"/>
                    </a:lnTo>
                    <a:lnTo>
                      <a:pt x="765" y="173"/>
                    </a:lnTo>
                    <a:lnTo>
                      <a:pt x="765" y="197"/>
                    </a:lnTo>
                    <a:lnTo>
                      <a:pt x="768" y="221"/>
                    </a:lnTo>
                    <a:lnTo>
                      <a:pt x="765" y="284"/>
                    </a:lnTo>
                    <a:lnTo>
                      <a:pt x="761" y="353"/>
                    </a:lnTo>
                    <a:lnTo>
                      <a:pt x="751" y="419"/>
                    </a:lnTo>
                    <a:lnTo>
                      <a:pt x="734" y="484"/>
                    </a:lnTo>
                    <a:lnTo>
                      <a:pt x="723" y="512"/>
                    </a:lnTo>
                    <a:lnTo>
                      <a:pt x="713" y="540"/>
                    </a:lnTo>
                    <a:lnTo>
                      <a:pt x="710" y="543"/>
                    </a:lnTo>
                    <a:lnTo>
                      <a:pt x="710" y="554"/>
                    </a:lnTo>
                    <a:lnTo>
                      <a:pt x="713" y="568"/>
                    </a:lnTo>
                    <a:lnTo>
                      <a:pt x="723" y="578"/>
                    </a:lnTo>
                    <a:lnTo>
                      <a:pt x="727" y="578"/>
                    </a:lnTo>
                    <a:lnTo>
                      <a:pt x="730" y="575"/>
                    </a:lnTo>
                    <a:lnTo>
                      <a:pt x="734" y="571"/>
                    </a:lnTo>
                    <a:lnTo>
                      <a:pt x="741" y="564"/>
                    </a:lnTo>
                    <a:lnTo>
                      <a:pt x="751" y="554"/>
                    </a:lnTo>
                    <a:lnTo>
                      <a:pt x="758" y="536"/>
                    </a:lnTo>
                    <a:lnTo>
                      <a:pt x="768" y="512"/>
                    </a:lnTo>
                    <a:lnTo>
                      <a:pt x="768" y="509"/>
                    </a:lnTo>
                    <a:lnTo>
                      <a:pt x="768" y="498"/>
                    </a:lnTo>
                    <a:lnTo>
                      <a:pt x="772" y="484"/>
                    </a:lnTo>
                    <a:lnTo>
                      <a:pt x="775" y="467"/>
                    </a:lnTo>
                    <a:lnTo>
                      <a:pt x="786" y="422"/>
                    </a:lnTo>
                    <a:lnTo>
                      <a:pt x="799" y="367"/>
                    </a:lnTo>
                    <a:lnTo>
                      <a:pt x="817" y="315"/>
                    </a:lnTo>
                    <a:lnTo>
                      <a:pt x="834" y="266"/>
                    </a:lnTo>
                    <a:lnTo>
                      <a:pt x="841" y="246"/>
                    </a:lnTo>
                    <a:lnTo>
                      <a:pt x="848" y="232"/>
                    </a:lnTo>
                    <a:lnTo>
                      <a:pt x="855" y="218"/>
                    </a:lnTo>
                    <a:lnTo>
                      <a:pt x="865" y="214"/>
                    </a:lnTo>
                    <a:lnTo>
                      <a:pt x="865" y="211"/>
                    </a:lnTo>
                    <a:lnTo>
                      <a:pt x="872" y="201"/>
                    </a:lnTo>
                    <a:lnTo>
                      <a:pt x="879" y="187"/>
                    </a:lnTo>
                    <a:lnTo>
                      <a:pt x="886" y="166"/>
                    </a:lnTo>
                    <a:lnTo>
                      <a:pt x="889" y="138"/>
                    </a:lnTo>
                    <a:lnTo>
                      <a:pt x="893" y="111"/>
                    </a:lnTo>
                    <a:lnTo>
                      <a:pt x="886" y="72"/>
                    </a:lnTo>
                    <a:lnTo>
                      <a:pt x="876" y="34"/>
                    </a:lnTo>
                    <a:lnTo>
                      <a:pt x="872" y="31"/>
                    </a:lnTo>
                    <a:lnTo>
                      <a:pt x="869" y="24"/>
                    </a:lnTo>
                    <a:lnTo>
                      <a:pt x="848" y="7"/>
                    </a:lnTo>
                    <a:lnTo>
                      <a:pt x="834" y="3"/>
                    </a:lnTo>
                    <a:lnTo>
                      <a:pt x="817" y="0"/>
                    </a:lnTo>
                    <a:lnTo>
                      <a:pt x="796" y="7"/>
                    </a:lnTo>
                    <a:lnTo>
                      <a:pt x="772" y="21"/>
                    </a:lnTo>
                    <a:lnTo>
                      <a:pt x="768" y="21"/>
                    </a:lnTo>
                    <a:lnTo>
                      <a:pt x="758" y="27"/>
                    </a:lnTo>
                    <a:lnTo>
                      <a:pt x="748" y="34"/>
                    </a:lnTo>
                    <a:lnTo>
                      <a:pt x="730" y="45"/>
                    </a:lnTo>
                    <a:lnTo>
                      <a:pt x="689" y="69"/>
                    </a:lnTo>
                    <a:lnTo>
                      <a:pt x="637" y="100"/>
                    </a:lnTo>
                    <a:lnTo>
                      <a:pt x="581" y="131"/>
                    </a:lnTo>
                    <a:lnTo>
                      <a:pt x="530" y="162"/>
                    </a:lnTo>
                    <a:lnTo>
                      <a:pt x="481" y="187"/>
                    </a:lnTo>
                    <a:lnTo>
                      <a:pt x="460" y="194"/>
                    </a:lnTo>
                    <a:lnTo>
                      <a:pt x="446" y="201"/>
                    </a:lnTo>
                    <a:lnTo>
                      <a:pt x="443" y="201"/>
                    </a:lnTo>
                    <a:lnTo>
                      <a:pt x="436" y="204"/>
                    </a:lnTo>
                    <a:lnTo>
                      <a:pt x="429" y="211"/>
                    </a:lnTo>
                    <a:lnTo>
                      <a:pt x="419" y="225"/>
                    </a:lnTo>
                    <a:lnTo>
                      <a:pt x="412" y="239"/>
                    </a:lnTo>
                    <a:lnTo>
                      <a:pt x="405" y="263"/>
                    </a:lnTo>
                    <a:lnTo>
                      <a:pt x="402" y="291"/>
                    </a:lnTo>
                    <a:lnTo>
                      <a:pt x="402" y="325"/>
                    </a:lnTo>
                    <a:lnTo>
                      <a:pt x="398" y="329"/>
                    </a:lnTo>
                    <a:lnTo>
                      <a:pt x="398" y="336"/>
                    </a:lnTo>
                    <a:lnTo>
                      <a:pt x="398" y="353"/>
                    </a:lnTo>
                    <a:lnTo>
                      <a:pt x="395" y="370"/>
                    </a:lnTo>
                    <a:lnTo>
                      <a:pt x="395" y="394"/>
                    </a:lnTo>
                    <a:lnTo>
                      <a:pt x="391" y="422"/>
                    </a:lnTo>
                    <a:lnTo>
                      <a:pt x="384" y="481"/>
                    </a:lnTo>
                    <a:lnTo>
                      <a:pt x="377" y="543"/>
                    </a:lnTo>
                    <a:lnTo>
                      <a:pt x="370" y="599"/>
                    </a:lnTo>
                    <a:lnTo>
                      <a:pt x="367" y="623"/>
                    </a:lnTo>
                    <a:lnTo>
                      <a:pt x="363" y="644"/>
                    </a:lnTo>
                    <a:lnTo>
                      <a:pt x="360" y="661"/>
                    </a:lnTo>
                    <a:lnTo>
                      <a:pt x="357" y="675"/>
                    </a:lnTo>
                    <a:lnTo>
                      <a:pt x="45" y="716"/>
                    </a:lnTo>
                    <a:close/>
                  </a:path>
                </a:pathLst>
              </a:custGeom>
              <a:solidFill>
                <a:srgbClr val="FED100"/>
              </a:solidFill>
              <a:ln w="0">
                <a:solidFill>
                  <a:srgbClr val="FED1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06" name="Freeform 175"/>
              <p:cNvSpPr>
                <a:spLocks/>
              </p:cNvSpPr>
              <p:nvPr/>
            </p:nvSpPr>
            <p:spPr bwMode="auto">
              <a:xfrm>
                <a:off x="1108" y="2972"/>
                <a:ext cx="173" cy="305"/>
              </a:xfrm>
              <a:custGeom>
                <a:avLst/>
                <a:gdLst>
                  <a:gd name="T0" fmla="*/ 31 w 173"/>
                  <a:gd name="T1" fmla="*/ 0 h 305"/>
                  <a:gd name="T2" fmla="*/ 31 w 173"/>
                  <a:gd name="T3" fmla="*/ 0 h 305"/>
                  <a:gd name="T4" fmla="*/ 31 w 173"/>
                  <a:gd name="T5" fmla="*/ 11 h 305"/>
                  <a:gd name="T6" fmla="*/ 34 w 173"/>
                  <a:gd name="T7" fmla="*/ 24 h 305"/>
                  <a:gd name="T8" fmla="*/ 34 w 173"/>
                  <a:gd name="T9" fmla="*/ 42 h 305"/>
                  <a:gd name="T10" fmla="*/ 38 w 173"/>
                  <a:gd name="T11" fmla="*/ 87 h 305"/>
                  <a:gd name="T12" fmla="*/ 41 w 173"/>
                  <a:gd name="T13" fmla="*/ 139 h 305"/>
                  <a:gd name="T14" fmla="*/ 41 w 173"/>
                  <a:gd name="T15" fmla="*/ 191 h 305"/>
                  <a:gd name="T16" fmla="*/ 34 w 173"/>
                  <a:gd name="T17" fmla="*/ 243 h 305"/>
                  <a:gd name="T18" fmla="*/ 27 w 173"/>
                  <a:gd name="T19" fmla="*/ 263 h 305"/>
                  <a:gd name="T20" fmla="*/ 21 w 173"/>
                  <a:gd name="T21" fmla="*/ 281 h 305"/>
                  <a:gd name="T22" fmla="*/ 10 w 173"/>
                  <a:gd name="T23" fmla="*/ 295 h 305"/>
                  <a:gd name="T24" fmla="*/ 0 w 173"/>
                  <a:gd name="T25" fmla="*/ 305 h 305"/>
                  <a:gd name="T26" fmla="*/ 0 w 173"/>
                  <a:gd name="T27" fmla="*/ 301 h 305"/>
                  <a:gd name="T28" fmla="*/ 7 w 173"/>
                  <a:gd name="T29" fmla="*/ 301 h 305"/>
                  <a:gd name="T30" fmla="*/ 24 w 173"/>
                  <a:gd name="T31" fmla="*/ 291 h 305"/>
                  <a:gd name="T32" fmla="*/ 52 w 173"/>
                  <a:gd name="T33" fmla="*/ 274 h 305"/>
                  <a:gd name="T34" fmla="*/ 86 w 173"/>
                  <a:gd name="T35" fmla="*/ 250 h 305"/>
                  <a:gd name="T36" fmla="*/ 117 w 173"/>
                  <a:gd name="T37" fmla="*/ 222 h 305"/>
                  <a:gd name="T38" fmla="*/ 145 w 173"/>
                  <a:gd name="T39" fmla="*/ 184 h 305"/>
                  <a:gd name="T40" fmla="*/ 162 w 173"/>
                  <a:gd name="T41" fmla="*/ 142 h 305"/>
                  <a:gd name="T42" fmla="*/ 169 w 173"/>
                  <a:gd name="T43" fmla="*/ 121 h 305"/>
                  <a:gd name="T44" fmla="*/ 173 w 173"/>
                  <a:gd name="T45" fmla="*/ 97 h 305"/>
                  <a:gd name="T46" fmla="*/ 169 w 173"/>
                  <a:gd name="T47" fmla="*/ 90 h 305"/>
                  <a:gd name="T48" fmla="*/ 166 w 173"/>
                  <a:gd name="T49" fmla="*/ 80 h 305"/>
                  <a:gd name="T50" fmla="*/ 159 w 173"/>
                  <a:gd name="T51" fmla="*/ 66 h 305"/>
                  <a:gd name="T52" fmla="*/ 149 w 173"/>
                  <a:gd name="T53" fmla="*/ 49 h 305"/>
                  <a:gd name="T54" fmla="*/ 128 w 173"/>
                  <a:gd name="T55" fmla="*/ 31 h 305"/>
                  <a:gd name="T56" fmla="*/ 104 w 173"/>
                  <a:gd name="T57" fmla="*/ 18 h 305"/>
                  <a:gd name="T58" fmla="*/ 72 w 173"/>
                  <a:gd name="T59" fmla="*/ 4 h 305"/>
                  <a:gd name="T60" fmla="*/ 31 w 173"/>
                  <a:gd name="T61" fmla="*/ 0 h 305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73"/>
                  <a:gd name="T94" fmla="*/ 0 h 305"/>
                  <a:gd name="T95" fmla="*/ 173 w 173"/>
                  <a:gd name="T96" fmla="*/ 305 h 305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73" h="305">
                    <a:moveTo>
                      <a:pt x="31" y="0"/>
                    </a:moveTo>
                    <a:lnTo>
                      <a:pt x="31" y="0"/>
                    </a:lnTo>
                    <a:lnTo>
                      <a:pt x="31" y="11"/>
                    </a:lnTo>
                    <a:lnTo>
                      <a:pt x="34" y="24"/>
                    </a:lnTo>
                    <a:lnTo>
                      <a:pt x="34" y="42"/>
                    </a:lnTo>
                    <a:lnTo>
                      <a:pt x="38" y="87"/>
                    </a:lnTo>
                    <a:lnTo>
                      <a:pt x="41" y="139"/>
                    </a:lnTo>
                    <a:lnTo>
                      <a:pt x="41" y="191"/>
                    </a:lnTo>
                    <a:lnTo>
                      <a:pt x="34" y="243"/>
                    </a:lnTo>
                    <a:lnTo>
                      <a:pt x="27" y="263"/>
                    </a:lnTo>
                    <a:lnTo>
                      <a:pt x="21" y="281"/>
                    </a:lnTo>
                    <a:lnTo>
                      <a:pt x="10" y="295"/>
                    </a:lnTo>
                    <a:lnTo>
                      <a:pt x="0" y="305"/>
                    </a:lnTo>
                    <a:lnTo>
                      <a:pt x="0" y="301"/>
                    </a:lnTo>
                    <a:lnTo>
                      <a:pt x="7" y="301"/>
                    </a:lnTo>
                    <a:lnTo>
                      <a:pt x="24" y="291"/>
                    </a:lnTo>
                    <a:lnTo>
                      <a:pt x="52" y="274"/>
                    </a:lnTo>
                    <a:lnTo>
                      <a:pt x="86" y="250"/>
                    </a:lnTo>
                    <a:lnTo>
                      <a:pt x="117" y="222"/>
                    </a:lnTo>
                    <a:lnTo>
                      <a:pt x="145" y="184"/>
                    </a:lnTo>
                    <a:lnTo>
                      <a:pt x="162" y="142"/>
                    </a:lnTo>
                    <a:lnTo>
                      <a:pt x="169" y="121"/>
                    </a:lnTo>
                    <a:lnTo>
                      <a:pt x="173" y="97"/>
                    </a:lnTo>
                    <a:lnTo>
                      <a:pt x="169" y="90"/>
                    </a:lnTo>
                    <a:lnTo>
                      <a:pt x="166" y="80"/>
                    </a:lnTo>
                    <a:lnTo>
                      <a:pt x="159" y="66"/>
                    </a:lnTo>
                    <a:lnTo>
                      <a:pt x="149" y="49"/>
                    </a:lnTo>
                    <a:lnTo>
                      <a:pt x="128" y="31"/>
                    </a:lnTo>
                    <a:lnTo>
                      <a:pt x="104" y="18"/>
                    </a:lnTo>
                    <a:lnTo>
                      <a:pt x="72" y="4"/>
                    </a:lnTo>
                    <a:lnTo>
                      <a:pt x="31" y="0"/>
                    </a:lnTo>
                    <a:close/>
                  </a:path>
                </a:pathLst>
              </a:custGeom>
              <a:solidFill>
                <a:srgbClr val="B5B4B4"/>
              </a:solidFill>
              <a:ln w="0">
                <a:solidFill>
                  <a:srgbClr val="B5B4B4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07" name="Freeform 176"/>
              <p:cNvSpPr>
                <a:spLocks/>
              </p:cNvSpPr>
              <p:nvPr/>
            </p:nvSpPr>
            <p:spPr bwMode="auto">
              <a:xfrm>
                <a:off x="890" y="2903"/>
                <a:ext cx="34" cy="239"/>
              </a:xfrm>
              <a:custGeom>
                <a:avLst/>
                <a:gdLst>
                  <a:gd name="T0" fmla="*/ 0 w 34"/>
                  <a:gd name="T1" fmla="*/ 0 h 239"/>
                  <a:gd name="T2" fmla="*/ 34 w 34"/>
                  <a:gd name="T3" fmla="*/ 149 h 239"/>
                  <a:gd name="T4" fmla="*/ 7 w 34"/>
                  <a:gd name="T5" fmla="*/ 239 h 239"/>
                  <a:gd name="T6" fmla="*/ 24 w 34"/>
                  <a:gd name="T7" fmla="*/ 145 h 239"/>
                  <a:gd name="T8" fmla="*/ 0 w 34"/>
                  <a:gd name="T9" fmla="*/ 0 h 23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4"/>
                  <a:gd name="T16" fmla="*/ 0 h 239"/>
                  <a:gd name="T17" fmla="*/ 34 w 34"/>
                  <a:gd name="T18" fmla="*/ 239 h 23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4" h="239">
                    <a:moveTo>
                      <a:pt x="0" y="0"/>
                    </a:moveTo>
                    <a:lnTo>
                      <a:pt x="34" y="149"/>
                    </a:lnTo>
                    <a:lnTo>
                      <a:pt x="7" y="239"/>
                    </a:lnTo>
                    <a:lnTo>
                      <a:pt x="24" y="14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08" name="Freeform 177"/>
              <p:cNvSpPr>
                <a:spLocks/>
              </p:cNvSpPr>
              <p:nvPr/>
            </p:nvSpPr>
            <p:spPr bwMode="auto">
              <a:xfrm>
                <a:off x="976" y="2854"/>
                <a:ext cx="63" cy="274"/>
              </a:xfrm>
              <a:custGeom>
                <a:avLst/>
                <a:gdLst>
                  <a:gd name="T0" fmla="*/ 0 w 63"/>
                  <a:gd name="T1" fmla="*/ 0 h 274"/>
                  <a:gd name="T2" fmla="*/ 63 w 63"/>
                  <a:gd name="T3" fmla="*/ 181 h 274"/>
                  <a:gd name="T4" fmla="*/ 38 w 63"/>
                  <a:gd name="T5" fmla="*/ 274 h 274"/>
                  <a:gd name="T6" fmla="*/ 59 w 63"/>
                  <a:gd name="T7" fmla="*/ 181 h 274"/>
                  <a:gd name="T8" fmla="*/ 0 w 63"/>
                  <a:gd name="T9" fmla="*/ 0 h 27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3"/>
                  <a:gd name="T16" fmla="*/ 0 h 274"/>
                  <a:gd name="T17" fmla="*/ 63 w 63"/>
                  <a:gd name="T18" fmla="*/ 274 h 27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3" h="274">
                    <a:moveTo>
                      <a:pt x="0" y="0"/>
                    </a:moveTo>
                    <a:lnTo>
                      <a:pt x="63" y="181"/>
                    </a:lnTo>
                    <a:lnTo>
                      <a:pt x="38" y="274"/>
                    </a:lnTo>
                    <a:lnTo>
                      <a:pt x="59" y="18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09" name="Freeform 178"/>
              <p:cNvSpPr>
                <a:spLocks/>
              </p:cNvSpPr>
              <p:nvPr/>
            </p:nvSpPr>
            <p:spPr bwMode="auto">
              <a:xfrm>
                <a:off x="872" y="3204"/>
                <a:ext cx="83" cy="18"/>
              </a:xfrm>
              <a:custGeom>
                <a:avLst/>
                <a:gdLst>
                  <a:gd name="T0" fmla="*/ 83 w 83"/>
                  <a:gd name="T1" fmla="*/ 0 h 18"/>
                  <a:gd name="T2" fmla="*/ 0 w 83"/>
                  <a:gd name="T3" fmla="*/ 11 h 18"/>
                  <a:gd name="T4" fmla="*/ 0 w 83"/>
                  <a:gd name="T5" fmla="*/ 18 h 18"/>
                  <a:gd name="T6" fmla="*/ 83 w 83"/>
                  <a:gd name="T7" fmla="*/ 0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3"/>
                  <a:gd name="T13" fmla="*/ 0 h 18"/>
                  <a:gd name="T14" fmla="*/ 83 w 83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3" h="18">
                    <a:moveTo>
                      <a:pt x="83" y="0"/>
                    </a:moveTo>
                    <a:lnTo>
                      <a:pt x="0" y="11"/>
                    </a:lnTo>
                    <a:lnTo>
                      <a:pt x="0" y="18"/>
                    </a:lnTo>
                    <a:lnTo>
                      <a:pt x="83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10" name="Freeform 179"/>
              <p:cNvSpPr>
                <a:spLocks/>
              </p:cNvSpPr>
              <p:nvPr/>
            </p:nvSpPr>
            <p:spPr bwMode="auto">
              <a:xfrm>
                <a:off x="834" y="2913"/>
                <a:ext cx="59" cy="104"/>
              </a:xfrm>
              <a:custGeom>
                <a:avLst/>
                <a:gdLst>
                  <a:gd name="T0" fmla="*/ 59 w 59"/>
                  <a:gd name="T1" fmla="*/ 104 h 104"/>
                  <a:gd name="T2" fmla="*/ 42 w 59"/>
                  <a:gd name="T3" fmla="*/ 0 h 104"/>
                  <a:gd name="T4" fmla="*/ 52 w 59"/>
                  <a:gd name="T5" fmla="*/ 101 h 104"/>
                  <a:gd name="T6" fmla="*/ 0 w 59"/>
                  <a:gd name="T7" fmla="*/ 101 h 104"/>
                  <a:gd name="T8" fmla="*/ 59 w 59"/>
                  <a:gd name="T9" fmla="*/ 104 h 10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9"/>
                  <a:gd name="T16" fmla="*/ 0 h 104"/>
                  <a:gd name="T17" fmla="*/ 59 w 59"/>
                  <a:gd name="T18" fmla="*/ 104 h 10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9" h="104">
                    <a:moveTo>
                      <a:pt x="59" y="104"/>
                    </a:moveTo>
                    <a:lnTo>
                      <a:pt x="42" y="0"/>
                    </a:lnTo>
                    <a:lnTo>
                      <a:pt x="52" y="101"/>
                    </a:lnTo>
                    <a:lnTo>
                      <a:pt x="0" y="101"/>
                    </a:lnTo>
                    <a:lnTo>
                      <a:pt x="59" y="104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11" name="Freeform 180"/>
              <p:cNvSpPr>
                <a:spLocks/>
              </p:cNvSpPr>
              <p:nvPr/>
            </p:nvSpPr>
            <p:spPr bwMode="auto">
              <a:xfrm>
                <a:off x="834" y="3038"/>
                <a:ext cx="59" cy="80"/>
              </a:xfrm>
              <a:custGeom>
                <a:avLst/>
                <a:gdLst>
                  <a:gd name="T0" fmla="*/ 0 w 59"/>
                  <a:gd name="T1" fmla="*/ 0 h 80"/>
                  <a:gd name="T2" fmla="*/ 59 w 59"/>
                  <a:gd name="T3" fmla="*/ 10 h 80"/>
                  <a:gd name="T4" fmla="*/ 45 w 59"/>
                  <a:gd name="T5" fmla="*/ 80 h 80"/>
                  <a:gd name="T6" fmla="*/ 52 w 59"/>
                  <a:gd name="T7" fmla="*/ 21 h 80"/>
                  <a:gd name="T8" fmla="*/ 0 w 59"/>
                  <a:gd name="T9" fmla="*/ 0 h 8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9"/>
                  <a:gd name="T16" fmla="*/ 0 h 80"/>
                  <a:gd name="T17" fmla="*/ 59 w 59"/>
                  <a:gd name="T18" fmla="*/ 80 h 8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9" h="80">
                    <a:moveTo>
                      <a:pt x="0" y="0"/>
                    </a:moveTo>
                    <a:lnTo>
                      <a:pt x="59" y="10"/>
                    </a:lnTo>
                    <a:lnTo>
                      <a:pt x="45" y="80"/>
                    </a:lnTo>
                    <a:lnTo>
                      <a:pt x="52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12" name="Freeform 181"/>
              <p:cNvSpPr>
                <a:spLocks/>
              </p:cNvSpPr>
              <p:nvPr/>
            </p:nvSpPr>
            <p:spPr bwMode="auto">
              <a:xfrm>
                <a:off x="865" y="2851"/>
                <a:ext cx="90" cy="14"/>
              </a:xfrm>
              <a:custGeom>
                <a:avLst/>
                <a:gdLst>
                  <a:gd name="T0" fmla="*/ 90 w 90"/>
                  <a:gd name="T1" fmla="*/ 3 h 14"/>
                  <a:gd name="T2" fmla="*/ 87 w 90"/>
                  <a:gd name="T3" fmla="*/ 3 h 14"/>
                  <a:gd name="T4" fmla="*/ 80 w 90"/>
                  <a:gd name="T5" fmla="*/ 3 h 14"/>
                  <a:gd name="T6" fmla="*/ 66 w 90"/>
                  <a:gd name="T7" fmla="*/ 7 h 14"/>
                  <a:gd name="T8" fmla="*/ 56 w 90"/>
                  <a:gd name="T9" fmla="*/ 7 h 14"/>
                  <a:gd name="T10" fmla="*/ 25 w 90"/>
                  <a:gd name="T11" fmla="*/ 7 h 14"/>
                  <a:gd name="T12" fmla="*/ 0 w 90"/>
                  <a:gd name="T13" fmla="*/ 0 h 14"/>
                  <a:gd name="T14" fmla="*/ 0 w 90"/>
                  <a:gd name="T15" fmla="*/ 0 h 14"/>
                  <a:gd name="T16" fmla="*/ 4 w 90"/>
                  <a:gd name="T17" fmla="*/ 3 h 14"/>
                  <a:gd name="T18" fmla="*/ 25 w 90"/>
                  <a:gd name="T19" fmla="*/ 10 h 14"/>
                  <a:gd name="T20" fmla="*/ 39 w 90"/>
                  <a:gd name="T21" fmla="*/ 14 h 14"/>
                  <a:gd name="T22" fmla="*/ 52 w 90"/>
                  <a:gd name="T23" fmla="*/ 14 h 14"/>
                  <a:gd name="T24" fmla="*/ 70 w 90"/>
                  <a:gd name="T25" fmla="*/ 10 h 14"/>
                  <a:gd name="T26" fmla="*/ 90 w 90"/>
                  <a:gd name="T27" fmla="*/ 3 h 1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90"/>
                  <a:gd name="T43" fmla="*/ 0 h 14"/>
                  <a:gd name="T44" fmla="*/ 90 w 90"/>
                  <a:gd name="T45" fmla="*/ 14 h 14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90" h="14">
                    <a:moveTo>
                      <a:pt x="90" y="3"/>
                    </a:moveTo>
                    <a:lnTo>
                      <a:pt x="87" y="3"/>
                    </a:lnTo>
                    <a:lnTo>
                      <a:pt x="80" y="3"/>
                    </a:lnTo>
                    <a:lnTo>
                      <a:pt x="66" y="7"/>
                    </a:lnTo>
                    <a:lnTo>
                      <a:pt x="56" y="7"/>
                    </a:lnTo>
                    <a:lnTo>
                      <a:pt x="25" y="7"/>
                    </a:lnTo>
                    <a:lnTo>
                      <a:pt x="0" y="0"/>
                    </a:lnTo>
                    <a:lnTo>
                      <a:pt x="4" y="3"/>
                    </a:lnTo>
                    <a:lnTo>
                      <a:pt x="25" y="10"/>
                    </a:lnTo>
                    <a:lnTo>
                      <a:pt x="39" y="14"/>
                    </a:lnTo>
                    <a:lnTo>
                      <a:pt x="52" y="14"/>
                    </a:lnTo>
                    <a:lnTo>
                      <a:pt x="70" y="10"/>
                    </a:lnTo>
                    <a:lnTo>
                      <a:pt x="90" y="3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13" name="Freeform 182"/>
              <p:cNvSpPr>
                <a:spLocks/>
              </p:cNvSpPr>
              <p:nvPr/>
            </p:nvSpPr>
            <p:spPr bwMode="auto">
              <a:xfrm>
                <a:off x="862" y="2719"/>
                <a:ext cx="38" cy="125"/>
              </a:xfrm>
              <a:custGeom>
                <a:avLst/>
                <a:gdLst>
                  <a:gd name="T0" fmla="*/ 0 w 38"/>
                  <a:gd name="T1" fmla="*/ 125 h 125"/>
                  <a:gd name="T2" fmla="*/ 0 w 38"/>
                  <a:gd name="T3" fmla="*/ 118 h 125"/>
                  <a:gd name="T4" fmla="*/ 0 w 38"/>
                  <a:gd name="T5" fmla="*/ 108 h 125"/>
                  <a:gd name="T6" fmla="*/ 0 w 38"/>
                  <a:gd name="T7" fmla="*/ 90 h 125"/>
                  <a:gd name="T8" fmla="*/ 3 w 38"/>
                  <a:gd name="T9" fmla="*/ 73 h 125"/>
                  <a:gd name="T10" fmla="*/ 14 w 38"/>
                  <a:gd name="T11" fmla="*/ 32 h 125"/>
                  <a:gd name="T12" fmla="*/ 24 w 38"/>
                  <a:gd name="T13" fmla="*/ 11 h 125"/>
                  <a:gd name="T14" fmla="*/ 38 w 38"/>
                  <a:gd name="T15" fmla="*/ 0 h 125"/>
                  <a:gd name="T16" fmla="*/ 35 w 38"/>
                  <a:gd name="T17" fmla="*/ 4 h 125"/>
                  <a:gd name="T18" fmla="*/ 31 w 38"/>
                  <a:gd name="T19" fmla="*/ 11 h 125"/>
                  <a:gd name="T20" fmla="*/ 24 w 38"/>
                  <a:gd name="T21" fmla="*/ 25 h 125"/>
                  <a:gd name="T22" fmla="*/ 17 w 38"/>
                  <a:gd name="T23" fmla="*/ 45 h 125"/>
                  <a:gd name="T24" fmla="*/ 7 w 38"/>
                  <a:gd name="T25" fmla="*/ 84 h 125"/>
                  <a:gd name="T26" fmla="*/ 0 w 38"/>
                  <a:gd name="T27" fmla="*/ 125 h 1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38"/>
                  <a:gd name="T43" fmla="*/ 0 h 125"/>
                  <a:gd name="T44" fmla="*/ 38 w 38"/>
                  <a:gd name="T45" fmla="*/ 125 h 12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38" h="125">
                    <a:moveTo>
                      <a:pt x="0" y="125"/>
                    </a:moveTo>
                    <a:lnTo>
                      <a:pt x="0" y="118"/>
                    </a:lnTo>
                    <a:lnTo>
                      <a:pt x="0" y="108"/>
                    </a:lnTo>
                    <a:lnTo>
                      <a:pt x="0" y="90"/>
                    </a:lnTo>
                    <a:lnTo>
                      <a:pt x="3" y="73"/>
                    </a:lnTo>
                    <a:lnTo>
                      <a:pt x="14" y="32"/>
                    </a:lnTo>
                    <a:lnTo>
                      <a:pt x="24" y="11"/>
                    </a:lnTo>
                    <a:lnTo>
                      <a:pt x="38" y="0"/>
                    </a:lnTo>
                    <a:lnTo>
                      <a:pt x="35" y="4"/>
                    </a:lnTo>
                    <a:lnTo>
                      <a:pt x="31" y="11"/>
                    </a:lnTo>
                    <a:lnTo>
                      <a:pt x="24" y="25"/>
                    </a:lnTo>
                    <a:lnTo>
                      <a:pt x="17" y="45"/>
                    </a:lnTo>
                    <a:lnTo>
                      <a:pt x="7" y="84"/>
                    </a:lnTo>
                    <a:lnTo>
                      <a:pt x="0" y="125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14" name="Freeform 183"/>
              <p:cNvSpPr>
                <a:spLocks/>
              </p:cNvSpPr>
              <p:nvPr/>
            </p:nvSpPr>
            <p:spPr bwMode="auto">
              <a:xfrm>
                <a:off x="834" y="2716"/>
                <a:ext cx="42" cy="125"/>
              </a:xfrm>
              <a:custGeom>
                <a:avLst/>
                <a:gdLst>
                  <a:gd name="T0" fmla="*/ 0 w 42"/>
                  <a:gd name="T1" fmla="*/ 125 h 125"/>
                  <a:gd name="T2" fmla="*/ 0 w 42"/>
                  <a:gd name="T3" fmla="*/ 118 h 125"/>
                  <a:gd name="T4" fmla="*/ 0 w 42"/>
                  <a:gd name="T5" fmla="*/ 107 h 125"/>
                  <a:gd name="T6" fmla="*/ 0 w 42"/>
                  <a:gd name="T7" fmla="*/ 90 h 125"/>
                  <a:gd name="T8" fmla="*/ 4 w 42"/>
                  <a:gd name="T9" fmla="*/ 73 h 125"/>
                  <a:gd name="T10" fmla="*/ 18 w 42"/>
                  <a:gd name="T11" fmla="*/ 31 h 125"/>
                  <a:gd name="T12" fmla="*/ 28 w 42"/>
                  <a:gd name="T13" fmla="*/ 10 h 125"/>
                  <a:gd name="T14" fmla="*/ 42 w 42"/>
                  <a:gd name="T15" fmla="*/ 0 h 125"/>
                  <a:gd name="T16" fmla="*/ 38 w 42"/>
                  <a:gd name="T17" fmla="*/ 3 h 125"/>
                  <a:gd name="T18" fmla="*/ 35 w 42"/>
                  <a:gd name="T19" fmla="*/ 10 h 125"/>
                  <a:gd name="T20" fmla="*/ 28 w 42"/>
                  <a:gd name="T21" fmla="*/ 24 h 125"/>
                  <a:gd name="T22" fmla="*/ 21 w 42"/>
                  <a:gd name="T23" fmla="*/ 42 h 125"/>
                  <a:gd name="T24" fmla="*/ 7 w 42"/>
                  <a:gd name="T25" fmla="*/ 83 h 125"/>
                  <a:gd name="T26" fmla="*/ 0 w 42"/>
                  <a:gd name="T27" fmla="*/ 125 h 12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2"/>
                  <a:gd name="T43" fmla="*/ 0 h 125"/>
                  <a:gd name="T44" fmla="*/ 42 w 42"/>
                  <a:gd name="T45" fmla="*/ 125 h 12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2" h="125">
                    <a:moveTo>
                      <a:pt x="0" y="125"/>
                    </a:moveTo>
                    <a:lnTo>
                      <a:pt x="0" y="118"/>
                    </a:lnTo>
                    <a:lnTo>
                      <a:pt x="0" y="107"/>
                    </a:lnTo>
                    <a:lnTo>
                      <a:pt x="0" y="90"/>
                    </a:lnTo>
                    <a:lnTo>
                      <a:pt x="4" y="73"/>
                    </a:lnTo>
                    <a:lnTo>
                      <a:pt x="18" y="31"/>
                    </a:lnTo>
                    <a:lnTo>
                      <a:pt x="28" y="10"/>
                    </a:lnTo>
                    <a:lnTo>
                      <a:pt x="42" y="0"/>
                    </a:lnTo>
                    <a:lnTo>
                      <a:pt x="38" y="3"/>
                    </a:lnTo>
                    <a:lnTo>
                      <a:pt x="35" y="10"/>
                    </a:lnTo>
                    <a:lnTo>
                      <a:pt x="28" y="24"/>
                    </a:lnTo>
                    <a:lnTo>
                      <a:pt x="21" y="42"/>
                    </a:lnTo>
                    <a:lnTo>
                      <a:pt x="7" y="83"/>
                    </a:lnTo>
                    <a:lnTo>
                      <a:pt x="0" y="125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15" name="Freeform 184"/>
              <p:cNvSpPr>
                <a:spLocks/>
              </p:cNvSpPr>
              <p:nvPr/>
            </p:nvSpPr>
            <p:spPr bwMode="auto">
              <a:xfrm>
                <a:off x="834" y="2626"/>
                <a:ext cx="45" cy="62"/>
              </a:xfrm>
              <a:custGeom>
                <a:avLst/>
                <a:gdLst>
                  <a:gd name="T0" fmla="*/ 42 w 45"/>
                  <a:gd name="T1" fmla="*/ 62 h 62"/>
                  <a:gd name="T2" fmla="*/ 42 w 45"/>
                  <a:gd name="T3" fmla="*/ 59 h 62"/>
                  <a:gd name="T4" fmla="*/ 42 w 45"/>
                  <a:gd name="T5" fmla="*/ 55 h 62"/>
                  <a:gd name="T6" fmla="*/ 42 w 45"/>
                  <a:gd name="T7" fmla="*/ 38 h 62"/>
                  <a:gd name="T8" fmla="*/ 35 w 45"/>
                  <a:gd name="T9" fmla="*/ 28 h 62"/>
                  <a:gd name="T10" fmla="*/ 28 w 45"/>
                  <a:gd name="T11" fmla="*/ 17 h 62"/>
                  <a:gd name="T12" fmla="*/ 18 w 45"/>
                  <a:gd name="T13" fmla="*/ 7 h 62"/>
                  <a:gd name="T14" fmla="*/ 0 w 45"/>
                  <a:gd name="T15" fmla="*/ 0 h 62"/>
                  <a:gd name="T16" fmla="*/ 0 w 45"/>
                  <a:gd name="T17" fmla="*/ 0 h 62"/>
                  <a:gd name="T18" fmla="*/ 7 w 45"/>
                  <a:gd name="T19" fmla="*/ 3 h 62"/>
                  <a:gd name="T20" fmla="*/ 28 w 45"/>
                  <a:gd name="T21" fmla="*/ 14 h 62"/>
                  <a:gd name="T22" fmla="*/ 38 w 45"/>
                  <a:gd name="T23" fmla="*/ 24 h 62"/>
                  <a:gd name="T24" fmla="*/ 45 w 45"/>
                  <a:gd name="T25" fmla="*/ 35 h 62"/>
                  <a:gd name="T26" fmla="*/ 45 w 45"/>
                  <a:gd name="T27" fmla="*/ 45 h 62"/>
                  <a:gd name="T28" fmla="*/ 42 w 45"/>
                  <a:gd name="T29" fmla="*/ 62 h 6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45"/>
                  <a:gd name="T46" fmla="*/ 0 h 62"/>
                  <a:gd name="T47" fmla="*/ 45 w 45"/>
                  <a:gd name="T48" fmla="*/ 62 h 6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45" h="62">
                    <a:moveTo>
                      <a:pt x="42" y="62"/>
                    </a:moveTo>
                    <a:lnTo>
                      <a:pt x="42" y="59"/>
                    </a:lnTo>
                    <a:lnTo>
                      <a:pt x="42" y="55"/>
                    </a:lnTo>
                    <a:lnTo>
                      <a:pt x="42" y="38"/>
                    </a:lnTo>
                    <a:lnTo>
                      <a:pt x="35" y="28"/>
                    </a:lnTo>
                    <a:lnTo>
                      <a:pt x="28" y="17"/>
                    </a:lnTo>
                    <a:lnTo>
                      <a:pt x="18" y="7"/>
                    </a:lnTo>
                    <a:lnTo>
                      <a:pt x="0" y="0"/>
                    </a:lnTo>
                    <a:lnTo>
                      <a:pt x="7" y="3"/>
                    </a:lnTo>
                    <a:lnTo>
                      <a:pt x="28" y="14"/>
                    </a:lnTo>
                    <a:lnTo>
                      <a:pt x="38" y="24"/>
                    </a:lnTo>
                    <a:lnTo>
                      <a:pt x="45" y="35"/>
                    </a:lnTo>
                    <a:lnTo>
                      <a:pt x="45" y="45"/>
                    </a:lnTo>
                    <a:lnTo>
                      <a:pt x="42" y="62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16" name="Freeform 185"/>
              <p:cNvSpPr>
                <a:spLocks/>
              </p:cNvSpPr>
              <p:nvPr/>
            </p:nvSpPr>
            <p:spPr bwMode="auto">
              <a:xfrm>
                <a:off x="776" y="2577"/>
                <a:ext cx="69" cy="451"/>
              </a:xfrm>
              <a:custGeom>
                <a:avLst/>
                <a:gdLst>
                  <a:gd name="T0" fmla="*/ 0 w 69"/>
                  <a:gd name="T1" fmla="*/ 451 h 451"/>
                  <a:gd name="T2" fmla="*/ 34 w 69"/>
                  <a:gd name="T3" fmla="*/ 52 h 451"/>
                  <a:gd name="T4" fmla="*/ 34 w 69"/>
                  <a:gd name="T5" fmla="*/ 45 h 451"/>
                  <a:gd name="T6" fmla="*/ 34 w 69"/>
                  <a:gd name="T7" fmla="*/ 32 h 451"/>
                  <a:gd name="T8" fmla="*/ 45 w 69"/>
                  <a:gd name="T9" fmla="*/ 14 h 451"/>
                  <a:gd name="T10" fmla="*/ 55 w 69"/>
                  <a:gd name="T11" fmla="*/ 7 h 451"/>
                  <a:gd name="T12" fmla="*/ 69 w 69"/>
                  <a:gd name="T13" fmla="*/ 0 h 451"/>
                  <a:gd name="T14" fmla="*/ 62 w 69"/>
                  <a:gd name="T15" fmla="*/ 4 h 451"/>
                  <a:gd name="T16" fmla="*/ 55 w 69"/>
                  <a:gd name="T17" fmla="*/ 14 h 451"/>
                  <a:gd name="T18" fmla="*/ 48 w 69"/>
                  <a:gd name="T19" fmla="*/ 32 h 451"/>
                  <a:gd name="T20" fmla="*/ 45 w 69"/>
                  <a:gd name="T21" fmla="*/ 59 h 451"/>
                  <a:gd name="T22" fmla="*/ 0 w 69"/>
                  <a:gd name="T23" fmla="*/ 451 h 45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69"/>
                  <a:gd name="T37" fmla="*/ 0 h 451"/>
                  <a:gd name="T38" fmla="*/ 69 w 69"/>
                  <a:gd name="T39" fmla="*/ 451 h 451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69" h="451">
                    <a:moveTo>
                      <a:pt x="0" y="451"/>
                    </a:moveTo>
                    <a:lnTo>
                      <a:pt x="34" y="52"/>
                    </a:lnTo>
                    <a:lnTo>
                      <a:pt x="34" y="45"/>
                    </a:lnTo>
                    <a:lnTo>
                      <a:pt x="34" y="32"/>
                    </a:lnTo>
                    <a:lnTo>
                      <a:pt x="45" y="14"/>
                    </a:lnTo>
                    <a:lnTo>
                      <a:pt x="55" y="7"/>
                    </a:lnTo>
                    <a:lnTo>
                      <a:pt x="69" y="0"/>
                    </a:lnTo>
                    <a:lnTo>
                      <a:pt x="62" y="4"/>
                    </a:lnTo>
                    <a:lnTo>
                      <a:pt x="55" y="14"/>
                    </a:lnTo>
                    <a:lnTo>
                      <a:pt x="48" y="32"/>
                    </a:lnTo>
                    <a:lnTo>
                      <a:pt x="45" y="59"/>
                    </a:lnTo>
                    <a:lnTo>
                      <a:pt x="0" y="451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17" name="Freeform 186"/>
              <p:cNvSpPr>
                <a:spLocks/>
              </p:cNvSpPr>
              <p:nvPr/>
            </p:nvSpPr>
            <p:spPr bwMode="auto">
              <a:xfrm>
                <a:off x="890" y="2442"/>
                <a:ext cx="297" cy="118"/>
              </a:xfrm>
              <a:custGeom>
                <a:avLst/>
                <a:gdLst>
                  <a:gd name="T0" fmla="*/ 0 w 297"/>
                  <a:gd name="T1" fmla="*/ 118 h 118"/>
                  <a:gd name="T2" fmla="*/ 0 w 297"/>
                  <a:gd name="T3" fmla="*/ 118 h 118"/>
                  <a:gd name="T4" fmla="*/ 0 w 297"/>
                  <a:gd name="T5" fmla="*/ 115 h 118"/>
                  <a:gd name="T6" fmla="*/ 7 w 297"/>
                  <a:gd name="T7" fmla="*/ 115 h 118"/>
                  <a:gd name="T8" fmla="*/ 20 w 297"/>
                  <a:gd name="T9" fmla="*/ 111 h 118"/>
                  <a:gd name="T10" fmla="*/ 34 w 297"/>
                  <a:gd name="T11" fmla="*/ 104 h 118"/>
                  <a:gd name="T12" fmla="*/ 72 w 297"/>
                  <a:gd name="T13" fmla="*/ 90 h 118"/>
                  <a:gd name="T14" fmla="*/ 117 w 297"/>
                  <a:gd name="T15" fmla="*/ 73 h 118"/>
                  <a:gd name="T16" fmla="*/ 169 w 297"/>
                  <a:gd name="T17" fmla="*/ 56 h 118"/>
                  <a:gd name="T18" fmla="*/ 218 w 297"/>
                  <a:gd name="T19" fmla="*/ 35 h 118"/>
                  <a:gd name="T20" fmla="*/ 263 w 297"/>
                  <a:gd name="T21" fmla="*/ 18 h 118"/>
                  <a:gd name="T22" fmla="*/ 297 w 297"/>
                  <a:gd name="T23" fmla="*/ 0 h 118"/>
                  <a:gd name="T24" fmla="*/ 294 w 297"/>
                  <a:gd name="T25" fmla="*/ 0 h 118"/>
                  <a:gd name="T26" fmla="*/ 287 w 297"/>
                  <a:gd name="T27" fmla="*/ 4 h 118"/>
                  <a:gd name="T28" fmla="*/ 277 w 297"/>
                  <a:gd name="T29" fmla="*/ 7 h 118"/>
                  <a:gd name="T30" fmla="*/ 266 w 297"/>
                  <a:gd name="T31" fmla="*/ 14 h 118"/>
                  <a:gd name="T32" fmla="*/ 232 w 297"/>
                  <a:gd name="T33" fmla="*/ 32 h 118"/>
                  <a:gd name="T34" fmla="*/ 190 w 297"/>
                  <a:gd name="T35" fmla="*/ 52 h 118"/>
                  <a:gd name="T36" fmla="*/ 142 w 297"/>
                  <a:gd name="T37" fmla="*/ 73 h 118"/>
                  <a:gd name="T38" fmla="*/ 93 w 297"/>
                  <a:gd name="T39" fmla="*/ 94 h 118"/>
                  <a:gd name="T40" fmla="*/ 45 w 297"/>
                  <a:gd name="T41" fmla="*/ 108 h 118"/>
                  <a:gd name="T42" fmla="*/ 0 w 297"/>
                  <a:gd name="T43" fmla="*/ 118 h 118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297"/>
                  <a:gd name="T67" fmla="*/ 0 h 118"/>
                  <a:gd name="T68" fmla="*/ 297 w 297"/>
                  <a:gd name="T69" fmla="*/ 118 h 118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297" h="118">
                    <a:moveTo>
                      <a:pt x="0" y="118"/>
                    </a:moveTo>
                    <a:lnTo>
                      <a:pt x="0" y="118"/>
                    </a:lnTo>
                    <a:lnTo>
                      <a:pt x="0" y="115"/>
                    </a:lnTo>
                    <a:lnTo>
                      <a:pt x="7" y="115"/>
                    </a:lnTo>
                    <a:lnTo>
                      <a:pt x="20" y="111"/>
                    </a:lnTo>
                    <a:lnTo>
                      <a:pt x="34" y="104"/>
                    </a:lnTo>
                    <a:lnTo>
                      <a:pt x="72" y="90"/>
                    </a:lnTo>
                    <a:lnTo>
                      <a:pt x="117" y="73"/>
                    </a:lnTo>
                    <a:lnTo>
                      <a:pt x="169" y="56"/>
                    </a:lnTo>
                    <a:lnTo>
                      <a:pt x="218" y="35"/>
                    </a:lnTo>
                    <a:lnTo>
                      <a:pt x="263" y="18"/>
                    </a:lnTo>
                    <a:lnTo>
                      <a:pt x="297" y="0"/>
                    </a:lnTo>
                    <a:lnTo>
                      <a:pt x="294" y="0"/>
                    </a:lnTo>
                    <a:lnTo>
                      <a:pt x="287" y="4"/>
                    </a:lnTo>
                    <a:lnTo>
                      <a:pt x="277" y="7"/>
                    </a:lnTo>
                    <a:lnTo>
                      <a:pt x="266" y="14"/>
                    </a:lnTo>
                    <a:lnTo>
                      <a:pt x="232" y="32"/>
                    </a:lnTo>
                    <a:lnTo>
                      <a:pt x="190" y="52"/>
                    </a:lnTo>
                    <a:lnTo>
                      <a:pt x="142" y="73"/>
                    </a:lnTo>
                    <a:lnTo>
                      <a:pt x="93" y="94"/>
                    </a:lnTo>
                    <a:lnTo>
                      <a:pt x="45" y="108"/>
                    </a:lnTo>
                    <a:lnTo>
                      <a:pt x="0" y="118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18" name="Freeform 187"/>
              <p:cNvSpPr>
                <a:spLocks/>
              </p:cNvSpPr>
              <p:nvPr/>
            </p:nvSpPr>
            <p:spPr bwMode="auto">
              <a:xfrm>
                <a:off x="1194" y="2391"/>
                <a:ext cx="52" cy="110"/>
              </a:xfrm>
              <a:custGeom>
                <a:avLst/>
                <a:gdLst>
                  <a:gd name="T0" fmla="*/ 52 w 52"/>
                  <a:gd name="T1" fmla="*/ 0 h 110"/>
                  <a:gd name="T2" fmla="*/ 49 w 52"/>
                  <a:gd name="T3" fmla="*/ 0 h 110"/>
                  <a:gd name="T4" fmla="*/ 42 w 52"/>
                  <a:gd name="T5" fmla="*/ 0 h 110"/>
                  <a:gd name="T6" fmla="*/ 31 w 52"/>
                  <a:gd name="T7" fmla="*/ 3 h 110"/>
                  <a:gd name="T8" fmla="*/ 21 w 52"/>
                  <a:gd name="T9" fmla="*/ 10 h 110"/>
                  <a:gd name="T10" fmla="*/ 14 w 52"/>
                  <a:gd name="T11" fmla="*/ 20 h 110"/>
                  <a:gd name="T12" fmla="*/ 7 w 52"/>
                  <a:gd name="T13" fmla="*/ 41 h 110"/>
                  <a:gd name="T14" fmla="*/ 4 w 52"/>
                  <a:gd name="T15" fmla="*/ 69 h 110"/>
                  <a:gd name="T16" fmla="*/ 11 w 52"/>
                  <a:gd name="T17" fmla="*/ 110 h 110"/>
                  <a:gd name="T18" fmla="*/ 7 w 52"/>
                  <a:gd name="T19" fmla="*/ 103 h 110"/>
                  <a:gd name="T20" fmla="*/ 4 w 52"/>
                  <a:gd name="T21" fmla="*/ 90 h 110"/>
                  <a:gd name="T22" fmla="*/ 0 w 52"/>
                  <a:gd name="T23" fmla="*/ 72 h 110"/>
                  <a:gd name="T24" fmla="*/ 0 w 52"/>
                  <a:gd name="T25" fmla="*/ 48 h 110"/>
                  <a:gd name="T26" fmla="*/ 0 w 52"/>
                  <a:gd name="T27" fmla="*/ 27 h 110"/>
                  <a:gd name="T28" fmla="*/ 11 w 52"/>
                  <a:gd name="T29" fmla="*/ 10 h 110"/>
                  <a:gd name="T30" fmla="*/ 24 w 52"/>
                  <a:gd name="T31" fmla="*/ 0 h 110"/>
                  <a:gd name="T32" fmla="*/ 52 w 52"/>
                  <a:gd name="T33" fmla="*/ 0 h 11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2"/>
                  <a:gd name="T52" fmla="*/ 0 h 110"/>
                  <a:gd name="T53" fmla="*/ 52 w 52"/>
                  <a:gd name="T54" fmla="*/ 110 h 11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2" h="110">
                    <a:moveTo>
                      <a:pt x="52" y="0"/>
                    </a:moveTo>
                    <a:lnTo>
                      <a:pt x="49" y="0"/>
                    </a:lnTo>
                    <a:lnTo>
                      <a:pt x="42" y="0"/>
                    </a:lnTo>
                    <a:lnTo>
                      <a:pt x="31" y="3"/>
                    </a:lnTo>
                    <a:lnTo>
                      <a:pt x="21" y="10"/>
                    </a:lnTo>
                    <a:lnTo>
                      <a:pt x="14" y="20"/>
                    </a:lnTo>
                    <a:lnTo>
                      <a:pt x="7" y="41"/>
                    </a:lnTo>
                    <a:lnTo>
                      <a:pt x="4" y="69"/>
                    </a:lnTo>
                    <a:lnTo>
                      <a:pt x="11" y="110"/>
                    </a:lnTo>
                    <a:lnTo>
                      <a:pt x="7" y="103"/>
                    </a:lnTo>
                    <a:lnTo>
                      <a:pt x="4" y="90"/>
                    </a:lnTo>
                    <a:lnTo>
                      <a:pt x="0" y="72"/>
                    </a:lnTo>
                    <a:lnTo>
                      <a:pt x="0" y="48"/>
                    </a:lnTo>
                    <a:lnTo>
                      <a:pt x="0" y="27"/>
                    </a:lnTo>
                    <a:lnTo>
                      <a:pt x="11" y="10"/>
                    </a:lnTo>
                    <a:lnTo>
                      <a:pt x="24" y="0"/>
                    </a:lnTo>
                    <a:lnTo>
                      <a:pt x="52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19" name="Freeform 188"/>
              <p:cNvSpPr>
                <a:spLocks/>
              </p:cNvSpPr>
              <p:nvPr/>
            </p:nvSpPr>
            <p:spPr bwMode="auto">
              <a:xfrm>
                <a:off x="1308" y="2422"/>
                <a:ext cx="35" cy="176"/>
              </a:xfrm>
              <a:custGeom>
                <a:avLst/>
                <a:gdLst>
                  <a:gd name="T0" fmla="*/ 32 w 35"/>
                  <a:gd name="T1" fmla="*/ 0 h 176"/>
                  <a:gd name="T2" fmla="*/ 32 w 35"/>
                  <a:gd name="T3" fmla="*/ 3 h 176"/>
                  <a:gd name="T4" fmla="*/ 32 w 35"/>
                  <a:gd name="T5" fmla="*/ 20 h 176"/>
                  <a:gd name="T6" fmla="*/ 35 w 35"/>
                  <a:gd name="T7" fmla="*/ 45 h 176"/>
                  <a:gd name="T8" fmla="*/ 35 w 35"/>
                  <a:gd name="T9" fmla="*/ 72 h 176"/>
                  <a:gd name="T10" fmla="*/ 32 w 35"/>
                  <a:gd name="T11" fmla="*/ 104 h 176"/>
                  <a:gd name="T12" fmla="*/ 25 w 35"/>
                  <a:gd name="T13" fmla="*/ 131 h 176"/>
                  <a:gd name="T14" fmla="*/ 14 w 35"/>
                  <a:gd name="T15" fmla="*/ 155 h 176"/>
                  <a:gd name="T16" fmla="*/ 0 w 35"/>
                  <a:gd name="T17" fmla="*/ 176 h 176"/>
                  <a:gd name="T18" fmla="*/ 0 w 35"/>
                  <a:gd name="T19" fmla="*/ 173 h 176"/>
                  <a:gd name="T20" fmla="*/ 4 w 35"/>
                  <a:gd name="T21" fmla="*/ 166 h 176"/>
                  <a:gd name="T22" fmla="*/ 11 w 35"/>
                  <a:gd name="T23" fmla="*/ 155 h 176"/>
                  <a:gd name="T24" fmla="*/ 18 w 35"/>
                  <a:gd name="T25" fmla="*/ 138 h 176"/>
                  <a:gd name="T26" fmla="*/ 25 w 35"/>
                  <a:gd name="T27" fmla="*/ 114 h 176"/>
                  <a:gd name="T28" fmla="*/ 28 w 35"/>
                  <a:gd name="T29" fmla="*/ 83 h 176"/>
                  <a:gd name="T30" fmla="*/ 32 w 35"/>
                  <a:gd name="T31" fmla="*/ 45 h 176"/>
                  <a:gd name="T32" fmla="*/ 32 w 35"/>
                  <a:gd name="T33" fmla="*/ 0 h 17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5"/>
                  <a:gd name="T52" fmla="*/ 0 h 176"/>
                  <a:gd name="T53" fmla="*/ 35 w 35"/>
                  <a:gd name="T54" fmla="*/ 176 h 17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5" h="176">
                    <a:moveTo>
                      <a:pt x="32" y="0"/>
                    </a:moveTo>
                    <a:lnTo>
                      <a:pt x="32" y="3"/>
                    </a:lnTo>
                    <a:lnTo>
                      <a:pt x="32" y="20"/>
                    </a:lnTo>
                    <a:lnTo>
                      <a:pt x="35" y="45"/>
                    </a:lnTo>
                    <a:lnTo>
                      <a:pt x="35" y="72"/>
                    </a:lnTo>
                    <a:lnTo>
                      <a:pt x="32" y="104"/>
                    </a:lnTo>
                    <a:lnTo>
                      <a:pt x="25" y="131"/>
                    </a:lnTo>
                    <a:lnTo>
                      <a:pt x="14" y="155"/>
                    </a:lnTo>
                    <a:lnTo>
                      <a:pt x="0" y="176"/>
                    </a:lnTo>
                    <a:lnTo>
                      <a:pt x="0" y="173"/>
                    </a:lnTo>
                    <a:lnTo>
                      <a:pt x="4" y="166"/>
                    </a:lnTo>
                    <a:lnTo>
                      <a:pt x="11" y="155"/>
                    </a:lnTo>
                    <a:lnTo>
                      <a:pt x="18" y="138"/>
                    </a:lnTo>
                    <a:lnTo>
                      <a:pt x="25" y="114"/>
                    </a:lnTo>
                    <a:lnTo>
                      <a:pt x="28" y="83"/>
                    </a:lnTo>
                    <a:lnTo>
                      <a:pt x="32" y="45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20" name="Freeform 189"/>
              <p:cNvSpPr>
                <a:spLocks/>
              </p:cNvSpPr>
              <p:nvPr/>
            </p:nvSpPr>
            <p:spPr bwMode="auto">
              <a:xfrm>
                <a:off x="1270" y="2429"/>
                <a:ext cx="52" cy="97"/>
              </a:xfrm>
              <a:custGeom>
                <a:avLst/>
                <a:gdLst>
                  <a:gd name="T0" fmla="*/ 0 w 52"/>
                  <a:gd name="T1" fmla="*/ 0 h 97"/>
                  <a:gd name="T2" fmla="*/ 0 w 52"/>
                  <a:gd name="T3" fmla="*/ 3 h 97"/>
                  <a:gd name="T4" fmla="*/ 11 w 52"/>
                  <a:gd name="T5" fmla="*/ 20 h 97"/>
                  <a:gd name="T6" fmla="*/ 18 w 52"/>
                  <a:gd name="T7" fmla="*/ 48 h 97"/>
                  <a:gd name="T8" fmla="*/ 21 w 52"/>
                  <a:gd name="T9" fmla="*/ 90 h 97"/>
                  <a:gd name="T10" fmla="*/ 52 w 52"/>
                  <a:gd name="T11" fmla="*/ 93 h 97"/>
                  <a:gd name="T12" fmla="*/ 11 w 52"/>
                  <a:gd name="T13" fmla="*/ 97 h 97"/>
                  <a:gd name="T14" fmla="*/ 11 w 52"/>
                  <a:gd name="T15" fmla="*/ 93 h 97"/>
                  <a:gd name="T16" fmla="*/ 11 w 52"/>
                  <a:gd name="T17" fmla="*/ 86 h 97"/>
                  <a:gd name="T18" fmla="*/ 14 w 52"/>
                  <a:gd name="T19" fmla="*/ 65 h 97"/>
                  <a:gd name="T20" fmla="*/ 11 w 52"/>
                  <a:gd name="T21" fmla="*/ 34 h 97"/>
                  <a:gd name="T22" fmla="*/ 7 w 52"/>
                  <a:gd name="T23" fmla="*/ 17 h 97"/>
                  <a:gd name="T24" fmla="*/ 0 w 52"/>
                  <a:gd name="T25" fmla="*/ 0 h 9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2"/>
                  <a:gd name="T40" fmla="*/ 0 h 97"/>
                  <a:gd name="T41" fmla="*/ 52 w 52"/>
                  <a:gd name="T42" fmla="*/ 97 h 9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2" h="97">
                    <a:moveTo>
                      <a:pt x="0" y="0"/>
                    </a:moveTo>
                    <a:lnTo>
                      <a:pt x="0" y="3"/>
                    </a:lnTo>
                    <a:lnTo>
                      <a:pt x="11" y="20"/>
                    </a:lnTo>
                    <a:lnTo>
                      <a:pt x="18" y="48"/>
                    </a:lnTo>
                    <a:lnTo>
                      <a:pt x="21" y="90"/>
                    </a:lnTo>
                    <a:lnTo>
                      <a:pt x="52" y="93"/>
                    </a:lnTo>
                    <a:lnTo>
                      <a:pt x="11" y="97"/>
                    </a:lnTo>
                    <a:lnTo>
                      <a:pt x="11" y="93"/>
                    </a:lnTo>
                    <a:lnTo>
                      <a:pt x="11" y="86"/>
                    </a:lnTo>
                    <a:lnTo>
                      <a:pt x="14" y="65"/>
                    </a:lnTo>
                    <a:lnTo>
                      <a:pt x="11" y="34"/>
                    </a:lnTo>
                    <a:lnTo>
                      <a:pt x="7" y="1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21" name="Freeform 190"/>
              <p:cNvSpPr>
                <a:spLocks/>
              </p:cNvSpPr>
              <p:nvPr/>
            </p:nvSpPr>
            <p:spPr bwMode="auto">
              <a:xfrm>
                <a:off x="1291" y="2415"/>
                <a:ext cx="35" cy="62"/>
              </a:xfrm>
              <a:custGeom>
                <a:avLst/>
                <a:gdLst>
                  <a:gd name="T0" fmla="*/ 0 w 35"/>
                  <a:gd name="T1" fmla="*/ 0 h 62"/>
                  <a:gd name="T2" fmla="*/ 0 w 35"/>
                  <a:gd name="T3" fmla="*/ 0 h 62"/>
                  <a:gd name="T4" fmla="*/ 4 w 35"/>
                  <a:gd name="T5" fmla="*/ 0 h 62"/>
                  <a:gd name="T6" fmla="*/ 17 w 35"/>
                  <a:gd name="T7" fmla="*/ 7 h 62"/>
                  <a:gd name="T8" fmla="*/ 24 w 35"/>
                  <a:gd name="T9" fmla="*/ 14 h 62"/>
                  <a:gd name="T10" fmla="*/ 28 w 35"/>
                  <a:gd name="T11" fmla="*/ 24 h 62"/>
                  <a:gd name="T12" fmla="*/ 31 w 35"/>
                  <a:gd name="T13" fmla="*/ 41 h 62"/>
                  <a:gd name="T14" fmla="*/ 35 w 35"/>
                  <a:gd name="T15" fmla="*/ 62 h 62"/>
                  <a:gd name="T16" fmla="*/ 35 w 35"/>
                  <a:gd name="T17" fmla="*/ 59 h 62"/>
                  <a:gd name="T18" fmla="*/ 35 w 35"/>
                  <a:gd name="T19" fmla="*/ 52 h 62"/>
                  <a:gd name="T20" fmla="*/ 35 w 35"/>
                  <a:gd name="T21" fmla="*/ 31 h 62"/>
                  <a:gd name="T22" fmla="*/ 31 w 35"/>
                  <a:gd name="T23" fmla="*/ 21 h 62"/>
                  <a:gd name="T24" fmla="*/ 24 w 35"/>
                  <a:gd name="T25" fmla="*/ 10 h 62"/>
                  <a:gd name="T26" fmla="*/ 14 w 35"/>
                  <a:gd name="T27" fmla="*/ 3 h 62"/>
                  <a:gd name="T28" fmla="*/ 0 w 35"/>
                  <a:gd name="T29" fmla="*/ 0 h 6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5"/>
                  <a:gd name="T46" fmla="*/ 0 h 62"/>
                  <a:gd name="T47" fmla="*/ 35 w 35"/>
                  <a:gd name="T48" fmla="*/ 62 h 6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5" h="62">
                    <a:moveTo>
                      <a:pt x="0" y="0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17" y="7"/>
                    </a:lnTo>
                    <a:lnTo>
                      <a:pt x="24" y="14"/>
                    </a:lnTo>
                    <a:lnTo>
                      <a:pt x="28" y="24"/>
                    </a:lnTo>
                    <a:lnTo>
                      <a:pt x="31" y="41"/>
                    </a:lnTo>
                    <a:lnTo>
                      <a:pt x="35" y="62"/>
                    </a:lnTo>
                    <a:lnTo>
                      <a:pt x="35" y="59"/>
                    </a:lnTo>
                    <a:lnTo>
                      <a:pt x="35" y="52"/>
                    </a:lnTo>
                    <a:lnTo>
                      <a:pt x="35" y="31"/>
                    </a:lnTo>
                    <a:lnTo>
                      <a:pt x="31" y="21"/>
                    </a:lnTo>
                    <a:lnTo>
                      <a:pt x="24" y="10"/>
                    </a:lnTo>
                    <a:lnTo>
                      <a:pt x="14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22" name="Freeform 191"/>
              <p:cNvSpPr>
                <a:spLocks/>
              </p:cNvSpPr>
              <p:nvPr/>
            </p:nvSpPr>
            <p:spPr bwMode="auto">
              <a:xfrm>
                <a:off x="1194" y="2553"/>
                <a:ext cx="111" cy="312"/>
              </a:xfrm>
              <a:custGeom>
                <a:avLst/>
                <a:gdLst>
                  <a:gd name="T0" fmla="*/ 111 w 111"/>
                  <a:gd name="T1" fmla="*/ 0 h 312"/>
                  <a:gd name="T2" fmla="*/ 90 w 111"/>
                  <a:gd name="T3" fmla="*/ 0 h 312"/>
                  <a:gd name="T4" fmla="*/ 83 w 111"/>
                  <a:gd name="T5" fmla="*/ 35 h 312"/>
                  <a:gd name="T6" fmla="*/ 59 w 111"/>
                  <a:gd name="T7" fmla="*/ 42 h 312"/>
                  <a:gd name="T8" fmla="*/ 0 w 111"/>
                  <a:gd name="T9" fmla="*/ 312 h 312"/>
                  <a:gd name="T10" fmla="*/ 66 w 111"/>
                  <a:gd name="T11" fmla="*/ 49 h 312"/>
                  <a:gd name="T12" fmla="*/ 87 w 111"/>
                  <a:gd name="T13" fmla="*/ 45 h 312"/>
                  <a:gd name="T14" fmla="*/ 97 w 111"/>
                  <a:gd name="T15" fmla="*/ 11 h 312"/>
                  <a:gd name="T16" fmla="*/ 111 w 111"/>
                  <a:gd name="T17" fmla="*/ 0 h 31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1"/>
                  <a:gd name="T28" fmla="*/ 0 h 312"/>
                  <a:gd name="T29" fmla="*/ 111 w 111"/>
                  <a:gd name="T30" fmla="*/ 312 h 31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1" h="312">
                    <a:moveTo>
                      <a:pt x="111" y="0"/>
                    </a:moveTo>
                    <a:lnTo>
                      <a:pt x="90" y="0"/>
                    </a:lnTo>
                    <a:lnTo>
                      <a:pt x="83" y="35"/>
                    </a:lnTo>
                    <a:lnTo>
                      <a:pt x="59" y="42"/>
                    </a:lnTo>
                    <a:lnTo>
                      <a:pt x="0" y="312"/>
                    </a:lnTo>
                    <a:lnTo>
                      <a:pt x="66" y="49"/>
                    </a:lnTo>
                    <a:lnTo>
                      <a:pt x="87" y="45"/>
                    </a:lnTo>
                    <a:lnTo>
                      <a:pt x="97" y="11"/>
                    </a:lnTo>
                    <a:lnTo>
                      <a:pt x="111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23" name="Freeform 192"/>
              <p:cNvSpPr>
                <a:spLocks/>
              </p:cNvSpPr>
              <p:nvPr/>
            </p:nvSpPr>
            <p:spPr bwMode="auto">
              <a:xfrm>
                <a:off x="1225" y="2605"/>
                <a:ext cx="73" cy="201"/>
              </a:xfrm>
              <a:custGeom>
                <a:avLst/>
                <a:gdLst>
                  <a:gd name="T0" fmla="*/ 73 w 73"/>
                  <a:gd name="T1" fmla="*/ 0 h 201"/>
                  <a:gd name="T2" fmla="*/ 52 w 73"/>
                  <a:gd name="T3" fmla="*/ 4 h 201"/>
                  <a:gd name="T4" fmla="*/ 0 w 73"/>
                  <a:gd name="T5" fmla="*/ 201 h 201"/>
                  <a:gd name="T6" fmla="*/ 59 w 73"/>
                  <a:gd name="T7" fmla="*/ 14 h 201"/>
                  <a:gd name="T8" fmla="*/ 73 w 73"/>
                  <a:gd name="T9" fmla="*/ 0 h 20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3"/>
                  <a:gd name="T16" fmla="*/ 0 h 201"/>
                  <a:gd name="T17" fmla="*/ 73 w 73"/>
                  <a:gd name="T18" fmla="*/ 201 h 20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3" h="201">
                    <a:moveTo>
                      <a:pt x="73" y="0"/>
                    </a:moveTo>
                    <a:lnTo>
                      <a:pt x="52" y="4"/>
                    </a:lnTo>
                    <a:lnTo>
                      <a:pt x="0" y="201"/>
                    </a:lnTo>
                    <a:lnTo>
                      <a:pt x="59" y="14"/>
                    </a:lnTo>
                    <a:lnTo>
                      <a:pt x="73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24" name="Freeform 193"/>
              <p:cNvSpPr>
                <a:spLocks/>
              </p:cNvSpPr>
              <p:nvPr/>
            </p:nvSpPr>
            <p:spPr bwMode="auto">
              <a:xfrm>
                <a:off x="1156" y="2560"/>
                <a:ext cx="56" cy="315"/>
              </a:xfrm>
              <a:custGeom>
                <a:avLst/>
                <a:gdLst>
                  <a:gd name="T0" fmla="*/ 56 w 56"/>
                  <a:gd name="T1" fmla="*/ 0 h 315"/>
                  <a:gd name="T2" fmla="*/ 52 w 56"/>
                  <a:gd name="T3" fmla="*/ 0 h 315"/>
                  <a:gd name="T4" fmla="*/ 52 w 56"/>
                  <a:gd name="T5" fmla="*/ 7 h 315"/>
                  <a:gd name="T6" fmla="*/ 52 w 56"/>
                  <a:gd name="T7" fmla="*/ 24 h 315"/>
                  <a:gd name="T8" fmla="*/ 49 w 56"/>
                  <a:gd name="T9" fmla="*/ 56 h 315"/>
                  <a:gd name="T10" fmla="*/ 42 w 56"/>
                  <a:gd name="T11" fmla="*/ 97 h 315"/>
                  <a:gd name="T12" fmla="*/ 35 w 56"/>
                  <a:gd name="T13" fmla="*/ 146 h 315"/>
                  <a:gd name="T14" fmla="*/ 28 w 56"/>
                  <a:gd name="T15" fmla="*/ 198 h 315"/>
                  <a:gd name="T16" fmla="*/ 14 w 56"/>
                  <a:gd name="T17" fmla="*/ 256 h 315"/>
                  <a:gd name="T18" fmla="*/ 0 w 56"/>
                  <a:gd name="T19" fmla="*/ 315 h 315"/>
                  <a:gd name="T20" fmla="*/ 0 w 56"/>
                  <a:gd name="T21" fmla="*/ 312 h 315"/>
                  <a:gd name="T22" fmla="*/ 0 w 56"/>
                  <a:gd name="T23" fmla="*/ 305 h 315"/>
                  <a:gd name="T24" fmla="*/ 7 w 56"/>
                  <a:gd name="T25" fmla="*/ 288 h 315"/>
                  <a:gd name="T26" fmla="*/ 18 w 56"/>
                  <a:gd name="T27" fmla="*/ 253 h 315"/>
                  <a:gd name="T28" fmla="*/ 28 w 56"/>
                  <a:gd name="T29" fmla="*/ 215 h 315"/>
                  <a:gd name="T30" fmla="*/ 35 w 56"/>
                  <a:gd name="T31" fmla="*/ 166 h 315"/>
                  <a:gd name="T32" fmla="*/ 45 w 56"/>
                  <a:gd name="T33" fmla="*/ 111 h 315"/>
                  <a:gd name="T34" fmla="*/ 52 w 56"/>
                  <a:gd name="T35" fmla="*/ 56 h 315"/>
                  <a:gd name="T36" fmla="*/ 56 w 56"/>
                  <a:gd name="T37" fmla="*/ 0 h 31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6"/>
                  <a:gd name="T58" fmla="*/ 0 h 315"/>
                  <a:gd name="T59" fmla="*/ 56 w 56"/>
                  <a:gd name="T60" fmla="*/ 315 h 31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6" h="315">
                    <a:moveTo>
                      <a:pt x="56" y="0"/>
                    </a:moveTo>
                    <a:lnTo>
                      <a:pt x="52" y="0"/>
                    </a:lnTo>
                    <a:lnTo>
                      <a:pt x="52" y="7"/>
                    </a:lnTo>
                    <a:lnTo>
                      <a:pt x="52" y="24"/>
                    </a:lnTo>
                    <a:lnTo>
                      <a:pt x="49" y="56"/>
                    </a:lnTo>
                    <a:lnTo>
                      <a:pt x="42" y="97"/>
                    </a:lnTo>
                    <a:lnTo>
                      <a:pt x="35" y="146"/>
                    </a:lnTo>
                    <a:lnTo>
                      <a:pt x="28" y="198"/>
                    </a:lnTo>
                    <a:lnTo>
                      <a:pt x="14" y="256"/>
                    </a:lnTo>
                    <a:lnTo>
                      <a:pt x="0" y="315"/>
                    </a:lnTo>
                    <a:lnTo>
                      <a:pt x="0" y="312"/>
                    </a:lnTo>
                    <a:lnTo>
                      <a:pt x="0" y="305"/>
                    </a:lnTo>
                    <a:lnTo>
                      <a:pt x="7" y="288"/>
                    </a:lnTo>
                    <a:lnTo>
                      <a:pt x="18" y="253"/>
                    </a:lnTo>
                    <a:lnTo>
                      <a:pt x="28" y="215"/>
                    </a:lnTo>
                    <a:lnTo>
                      <a:pt x="35" y="166"/>
                    </a:lnTo>
                    <a:lnTo>
                      <a:pt x="45" y="111"/>
                    </a:lnTo>
                    <a:lnTo>
                      <a:pt x="52" y="56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25" name="Freeform 194"/>
              <p:cNvSpPr>
                <a:spLocks/>
              </p:cNvSpPr>
              <p:nvPr/>
            </p:nvSpPr>
            <p:spPr bwMode="auto">
              <a:xfrm>
                <a:off x="924" y="2519"/>
                <a:ext cx="253" cy="142"/>
              </a:xfrm>
              <a:custGeom>
                <a:avLst/>
                <a:gdLst>
                  <a:gd name="T0" fmla="*/ 253 w 253"/>
                  <a:gd name="T1" fmla="*/ 0 h 142"/>
                  <a:gd name="T2" fmla="*/ 250 w 253"/>
                  <a:gd name="T3" fmla="*/ 0 h 142"/>
                  <a:gd name="T4" fmla="*/ 243 w 253"/>
                  <a:gd name="T5" fmla="*/ 3 h 142"/>
                  <a:gd name="T6" fmla="*/ 229 w 253"/>
                  <a:gd name="T7" fmla="*/ 7 h 142"/>
                  <a:gd name="T8" fmla="*/ 215 w 253"/>
                  <a:gd name="T9" fmla="*/ 13 h 142"/>
                  <a:gd name="T10" fmla="*/ 180 w 253"/>
                  <a:gd name="T11" fmla="*/ 34 h 142"/>
                  <a:gd name="T12" fmla="*/ 135 w 253"/>
                  <a:gd name="T13" fmla="*/ 55 h 142"/>
                  <a:gd name="T14" fmla="*/ 90 w 253"/>
                  <a:gd name="T15" fmla="*/ 79 h 142"/>
                  <a:gd name="T16" fmla="*/ 49 w 253"/>
                  <a:gd name="T17" fmla="*/ 100 h 142"/>
                  <a:gd name="T18" fmla="*/ 18 w 253"/>
                  <a:gd name="T19" fmla="*/ 124 h 142"/>
                  <a:gd name="T20" fmla="*/ 7 w 253"/>
                  <a:gd name="T21" fmla="*/ 131 h 142"/>
                  <a:gd name="T22" fmla="*/ 0 w 253"/>
                  <a:gd name="T23" fmla="*/ 142 h 142"/>
                  <a:gd name="T24" fmla="*/ 0 w 253"/>
                  <a:gd name="T25" fmla="*/ 138 h 142"/>
                  <a:gd name="T26" fmla="*/ 7 w 253"/>
                  <a:gd name="T27" fmla="*/ 135 h 142"/>
                  <a:gd name="T28" fmla="*/ 18 w 253"/>
                  <a:gd name="T29" fmla="*/ 128 h 142"/>
                  <a:gd name="T30" fmla="*/ 31 w 253"/>
                  <a:gd name="T31" fmla="*/ 121 h 142"/>
                  <a:gd name="T32" fmla="*/ 66 w 253"/>
                  <a:gd name="T33" fmla="*/ 100 h 142"/>
                  <a:gd name="T34" fmla="*/ 111 w 253"/>
                  <a:gd name="T35" fmla="*/ 76 h 142"/>
                  <a:gd name="T36" fmla="*/ 153 w 253"/>
                  <a:gd name="T37" fmla="*/ 48 h 142"/>
                  <a:gd name="T38" fmla="*/ 194 w 253"/>
                  <a:gd name="T39" fmla="*/ 27 h 142"/>
                  <a:gd name="T40" fmla="*/ 229 w 253"/>
                  <a:gd name="T41" fmla="*/ 7 h 142"/>
                  <a:gd name="T42" fmla="*/ 243 w 253"/>
                  <a:gd name="T43" fmla="*/ 3 h 142"/>
                  <a:gd name="T44" fmla="*/ 253 w 253"/>
                  <a:gd name="T45" fmla="*/ 0 h 142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253"/>
                  <a:gd name="T70" fmla="*/ 0 h 142"/>
                  <a:gd name="T71" fmla="*/ 253 w 253"/>
                  <a:gd name="T72" fmla="*/ 142 h 142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253" h="142">
                    <a:moveTo>
                      <a:pt x="253" y="0"/>
                    </a:moveTo>
                    <a:lnTo>
                      <a:pt x="250" y="0"/>
                    </a:lnTo>
                    <a:lnTo>
                      <a:pt x="243" y="3"/>
                    </a:lnTo>
                    <a:lnTo>
                      <a:pt x="229" y="7"/>
                    </a:lnTo>
                    <a:lnTo>
                      <a:pt x="215" y="13"/>
                    </a:lnTo>
                    <a:lnTo>
                      <a:pt x="180" y="34"/>
                    </a:lnTo>
                    <a:lnTo>
                      <a:pt x="135" y="55"/>
                    </a:lnTo>
                    <a:lnTo>
                      <a:pt x="90" y="79"/>
                    </a:lnTo>
                    <a:lnTo>
                      <a:pt x="49" y="100"/>
                    </a:lnTo>
                    <a:lnTo>
                      <a:pt x="18" y="124"/>
                    </a:lnTo>
                    <a:lnTo>
                      <a:pt x="7" y="131"/>
                    </a:lnTo>
                    <a:lnTo>
                      <a:pt x="0" y="142"/>
                    </a:lnTo>
                    <a:lnTo>
                      <a:pt x="0" y="138"/>
                    </a:lnTo>
                    <a:lnTo>
                      <a:pt x="7" y="135"/>
                    </a:lnTo>
                    <a:lnTo>
                      <a:pt x="18" y="128"/>
                    </a:lnTo>
                    <a:lnTo>
                      <a:pt x="31" y="121"/>
                    </a:lnTo>
                    <a:lnTo>
                      <a:pt x="66" y="100"/>
                    </a:lnTo>
                    <a:lnTo>
                      <a:pt x="111" y="76"/>
                    </a:lnTo>
                    <a:lnTo>
                      <a:pt x="153" y="48"/>
                    </a:lnTo>
                    <a:lnTo>
                      <a:pt x="194" y="27"/>
                    </a:lnTo>
                    <a:lnTo>
                      <a:pt x="229" y="7"/>
                    </a:lnTo>
                    <a:lnTo>
                      <a:pt x="243" y="3"/>
                    </a:lnTo>
                    <a:lnTo>
                      <a:pt x="253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26" name="Freeform 195"/>
              <p:cNvSpPr>
                <a:spLocks/>
              </p:cNvSpPr>
              <p:nvPr/>
            </p:nvSpPr>
            <p:spPr bwMode="auto">
              <a:xfrm>
                <a:off x="1163" y="2889"/>
                <a:ext cx="21" cy="31"/>
              </a:xfrm>
              <a:custGeom>
                <a:avLst/>
                <a:gdLst>
                  <a:gd name="T0" fmla="*/ 0 w 21"/>
                  <a:gd name="T1" fmla="*/ 7 h 31"/>
                  <a:gd name="T2" fmla="*/ 0 w 21"/>
                  <a:gd name="T3" fmla="*/ 4 h 31"/>
                  <a:gd name="T4" fmla="*/ 11 w 21"/>
                  <a:gd name="T5" fmla="*/ 0 h 31"/>
                  <a:gd name="T6" fmla="*/ 17 w 21"/>
                  <a:gd name="T7" fmla="*/ 0 h 31"/>
                  <a:gd name="T8" fmla="*/ 17 w 21"/>
                  <a:gd name="T9" fmla="*/ 4 h 31"/>
                  <a:gd name="T10" fmla="*/ 21 w 21"/>
                  <a:gd name="T11" fmla="*/ 10 h 31"/>
                  <a:gd name="T12" fmla="*/ 17 w 21"/>
                  <a:gd name="T13" fmla="*/ 10 h 31"/>
                  <a:gd name="T14" fmla="*/ 17 w 21"/>
                  <a:gd name="T15" fmla="*/ 17 h 31"/>
                  <a:gd name="T16" fmla="*/ 7 w 21"/>
                  <a:gd name="T17" fmla="*/ 31 h 31"/>
                  <a:gd name="T18" fmla="*/ 7 w 21"/>
                  <a:gd name="T19" fmla="*/ 24 h 31"/>
                  <a:gd name="T20" fmla="*/ 14 w 21"/>
                  <a:gd name="T21" fmla="*/ 14 h 31"/>
                  <a:gd name="T22" fmla="*/ 14 w 21"/>
                  <a:gd name="T23" fmla="*/ 4 h 31"/>
                  <a:gd name="T24" fmla="*/ 7 w 21"/>
                  <a:gd name="T25" fmla="*/ 4 h 31"/>
                  <a:gd name="T26" fmla="*/ 0 w 21"/>
                  <a:gd name="T27" fmla="*/ 7 h 3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1"/>
                  <a:gd name="T43" fmla="*/ 0 h 31"/>
                  <a:gd name="T44" fmla="*/ 21 w 21"/>
                  <a:gd name="T45" fmla="*/ 31 h 3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1" h="31">
                    <a:moveTo>
                      <a:pt x="0" y="7"/>
                    </a:moveTo>
                    <a:lnTo>
                      <a:pt x="0" y="4"/>
                    </a:lnTo>
                    <a:lnTo>
                      <a:pt x="11" y="0"/>
                    </a:lnTo>
                    <a:lnTo>
                      <a:pt x="17" y="0"/>
                    </a:lnTo>
                    <a:lnTo>
                      <a:pt x="17" y="4"/>
                    </a:lnTo>
                    <a:lnTo>
                      <a:pt x="21" y="10"/>
                    </a:lnTo>
                    <a:lnTo>
                      <a:pt x="17" y="10"/>
                    </a:lnTo>
                    <a:lnTo>
                      <a:pt x="17" y="17"/>
                    </a:lnTo>
                    <a:lnTo>
                      <a:pt x="7" y="31"/>
                    </a:lnTo>
                    <a:lnTo>
                      <a:pt x="7" y="24"/>
                    </a:lnTo>
                    <a:lnTo>
                      <a:pt x="14" y="14"/>
                    </a:lnTo>
                    <a:lnTo>
                      <a:pt x="14" y="4"/>
                    </a:lnTo>
                    <a:lnTo>
                      <a:pt x="7" y="4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27" name="Freeform 196"/>
              <p:cNvSpPr>
                <a:spLocks/>
              </p:cNvSpPr>
              <p:nvPr/>
            </p:nvSpPr>
            <p:spPr bwMode="auto">
              <a:xfrm>
                <a:off x="1156" y="2913"/>
                <a:ext cx="35" cy="35"/>
              </a:xfrm>
              <a:custGeom>
                <a:avLst/>
                <a:gdLst>
                  <a:gd name="T0" fmla="*/ 35 w 35"/>
                  <a:gd name="T1" fmla="*/ 0 h 35"/>
                  <a:gd name="T2" fmla="*/ 35 w 35"/>
                  <a:gd name="T3" fmla="*/ 4 h 35"/>
                  <a:gd name="T4" fmla="*/ 31 w 35"/>
                  <a:gd name="T5" fmla="*/ 14 h 35"/>
                  <a:gd name="T6" fmla="*/ 21 w 35"/>
                  <a:gd name="T7" fmla="*/ 25 h 35"/>
                  <a:gd name="T8" fmla="*/ 11 w 35"/>
                  <a:gd name="T9" fmla="*/ 28 h 35"/>
                  <a:gd name="T10" fmla="*/ 0 w 35"/>
                  <a:gd name="T11" fmla="*/ 32 h 35"/>
                  <a:gd name="T12" fmla="*/ 4 w 35"/>
                  <a:gd name="T13" fmla="*/ 32 h 35"/>
                  <a:gd name="T14" fmla="*/ 14 w 35"/>
                  <a:gd name="T15" fmla="*/ 35 h 35"/>
                  <a:gd name="T16" fmla="*/ 21 w 35"/>
                  <a:gd name="T17" fmla="*/ 32 h 35"/>
                  <a:gd name="T18" fmla="*/ 28 w 35"/>
                  <a:gd name="T19" fmla="*/ 28 h 35"/>
                  <a:gd name="T20" fmla="*/ 31 w 35"/>
                  <a:gd name="T21" fmla="*/ 18 h 35"/>
                  <a:gd name="T22" fmla="*/ 35 w 35"/>
                  <a:gd name="T23" fmla="*/ 0 h 3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5"/>
                  <a:gd name="T37" fmla="*/ 0 h 35"/>
                  <a:gd name="T38" fmla="*/ 35 w 35"/>
                  <a:gd name="T39" fmla="*/ 35 h 3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5" h="35">
                    <a:moveTo>
                      <a:pt x="35" y="0"/>
                    </a:moveTo>
                    <a:lnTo>
                      <a:pt x="35" y="4"/>
                    </a:lnTo>
                    <a:lnTo>
                      <a:pt x="31" y="14"/>
                    </a:lnTo>
                    <a:lnTo>
                      <a:pt x="21" y="25"/>
                    </a:lnTo>
                    <a:lnTo>
                      <a:pt x="11" y="28"/>
                    </a:lnTo>
                    <a:lnTo>
                      <a:pt x="0" y="32"/>
                    </a:lnTo>
                    <a:lnTo>
                      <a:pt x="4" y="32"/>
                    </a:lnTo>
                    <a:lnTo>
                      <a:pt x="14" y="35"/>
                    </a:lnTo>
                    <a:lnTo>
                      <a:pt x="21" y="32"/>
                    </a:lnTo>
                    <a:lnTo>
                      <a:pt x="28" y="28"/>
                    </a:lnTo>
                    <a:lnTo>
                      <a:pt x="31" y="18"/>
                    </a:lnTo>
                    <a:lnTo>
                      <a:pt x="35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28" name="Freeform 197"/>
              <p:cNvSpPr>
                <a:spLocks/>
              </p:cNvSpPr>
              <p:nvPr/>
            </p:nvSpPr>
            <p:spPr bwMode="auto">
              <a:xfrm>
                <a:off x="1118" y="2955"/>
                <a:ext cx="14" cy="267"/>
              </a:xfrm>
              <a:custGeom>
                <a:avLst/>
                <a:gdLst>
                  <a:gd name="T0" fmla="*/ 0 w 14"/>
                  <a:gd name="T1" fmla="*/ 0 h 267"/>
                  <a:gd name="T2" fmla="*/ 14 w 14"/>
                  <a:gd name="T3" fmla="*/ 218 h 267"/>
                  <a:gd name="T4" fmla="*/ 14 w 14"/>
                  <a:gd name="T5" fmla="*/ 222 h 267"/>
                  <a:gd name="T6" fmla="*/ 14 w 14"/>
                  <a:gd name="T7" fmla="*/ 232 h 267"/>
                  <a:gd name="T8" fmla="*/ 14 w 14"/>
                  <a:gd name="T9" fmla="*/ 249 h 267"/>
                  <a:gd name="T10" fmla="*/ 7 w 14"/>
                  <a:gd name="T11" fmla="*/ 267 h 267"/>
                  <a:gd name="T12" fmla="*/ 7 w 14"/>
                  <a:gd name="T13" fmla="*/ 263 h 267"/>
                  <a:gd name="T14" fmla="*/ 11 w 14"/>
                  <a:gd name="T15" fmla="*/ 256 h 267"/>
                  <a:gd name="T16" fmla="*/ 11 w 14"/>
                  <a:gd name="T17" fmla="*/ 249 h 267"/>
                  <a:gd name="T18" fmla="*/ 14 w 14"/>
                  <a:gd name="T19" fmla="*/ 239 h 267"/>
                  <a:gd name="T20" fmla="*/ 14 w 14"/>
                  <a:gd name="T21" fmla="*/ 218 h 267"/>
                  <a:gd name="T22" fmla="*/ 14 w 14"/>
                  <a:gd name="T23" fmla="*/ 197 h 267"/>
                  <a:gd name="T24" fmla="*/ 14 w 14"/>
                  <a:gd name="T25" fmla="*/ 166 h 267"/>
                  <a:gd name="T26" fmla="*/ 14 w 14"/>
                  <a:gd name="T27" fmla="*/ 163 h 267"/>
                  <a:gd name="T28" fmla="*/ 11 w 14"/>
                  <a:gd name="T29" fmla="*/ 159 h 267"/>
                  <a:gd name="T30" fmla="*/ 11 w 14"/>
                  <a:gd name="T31" fmla="*/ 138 h 267"/>
                  <a:gd name="T32" fmla="*/ 11 w 14"/>
                  <a:gd name="T33" fmla="*/ 114 h 267"/>
                  <a:gd name="T34" fmla="*/ 11 w 14"/>
                  <a:gd name="T35" fmla="*/ 83 h 267"/>
                  <a:gd name="T36" fmla="*/ 7 w 14"/>
                  <a:gd name="T37" fmla="*/ 52 h 267"/>
                  <a:gd name="T38" fmla="*/ 4 w 14"/>
                  <a:gd name="T39" fmla="*/ 24 h 267"/>
                  <a:gd name="T40" fmla="*/ 4 w 14"/>
                  <a:gd name="T41" fmla="*/ 7 h 267"/>
                  <a:gd name="T42" fmla="*/ 0 w 14"/>
                  <a:gd name="T43" fmla="*/ 0 h 267"/>
                  <a:gd name="T44" fmla="*/ 0 w 14"/>
                  <a:gd name="T45" fmla="*/ 0 h 267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4"/>
                  <a:gd name="T70" fmla="*/ 0 h 267"/>
                  <a:gd name="T71" fmla="*/ 14 w 14"/>
                  <a:gd name="T72" fmla="*/ 267 h 267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4" h="267">
                    <a:moveTo>
                      <a:pt x="0" y="0"/>
                    </a:moveTo>
                    <a:lnTo>
                      <a:pt x="14" y="218"/>
                    </a:lnTo>
                    <a:lnTo>
                      <a:pt x="14" y="222"/>
                    </a:lnTo>
                    <a:lnTo>
                      <a:pt x="14" y="232"/>
                    </a:lnTo>
                    <a:lnTo>
                      <a:pt x="14" y="249"/>
                    </a:lnTo>
                    <a:lnTo>
                      <a:pt x="7" y="267"/>
                    </a:lnTo>
                    <a:lnTo>
                      <a:pt x="7" y="263"/>
                    </a:lnTo>
                    <a:lnTo>
                      <a:pt x="11" y="256"/>
                    </a:lnTo>
                    <a:lnTo>
                      <a:pt x="11" y="249"/>
                    </a:lnTo>
                    <a:lnTo>
                      <a:pt x="14" y="239"/>
                    </a:lnTo>
                    <a:lnTo>
                      <a:pt x="14" y="218"/>
                    </a:lnTo>
                    <a:lnTo>
                      <a:pt x="14" y="197"/>
                    </a:lnTo>
                    <a:lnTo>
                      <a:pt x="14" y="166"/>
                    </a:lnTo>
                    <a:lnTo>
                      <a:pt x="14" y="163"/>
                    </a:lnTo>
                    <a:lnTo>
                      <a:pt x="11" y="159"/>
                    </a:lnTo>
                    <a:lnTo>
                      <a:pt x="11" y="138"/>
                    </a:lnTo>
                    <a:lnTo>
                      <a:pt x="11" y="114"/>
                    </a:lnTo>
                    <a:lnTo>
                      <a:pt x="11" y="83"/>
                    </a:lnTo>
                    <a:lnTo>
                      <a:pt x="7" y="52"/>
                    </a:lnTo>
                    <a:lnTo>
                      <a:pt x="4" y="24"/>
                    </a:lnTo>
                    <a:lnTo>
                      <a:pt x="4" y="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29" name="Freeform 198"/>
              <p:cNvSpPr>
                <a:spLocks/>
              </p:cNvSpPr>
              <p:nvPr/>
            </p:nvSpPr>
            <p:spPr bwMode="auto">
              <a:xfrm>
                <a:off x="336" y="2955"/>
                <a:ext cx="882" cy="180"/>
              </a:xfrm>
              <a:custGeom>
                <a:avLst/>
                <a:gdLst>
                  <a:gd name="T0" fmla="*/ 813 w 882"/>
                  <a:gd name="T1" fmla="*/ 0 h 180"/>
                  <a:gd name="T2" fmla="*/ 813 w 882"/>
                  <a:gd name="T3" fmla="*/ 0 h 180"/>
                  <a:gd name="T4" fmla="*/ 817 w 882"/>
                  <a:gd name="T5" fmla="*/ 0 h 180"/>
                  <a:gd name="T6" fmla="*/ 834 w 882"/>
                  <a:gd name="T7" fmla="*/ 7 h 180"/>
                  <a:gd name="T8" fmla="*/ 855 w 882"/>
                  <a:gd name="T9" fmla="*/ 21 h 180"/>
                  <a:gd name="T10" fmla="*/ 876 w 882"/>
                  <a:gd name="T11" fmla="*/ 38 h 180"/>
                  <a:gd name="T12" fmla="*/ 10 w 882"/>
                  <a:gd name="T13" fmla="*/ 62 h 180"/>
                  <a:gd name="T14" fmla="*/ 21 w 882"/>
                  <a:gd name="T15" fmla="*/ 93 h 180"/>
                  <a:gd name="T16" fmla="*/ 21 w 882"/>
                  <a:gd name="T17" fmla="*/ 114 h 180"/>
                  <a:gd name="T18" fmla="*/ 17 w 882"/>
                  <a:gd name="T19" fmla="*/ 131 h 180"/>
                  <a:gd name="T20" fmla="*/ 10 w 882"/>
                  <a:gd name="T21" fmla="*/ 156 h 180"/>
                  <a:gd name="T22" fmla="*/ 0 w 882"/>
                  <a:gd name="T23" fmla="*/ 180 h 180"/>
                  <a:gd name="T24" fmla="*/ 0 w 882"/>
                  <a:gd name="T25" fmla="*/ 173 h 180"/>
                  <a:gd name="T26" fmla="*/ 7 w 882"/>
                  <a:gd name="T27" fmla="*/ 159 h 180"/>
                  <a:gd name="T28" fmla="*/ 14 w 882"/>
                  <a:gd name="T29" fmla="*/ 142 h 180"/>
                  <a:gd name="T30" fmla="*/ 14 w 882"/>
                  <a:gd name="T31" fmla="*/ 114 h 180"/>
                  <a:gd name="T32" fmla="*/ 10 w 882"/>
                  <a:gd name="T33" fmla="*/ 86 h 180"/>
                  <a:gd name="T34" fmla="*/ 882 w 882"/>
                  <a:gd name="T35" fmla="*/ 59 h 180"/>
                  <a:gd name="T36" fmla="*/ 872 w 882"/>
                  <a:gd name="T37" fmla="*/ 41 h 180"/>
                  <a:gd name="T38" fmla="*/ 855 w 882"/>
                  <a:gd name="T39" fmla="*/ 28 h 180"/>
                  <a:gd name="T40" fmla="*/ 838 w 882"/>
                  <a:gd name="T41" fmla="*/ 14 h 180"/>
                  <a:gd name="T42" fmla="*/ 813 w 882"/>
                  <a:gd name="T43" fmla="*/ 0 h 18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882"/>
                  <a:gd name="T67" fmla="*/ 0 h 180"/>
                  <a:gd name="T68" fmla="*/ 882 w 882"/>
                  <a:gd name="T69" fmla="*/ 180 h 180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882" h="180">
                    <a:moveTo>
                      <a:pt x="813" y="0"/>
                    </a:moveTo>
                    <a:lnTo>
                      <a:pt x="813" y="0"/>
                    </a:lnTo>
                    <a:lnTo>
                      <a:pt x="817" y="0"/>
                    </a:lnTo>
                    <a:lnTo>
                      <a:pt x="834" y="7"/>
                    </a:lnTo>
                    <a:lnTo>
                      <a:pt x="855" y="21"/>
                    </a:lnTo>
                    <a:lnTo>
                      <a:pt x="876" y="38"/>
                    </a:lnTo>
                    <a:lnTo>
                      <a:pt x="10" y="62"/>
                    </a:lnTo>
                    <a:lnTo>
                      <a:pt x="21" y="93"/>
                    </a:lnTo>
                    <a:lnTo>
                      <a:pt x="21" y="114"/>
                    </a:lnTo>
                    <a:lnTo>
                      <a:pt x="17" y="131"/>
                    </a:lnTo>
                    <a:lnTo>
                      <a:pt x="10" y="156"/>
                    </a:lnTo>
                    <a:lnTo>
                      <a:pt x="0" y="180"/>
                    </a:lnTo>
                    <a:lnTo>
                      <a:pt x="0" y="173"/>
                    </a:lnTo>
                    <a:lnTo>
                      <a:pt x="7" y="159"/>
                    </a:lnTo>
                    <a:lnTo>
                      <a:pt x="14" y="142"/>
                    </a:lnTo>
                    <a:lnTo>
                      <a:pt x="14" y="114"/>
                    </a:lnTo>
                    <a:lnTo>
                      <a:pt x="10" y="86"/>
                    </a:lnTo>
                    <a:lnTo>
                      <a:pt x="882" y="59"/>
                    </a:lnTo>
                    <a:lnTo>
                      <a:pt x="872" y="41"/>
                    </a:lnTo>
                    <a:lnTo>
                      <a:pt x="855" y="28"/>
                    </a:lnTo>
                    <a:lnTo>
                      <a:pt x="838" y="14"/>
                    </a:lnTo>
                    <a:lnTo>
                      <a:pt x="813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30" name="Freeform 199"/>
              <p:cNvSpPr>
                <a:spLocks/>
              </p:cNvSpPr>
              <p:nvPr/>
            </p:nvSpPr>
            <p:spPr bwMode="auto">
              <a:xfrm>
                <a:off x="350" y="2955"/>
                <a:ext cx="868" cy="183"/>
              </a:xfrm>
              <a:custGeom>
                <a:avLst/>
                <a:gdLst>
                  <a:gd name="T0" fmla="*/ 844 w 868"/>
                  <a:gd name="T1" fmla="*/ 0 h 183"/>
                  <a:gd name="T2" fmla="*/ 844 w 868"/>
                  <a:gd name="T3" fmla="*/ 0 h 183"/>
                  <a:gd name="T4" fmla="*/ 848 w 868"/>
                  <a:gd name="T5" fmla="*/ 0 h 183"/>
                  <a:gd name="T6" fmla="*/ 865 w 868"/>
                  <a:gd name="T7" fmla="*/ 7 h 183"/>
                  <a:gd name="T8" fmla="*/ 0 w 868"/>
                  <a:gd name="T9" fmla="*/ 21 h 183"/>
                  <a:gd name="T10" fmla="*/ 21 w 868"/>
                  <a:gd name="T11" fmla="*/ 41 h 183"/>
                  <a:gd name="T12" fmla="*/ 41 w 868"/>
                  <a:gd name="T13" fmla="*/ 66 h 183"/>
                  <a:gd name="T14" fmla="*/ 52 w 868"/>
                  <a:gd name="T15" fmla="*/ 97 h 183"/>
                  <a:gd name="T16" fmla="*/ 52 w 868"/>
                  <a:gd name="T17" fmla="*/ 118 h 183"/>
                  <a:gd name="T18" fmla="*/ 52 w 868"/>
                  <a:gd name="T19" fmla="*/ 135 h 183"/>
                  <a:gd name="T20" fmla="*/ 45 w 868"/>
                  <a:gd name="T21" fmla="*/ 159 h 183"/>
                  <a:gd name="T22" fmla="*/ 34 w 868"/>
                  <a:gd name="T23" fmla="*/ 183 h 183"/>
                  <a:gd name="T24" fmla="*/ 34 w 868"/>
                  <a:gd name="T25" fmla="*/ 176 h 183"/>
                  <a:gd name="T26" fmla="*/ 41 w 868"/>
                  <a:gd name="T27" fmla="*/ 163 h 183"/>
                  <a:gd name="T28" fmla="*/ 45 w 868"/>
                  <a:gd name="T29" fmla="*/ 145 h 183"/>
                  <a:gd name="T30" fmla="*/ 48 w 868"/>
                  <a:gd name="T31" fmla="*/ 118 h 183"/>
                  <a:gd name="T32" fmla="*/ 45 w 868"/>
                  <a:gd name="T33" fmla="*/ 90 h 183"/>
                  <a:gd name="T34" fmla="*/ 28 w 868"/>
                  <a:gd name="T35" fmla="*/ 59 h 183"/>
                  <a:gd name="T36" fmla="*/ 17 w 868"/>
                  <a:gd name="T37" fmla="*/ 45 h 183"/>
                  <a:gd name="T38" fmla="*/ 0 w 868"/>
                  <a:gd name="T39" fmla="*/ 28 h 183"/>
                  <a:gd name="T40" fmla="*/ 868 w 868"/>
                  <a:gd name="T41" fmla="*/ 14 h 183"/>
                  <a:gd name="T42" fmla="*/ 844 w 868"/>
                  <a:gd name="T43" fmla="*/ 0 h 183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868"/>
                  <a:gd name="T67" fmla="*/ 0 h 183"/>
                  <a:gd name="T68" fmla="*/ 868 w 868"/>
                  <a:gd name="T69" fmla="*/ 183 h 183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868" h="183">
                    <a:moveTo>
                      <a:pt x="844" y="0"/>
                    </a:moveTo>
                    <a:lnTo>
                      <a:pt x="844" y="0"/>
                    </a:lnTo>
                    <a:lnTo>
                      <a:pt x="848" y="0"/>
                    </a:lnTo>
                    <a:lnTo>
                      <a:pt x="865" y="7"/>
                    </a:lnTo>
                    <a:lnTo>
                      <a:pt x="0" y="21"/>
                    </a:lnTo>
                    <a:lnTo>
                      <a:pt x="21" y="41"/>
                    </a:lnTo>
                    <a:lnTo>
                      <a:pt x="41" y="66"/>
                    </a:lnTo>
                    <a:lnTo>
                      <a:pt x="52" y="97"/>
                    </a:lnTo>
                    <a:lnTo>
                      <a:pt x="52" y="118"/>
                    </a:lnTo>
                    <a:lnTo>
                      <a:pt x="52" y="135"/>
                    </a:lnTo>
                    <a:lnTo>
                      <a:pt x="45" y="159"/>
                    </a:lnTo>
                    <a:lnTo>
                      <a:pt x="34" y="183"/>
                    </a:lnTo>
                    <a:lnTo>
                      <a:pt x="34" y="176"/>
                    </a:lnTo>
                    <a:lnTo>
                      <a:pt x="41" y="163"/>
                    </a:lnTo>
                    <a:lnTo>
                      <a:pt x="45" y="145"/>
                    </a:lnTo>
                    <a:lnTo>
                      <a:pt x="48" y="118"/>
                    </a:lnTo>
                    <a:lnTo>
                      <a:pt x="45" y="90"/>
                    </a:lnTo>
                    <a:lnTo>
                      <a:pt x="28" y="59"/>
                    </a:lnTo>
                    <a:lnTo>
                      <a:pt x="17" y="45"/>
                    </a:lnTo>
                    <a:lnTo>
                      <a:pt x="0" y="28"/>
                    </a:lnTo>
                    <a:lnTo>
                      <a:pt x="868" y="14"/>
                    </a:lnTo>
                    <a:lnTo>
                      <a:pt x="844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31" name="Freeform 200"/>
              <p:cNvSpPr>
                <a:spLocks/>
              </p:cNvSpPr>
              <p:nvPr/>
            </p:nvSpPr>
            <p:spPr bwMode="auto">
              <a:xfrm>
                <a:off x="1129" y="3163"/>
                <a:ext cx="83" cy="93"/>
              </a:xfrm>
              <a:custGeom>
                <a:avLst/>
                <a:gdLst>
                  <a:gd name="T0" fmla="*/ 83 w 83"/>
                  <a:gd name="T1" fmla="*/ 0 h 93"/>
                  <a:gd name="T2" fmla="*/ 79 w 83"/>
                  <a:gd name="T3" fmla="*/ 3 h 93"/>
                  <a:gd name="T4" fmla="*/ 72 w 83"/>
                  <a:gd name="T5" fmla="*/ 10 h 93"/>
                  <a:gd name="T6" fmla="*/ 62 w 83"/>
                  <a:gd name="T7" fmla="*/ 24 h 93"/>
                  <a:gd name="T8" fmla="*/ 51 w 83"/>
                  <a:gd name="T9" fmla="*/ 41 h 93"/>
                  <a:gd name="T10" fmla="*/ 24 w 83"/>
                  <a:gd name="T11" fmla="*/ 72 h 93"/>
                  <a:gd name="T12" fmla="*/ 10 w 83"/>
                  <a:gd name="T13" fmla="*/ 83 h 93"/>
                  <a:gd name="T14" fmla="*/ 0 w 83"/>
                  <a:gd name="T15" fmla="*/ 93 h 93"/>
                  <a:gd name="T16" fmla="*/ 3 w 83"/>
                  <a:gd name="T17" fmla="*/ 90 h 93"/>
                  <a:gd name="T18" fmla="*/ 10 w 83"/>
                  <a:gd name="T19" fmla="*/ 86 h 93"/>
                  <a:gd name="T20" fmla="*/ 20 w 83"/>
                  <a:gd name="T21" fmla="*/ 79 h 93"/>
                  <a:gd name="T22" fmla="*/ 34 w 83"/>
                  <a:gd name="T23" fmla="*/ 69 h 93"/>
                  <a:gd name="T24" fmla="*/ 48 w 83"/>
                  <a:gd name="T25" fmla="*/ 52 h 93"/>
                  <a:gd name="T26" fmla="*/ 62 w 83"/>
                  <a:gd name="T27" fmla="*/ 27 h 93"/>
                  <a:gd name="T28" fmla="*/ 83 w 83"/>
                  <a:gd name="T29" fmla="*/ 0 h 9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3"/>
                  <a:gd name="T46" fmla="*/ 0 h 93"/>
                  <a:gd name="T47" fmla="*/ 83 w 83"/>
                  <a:gd name="T48" fmla="*/ 93 h 9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3" h="93">
                    <a:moveTo>
                      <a:pt x="83" y="0"/>
                    </a:moveTo>
                    <a:lnTo>
                      <a:pt x="79" y="3"/>
                    </a:lnTo>
                    <a:lnTo>
                      <a:pt x="72" y="10"/>
                    </a:lnTo>
                    <a:lnTo>
                      <a:pt x="62" y="24"/>
                    </a:lnTo>
                    <a:lnTo>
                      <a:pt x="51" y="41"/>
                    </a:lnTo>
                    <a:lnTo>
                      <a:pt x="24" y="72"/>
                    </a:lnTo>
                    <a:lnTo>
                      <a:pt x="10" y="83"/>
                    </a:lnTo>
                    <a:lnTo>
                      <a:pt x="0" y="93"/>
                    </a:lnTo>
                    <a:lnTo>
                      <a:pt x="3" y="90"/>
                    </a:lnTo>
                    <a:lnTo>
                      <a:pt x="10" y="86"/>
                    </a:lnTo>
                    <a:lnTo>
                      <a:pt x="20" y="79"/>
                    </a:lnTo>
                    <a:lnTo>
                      <a:pt x="34" y="69"/>
                    </a:lnTo>
                    <a:lnTo>
                      <a:pt x="48" y="52"/>
                    </a:lnTo>
                    <a:lnTo>
                      <a:pt x="62" y="27"/>
                    </a:lnTo>
                    <a:lnTo>
                      <a:pt x="83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32" name="Freeform 201"/>
              <p:cNvSpPr>
                <a:spLocks/>
              </p:cNvSpPr>
              <p:nvPr/>
            </p:nvSpPr>
            <p:spPr bwMode="auto">
              <a:xfrm>
                <a:off x="1153" y="3173"/>
                <a:ext cx="93" cy="80"/>
              </a:xfrm>
              <a:custGeom>
                <a:avLst/>
                <a:gdLst>
                  <a:gd name="T0" fmla="*/ 93 w 93"/>
                  <a:gd name="T1" fmla="*/ 0 h 80"/>
                  <a:gd name="T2" fmla="*/ 90 w 93"/>
                  <a:gd name="T3" fmla="*/ 0 h 80"/>
                  <a:gd name="T4" fmla="*/ 79 w 93"/>
                  <a:gd name="T5" fmla="*/ 10 h 80"/>
                  <a:gd name="T6" fmla="*/ 69 w 93"/>
                  <a:gd name="T7" fmla="*/ 21 h 80"/>
                  <a:gd name="T8" fmla="*/ 55 w 93"/>
                  <a:gd name="T9" fmla="*/ 35 h 80"/>
                  <a:gd name="T10" fmla="*/ 24 w 93"/>
                  <a:gd name="T11" fmla="*/ 62 h 80"/>
                  <a:gd name="T12" fmla="*/ 10 w 93"/>
                  <a:gd name="T13" fmla="*/ 73 h 80"/>
                  <a:gd name="T14" fmla="*/ 0 w 93"/>
                  <a:gd name="T15" fmla="*/ 80 h 80"/>
                  <a:gd name="T16" fmla="*/ 3 w 93"/>
                  <a:gd name="T17" fmla="*/ 76 h 80"/>
                  <a:gd name="T18" fmla="*/ 14 w 93"/>
                  <a:gd name="T19" fmla="*/ 76 h 80"/>
                  <a:gd name="T20" fmla="*/ 24 w 93"/>
                  <a:gd name="T21" fmla="*/ 69 h 80"/>
                  <a:gd name="T22" fmla="*/ 38 w 93"/>
                  <a:gd name="T23" fmla="*/ 59 h 80"/>
                  <a:gd name="T24" fmla="*/ 52 w 93"/>
                  <a:gd name="T25" fmla="*/ 45 h 80"/>
                  <a:gd name="T26" fmla="*/ 69 w 93"/>
                  <a:gd name="T27" fmla="*/ 24 h 80"/>
                  <a:gd name="T28" fmla="*/ 93 w 93"/>
                  <a:gd name="T29" fmla="*/ 0 h 8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93"/>
                  <a:gd name="T46" fmla="*/ 0 h 80"/>
                  <a:gd name="T47" fmla="*/ 93 w 93"/>
                  <a:gd name="T48" fmla="*/ 80 h 8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93" h="80">
                    <a:moveTo>
                      <a:pt x="93" y="0"/>
                    </a:moveTo>
                    <a:lnTo>
                      <a:pt x="90" y="0"/>
                    </a:lnTo>
                    <a:lnTo>
                      <a:pt x="79" y="10"/>
                    </a:lnTo>
                    <a:lnTo>
                      <a:pt x="69" y="21"/>
                    </a:lnTo>
                    <a:lnTo>
                      <a:pt x="55" y="35"/>
                    </a:lnTo>
                    <a:lnTo>
                      <a:pt x="24" y="62"/>
                    </a:lnTo>
                    <a:lnTo>
                      <a:pt x="10" y="73"/>
                    </a:lnTo>
                    <a:lnTo>
                      <a:pt x="0" y="80"/>
                    </a:lnTo>
                    <a:lnTo>
                      <a:pt x="3" y="76"/>
                    </a:lnTo>
                    <a:lnTo>
                      <a:pt x="14" y="76"/>
                    </a:lnTo>
                    <a:lnTo>
                      <a:pt x="24" y="69"/>
                    </a:lnTo>
                    <a:lnTo>
                      <a:pt x="38" y="59"/>
                    </a:lnTo>
                    <a:lnTo>
                      <a:pt x="52" y="45"/>
                    </a:lnTo>
                    <a:lnTo>
                      <a:pt x="69" y="24"/>
                    </a:lnTo>
                    <a:lnTo>
                      <a:pt x="93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33" name="Freeform 202"/>
              <p:cNvSpPr>
                <a:spLocks/>
              </p:cNvSpPr>
              <p:nvPr/>
            </p:nvSpPr>
            <p:spPr bwMode="auto">
              <a:xfrm>
                <a:off x="917" y="2401"/>
                <a:ext cx="267" cy="138"/>
              </a:xfrm>
              <a:custGeom>
                <a:avLst/>
                <a:gdLst>
                  <a:gd name="T0" fmla="*/ 267 w 267"/>
                  <a:gd name="T1" fmla="*/ 0 h 138"/>
                  <a:gd name="T2" fmla="*/ 263 w 267"/>
                  <a:gd name="T3" fmla="*/ 0 h 138"/>
                  <a:gd name="T4" fmla="*/ 257 w 267"/>
                  <a:gd name="T5" fmla="*/ 3 h 138"/>
                  <a:gd name="T6" fmla="*/ 246 w 267"/>
                  <a:gd name="T7" fmla="*/ 10 h 138"/>
                  <a:gd name="T8" fmla="*/ 229 w 267"/>
                  <a:gd name="T9" fmla="*/ 17 h 138"/>
                  <a:gd name="T10" fmla="*/ 194 w 267"/>
                  <a:gd name="T11" fmla="*/ 38 h 138"/>
                  <a:gd name="T12" fmla="*/ 149 w 267"/>
                  <a:gd name="T13" fmla="*/ 62 h 138"/>
                  <a:gd name="T14" fmla="*/ 104 w 267"/>
                  <a:gd name="T15" fmla="*/ 86 h 138"/>
                  <a:gd name="T16" fmla="*/ 59 w 267"/>
                  <a:gd name="T17" fmla="*/ 111 h 138"/>
                  <a:gd name="T18" fmla="*/ 25 w 267"/>
                  <a:gd name="T19" fmla="*/ 128 h 138"/>
                  <a:gd name="T20" fmla="*/ 11 w 267"/>
                  <a:gd name="T21" fmla="*/ 131 h 138"/>
                  <a:gd name="T22" fmla="*/ 0 w 267"/>
                  <a:gd name="T23" fmla="*/ 138 h 138"/>
                  <a:gd name="T24" fmla="*/ 0 w 267"/>
                  <a:gd name="T25" fmla="*/ 135 h 138"/>
                  <a:gd name="T26" fmla="*/ 11 w 267"/>
                  <a:gd name="T27" fmla="*/ 131 h 138"/>
                  <a:gd name="T28" fmla="*/ 21 w 267"/>
                  <a:gd name="T29" fmla="*/ 125 h 138"/>
                  <a:gd name="T30" fmla="*/ 35 w 267"/>
                  <a:gd name="T31" fmla="*/ 118 h 138"/>
                  <a:gd name="T32" fmla="*/ 77 w 267"/>
                  <a:gd name="T33" fmla="*/ 97 h 138"/>
                  <a:gd name="T34" fmla="*/ 122 w 267"/>
                  <a:gd name="T35" fmla="*/ 73 h 138"/>
                  <a:gd name="T36" fmla="*/ 170 w 267"/>
                  <a:gd name="T37" fmla="*/ 48 h 138"/>
                  <a:gd name="T38" fmla="*/ 212 w 267"/>
                  <a:gd name="T39" fmla="*/ 24 h 138"/>
                  <a:gd name="T40" fmla="*/ 229 w 267"/>
                  <a:gd name="T41" fmla="*/ 17 h 138"/>
                  <a:gd name="T42" fmla="*/ 246 w 267"/>
                  <a:gd name="T43" fmla="*/ 7 h 138"/>
                  <a:gd name="T44" fmla="*/ 257 w 267"/>
                  <a:gd name="T45" fmla="*/ 3 h 138"/>
                  <a:gd name="T46" fmla="*/ 267 w 267"/>
                  <a:gd name="T47" fmla="*/ 0 h 138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67"/>
                  <a:gd name="T73" fmla="*/ 0 h 138"/>
                  <a:gd name="T74" fmla="*/ 267 w 267"/>
                  <a:gd name="T75" fmla="*/ 138 h 138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67" h="138">
                    <a:moveTo>
                      <a:pt x="267" y="0"/>
                    </a:moveTo>
                    <a:lnTo>
                      <a:pt x="263" y="0"/>
                    </a:lnTo>
                    <a:lnTo>
                      <a:pt x="257" y="3"/>
                    </a:lnTo>
                    <a:lnTo>
                      <a:pt x="246" y="10"/>
                    </a:lnTo>
                    <a:lnTo>
                      <a:pt x="229" y="17"/>
                    </a:lnTo>
                    <a:lnTo>
                      <a:pt x="194" y="38"/>
                    </a:lnTo>
                    <a:lnTo>
                      <a:pt x="149" y="62"/>
                    </a:lnTo>
                    <a:lnTo>
                      <a:pt x="104" y="86"/>
                    </a:lnTo>
                    <a:lnTo>
                      <a:pt x="59" y="111"/>
                    </a:lnTo>
                    <a:lnTo>
                      <a:pt x="25" y="128"/>
                    </a:lnTo>
                    <a:lnTo>
                      <a:pt x="11" y="131"/>
                    </a:lnTo>
                    <a:lnTo>
                      <a:pt x="0" y="138"/>
                    </a:lnTo>
                    <a:lnTo>
                      <a:pt x="0" y="135"/>
                    </a:lnTo>
                    <a:lnTo>
                      <a:pt x="11" y="131"/>
                    </a:lnTo>
                    <a:lnTo>
                      <a:pt x="21" y="125"/>
                    </a:lnTo>
                    <a:lnTo>
                      <a:pt x="35" y="118"/>
                    </a:lnTo>
                    <a:lnTo>
                      <a:pt x="77" y="97"/>
                    </a:lnTo>
                    <a:lnTo>
                      <a:pt x="122" y="73"/>
                    </a:lnTo>
                    <a:lnTo>
                      <a:pt x="170" y="48"/>
                    </a:lnTo>
                    <a:lnTo>
                      <a:pt x="212" y="24"/>
                    </a:lnTo>
                    <a:lnTo>
                      <a:pt x="229" y="17"/>
                    </a:lnTo>
                    <a:lnTo>
                      <a:pt x="246" y="7"/>
                    </a:lnTo>
                    <a:lnTo>
                      <a:pt x="257" y="3"/>
                    </a:lnTo>
                    <a:lnTo>
                      <a:pt x="267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34" name="Freeform 203"/>
              <p:cNvSpPr>
                <a:spLocks/>
              </p:cNvSpPr>
              <p:nvPr/>
            </p:nvSpPr>
            <p:spPr bwMode="auto">
              <a:xfrm>
                <a:off x="931" y="2415"/>
                <a:ext cx="267" cy="138"/>
              </a:xfrm>
              <a:custGeom>
                <a:avLst/>
                <a:gdLst>
                  <a:gd name="T0" fmla="*/ 267 w 267"/>
                  <a:gd name="T1" fmla="*/ 0 h 138"/>
                  <a:gd name="T2" fmla="*/ 263 w 267"/>
                  <a:gd name="T3" fmla="*/ 0 h 138"/>
                  <a:gd name="T4" fmla="*/ 256 w 267"/>
                  <a:gd name="T5" fmla="*/ 3 h 138"/>
                  <a:gd name="T6" fmla="*/ 246 w 267"/>
                  <a:gd name="T7" fmla="*/ 10 h 138"/>
                  <a:gd name="T8" fmla="*/ 229 w 267"/>
                  <a:gd name="T9" fmla="*/ 17 h 138"/>
                  <a:gd name="T10" fmla="*/ 194 w 267"/>
                  <a:gd name="T11" fmla="*/ 38 h 138"/>
                  <a:gd name="T12" fmla="*/ 149 w 267"/>
                  <a:gd name="T13" fmla="*/ 62 h 138"/>
                  <a:gd name="T14" fmla="*/ 104 w 267"/>
                  <a:gd name="T15" fmla="*/ 86 h 138"/>
                  <a:gd name="T16" fmla="*/ 59 w 267"/>
                  <a:gd name="T17" fmla="*/ 111 h 138"/>
                  <a:gd name="T18" fmla="*/ 24 w 267"/>
                  <a:gd name="T19" fmla="*/ 128 h 138"/>
                  <a:gd name="T20" fmla="*/ 11 w 267"/>
                  <a:gd name="T21" fmla="*/ 131 h 138"/>
                  <a:gd name="T22" fmla="*/ 0 w 267"/>
                  <a:gd name="T23" fmla="*/ 138 h 138"/>
                  <a:gd name="T24" fmla="*/ 0 w 267"/>
                  <a:gd name="T25" fmla="*/ 135 h 138"/>
                  <a:gd name="T26" fmla="*/ 11 w 267"/>
                  <a:gd name="T27" fmla="*/ 131 h 138"/>
                  <a:gd name="T28" fmla="*/ 21 w 267"/>
                  <a:gd name="T29" fmla="*/ 124 h 138"/>
                  <a:gd name="T30" fmla="*/ 35 w 267"/>
                  <a:gd name="T31" fmla="*/ 117 h 138"/>
                  <a:gd name="T32" fmla="*/ 76 w 267"/>
                  <a:gd name="T33" fmla="*/ 97 h 138"/>
                  <a:gd name="T34" fmla="*/ 121 w 267"/>
                  <a:gd name="T35" fmla="*/ 72 h 138"/>
                  <a:gd name="T36" fmla="*/ 170 w 267"/>
                  <a:gd name="T37" fmla="*/ 48 h 138"/>
                  <a:gd name="T38" fmla="*/ 211 w 267"/>
                  <a:gd name="T39" fmla="*/ 27 h 138"/>
                  <a:gd name="T40" fmla="*/ 229 w 267"/>
                  <a:gd name="T41" fmla="*/ 17 h 138"/>
                  <a:gd name="T42" fmla="*/ 246 w 267"/>
                  <a:gd name="T43" fmla="*/ 10 h 138"/>
                  <a:gd name="T44" fmla="*/ 256 w 267"/>
                  <a:gd name="T45" fmla="*/ 3 h 138"/>
                  <a:gd name="T46" fmla="*/ 267 w 267"/>
                  <a:gd name="T47" fmla="*/ 0 h 138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67"/>
                  <a:gd name="T73" fmla="*/ 0 h 138"/>
                  <a:gd name="T74" fmla="*/ 267 w 267"/>
                  <a:gd name="T75" fmla="*/ 138 h 138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67" h="138">
                    <a:moveTo>
                      <a:pt x="267" y="0"/>
                    </a:moveTo>
                    <a:lnTo>
                      <a:pt x="263" y="0"/>
                    </a:lnTo>
                    <a:lnTo>
                      <a:pt x="256" y="3"/>
                    </a:lnTo>
                    <a:lnTo>
                      <a:pt x="246" y="10"/>
                    </a:lnTo>
                    <a:lnTo>
                      <a:pt x="229" y="17"/>
                    </a:lnTo>
                    <a:lnTo>
                      <a:pt x="194" y="38"/>
                    </a:lnTo>
                    <a:lnTo>
                      <a:pt x="149" y="62"/>
                    </a:lnTo>
                    <a:lnTo>
                      <a:pt x="104" y="86"/>
                    </a:lnTo>
                    <a:lnTo>
                      <a:pt x="59" y="111"/>
                    </a:lnTo>
                    <a:lnTo>
                      <a:pt x="24" y="128"/>
                    </a:lnTo>
                    <a:lnTo>
                      <a:pt x="11" y="131"/>
                    </a:lnTo>
                    <a:lnTo>
                      <a:pt x="0" y="138"/>
                    </a:lnTo>
                    <a:lnTo>
                      <a:pt x="0" y="135"/>
                    </a:lnTo>
                    <a:lnTo>
                      <a:pt x="11" y="131"/>
                    </a:lnTo>
                    <a:lnTo>
                      <a:pt x="21" y="124"/>
                    </a:lnTo>
                    <a:lnTo>
                      <a:pt x="35" y="117"/>
                    </a:lnTo>
                    <a:lnTo>
                      <a:pt x="76" y="97"/>
                    </a:lnTo>
                    <a:lnTo>
                      <a:pt x="121" y="72"/>
                    </a:lnTo>
                    <a:lnTo>
                      <a:pt x="170" y="48"/>
                    </a:lnTo>
                    <a:lnTo>
                      <a:pt x="211" y="27"/>
                    </a:lnTo>
                    <a:lnTo>
                      <a:pt x="229" y="17"/>
                    </a:lnTo>
                    <a:lnTo>
                      <a:pt x="246" y="10"/>
                    </a:lnTo>
                    <a:lnTo>
                      <a:pt x="256" y="3"/>
                    </a:lnTo>
                    <a:lnTo>
                      <a:pt x="267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35" name="Freeform 204"/>
              <p:cNvSpPr>
                <a:spLocks/>
              </p:cNvSpPr>
              <p:nvPr/>
            </p:nvSpPr>
            <p:spPr bwMode="auto">
              <a:xfrm>
                <a:off x="391" y="3211"/>
                <a:ext cx="454" cy="38"/>
              </a:xfrm>
              <a:custGeom>
                <a:avLst/>
                <a:gdLst>
                  <a:gd name="T0" fmla="*/ 0 w 454"/>
                  <a:gd name="T1" fmla="*/ 0 h 38"/>
                  <a:gd name="T2" fmla="*/ 360 w 454"/>
                  <a:gd name="T3" fmla="*/ 38 h 38"/>
                  <a:gd name="T4" fmla="*/ 454 w 454"/>
                  <a:gd name="T5" fmla="*/ 17 h 38"/>
                  <a:gd name="T6" fmla="*/ 364 w 454"/>
                  <a:gd name="T7" fmla="*/ 24 h 38"/>
                  <a:gd name="T8" fmla="*/ 0 w 454"/>
                  <a:gd name="T9" fmla="*/ 0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54"/>
                  <a:gd name="T16" fmla="*/ 0 h 38"/>
                  <a:gd name="T17" fmla="*/ 454 w 454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54" h="38">
                    <a:moveTo>
                      <a:pt x="0" y="0"/>
                    </a:moveTo>
                    <a:lnTo>
                      <a:pt x="360" y="38"/>
                    </a:lnTo>
                    <a:lnTo>
                      <a:pt x="454" y="17"/>
                    </a:lnTo>
                    <a:lnTo>
                      <a:pt x="364" y="2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36" name="Freeform 205"/>
              <p:cNvSpPr>
                <a:spLocks/>
              </p:cNvSpPr>
              <p:nvPr/>
            </p:nvSpPr>
            <p:spPr bwMode="auto">
              <a:xfrm>
                <a:off x="409" y="3163"/>
                <a:ext cx="408" cy="24"/>
              </a:xfrm>
              <a:custGeom>
                <a:avLst/>
                <a:gdLst>
                  <a:gd name="T0" fmla="*/ 0 w 408"/>
                  <a:gd name="T1" fmla="*/ 0 h 24"/>
                  <a:gd name="T2" fmla="*/ 318 w 408"/>
                  <a:gd name="T3" fmla="*/ 24 h 24"/>
                  <a:gd name="T4" fmla="*/ 408 w 408"/>
                  <a:gd name="T5" fmla="*/ 3 h 24"/>
                  <a:gd name="T6" fmla="*/ 318 w 408"/>
                  <a:gd name="T7" fmla="*/ 14 h 24"/>
                  <a:gd name="T8" fmla="*/ 0 w 408"/>
                  <a:gd name="T9" fmla="*/ 0 h 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08"/>
                  <a:gd name="T16" fmla="*/ 0 h 24"/>
                  <a:gd name="T17" fmla="*/ 408 w 408"/>
                  <a:gd name="T18" fmla="*/ 24 h 2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08" h="24">
                    <a:moveTo>
                      <a:pt x="0" y="0"/>
                    </a:moveTo>
                    <a:lnTo>
                      <a:pt x="318" y="24"/>
                    </a:lnTo>
                    <a:lnTo>
                      <a:pt x="408" y="3"/>
                    </a:lnTo>
                    <a:lnTo>
                      <a:pt x="318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37" name="Freeform 206"/>
              <p:cNvSpPr>
                <a:spLocks/>
              </p:cNvSpPr>
              <p:nvPr/>
            </p:nvSpPr>
            <p:spPr bwMode="auto">
              <a:xfrm>
                <a:off x="433" y="3052"/>
                <a:ext cx="370" cy="97"/>
              </a:xfrm>
              <a:custGeom>
                <a:avLst/>
                <a:gdLst>
                  <a:gd name="T0" fmla="*/ 0 w 370"/>
                  <a:gd name="T1" fmla="*/ 10 h 97"/>
                  <a:gd name="T2" fmla="*/ 0 w 370"/>
                  <a:gd name="T3" fmla="*/ 97 h 97"/>
                  <a:gd name="T4" fmla="*/ 10 w 370"/>
                  <a:gd name="T5" fmla="*/ 17 h 97"/>
                  <a:gd name="T6" fmla="*/ 277 w 370"/>
                  <a:gd name="T7" fmla="*/ 10 h 97"/>
                  <a:gd name="T8" fmla="*/ 284 w 370"/>
                  <a:gd name="T9" fmla="*/ 97 h 97"/>
                  <a:gd name="T10" fmla="*/ 287 w 370"/>
                  <a:gd name="T11" fmla="*/ 10 h 97"/>
                  <a:gd name="T12" fmla="*/ 370 w 370"/>
                  <a:gd name="T13" fmla="*/ 17 h 97"/>
                  <a:gd name="T14" fmla="*/ 284 w 370"/>
                  <a:gd name="T15" fmla="*/ 0 h 97"/>
                  <a:gd name="T16" fmla="*/ 0 w 370"/>
                  <a:gd name="T17" fmla="*/ 10 h 9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70"/>
                  <a:gd name="T28" fmla="*/ 0 h 97"/>
                  <a:gd name="T29" fmla="*/ 370 w 370"/>
                  <a:gd name="T30" fmla="*/ 97 h 9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70" h="97">
                    <a:moveTo>
                      <a:pt x="0" y="10"/>
                    </a:moveTo>
                    <a:lnTo>
                      <a:pt x="0" y="97"/>
                    </a:lnTo>
                    <a:lnTo>
                      <a:pt x="10" y="17"/>
                    </a:lnTo>
                    <a:lnTo>
                      <a:pt x="277" y="10"/>
                    </a:lnTo>
                    <a:lnTo>
                      <a:pt x="284" y="97"/>
                    </a:lnTo>
                    <a:lnTo>
                      <a:pt x="287" y="10"/>
                    </a:lnTo>
                    <a:lnTo>
                      <a:pt x="370" y="17"/>
                    </a:lnTo>
                    <a:lnTo>
                      <a:pt x="284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38" name="Freeform 207"/>
              <p:cNvSpPr>
                <a:spLocks/>
              </p:cNvSpPr>
              <p:nvPr/>
            </p:nvSpPr>
            <p:spPr bwMode="auto">
              <a:xfrm>
                <a:off x="561" y="2969"/>
                <a:ext cx="170" cy="72"/>
              </a:xfrm>
              <a:custGeom>
                <a:avLst/>
                <a:gdLst>
                  <a:gd name="T0" fmla="*/ 0 w 170"/>
                  <a:gd name="T1" fmla="*/ 7 h 72"/>
                  <a:gd name="T2" fmla="*/ 0 w 170"/>
                  <a:gd name="T3" fmla="*/ 69 h 72"/>
                  <a:gd name="T4" fmla="*/ 3 w 170"/>
                  <a:gd name="T5" fmla="*/ 10 h 72"/>
                  <a:gd name="T6" fmla="*/ 128 w 170"/>
                  <a:gd name="T7" fmla="*/ 3 h 72"/>
                  <a:gd name="T8" fmla="*/ 131 w 170"/>
                  <a:gd name="T9" fmla="*/ 72 h 72"/>
                  <a:gd name="T10" fmla="*/ 131 w 170"/>
                  <a:gd name="T11" fmla="*/ 3 h 72"/>
                  <a:gd name="T12" fmla="*/ 170 w 170"/>
                  <a:gd name="T13" fmla="*/ 10 h 72"/>
                  <a:gd name="T14" fmla="*/ 131 w 170"/>
                  <a:gd name="T15" fmla="*/ 0 h 72"/>
                  <a:gd name="T16" fmla="*/ 0 w 170"/>
                  <a:gd name="T17" fmla="*/ 7 h 7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70"/>
                  <a:gd name="T28" fmla="*/ 0 h 72"/>
                  <a:gd name="T29" fmla="*/ 170 w 170"/>
                  <a:gd name="T30" fmla="*/ 72 h 7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70" h="72">
                    <a:moveTo>
                      <a:pt x="0" y="7"/>
                    </a:moveTo>
                    <a:lnTo>
                      <a:pt x="0" y="69"/>
                    </a:lnTo>
                    <a:lnTo>
                      <a:pt x="3" y="10"/>
                    </a:lnTo>
                    <a:lnTo>
                      <a:pt x="128" y="3"/>
                    </a:lnTo>
                    <a:lnTo>
                      <a:pt x="131" y="72"/>
                    </a:lnTo>
                    <a:lnTo>
                      <a:pt x="131" y="3"/>
                    </a:lnTo>
                    <a:lnTo>
                      <a:pt x="170" y="10"/>
                    </a:lnTo>
                    <a:lnTo>
                      <a:pt x="131" y="0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39" name="Freeform 208"/>
              <p:cNvSpPr>
                <a:spLocks/>
              </p:cNvSpPr>
              <p:nvPr/>
            </p:nvSpPr>
            <p:spPr bwMode="auto">
              <a:xfrm>
                <a:off x="388" y="3159"/>
                <a:ext cx="7" cy="49"/>
              </a:xfrm>
              <a:custGeom>
                <a:avLst/>
                <a:gdLst>
                  <a:gd name="T0" fmla="*/ 0 w 7"/>
                  <a:gd name="T1" fmla="*/ 0 h 49"/>
                  <a:gd name="T2" fmla="*/ 3 w 7"/>
                  <a:gd name="T3" fmla="*/ 49 h 49"/>
                  <a:gd name="T4" fmla="*/ 3 w 7"/>
                  <a:gd name="T5" fmla="*/ 42 h 49"/>
                  <a:gd name="T6" fmla="*/ 7 w 7"/>
                  <a:gd name="T7" fmla="*/ 31 h 49"/>
                  <a:gd name="T8" fmla="*/ 3 w 7"/>
                  <a:gd name="T9" fmla="*/ 14 h 49"/>
                  <a:gd name="T10" fmla="*/ 0 w 7"/>
                  <a:gd name="T11" fmla="*/ 0 h 4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49"/>
                  <a:gd name="T20" fmla="*/ 7 w 7"/>
                  <a:gd name="T21" fmla="*/ 49 h 4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49">
                    <a:moveTo>
                      <a:pt x="0" y="0"/>
                    </a:moveTo>
                    <a:lnTo>
                      <a:pt x="3" y="49"/>
                    </a:lnTo>
                    <a:lnTo>
                      <a:pt x="3" y="42"/>
                    </a:lnTo>
                    <a:lnTo>
                      <a:pt x="7" y="31"/>
                    </a:lnTo>
                    <a:lnTo>
                      <a:pt x="3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40" name="Freeform 209"/>
              <p:cNvSpPr>
                <a:spLocks/>
              </p:cNvSpPr>
              <p:nvPr/>
            </p:nvSpPr>
            <p:spPr bwMode="auto">
              <a:xfrm>
                <a:off x="821" y="2903"/>
                <a:ext cx="20" cy="97"/>
              </a:xfrm>
              <a:custGeom>
                <a:avLst/>
                <a:gdLst>
                  <a:gd name="T0" fmla="*/ 0 w 20"/>
                  <a:gd name="T1" fmla="*/ 97 h 97"/>
                  <a:gd name="T2" fmla="*/ 6 w 20"/>
                  <a:gd name="T3" fmla="*/ 7 h 97"/>
                  <a:gd name="T4" fmla="*/ 20 w 20"/>
                  <a:gd name="T5" fmla="*/ 0 h 97"/>
                  <a:gd name="T6" fmla="*/ 0 w 20"/>
                  <a:gd name="T7" fmla="*/ 97 h 9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0"/>
                  <a:gd name="T13" fmla="*/ 0 h 97"/>
                  <a:gd name="T14" fmla="*/ 20 w 20"/>
                  <a:gd name="T15" fmla="*/ 97 h 9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0" h="97">
                    <a:moveTo>
                      <a:pt x="0" y="97"/>
                    </a:moveTo>
                    <a:lnTo>
                      <a:pt x="6" y="7"/>
                    </a:lnTo>
                    <a:lnTo>
                      <a:pt x="20" y="0"/>
                    </a:lnTo>
                    <a:lnTo>
                      <a:pt x="0" y="97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41" name="Freeform 210"/>
              <p:cNvSpPr>
                <a:spLocks/>
              </p:cNvSpPr>
              <p:nvPr/>
            </p:nvSpPr>
            <p:spPr bwMode="auto">
              <a:xfrm>
                <a:off x="481" y="3360"/>
                <a:ext cx="253" cy="55"/>
              </a:xfrm>
              <a:custGeom>
                <a:avLst/>
                <a:gdLst>
                  <a:gd name="T0" fmla="*/ 0 w 253"/>
                  <a:gd name="T1" fmla="*/ 0 h 55"/>
                  <a:gd name="T2" fmla="*/ 0 w 253"/>
                  <a:gd name="T3" fmla="*/ 0 h 55"/>
                  <a:gd name="T4" fmla="*/ 7 w 253"/>
                  <a:gd name="T5" fmla="*/ 0 h 55"/>
                  <a:gd name="T6" fmla="*/ 18 w 253"/>
                  <a:gd name="T7" fmla="*/ 3 h 55"/>
                  <a:gd name="T8" fmla="*/ 28 w 253"/>
                  <a:gd name="T9" fmla="*/ 7 h 55"/>
                  <a:gd name="T10" fmla="*/ 63 w 253"/>
                  <a:gd name="T11" fmla="*/ 14 h 55"/>
                  <a:gd name="T12" fmla="*/ 101 w 253"/>
                  <a:gd name="T13" fmla="*/ 24 h 55"/>
                  <a:gd name="T14" fmla="*/ 142 w 253"/>
                  <a:gd name="T15" fmla="*/ 35 h 55"/>
                  <a:gd name="T16" fmla="*/ 184 w 253"/>
                  <a:gd name="T17" fmla="*/ 42 h 55"/>
                  <a:gd name="T18" fmla="*/ 222 w 253"/>
                  <a:gd name="T19" fmla="*/ 48 h 55"/>
                  <a:gd name="T20" fmla="*/ 253 w 253"/>
                  <a:gd name="T21" fmla="*/ 55 h 55"/>
                  <a:gd name="T22" fmla="*/ 250 w 253"/>
                  <a:gd name="T23" fmla="*/ 52 h 55"/>
                  <a:gd name="T24" fmla="*/ 243 w 253"/>
                  <a:gd name="T25" fmla="*/ 52 h 55"/>
                  <a:gd name="T26" fmla="*/ 232 w 253"/>
                  <a:gd name="T27" fmla="*/ 52 h 55"/>
                  <a:gd name="T28" fmla="*/ 218 w 253"/>
                  <a:gd name="T29" fmla="*/ 48 h 55"/>
                  <a:gd name="T30" fmla="*/ 180 w 253"/>
                  <a:gd name="T31" fmla="*/ 42 h 55"/>
                  <a:gd name="T32" fmla="*/ 139 w 253"/>
                  <a:gd name="T33" fmla="*/ 35 h 55"/>
                  <a:gd name="T34" fmla="*/ 94 w 253"/>
                  <a:gd name="T35" fmla="*/ 28 h 55"/>
                  <a:gd name="T36" fmla="*/ 52 w 253"/>
                  <a:gd name="T37" fmla="*/ 17 h 55"/>
                  <a:gd name="T38" fmla="*/ 21 w 253"/>
                  <a:gd name="T39" fmla="*/ 7 h 55"/>
                  <a:gd name="T40" fmla="*/ 7 w 253"/>
                  <a:gd name="T41" fmla="*/ 3 h 55"/>
                  <a:gd name="T42" fmla="*/ 0 w 253"/>
                  <a:gd name="T43" fmla="*/ 0 h 55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253"/>
                  <a:gd name="T67" fmla="*/ 0 h 55"/>
                  <a:gd name="T68" fmla="*/ 253 w 253"/>
                  <a:gd name="T69" fmla="*/ 55 h 55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253" h="55">
                    <a:moveTo>
                      <a:pt x="0" y="0"/>
                    </a:moveTo>
                    <a:lnTo>
                      <a:pt x="0" y="0"/>
                    </a:lnTo>
                    <a:lnTo>
                      <a:pt x="7" y="0"/>
                    </a:lnTo>
                    <a:lnTo>
                      <a:pt x="18" y="3"/>
                    </a:lnTo>
                    <a:lnTo>
                      <a:pt x="28" y="7"/>
                    </a:lnTo>
                    <a:lnTo>
                      <a:pt x="63" y="14"/>
                    </a:lnTo>
                    <a:lnTo>
                      <a:pt x="101" y="24"/>
                    </a:lnTo>
                    <a:lnTo>
                      <a:pt x="142" y="35"/>
                    </a:lnTo>
                    <a:lnTo>
                      <a:pt x="184" y="42"/>
                    </a:lnTo>
                    <a:lnTo>
                      <a:pt x="222" y="48"/>
                    </a:lnTo>
                    <a:lnTo>
                      <a:pt x="253" y="55"/>
                    </a:lnTo>
                    <a:lnTo>
                      <a:pt x="250" y="52"/>
                    </a:lnTo>
                    <a:lnTo>
                      <a:pt x="243" y="52"/>
                    </a:lnTo>
                    <a:lnTo>
                      <a:pt x="232" y="52"/>
                    </a:lnTo>
                    <a:lnTo>
                      <a:pt x="218" y="48"/>
                    </a:lnTo>
                    <a:lnTo>
                      <a:pt x="180" y="42"/>
                    </a:lnTo>
                    <a:lnTo>
                      <a:pt x="139" y="35"/>
                    </a:lnTo>
                    <a:lnTo>
                      <a:pt x="94" y="28"/>
                    </a:lnTo>
                    <a:lnTo>
                      <a:pt x="52" y="17"/>
                    </a:lnTo>
                    <a:lnTo>
                      <a:pt x="21" y="7"/>
                    </a:lnTo>
                    <a:lnTo>
                      <a:pt x="7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42" name="Freeform 211"/>
              <p:cNvSpPr>
                <a:spLocks/>
              </p:cNvSpPr>
              <p:nvPr/>
            </p:nvSpPr>
            <p:spPr bwMode="auto">
              <a:xfrm>
                <a:off x="904" y="2886"/>
                <a:ext cx="103" cy="284"/>
              </a:xfrm>
              <a:custGeom>
                <a:avLst/>
                <a:gdLst>
                  <a:gd name="T0" fmla="*/ 3 w 103"/>
                  <a:gd name="T1" fmla="*/ 10 h 284"/>
                  <a:gd name="T2" fmla="*/ 27 w 103"/>
                  <a:gd name="T3" fmla="*/ 149 h 284"/>
                  <a:gd name="T4" fmla="*/ 0 w 103"/>
                  <a:gd name="T5" fmla="*/ 284 h 284"/>
                  <a:gd name="T6" fmla="*/ 65 w 103"/>
                  <a:gd name="T7" fmla="*/ 280 h 284"/>
                  <a:gd name="T8" fmla="*/ 103 w 103"/>
                  <a:gd name="T9" fmla="*/ 145 h 284"/>
                  <a:gd name="T10" fmla="*/ 58 w 103"/>
                  <a:gd name="T11" fmla="*/ 0 h 284"/>
                  <a:gd name="T12" fmla="*/ 3 w 103"/>
                  <a:gd name="T13" fmla="*/ 10 h 28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3"/>
                  <a:gd name="T22" fmla="*/ 0 h 284"/>
                  <a:gd name="T23" fmla="*/ 103 w 103"/>
                  <a:gd name="T24" fmla="*/ 284 h 28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3" h="284">
                    <a:moveTo>
                      <a:pt x="3" y="10"/>
                    </a:moveTo>
                    <a:lnTo>
                      <a:pt x="27" y="149"/>
                    </a:lnTo>
                    <a:lnTo>
                      <a:pt x="0" y="284"/>
                    </a:lnTo>
                    <a:lnTo>
                      <a:pt x="65" y="280"/>
                    </a:lnTo>
                    <a:lnTo>
                      <a:pt x="103" y="145"/>
                    </a:lnTo>
                    <a:lnTo>
                      <a:pt x="58" y="0"/>
                    </a:ln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FFFF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43" name="Freeform 212"/>
              <p:cNvSpPr>
                <a:spLocks/>
              </p:cNvSpPr>
              <p:nvPr/>
            </p:nvSpPr>
            <p:spPr bwMode="auto">
              <a:xfrm>
                <a:off x="907" y="2896"/>
                <a:ext cx="114" cy="253"/>
              </a:xfrm>
              <a:custGeom>
                <a:avLst/>
                <a:gdLst>
                  <a:gd name="T0" fmla="*/ 0 w 114"/>
                  <a:gd name="T1" fmla="*/ 0 h 253"/>
                  <a:gd name="T2" fmla="*/ 69 w 114"/>
                  <a:gd name="T3" fmla="*/ 0 h 253"/>
                  <a:gd name="T4" fmla="*/ 114 w 114"/>
                  <a:gd name="T5" fmla="*/ 142 h 253"/>
                  <a:gd name="T6" fmla="*/ 80 w 114"/>
                  <a:gd name="T7" fmla="*/ 253 h 253"/>
                  <a:gd name="T8" fmla="*/ 107 w 114"/>
                  <a:gd name="T9" fmla="*/ 142 h 253"/>
                  <a:gd name="T10" fmla="*/ 66 w 114"/>
                  <a:gd name="T11" fmla="*/ 7 h 253"/>
                  <a:gd name="T12" fmla="*/ 0 w 114"/>
                  <a:gd name="T13" fmla="*/ 0 h 25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4"/>
                  <a:gd name="T22" fmla="*/ 0 h 253"/>
                  <a:gd name="T23" fmla="*/ 114 w 114"/>
                  <a:gd name="T24" fmla="*/ 253 h 25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4" h="253">
                    <a:moveTo>
                      <a:pt x="0" y="0"/>
                    </a:moveTo>
                    <a:lnTo>
                      <a:pt x="69" y="0"/>
                    </a:lnTo>
                    <a:lnTo>
                      <a:pt x="114" y="142"/>
                    </a:lnTo>
                    <a:lnTo>
                      <a:pt x="80" y="253"/>
                    </a:lnTo>
                    <a:lnTo>
                      <a:pt x="107" y="142"/>
                    </a:lnTo>
                    <a:lnTo>
                      <a:pt x="66" y="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744" name="Freeform 213"/>
              <p:cNvSpPr>
                <a:spLocks/>
              </p:cNvSpPr>
              <p:nvPr/>
            </p:nvSpPr>
            <p:spPr bwMode="auto">
              <a:xfrm>
                <a:off x="893" y="3152"/>
                <a:ext cx="69" cy="11"/>
              </a:xfrm>
              <a:custGeom>
                <a:avLst/>
                <a:gdLst>
                  <a:gd name="T0" fmla="*/ 4 w 69"/>
                  <a:gd name="T1" fmla="*/ 4 h 11"/>
                  <a:gd name="T2" fmla="*/ 69 w 69"/>
                  <a:gd name="T3" fmla="*/ 0 h 11"/>
                  <a:gd name="T4" fmla="*/ 0 w 69"/>
                  <a:gd name="T5" fmla="*/ 11 h 11"/>
                  <a:gd name="T6" fmla="*/ 4 w 69"/>
                  <a:gd name="T7" fmla="*/ 4 h 1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9"/>
                  <a:gd name="T13" fmla="*/ 0 h 11"/>
                  <a:gd name="T14" fmla="*/ 69 w 69"/>
                  <a:gd name="T15" fmla="*/ 11 h 1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9" h="11">
                    <a:moveTo>
                      <a:pt x="4" y="4"/>
                    </a:moveTo>
                    <a:lnTo>
                      <a:pt x="69" y="0"/>
                    </a:lnTo>
                    <a:lnTo>
                      <a:pt x="0" y="11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</p:grpSp>
      <p:grpSp>
        <p:nvGrpSpPr>
          <p:cNvPr id="34819" name="Group 214"/>
          <p:cNvGrpSpPr>
            <a:grpSpLocks/>
          </p:cNvGrpSpPr>
          <p:nvPr/>
        </p:nvGrpSpPr>
        <p:grpSpPr bwMode="auto">
          <a:xfrm>
            <a:off x="3440832" y="3645024"/>
            <a:ext cx="2142860" cy="1317625"/>
            <a:chOff x="2215" y="2535"/>
            <a:chExt cx="1246" cy="830"/>
          </a:xfrm>
        </p:grpSpPr>
        <p:grpSp>
          <p:nvGrpSpPr>
            <p:cNvPr id="34820" name="Group 215"/>
            <p:cNvGrpSpPr>
              <a:grpSpLocks/>
            </p:cNvGrpSpPr>
            <p:nvPr/>
          </p:nvGrpSpPr>
          <p:grpSpPr bwMode="auto">
            <a:xfrm>
              <a:off x="2215" y="2535"/>
              <a:ext cx="657" cy="830"/>
              <a:chOff x="2215" y="2535"/>
              <a:chExt cx="657" cy="830"/>
            </a:xfrm>
          </p:grpSpPr>
          <p:grpSp>
            <p:nvGrpSpPr>
              <p:cNvPr id="34821" name="Group 216"/>
              <p:cNvGrpSpPr>
                <a:grpSpLocks/>
              </p:cNvGrpSpPr>
              <p:nvPr/>
            </p:nvGrpSpPr>
            <p:grpSpPr bwMode="auto">
              <a:xfrm>
                <a:off x="2215" y="2535"/>
                <a:ext cx="657" cy="814"/>
                <a:chOff x="2215" y="2535"/>
                <a:chExt cx="657" cy="814"/>
              </a:xfrm>
            </p:grpSpPr>
            <p:sp>
              <p:nvSpPr>
                <p:cNvPr id="38605" name="Freeform 217"/>
                <p:cNvSpPr>
                  <a:spLocks/>
                </p:cNvSpPr>
                <p:nvPr/>
              </p:nvSpPr>
              <p:spPr bwMode="auto">
                <a:xfrm>
                  <a:off x="2388" y="2690"/>
                  <a:ext cx="146" cy="107"/>
                </a:xfrm>
                <a:custGeom>
                  <a:avLst/>
                  <a:gdLst>
                    <a:gd name="T0" fmla="*/ 0 w 584"/>
                    <a:gd name="T1" fmla="*/ 0 h 425"/>
                    <a:gd name="T2" fmla="*/ 0 w 584"/>
                    <a:gd name="T3" fmla="*/ 0 h 425"/>
                    <a:gd name="T4" fmla="*/ 0 w 584"/>
                    <a:gd name="T5" fmla="*/ 0 h 425"/>
                    <a:gd name="T6" fmla="*/ 0 w 584"/>
                    <a:gd name="T7" fmla="*/ 0 h 425"/>
                    <a:gd name="T8" fmla="*/ 0 w 584"/>
                    <a:gd name="T9" fmla="*/ 0 h 425"/>
                    <a:gd name="T10" fmla="*/ 0 w 584"/>
                    <a:gd name="T11" fmla="*/ 0 h 425"/>
                    <a:gd name="T12" fmla="*/ 0 w 584"/>
                    <a:gd name="T13" fmla="*/ 0 h 425"/>
                    <a:gd name="T14" fmla="*/ 0 w 584"/>
                    <a:gd name="T15" fmla="*/ 0 h 425"/>
                    <a:gd name="T16" fmla="*/ 0 w 584"/>
                    <a:gd name="T17" fmla="*/ 0 h 425"/>
                    <a:gd name="T18" fmla="*/ 0 w 584"/>
                    <a:gd name="T19" fmla="*/ 0 h 425"/>
                    <a:gd name="T20" fmla="*/ 0 w 584"/>
                    <a:gd name="T21" fmla="*/ 0 h 425"/>
                    <a:gd name="T22" fmla="*/ 0 w 584"/>
                    <a:gd name="T23" fmla="*/ 0 h 425"/>
                    <a:gd name="T24" fmla="*/ 0 w 584"/>
                    <a:gd name="T25" fmla="*/ 0 h 425"/>
                    <a:gd name="T26" fmla="*/ 0 w 584"/>
                    <a:gd name="T27" fmla="*/ 0 h 425"/>
                    <a:gd name="T28" fmla="*/ 0 w 584"/>
                    <a:gd name="T29" fmla="*/ 0 h 425"/>
                    <a:gd name="T30" fmla="*/ 0 w 584"/>
                    <a:gd name="T31" fmla="*/ 0 h 425"/>
                    <a:gd name="T32" fmla="*/ 0 w 584"/>
                    <a:gd name="T33" fmla="*/ 0 h 425"/>
                    <a:gd name="T34" fmla="*/ 0 w 584"/>
                    <a:gd name="T35" fmla="*/ 0 h 425"/>
                    <a:gd name="T36" fmla="*/ 0 w 584"/>
                    <a:gd name="T37" fmla="*/ 0 h 425"/>
                    <a:gd name="T38" fmla="*/ 0 w 584"/>
                    <a:gd name="T39" fmla="*/ 0 h 425"/>
                    <a:gd name="T40" fmla="*/ 0 w 584"/>
                    <a:gd name="T41" fmla="*/ 0 h 425"/>
                    <a:gd name="T42" fmla="*/ 0 w 584"/>
                    <a:gd name="T43" fmla="*/ 0 h 425"/>
                    <a:gd name="T44" fmla="*/ 0 w 584"/>
                    <a:gd name="T45" fmla="*/ 0 h 425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584"/>
                    <a:gd name="T70" fmla="*/ 0 h 425"/>
                    <a:gd name="T71" fmla="*/ 584 w 584"/>
                    <a:gd name="T72" fmla="*/ 425 h 425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584" h="425">
                      <a:moveTo>
                        <a:pt x="433" y="0"/>
                      </a:moveTo>
                      <a:lnTo>
                        <a:pt x="342" y="53"/>
                      </a:lnTo>
                      <a:lnTo>
                        <a:pt x="267" y="65"/>
                      </a:lnTo>
                      <a:lnTo>
                        <a:pt x="193" y="146"/>
                      </a:lnTo>
                      <a:lnTo>
                        <a:pt x="170" y="178"/>
                      </a:lnTo>
                      <a:lnTo>
                        <a:pt x="163" y="204"/>
                      </a:lnTo>
                      <a:lnTo>
                        <a:pt x="153" y="232"/>
                      </a:lnTo>
                      <a:lnTo>
                        <a:pt x="134" y="263"/>
                      </a:lnTo>
                      <a:lnTo>
                        <a:pt x="107" y="279"/>
                      </a:lnTo>
                      <a:lnTo>
                        <a:pt x="62" y="287"/>
                      </a:lnTo>
                      <a:lnTo>
                        <a:pt x="0" y="287"/>
                      </a:lnTo>
                      <a:lnTo>
                        <a:pt x="50" y="425"/>
                      </a:lnTo>
                      <a:lnTo>
                        <a:pt x="222" y="425"/>
                      </a:lnTo>
                      <a:lnTo>
                        <a:pt x="246" y="377"/>
                      </a:lnTo>
                      <a:lnTo>
                        <a:pt x="250" y="357"/>
                      </a:lnTo>
                      <a:lnTo>
                        <a:pt x="361" y="218"/>
                      </a:lnTo>
                      <a:lnTo>
                        <a:pt x="402" y="199"/>
                      </a:lnTo>
                      <a:lnTo>
                        <a:pt x="424" y="182"/>
                      </a:lnTo>
                      <a:lnTo>
                        <a:pt x="454" y="188"/>
                      </a:lnTo>
                      <a:lnTo>
                        <a:pt x="503" y="188"/>
                      </a:lnTo>
                      <a:lnTo>
                        <a:pt x="584" y="184"/>
                      </a:lnTo>
                      <a:lnTo>
                        <a:pt x="580" y="53"/>
                      </a:lnTo>
                      <a:lnTo>
                        <a:pt x="433" y="0"/>
                      </a:lnTo>
                      <a:close/>
                    </a:path>
                  </a:pathLst>
                </a:custGeom>
                <a:solidFill>
                  <a:srgbClr val="FFCA9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06" name="Freeform 218"/>
                <p:cNvSpPr>
                  <a:spLocks/>
                </p:cNvSpPr>
                <p:nvPr/>
              </p:nvSpPr>
              <p:spPr bwMode="auto">
                <a:xfrm>
                  <a:off x="2691" y="3143"/>
                  <a:ext cx="90" cy="164"/>
                </a:xfrm>
                <a:custGeom>
                  <a:avLst/>
                  <a:gdLst>
                    <a:gd name="T0" fmla="*/ 0 w 360"/>
                    <a:gd name="T1" fmla="*/ 0 h 658"/>
                    <a:gd name="T2" fmla="*/ 0 w 360"/>
                    <a:gd name="T3" fmla="*/ 0 h 658"/>
                    <a:gd name="T4" fmla="*/ 0 w 360"/>
                    <a:gd name="T5" fmla="*/ 0 h 658"/>
                    <a:gd name="T6" fmla="*/ 0 w 360"/>
                    <a:gd name="T7" fmla="*/ 0 h 658"/>
                    <a:gd name="T8" fmla="*/ 0 w 360"/>
                    <a:gd name="T9" fmla="*/ 0 h 658"/>
                    <a:gd name="T10" fmla="*/ 0 w 360"/>
                    <a:gd name="T11" fmla="*/ 0 h 658"/>
                    <a:gd name="T12" fmla="*/ 0 w 360"/>
                    <a:gd name="T13" fmla="*/ 0 h 658"/>
                    <a:gd name="T14" fmla="*/ 0 w 360"/>
                    <a:gd name="T15" fmla="*/ 0 h 658"/>
                    <a:gd name="T16" fmla="*/ 0 w 360"/>
                    <a:gd name="T17" fmla="*/ 0 h 658"/>
                    <a:gd name="T18" fmla="*/ 0 w 360"/>
                    <a:gd name="T19" fmla="*/ 0 h 658"/>
                    <a:gd name="T20" fmla="*/ 0 w 360"/>
                    <a:gd name="T21" fmla="*/ 0 h 658"/>
                    <a:gd name="T22" fmla="*/ 0 w 360"/>
                    <a:gd name="T23" fmla="*/ 0 h 658"/>
                    <a:gd name="T24" fmla="*/ 0 w 360"/>
                    <a:gd name="T25" fmla="*/ 0 h 658"/>
                    <a:gd name="T26" fmla="*/ 0 w 360"/>
                    <a:gd name="T27" fmla="*/ 0 h 658"/>
                    <a:gd name="T28" fmla="*/ 0 w 360"/>
                    <a:gd name="T29" fmla="*/ 0 h 658"/>
                    <a:gd name="T30" fmla="*/ 0 w 360"/>
                    <a:gd name="T31" fmla="*/ 0 h 658"/>
                    <a:gd name="T32" fmla="*/ 0 w 360"/>
                    <a:gd name="T33" fmla="*/ 0 h 658"/>
                    <a:gd name="T34" fmla="*/ 0 w 360"/>
                    <a:gd name="T35" fmla="*/ 0 h 658"/>
                    <a:gd name="T36" fmla="*/ 0 w 360"/>
                    <a:gd name="T37" fmla="*/ 0 h 658"/>
                    <a:gd name="T38" fmla="*/ 0 w 360"/>
                    <a:gd name="T39" fmla="*/ 0 h 658"/>
                    <a:gd name="T40" fmla="*/ 0 w 360"/>
                    <a:gd name="T41" fmla="*/ 0 h 658"/>
                    <a:gd name="T42" fmla="*/ 0 w 360"/>
                    <a:gd name="T43" fmla="*/ 0 h 658"/>
                    <a:gd name="T44" fmla="*/ 0 w 360"/>
                    <a:gd name="T45" fmla="*/ 0 h 658"/>
                    <a:gd name="T46" fmla="*/ 0 w 360"/>
                    <a:gd name="T47" fmla="*/ 0 h 658"/>
                    <a:gd name="T48" fmla="*/ 0 w 360"/>
                    <a:gd name="T49" fmla="*/ 0 h 658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w 360"/>
                    <a:gd name="T76" fmla="*/ 0 h 658"/>
                    <a:gd name="T77" fmla="*/ 360 w 360"/>
                    <a:gd name="T78" fmla="*/ 658 h 658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T75" t="T76" r="T77" b="T78"/>
                  <a:pathLst>
                    <a:path w="360" h="658">
                      <a:moveTo>
                        <a:pt x="38" y="0"/>
                      </a:moveTo>
                      <a:lnTo>
                        <a:pt x="23" y="16"/>
                      </a:lnTo>
                      <a:lnTo>
                        <a:pt x="14" y="46"/>
                      </a:lnTo>
                      <a:lnTo>
                        <a:pt x="4" y="86"/>
                      </a:lnTo>
                      <a:lnTo>
                        <a:pt x="0" y="151"/>
                      </a:lnTo>
                      <a:lnTo>
                        <a:pt x="4" y="233"/>
                      </a:lnTo>
                      <a:lnTo>
                        <a:pt x="22" y="254"/>
                      </a:lnTo>
                      <a:lnTo>
                        <a:pt x="38" y="265"/>
                      </a:lnTo>
                      <a:lnTo>
                        <a:pt x="78" y="379"/>
                      </a:lnTo>
                      <a:lnTo>
                        <a:pt x="140" y="534"/>
                      </a:lnTo>
                      <a:lnTo>
                        <a:pt x="155" y="625"/>
                      </a:lnTo>
                      <a:lnTo>
                        <a:pt x="258" y="658"/>
                      </a:lnTo>
                      <a:lnTo>
                        <a:pt x="360" y="564"/>
                      </a:lnTo>
                      <a:lnTo>
                        <a:pt x="334" y="257"/>
                      </a:lnTo>
                      <a:lnTo>
                        <a:pt x="343" y="245"/>
                      </a:lnTo>
                      <a:lnTo>
                        <a:pt x="349" y="226"/>
                      </a:lnTo>
                      <a:lnTo>
                        <a:pt x="350" y="177"/>
                      </a:lnTo>
                      <a:lnTo>
                        <a:pt x="345" y="139"/>
                      </a:lnTo>
                      <a:lnTo>
                        <a:pt x="330" y="82"/>
                      </a:lnTo>
                      <a:lnTo>
                        <a:pt x="297" y="1"/>
                      </a:lnTo>
                      <a:lnTo>
                        <a:pt x="234" y="11"/>
                      </a:lnTo>
                      <a:lnTo>
                        <a:pt x="183" y="24"/>
                      </a:lnTo>
                      <a:lnTo>
                        <a:pt x="145" y="30"/>
                      </a:lnTo>
                      <a:lnTo>
                        <a:pt x="97" y="28"/>
                      </a:lnTo>
                      <a:lnTo>
                        <a:pt x="38" y="0"/>
                      </a:lnTo>
                      <a:close/>
                    </a:path>
                  </a:pathLst>
                </a:custGeom>
                <a:solidFill>
                  <a:srgbClr val="5599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07" name="Freeform 219"/>
                <p:cNvSpPr>
                  <a:spLocks/>
                </p:cNvSpPr>
                <p:nvPr/>
              </p:nvSpPr>
              <p:spPr bwMode="auto">
                <a:xfrm>
                  <a:off x="2291" y="2977"/>
                  <a:ext cx="94" cy="119"/>
                </a:xfrm>
                <a:custGeom>
                  <a:avLst/>
                  <a:gdLst>
                    <a:gd name="T0" fmla="*/ 0 w 377"/>
                    <a:gd name="T1" fmla="*/ 0 h 480"/>
                    <a:gd name="T2" fmla="*/ 0 w 377"/>
                    <a:gd name="T3" fmla="*/ 0 h 480"/>
                    <a:gd name="T4" fmla="*/ 0 w 377"/>
                    <a:gd name="T5" fmla="*/ 0 h 480"/>
                    <a:gd name="T6" fmla="*/ 0 w 377"/>
                    <a:gd name="T7" fmla="*/ 0 h 480"/>
                    <a:gd name="T8" fmla="*/ 0 w 377"/>
                    <a:gd name="T9" fmla="*/ 0 h 480"/>
                    <a:gd name="T10" fmla="*/ 0 w 377"/>
                    <a:gd name="T11" fmla="*/ 0 h 480"/>
                    <a:gd name="T12" fmla="*/ 0 w 377"/>
                    <a:gd name="T13" fmla="*/ 0 h 480"/>
                    <a:gd name="T14" fmla="*/ 0 w 377"/>
                    <a:gd name="T15" fmla="*/ 0 h 480"/>
                    <a:gd name="T16" fmla="*/ 0 w 377"/>
                    <a:gd name="T17" fmla="*/ 0 h 480"/>
                    <a:gd name="T18" fmla="*/ 0 w 377"/>
                    <a:gd name="T19" fmla="*/ 0 h 480"/>
                    <a:gd name="T20" fmla="*/ 0 w 377"/>
                    <a:gd name="T21" fmla="*/ 0 h 480"/>
                    <a:gd name="T22" fmla="*/ 0 w 377"/>
                    <a:gd name="T23" fmla="*/ 0 h 480"/>
                    <a:gd name="T24" fmla="*/ 0 w 377"/>
                    <a:gd name="T25" fmla="*/ 0 h 480"/>
                    <a:gd name="T26" fmla="*/ 0 w 377"/>
                    <a:gd name="T27" fmla="*/ 0 h 480"/>
                    <a:gd name="T28" fmla="*/ 0 w 377"/>
                    <a:gd name="T29" fmla="*/ 0 h 480"/>
                    <a:gd name="T30" fmla="*/ 0 w 377"/>
                    <a:gd name="T31" fmla="*/ 0 h 480"/>
                    <a:gd name="T32" fmla="*/ 0 w 377"/>
                    <a:gd name="T33" fmla="*/ 0 h 480"/>
                    <a:gd name="T34" fmla="*/ 0 w 377"/>
                    <a:gd name="T35" fmla="*/ 0 h 480"/>
                    <a:gd name="T36" fmla="*/ 0 w 377"/>
                    <a:gd name="T37" fmla="*/ 0 h 480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377"/>
                    <a:gd name="T58" fmla="*/ 0 h 480"/>
                    <a:gd name="T59" fmla="*/ 377 w 377"/>
                    <a:gd name="T60" fmla="*/ 480 h 480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377" h="480">
                      <a:moveTo>
                        <a:pt x="22" y="200"/>
                      </a:moveTo>
                      <a:lnTo>
                        <a:pt x="94" y="296"/>
                      </a:lnTo>
                      <a:lnTo>
                        <a:pt x="94" y="338"/>
                      </a:lnTo>
                      <a:lnTo>
                        <a:pt x="100" y="363"/>
                      </a:lnTo>
                      <a:lnTo>
                        <a:pt x="143" y="442"/>
                      </a:lnTo>
                      <a:lnTo>
                        <a:pt x="159" y="461"/>
                      </a:lnTo>
                      <a:lnTo>
                        <a:pt x="180" y="476"/>
                      </a:lnTo>
                      <a:lnTo>
                        <a:pt x="226" y="480"/>
                      </a:lnTo>
                      <a:lnTo>
                        <a:pt x="373" y="260"/>
                      </a:lnTo>
                      <a:lnTo>
                        <a:pt x="377" y="215"/>
                      </a:lnTo>
                      <a:lnTo>
                        <a:pt x="377" y="197"/>
                      </a:lnTo>
                      <a:lnTo>
                        <a:pt x="373" y="188"/>
                      </a:lnTo>
                      <a:lnTo>
                        <a:pt x="365" y="172"/>
                      </a:lnTo>
                      <a:lnTo>
                        <a:pt x="290" y="108"/>
                      </a:lnTo>
                      <a:lnTo>
                        <a:pt x="271" y="107"/>
                      </a:lnTo>
                      <a:lnTo>
                        <a:pt x="235" y="104"/>
                      </a:lnTo>
                      <a:lnTo>
                        <a:pt x="159" y="0"/>
                      </a:lnTo>
                      <a:lnTo>
                        <a:pt x="0" y="116"/>
                      </a:lnTo>
                      <a:lnTo>
                        <a:pt x="22" y="200"/>
                      </a:lnTo>
                      <a:close/>
                    </a:path>
                  </a:pathLst>
                </a:custGeom>
                <a:solidFill>
                  <a:srgbClr val="5599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08" name="Freeform 220"/>
                <p:cNvSpPr>
                  <a:spLocks/>
                </p:cNvSpPr>
                <p:nvPr/>
              </p:nvSpPr>
              <p:spPr bwMode="auto">
                <a:xfrm>
                  <a:off x="2215" y="2950"/>
                  <a:ext cx="139" cy="74"/>
                </a:xfrm>
                <a:custGeom>
                  <a:avLst/>
                  <a:gdLst>
                    <a:gd name="T0" fmla="*/ 0 w 555"/>
                    <a:gd name="T1" fmla="*/ 0 h 294"/>
                    <a:gd name="T2" fmla="*/ 0 w 555"/>
                    <a:gd name="T3" fmla="*/ 0 h 294"/>
                    <a:gd name="T4" fmla="*/ 0 w 555"/>
                    <a:gd name="T5" fmla="*/ 0 h 294"/>
                    <a:gd name="T6" fmla="*/ 0 w 555"/>
                    <a:gd name="T7" fmla="*/ 0 h 294"/>
                    <a:gd name="T8" fmla="*/ 0 w 555"/>
                    <a:gd name="T9" fmla="*/ 0 h 294"/>
                    <a:gd name="T10" fmla="*/ 0 w 555"/>
                    <a:gd name="T11" fmla="*/ 0 h 294"/>
                    <a:gd name="T12" fmla="*/ 0 w 555"/>
                    <a:gd name="T13" fmla="*/ 0 h 294"/>
                    <a:gd name="T14" fmla="*/ 0 w 555"/>
                    <a:gd name="T15" fmla="*/ 0 h 294"/>
                    <a:gd name="T16" fmla="*/ 0 w 555"/>
                    <a:gd name="T17" fmla="*/ 0 h 294"/>
                    <a:gd name="T18" fmla="*/ 0 w 555"/>
                    <a:gd name="T19" fmla="*/ 0 h 294"/>
                    <a:gd name="T20" fmla="*/ 0 w 555"/>
                    <a:gd name="T21" fmla="*/ 0 h 294"/>
                    <a:gd name="T22" fmla="*/ 0 w 555"/>
                    <a:gd name="T23" fmla="*/ 0 h 294"/>
                    <a:gd name="T24" fmla="*/ 0 w 555"/>
                    <a:gd name="T25" fmla="*/ 0 h 294"/>
                    <a:gd name="T26" fmla="*/ 0 w 555"/>
                    <a:gd name="T27" fmla="*/ 0 h 294"/>
                    <a:gd name="T28" fmla="*/ 0 w 555"/>
                    <a:gd name="T29" fmla="*/ 0 h 294"/>
                    <a:gd name="T30" fmla="*/ 0 w 555"/>
                    <a:gd name="T31" fmla="*/ 0 h 294"/>
                    <a:gd name="T32" fmla="*/ 0 w 555"/>
                    <a:gd name="T33" fmla="*/ 0 h 294"/>
                    <a:gd name="T34" fmla="*/ 0 w 555"/>
                    <a:gd name="T35" fmla="*/ 0 h 294"/>
                    <a:gd name="T36" fmla="*/ 0 w 555"/>
                    <a:gd name="T37" fmla="*/ 0 h 294"/>
                    <a:gd name="T38" fmla="*/ 0 w 555"/>
                    <a:gd name="T39" fmla="*/ 0 h 294"/>
                    <a:gd name="T40" fmla="*/ 0 w 555"/>
                    <a:gd name="T41" fmla="*/ 0 h 294"/>
                    <a:gd name="T42" fmla="*/ 0 w 555"/>
                    <a:gd name="T43" fmla="*/ 0 h 294"/>
                    <a:gd name="T44" fmla="*/ 0 w 555"/>
                    <a:gd name="T45" fmla="*/ 0 h 294"/>
                    <a:gd name="T46" fmla="*/ 0 w 555"/>
                    <a:gd name="T47" fmla="*/ 0 h 294"/>
                    <a:gd name="T48" fmla="*/ 0 w 555"/>
                    <a:gd name="T49" fmla="*/ 0 h 294"/>
                    <a:gd name="T50" fmla="*/ 0 w 555"/>
                    <a:gd name="T51" fmla="*/ 0 h 294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w 555"/>
                    <a:gd name="T79" fmla="*/ 0 h 294"/>
                    <a:gd name="T80" fmla="*/ 555 w 555"/>
                    <a:gd name="T81" fmla="*/ 294 h 294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T78" t="T79" r="T80" b="T81"/>
                  <a:pathLst>
                    <a:path w="555" h="294">
                      <a:moveTo>
                        <a:pt x="48" y="294"/>
                      </a:moveTo>
                      <a:lnTo>
                        <a:pt x="19" y="294"/>
                      </a:lnTo>
                      <a:lnTo>
                        <a:pt x="14" y="290"/>
                      </a:lnTo>
                      <a:lnTo>
                        <a:pt x="4" y="280"/>
                      </a:lnTo>
                      <a:lnTo>
                        <a:pt x="0" y="267"/>
                      </a:lnTo>
                      <a:lnTo>
                        <a:pt x="2" y="250"/>
                      </a:lnTo>
                      <a:lnTo>
                        <a:pt x="10" y="233"/>
                      </a:lnTo>
                      <a:lnTo>
                        <a:pt x="29" y="198"/>
                      </a:lnTo>
                      <a:lnTo>
                        <a:pt x="48" y="174"/>
                      </a:lnTo>
                      <a:lnTo>
                        <a:pt x="75" y="137"/>
                      </a:lnTo>
                      <a:lnTo>
                        <a:pt x="103" y="109"/>
                      </a:lnTo>
                      <a:lnTo>
                        <a:pt x="162" y="62"/>
                      </a:lnTo>
                      <a:lnTo>
                        <a:pt x="203" y="47"/>
                      </a:lnTo>
                      <a:lnTo>
                        <a:pt x="229" y="46"/>
                      </a:lnTo>
                      <a:lnTo>
                        <a:pt x="308" y="42"/>
                      </a:lnTo>
                      <a:lnTo>
                        <a:pt x="382" y="19"/>
                      </a:lnTo>
                      <a:lnTo>
                        <a:pt x="422" y="0"/>
                      </a:lnTo>
                      <a:lnTo>
                        <a:pt x="520" y="0"/>
                      </a:lnTo>
                      <a:lnTo>
                        <a:pt x="536" y="11"/>
                      </a:lnTo>
                      <a:lnTo>
                        <a:pt x="548" y="27"/>
                      </a:lnTo>
                      <a:lnTo>
                        <a:pt x="554" y="43"/>
                      </a:lnTo>
                      <a:lnTo>
                        <a:pt x="555" y="76"/>
                      </a:lnTo>
                      <a:lnTo>
                        <a:pt x="552" y="99"/>
                      </a:lnTo>
                      <a:lnTo>
                        <a:pt x="543" y="109"/>
                      </a:lnTo>
                      <a:lnTo>
                        <a:pt x="520" y="114"/>
                      </a:lnTo>
                      <a:lnTo>
                        <a:pt x="48" y="294"/>
                      </a:lnTo>
                      <a:close/>
                    </a:path>
                  </a:pathLst>
                </a:custGeom>
                <a:solidFill>
                  <a:srgbClr val="5599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09" name="Freeform 221"/>
                <p:cNvSpPr>
                  <a:spLocks/>
                </p:cNvSpPr>
                <p:nvPr/>
              </p:nvSpPr>
              <p:spPr bwMode="auto">
                <a:xfrm>
                  <a:off x="2220" y="2954"/>
                  <a:ext cx="131" cy="74"/>
                </a:xfrm>
                <a:custGeom>
                  <a:avLst/>
                  <a:gdLst>
                    <a:gd name="T0" fmla="*/ 0 w 526"/>
                    <a:gd name="T1" fmla="*/ 0 h 298"/>
                    <a:gd name="T2" fmla="*/ 0 w 526"/>
                    <a:gd name="T3" fmla="*/ 0 h 298"/>
                    <a:gd name="T4" fmla="*/ 0 w 526"/>
                    <a:gd name="T5" fmla="*/ 0 h 298"/>
                    <a:gd name="T6" fmla="*/ 0 w 526"/>
                    <a:gd name="T7" fmla="*/ 0 h 298"/>
                    <a:gd name="T8" fmla="*/ 0 w 526"/>
                    <a:gd name="T9" fmla="*/ 0 h 298"/>
                    <a:gd name="T10" fmla="*/ 0 w 526"/>
                    <a:gd name="T11" fmla="*/ 0 h 298"/>
                    <a:gd name="T12" fmla="*/ 0 w 526"/>
                    <a:gd name="T13" fmla="*/ 0 h 298"/>
                    <a:gd name="T14" fmla="*/ 0 w 526"/>
                    <a:gd name="T15" fmla="*/ 0 h 298"/>
                    <a:gd name="T16" fmla="*/ 0 w 526"/>
                    <a:gd name="T17" fmla="*/ 0 h 298"/>
                    <a:gd name="T18" fmla="*/ 0 w 526"/>
                    <a:gd name="T19" fmla="*/ 0 h 298"/>
                    <a:gd name="T20" fmla="*/ 0 w 526"/>
                    <a:gd name="T21" fmla="*/ 0 h 298"/>
                    <a:gd name="T22" fmla="*/ 0 w 526"/>
                    <a:gd name="T23" fmla="*/ 0 h 298"/>
                    <a:gd name="T24" fmla="*/ 0 w 526"/>
                    <a:gd name="T25" fmla="*/ 0 h 298"/>
                    <a:gd name="T26" fmla="*/ 0 w 526"/>
                    <a:gd name="T27" fmla="*/ 0 h 298"/>
                    <a:gd name="T28" fmla="*/ 0 w 526"/>
                    <a:gd name="T29" fmla="*/ 0 h 298"/>
                    <a:gd name="T30" fmla="*/ 0 w 526"/>
                    <a:gd name="T31" fmla="*/ 0 h 298"/>
                    <a:gd name="T32" fmla="*/ 0 w 526"/>
                    <a:gd name="T33" fmla="*/ 0 h 298"/>
                    <a:gd name="T34" fmla="*/ 0 w 526"/>
                    <a:gd name="T35" fmla="*/ 0 h 298"/>
                    <a:gd name="T36" fmla="*/ 0 w 526"/>
                    <a:gd name="T37" fmla="*/ 0 h 298"/>
                    <a:gd name="T38" fmla="*/ 0 w 526"/>
                    <a:gd name="T39" fmla="*/ 0 h 298"/>
                    <a:gd name="T40" fmla="*/ 0 w 526"/>
                    <a:gd name="T41" fmla="*/ 0 h 298"/>
                    <a:gd name="T42" fmla="*/ 0 w 526"/>
                    <a:gd name="T43" fmla="*/ 0 h 298"/>
                    <a:gd name="T44" fmla="*/ 0 w 526"/>
                    <a:gd name="T45" fmla="*/ 0 h 298"/>
                    <a:gd name="T46" fmla="*/ 0 w 526"/>
                    <a:gd name="T47" fmla="*/ 0 h 298"/>
                    <a:gd name="T48" fmla="*/ 0 w 526"/>
                    <a:gd name="T49" fmla="*/ 0 h 298"/>
                    <a:gd name="T50" fmla="*/ 0 w 526"/>
                    <a:gd name="T51" fmla="*/ 0 h 298"/>
                    <a:gd name="T52" fmla="*/ 0 w 526"/>
                    <a:gd name="T53" fmla="*/ 0 h 298"/>
                    <a:gd name="T54" fmla="*/ 0 w 526"/>
                    <a:gd name="T55" fmla="*/ 0 h 298"/>
                    <a:gd name="T56" fmla="*/ 0 w 526"/>
                    <a:gd name="T57" fmla="*/ 0 h 298"/>
                    <a:gd name="T58" fmla="*/ 0 w 526"/>
                    <a:gd name="T59" fmla="*/ 0 h 298"/>
                    <a:gd name="T60" fmla="*/ 0 w 526"/>
                    <a:gd name="T61" fmla="*/ 0 h 298"/>
                    <a:gd name="T62" fmla="*/ 0 w 526"/>
                    <a:gd name="T63" fmla="*/ 0 h 298"/>
                    <a:gd name="T64" fmla="*/ 0 w 526"/>
                    <a:gd name="T65" fmla="*/ 0 h 298"/>
                    <a:gd name="T66" fmla="*/ 0 w 526"/>
                    <a:gd name="T67" fmla="*/ 0 h 298"/>
                    <a:gd name="T68" fmla="*/ 0 w 526"/>
                    <a:gd name="T69" fmla="*/ 0 h 298"/>
                    <a:gd name="T70" fmla="*/ 0 w 526"/>
                    <a:gd name="T71" fmla="*/ 0 h 298"/>
                    <a:gd name="T72" fmla="*/ 0 w 526"/>
                    <a:gd name="T73" fmla="*/ 0 h 298"/>
                    <a:gd name="T74" fmla="*/ 0 w 526"/>
                    <a:gd name="T75" fmla="*/ 0 h 298"/>
                    <a:gd name="T76" fmla="*/ 0 w 526"/>
                    <a:gd name="T77" fmla="*/ 0 h 298"/>
                    <a:gd name="T78" fmla="*/ 0 w 526"/>
                    <a:gd name="T79" fmla="*/ 0 h 298"/>
                    <a:gd name="T80" fmla="*/ 0 w 526"/>
                    <a:gd name="T81" fmla="*/ 0 h 298"/>
                    <a:gd name="T82" fmla="*/ 0 w 526"/>
                    <a:gd name="T83" fmla="*/ 0 h 298"/>
                    <a:gd name="T84" fmla="*/ 0 w 526"/>
                    <a:gd name="T85" fmla="*/ 0 h 298"/>
                    <a:gd name="T86" fmla="*/ 0 w 526"/>
                    <a:gd name="T87" fmla="*/ 0 h 298"/>
                    <a:gd name="T88" fmla="*/ 0 w 526"/>
                    <a:gd name="T89" fmla="*/ 0 h 298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526"/>
                    <a:gd name="T136" fmla="*/ 0 h 298"/>
                    <a:gd name="T137" fmla="*/ 526 w 526"/>
                    <a:gd name="T138" fmla="*/ 298 h 298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526" h="298">
                      <a:moveTo>
                        <a:pt x="526" y="198"/>
                      </a:moveTo>
                      <a:lnTo>
                        <a:pt x="526" y="167"/>
                      </a:lnTo>
                      <a:lnTo>
                        <a:pt x="517" y="141"/>
                      </a:lnTo>
                      <a:lnTo>
                        <a:pt x="509" y="118"/>
                      </a:lnTo>
                      <a:lnTo>
                        <a:pt x="521" y="94"/>
                      </a:lnTo>
                      <a:lnTo>
                        <a:pt x="517" y="88"/>
                      </a:lnTo>
                      <a:lnTo>
                        <a:pt x="515" y="80"/>
                      </a:lnTo>
                      <a:lnTo>
                        <a:pt x="521" y="66"/>
                      </a:lnTo>
                      <a:lnTo>
                        <a:pt x="522" y="32"/>
                      </a:lnTo>
                      <a:lnTo>
                        <a:pt x="515" y="13"/>
                      </a:lnTo>
                      <a:lnTo>
                        <a:pt x="498" y="1"/>
                      </a:lnTo>
                      <a:lnTo>
                        <a:pt x="492" y="0"/>
                      </a:lnTo>
                      <a:lnTo>
                        <a:pt x="408" y="1"/>
                      </a:lnTo>
                      <a:lnTo>
                        <a:pt x="336" y="31"/>
                      </a:lnTo>
                      <a:lnTo>
                        <a:pt x="290" y="42"/>
                      </a:lnTo>
                      <a:lnTo>
                        <a:pt x="252" y="43"/>
                      </a:lnTo>
                      <a:lnTo>
                        <a:pt x="194" y="47"/>
                      </a:lnTo>
                      <a:lnTo>
                        <a:pt x="173" y="51"/>
                      </a:lnTo>
                      <a:lnTo>
                        <a:pt x="156" y="57"/>
                      </a:lnTo>
                      <a:lnTo>
                        <a:pt x="139" y="70"/>
                      </a:lnTo>
                      <a:lnTo>
                        <a:pt x="80" y="124"/>
                      </a:lnTo>
                      <a:lnTo>
                        <a:pt x="62" y="145"/>
                      </a:lnTo>
                      <a:lnTo>
                        <a:pt x="12" y="209"/>
                      </a:lnTo>
                      <a:lnTo>
                        <a:pt x="0" y="235"/>
                      </a:lnTo>
                      <a:lnTo>
                        <a:pt x="0" y="252"/>
                      </a:lnTo>
                      <a:lnTo>
                        <a:pt x="7" y="268"/>
                      </a:lnTo>
                      <a:lnTo>
                        <a:pt x="20" y="282"/>
                      </a:lnTo>
                      <a:lnTo>
                        <a:pt x="53" y="291"/>
                      </a:lnTo>
                      <a:lnTo>
                        <a:pt x="227" y="291"/>
                      </a:lnTo>
                      <a:lnTo>
                        <a:pt x="309" y="298"/>
                      </a:lnTo>
                      <a:lnTo>
                        <a:pt x="324" y="297"/>
                      </a:lnTo>
                      <a:lnTo>
                        <a:pt x="328" y="287"/>
                      </a:lnTo>
                      <a:lnTo>
                        <a:pt x="328" y="275"/>
                      </a:lnTo>
                      <a:lnTo>
                        <a:pt x="321" y="265"/>
                      </a:lnTo>
                      <a:lnTo>
                        <a:pt x="317" y="249"/>
                      </a:lnTo>
                      <a:lnTo>
                        <a:pt x="317" y="235"/>
                      </a:lnTo>
                      <a:lnTo>
                        <a:pt x="332" y="206"/>
                      </a:lnTo>
                      <a:lnTo>
                        <a:pt x="356" y="179"/>
                      </a:lnTo>
                      <a:lnTo>
                        <a:pt x="390" y="152"/>
                      </a:lnTo>
                      <a:lnTo>
                        <a:pt x="422" y="141"/>
                      </a:lnTo>
                      <a:lnTo>
                        <a:pt x="449" y="141"/>
                      </a:lnTo>
                      <a:lnTo>
                        <a:pt x="469" y="151"/>
                      </a:lnTo>
                      <a:lnTo>
                        <a:pt x="479" y="167"/>
                      </a:lnTo>
                      <a:lnTo>
                        <a:pt x="498" y="187"/>
                      </a:lnTo>
                      <a:lnTo>
                        <a:pt x="526" y="198"/>
                      </a:lnTo>
                      <a:close/>
                    </a:path>
                  </a:pathLst>
                </a:custGeom>
                <a:solidFill>
                  <a:srgbClr val="A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10" name="Freeform 222"/>
                <p:cNvSpPr>
                  <a:spLocks/>
                </p:cNvSpPr>
                <p:nvPr/>
              </p:nvSpPr>
              <p:spPr bwMode="auto">
                <a:xfrm>
                  <a:off x="2343" y="3016"/>
                  <a:ext cx="155" cy="116"/>
                </a:xfrm>
                <a:custGeom>
                  <a:avLst/>
                  <a:gdLst>
                    <a:gd name="T0" fmla="*/ 0 w 619"/>
                    <a:gd name="T1" fmla="*/ 0 h 463"/>
                    <a:gd name="T2" fmla="*/ 0 w 619"/>
                    <a:gd name="T3" fmla="*/ 0 h 463"/>
                    <a:gd name="T4" fmla="*/ 0 w 619"/>
                    <a:gd name="T5" fmla="*/ 0 h 463"/>
                    <a:gd name="T6" fmla="*/ 0 w 619"/>
                    <a:gd name="T7" fmla="*/ 0 h 463"/>
                    <a:gd name="T8" fmla="*/ 0 w 619"/>
                    <a:gd name="T9" fmla="*/ 0 h 463"/>
                    <a:gd name="T10" fmla="*/ 0 w 619"/>
                    <a:gd name="T11" fmla="*/ 0 h 463"/>
                    <a:gd name="T12" fmla="*/ 0 w 619"/>
                    <a:gd name="T13" fmla="*/ 0 h 463"/>
                    <a:gd name="T14" fmla="*/ 0 w 619"/>
                    <a:gd name="T15" fmla="*/ 0 h 463"/>
                    <a:gd name="T16" fmla="*/ 0 w 619"/>
                    <a:gd name="T17" fmla="*/ 0 h 463"/>
                    <a:gd name="T18" fmla="*/ 0 w 619"/>
                    <a:gd name="T19" fmla="*/ 0 h 463"/>
                    <a:gd name="T20" fmla="*/ 0 w 619"/>
                    <a:gd name="T21" fmla="*/ 0 h 463"/>
                    <a:gd name="T22" fmla="*/ 0 w 619"/>
                    <a:gd name="T23" fmla="*/ 0 h 463"/>
                    <a:gd name="T24" fmla="*/ 0 w 619"/>
                    <a:gd name="T25" fmla="*/ 0 h 463"/>
                    <a:gd name="T26" fmla="*/ 0 w 619"/>
                    <a:gd name="T27" fmla="*/ 0 h 463"/>
                    <a:gd name="T28" fmla="*/ 0 w 619"/>
                    <a:gd name="T29" fmla="*/ 0 h 463"/>
                    <a:gd name="T30" fmla="*/ 0 w 619"/>
                    <a:gd name="T31" fmla="*/ 0 h 463"/>
                    <a:gd name="T32" fmla="*/ 0 w 619"/>
                    <a:gd name="T33" fmla="*/ 0 h 463"/>
                    <a:gd name="T34" fmla="*/ 0 w 619"/>
                    <a:gd name="T35" fmla="*/ 0 h 463"/>
                    <a:gd name="T36" fmla="*/ 0 w 619"/>
                    <a:gd name="T37" fmla="*/ 0 h 463"/>
                    <a:gd name="T38" fmla="*/ 0 w 619"/>
                    <a:gd name="T39" fmla="*/ 0 h 463"/>
                    <a:gd name="T40" fmla="*/ 0 w 619"/>
                    <a:gd name="T41" fmla="*/ 0 h 463"/>
                    <a:gd name="T42" fmla="*/ 0 w 619"/>
                    <a:gd name="T43" fmla="*/ 0 h 463"/>
                    <a:gd name="T44" fmla="*/ 0 w 619"/>
                    <a:gd name="T45" fmla="*/ 0 h 463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619"/>
                    <a:gd name="T70" fmla="*/ 0 h 463"/>
                    <a:gd name="T71" fmla="*/ 619 w 619"/>
                    <a:gd name="T72" fmla="*/ 463 h 463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619" h="463">
                      <a:moveTo>
                        <a:pt x="619" y="96"/>
                      </a:moveTo>
                      <a:lnTo>
                        <a:pt x="539" y="157"/>
                      </a:lnTo>
                      <a:lnTo>
                        <a:pt x="439" y="266"/>
                      </a:lnTo>
                      <a:lnTo>
                        <a:pt x="366" y="352"/>
                      </a:lnTo>
                      <a:lnTo>
                        <a:pt x="317" y="403"/>
                      </a:lnTo>
                      <a:lnTo>
                        <a:pt x="264" y="411"/>
                      </a:lnTo>
                      <a:lnTo>
                        <a:pt x="207" y="459"/>
                      </a:lnTo>
                      <a:lnTo>
                        <a:pt x="188" y="463"/>
                      </a:lnTo>
                      <a:lnTo>
                        <a:pt x="144" y="459"/>
                      </a:lnTo>
                      <a:lnTo>
                        <a:pt x="99" y="445"/>
                      </a:lnTo>
                      <a:lnTo>
                        <a:pt x="60" y="418"/>
                      </a:lnTo>
                      <a:lnTo>
                        <a:pt x="23" y="384"/>
                      </a:lnTo>
                      <a:lnTo>
                        <a:pt x="3" y="323"/>
                      </a:lnTo>
                      <a:lnTo>
                        <a:pt x="0" y="304"/>
                      </a:lnTo>
                      <a:lnTo>
                        <a:pt x="19" y="251"/>
                      </a:lnTo>
                      <a:lnTo>
                        <a:pt x="48" y="203"/>
                      </a:lnTo>
                      <a:lnTo>
                        <a:pt x="73" y="168"/>
                      </a:lnTo>
                      <a:lnTo>
                        <a:pt x="145" y="115"/>
                      </a:lnTo>
                      <a:lnTo>
                        <a:pt x="168" y="73"/>
                      </a:lnTo>
                      <a:lnTo>
                        <a:pt x="173" y="92"/>
                      </a:lnTo>
                      <a:lnTo>
                        <a:pt x="282" y="0"/>
                      </a:lnTo>
                      <a:lnTo>
                        <a:pt x="525" y="28"/>
                      </a:lnTo>
                      <a:lnTo>
                        <a:pt x="619" y="96"/>
                      </a:lnTo>
                      <a:close/>
                    </a:path>
                  </a:pathLst>
                </a:custGeom>
                <a:solidFill>
                  <a:srgbClr val="FFC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11" name="Freeform 223"/>
                <p:cNvSpPr>
                  <a:spLocks/>
                </p:cNvSpPr>
                <p:nvPr/>
              </p:nvSpPr>
              <p:spPr bwMode="auto">
                <a:xfrm>
                  <a:off x="2398" y="2860"/>
                  <a:ext cx="323" cy="206"/>
                </a:xfrm>
                <a:custGeom>
                  <a:avLst/>
                  <a:gdLst>
                    <a:gd name="T0" fmla="*/ 0 w 1291"/>
                    <a:gd name="T1" fmla="*/ 0 h 827"/>
                    <a:gd name="T2" fmla="*/ 0 w 1291"/>
                    <a:gd name="T3" fmla="*/ 0 h 827"/>
                    <a:gd name="T4" fmla="*/ 0 w 1291"/>
                    <a:gd name="T5" fmla="*/ 0 h 827"/>
                    <a:gd name="T6" fmla="*/ 0 w 1291"/>
                    <a:gd name="T7" fmla="*/ 0 h 827"/>
                    <a:gd name="T8" fmla="*/ 0 w 1291"/>
                    <a:gd name="T9" fmla="*/ 0 h 827"/>
                    <a:gd name="T10" fmla="*/ 0 w 1291"/>
                    <a:gd name="T11" fmla="*/ 0 h 827"/>
                    <a:gd name="T12" fmla="*/ 0 w 1291"/>
                    <a:gd name="T13" fmla="*/ 0 h 827"/>
                    <a:gd name="T14" fmla="*/ 0 w 1291"/>
                    <a:gd name="T15" fmla="*/ 0 h 827"/>
                    <a:gd name="T16" fmla="*/ 0 w 1291"/>
                    <a:gd name="T17" fmla="*/ 0 h 827"/>
                    <a:gd name="T18" fmla="*/ 0 w 1291"/>
                    <a:gd name="T19" fmla="*/ 0 h 827"/>
                    <a:gd name="T20" fmla="*/ 0 w 1291"/>
                    <a:gd name="T21" fmla="*/ 0 h 827"/>
                    <a:gd name="T22" fmla="*/ 0 w 1291"/>
                    <a:gd name="T23" fmla="*/ 0 h 827"/>
                    <a:gd name="T24" fmla="*/ 0 w 1291"/>
                    <a:gd name="T25" fmla="*/ 0 h 827"/>
                    <a:gd name="T26" fmla="*/ 0 w 1291"/>
                    <a:gd name="T27" fmla="*/ 0 h 827"/>
                    <a:gd name="T28" fmla="*/ 0 w 1291"/>
                    <a:gd name="T29" fmla="*/ 0 h 827"/>
                    <a:gd name="T30" fmla="*/ 0 w 1291"/>
                    <a:gd name="T31" fmla="*/ 0 h 827"/>
                    <a:gd name="T32" fmla="*/ 0 w 1291"/>
                    <a:gd name="T33" fmla="*/ 0 h 827"/>
                    <a:gd name="T34" fmla="*/ 0 w 1291"/>
                    <a:gd name="T35" fmla="*/ 0 h 827"/>
                    <a:gd name="T36" fmla="*/ 0 w 1291"/>
                    <a:gd name="T37" fmla="*/ 0 h 827"/>
                    <a:gd name="T38" fmla="*/ 0 w 1291"/>
                    <a:gd name="T39" fmla="*/ 0 h 827"/>
                    <a:gd name="T40" fmla="*/ 0 w 1291"/>
                    <a:gd name="T41" fmla="*/ 0 h 827"/>
                    <a:gd name="T42" fmla="*/ 0 w 1291"/>
                    <a:gd name="T43" fmla="*/ 0 h 827"/>
                    <a:gd name="T44" fmla="*/ 0 w 1291"/>
                    <a:gd name="T45" fmla="*/ 0 h 827"/>
                    <a:gd name="T46" fmla="*/ 0 w 1291"/>
                    <a:gd name="T47" fmla="*/ 0 h 827"/>
                    <a:gd name="T48" fmla="*/ 0 w 1291"/>
                    <a:gd name="T49" fmla="*/ 0 h 827"/>
                    <a:gd name="T50" fmla="*/ 0 w 1291"/>
                    <a:gd name="T51" fmla="*/ 0 h 827"/>
                    <a:gd name="T52" fmla="*/ 0 w 1291"/>
                    <a:gd name="T53" fmla="*/ 0 h 827"/>
                    <a:gd name="T54" fmla="*/ 0 w 1291"/>
                    <a:gd name="T55" fmla="*/ 0 h 827"/>
                    <a:gd name="T56" fmla="*/ 0 w 1291"/>
                    <a:gd name="T57" fmla="*/ 0 h 827"/>
                    <a:gd name="T58" fmla="*/ 0 w 1291"/>
                    <a:gd name="T59" fmla="*/ 0 h 827"/>
                    <a:gd name="T60" fmla="*/ 0 w 1291"/>
                    <a:gd name="T61" fmla="*/ 0 h 827"/>
                    <a:gd name="T62" fmla="*/ 0 w 1291"/>
                    <a:gd name="T63" fmla="*/ 0 h 827"/>
                    <a:gd name="T64" fmla="*/ 0 w 1291"/>
                    <a:gd name="T65" fmla="*/ 0 h 827"/>
                    <a:gd name="T66" fmla="*/ 0 w 1291"/>
                    <a:gd name="T67" fmla="*/ 0 h 827"/>
                    <a:gd name="T68" fmla="*/ 0 w 1291"/>
                    <a:gd name="T69" fmla="*/ 0 h 827"/>
                    <a:gd name="T70" fmla="*/ 0 w 1291"/>
                    <a:gd name="T71" fmla="*/ 0 h 827"/>
                    <a:gd name="T72" fmla="*/ 0 w 1291"/>
                    <a:gd name="T73" fmla="*/ 0 h 827"/>
                    <a:gd name="T74" fmla="*/ 0 w 1291"/>
                    <a:gd name="T75" fmla="*/ 0 h 827"/>
                    <a:gd name="T76" fmla="*/ 0 w 1291"/>
                    <a:gd name="T77" fmla="*/ 0 h 827"/>
                    <a:gd name="T78" fmla="*/ 0 w 1291"/>
                    <a:gd name="T79" fmla="*/ 0 h 827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1291"/>
                    <a:gd name="T121" fmla="*/ 0 h 827"/>
                    <a:gd name="T122" fmla="*/ 1291 w 1291"/>
                    <a:gd name="T123" fmla="*/ 827 h 827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1291" h="827">
                      <a:moveTo>
                        <a:pt x="443" y="0"/>
                      </a:moveTo>
                      <a:lnTo>
                        <a:pt x="1015" y="210"/>
                      </a:lnTo>
                      <a:lnTo>
                        <a:pt x="1038" y="233"/>
                      </a:lnTo>
                      <a:lnTo>
                        <a:pt x="1057" y="267"/>
                      </a:lnTo>
                      <a:lnTo>
                        <a:pt x="1064" y="312"/>
                      </a:lnTo>
                      <a:lnTo>
                        <a:pt x="1068" y="347"/>
                      </a:lnTo>
                      <a:lnTo>
                        <a:pt x="1103" y="347"/>
                      </a:lnTo>
                      <a:lnTo>
                        <a:pt x="1118" y="465"/>
                      </a:lnTo>
                      <a:lnTo>
                        <a:pt x="1156" y="487"/>
                      </a:lnTo>
                      <a:lnTo>
                        <a:pt x="1175" y="503"/>
                      </a:lnTo>
                      <a:lnTo>
                        <a:pt x="1220" y="548"/>
                      </a:lnTo>
                      <a:lnTo>
                        <a:pt x="1261" y="605"/>
                      </a:lnTo>
                      <a:lnTo>
                        <a:pt x="1291" y="664"/>
                      </a:lnTo>
                      <a:lnTo>
                        <a:pt x="895" y="823"/>
                      </a:lnTo>
                      <a:lnTo>
                        <a:pt x="837" y="827"/>
                      </a:lnTo>
                      <a:lnTo>
                        <a:pt x="797" y="816"/>
                      </a:lnTo>
                      <a:lnTo>
                        <a:pt x="755" y="797"/>
                      </a:lnTo>
                      <a:lnTo>
                        <a:pt x="656" y="598"/>
                      </a:lnTo>
                      <a:lnTo>
                        <a:pt x="550" y="656"/>
                      </a:lnTo>
                      <a:lnTo>
                        <a:pt x="504" y="702"/>
                      </a:lnTo>
                      <a:lnTo>
                        <a:pt x="473" y="759"/>
                      </a:lnTo>
                      <a:lnTo>
                        <a:pt x="420" y="732"/>
                      </a:lnTo>
                      <a:lnTo>
                        <a:pt x="382" y="725"/>
                      </a:lnTo>
                      <a:lnTo>
                        <a:pt x="282" y="702"/>
                      </a:lnTo>
                      <a:lnTo>
                        <a:pt x="217" y="694"/>
                      </a:lnTo>
                      <a:lnTo>
                        <a:pt x="179" y="690"/>
                      </a:lnTo>
                      <a:lnTo>
                        <a:pt x="164" y="683"/>
                      </a:lnTo>
                      <a:lnTo>
                        <a:pt x="134" y="675"/>
                      </a:lnTo>
                      <a:lnTo>
                        <a:pt x="8" y="602"/>
                      </a:lnTo>
                      <a:lnTo>
                        <a:pt x="0" y="579"/>
                      </a:lnTo>
                      <a:lnTo>
                        <a:pt x="57" y="548"/>
                      </a:lnTo>
                      <a:lnTo>
                        <a:pt x="168" y="411"/>
                      </a:lnTo>
                      <a:lnTo>
                        <a:pt x="194" y="328"/>
                      </a:lnTo>
                      <a:lnTo>
                        <a:pt x="210" y="309"/>
                      </a:lnTo>
                      <a:lnTo>
                        <a:pt x="301" y="217"/>
                      </a:lnTo>
                      <a:lnTo>
                        <a:pt x="312" y="177"/>
                      </a:lnTo>
                      <a:lnTo>
                        <a:pt x="324" y="154"/>
                      </a:lnTo>
                      <a:lnTo>
                        <a:pt x="345" y="135"/>
                      </a:lnTo>
                      <a:lnTo>
                        <a:pt x="378" y="108"/>
                      </a:lnTo>
                      <a:lnTo>
                        <a:pt x="443" y="0"/>
                      </a:lnTo>
                      <a:close/>
                    </a:path>
                  </a:pathLst>
                </a:custGeom>
                <a:solidFill>
                  <a:srgbClr val="E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12" name="Freeform 224"/>
                <p:cNvSpPr>
                  <a:spLocks/>
                </p:cNvSpPr>
                <p:nvPr/>
              </p:nvSpPr>
              <p:spPr bwMode="auto">
                <a:xfrm>
                  <a:off x="2586" y="2632"/>
                  <a:ext cx="29" cy="27"/>
                </a:xfrm>
                <a:custGeom>
                  <a:avLst/>
                  <a:gdLst>
                    <a:gd name="T0" fmla="*/ 0 w 114"/>
                    <a:gd name="T1" fmla="*/ 0 h 107"/>
                    <a:gd name="T2" fmla="*/ 0 w 114"/>
                    <a:gd name="T3" fmla="*/ 0 h 107"/>
                    <a:gd name="T4" fmla="*/ 0 w 114"/>
                    <a:gd name="T5" fmla="*/ 0 h 107"/>
                    <a:gd name="T6" fmla="*/ 0 w 114"/>
                    <a:gd name="T7" fmla="*/ 0 h 107"/>
                    <a:gd name="T8" fmla="*/ 0 w 114"/>
                    <a:gd name="T9" fmla="*/ 0 h 107"/>
                    <a:gd name="T10" fmla="*/ 0 w 114"/>
                    <a:gd name="T11" fmla="*/ 0 h 107"/>
                    <a:gd name="T12" fmla="*/ 0 w 114"/>
                    <a:gd name="T13" fmla="*/ 0 h 10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14"/>
                    <a:gd name="T22" fmla="*/ 0 h 107"/>
                    <a:gd name="T23" fmla="*/ 114 w 114"/>
                    <a:gd name="T24" fmla="*/ 107 h 10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14" h="107">
                      <a:moveTo>
                        <a:pt x="0" y="21"/>
                      </a:moveTo>
                      <a:lnTo>
                        <a:pt x="15" y="7"/>
                      </a:lnTo>
                      <a:lnTo>
                        <a:pt x="50" y="0"/>
                      </a:lnTo>
                      <a:lnTo>
                        <a:pt x="73" y="3"/>
                      </a:lnTo>
                      <a:lnTo>
                        <a:pt x="114" y="11"/>
                      </a:lnTo>
                      <a:lnTo>
                        <a:pt x="23" y="107"/>
                      </a:lnTo>
                      <a:lnTo>
                        <a:pt x="0" y="21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13" name="Freeform 225"/>
                <p:cNvSpPr>
                  <a:spLocks/>
                </p:cNvSpPr>
                <p:nvPr/>
              </p:nvSpPr>
              <p:spPr bwMode="auto">
                <a:xfrm>
                  <a:off x="2342" y="2762"/>
                  <a:ext cx="109" cy="86"/>
                </a:xfrm>
                <a:custGeom>
                  <a:avLst/>
                  <a:gdLst>
                    <a:gd name="T0" fmla="*/ 0 w 436"/>
                    <a:gd name="T1" fmla="*/ 0 h 343"/>
                    <a:gd name="T2" fmla="*/ 0 w 436"/>
                    <a:gd name="T3" fmla="*/ 0 h 343"/>
                    <a:gd name="T4" fmla="*/ 0 w 436"/>
                    <a:gd name="T5" fmla="*/ 0 h 343"/>
                    <a:gd name="T6" fmla="*/ 0 w 436"/>
                    <a:gd name="T7" fmla="*/ 0 h 343"/>
                    <a:gd name="T8" fmla="*/ 0 w 436"/>
                    <a:gd name="T9" fmla="*/ 0 h 343"/>
                    <a:gd name="T10" fmla="*/ 0 w 436"/>
                    <a:gd name="T11" fmla="*/ 0 h 343"/>
                    <a:gd name="T12" fmla="*/ 0 w 436"/>
                    <a:gd name="T13" fmla="*/ 0 h 343"/>
                    <a:gd name="T14" fmla="*/ 0 w 436"/>
                    <a:gd name="T15" fmla="*/ 0 h 343"/>
                    <a:gd name="T16" fmla="*/ 0 w 436"/>
                    <a:gd name="T17" fmla="*/ 0 h 343"/>
                    <a:gd name="T18" fmla="*/ 0 w 436"/>
                    <a:gd name="T19" fmla="*/ 0 h 343"/>
                    <a:gd name="T20" fmla="*/ 0 w 436"/>
                    <a:gd name="T21" fmla="*/ 0 h 343"/>
                    <a:gd name="T22" fmla="*/ 0 w 436"/>
                    <a:gd name="T23" fmla="*/ 0 h 343"/>
                    <a:gd name="T24" fmla="*/ 0 w 436"/>
                    <a:gd name="T25" fmla="*/ 0 h 343"/>
                    <a:gd name="T26" fmla="*/ 0 w 436"/>
                    <a:gd name="T27" fmla="*/ 0 h 343"/>
                    <a:gd name="T28" fmla="*/ 0 w 436"/>
                    <a:gd name="T29" fmla="*/ 0 h 343"/>
                    <a:gd name="T30" fmla="*/ 0 w 436"/>
                    <a:gd name="T31" fmla="*/ 0 h 343"/>
                    <a:gd name="T32" fmla="*/ 0 w 436"/>
                    <a:gd name="T33" fmla="*/ 0 h 343"/>
                    <a:gd name="T34" fmla="*/ 0 w 436"/>
                    <a:gd name="T35" fmla="*/ 0 h 343"/>
                    <a:gd name="T36" fmla="*/ 0 w 436"/>
                    <a:gd name="T37" fmla="*/ 0 h 343"/>
                    <a:gd name="T38" fmla="*/ 0 w 436"/>
                    <a:gd name="T39" fmla="*/ 0 h 343"/>
                    <a:gd name="T40" fmla="*/ 0 w 436"/>
                    <a:gd name="T41" fmla="*/ 0 h 343"/>
                    <a:gd name="T42" fmla="*/ 0 w 436"/>
                    <a:gd name="T43" fmla="*/ 0 h 343"/>
                    <a:gd name="T44" fmla="*/ 0 w 436"/>
                    <a:gd name="T45" fmla="*/ 0 h 343"/>
                    <a:gd name="T46" fmla="*/ 0 w 436"/>
                    <a:gd name="T47" fmla="*/ 0 h 343"/>
                    <a:gd name="T48" fmla="*/ 0 w 436"/>
                    <a:gd name="T49" fmla="*/ 0 h 343"/>
                    <a:gd name="T50" fmla="*/ 0 w 436"/>
                    <a:gd name="T51" fmla="*/ 0 h 343"/>
                    <a:gd name="T52" fmla="*/ 0 w 436"/>
                    <a:gd name="T53" fmla="*/ 0 h 343"/>
                    <a:gd name="T54" fmla="*/ 0 w 436"/>
                    <a:gd name="T55" fmla="*/ 0 h 343"/>
                    <a:gd name="T56" fmla="*/ 0 w 436"/>
                    <a:gd name="T57" fmla="*/ 0 h 343"/>
                    <a:gd name="T58" fmla="*/ 0 w 436"/>
                    <a:gd name="T59" fmla="*/ 0 h 343"/>
                    <a:gd name="T60" fmla="*/ 0 w 436"/>
                    <a:gd name="T61" fmla="*/ 0 h 343"/>
                    <a:gd name="T62" fmla="*/ 0 w 436"/>
                    <a:gd name="T63" fmla="*/ 0 h 343"/>
                    <a:gd name="T64" fmla="*/ 0 w 436"/>
                    <a:gd name="T65" fmla="*/ 0 h 343"/>
                    <a:gd name="T66" fmla="*/ 0 w 436"/>
                    <a:gd name="T67" fmla="*/ 0 h 343"/>
                    <a:gd name="T68" fmla="*/ 0 w 436"/>
                    <a:gd name="T69" fmla="*/ 0 h 343"/>
                    <a:gd name="T70" fmla="*/ 0 w 436"/>
                    <a:gd name="T71" fmla="*/ 0 h 343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436"/>
                    <a:gd name="T109" fmla="*/ 0 h 343"/>
                    <a:gd name="T110" fmla="*/ 436 w 436"/>
                    <a:gd name="T111" fmla="*/ 343 h 343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436" h="343">
                      <a:moveTo>
                        <a:pt x="187" y="0"/>
                      </a:moveTo>
                      <a:lnTo>
                        <a:pt x="164" y="8"/>
                      </a:lnTo>
                      <a:lnTo>
                        <a:pt x="117" y="15"/>
                      </a:lnTo>
                      <a:lnTo>
                        <a:pt x="72" y="22"/>
                      </a:lnTo>
                      <a:lnTo>
                        <a:pt x="52" y="19"/>
                      </a:lnTo>
                      <a:lnTo>
                        <a:pt x="34" y="14"/>
                      </a:lnTo>
                      <a:lnTo>
                        <a:pt x="27" y="18"/>
                      </a:lnTo>
                      <a:lnTo>
                        <a:pt x="27" y="25"/>
                      </a:lnTo>
                      <a:lnTo>
                        <a:pt x="31" y="34"/>
                      </a:lnTo>
                      <a:lnTo>
                        <a:pt x="46" y="46"/>
                      </a:lnTo>
                      <a:lnTo>
                        <a:pt x="69" y="52"/>
                      </a:lnTo>
                      <a:lnTo>
                        <a:pt x="142" y="52"/>
                      </a:lnTo>
                      <a:lnTo>
                        <a:pt x="144" y="65"/>
                      </a:lnTo>
                      <a:lnTo>
                        <a:pt x="140" y="69"/>
                      </a:lnTo>
                      <a:lnTo>
                        <a:pt x="132" y="72"/>
                      </a:lnTo>
                      <a:lnTo>
                        <a:pt x="65" y="100"/>
                      </a:lnTo>
                      <a:lnTo>
                        <a:pt x="27" y="113"/>
                      </a:lnTo>
                      <a:lnTo>
                        <a:pt x="8" y="122"/>
                      </a:lnTo>
                      <a:lnTo>
                        <a:pt x="0" y="136"/>
                      </a:lnTo>
                      <a:lnTo>
                        <a:pt x="1" y="145"/>
                      </a:lnTo>
                      <a:lnTo>
                        <a:pt x="8" y="151"/>
                      </a:lnTo>
                      <a:lnTo>
                        <a:pt x="15" y="155"/>
                      </a:lnTo>
                      <a:lnTo>
                        <a:pt x="26" y="157"/>
                      </a:lnTo>
                      <a:lnTo>
                        <a:pt x="48" y="150"/>
                      </a:lnTo>
                      <a:lnTo>
                        <a:pt x="144" y="117"/>
                      </a:lnTo>
                      <a:lnTo>
                        <a:pt x="168" y="116"/>
                      </a:lnTo>
                      <a:lnTo>
                        <a:pt x="180" y="127"/>
                      </a:lnTo>
                      <a:lnTo>
                        <a:pt x="27" y="216"/>
                      </a:lnTo>
                      <a:lnTo>
                        <a:pt x="23" y="223"/>
                      </a:lnTo>
                      <a:lnTo>
                        <a:pt x="26" y="231"/>
                      </a:lnTo>
                      <a:lnTo>
                        <a:pt x="33" y="239"/>
                      </a:lnTo>
                      <a:lnTo>
                        <a:pt x="52" y="242"/>
                      </a:lnTo>
                      <a:lnTo>
                        <a:pt x="67" y="241"/>
                      </a:lnTo>
                      <a:lnTo>
                        <a:pt x="88" y="235"/>
                      </a:lnTo>
                      <a:lnTo>
                        <a:pt x="198" y="162"/>
                      </a:lnTo>
                      <a:lnTo>
                        <a:pt x="211" y="162"/>
                      </a:lnTo>
                      <a:lnTo>
                        <a:pt x="221" y="170"/>
                      </a:lnTo>
                      <a:lnTo>
                        <a:pt x="222" y="178"/>
                      </a:lnTo>
                      <a:lnTo>
                        <a:pt x="183" y="254"/>
                      </a:lnTo>
                      <a:lnTo>
                        <a:pt x="184" y="275"/>
                      </a:lnTo>
                      <a:lnTo>
                        <a:pt x="211" y="339"/>
                      </a:lnTo>
                      <a:lnTo>
                        <a:pt x="230" y="343"/>
                      </a:lnTo>
                      <a:lnTo>
                        <a:pt x="241" y="336"/>
                      </a:lnTo>
                      <a:lnTo>
                        <a:pt x="247" y="325"/>
                      </a:lnTo>
                      <a:lnTo>
                        <a:pt x="247" y="312"/>
                      </a:lnTo>
                      <a:lnTo>
                        <a:pt x="236" y="256"/>
                      </a:lnTo>
                      <a:lnTo>
                        <a:pt x="275" y="192"/>
                      </a:lnTo>
                      <a:lnTo>
                        <a:pt x="298" y="185"/>
                      </a:lnTo>
                      <a:lnTo>
                        <a:pt x="321" y="176"/>
                      </a:lnTo>
                      <a:lnTo>
                        <a:pt x="331" y="192"/>
                      </a:lnTo>
                      <a:lnTo>
                        <a:pt x="362" y="227"/>
                      </a:lnTo>
                      <a:lnTo>
                        <a:pt x="364" y="258"/>
                      </a:lnTo>
                      <a:lnTo>
                        <a:pt x="372" y="274"/>
                      </a:lnTo>
                      <a:lnTo>
                        <a:pt x="384" y="287"/>
                      </a:lnTo>
                      <a:lnTo>
                        <a:pt x="406" y="293"/>
                      </a:lnTo>
                      <a:lnTo>
                        <a:pt x="417" y="291"/>
                      </a:lnTo>
                      <a:lnTo>
                        <a:pt x="429" y="285"/>
                      </a:lnTo>
                      <a:lnTo>
                        <a:pt x="436" y="272"/>
                      </a:lnTo>
                      <a:lnTo>
                        <a:pt x="434" y="256"/>
                      </a:lnTo>
                      <a:lnTo>
                        <a:pt x="417" y="231"/>
                      </a:lnTo>
                      <a:lnTo>
                        <a:pt x="410" y="214"/>
                      </a:lnTo>
                      <a:lnTo>
                        <a:pt x="403" y="154"/>
                      </a:lnTo>
                      <a:lnTo>
                        <a:pt x="403" y="142"/>
                      </a:lnTo>
                      <a:lnTo>
                        <a:pt x="410" y="132"/>
                      </a:lnTo>
                      <a:lnTo>
                        <a:pt x="421" y="112"/>
                      </a:lnTo>
                      <a:lnTo>
                        <a:pt x="305" y="109"/>
                      </a:lnTo>
                      <a:lnTo>
                        <a:pt x="331" y="89"/>
                      </a:lnTo>
                      <a:lnTo>
                        <a:pt x="241" y="83"/>
                      </a:lnTo>
                      <a:lnTo>
                        <a:pt x="274" y="56"/>
                      </a:lnTo>
                      <a:lnTo>
                        <a:pt x="209" y="48"/>
                      </a:lnTo>
                      <a:lnTo>
                        <a:pt x="232" y="22"/>
                      </a:lnTo>
                      <a:lnTo>
                        <a:pt x="187" y="0"/>
                      </a:lnTo>
                      <a:close/>
                    </a:path>
                  </a:pathLst>
                </a:custGeom>
                <a:solidFill>
                  <a:srgbClr val="FFC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14" name="Freeform 226"/>
                <p:cNvSpPr>
                  <a:spLocks/>
                </p:cNvSpPr>
                <p:nvPr/>
              </p:nvSpPr>
              <p:spPr bwMode="auto">
                <a:xfrm>
                  <a:off x="2671" y="2697"/>
                  <a:ext cx="99" cy="108"/>
                </a:xfrm>
                <a:custGeom>
                  <a:avLst/>
                  <a:gdLst>
                    <a:gd name="T0" fmla="*/ 0 w 400"/>
                    <a:gd name="T1" fmla="*/ 0 h 433"/>
                    <a:gd name="T2" fmla="*/ 0 w 400"/>
                    <a:gd name="T3" fmla="*/ 0 h 433"/>
                    <a:gd name="T4" fmla="*/ 0 w 400"/>
                    <a:gd name="T5" fmla="*/ 0 h 433"/>
                    <a:gd name="T6" fmla="*/ 0 w 400"/>
                    <a:gd name="T7" fmla="*/ 0 h 433"/>
                    <a:gd name="T8" fmla="*/ 0 w 400"/>
                    <a:gd name="T9" fmla="*/ 0 h 433"/>
                    <a:gd name="T10" fmla="*/ 0 w 400"/>
                    <a:gd name="T11" fmla="*/ 0 h 433"/>
                    <a:gd name="T12" fmla="*/ 0 w 400"/>
                    <a:gd name="T13" fmla="*/ 0 h 433"/>
                    <a:gd name="T14" fmla="*/ 0 w 400"/>
                    <a:gd name="T15" fmla="*/ 0 h 433"/>
                    <a:gd name="T16" fmla="*/ 0 w 400"/>
                    <a:gd name="T17" fmla="*/ 0 h 433"/>
                    <a:gd name="T18" fmla="*/ 0 w 400"/>
                    <a:gd name="T19" fmla="*/ 0 h 433"/>
                    <a:gd name="T20" fmla="*/ 0 w 400"/>
                    <a:gd name="T21" fmla="*/ 0 h 433"/>
                    <a:gd name="T22" fmla="*/ 0 w 400"/>
                    <a:gd name="T23" fmla="*/ 0 h 433"/>
                    <a:gd name="T24" fmla="*/ 0 w 400"/>
                    <a:gd name="T25" fmla="*/ 0 h 433"/>
                    <a:gd name="T26" fmla="*/ 0 w 400"/>
                    <a:gd name="T27" fmla="*/ 0 h 433"/>
                    <a:gd name="T28" fmla="*/ 0 w 400"/>
                    <a:gd name="T29" fmla="*/ 0 h 433"/>
                    <a:gd name="T30" fmla="*/ 0 w 400"/>
                    <a:gd name="T31" fmla="*/ 0 h 433"/>
                    <a:gd name="T32" fmla="*/ 0 w 400"/>
                    <a:gd name="T33" fmla="*/ 0 h 433"/>
                    <a:gd name="T34" fmla="*/ 0 w 400"/>
                    <a:gd name="T35" fmla="*/ 0 h 433"/>
                    <a:gd name="T36" fmla="*/ 0 w 400"/>
                    <a:gd name="T37" fmla="*/ 0 h 433"/>
                    <a:gd name="T38" fmla="*/ 0 w 400"/>
                    <a:gd name="T39" fmla="*/ 0 h 433"/>
                    <a:gd name="T40" fmla="*/ 0 w 400"/>
                    <a:gd name="T41" fmla="*/ 0 h 433"/>
                    <a:gd name="T42" fmla="*/ 0 w 400"/>
                    <a:gd name="T43" fmla="*/ 0 h 433"/>
                    <a:gd name="T44" fmla="*/ 0 w 400"/>
                    <a:gd name="T45" fmla="*/ 0 h 433"/>
                    <a:gd name="T46" fmla="*/ 0 w 400"/>
                    <a:gd name="T47" fmla="*/ 0 h 433"/>
                    <a:gd name="T48" fmla="*/ 0 w 400"/>
                    <a:gd name="T49" fmla="*/ 0 h 433"/>
                    <a:gd name="T50" fmla="*/ 0 w 400"/>
                    <a:gd name="T51" fmla="*/ 0 h 433"/>
                    <a:gd name="T52" fmla="*/ 0 w 400"/>
                    <a:gd name="T53" fmla="*/ 0 h 433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w 400"/>
                    <a:gd name="T82" fmla="*/ 0 h 433"/>
                    <a:gd name="T83" fmla="*/ 400 w 400"/>
                    <a:gd name="T84" fmla="*/ 433 h 433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T81" t="T82" r="T83" b="T84"/>
                  <a:pathLst>
                    <a:path w="400" h="433">
                      <a:moveTo>
                        <a:pt x="0" y="0"/>
                      </a:moveTo>
                      <a:lnTo>
                        <a:pt x="29" y="6"/>
                      </a:lnTo>
                      <a:lnTo>
                        <a:pt x="53" y="19"/>
                      </a:lnTo>
                      <a:lnTo>
                        <a:pt x="161" y="90"/>
                      </a:lnTo>
                      <a:lnTo>
                        <a:pt x="245" y="128"/>
                      </a:lnTo>
                      <a:lnTo>
                        <a:pt x="259" y="139"/>
                      </a:lnTo>
                      <a:lnTo>
                        <a:pt x="311" y="194"/>
                      </a:lnTo>
                      <a:lnTo>
                        <a:pt x="346" y="213"/>
                      </a:lnTo>
                      <a:lnTo>
                        <a:pt x="362" y="225"/>
                      </a:lnTo>
                      <a:lnTo>
                        <a:pt x="384" y="263"/>
                      </a:lnTo>
                      <a:lnTo>
                        <a:pt x="392" y="286"/>
                      </a:lnTo>
                      <a:lnTo>
                        <a:pt x="396" y="308"/>
                      </a:lnTo>
                      <a:lnTo>
                        <a:pt x="400" y="375"/>
                      </a:lnTo>
                      <a:lnTo>
                        <a:pt x="354" y="413"/>
                      </a:lnTo>
                      <a:lnTo>
                        <a:pt x="298" y="433"/>
                      </a:lnTo>
                      <a:lnTo>
                        <a:pt x="285" y="424"/>
                      </a:lnTo>
                      <a:lnTo>
                        <a:pt x="327" y="390"/>
                      </a:lnTo>
                      <a:lnTo>
                        <a:pt x="266" y="390"/>
                      </a:lnTo>
                      <a:lnTo>
                        <a:pt x="237" y="364"/>
                      </a:lnTo>
                      <a:lnTo>
                        <a:pt x="240" y="345"/>
                      </a:lnTo>
                      <a:lnTo>
                        <a:pt x="279" y="345"/>
                      </a:lnTo>
                      <a:lnTo>
                        <a:pt x="266" y="315"/>
                      </a:lnTo>
                      <a:lnTo>
                        <a:pt x="255" y="301"/>
                      </a:lnTo>
                      <a:lnTo>
                        <a:pt x="255" y="228"/>
                      </a:lnTo>
                      <a:lnTo>
                        <a:pt x="226" y="203"/>
                      </a:lnTo>
                      <a:lnTo>
                        <a:pt x="52" y="16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C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15" name="Freeform 227"/>
                <p:cNvSpPr>
                  <a:spLocks/>
                </p:cNvSpPr>
                <p:nvPr/>
              </p:nvSpPr>
              <p:spPr bwMode="auto">
                <a:xfrm>
                  <a:off x="2596" y="3010"/>
                  <a:ext cx="162" cy="145"/>
                </a:xfrm>
                <a:custGeom>
                  <a:avLst/>
                  <a:gdLst>
                    <a:gd name="T0" fmla="*/ 0 w 650"/>
                    <a:gd name="T1" fmla="*/ 0 h 581"/>
                    <a:gd name="T2" fmla="*/ 0 w 650"/>
                    <a:gd name="T3" fmla="*/ 0 h 581"/>
                    <a:gd name="T4" fmla="*/ 0 w 650"/>
                    <a:gd name="T5" fmla="*/ 0 h 581"/>
                    <a:gd name="T6" fmla="*/ 0 w 650"/>
                    <a:gd name="T7" fmla="*/ 0 h 581"/>
                    <a:gd name="T8" fmla="*/ 0 w 650"/>
                    <a:gd name="T9" fmla="*/ 0 h 581"/>
                    <a:gd name="T10" fmla="*/ 0 w 650"/>
                    <a:gd name="T11" fmla="*/ 0 h 581"/>
                    <a:gd name="T12" fmla="*/ 0 w 650"/>
                    <a:gd name="T13" fmla="*/ 0 h 581"/>
                    <a:gd name="T14" fmla="*/ 0 w 650"/>
                    <a:gd name="T15" fmla="*/ 0 h 581"/>
                    <a:gd name="T16" fmla="*/ 0 w 650"/>
                    <a:gd name="T17" fmla="*/ 0 h 581"/>
                    <a:gd name="T18" fmla="*/ 0 w 650"/>
                    <a:gd name="T19" fmla="*/ 0 h 581"/>
                    <a:gd name="T20" fmla="*/ 0 w 650"/>
                    <a:gd name="T21" fmla="*/ 0 h 581"/>
                    <a:gd name="T22" fmla="*/ 0 w 650"/>
                    <a:gd name="T23" fmla="*/ 0 h 581"/>
                    <a:gd name="T24" fmla="*/ 0 w 650"/>
                    <a:gd name="T25" fmla="*/ 0 h 581"/>
                    <a:gd name="T26" fmla="*/ 0 w 650"/>
                    <a:gd name="T27" fmla="*/ 0 h 581"/>
                    <a:gd name="T28" fmla="*/ 0 w 650"/>
                    <a:gd name="T29" fmla="*/ 0 h 581"/>
                    <a:gd name="T30" fmla="*/ 0 w 650"/>
                    <a:gd name="T31" fmla="*/ 0 h 581"/>
                    <a:gd name="T32" fmla="*/ 0 w 650"/>
                    <a:gd name="T33" fmla="*/ 0 h 581"/>
                    <a:gd name="T34" fmla="*/ 0 w 650"/>
                    <a:gd name="T35" fmla="*/ 0 h 581"/>
                    <a:gd name="T36" fmla="*/ 0 w 650"/>
                    <a:gd name="T37" fmla="*/ 0 h 581"/>
                    <a:gd name="T38" fmla="*/ 0 w 650"/>
                    <a:gd name="T39" fmla="*/ 0 h 581"/>
                    <a:gd name="T40" fmla="*/ 0 w 650"/>
                    <a:gd name="T41" fmla="*/ 0 h 581"/>
                    <a:gd name="T42" fmla="*/ 0 w 650"/>
                    <a:gd name="T43" fmla="*/ 0 h 581"/>
                    <a:gd name="T44" fmla="*/ 0 w 650"/>
                    <a:gd name="T45" fmla="*/ 0 h 581"/>
                    <a:gd name="T46" fmla="*/ 0 w 650"/>
                    <a:gd name="T47" fmla="*/ 0 h 581"/>
                    <a:gd name="T48" fmla="*/ 0 w 650"/>
                    <a:gd name="T49" fmla="*/ 0 h 581"/>
                    <a:gd name="T50" fmla="*/ 0 w 650"/>
                    <a:gd name="T51" fmla="*/ 0 h 581"/>
                    <a:gd name="T52" fmla="*/ 0 w 650"/>
                    <a:gd name="T53" fmla="*/ 0 h 581"/>
                    <a:gd name="T54" fmla="*/ 0 w 650"/>
                    <a:gd name="T55" fmla="*/ 0 h 581"/>
                    <a:gd name="T56" fmla="*/ 0 w 650"/>
                    <a:gd name="T57" fmla="*/ 0 h 581"/>
                    <a:gd name="T58" fmla="*/ 0 w 650"/>
                    <a:gd name="T59" fmla="*/ 0 h 581"/>
                    <a:gd name="T60" fmla="*/ 0 w 650"/>
                    <a:gd name="T61" fmla="*/ 0 h 581"/>
                    <a:gd name="T62" fmla="*/ 0 w 650"/>
                    <a:gd name="T63" fmla="*/ 0 h 58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650"/>
                    <a:gd name="T97" fmla="*/ 0 h 581"/>
                    <a:gd name="T98" fmla="*/ 650 w 650"/>
                    <a:gd name="T99" fmla="*/ 581 h 58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650" h="581">
                      <a:moveTo>
                        <a:pt x="0" y="157"/>
                      </a:moveTo>
                      <a:lnTo>
                        <a:pt x="29" y="117"/>
                      </a:lnTo>
                      <a:lnTo>
                        <a:pt x="139" y="47"/>
                      </a:lnTo>
                      <a:lnTo>
                        <a:pt x="170" y="34"/>
                      </a:lnTo>
                      <a:lnTo>
                        <a:pt x="204" y="18"/>
                      </a:lnTo>
                      <a:lnTo>
                        <a:pt x="237" y="14"/>
                      </a:lnTo>
                      <a:lnTo>
                        <a:pt x="309" y="7"/>
                      </a:lnTo>
                      <a:lnTo>
                        <a:pt x="351" y="0"/>
                      </a:lnTo>
                      <a:lnTo>
                        <a:pt x="390" y="0"/>
                      </a:lnTo>
                      <a:lnTo>
                        <a:pt x="425" y="18"/>
                      </a:lnTo>
                      <a:lnTo>
                        <a:pt x="472" y="48"/>
                      </a:lnTo>
                      <a:lnTo>
                        <a:pt x="517" y="109"/>
                      </a:lnTo>
                      <a:lnTo>
                        <a:pt x="639" y="266"/>
                      </a:lnTo>
                      <a:lnTo>
                        <a:pt x="650" y="328"/>
                      </a:lnTo>
                      <a:lnTo>
                        <a:pt x="650" y="486"/>
                      </a:lnTo>
                      <a:lnTo>
                        <a:pt x="634" y="543"/>
                      </a:lnTo>
                      <a:lnTo>
                        <a:pt x="489" y="581"/>
                      </a:lnTo>
                      <a:lnTo>
                        <a:pt x="421" y="543"/>
                      </a:lnTo>
                      <a:lnTo>
                        <a:pt x="421" y="508"/>
                      </a:lnTo>
                      <a:lnTo>
                        <a:pt x="423" y="494"/>
                      </a:lnTo>
                      <a:lnTo>
                        <a:pt x="431" y="479"/>
                      </a:lnTo>
                      <a:lnTo>
                        <a:pt x="436" y="472"/>
                      </a:lnTo>
                      <a:lnTo>
                        <a:pt x="417" y="423"/>
                      </a:lnTo>
                      <a:lnTo>
                        <a:pt x="383" y="393"/>
                      </a:lnTo>
                      <a:lnTo>
                        <a:pt x="286" y="340"/>
                      </a:lnTo>
                      <a:lnTo>
                        <a:pt x="257" y="321"/>
                      </a:lnTo>
                      <a:lnTo>
                        <a:pt x="200" y="274"/>
                      </a:lnTo>
                      <a:lnTo>
                        <a:pt x="128" y="240"/>
                      </a:lnTo>
                      <a:lnTo>
                        <a:pt x="95" y="222"/>
                      </a:lnTo>
                      <a:lnTo>
                        <a:pt x="44" y="199"/>
                      </a:lnTo>
                      <a:lnTo>
                        <a:pt x="19" y="184"/>
                      </a:lnTo>
                      <a:lnTo>
                        <a:pt x="0" y="157"/>
                      </a:lnTo>
                      <a:close/>
                    </a:path>
                  </a:pathLst>
                </a:custGeom>
                <a:solidFill>
                  <a:srgbClr val="FFCA9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16" name="Freeform 228"/>
                <p:cNvSpPr>
                  <a:spLocks/>
                </p:cNvSpPr>
                <p:nvPr/>
              </p:nvSpPr>
              <p:spPr bwMode="auto">
                <a:xfrm>
                  <a:off x="2317" y="3008"/>
                  <a:ext cx="32" cy="33"/>
                </a:xfrm>
                <a:custGeom>
                  <a:avLst/>
                  <a:gdLst>
                    <a:gd name="T0" fmla="*/ 0 w 130"/>
                    <a:gd name="T1" fmla="*/ 0 h 132"/>
                    <a:gd name="T2" fmla="*/ 0 w 130"/>
                    <a:gd name="T3" fmla="*/ 0 h 132"/>
                    <a:gd name="T4" fmla="*/ 0 w 130"/>
                    <a:gd name="T5" fmla="*/ 0 h 132"/>
                    <a:gd name="T6" fmla="*/ 0 w 130"/>
                    <a:gd name="T7" fmla="*/ 0 h 132"/>
                    <a:gd name="T8" fmla="*/ 0 w 130"/>
                    <a:gd name="T9" fmla="*/ 0 h 132"/>
                    <a:gd name="T10" fmla="*/ 0 w 130"/>
                    <a:gd name="T11" fmla="*/ 0 h 132"/>
                    <a:gd name="T12" fmla="*/ 0 w 130"/>
                    <a:gd name="T13" fmla="*/ 0 h 132"/>
                    <a:gd name="T14" fmla="*/ 0 w 130"/>
                    <a:gd name="T15" fmla="*/ 0 h 132"/>
                    <a:gd name="T16" fmla="*/ 0 w 130"/>
                    <a:gd name="T17" fmla="*/ 0 h 132"/>
                    <a:gd name="T18" fmla="*/ 0 w 130"/>
                    <a:gd name="T19" fmla="*/ 0 h 132"/>
                    <a:gd name="T20" fmla="*/ 0 w 130"/>
                    <a:gd name="T21" fmla="*/ 0 h 132"/>
                    <a:gd name="T22" fmla="*/ 0 w 130"/>
                    <a:gd name="T23" fmla="*/ 0 h 132"/>
                    <a:gd name="T24" fmla="*/ 0 w 130"/>
                    <a:gd name="T25" fmla="*/ 0 h 132"/>
                    <a:gd name="T26" fmla="*/ 0 w 130"/>
                    <a:gd name="T27" fmla="*/ 0 h 132"/>
                    <a:gd name="T28" fmla="*/ 0 w 130"/>
                    <a:gd name="T29" fmla="*/ 0 h 132"/>
                    <a:gd name="T30" fmla="*/ 0 w 130"/>
                    <a:gd name="T31" fmla="*/ 0 h 132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30"/>
                    <a:gd name="T49" fmla="*/ 0 h 132"/>
                    <a:gd name="T50" fmla="*/ 130 w 130"/>
                    <a:gd name="T51" fmla="*/ 132 h 132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30" h="132">
                      <a:moveTo>
                        <a:pt x="121" y="0"/>
                      </a:moveTo>
                      <a:lnTo>
                        <a:pt x="130" y="18"/>
                      </a:lnTo>
                      <a:lnTo>
                        <a:pt x="102" y="23"/>
                      </a:lnTo>
                      <a:lnTo>
                        <a:pt x="77" y="36"/>
                      </a:lnTo>
                      <a:lnTo>
                        <a:pt x="43" y="62"/>
                      </a:lnTo>
                      <a:lnTo>
                        <a:pt x="29" y="80"/>
                      </a:lnTo>
                      <a:lnTo>
                        <a:pt x="14" y="109"/>
                      </a:lnTo>
                      <a:lnTo>
                        <a:pt x="0" y="132"/>
                      </a:lnTo>
                      <a:lnTo>
                        <a:pt x="17" y="78"/>
                      </a:lnTo>
                      <a:lnTo>
                        <a:pt x="14" y="93"/>
                      </a:lnTo>
                      <a:lnTo>
                        <a:pt x="25" y="76"/>
                      </a:lnTo>
                      <a:lnTo>
                        <a:pt x="29" y="61"/>
                      </a:lnTo>
                      <a:lnTo>
                        <a:pt x="50" y="40"/>
                      </a:lnTo>
                      <a:lnTo>
                        <a:pt x="73" y="26"/>
                      </a:lnTo>
                      <a:lnTo>
                        <a:pt x="96" y="12"/>
                      </a:lnTo>
                      <a:lnTo>
                        <a:pt x="121" y="0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34825" name="Group 229"/>
                <p:cNvGrpSpPr>
                  <a:grpSpLocks/>
                </p:cNvGrpSpPr>
                <p:nvPr/>
              </p:nvGrpSpPr>
              <p:grpSpPr bwMode="auto">
                <a:xfrm>
                  <a:off x="2250" y="2996"/>
                  <a:ext cx="44" cy="41"/>
                  <a:chOff x="2250" y="2996"/>
                  <a:chExt cx="44" cy="41"/>
                </a:xfrm>
              </p:grpSpPr>
              <p:sp>
                <p:nvSpPr>
                  <p:cNvPr id="38680" name="Line 230"/>
                  <p:cNvSpPr>
                    <a:spLocks noChangeShapeType="1"/>
                  </p:cNvSpPr>
                  <p:nvPr/>
                </p:nvSpPr>
                <p:spPr bwMode="auto">
                  <a:xfrm>
                    <a:off x="2250" y="3017"/>
                    <a:ext cx="14" cy="11"/>
                  </a:xfrm>
                  <a:prstGeom prst="line">
                    <a:avLst/>
                  </a:prstGeom>
                  <a:noFill/>
                  <a:ln w="4763">
                    <a:solidFill>
                      <a:srgbClr val="5599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681" name="Line 231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254" y="3015"/>
                    <a:ext cx="2" cy="15"/>
                  </a:xfrm>
                  <a:prstGeom prst="line">
                    <a:avLst/>
                  </a:prstGeom>
                  <a:noFill/>
                  <a:ln w="4763">
                    <a:solidFill>
                      <a:srgbClr val="5599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682" name="Line 232"/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2265" y="3012"/>
                    <a:ext cx="4" cy="18"/>
                  </a:xfrm>
                  <a:prstGeom prst="line">
                    <a:avLst/>
                  </a:prstGeom>
                  <a:noFill/>
                  <a:ln w="4763">
                    <a:solidFill>
                      <a:srgbClr val="5599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683" name="Freeform 233"/>
                  <p:cNvSpPr>
                    <a:spLocks/>
                  </p:cNvSpPr>
                  <p:nvPr/>
                </p:nvSpPr>
                <p:spPr bwMode="auto">
                  <a:xfrm>
                    <a:off x="2262" y="3011"/>
                    <a:ext cx="32" cy="26"/>
                  </a:xfrm>
                  <a:custGeom>
                    <a:avLst/>
                    <a:gdLst>
                      <a:gd name="T0" fmla="*/ 0 w 128"/>
                      <a:gd name="T1" fmla="*/ 0 h 104"/>
                      <a:gd name="T2" fmla="*/ 0 w 128"/>
                      <a:gd name="T3" fmla="*/ 0 h 104"/>
                      <a:gd name="T4" fmla="*/ 0 w 128"/>
                      <a:gd name="T5" fmla="*/ 0 h 104"/>
                      <a:gd name="T6" fmla="*/ 0 w 128"/>
                      <a:gd name="T7" fmla="*/ 0 h 104"/>
                      <a:gd name="T8" fmla="*/ 0 w 128"/>
                      <a:gd name="T9" fmla="*/ 0 h 104"/>
                      <a:gd name="T10" fmla="*/ 0 w 128"/>
                      <a:gd name="T11" fmla="*/ 0 h 104"/>
                      <a:gd name="T12" fmla="*/ 0 w 128"/>
                      <a:gd name="T13" fmla="*/ 0 h 104"/>
                      <a:gd name="T14" fmla="*/ 0 w 128"/>
                      <a:gd name="T15" fmla="*/ 0 h 104"/>
                      <a:gd name="T16" fmla="*/ 0 w 128"/>
                      <a:gd name="T17" fmla="*/ 0 h 104"/>
                      <a:gd name="T18" fmla="*/ 0 w 128"/>
                      <a:gd name="T19" fmla="*/ 0 h 104"/>
                      <a:gd name="T20" fmla="*/ 0 w 128"/>
                      <a:gd name="T21" fmla="*/ 0 h 104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60000 65536"/>
                      <a:gd name="T28" fmla="*/ 0 60000 65536"/>
                      <a:gd name="T29" fmla="*/ 0 60000 65536"/>
                      <a:gd name="T30" fmla="*/ 0 60000 65536"/>
                      <a:gd name="T31" fmla="*/ 0 60000 65536"/>
                      <a:gd name="T32" fmla="*/ 0 60000 65536"/>
                      <a:gd name="T33" fmla="*/ 0 w 128"/>
                      <a:gd name="T34" fmla="*/ 0 h 104"/>
                      <a:gd name="T35" fmla="*/ 128 w 128"/>
                      <a:gd name="T36" fmla="*/ 104 h 104"/>
                    </a:gdLst>
                    <a:ahLst/>
                    <a:cxnLst>
                      <a:cxn ang="T22">
                        <a:pos x="T0" y="T1"/>
                      </a:cxn>
                      <a:cxn ang="T23">
                        <a:pos x="T2" y="T3"/>
                      </a:cxn>
                      <a:cxn ang="T24">
                        <a:pos x="T4" y="T5"/>
                      </a:cxn>
                      <a:cxn ang="T25">
                        <a:pos x="T6" y="T7"/>
                      </a:cxn>
                      <a:cxn ang="T26">
                        <a:pos x="T8" y="T9"/>
                      </a:cxn>
                      <a:cxn ang="T27">
                        <a:pos x="T10" y="T11"/>
                      </a:cxn>
                      <a:cxn ang="T28">
                        <a:pos x="T12" y="T13"/>
                      </a:cxn>
                      <a:cxn ang="T29">
                        <a:pos x="T14" y="T15"/>
                      </a:cxn>
                      <a:cxn ang="T30">
                        <a:pos x="T16" y="T17"/>
                      </a:cxn>
                      <a:cxn ang="T31">
                        <a:pos x="T18" y="T19"/>
                      </a:cxn>
                      <a:cxn ang="T32">
                        <a:pos x="T20" y="T21"/>
                      </a:cxn>
                    </a:cxnLst>
                    <a:rect l="T33" t="T34" r="T35" b="T36"/>
                    <a:pathLst>
                      <a:path w="128" h="104">
                        <a:moveTo>
                          <a:pt x="0" y="21"/>
                        </a:moveTo>
                        <a:lnTo>
                          <a:pt x="59" y="58"/>
                        </a:lnTo>
                        <a:lnTo>
                          <a:pt x="109" y="0"/>
                        </a:lnTo>
                        <a:lnTo>
                          <a:pt x="128" y="55"/>
                        </a:lnTo>
                        <a:lnTo>
                          <a:pt x="116" y="71"/>
                        </a:lnTo>
                        <a:lnTo>
                          <a:pt x="102" y="92"/>
                        </a:lnTo>
                        <a:lnTo>
                          <a:pt x="87" y="104"/>
                        </a:lnTo>
                        <a:lnTo>
                          <a:pt x="78" y="82"/>
                        </a:lnTo>
                        <a:lnTo>
                          <a:pt x="78" y="62"/>
                        </a:lnTo>
                        <a:lnTo>
                          <a:pt x="104" y="34"/>
                        </a:lnTo>
                        <a:lnTo>
                          <a:pt x="116" y="59"/>
                        </a:lnTo>
                      </a:path>
                    </a:pathLst>
                  </a:custGeom>
                  <a:noFill/>
                  <a:ln w="4763">
                    <a:solidFill>
                      <a:srgbClr val="5599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684" name="Freeform 234"/>
                  <p:cNvSpPr>
                    <a:spLocks/>
                  </p:cNvSpPr>
                  <p:nvPr/>
                </p:nvSpPr>
                <p:spPr bwMode="auto">
                  <a:xfrm>
                    <a:off x="2272" y="2996"/>
                    <a:ext cx="15" cy="25"/>
                  </a:xfrm>
                  <a:custGeom>
                    <a:avLst/>
                    <a:gdLst>
                      <a:gd name="T0" fmla="*/ 0 w 62"/>
                      <a:gd name="T1" fmla="*/ 0 h 103"/>
                      <a:gd name="T2" fmla="*/ 0 w 62"/>
                      <a:gd name="T3" fmla="*/ 0 h 103"/>
                      <a:gd name="T4" fmla="*/ 0 w 62"/>
                      <a:gd name="T5" fmla="*/ 0 h 103"/>
                      <a:gd name="T6" fmla="*/ 0 w 62"/>
                      <a:gd name="T7" fmla="*/ 0 h 103"/>
                      <a:gd name="T8" fmla="*/ 0 w 62"/>
                      <a:gd name="T9" fmla="*/ 0 h 103"/>
                      <a:gd name="T10" fmla="*/ 0 w 62"/>
                      <a:gd name="T11" fmla="*/ 0 h 103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62"/>
                      <a:gd name="T19" fmla="*/ 0 h 103"/>
                      <a:gd name="T20" fmla="*/ 62 w 62"/>
                      <a:gd name="T21" fmla="*/ 103 h 103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62" h="103">
                        <a:moveTo>
                          <a:pt x="0" y="0"/>
                        </a:moveTo>
                        <a:lnTo>
                          <a:pt x="47" y="31"/>
                        </a:lnTo>
                        <a:lnTo>
                          <a:pt x="43" y="54"/>
                        </a:lnTo>
                        <a:lnTo>
                          <a:pt x="62" y="89"/>
                        </a:lnTo>
                        <a:lnTo>
                          <a:pt x="45" y="103"/>
                        </a:lnTo>
                        <a:lnTo>
                          <a:pt x="16" y="70"/>
                        </a:lnTo>
                      </a:path>
                    </a:pathLst>
                  </a:custGeom>
                  <a:noFill/>
                  <a:ln w="4763">
                    <a:solidFill>
                      <a:srgbClr val="5599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685" name="Freeform 235"/>
                  <p:cNvSpPr>
                    <a:spLocks/>
                  </p:cNvSpPr>
                  <p:nvPr/>
                </p:nvSpPr>
                <p:spPr bwMode="auto">
                  <a:xfrm>
                    <a:off x="2282" y="3026"/>
                    <a:ext cx="9" cy="5"/>
                  </a:xfrm>
                  <a:custGeom>
                    <a:avLst/>
                    <a:gdLst>
                      <a:gd name="T0" fmla="*/ 0 w 33"/>
                      <a:gd name="T1" fmla="*/ 0 h 22"/>
                      <a:gd name="T2" fmla="*/ 0 w 33"/>
                      <a:gd name="T3" fmla="*/ 0 h 22"/>
                      <a:gd name="T4" fmla="*/ 0 w 33"/>
                      <a:gd name="T5" fmla="*/ 0 h 22"/>
                      <a:gd name="T6" fmla="*/ 0 60000 65536"/>
                      <a:gd name="T7" fmla="*/ 0 60000 65536"/>
                      <a:gd name="T8" fmla="*/ 0 60000 65536"/>
                      <a:gd name="T9" fmla="*/ 0 w 33"/>
                      <a:gd name="T10" fmla="*/ 0 h 22"/>
                      <a:gd name="T11" fmla="*/ 33 w 33"/>
                      <a:gd name="T12" fmla="*/ 22 h 22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T9" t="T10" r="T11" b="T12"/>
                    <a:pathLst>
                      <a:path w="33" h="22">
                        <a:moveTo>
                          <a:pt x="0" y="0"/>
                        </a:moveTo>
                        <a:lnTo>
                          <a:pt x="14" y="22"/>
                        </a:lnTo>
                        <a:lnTo>
                          <a:pt x="33" y="4"/>
                        </a:lnTo>
                      </a:path>
                    </a:pathLst>
                  </a:custGeom>
                  <a:noFill/>
                  <a:ln w="4763">
                    <a:solidFill>
                      <a:srgbClr val="5599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sp>
              <p:nvSpPr>
                <p:cNvPr id="38618" name="Freeform 236"/>
                <p:cNvSpPr>
                  <a:spLocks/>
                </p:cNvSpPr>
                <p:nvPr/>
              </p:nvSpPr>
              <p:spPr bwMode="auto">
                <a:xfrm>
                  <a:off x="2288" y="2967"/>
                  <a:ext cx="26" cy="23"/>
                </a:xfrm>
                <a:custGeom>
                  <a:avLst/>
                  <a:gdLst>
                    <a:gd name="T0" fmla="*/ 0 w 104"/>
                    <a:gd name="T1" fmla="*/ 0 h 90"/>
                    <a:gd name="T2" fmla="*/ 0 w 104"/>
                    <a:gd name="T3" fmla="*/ 0 h 90"/>
                    <a:gd name="T4" fmla="*/ 0 w 104"/>
                    <a:gd name="T5" fmla="*/ 0 h 90"/>
                    <a:gd name="T6" fmla="*/ 0 w 104"/>
                    <a:gd name="T7" fmla="*/ 0 h 90"/>
                    <a:gd name="T8" fmla="*/ 0 w 104"/>
                    <a:gd name="T9" fmla="*/ 0 h 90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04"/>
                    <a:gd name="T16" fmla="*/ 0 h 90"/>
                    <a:gd name="T17" fmla="*/ 104 w 104"/>
                    <a:gd name="T18" fmla="*/ 90 h 90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04" h="90">
                      <a:moveTo>
                        <a:pt x="33" y="0"/>
                      </a:moveTo>
                      <a:lnTo>
                        <a:pt x="104" y="74"/>
                      </a:lnTo>
                      <a:lnTo>
                        <a:pt x="77" y="90"/>
                      </a:lnTo>
                      <a:lnTo>
                        <a:pt x="0" y="8"/>
                      </a:lnTo>
                      <a:lnTo>
                        <a:pt x="33" y="0"/>
                      </a:lnTo>
                      <a:close/>
                    </a:path>
                  </a:pathLst>
                </a:custGeom>
                <a:solidFill>
                  <a:srgbClr val="5599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19" name="Freeform 237"/>
                <p:cNvSpPr>
                  <a:spLocks/>
                </p:cNvSpPr>
                <p:nvPr/>
              </p:nvSpPr>
              <p:spPr bwMode="auto">
                <a:xfrm>
                  <a:off x="2271" y="2969"/>
                  <a:ext cx="33" cy="26"/>
                </a:xfrm>
                <a:custGeom>
                  <a:avLst/>
                  <a:gdLst>
                    <a:gd name="T0" fmla="*/ 0 w 133"/>
                    <a:gd name="T1" fmla="*/ 0 h 104"/>
                    <a:gd name="T2" fmla="*/ 0 w 133"/>
                    <a:gd name="T3" fmla="*/ 0 h 104"/>
                    <a:gd name="T4" fmla="*/ 0 w 133"/>
                    <a:gd name="T5" fmla="*/ 0 h 104"/>
                    <a:gd name="T6" fmla="*/ 0 w 133"/>
                    <a:gd name="T7" fmla="*/ 0 h 104"/>
                    <a:gd name="T8" fmla="*/ 0 w 133"/>
                    <a:gd name="T9" fmla="*/ 0 h 10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33"/>
                    <a:gd name="T16" fmla="*/ 0 h 104"/>
                    <a:gd name="T17" fmla="*/ 133 w 133"/>
                    <a:gd name="T18" fmla="*/ 104 h 10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33" h="104">
                      <a:moveTo>
                        <a:pt x="44" y="0"/>
                      </a:moveTo>
                      <a:lnTo>
                        <a:pt x="133" y="88"/>
                      </a:lnTo>
                      <a:lnTo>
                        <a:pt x="116" y="104"/>
                      </a:lnTo>
                      <a:lnTo>
                        <a:pt x="0" y="3"/>
                      </a:lnTo>
                      <a:lnTo>
                        <a:pt x="44" y="0"/>
                      </a:lnTo>
                      <a:close/>
                    </a:path>
                  </a:pathLst>
                </a:custGeom>
                <a:solidFill>
                  <a:srgbClr val="5599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20" name="Freeform 238"/>
                <p:cNvSpPr>
                  <a:spLocks/>
                </p:cNvSpPr>
                <p:nvPr/>
              </p:nvSpPr>
              <p:spPr bwMode="auto">
                <a:xfrm>
                  <a:off x="2254" y="2972"/>
                  <a:ext cx="43" cy="32"/>
                </a:xfrm>
                <a:custGeom>
                  <a:avLst/>
                  <a:gdLst>
                    <a:gd name="T0" fmla="*/ 0 w 171"/>
                    <a:gd name="T1" fmla="*/ 0 h 127"/>
                    <a:gd name="T2" fmla="*/ 0 w 171"/>
                    <a:gd name="T3" fmla="*/ 0 h 127"/>
                    <a:gd name="T4" fmla="*/ 0 w 171"/>
                    <a:gd name="T5" fmla="*/ 0 h 127"/>
                    <a:gd name="T6" fmla="*/ 0 w 171"/>
                    <a:gd name="T7" fmla="*/ 0 h 127"/>
                    <a:gd name="T8" fmla="*/ 0 w 171"/>
                    <a:gd name="T9" fmla="*/ 0 h 1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71"/>
                    <a:gd name="T16" fmla="*/ 0 h 127"/>
                    <a:gd name="T17" fmla="*/ 171 w 171"/>
                    <a:gd name="T18" fmla="*/ 127 h 1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71" h="127">
                      <a:moveTo>
                        <a:pt x="43" y="0"/>
                      </a:moveTo>
                      <a:lnTo>
                        <a:pt x="171" y="106"/>
                      </a:lnTo>
                      <a:lnTo>
                        <a:pt x="156" y="127"/>
                      </a:lnTo>
                      <a:lnTo>
                        <a:pt x="0" y="16"/>
                      </a:lnTo>
                      <a:lnTo>
                        <a:pt x="43" y="0"/>
                      </a:lnTo>
                      <a:close/>
                    </a:path>
                  </a:pathLst>
                </a:custGeom>
                <a:solidFill>
                  <a:srgbClr val="5599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34826" name="Group 239"/>
                <p:cNvGrpSpPr>
                  <a:grpSpLocks/>
                </p:cNvGrpSpPr>
                <p:nvPr/>
              </p:nvGrpSpPr>
              <p:grpSpPr bwMode="auto">
                <a:xfrm>
                  <a:off x="2408" y="2870"/>
                  <a:ext cx="124" cy="152"/>
                  <a:chOff x="2408" y="2870"/>
                  <a:chExt cx="124" cy="152"/>
                </a:xfrm>
              </p:grpSpPr>
              <p:sp>
                <p:nvSpPr>
                  <p:cNvPr id="38677" name="Freeform 240"/>
                  <p:cNvSpPr>
                    <a:spLocks/>
                  </p:cNvSpPr>
                  <p:nvPr/>
                </p:nvSpPr>
                <p:spPr bwMode="auto">
                  <a:xfrm>
                    <a:off x="2408" y="2870"/>
                    <a:ext cx="112" cy="142"/>
                  </a:xfrm>
                  <a:custGeom>
                    <a:avLst/>
                    <a:gdLst>
                      <a:gd name="T0" fmla="*/ 0 w 447"/>
                      <a:gd name="T1" fmla="*/ 0 h 570"/>
                      <a:gd name="T2" fmla="*/ 0 w 447"/>
                      <a:gd name="T3" fmla="*/ 0 h 570"/>
                      <a:gd name="T4" fmla="*/ 0 w 447"/>
                      <a:gd name="T5" fmla="*/ 0 h 570"/>
                      <a:gd name="T6" fmla="*/ 0 w 447"/>
                      <a:gd name="T7" fmla="*/ 0 h 570"/>
                      <a:gd name="T8" fmla="*/ 0 w 447"/>
                      <a:gd name="T9" fmla="*/ 0 h 570"/>
                      <a:gd name="T10" fmla="*/ 0 w 447"/>
                      <a:gd name="T11" fmla="*/ 0 h 570"/>
                      <a:gd name="T12" fmla="*/ 0 w 447"/>
                      <a:gd name="T13" fmla="*/ 0 h 570"/>
                      <a:gd name="T14" fmla="*/ 0 w 447"/>
                      <a:gd name="T15" fmla="*/ 0 h 570"/>
                      <a:gd name="T16" fmla="*/ 0 w 447"/>
                      <a:gd name="T17" fmla="*/ 0 h 570"/>
                      <a:gd name="T18" fmla="*/ 0 w 447"/>
                      <a:gd name="T19" fmla="*/ 0 h 570"/>
                      <a:gd name="T20" fmla="*/ 0 w 447"/>
                      <a:gd name="T21" fmla="*/ 0 h 570"/>
                      <a:gd name="T22" fmla="*/ 0 w 447"/>
                      <a:gd name="T23" fmla="*/ 0 h 570"/>
                      <a:gd name="T24" fmla="*/ 0 w 447"/>
                      <a:gd name="T25" fmla="*/ 0 h 570"/>
                      <a:gd name="T26" fmla="*/ 0 w 447"/>
                      <a:gd name="T27" fmla="*/ 0 h 570"/>
                      <a:gd name="T28" fmla="*/ 0 w 447"/>
                      <a:gd name="T29" fmla="*/ 0 h 570"/>
                      <a:gd name="T30" fmla="*/ 0 w 447"/>
                      <a:gd name="T31" fmla="*/ 0 h 570"/>
                      <a:gd name="T32" fmla="*/ 0 w 447"/>
                      <a:gd name="T33" fmla="*/ 0 h 570"/>
                      <a:gd name="T34" fmla="*/ 0 w 447"/>
                      <a:gd name="T35" fmla="*/ 0 h 570"/>
                      <a:gd name="T36" fmla="*/ 0 w 447"/>
                      <a:gd name="T37" fmla="*/ 0 h 570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w 447"/>
                      <a:gd name="T58" fmla="*/ 0 h 570"/>
                      <a:gd name="T59" fmla="*/ 447 w 447"/>
                      <a:gd name="T60" fmla="*/ 570 h 570"/>
                    </a:gdLst>
                    <a:ahLst/>
                    <a:cxnLst>
                      <a:cxn ang="T38">
                        <a:pos x="T0" y="T1"/>
                      </a:cxn>
                      <a:cxn ang="T39">
                        <a:pos x="T2" y="T3"/>
                      </a:cxn>
                      <a:cxn ang="T40">
                        <a:pos x="T4" y="T5"/>
                      </a:cxn>
                      <a:cxn ang="T41">
                        <a:pos x="T6" y="T7"/>
                      </a:cxn>
                      <a:cxn ang="T42">
                        <a:pos x="T8" y="T9"/>
                      </a:cxn>
                      <a:cxn ang="T43">
                        <a:pos x="T10" y="T11"/>
                      </a:cxn>
                      <a:cxn ang="T44">
                        <a:pos x="T12" y="T13"/>
                      </a:cxn>
                      <a:cxn ang="T45">
                        <a:pos x="T14" y="T15"/>
                      </a:cxn>
                      <a:cxn ang="T46">
                        <a:pos x="T16" y="T17"/>
                      </a:cxn>
                      <a:cxn ang="T47">
                        <a:pos x="T18" y="T19"/>
                      </a:cxn>
                      <a:cxn ang="T48">
                        <a:pos x="T20" y="T21"/>
                      </a:cxn>
                      <a:cxn ang="T49">
                        <a:pos x="T22" y="T23"/>
                      </a:cxn>
                      <a:cxn ang="T50">
                        <a:pos x="T24" y="T25"/>
                      </a:cxn>
                      <a:cxn ang="T51">
                        <a:pos x="T26" y="T27"/>
                      </a:cxn>
                      <a:cxn ang="T52">
                        <a:pos x="T28" y="T29"/>
                      </a:cxn>
                      <a:cxn ang="T53">
                        <a:pos x="T30" y="T31"/>
                      </a:cxn>
                      <a:cxn ang="T54">
                        <a:pos x="T32" y="T33"/>
                      </a:cxn>
                      <a:cxn ang="T55">
                        <a:pos x="T34" y="T35"/>
                      </a:cxn>
                      <a:cxn ang="T56">
                        <a:pos x="T36" y="T37"/>
                      </a:cxn>
                    </a:cxnLst>
                    <a:rect l="T57" t="T58" r="T59" b="T60"/>
                    <a:pathLst>
                      <a:path w="447" h="570">
                        <a:moveTo>
                          <a:pt x="447" y="0"/>
                        </a:moveTo>
                        <a:lnTo>
                          <a:pt x="417" y="24"/>
                        </a:lnTo>
                        <a:lnTo>
                          <a:pt x="395" y="43"/>
                        </a:lnTo>
                        <a:lnTo>
                          <a:pt x="371" y="69"/>
                        </a:lnTo>
                        <a:lnTo>
                          <a:pt x="345" y="102"/>
                        </a:lnTo>
                        <a:lnTo>
                          <a:pt x="331" y="117"/>
                        </a:lnTo>
                        <a:lnTo>
                          <a:pt x="321" y="137"/>
                        </a:lnTo>
                        <a:lnTo>
                          <a:pt x="309" y="168"/>
                        </a:lnTo>
                        <a:lnTo>
                          <a:pt x="300" y="187"/>
                        </a:lnTo>
                        <a:lnTo>
                          <a:pt x="214" y="278"/>
                        </a:lnTo>
                        <a:lnTo>
                          <a:pt x="201" y="292"/>
                        </a:lnTo>
                        <a:lnTo>
                          <a:pt x="191" y="307"/>
                        </a:lnTo>
                        <a:lnTo>
                          <a:pt x="142" y="419"/>
                        </a:lnTo>
                        <a:lnTo>
                          <a:pt x="133" y="433"/>
                        </a:lnTo>
                        <a:lnTo>
                          <a:pt x="123" y="445"/>
                        </a:lnTo>
                        <a:lnTo>
                          <a:pt x="61" y="524"/>
                        </a:lnTo>
                        <a:lnTo>
                          <a:pt x="69" y="516"/>
                        </a:lnTo>
                        <a:lnTo>
                          <a:pt x="49" y="533"/>
                        </a:lnTo>
                        <a:lnTo>
                          <a:pt x="0" y="570"/>
                        </a:lnTo>
                      </a:path>
                    </a:pathLst>
                  </a:custGeom>
                  <a:noFill/>
                  <a:ln w="4763">
                    <a:solidFill>
                      <a:srgbClr val="5599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678" name="Freeform 241"/>
                  <p:cNvSpPr>
                    <a:spLocks/>
                  </p:cNvSpPr>
                  <p:nvPr/>
                </p:nvSpPr>
                <p:spPr bwMode="auto">
                  <a:xfrm>
                    <a:off x="2413" y="2875"/>
                    <a:ext cx="112" cy="142"/>
                  </a:xfrm>
                  <a:custGeom>
                    <a:avLst/>
                    <a:gdLst>
                      <a:gd name="T0" fmla="*/ 0 w 448"/>
                      <a:gd name="T1" fmla="*/ 0 h 570"/>
                      <a:gd name="T2" fmla="*/ 0 w 448"/>
                      <a:gd name="T3" fmla="*/ 0 h 570"/>
                      <a:gd name="T4" fmla="*/ 0 w 448"/>
                      <a:gd name="T5" fmla="*/ 0 h 570"/>
                      <a:gd name="T6" fmla="*/ 0 w 448"/>
                      <a:gd name="T7" fmla="*/ 0 h 570"/>
                      <a:gd name="T8" fmla="*/ 0 w 448"/>
                      <a:gd name="T9" fmla="*/ 0 h 570"/>
                      <a:gd name="T10" fmla="*/ 0 w 448"/>
                      <a:gd name="T11" fmla="*/ 0 h 570"/>
                      <a:gd name="T12" fmla="*/ 0 w 448"/>
                      <a:gd name="T13" fmla="*/ 0 h 570"/>
                      <a:gd name="T14" fmla="*/ 0 w 448"/>
                      <a:gd name="T15" fmla="*/ 0 h 570"/>
                      <a:gd name="T16" fmla="*/ 0 w 448"/>
                      <a:gd name="T17" fmla="*/ 0 h 570"/>
                      <a:gd name="T18" fmla="*/ 0 w 448"/>
                      <a:gd name="T19" fmla="*/ 0 h 570"/>
                      <a:gd name="T20" fmla="*/ 0 w 448"/>
                      <a:gd name="T21" fmla="*/ 0 h 570"/>
                      <a:gd name="T22" fmla="*/ 0 w 448"/>
                      <a:gd name="T23" fmla="*/ 0 h 570"/>
                      <a:gd name="T24" fmla="*/ 0 w 448"/>
                      <a:gd name="T25" fmla="*/ 0 h 570"/>
                      <a:gd name="T26" fmla="*/ 0 w 448"/>
                      <a:gd name="T27" fmla="*/ 0 h 570"/>
                      <a:gd name="T28" fmla="*/ 0 w 448"/>
                      <a:gd name="T29" fmla="*/ 0 h 570"/>
                      <a:gd name="T30" fmla="*/ 0 w 448"/>
                      <a:gd name="T31" fmla="*/ 0 h 570"/>
                      <a:gd name="T32" fmla="*/ 0 w 448"/>
                      <a:gd name="T33" fmla="*/ 0 h 570"/>
                      <a:gd name="T34" fmla="*/ 0 w 448"/>
                      <a:gd name="T35" fmla="*/ 0 h 570"/>
                      <a:gd name="T36" fmla="*/ 0 w 448"/>
                      <a:gd name="T37" fmla="*/ 0 h 570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w 448"/>
                      <a:gd name="T58" fmla="*/ 0 h 570"/>
                      <a:gd name="T59" fmla="*/ 448 w 448"/>
                      <a:gd name="T60" fmla="*/ 570 h 570"/>
                    </a:gdLst>
                    <a:ahLst/>
                    <a:cxnLst>
                      <a:cxn ang="T38">
                        <a:pos x="T0" y="T1"/>
                      </a:cxn>
                      <a:cxn ang="T39">
                        <a:pos x="T2" y="T3"/>
                      </a:cxn>
                      <a:cxn ang="T40">
                        <a:pos x="T4" y="T5"/>
                      </a:cxn>
                      <a:cxn ang="T41">
                        <a:pos x="T6" y="T7"/>
                      </a:cxn>
                      <a:cxn ang="T42">
                        <a:pos x="T8" y="T9"/>
                      </a:cxn>
                      <a:cxn ang="T43">
                        <a:pos x="T10" y="T11"/>
                      </a:cxn>
                      <a:cxn ang="T44">
                        <a:pos x="T12" y="T13"/>
                      </a:cxn>
                      <a:cxn ang="T45">
                        <a:pos x="T14" y="T15"/>
                      </a:cxn>
                      <a:cxn ang="T46">
                        <a:pos x="T16" y="T17"/>
                      </a:cxn>
                      <a:cxn ang="T47">
                        <a:pos x="T18" y="T19"/>
                      </a:cxn>
                      <a:cxn ang="T48">
                        <a:pos x="T20" y="T21"/>
                      </a:cxn>
                      <a:cxn ang="T49">
                        <a:pos x="T22" y="T23"/>
                      </a:cxn>
                      <a:cxn ang="T50">
                        <a:pos x="T24" y="T25"/>
                      </a:cxn>
                      <a:cxn ang="T51">
                        <a:pos x="T26" y="T27"/>
                      </a:cxn>
                      <a:cxn ang="T52">
                        <a:pos x="T28" y="T29"/>
                      </a:cxn>
                      <a:cxn ang="T53">
                        <a:pos x="T30" y="T31"/>
                      </a:cxn>
                      <a:cxn ang="T54">
                        <a:pos x="T32" y="T33"/>
                      </a:cxn>
                      <a:cxn ang="T55">
                        <a:pos x="T34" y="T35"/>
                      </a:cxn>
                      <a:cxn ang="T56">
                        <a:pos x="T36" y="T37"/>
                      </a:cxn>
                    </a:cxnLst>
                    <a:rect l="T57" t="T58" r="T59" b="T60"/>
                    <a:pathLst>
                      <a:path w="448" h="570">
                        <a:moveTo>
                          <a:pt x="448" y="0"/>
                        </a:moveTo>
                        <a:lnTo>
                          <a:pt x="417" y="24"/>
                        </a:lnTo>
                        <a:lnTo>
                          <a:pt x="396" y="42"/>
                        </a:lnTo>
                        <a:lnTo>
                          <a:pt x="372" y="69"/>
                        </a:lnTo>
                        <a:lnTo>
                          <a:pt x="345" y="102"/>
                        </a:lnTo>
                        <a:lnTo>
                          <a:pt x="331" y="117"/>
                        </a:lnTo>
                        <a:lnTo>
                          <a:pt x="320" y="137"/>
                        </a:lnTo>
                        <a:lnTo>
                          <a:pt x="308" y="168"/>
                        </a:lnTo>
                        <a:lnTo>
                          <a:pt x="301" y="187"/>
                        </a:lnTo>
                        <a:lnTo>
                          <a:pt x="214" y="278"/>
                        </a:lnTo>
                        <a:lnTo>
                          <a:pt x="202" y="292"/>
                        </a:lnTo>
                        <a:lnTo>
                          <a:pt x="192" y="307"/>
                        </a:lnTo>
                        <a:lnTo>
                          <a:pt x="142" y="419"/>
                        </a:lnTo>
                        <a:lnTo>
                          <a:pt x="133" y="433"/>
                        </a:lnTo>
                        <a:lnTo>
                          <a:pt x="123" y="445"/>
                        </a:lnTo>
                        <a:lnTo>
                          <a:pt x="61" y="524"/>
                        </a:lnTo>
                        <a:lnTo>
                          <a:pt x="70" y="516"/>
                        </a:lnTo>
                        <a:lnTo>
                          <a:pt x="49" y="533"/>
                        </a:lnTo>
                        <a:lnTo>
                          <a:pt x="0" y="570"/>
                        </a:lnTo>
                      </a:path>
                    </a:pathLst>
                  </a:custGeom>
                  <a:noFill/>
                  <a:ln w="4763">
                    <a:solidFill>
                      <a:srgbClr val="5599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679" name="Freeform 242"/>
                  <p:cNvSpPr>
                    <a:spLocks/>
                  </p:cNvSpPr>
                  <p:nvPr/>
                </p:nvSpPr>
                <p:spPr bwMode="auto">
                  <a:xfrm>
                    <a:off x="2420" y="2880"/>
                    <a:ext cx="112" cy="142"/>
                  </a:xfrm>
                  <a:custGeom>
                    <a:avLst/>
                    <a:gdLst>
                      <a:gd name="T0" fmla="*/ 0 w 448"/>
                      <a:gd name="T1" fmla="*/ 0 h 568"/>
                      <a:gd name="T2" fmla="*/ 0 w 448"/>
                      <a:gd name="T3" fmla="*/ 0 h 568"/>
                      <a:gd name="T4" fmla="*/ 0 w 448"/>
                      <a:gd name="T5" fmla="*/ 0 h 568"/>
                      <a:gd name="T6" fmla="*/ 0 w 448"/>
                      <a:gd name="T7" fmla="*/ 0 h 568"/>
                      <a:gd name="T8" fmla="*/ 0 w 448"/>
                      <a:gd name="T9" fmla="*/ 0 h 568"/>
                      <a:gd name="T10" fmla="*/ 0 w 448"/>
                      <a:gd name="T11" fmla="*/ 0 h 568"/>
                      <a:gd name="T12" fmla="*/ 0 w 448"/>
                      <a:gd name="T13" fmla="*/ 0 h 568"/>
                      <a:gd name="T14" fmla="*/ 0 w 448"/>
                      <a:gd name="T15" fmla="*/ 0 h 568"/>
                      <a:gd name="T16" fmla="*/ 0 w 448"/>
                      <a:gd name="T17" fmla="*/ 0 h 568"/>
                      <a:gd name="T18" fmla="*/ 0 w 448"/>
                      <a:gd name="T19" fmla="*/ 0 h 568"/>
                      <a:gd name="T20" fmla="*/ 0 w 448"/>
                      <a:gd name="T21" fmla="*/ 0 h 568"/>
                      <a:gd name="T22" fmla="*/ 0 w 448"/>
                      <a:gd name="T23" fmla="*/ 0 h 568"/>
                      <a:gd name="T24" fmla="*/ 0 w 448"/>
                      <a:gd name="T25" fmla="*/ 0 h 568"/>
                      <a:gd name="T26" fmla="*/ 0 w 448"/>
                      <a:gd name="T27" fmla="*/ 0 h 568"/>
                      <a:gd name="T28" fmla="*/ 0 w 448"/>
                      <a:gd name="T29" fmla="*/ 0 h 568"/>
                      <a:gd name="T30" fmla="*/ 0 w 448"/>
                      <a:gd name="T31" fmla="*/ 0 h 568"/>
                      <a:gd name="T32" fmla="*/ 0 w 448"/>
                      <a:gd name="T33" fmla="*/ 0 h 568"/>
                      <a:gd name="T34" fmla="*/ 0 w 448"/>
                      <a:gd name="T35" fmla="*/ 0 h 568"/>
                      <a:gd name="T36" fmla="*/ 0 w 448"/>
                      <a:gd name="T37" fmla="*/ 0 h 568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w 448"/>
                      <a:gd name="T58" fmla="*/ 0 h 568"/>
                      <a:gd name="T59" fmla="*/ 448 w 448"/>
                      <a:gd name="T60" fmla="*/ 568 h 568"/>
                    </a:gdLst>
                    <a:ahLst/>
                    <a:cxnLst>
                      <a:cxn ang="T38">
                        <a:pos x="T0" y="T1"/>
                      </a:cxn>
                      <a:cxn ang="T39">
                        <a:pos x="T2" y="T3"/>
                      </a:cxn>
                      <a:cxn ang="T40">
                        <a:pos x="T4" y="T5"/>
                      </a:cxn>
                      <a:cxn ang="T41">
                        <a:pos x="T6" y="T7"/>
                      </a:cxn>
                      <a:cxn ang="T42">
                        <a:pos x="T8" y="T9"/>
                      </a:cxn>
                      <a:cxn ang="T43">
                        <a:pos x="T10" y="T11"/>
                      </a:cxn>
                      <a:cxn ang="T44">
                        <a:pos x="T12" y="T13"/>
                      </a:cxn>
                      <a:cxn ang="T45">
                        <a:pos x="T14" y="T15"/>
                      </a:cxn>
                      <a:cxn ang="T46">
                        <a:pos x="T16" y="T17"/>
                      </a:cxn>
                      <a:cxn ang="T47">
                        <a:pos x="T18" y="T19"/>
                      </a:cxn>
                      <a:cxn ang="T48">
                        <a:pos x="T20" y="T21"/>
                      </a:cxn>
                      <a:cxn ang="T49">
                        <a:pos x="T22" y="T23"/>
                      </a:cxn>
                      <a:cxn ang="T50">
                        <a:pos x="T24" y="T25"/>
                      </a:cxn>
                      <a:cxn ang="T51">
                        <a:pos x="T26" y="T27"/>
                      </a:cxn>
                      <a:cxn ang="T52">
                        <a:pos x="T28" y="T29"/>
                      </a:cxn>
                      <a:cxn ang="T53">
                        <a:pos x="T30" y="T31"/>
                      </a:cxn>
                      <a:cxn ang="T54">
                        <a:pos x="T32" y="T33"/>
                      </a:cxn>
                      <a:cxn ang="T55">
                        <a:pos x="T34" y="T35"/>
                      </a:cxn>
                      <a:cxn ang="T56">
                        <a:pos x="T36" y="T37"/>
                      </a:cxn>
                    </a:cxnLst>
                    <a:rect l="T57" t="T58" r="T59" b="T60"/>
                    <a:pathLst>
                      <a:path w="448" h="568">
                        <a:moveTo>
                          <a:pt x="448" y="0"/>
                        </a:moveTo>
                        <a:lnTo>
                          <a:pt x="417" y="23"/>
                        </a:lnTo>
                        <a:lnTo>
                          <a:pt x="396" y="42"/>
                        </a:lnTo>
                        <a:lnTo>
                          <a:pt x="372" y="69"/>
                        </a:lnTo>
                        <a:lnTo>
                          <a:pt x="345" y="102"/>
                        </a:lnTo>
                        <a:lnTo>
                          <a:pt x="331" y="117"/>
                        </a:lnTo>
                        <a:lnTo>
                          <a:pt x="320" y="137"/>
                        </a:lnTo>
                        <a:lnTo>
                          <a:pt x="308" y="168"/>
                        </a:lnTo>
                        <a:lnTo>
                          <a:pt x="299" y="187"/>
                        </a:lnTo>
                        <a:lnTo>
                          <a:pt x="215" y="278"/>
                        </a:lnTo>
                        <a:lnTo>
                          <a:pt x="202" y="292"/>
                        </a:lnTo>
                        <a:lnTo>
                          <a:pt x="192" y="307"/>
                        </a:lnTo>
                        <a:lnTo>
                          <a:pt x="142" y="419"/>
                        </a:lnTo>
                        <a:lnTo>
                          <a:pt x="133" y="433"/>
                        </a:lnTo>
                        <a:lnTo>
                          <a:pt x="123" y="445"/>
                        </a:lnTo>
                        <a:lnTo>
                          <a:pt x="61" y="524"/>
                        </a:lnTo>
                        <a:lnTo>
                          <a:pt x="70" y="516"/>
                        </a:lnTo>
                        <a:lnTo>
                          <a:pt x="50" y="533"/>
                        </a:lnTo>
                        <a:lnTo>
                          <a:pt x="0" y="568"/>
                        </a:lnTo>
                      </a:path>
                    </a:pathLst>
                  </a:custGeom>
                  <a:noFill/>
                  <a:ln w="4763">
                    <a:solidFill>
                      <a:srgbClr val="5599FF"/>
                    </a:solidFill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sp>
              <p:nvSpPr>
                <p:cNvPr id="38622" name="Freeform 243"/>
                <p:cNvSpPr>
                  <a:spLocks/>
                </p:cNvSpPr>
                <p:nvPr/>
              </p:nvSpPr>
              <p:spPr bwMode="auto">
                <a:xfrm>
                  <a:off x="2547" y="2991"/>
                  <a:ext cx="57" cy="68"/>
                </a:xfrm>
                <a:custGeom>
                  <a:avLst/>
                  <a:gdLst>
                    <a:gd name="T0" fmla="*/ 0 w 228"/>
                    <a:gd name="T1" fmla="*/ 0 h 272"/>
                    <a:gd name="T2" fmla="*/ 0 w 228"/>
                    <a:gd name="T3" fmla="*/ 0 h 272"/>
                    <a:gd name="T4" fmla="*/ 0 w 228"/>
                    <a:gd name="T5" fmla="*/ 0 h 272"/>
                    <a:gd name="T6" fmla="*/ 0 w 228"/>
                    <a:gd name="T7" fmla="*/ 0 h 272"/>
                    <a:gd name="T8" fmla="*/ 0 w 228"/>
                    <a:gd name="T9" fmla="*/ 0 h 272"/>
                    <a:gd name="T10" fmla="*/ 0 w 228"/>
                    <a:gd name="T11" fmla="*/ 0 h 272"/>
                    <a:gd name="T12" fmla="*/ 0 w 228"/>
                    <a:gd name="T13" fmla="*/ 0 h 272"/>
                    <a:gd name="T14" fmla="*/ 0 w 228"/>
                    <a:gd name="T15" fmla="*/ 0 h 272"/>
                    <a:gd name="T16" fmla="*/ 0 w 228"/>
                    <a:gd name="T17" fmla="*/ 0 h 272"/>
                    <a:gd name="T18" fmla="*/ 0 w 228"/>
                    <a:gd name="T19" fmla="*/ 0 h 272"/>
                    <a:gd name="T20" fmla="*/ 0 w 228"/>
                    <a:gd name="T21" fmla="*/ 0 h 272"/>
                    <a:gd name="T22" fmla="*/ 0 w 228"/>
                    <a:gd name="T23" fmla="*/ 0 h 272"/>
                    <a:gd name="T24" fmla="*/ 0 w 228"/>
                    <a:gd name="T25" fmla="*/ 0 h 272"/>
                    <a:gd name="T26" fmla="*/ 0 w 228"/>
                    <a:gd name="T27" fmla="*/ 0 h 272"/>
                    <a:gd name="T28" fmla="*/ 0 w 228"/>
                    <a:gd name="T29" fmla="*/ 0 h 272"/>
                    <a:gd name="T30" fmla="*/ 0 w 228"/>
                    <a:gd name="T31" fmla="*/ 0 h 272"/>
                    <a:gd name="T32" fmla="*/ 0 w 228"/>
                    <a:gd name="T33" fmla="*/ 0 h 272"/>
                    <a:gd name="T34" fmla="*/ 0 w 228"/>
                    <a:gd name="T35" fmla="*/ 0 h 272"/>
                    <a:gd name="T36" fmla="*/ 0 w 228"/>
                    <a:gd name="T37" fmla="*/ 0 h 272"/>
                    <a:gd name="T38" fmla="*/ 0 w 228"/>
                    <a:gd name="T39" fmla="*/ 0 h 272"/>
                    <a:gd name="T40" fmla="*/ 0 w 228"/>
                    <a:gd name="T41" fmla="*/ 0 h 272"/>
                    <a:gd name="T42" fmla="*/ 0 w 228"/>
                    <a:gd name="T43" fmla="*/ 0 h 272"/>
                    <a:gd name="T44" fmla="*/ 0 w 228"/>
                    <a:gd name="T45" fmla="*/ 0 h 272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228"/>
                    <a:gd name="T70" fmla="*/ 0 h 272"/>
                    <a:gd name="T71" fmla="*/ 228 w 228"/>
                    <a:gd name="T72" fmla="*/ 272 h 272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228" h="272">
                      <a:moveTo>
                        <a:pt x="228" y="0"/>
                      </a:moveTo>
                      <a:lnTo>
                        <a:pt x="72" y="65"/>
                      </a:lnTo>
                      <a:lnTo>
                        <a:pt x="31" y="83"/>
                      </a:lnTo>
                      <a:lnTo>
                        <a:pt x="0" y="104"/>
                      </a:lnTo>
                      <a:lnTo>
                        <a:pt x="16" y="117"/>
                      </a:lnTo>
                      <a:lnTo>
                        <a:pt x="34" y="117"/>
                      </a:lnTo>
                      <a:lnTo>
                        <a:pt x="53" y="117"/>
                      </a:lnTo>
                      <a:lnTo>
                        <a:pt x="68" y="127"/>
                      </a:lnTo>
                      <a:lnTo>
                        <a:pt x="75" y="145"/>
                      </a:lnTo>
                      <a:lnTo>
                        <a:pt x="78" y="173"/>
                      </a:lnTo>
                      <a:lnTo>
                        <a:pt x="94" y="196"/>
                      </a:lnTo>
                      <a:lnTo>
                        <a:pt x="113" y="214"/>
                      </a:lnTo>
                      <a:lnTo>
                        <a:pt x="129" y="233"/>
                      </a:lnTo>
                      <a:lnTo>
                        <a:pt x="158" y="272"/>
                      </a:lnTo>
                      <a:lnTo>
                        <a:pt x="154" y="235"/>
                      </a:lnTo>
                      <a:lnTo>
                        <a:pt x="144" y="195"/>
                      </a:lnTo>
                      <a:lnTo>
                        <a:pt x="139" y="172"/>
                      </a:lnTo>
                      <a:lnTo>
                        <a:pt x="139" y="153"/>
                      </a:lnTo>
                      <a:lnTo>
                        <a:pt x="147" y="116"/>
                      </a:lnTo>
                      <a:lnTo>
                        <a:pt x="154" y="93"/>
                      </a:lnTo>
                      <a:lnTo>
                        <a:pt x="166" y="71"/>
                      </a:lnTo>
                      <a:lnTo>
                        <a:pt x="196" y="39"/>
                      </a:lnTo>
                      <a:lnTo>
                        <a:pt x="228" y="0"/>
                      </a:lnTo>
                      <a:close/>
                    </a:path>
                  </a:pathLst>
                </a:custGeom>
                <a:solidFill>
                  <a:srgbClr val="8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23" name="Freeform 244"/>
                <p:cNvSpPr>
                  <a:spLocks/>
                </p:cNvSpPr>
                <p:nvPr/>
              </p:nvSpPr>
              <p:spPr bwMode="auto">
                <a:xfrm>
                  <a:off x="2550" y="2974"/>
                  <a:ext cx="98" cy="29"/>
                </a:xfrm>
                <a:custGeom>
                  <a:avLst/>
                  <a:gdLst>
                    <a:gd name="T0" fmla="*/ 0 w 393"/>
                    <a:gd name="T1" fmla="*/ 0 h 118"/>
                    <a:gd name="T2" fmla="*/ 0 w 393"/>
                    <a:gd name="T3" fmla="*/ 0 h 118"/>
                    <a:gd name="T4" fmla="*/ 0 w 393"/>
                    <a:gd name="T5" fmla="*/ 0 h 118"/>
                    <a:gd name="T6" fmla="*/ 0 w 393"/>
                    <a:gd name="T7" fmla="*/ 0 h 118"/>
                    <a:gd name="T8" fmla="*/ 0 w 393"/>
                    <a:gd name="T9" fmla="*/ 0 h 118"/>
                    <a:gd name="T10" fmla="*/ 0 w 393"/>
                    <a:gd name="T11" fmla="*/ 0 h 118"/>
                    <a:gd name="T12" fmla="*/ 0 w 393"/>
                    <a:gd name="T13" fmla="*/ 0 h 118"/>
                    <a:gd name="T14" fmla="*/ 0 w 393"/>
                    <a:gd name="T15" fmla="*/ 0 h 118"/>
                    <a:gd name="T16" fmla="*/ 0 w 393"/>
                    <a:gd name="T17" fmla="*/ 0 h 118"/>
                    <a:gd name="T18" fmla="*/ 0 w 393"/>
                    <a:gd name="T19" fmla="*/ 0 h 118"/>
                    <a:gd name="T20" fmla="*/ 0 w 393"/>
                    <a:gd name="T21" fmla="*/ 0 h 118"/>
                    <a:gd name="T22" fmla="*/ 0 w 393"/>
                    <a:gd name="T23" fmla="*/ 0 h 118"/>
                    <a:gd name="T24" fmla="*/ 0 w 393"/>
                    <a:gd name="T25" fmla="*/ 0 h 118"/>
                    <a:gd name="T26" fmla="*/ 0 w 393"/>
                    <a:gd name="T27" fmla="*/ 0 h 118"/>
                    <a:gd name="T28" fmla="*/ 0 w 393"/>
                    <a:gd name="T29" fmla="*/ 0 h 118"/>
                    <a:gd name="T30" fmla="*/ 0 w 393"/>
                    <a:gd name="T31" fmla="*/ 0 h 118"/>
                    <a:gd name="T32" fmla="*/ 0 w 393"/>
                    <a:gd name="T33" fmla="*/ 0 h 118"/>
                    <a:gd name="T34" fmla="*/ 0 w 393"/>
                    <a:gd name="T35" fmla="*/ 0 h 118"/>
                    <a:gd name="T36" fmla="*/ 0 w 393"/>
                    <a:gd name="T37" fmla="*/ 0 h 118"/>
                    <a:gd name="T38" fmla="*/ 0 w 393"/>
                    <a:gd name="T39" fmla="*/ 0 h 118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w 393"/>
                    <a:gd name="T61" fmla="*/ 0 h 118"/>
                    <a:gd name="T62" fmla="*/ 393 w 393"/>
                    <a:gd name="T63" fmla="*/ 118 h 118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T60" t="T61" r="T62" b="T63"/>
                  <a:pathLst>
                    <a:path w="393" h="118">
                      <a:moveTo>
                        <a:pt x="393" y="55"/>
                      </a:moveTo>
                      <a:lnTo>
                        <a:pt x="365" y="27"/>
                      </a:lnTo>
                      <a:lnTo>
                        <a:pt x="327" y="11"/>
                      </a:lnTo>
                      <a:lnTo>
                        <a:pt x="297" y="4"/>
                      </a:lnTo>
                      <a:lnTo>
                        <a:pt x="272" y="0"/>
                      </a:lnTo>
                      <a:lnTo>
                        <a:pt x="230" y="3"/>
                      </a:lnTo>
                      <a:lnTo>
                        <a:pt x="208" y="8"/>
                      </a:lnTo>
                      <a:lnTo>
                        <a:pt x="156" y="18"/>
                      </a:lnTo>
                      <a:lnTo>
                        <a:pt x="121" y="29"/>
                      </a:lnTo>
                      <a:lnTo>
                        <a:pt x="74" y="48"/>
                      </a:lnTo>
                      <a:lnTo>
                        <a:pt x="147" y="47"/>
                      </a:lnTo>
                      <a:lnTo>
                        <a:pt x="36" y="91"/>
                      </a:lnTo>
                      <a:lnTo>
                        <a:pt x="17" y="103"/>
                      </a:lnTo>
                      <a:lnTo>
                        <a:pt x="0" y="118"/>
                      </a:lnTo>
                      <a:lnTo>
                        <a:pt x="113" y="81"/>
                      </a:lnTo>
                      <a:lnTo>
                        <a:pt x="183" y="60"/>
                      </a:lnTo>
                      <a:lnTo>
                        <a:pt x="231" y="41"/>
                      </a:lnTo>
                      <a:lnTo>
                        <a:pt x="239" y="41"/>
                      </a:lnTo>
                      <a:lnTo>
                        <a:pt x="283" y="43"/>
                      </a:lnTo>
                      <a:lnTo>
                        <a:pt x="393" y="55"/>
                      </a:lnTo>
                      <a:close/>
                    </a:path>
                  </a:pathLst>
                </a:custGeom>
                <a:solidFill>
                  <a:srgbClr val="800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34829" name="Group 245"/>
                <p:cNvGrpSpPr>
                  <a:grpSpLocks/>
                </p:cNvGrpSpPr>
                <p:nvPr/>
              </p:nvGrpSpPr>
              <p:grpSpPr bwMode="auto">
                <a:xfrm>
                  <a:off x="2522" y="2714"/>
                  <a:ext cx="59" cy="93"/>
                  <a:chOff x="2522" y="2714"/>
                  <a:chExt cx="59" cy="93"/>
                </a:xfrm>
              </p:grpSpPr>
              <p:sp>
                <p:nvSpPr>
                  <p:cNvPr id="38675" name="Freeform 246"/>
                  <p:cNvSpPr>
                    <a:spLocks/>
                  </p:cNvSpPr>
                  <p:nvPr/>
                </p:nvSpPr>
                <p:spPr bwMode="auto">
                  <a:xfrm>
                    <a:off x="2529" y="2714"/>
                    <a:ext cx="52" cy="40"/>
                  </a:xfrm>
                  <a:custGeom>
                    <a:avLst/>
                    <a:gdLst>
                      <a:gd name="T0" fmla="*/ 0 w 208"/>
                      <a:gd name="T1" fmla="*/ 0 h 160"/>
                      <a:gd name="T2" fmla="*/ 0 w 208"/>
                      <a:gd name="T3" fmla="*/ 0 h 160"/>
                      <a:gd name="T4" fmla="*/ 0 w 208"/>
                      <a:gd name="T5" fmla="*/ 0 h 160"/>
                      <a:gd name="T6" fmla="*/ 0 w 208"/>
                      <a:gd name="T7" fmla="*/ 0 h 160"/>
                      <a:gd name="T8" fmla="*/ 0 w 208"/>
                      <a:gd name="T9" fmla="*/ 0 h 160"/>
                      <a:gd name="T10" fmla="*/ 0 w 208"/>
                      <a:gd name="T11" fmla="*/ 0 h 160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208"/>
                      <a:gd name="T19" fmla="*/ 0 h 160"/>
                      <a:gd name="T20" fmla="*/ 208 w 208"/>
                      <a:gd name="T21" fmla="*/ 160 h 160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208" h="160">
                        <a:moveTo>
                          <a:pt x="0" y="160"/>
                        </a:moveTo>
                        <a:lnTo>
                          <a:pt x="98" y="51"/>
                        </a:lnTo>
                        <a:lnTo>
                          <a:pt x="115" y="38"/>
                        </a:lnTo>
                        <a:lnTo>
                          <a:pt x="137" y="29"/>
                        </a:lnTo>
                        <a:lnTo>
                          <a:pt x="208" y="0"/>
                        </a:lnTo>
                        <a:lnTo>
                          <a:pt x="0" y="160"/>
                        </a:lnTo>
                        <a:close/>
                      </a:path>
                    </a:pathLst>
                  </a:custGeom>
                  <a:solidFill>
                    <a:srgbClr val="FFC0C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676" name="Freeform 247"/>
                  <p:cNvSpPr>
                    <a:spLocks/>
                  </p:cNvSpPr>
                  <p:nvPr/>
                </p:nvSpPr>
                <p:spPr bwMode="auto">
                  <a:xfrm>
                    <a:off x="2522" y="2779"/>
                    <a:ext cx="23" cy="28"/>
                  </a:xfrm>
                  <a:custGeom>
                    <a:avLst/>
                    <a:gdLst>
                      <a:gd name="T0" fmla="*/ 0 w 92"/>
                      <a:gd name="T1" fmla="*/ 0 h 112"/>
                      <a:gd name="T2" fmla="*/ 0 w 92"/>
                      <a:gd name="T3" fmla="*/ 0 h 112"/>
                      <a:gd name="T4" fmla="*/ 0 w 92"/>
                      <a:gd name="T5" fmla="*/ 0 h 112"/>
                      <a:gd name="T6" fmla="*/ 0 w 92"/>
                      <a:gd name="T7" fmla="*/ 0 h 112"/>
                      <a:gd name="T8" fmla="*/ 0 w 92"/>
                      <a:gd name="T9" fmla="*/ 0 h 112"/>
                      <a:gd name="T10" fmla="*/ 0 w 92"/>
                      <a:gd name="T11" fmla="*/ 0 h 112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92"/>
                      <a:gd name="T19" fmla="*/ 0 h 112"/>
                      <a:gd name="T20" fmla="*/ 92 w 92"/>
                      <a:gd name="T21" fmla="*/ 112 h 112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92" h="112">
                        <a:moveTo>
                          <a:pt x="0" y="112"/>
                        </a:moveTo>
                        <a:lnTo>
                          <a:pt x="92" y="0"/>
                        </a:lnTo>
                        <a:lnTo>
                          <a:pt x="52" y="75"/>
                        </a:lnTo>
                        <a:lnTo>
                          <a:pt x="41" y="89"/>
                        </a:lnTo>
                        <a:lnTo>
                          <a:pt x="24" y="101"/>
                        </a:lnTo>
                        <a:lnTo>
                          <a:pt x="0" y="112"/>
                        </a:lnTo>
                        <a:close/>
                      </a:path>
                    </a:pathLst>
                  </a:custGeom>
                  <a:solidFill>
                    <a:srgbClr val="FFC0C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sp>
              <p:nvSpPr>
                <p:cNvPr id="38625" name="Freeform 248"/>
                <p:cNvSpPr>
                  <a:spLocks/>
                </p:cNvSpPr>
                <p:nvPr/>
              </p:nvSpPr>
              <p:spPr bwMode="auto">
                <a:xfrm>
                  <a:off x="2487" y="2636"/>
                  <a:ext cx="199" cy="279"/>
                </a:xfrm>
                <a:custGeom>
                  <a:avLst/>
                  <a:gdLst>
                    <a:gd name="T0" fmla="*/ 0 w 797"/>
                    <a:gd name="T1" fmla="*/ 0 h 1115"/>
                    <a:gd name="T2" fmla="*/ 0 w 797"/>
                    <a:gd name="T3" fmla="*/ 0 h 1115"/>
                    <a:gd name="T4" fmla="*/ 0 w 797"/>
                    <a:gd name="T5" fmla="*/ 0 h 1115"/>
                    <a:gd name="T6" fmla="*/ 0 w 797"/>
                    <a:gd name="T7" fmla="*/ 0 h 1115"/>
                    <a:gd name="T8" fmla="*/ 0 w 797"/>
                    <a:gd name="T9" fmla="*/ 0 h 1115"/>
                    <a:gd name="T10" fmla="*/ 0 w 797"/>
                    <a:gd name="T11" fmla="*/ 0 h 1115"/>
                    <a:gd name="T12" fmla="*/ 0 w 797"/>
                    <a:gd name="T13" fmla="*/ 0 h 1115"/>
                    <a:gd name="T14" fmla="*/ 0 w 797"/>
                    <a:gd name="T15" fmla="*/ 0 h 1115"/>
                    <a:gd name="T16" fmla="*/ 0 w 797"/>
                    <a:gd name="T17" fmla="*/ 0 h 1115"/>
                    <a:gd name="T18" fmla="*/ 0 w 797"/>
                    <a:gd name="T19" fmla="*/ 0 h 1115"/>
                    <a:gd name="T20" fmla="*/ 0 w 797"/>
                    <a:gd name="T21" fmla="*/ 0 h 1115"/>
                    <a:gd name="T22" fmla="*/ 0 w 797"/>
                    <a:gd name="T23" fmla="*/ 0 h 1115"/>
                    <a:gd name="T24" fmla="*/ 0 w 797"/>
                    <a:gd name="T25" fmla="*/ 0 h 1115"/>
                    <a:gd name="T26" fmla="*/ 0 w 797"/>
                    <a:gd name="T27" fmla="*/ 0 h 1115"/>
                    <a:gd name="T28" fmla="*/ 0 w 797"/>
                    <a:gd name="T29" fmla="*/ 0 h 1115"/>
                    <a:gd name="T30" fmla="*/ 0 w 797"/>
                    <a:gd name="T31" fmla="*/ 0 h 1115"/>
                    <a:gd name="T32" fmla="*/ 0 w 797"/>
                    <a:gd name="T33" fmla="*/ 0 h 1115"/>
                    <a:gd name="T34" fmla="*/ 0 w 797"/>
                    <a:gd name="T35" fmla="*/ 0 h 1115"/>
                    <a:gd name="T36" fmla="*/ 0 w 797"/>
                    <a:gd name="T37" fmla="*/ 0 h 1115"/>
                    <a:gd name="T38" fmla="*/ 0 w 797"/>
                    <a:gd name="T39" fmla="*/ 0 h 1115"/>
                    <a:gd name="T40" fmla="*/ 0 w 797"/>
                    <a:gd name="T41" fmla="*/ 0 h 1115"/>
                    <a:gd name="T42" fmla="*/ 0 w 797"/>
                    <a:gd name="T43" fmla="*/ 0 h 1115"/>
                    <a:gd name="T44" fmla="*/ 0 w 797"/>
                    <a:gd name="T45" fmla="*/ 0 h 1115"/>
                    <a:gd name="T46" fmla="*/ 0 w 797"/>
                    <a:gd name="T47" fmla="*/ 0 h 1115"/>
                    <a:gd name="T48" fmla="*/ 0 w 797"/>
                    <a:gd name="T49" fmla="*/ 0 h 1115"/>
                    <a:gd name="T50" fmla="*/ 0 w 797"/>
                    <a:gd name="T51" fmla="*/ 0 h 1115"/>
                    <a:gd name="T52" fmla="*/ 0 w 797"/>
                    <a:gd name="T53" fmla="*/ 0 h 1115"/>
                    <a:gd name="T54" fmla="*/ 0 w 797"/>
                    <a:gd name="T55" fmla="*/ 0 h 1115"/>
                    <a:gd name="T56" fmla="*/ 0 w 797"/>
                    <a:gd name="T57" fmla="*/ 0 h 1115"/>
                    <a:gd name="T58" fmla="*/ 0 w 797"/>
                    <a:gd name="T59" fmla="*/ 0 h 1115"/>
                    <a:gd name="T60" fmla="*/ 0 w 797"/>
                    <a:gd name="T61" fmla="*/ 0 h 1115"/>
                    <a:gd name="T62" fmla="*/ 0 w 797"/>
                    <a:gd name="T63" fmla="*/ 0 h 1115"/>
                    <a:gd name="T64" fmla="*/ 0 w 797"/>
                    <a:gd name="T65" fmla="*/ 0 h 1115"/>
                    <a:gd name="T66" fmla="*/ 0 w 797"/>
                    <a:gd name="T67" fmla="*/ 0 h 1115"/>
                    <a:gd name="T68" fmla="*/ 0 w 797"/>
                    <a:gd name="T69" fmla="*/ 0 h 1115"/>
                    <a:gd name="T70" fmla="*/ 0 w 797"/>
                    <a:gd name="T71" fmla="*/ 0 h 1115"/>
                    <a:gd name="T72" fmla="*/ 0 w 797"/>
                    <a:gd name="T73" fmla="*/ 0 h 1115"/>
                    <a:gd name="T74" fmla="*/ 0 w 797"/>
                    <a:gd name="T75" fmla="*/ 0 h 1115"/>
                    <a:gd name="T76" fmla="*/ 0 w 797"/>
                    <a:gd name="T77" fmla="*/ 0 h 1115"/>
                    <a:gd name="T78" fmla="*/ 0 w 797"/>
                    <a:gd name="T79" fmla="*/ 0 h 1115"/>
                    <a:gd name="T80" fmla="*/ 0 w 797"/>
                    <a:gd name="T81" fmla="*/ 0 h 1115"/>
                    <a:gd name="T82" fmla="*/ 0 w 797"/>
                    <a:gd name="T83" fmla="*/ 0 h 1115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797"/>
                    <a:gd name="T127" fmla="*/ 0 h 1115"/>
                    <a:gd name="T128" fmla="*/ 797 w 797"/>
                    <a:gd name="T129" fmla="*/ 1115 h 1115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797" h="1115">
                      <a:moveTo>
                        <a:pt x="714" y="207"/>
                      </a:moveTo>
                      <a:lnTo>
                        <a:pt x="748" y="249"/>
                      </a:lnTo>
                      <a:lnTo>
                        <a:pt x="782" y="369"/>
                      </a:lnTo>
                      <a:lnTo>
                        <a:pt x="790" y="415"/>
                      </a:lnTo>
                      <a:lnTo>
                        <a:pt x="797" y="615"/>
                      </a:lnTo>
                      <a:lnTo>
                        <a:pt x="793" y="726"/>
                      </a:lnTo>
                      <a:lnTo>
                        <a:pt x="778" y="861"/>
                      </a:lnTo>
                      <a:lnTo>
                        <a:pt x="736" y="990"/>
                      </a:lnTo>
                      <a:lnTo>
                        <a:pt x="717" y="1077"/>
                      </a:lnTo>
                      <a:lnTo>
                        <a:pt x="717" y="1115"/>
                      </a:lnTo>
                      <a:lnTo>
                        <a:pt x="630" y="1100"/>
                      </a:lnTo>
                      <a:lnTo>
                        <a:pt x="574" y="1104"/>
                      </a:lnTo>
                      <a:lnTo>
                        <a:pt x="521" y="1100"/>
                      </a:lnTo>
                      <a:lnTo>
                        <a:pt x="393" y="1054"/>
                      </a:lnTo>
                      <a:lnTo>
                        <a:pt x="366" y="1058"/>
                      </a:lnTo>
                      <a:lnTo>
                        <a:pt x="355" y="1024"/>
                      </a:lnTo>
                      <a:lnTo>
                        <a:pt x="301" y="993"/>
                      </a:lnTo>
                      <a:lnTo>
                        <a:pt x="210" y="960"/>
                      </a:lnTo>
                      <a:lnTo>
                        <a:pt x="154" y="915"/>
                      </a:lnTo>
                      <a:lnTo>
                        <a:pt x="86" y="896"/>
                      </a:lnTo>
                      <a:lnTo>
                        <a:pt x="150" y="574"/>
                      </a:lnTo>
                      <a:lnTo>
                        <a:pt x="147" y="463"/>
                      </a:lnTo>
                      <a:lnTo>
                        <a:pt x="93" y="404"/>
                      </a:lnTo>
                      <a:lnTo>
                        <a:pt x="150" y="377"/>
                      </a:lnTo>
                      <a:lnTo>
                        <a:pt x="158" y="362"/>
                      </a:lnTo>
                      <a:lnTo>
                        <a:pt x="162" y="335"/>
                      </a:lnTo>
                      <a:lnTo>
                        <a:pt x="158" y="293"/>
                      </a:lnTo>
                      <a:lnTo>
                        <a:pt x="124" y="268"/>
                      </a:lnTo>
                      <a:lnTo>
                        <a:pt x="63" y="238"/>
                      </a:lnTo>
                      <a:lnTo>
                        <a:pt x="21" y="234"/>
                      </a:lnTo>
                      <a:lnTo>
                        <a:pt x="7" y="238"/>
                      </a:lnTo>
                      <a:lnTo>
                        <a:pt x="0" y="219"/>
                      </a:lnTo>
                      <a:lnTo>
                        <a:pt x="32" y="173"/>
                      </a:lnTo>
                      <a:lnTo>
                        <a:pt x="78" y="169"/>
                      </a:lnTo>
                      <a:lnTo>
                        <a:pt x="120" y="116"/>
                      </a:lnTo>
                      <a:lnTo>
                        <a:pt x="202" y="104"/>
                      </a:lnTo>
                      <a:lnTo>
                        <a:pt x="347" y="66"/>
                      </a:lnTo>
                      <a:lnTo>
                        <a:pt x="396" y="0"/>
                      </a:lnTo>
                      <a:lnTo>
                        <a:pt x="431" y="74"/>
                      </a:lnTo>
                      <a:lnTo>
                        <a:pt x="485" y="104"/>
                      </a:lnTo>
                      <a:lnTo>
                        <a:pt x="701" y="297"/>
                      </a:lnTo>
                      <a:lnTo>
                        <a:pt x="714" y="207"/>
                      </a:lnTo>
                      <a:close/>
                    </a:path>
                  </a:pathLst>
                </a:custGeom>
                <a:solidFill>
                  <a:srgbClr val="5599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26" name="Freeform 249"/>
                <p:cNvSpPr>
                  <a:spLocks/>
                </p:cNvSpPr>
                <p:nvPr/>
              </p:nvSpPr>
              <p:spPr bwMode="auto">
                <a:xfrm>
                  <a:off x="2593" y="2629"/>
                  <a:ext cx="73" cy="92"/>
                </a:xfrm>
                <a:custGeom>
                  <a:avLst/>
                  <a:gdLst>
                    <a:gd name="T0" fmla="*/ 0 w 293"/>
                    <a:gd name="T1" fmla="*/ 0 h 370"/>
                    <a:gd name="T2" fmla="*/ 0 w 293"/>
                    <a:gd name="T3" fmla="*/ 0 h 370"/>
                    <a:gd name="T4" fmla="*/ 0 w 293"/>
                    <a:gd name="T5" fmla="*/ 0 h 370"/>
                    <a:gd name="T6" fmla="*/ 0 w 293"/>
                    <a:gd name="T7" fmla="*/ 0 h 370"/>
                    <a:gd name="T8" fmla="*/ 0 w 293"/>
                    <a:gd name="T9" fmla="*/ 0 h 370"/>
                    <a:gd name="T10" fmla="*/ 0 w 293"/>
                    <a:gd name="T11" fmla="*/ 0 h 370"/>
                    <a:gd name="T12" fmla="*/ 0 w 293"/>
                    <a:gd name="T13" fmla="*/ 0 h 370"/>
                    <a:gd name="T14" fmla="*/ 0 w 293"/>
                    <a:gd name="T15" fmla="*/ 0 h 370"/>
                    <a:gd name="T16" fmla="*/ 0 w 293"/>
                    <a:gd name="T17" fmla="*/ 0 h 370"/>
                    <a:gd name="T18" fmla="*/ 0 w 293"/>
                    <a:gd name="T19" fmla="*/ 0 h 370"/>
                    <a:gd name="T20" fmla="*/ 0 w 293"/>
                    <a:gd name="T21" fmla="*/ 0 h 370"/>
                    <a:gd name="T22" fmla="*/ 0 w 293"/>
                    <a:gd name="T23" fmla="*/ 0 h 370"/>
                    <a:gd name="T24" fmla="*/ 0 w 293"/>
                    <a:gd name="T25" fmla="*/ 0 h 370"/>
                    <a:gd name="T26" fmla="*/ 0 w 293"/>
                    <a:gd name="T27" fmla="*/ 0 h 370"/>
                    <a:gd name="T28" fmla="*/ 0 w 293"/>
                    <a:gd name="T29" fmla="*/ 0 h 370"/>
                    <a:gd name="T30" fmla="*/ 0 w 293"/>
                    <a:gd name="T31" fmla="*/ 0 h 370"/>
                    <a:gd name="T32" fmla="*/ 0 w 293"/>
                    <a:gd name="T33" fmla="*/ 0 h 370"/>
                    <a:gd name="T34" fmla="*/ 0 w 293"/>
                    <a:gd name="T35" fmla="*/ 0 h 370"/>
                    <a:gd name="T36" fmla="*/ 0 w 293"/>
                    <a:gd name="T37" fmla="*/ 0 h 370"/>
                    <a:gd name="T38" fmla="*/ 0 w 293"/>
                    <a:gd name="T39" fmla="*/ 0 h 370"/>
                    <a:gd name="T40" fmla="*/ 0 w 293"/>
                    <a:gd name="T41" fmla="*/ 0 h 370"/>
                    <a:gd name="T42" fmla="*/ 0 w 293"/>
                    <a:gd name="T43" fmla="*/ 0 h 370"/>
                    <a:gd name="T44" fmla="*/ 0 w 293"/>
                    <a:gd name="T45" fmla="*/ 0 h 370"/>
                    <a:gd name="T46" fmla="*/ 0 w 293"/>
                    <a:gd name="T47" fmla="*/ 0 h 370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293"/>
                    <a:gd name="T73" fmla="*/ 0 h 370"/>
                    <a:gd name="T74" fmla="*/ 293 w 293"/>
                    <a:gd name="T75" fmla="*/ 370 h 370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293" h="370">
                      <a:moveTo>
                        <a:pt x="73" y="23"/>
                      </a:moveTo>
                      <a:lnTo>
                        <a:pt x="0" y="94"/>
                      </a:lnTo>
                      <a:lnTo>
                        <a:pt x="57" y="131"/>
                      </a:lnTo>
                      <a:lnTo>
                        <a:pt x="69" y="141"/>
                      </a:lnTo>
                      <a:lnTo>
                        <a:pt x="73" y="153"/>
                      </a:lnTo>
                      <a:lnTo>
                        <a:pt x="78" y="167"/>
                      </a:lnTo>
                      <a:lnTo>
                        <a:pt x="87" y="184"/>
                      </a:lnTo>
                      <a:lnTo>
                        <a:pt x="94" y="200"/>
                      </a:lnTo>
                      <a:lnTo>
                        <a:pt x="104" y="216"/>
                      </a:lnTo>
                      <a:lnTo>
                        <a:pt x="116" y="231"/>
                      </a:lnTo>
                      <a:lnTo>
                        <a:pt x="120" y="238"/>
                      </a:lnTo>
                      <a:lnTo>
                        <a:pt x="127" y="245"/>
                      </a:lnTo>
                      <a:lnTo>
                        <a:pt x="136" y="253"/>
                      </a:lnTo>
                      <a:lnTo>
                        <a:pt x="149" y="260"/>
                      </a:lnTo>
                      <a:lnTo>
                        <a:pt x="165" y="267"/>
                      </a:lnTo>
                      <a:lnTo>
                        <a:pt x="184" y="272"/>
                      </a:lnTo>
                      <a:lnTo>
                        <a:pt x="211" y="278"/>
                      </a:lnTo>
                      <a:lnTo>
                        <a:pt x="238" y="287"/>
                      </a:lnTo>
                      <a:lnTo>
                        <a:pt x="236" y="297"/>
                      </a:lnTo>
                      <a:lnTo>
                        <a:pt x="282" y="370"/>
                      </a:lnTo>
                      <a:lnTo>
                        <a:pt x="281" y="305"/>
                      </a:lnTo>
                      <a:lnTo>
                        <a:pt x="293" y="240"/>
                      </a:lnTo>
                      <a:lnTo>
                        <a:pt x="102" y="0"/>
                      </a:lnTo>
                      <a:lnTo>
                        <a:pt x="73" y="23"/>
                      </a:lnTo>
                      <a:close/>
                    </a:path>
                  </a:pathLst>
                </a:custGeom>
                <a:solidFill>
                  <a:srgbClr val="FFA04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27" name="Freeform 250"/>
                <p:cNvSpPr>
                  <a:spLocks/>
                </p:cNvSpPr>
                <p:nvPr/>
              </p:nvSpPr>
              <p:spPr bwMode="auto">
                <a:xfrm>
                  <a:off x="2605" y="2562"/>
                  <a:ext cx="111" cy="131"/>
                </a:xfrm>
                <a:custGeom>
                  <a:avLst/>
                  <a:gdLst>
                    <a:gd name="T0" fmla="*/ 0 w 448"/>
                    <a:gd name="T1" fmla="*/ 0 h 522"/>
                    <a:gd name="T2" fmla="*/ 0 w 448"/>
                    <a:gd name="T3" fmla="*/ 0 h 522"/>
                    <a:gd name="T4" fmla="*/ 0 w 448"/>
                    <a:gd name="T5" fmla="*/ 0 h 522"/>
                    <a:gd name="T6" fmla="*/ 0 w 448"/>
                    <a:gd name="T7" fmla="*/ 0 h 522"/>
                    <a:gd name="T8" fmla="*/ 0 w 448"/>
                    <a:gd name="T9" fmla="*/ 0 h 522"/>
                    <a:gd name="T10" fmla="*/ 0 w 448"/>
                    <a:gd name="T11" fmla="*/ 0 h 522"/>
                    <a:gd name="T12" fmla="*/ 0 w 448"/>
                    <a:gd name="T13" fmla="*/ 0 h 522"/>
                    <a:gd name="T14" fmla="*/ 0 w 448"/>
                    <a:gd name="T15" fmla="*/ 0 h 522"/>
                    <a:gd name="T16" fmla="*/ 0 w 448"/>
                    <a:gd name="T17" fmla="*/ 0 h 522"/>
                    <a:gd name="T18" fmla="*/ 0 w 448"/>
                    <a:gd name="T19" fmla="*/ 0 h 522"/>
                    <a:gd name="T20" fmla="*/ 0 w 448"/>
                    <a:gd name="T21" fmla="*/ 0 h 522"/>
                    <a:gd name="T22" fmla="*/ 0 w 448"/>
                    <a:gd name="T23" fmla="*/ 0 h 522"/>
                    <a:gd name="T24" fmla="*/ 0 w 448"/>
                    <a:gd name="T25" fmla="*/ 0 h 522"/>
                    <a:gd name="T26" fmla="*/ 0 w 448"/>
                    <a:gd name="T27" fmla="*/ 0 h 522"/>
                    <a:gd name="T28" fmla="*/ 0 w 448"/>
                    <a:gd name="T29" fmla="*/ 0 h 522"/>
                    <a:gd name="T30" fmla="*/ 0 w 448"/>
                    <a:gd name="T31" fmla="*/ 0 h 522"/>
                    <a:gd name="T32" fmla="*/ 0 w 448"/>
                    <a:gd name="T33" fmla="*/ 0 h 522"/>
                    <a:gd name="T34" fmla="*/ 0 w 448"/>
                    <a:gd name="T35" fmla="*/ 0 h 522"/>
                    <a:gd name="T36" fmla="*/ 0 w 448"/>
                    <a:gd name="T37" fmla="*/ 0 h 522"/>
                    <a:gd name="T38" fmla="*/ 0 w 448"/>
                    <a:gd name="T39" fmla="*/ 0 h 522"/>
                    <a:gd name="T40" fmla="*/ 0 w 448"/>
                    <a:gd name="T41" fmla="*/ 0 h 522"/>
                    <a:gd name="T42" fmla="*/ 0 w 448"/>
                    <a:gd name="T43" fmla="*/ 0 h 522"/>
                    <a:gd name="T44" fmla="*/ 0 w 448"/>
                    <a:gd name="T45" fmla="*/ 0 h 522"/>
                    <a:gd name="T46" fmla="*/ 0 w 448"/>
                    <a:gd name="T47" fmla="*/ 0 h 522"/>
                    <a:gd name="T48" fmla="*/ 0 w 448"/>
                    <a:gd name="T49" fmla="*/ 0 h 522"/>
                    <a:gd name="T50" fmla="*/ 0 w 448"/>
                    <a:gd name="T51" fmla="*/ 0 h 522"/>
                    <a:gd name="T52" fmla="*/ 0 w 448"/>
                    <a:gd name="T53" fmla="*/ 0 h 522"/>
                    <a:gd name="T54" fmla="*/ 0 w 448"/>
                    <a:gd name="T55" fmla="*/ 0 h 522"/>
                    <a:gd name="T56" fmla="*/ 0 w 448"/>
                    <a:gd name="T57" fmla="*/ 0 h 522"/>
                    <a:gd name="T58" fmla="*/ 0 w 448"/>
                    <a:gd name="T59" fmla="*/ 0 h 522"/>
                    <a:gd name="T60" fmla="*/ 0 w 448"/>
                    <a:gd name="T61" fmla="*/ 0 h 522"/>
                    <a:gd name="T62" fmla="*/ 0 w 448"/>
                    <a:gd name="T63" fmla="*/ 0 h 522"/>
                    <a:gd name="T64" fmla="*/ 0 w 448"/>
                    <a:gd name="T65" fmla="*/ 0 h 522"/>
                    <a:gd name="T66" fmla="*/ 0 w 448"/>
                    <a:gd name="T67" fmla="*/ 0 h 522"/>
                    <a:gd name="T68" fmla="*/ 0 w 448"/>
                    <a:gd name="T69" fmla="*/ 0 h 522"/>
                    <a:gd name="T70" fmla="*/ 0 w 448"/>
                    <a:gd name="T71" fmla="*/ 0 h 522"/>
                    <a:gd name="T72" fmla="*/ 0 w 448"/>
                    <a:gd name="T73" fmla="*/ 0 h 522"/>
                    <a:gd name="T74" fmla="*/ 0 w 448"/>
                    <a:gd name="T75" fmla="*/ 0 h 522"/>
                    <a:gd name="T76" fmla="*/ 0 w 448"/>
                    <a:gd name="T77" fmla="*/ 0 h 522"/>
                    <a:gd name="T78" fmla="*/ 0 w 448"/>
                    <a:gd name="T79" fmla="*/ 0 h 522"/>
                    <a:gd name="T80" fmla="*/ 0 w 448"/>
                    <a:gd name="T81" fmla="*/ 0 h 522"/>
                    <a:gd name="T82" fmla="*/ 0 w 448"/>
                    <a:gd name="T83" fmla="*/ 0 h 522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448"/>
                    <a:gd name="T127" fmla="*/ 0 h 522"/>
                    <a:gd name="T128" fmla="*/ 448 w 448"/>
                    <a:gd name="T129" fmla="*/ 522 h 522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448" h="522">
                      <a:moveTo>
                        <a:pt x="448" y="143"/>
                      </a:moveTo>
                      <a:lnTo>
                        <a:pt x="448" y="180"/>
                      </a:lnTo>
                      <a:lnTo>
                        <a:pt x="440" y="210"/>
                      </a:lnTo>
                      <a:lnTo>
                        <a:pt x="433" y="229"/>
                      </a:lnTo>
                      <a:lnTo>
                        <a:pt x="419" y="250"/>
                      </a:lnTo>
                      <a:lnTo>
                        <a:pt x="382" y="298"/>
                      </a:lnTo>
                      <a:lnTo>
                        <a:pt x="373" y="309"/>
                      </a:lnTo>
                      <a:lnTo>
                        <a:pt x="374" y="319"/>
                      </a:lnTo>
                      <a:lnTo>
                        <a:pt x="373" y="335"/>
                      </a:lnTo>
                      <a:lnTo>
                        <a:pt x="367" y="351"/>
                      </a:lnTo>
                      <a:lnTo>
                        <a:pt x="355" y="366"/>
                      </a:lnTo>
                      <a:lnTo>
                        <a:pt x="339" y="387"/>
                      </a:lnTo>
                      <a:lnTo>
                        <a:pt x="325" y="401"/>
                      </a:lnTo>
                      <a:lnTo>
                        <a:pt x="317" y="418"/>
                      </a:lnTo>
                      <a:lnTo>
                        <a:pt x="315" y="427"/>
                      </a:lnTo>
                      <a:lnTo>
                        <a:pt x="308" y="436"/>
                      </a:lnTo>
                      <a:lnTo>
                        <a:pt x="300" y="444"/>
                      </a:lnTo>
                      <a:lnTo>
                        <a:pt x="288" y="450"/>
                      </a:lnTo>
                      <a:lnTo>
                        <a:pt x="256" y="500"/>
                      </a:lnTo>
                      <a:lnTo>
                        <a:pt x="246" y="519"/>
                      </a:lnTo>
                      <a:lnTo>
                        <a:pt x="240" y="521"/>
                      </a:lnTo>
                      <a:lnTo>
                        <a:pt x="231" y="522"/>
                      </a:lnTo>
                      <a:lnTo>
                        <a:pt x="218" y="522"/>
                      </a:lnTo>
                      <a:lnTo>
                        <a:pt x="204" y="521"/>
                      </a:lnTo>
                      <a:lnTo>
                        <a:pt x="194" y="517"/>
                      </a:lnTo>
                      <a:lnTo>
                        <a:pt x="184" y="507"/>
                      </a:lnTo>
                      <a:lnTo>
                        <a:pt x="139" y="467"/>
                      </a:lnTo>
                      <a:lnTo>
                        <a:pt x="126" y="455"/>
                      </a:lnTo>
                      <a:lnTo>
                        <a:pt x="113" y="444"/>
                      </a:lnTo>
                      <a:lnTo>
                        <a:pt x="87" y="413"/>
                      </a:lnTo>
                      <a:lnTo>
                        <a:pt x="76" y="396"/>
                      </a:lnTo>
                      <a:lnTo>
                        <a:pt x="71" y="383"/>
                      </a:lnTo>
                      <a:lnTo>
                        <a:pt x="69" y="371"/>
                      </a:lnTo>
                      <a:lnTo>
                        <a:pt x="68" y="349"/>
                      </a:lnTo>
                      <a:lnTo>
                        <a:pt x="68" y="331"/>
                      </a:lnTo>
                      <a:lnTo>
                        <a:pt x="70" y="312"/>
                      </a:lnTo>
                      <a:lnTo>
                        <a:pt x="71" y="295"/>
                      </a:lnTo>
                      <a:lnTo>
                        <a:pt x="46" y="283"/>
                      </a:lnTo>
                      <a:lnTo>
                        <a:pt x="0" y="207"/>
                      </a:lnTo>
                      <a:lnTo>
                        <a:pt x="76" y="38"/>
                      </a:lnTo>
                      <a:lnTo>
                        <a:pt x="265" y="0"/>
                      </a:lnTo>
                      <a:lnTo>
                        <a:pt x="448" y="143"/>
                      </a:lnTo>
                      <a:close/>
                    </a:path>
                  </a:pathLst>
                </a:custGeom>
                <a:solidFill>
                  <a:srgbClr val="FFCA9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28" name="Freeform 251"/>
                <p:cNvSpPr>
                  <a:spLocks/>
                </p:cNvSpPr>
                <p:nvPr/>
              </p:nvSpPr>
              <p:spPr bwMode="auto">
                <a:xfrm>
                  <a:off x="2584" y="2535"/>
                  <a:ext cx="146" cy="100"/>
                </a:xfrm>
                <a:custGeom>
                  <a:avLst/>
                  <a:gdLst>
                    <a:gd name="T0" fmla="*/ 0 w 582"/>
                    <a:gd name="T1" fmla="*/ 0 h 400"/>
                    <a:gd name="T2" fmla="*/ 0 w 582"/>
                    <a:gd name="T3" fmla="*/ 0 h 400"/>
                    <a:gd name="T4" fmla="*/ 0 w 582"/>
                    <a:gd name="T5" fmla="*/ 0 h 400"/>
                    <a:gd name="T6" fmla="*/ 0 w 582"/>
                    <a:gd name="T7" fmla="*/ 0 h 400"/>
                    <a:gd name="T8" fmla="*/ 0 w 582"/>
                    <a:gd name="T9" fmla="*/ 0 h 400"/>
                    <a:gd name="T10" fmla="*/ 0 w 582"/>
                    <a:gd name="T11" fmla="*/ 0 h 400"/>
                    <a:gd name="T12" fmla="*/ 0 w 582"/>
                    <a:gd name="T13" fmla="*/ 0 h 400"/>
                    <a:gd name="T14" fmla="*/ 0 w 582"/>
                    <a:gd name="T15" fmla="*/ 0 h 400"/>
                    <a:gd name="T16" fmla="*/ 0 w 582"/>
                    <a:gd name="T17" fmla="*/ 0 h 400"/>
                    <a:gd name="T18" fmla="*/ 0 w 582"/>
                    <a:gd name="T19" fmla="*/ 0 h 400"/>
                    <a:gd name="T20" fmla="*/ 0 w 582"/>
                    <a:gd name="T21" fmla="*/ 0 h 400"/>
                    <a:gd name="T22" fmla="*/ 0 w 582"/>
                    <a:gd name="T23" fmla="*/ 0 h 400"/>
                    <a:gd name="T24" fmla="*/ 0 w 582"/>
                    <a:gd name="T25" fmla="*/ 0 h 400"/>
                    <a:gd name="T26" fmla="*/ 0 w 582"/>
                    <a:gd name="T27" fmla="*/ 0 h 400"/>
                    <a:gd name="T28" fmla="*/ 0 w 582"/>
                    <a:gd name="T29" fmla="*/ 0 h 400"/>
                    <a:gd name="T30" fmla="*/ 0 w 582"/>
                    <a:gd name="T31" fmla="*/ 0 h 400"/>
                    <a:gd name="T32" fmla="*/ 0 w 582"/>
                    <a:gd name="T33" fmla="*/ 0 h 400"/>
                    <a:gd name="T34" fmla="*/ 0 w 582"/>
                    <a:gd name="T35" fmla="*/ 0 h 400"/>
                    <a:gd name="T36" fmla="*/ 0 w 582"/>
                    <a:gd name="T37" fmla="*/ 0 h 400"/>
                    <a:gd name="T38" fmla="*/ 0 w 582"/>
                    <a:gd name="T39" fmla="*/ 0 h 400"/>
                    <a:gd name="T40" fmla="*/ 0 w 582"/>
                    <a:gd name="T41" fmla="*/ 0 h 400"/>
                    <a:gd name="T42" fmla="*/ 0 w 582"/>
                    <a:gd name="T43" fmla="*/ 0 h 400"/>
                    <a:gd name="T44" fmla="*/ 0 w 582"/>
                    <a:gd name="T45" fmla="*/ 0 h 400"/>
                    <a:gd name="T46" fmla="*/ 0 w 582"/>
                    <a:gd name="T47" fmla="*/ 0 h 400"/>
                    <a:gd name="T48" fmla="*/ 0 w 582"/>
                    <a:gd name="T49" fmla="*/ 0 h 400"/>
                    <a:gd name="T50" fmla="*/ 0 w 582"/>
                    <a:gd name="T51" fmla="*/ 0 h 400"/>
                    <a:gd name="T52" fmla="*/ 0 w 582"/>
                    <a:gd name="T53" fmla="*/ 0 h 400"/>
                    <a:gd name="T54" fmla="*/ 0 w 582"/>
                    <a:gd name="T55" fmla="*/ 0 h 400"/>
                    <a:gd name="T56" fmla="*/ 0 w 582"/>
                    <a:gd name="T57" fmla="*/ 0 h 400"/>
                    <a:gd name="T58" fmla="*/ 0 w 582"/>
                    <a:gd name="T59" fmla="*/ 0 h 400"/>
                    <a:gd name="T60" fmla="*/ 0 w 582"/>
                    <a:gd name="T61" fmla="*/ 0 h 400"/>
                    <a:gd name="T62" fmla="*/ 0 w 582"/>
                    <a:gd name="T63" fmla="*/ 0 h 400"/>
                    <a:gd name="T64" fmla="*/ 0 w 582"/>
                    <a:gd name="T65" fmla="*/ 0 h 400"/>
                    <a:gd name="T66" fmla="*/ 0 w 582"/>
                    <a:gd name="T67" fmla="*/ 0 h 400"/>
                    <a:gd name="T68" fmla="*/ 0 w 582"/>
                    <a:gd name="T69" fmla="*/ 0 h 400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w 582"/>
                    <a:gd name="T106" fmla="*/ 0 h 400"/>
                    <a:gd name="T107" fmla="*/ 582 w 582"/>
                    <a:gd name="T108" fmla="*/ 400 h 400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T105" t="T106" r="T107" b="T108"/>
                  <a:pathLst>
                    <a:path w="582" h="400">
                      <a:moveTo>
                        <a:pt x="582" y="227"/>
                      </a:moveTo>
                      <a:lnTo>
                        <a:pt x="567" y="205"/>
                      </a:lnTo>
                      <a:lnTo>
                        <a:pt x="559" y="190"/>
                      </a:lnTo>
                      <a:lnTo>
                        <a:pt x="537" y="144"/>
                      </a:lnTo>
                      <a:lnTo>
                        <a:pt x="518" y="114"/>
                      </a:lnTo>
                      <a:lnTo>
                        <a:pt x="495" y="93"/>
                      </a:lnTo>
                      <a:lnTo>
                        <a:pt x="472" y="76"/>
                      </a:lnTo>
                      <a:lnTo>
                        <a:pt x="438" y="58"/>
                      </a:lnTo>
                      <a:lnTo>
                        <a:pt x="406" y="31"/>
                      </a:lnTo>
                      <a:lnTo>
                        <a:pt x="387" y="20"/>
                      </a:lnTo>
                      <a:lnTo>
                        <a:pt x="364" y="11"/>
                      </a:lnTo>
                      <a:lnTo>
                        <a:pt x="336" y="2"/>
                      </a:lnTo>
                      <a:lnTo>
                        <a:pt x="313" y="0"/>
                      </a:lnTo>
                      <a:lnTo>
                        <a:pt x="296" y="1"/>
                      </a:lnTo>
                      <a:lnTo>
                        <a:pt x="280" y="5"/>
                      </a:lnTo>
                      <a:lnTo>
                        <a:pt x="265" y="11"/>
                      </a:lnTo>
                      <a:lnTo>
                        <a:pt x="242" y="24"/>
                      </a:lnTo>
                      <a:lnTo>
                        <a:pt x="232" y="26"/>
                      </a:lnTo>
                      <a:lnTo>
                        <a:pt x="225" y="33"/>
                      </a:lnTo>
                      <a:lnTo>
                        <a:pt x="220" y="44"/>
                      </a:lnTo>
                      <a:lnTo>
                        <a:pt x="193" y="25"/>
                      </a:lnTo>
                      <a:lnTo>
                        <a:pt x="170" y="38"/>
                      </a:lnTo>
                      <a:lnTo>
                        <a:pt x="162" y="52"/>
                      </a:lnTo>
                      <a:lnTo>
                        <a:pt x="160" y="58"/>
                      </a:lnTo>
                      <a:lnTo>
                        <a:pt x="155" y="67"/>
                      </a:lnTo>
                      <a:lnTo>
                        <a:pt x="146" y="85"/>
                      </a:lnTo>
                      <a:lnTo>
                        <a:pt x="99" y="105"/>
                      </a:lnTo>
                      <a:lnTo>
                        <a:pt x="64" y="102"/>
                      </a:lnTo>
                      <a:lnTo>
                        <a:pt x="99" y="121"/>
                      </a:lnTo>
                      <a:lnTo>
                        <a:pt x="105" y="137"/>
                      </a:lnTo>
                      <a:lnTo>
                        <a:pt x="99" y="144"/>
                      </a:lnTo>
                      <a:lnTo>
                        <a:pt x="51" y="156"/>
                      </a:lnTo>
                      <a:lnTo>
                        <a:pt x="27" y="154"/>
                      </a:lnTo>
                      <a:lnTo>
                        <a:pt x="64" y="177"/>
                      </a:lnTo>
                      <a:lnTo>
                        <a:pt x="51" y="192"/>
                      </a:lnTo>
                      <a:lnTo>
                        <a:pt x="0" y="202"/>
                      </a:lnTo>
                      <a:lnTo>
                        <a:pt x="15" y="219"/>
                      </a:lnTo>
                      <a:lnTo>
                        <a:pt x="65" y="223"/>
                      </a:lnTo>
                      <a:lnTo>
                        <a:pt x="71" y="230"/>
                      </a:lnTo>
                      <a:lnTo>
                        <a:pt x="43" y="252"/>
                      </a:lnTo>
                      <a:lnTo>
                        <a:pt x="38" y="270"/>
                      </a:lnTo>
                      <a:lnTo>
                        <a:pt x="79" y="284"/>
                      </a:lnTo>
                      <a:lnTo>
                        <a:pt x="64" y="305"/>
                      </a:lnTo>
                      <a:lnTo>
                        <a:pt x="64" y="315"/>
                      </a:lnTo>
                      <a:lnTo>
                        <a:pt x="67" y="324"/>
                      </a:lnTo>
                      <a:lnTo>
                        <a:pt x="103" y="396"/>
                      </a:lnTo>
                      <a:lnTo>
                        <a:pt x="128" y="400"/>
                      </a:lnTo>
                      <a:lnTo>
                        <a:pt x="135" y="391"/>
                      </a:lnTo>
                      <a:lnTo>
                        <a:pt x="129" y="381"/>
                      </a:lnTo>
                      <a:lnTo>
                        <a:pt x="109" y="312"/>
                      </a:lnTo>
                      <a:lnTo>
                        <a:pt x="124" y="276"/>
                      </a:lnTo>
                      <a:lnTo>
                        <a:pt x="179" y="287"/>
                      </a:lnTo>
                      <a:lnTo>
                        <a:pt x="192" y="280"/>
                      </a:lnTo>
                      <a:lnTo>
                        <a:pt x="197" y="296"/>
                      </a:lnTo>
                      <a:lnTo>
                        <a:pt x="195" y="305"/>
                      </a:lnTo>
                      <a:lnTo>
                        <a:pt x="189" y="317"/>
                      </a:lnTo>
                      <a:lnTo>
                        <a:pt x="198" y="318"/>
                      </a:lnTo>
                      <a:lnTo>
                        <a:pt x="203" y="301"/>
                      </a:lnTo>
                      <a:lnTo>
                        <a:pt x="204" y="287"/>
                      </a:lnTo>
                      <a:lnTo>
                        <a:pt x="246" y="246"/>
                      </a:lnTo>
                      <a:lnTo>
                        <a:pt x="277" y="197"/>
                      </a:lnTo>
                      <a:lnTo>
                        <a:pt x="311" y="194"/>
                      </a:lnTo>
                      <a:lnTo>
                        <a:pt x="306" y="138"/>
                      </a:lnTo>
                      <a:lnTo>
                        <a:pt x="357" y="182"/>
                      </a:lnTo>
                      <a:lnTo>
                        <a:pt x="416" y="202"/>
                      </a:lnTo>
                      <a:lnTo>
                        <a:pt x="468" y="246"/>
                      </a:lnTo>
                      <a:lnTo>
                        <a:pt x="505" y="254"/>
                      </a:lnTo>
                      <a:lnTo>
                        <a:pt x="525" y="260"/>
                      </a:lnTo>
                      <a:lnTo>
                        <a:pt x="556" y="261"/>
                      </a:lnTo>
                      <a:lnTo>
                        <a:pt x="582" y="227"/>
                      </a:lnTo>
                      <a:close/>
                    </a:path>
                  </a:pathLst>
                </a:custGeom>
                <a:solidFill>
                  <a:srgbClr val="603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29" name="Freeform 252"/>
                <p:cNvSpPr>
                  <a:spLocks/>
                </p:cNvSpPr>
                <p:nvPr/>
              </p:nvSpPr>
              <p:spPr bwMode="auto">
                <a:xfrm>
                  <a:off x="2606" y="2597"/>
                  <a:ext cx="34" cy="10"/>
                </a:xfrm>
                <a:custGeom>
                  <a:avLst/>
                  <a:gdLst>
                    <a:gd name="T0" fmla="*/ 0 w 138"/>
                    <a:gd name="T1" fmla="*/ 0 h 38"/>
                    <a:gd name="T2" fmla="*/ 0 w 138"/>
                    <a:gd name="T3" fmla="*/ 0 h 38"/>
                    <a:gd name="T4" fmla="*/ 0 w 138"/>
                    <a:gd name="T5" fmla="*/ 0 h 38"/>
                    <a:gd name="T6" fmla="*/ 0 w 138"/>
                    <a:gd name="T7" fmla="*/ 0 h 38"/>
                    <a:gd name="T8" fmla="*/ 0 w 138"/>
                    <a:gd name="T9" fmla="*/ 0 h 38"/>
                    <a:gd name="T10" fmla="*/ 0 w 138"/>
                    <a:gd name="T11" fmla="*/ 0 h 38"/>
                    <a:gd name="T12" fmla="*/ 0 w 138"/>
                    <a:gd name="T13" fmla="*/ 0 h 38"/>
                    <a:gd name="T14" fmla="*/ 0 w 138"/>
                    <a:gd name="T15" fmla="*/ 0 h 38"/>
                    <a:gd name="T16" fmla="*/ 0 w 138"/>
                    <a:gd name="T17" fmla="*/ 0 h 38"/>
                    <a:gd name="T18" fmla="*/ 0 w 138"/>
                    <a:gd name="T19" fmla="*/ 0 h 38"/>
                    <a:gd name="T20" fmla="*/ 0 w 138"/>
                    <a:gd name="T21" fmla="*/ 0 h 38"/>
                    <a:gd name="T22" fmla="*/ 0 w 138"/>
                    <a:gd name="T23" fmla="*/ 0 h 38"/>
                    <a:gd name="T24" fmla="*/ 0 w 138"/>
                    <a:gd name="T25" fmla="*/ 0 h 38"/>
                    <a:gd name="T26" fmla="*/ 0 w 138"/>
                    <a:gd name="T27" fmla="*/ 0 h 38"/>
                    <a:gd name="T28" fmla="*/ 0 w 138"/>
                    <a:gd name="T29" fmla="*/ 0 h 38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138"/>
                    <a:gd name="T46" fmla="*/ 0 h 38"/>
                    <a:gd name="T47" fmla="*/ 138 w 138"/>
                    <a:gd name="T48" fmla="*/ 38 h 38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138" h="38">
                      <a:moveTo>
                        <a:pt x="123" y="0"/>
                      </a:moveTo>
                      <a:lnTo>
                        <a:pt x="138" y="7"/>
                      </a:lnTo>
                      <a:lnTo>
                        <a:pt x="123" y="17"/>
                      </a:lnTo>
                      <a:lnTo>
                        <a:pt x="108" y="28"/>
                      </a:lnTo>
                      <a:lnTo>
                        <a:pt x="99" y="34"/>
                      </a:lnTo>
                      <a:lnTo>
                        <a:pt x="89" y="38"/>
                      </a:lnTo>
                      <a:lnTo>
                        <a:pt x="76" y="34"/>
                      </a:lnTo>
                      <a:lnTo>
                        <a:pt x="65" y="30"/>
                      </a:lnTo>
                      <a:lnTo>
                        <a:pt x="48" y="30"/>
                      </a:lnTo>
                      <a:lnTo>
                        <a:pt x="34" y="29"/>
                      </a:lnTo>
                      <a:lnTo>
                        <a:pt x="0" y="19"/>
                      </a:lnTo>
                      <a:lnTo>
                        <a:pt x="28" y="16"/>
                      </a:lnTo>
                      <a:lnTo>
                        <a:pt x="60" y="11"/>
                      </a:lnTo>
                      <a:lnTo>
                        <a:pt x="83" y="10"/>
                      </a:lnTo>
                      <a:lnTo>
                        <a:pt x="123" y="0"/>
                      </a:lnTo>
                      <a:close/>
                    </a:path>
                  </a:pathLst>
                </a:custGeom>
                <a:solidFill>
                  <a:srgbClr val="804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30" name="Freeform 253"/>
                <p:cNvSpPr>
                  <a:spLocks/>
                </p:cNvSpPr>
                <p:nvPr/>
              </p:nvSpPr>
              <p:spPr bwMode="auto">
                <a:xfrm>
                  <a:off x="2597" y="2588"/>
                  <a:ext cx="47" cy="12"/>
                </a:xfrm>
                <a:custGeom>
                  <a:avLst/>
                  <a:gdLst>
                    <a:gd name="T0" fmla="*/ 0 w 187"/>
                    <a:gd name="T1" fmla="*/ 0 h 50"/>
                    <a:gd name="T2" fmla="*/ 0 w 187"/>
                    <a:gd name="T3" fmla="*/ 0 h 50"/>
                    <a:gd name="T4" fmla="*/ 0 w 187"/>
                    <a:gd name="T5" fmla="*/ 0 h 50"/>
                    <a:gd name="T6" fmla="*/ 0 w 187"/>
                    <a:gd name="T7" fmla="*/ 0 h 50"/>
                    <a:gd name="T8" fmla="*/ 0 w 187"/>
                    <a:gd name="T9" fmla="*/ 0 h 50"/>
                    <a:gd name="T10" fmla="*/ 0 w 187"/>
                    <a:gd name="T11" fmla="*/ 0 h 50"/>
                    <a:gd name="T12" fmla="*/ 0 w 187"/>
                    <a:gd name="T13" fmla="*/ 0 h 50"/>
                    <a:gd name="T14" fmla="*/ 0 w 187"/>
                    <a:gd name="T15" fmla="*/ 0 h 50"/>
                    <a:gd name="T16" fmla="*/ 0 w 187"/>
                    <a:gd name="T17" fmla="*/ 0 h 50"/>
                    <a:gd name="T18" fmla="*/ 0 w 187"/>
                    <a:gd name="T19" fmla="*/ 0 h 50"/>
                    <a:gd name="T20" fmla="*/ 0 w 187"/>
                    <a:gd name="T21" fmla="*/ 0 h 50"/>
                    <a:gd name="T22" fmla="*/ 0 w 187"/>
                    <a:gd name="T23" fmla="*/ 0 h 50"/>
                    <a:gd name="T24" fmla="*/ 0 w 187"/>
                    <a:gd name="T25" fmla="*/ 0 h 50"/>
                    <a:gd name="T26" fmla="*/ 0 w 187"/>
                    <a:gd name="T27" fmla="*/ 0 h 50"/>
                    <a:gd name="T28" fmla="*/ 0 w 187"/>
                    <a:gd name="T29" fmla="*/ 0 h 50"/>
                    <a:gd name="T30" fmla="*/ 0 w 187"/>
                    <a:gd name="T31" fmla="*/ 0 h 50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87"/>
                    <a:gd name="T49" fmla="*/ 0 h 50"/>
                    <a:gd name="T50" fmla="*/ 187 w 187"/>
                    <a:gd name="T51" fmla="*/ 50 h 50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87" h="50">
                      <a:moveTo>
                        <a:pt x="187" y="17"/>
                      </a:moveTo>
                      <a:lnTo>
                        <a:pt x="176" y="27"/>
                      </a:lnTo>
                      <a:lnTo>
                        <a:pt x="162" y="37"/>
                      </a:lnTo>
                      <a:lnTo>
                        <a:pt x="152" y="42"/>
                      </a:lnTo>
                      <a:lnTo>
                        <a:pt x="140" y="47"/>
                      </a:lnTo>
                      <a:lnTo>
                        <a:pt x="127" y="50"/>
                      </a:lnTo>
                      <a:lnTo>
                        <a:pt x="114" y="50"/>
                      </a:lnTo>
                      <a:lnTo>
                        <a:pt x="104" y="47"/>
                      </a:lnTo>
                      <a:lnTo>
                        <a:pt x="90" y="45"/>
                      </a:lnTo>
                      <a:lnTo>
                        <a:pt x="72" y="38"/>
                      </a:lnTo>
                      <a:lnTo>
                        <a:pt x="39" y="28"/>
                      </a:lnTo>
                      <a:lnTo>
                        <a:pt x="0" y="13"/>
                      </a:lnTo>
                      <a:lnTo>
                        <a:pt x="145" y="0"/>
                      </a:lnTo>
                      <a:lnTo>
                        <a:pt x="164" y="3"/>
                      </a:lnTo>
                      <a:lnTo>
                        <a:pt x="174" y="7"/>
                      </a:lnTo>
                      <a:lnTo>
                        <a:pt x="187" y="17"/>
                      </a:lnTo>
                      <a:close/>
                    </a:path>
                  </a:pathLst>
                </a:custGeom>
                <a:solidFill>
                  <a:srgbClr val="A05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31" name="Freeform 254"/>
                <p:cNvSpPr>
                  <a:spLocks/>
                </p:cNvSpPr>
                <p:nvPr/>
              </p:nvSpPr>
              <p:spPr bwMode="auto">
                <a:xfrm>
                  <a:off x="2606" y="2567"/>
                  <a:ext cx="47" cy="16"/>
                </a:xfrm>
                <a:custGeom>
                  <a:avLst/>
                  <a:gdLst>
                    <a:gd name="T0" fmla="*/ 0 w 186"/>
                    <a:gd name="T1" fmla="*/ 0 h 63"/>
                    <a:gd name="T2" fmla="*/ 0 w 186"/>
                    <a:gd name="T3" fmla="*/ 0 h 63"/>
                    <a:gd name="T4" fmla="*/ 0 w 186"/>
                    <a:gd name="T5" fmla="*/ 0 h 63"/>
                    <a:gd name="T6" fmla="*/ 0 w 186"/>
                    <a:gd name="T7" fmla="*/ 0 h 63"/>
                    <a:gd name="T8" fmla="*/ 0 w 186"/>
                    <a:gd name="T9" fmla="*/ 0 h 63"/>
                    <a:gd name="T10" fmla="*/ 0 w 186"/>
                    <a:gd name="T11" fmla="*/ 0 h 63"/>
                    <a:gd name="T12" fmla="*/ 0 w 186"/>
                    <a:gd name="T13" fmla="*/ 0 h 63"/>
                    <a:gd name="T14" fmla="*/ 0 w 186"/>
                    <a:gd name="T15" fmla="*/ 0 h 63"/>
                    <a:gd name="T16" fmla="*/ 0 w 186"/>
                    <a:gd name="T17" fmla="*/ 0 h 63"/>
                    <a:gd name="T18" fmla="*/ 0 w 186"/>
                    <a:gd name="T19" fmla="*/ 0 h 63"/>
                    <a:gd name="T20" fmla="*/ 0 w 186"/>
                    <a:gd name="T21" fmla="*/ 0 h 63"/>
                    <a:gd name="T22" fmla="*/ 0 w 186"/>
                    <a:gd name="T23" fmla="*/ 0 h 63"/>
                    <a:gd name="T24" fmla="*/ 0 w 186"/>
                    <a:gd name="T25" fmla="*/ 0 h 63"/>
                    <a:gd name="T26" fmla="*/ 0 w 186"/>
                    <a:gd name="T27" fmla="*/ 0 h 63"/>
                    <a:gd name="T28" fmla="*/ 0 w 186"/>
                    <a:gd name="T29" fmla="*/ 0 h 63"/>
                    <a:gd name="T30" fmla="*/ 0 w 186"/>
                    <a:gd name="T31" fmla="*/ 0 h 63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86"/>
                    <a:gd name="T49" fmla="*/ 0 h 63"/>
                    <a:gd name="T50" fmla="*/ 186 w 186"/>
                    <a:gd name="T51" fmla="*/ 63 h 63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86" h="63">
                      <a:moveTo>
                        <a:pt x="175" y="20"/>
                      </a:moveTo>
                      <a:lnTo>
                        <a:pt x="186" y="39"/>
                      </a:lnTo>
                      <a:lnTo>
                        <a:pt x="153" y="63"/>
                      </a:lnTo>
                      <a:lnTo>
                        <a:pt x="59" y="47"/>
                      </a:lnTo>
                      <a:lnTo>
                        <a:pt x="38" y="36"/>
                      </a:lnTo>
                      <a:lnTo>
                        <a:pt x="19" y="22"/>
                      </a:lnTo>
                      <a:lnTo>
                        <a:pt x="0" y="5"/>
                      </a:lnTo>
                      <a:lnTo>
                        <a:pt x="38" y="15"/>
                      </a:lnTo>
                      <a:lnTo>
                        <a:pt x="47" y="14"/>
                      </a:lnTo>
                      <a:lnTo>
                        <a:pt x="67" y="6"/>
                      </a:lnTo>
                      <a:lnTo>
                        <a:pt x="82" y="1"/>
                      </a:lnTo>
                      <a:lnTo>
                        <a:pt x="97" y="0"/>
                      </a:lnTo>
                      <a:lnTo>
                        <a:pt x="115" y="0"/>
                      </a:lnTo>
                      <a:lnTo>
                        <a:pt x="140" y="3"/>
                      </a:lnTo>
                      <a:lnTo>
                        <a:pt x="161" y="10"/>
                      </a:lnTo>
                      <a:lnTo>
                        <a:pt x="175" y="20"/>
                      </a:lnTo>
                      <a:close/>
                    </a:path>
                  </a:pathLst>
                </a:custGeom>
                <a:solidFill>
                  <a:srgbClr val="A05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32" name="Freeform 255"/>
                <p:cNvSpPr>
                  <a:spLocks/>
                </p:cNvSpPr>
                <p:nvPr/>
              </p:nvSpPr>
              <p:spPr bwMode="auto">
                <a:xfrm>
                  <a:off x="2612" y="2553"/>
                  <a:ext cx="42" cy="15"/>
                </a:xfrm>
                <a:custGeom>
                  <a:avLst/>
                  <a:gdLst>
                    <a:gd name="T0" fmla="*/ 0 w 168"/>
                    <a:gd name="T1" fmla="*/ 0 h 58"/>
                    <a:gd name="T2" fmla="*/ 0 w 168"/>
                    <a:gd name="T3" fmla="*/ 0 h 58"/>
                    <a:gd name="T4" fmla="*/ 0 w 168"/>
                    <a:gd name="T5" fmla="*/ 0 h 58"/>
                    <a:gd name="T6" fmla="*/ 0 w 168"/>
                    <a:gd name="T7" fmla="*/ 0 h 58"/>
                    <a:gd name="T8" fmla="*/ 0 w 168"/>
                    <a:gd name="T9" fmla="*/ 0 h 58"/>
                    <a:gd name="T10" fmla="*/ 0 w 168"/>
                    <a:gd name="T11" fmla="*/ 0 h 58"/>
                    <a:gd name="T12" fmla="*/ 0 w 168"/>
                    <a:gd name="T13" fmla="*/ 0 h 58"/>
                    <a:gd name="T14" fmla="*/ 0 w 168"/>
                    <a:gd name="T15" fmla="*/ 0 h 58"/>
                    <a:gd name="T16" fmla="*/ 0 w 168"/>
                    <a:gd name="T17" fmla="*/ 0 h 58"/>
                    <a:gd name="T18" fmla="*/ 0 w 168"/>
                    <a:gd name="T19" fmla="*/ 0 h 58"/>
                    <a:gd name="T20" fmla="*/ 0 w 168"/>
                    <a:gd name="T21" fmla="*/ 0 h 58"/>
                    <a:gd name="T22" fmla="*/ 0 w 168"/>
                    <a:gd name="T23" fmla="*/ 0 h 58"/>
                    <a:gd name="T24" fmla="*/ 0 w 168"/>
                    <a:gd name="T25" fmla="*/ 0 h 58"/>
                    <a:gd name="T26" fmla="*/ 0 w 168"/>
                    <a:gd name="T27" fmla="*/ 0 h 58"/>
                    <a:gd name="T28" fmla="*/ 0 w 168"/>
                    <a:gd name="T29" fmla="*/ 0 h 58"/>
                    <a:gd name="T30" fmla="*/ 0 w 168"/>
                    <a:gd name="T31" fmla="*/ 0 h 58"/>
                    <a:gd name="T32" fmla="*/ 0 w 168"/>
                    <a:gd name="T33" fmla="*/ 0 h 58"/>
                    <a:gd name="T34" fmla="*/ 0 w 168"/>
                    <a:gd name="T35" fmla="*/ 0 h 58"/>
                    <a:gd name="T36" fmla="*/ 0 w 168"/>
                    <a:gd name="T37" fmla="*/ 0 h 58"/>
                    <a:gd name="T38" fmla="*/ 0 w 168"/>
                    <a:gd name="T39" fmla="*/ 0 h 58"/>
                    <a:gd name="T40" fmla="*/ 0 w 168"/>
                    <a:gd name="T41" fmla="*/ 0 h 58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68"/>
                    <a:gd name="T64" fmla="*/ 0 h 58"/>
                    <a:gd name="T65" fmla="*/ 168 w 168"/>
                    <a:gd name="T66" fmla="*/ 58 h 58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68" h="58">
                      <a:moveTo>
                        <a:pt x="168" y="44"/>
                      </a:moveTo>
                      <a:lnTo>
                        <a:pt x="158" y="28"/>
                      </a:lnTo>
                      <a:lnTo>
                        <a:pt x="143" y="15"/>
                      </a:lnTo>
                      <a:lnTo>
                        <a:pt x="123" y="4"/>
                      </a:lnTo>
                      <a:lnTo>
                        <a:pt x="102" y="3"/>
                      </a:lnTo>
                      <a:lnTo>
                        <a:pt x="85" y="5"/>
                      </a:lnTo>
                      <a:lnTo>
                        <a:pt x="70" y="9"/>
                      </a:lnTo>
                      <a:lnTo>
                        <a:pt x="55" y="14"/>
                      </a:lnTo>
                      <a:lnTo>
                        <a:pt x="46" y="15"/>
                      </a:lnTo>
                      <a:lnTo>
                        <a:pt x="41" y="14"/>
                      </a:lnTo>
                      <a:lnTo>
                        <a:pt x="23" y="9"/>
                      </a:lnTo>
                      <a:lnTo>
                        <a:pt x="0" y="0"/>
                      </a:lnTo>
                      <a:lnTo>
                        <a:pt x="33" y="29"/>
                      </a:lnTo>
                      <a:lnTo>
                        <a:pt x="52" y="41"/>
                      </a:lnTo>
                      <a:lnTo>
                        <a:pt x="68" y="47"/>
                      </a:lnTo>
                      <a:lnTo>
                        <a:pt x="78" y="51"/>
                      </a:lnTo>
                      <a:lnTo>
                        <a:pt x="92" y="56"/>
                      </a:lnTo>
                      <a:lnTo>
                        <a:pt x="115" y="58"/>
                      </a:lnTo>
                      <a:lnTo>
                        <a:pt x="126" y="58"/>
                      </a:lnTo>
                      <a:lnTo>
                        <a:pt x="149" y="53"/>
                      </a:lnTo>
                      <a:lnTo>
                        <a:pt x="168" y="44"/>
                      </a:lnTo>
                      <a:close/>
                    </a:path>
                  </a:pathLst>
                </a:custGeom>
                <a:solidFill>
                  <a:srgbClr val="804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33" name="Freeform 256"/>
                <p:cNvSpPr>
                  <a:spLocks/>
                </p:cNvSpPr>
                <p:nvPr/>
              </p:nvSpPr>
              <p:spPr bwMode="auto">
                <a:xfrm>
                  <a:off x="2597" y="2578"/>
                  <a:ext cx="49" cy="14"/>
                </a:xfrm>
                <a:custGeom>
                  <a:avLst/>
                  <a:gdLst>
                    <a:gd name="T0" fmla="*/ 0 w 198"/>
                    <a:gd name="T1" fmla="*/ 0 h 53"/>
                    <a:gd name="T2" fmla="*/ 0 w 198"/>
                    <a:gd name="T3" fmla="*/ 0 h 53"/>
                    <a:gd name="T4" fmla="*/ 0 w 198"/>
                    <a:gd name="T5" fmla="*/ 0 h 53"/>
                    <a:gd name="T6" fmla="*/ 0 w 198"/>
                    <a:gd name="T7" fmla="*/ 0 h 53"/>
                    <a:gd name="T8" fmla="*/ 0 w 198"/>
                    <a:gd name="T9" fmla="*/ 0 h 53"/>
                    <a:gd name="T10" fmla="*/ 0 w 198"/>
                    <a:gd name="T11" fmla="*/ 0 h 53"/>
                    <a:gd name="T12" fmla="*/ 0 w 198"/>
                    <a:gd name="T13" fmla="*/ 0 h 53"/>
                    <a:gd name="T14" fmla="*/ 0 w 198"/>
                    <a:gd name="T15" fmla="*/ 0 h 53"/>
                    <a:gd name="T16" fmla="*/ 0 w 198"/>
                    <a:gd name="T17" fmla="*/ 0 h 53"/>
                    <a:gd name="T18" fmla="*/ 0 w 198"/>
                    <a:gd name="T19" fmla="*/ 0 h 53"/>
                    <a:gd name="T20" fmla="*/ 0 w 198"/>
                    <a:gd name="T21" fmla="*/ 0 h 53"/>
                    <a:gd name="T22" fmla="*/ 0 w 198"/>
                    <a:gd name="T23" fmla="*/ 0 h 53"/>
                    <a:gd name="T24" fmla="*/ 0 w 198"/>
                    <a:gd name="T25" fmla="*/ 0 h 53"/>
                    <a:gd name="T26" fmla="*/ 0 w 198"/>
                    <a:gd name="T27" fmla="*/ 0 h 53"/>
                    <a:gd name="T28" fmla="*/ 0 w 198"/>
                    <a:gd name="T29" fmla="*/ 0 h 53"/>
                    <a:gd name="T30" fmla="*/ 0 w 198"/>
                    <a:gd name="T31" fmla="*/ 0 h 53"/>
                    <a:gd name="T32" fmla="*/ 0 w 198"/>
                    <a:gd name="T33" fmla="*/ 0 h 53"/>
                    <a:gd name="T34" fmla="*/ 0 w 198"/>
                    <a:gd name="T35" fmla="*/ 0 h 53"/>
                    <a:gd name="T36" fmla="*/ 0 w 198"/>
                    <a:gd name="T37" fmla="*/ 0 h 53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98"/>
                    <a:gd name="T58" fmla="*/ 0 h 53"/>
                    <a:gd name="T59" fmla="*/ 198 w 198"/>
                    <a:gd name="T60" fmla="*/ 53 h 53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98" h="53">
                      <a:moveTo>
                        <a:pt x="198" y="19"/>
                      </a:moveTo>
                      <a:lnTo>
                        <a:pt x="146" y="1"/>
                      </a:lnTo>
                      <a:lnTo>
                        <a:pt x="127" y="0"/>
                      </a:lnTo>
                      <a:lnTo>
                        <a:pt x="95" y="0"/>
                      </a:lnTo>
                      <a:lnTo>
                        <a:pt x="77" y="5"/>
                      </a:lnTo>
                      <a:lnTo>
                        <a:pt x="49" y="14"/>
                      </a:lnTo>
                      <a:lnTo>
                        <a:pt x="37" y="15"/>
                      </a:lnTo>
                      <a:lnTo>
                        <a:pt x="0" y="15"/>
                      </a:lnTo>
                      <a:lnTo>
                        <a:pt x="44" y="38"/>
                      </a:lnTo>
                      <a:lnTo>
                        <a:pt x="71" y="48"/>
                      </a:lnTo>
                      <a:lnTo>
                        <a:pt x="85" y="52"/>
                      </a:lnTo>
                      <a:lnTo>
                        <a:pt x="106" y="53"/>
                      </a:lnTo>
                      <a:lnTo>
                        <a:pt x="127" y="49"/>
                      </a:lnTo>
                      <a:lnTo>
                        <a:pt x="133" y="45"/>
                      </a:lnTo>
                      <a:lnTo>
                        <a:pt x="144" y="40"/>
                      </a:lnTo>
                      <a:lnTo>
                        <a:pt x="156" y="35"/>
                      </a:lnTo>
                      <a:lnTo>
                        <a:pt x="175" y="29"/>
                      </a:lnTo>
                      <a:lnTo>
                        <a:pt x="189" y="25"/>
                      </a:lnTo>
                      <a:lnTo>
                        <a:pt x="198" y="19"/>
                      </a:lnTo>
                      <a:close/>
                    </a:path>
                  </a:pathLst>
                </a:custGeom>
                <a:solidFill>
                  <a:srgbClr val="8040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34" name="Freeform 257"/>
                <p:cNvSpPr>
                  <a:spLocks/>
                </p:cNvSpPr>
                <p:nvPr/>
              </p:nvSpPr>
              <p:spPr bwMode="auto">
                <a:xfrm>
                  <a:off x="2615" y="2606"/>
                  <a:ext cx="13" cy="21"/>
                </a:xfrm>
                <a:custGeom>
                  <a:avLst/>
                  <a:gdLst>
                    <a:gd name="T0" fmla="*/ 0 w 50"/>
                    <a:gd name="T1" fmla="*/ 0 h 81"/>
                    <a:gd name="T2" fmla="*/ 0 w 50"/>
                    <a:gd name="T3" fmla="*/ 0 h 81"/>
                    <a:gd name="T4" fmla="*/ 0 w 50"/>
                    <a:gd name="T5" fmla="*/ 0 h 81"/>
                    <a:gd name="T6" fmla="*/ 0 w 50"/>
                    <a:gd name="T7" fmla="*/ 0 h 81"/>
                    <a:gd name="T8" fmla="*/ 0 w 50"/>
                    <a:gd name="T9" fmla="*/ 0 h 81"/>
                    <a:gd name="T10" fmla="*/ 0 w 50"/>
                    <a:gd name="T11" fmla="*/ 0 h 81"/>
                    <a:gd name="T12" fmla="*/ 0 w 50"/>
                    <a:gd name="T13" fmla="*/ 0 h 81"/>
                    <a:gd name="T14" fmla="*/ 0 w 50"/>
                    <a:gd name="T15" fmla="*/ 0 h 81"/>
                    <a:gd name="T16" fmla="*/ 0 w 50"/>
                    <a:gd name="T17" fmla="*/ 0 h 81"/>
                    <a:gd name="T18" fmla="*/ 0 w 50"/>
                    <a:gd name="T19" fmla="*/ 0 h 81"/>
                    <a:gd name="T20" fmla="*/ 0 w 50"/>
                    <a:gd name="T21" fmla="*/ 0 h 81"/>
                    <a:gd name="T22" fmla="*/ 0 w 50"/>
                    <a:gd name="T23" fmla="*/ 0 h 81"/>
                    <a:gd name="T24" fmla="*/ 0 w 50"/>
                    <a:gd name="T25" fmla="*/ 0 h 81"/>
                    <a:gd name="T26" fmla="*/ 0 w 50"/>
                    <a:gd name="T27" fmla="*/ 0 h 81"/>
                    <a:gd name="T28" fmla="*/ 0 w 50"/>
                    <a:gd name="T29" fmla="*/ 0 h 81"/>
                    <a:gd name="T30" fmla="*/ 0 w 50"/>
                    <a:gd name="T31" fmla="*/ 0 h 81"/>
                    <a:gd name="T32" fmla="*/ 0 w 50"/>
                    <a:gd name="T33" fmla="*/ 0 h 81"/>
                    <a:gd name="T34" fmla="*/ 0 w 50"/>
                    <a:gd name="T35" fmla="*/ 0 h 81"/>
                    <a:gd name="T36" fmla="*/ 0 w 50"/>
                    <a:gd name="T37" fmla="*/ 0 h 81"/>
                    <a:gd name="T38" fmla="*/ 0 w 50"/>
                    <a:gd name="T39" fmla="*/ 0 h 81"/>
                    <a:gd name="T40" fmla="*/ 0 w 50"/>
                    <a:gd name="T41" fmla="*/ 0 h 81"/>
                    <a:gd name="T42" fmla="*/ 0 w 50"/>
                    <a:gd name="T43" fmla="*/ 0 h 81"/>
                    <a:gd name="T44" fmla="*/ 0 w 50"/>
                    <a:gd name="T45" fmla="*/ 0 h 81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w 50"/>
                    <a:gd name="T70" fmla="*/ 0 h 81"/>
                    <a:gd name="T71" fmla="*/ 50 w 50"/>
                    <a:gd name="T72" fmla="*/ 81 h 81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T69" t="T70" r="T71" b="T72"/>
                  <a:pathLst>
                    <a:path w="50" h="81">
                      <a:moveTo>
                        <a:pt x="14" y="36"/>
                      </a:moveTo>
                      <a:lnTo>
                        <a:pt x="21" y="69"/>
                      </a:lnTo>
                      <a:lnTo>
                        <a:pt x="21" y="76"/>
                      </a:lnTo>
                      <a:lnTo>
                        <a:pt x="17" y="81"/>
                      </a:lnTo>
                      <a:lnTo>
                        <a:pt x="11" y="81"/>
                      </a:lnTo>
                      <a:lnTo>
                        <a:pt x="5" y="79"/>
                      </a:lnTo>
                      <a:lnTo>
                        <a:pt x="4" y="74"/>
                      </a:lnTo>
                      <a:lnTo>
                        <a:pt x="4" y="36"/>
                      </a:lnTo>
                      <a:lnTo>
                        <a:pt x="0" y="23"/>
                      </a:lnTo>
                      <a:lnTo>
                        <a:pt x="0" y="18"/>
                      </a:lnTo>
                      <a:lnTo>
                        <a:pt x="3" y="12"/>
                      </a:lnTo>
                      <a:lnTo>
                        <a:pt x="4" y="8"/>
                      </a:lnTo>
                      <a:lnTo>
                        <a:pt x="8" y="4"/>
                      </a:lnTo>
                      <a:lnTo>
                        <a:pt x="13" y="0"/>
                      </a:lnTo>
                      <a:lnTo>
                        <a:pt x="21" y="0"/>
                      </a:lnTo>
                      <a:lnTo>
                        <a:pt x="30" y="1"/>
                      </a:lnTo>
                      <a:lnTo>
                        <a:pt x="40" y="4"/>
                      </a:lnTo>
                      <a:lnTo>
                        <a:pt x="45" y="8"/>
                      </a:lnTo>
                      <a:lnTo>
                        <a:pt x="50" y="15"/>
                      </a:lnTo>
                      <a:lnTo>
                        <a:pt x="49" y="23"/>
                      </a:lnTo>
                      <a:lnTo>
                        <a:pt x="45" y="31"/>
                      </a:lnTo>
                      <a:lnTo>
                        <a:pt x="37" y="36"/>
                      </a:lnTo>
                      <a:lnTo>
                        <a:pt x="14" y="36"/>
                      </a:lnTo>
                      <a:close/>
                    </a:path>
                  </a:pathLst>
                </a:custGeom>
                <a:solidFill>
                  <a:srgbClr val="FFA04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35" name="Freeform 258"/>
                <p:cNvSpPr>
                  <a:spLocks/>
                </p:cNvSpPr>
                <p:nvPr/>
              </p:nvSpPr>
              <p:spPr bwMode="auto">
                <a:xfrm>
                  <a:off x="2618" y="2607"/>
                  <a:ext cx="5" cy="4"/>
                </a:xfrm>
                <a:custGeom>
                  <a:avLst/>
                  <a:gdLst>
                    <a:gd name="T0" fmla="*/ 0 w 21"/>
                    <a:gd name="T1" fmla="*/ 0 h 17"/>
                    <a:gd name="T2" fmla="*/ 0 w 21"/>
                    <a:gd name="T3" fmla="*/ 0 h 17"/>
                    <a:gd name="T4" fmla="*/ 0 w 21"/>
                    <a:gd name="T5" fmla="*/ 0 h 17"/>
                    <a:gd name="T6" fmla="*/ 0 w 21"/>
                    <a:gd name="T7" fmla="*/ 0 h 17"/>
                    <a:gd name="T8" fmla="*/ 0 w 21"/>
                    <a:gd name="T9" fmla="*/ 0 h 17"/>
                    <a:gd name="T10" fmla="*/ 0 w 21"/>
                    <a:gd name="T11" fmla="*/ 0 h 17"/>
                    <a:gd name="T12" fmla="*/ 0 w 21"/>
                    <a:gd name="T13" fmla="*/ 0 h 17"/>
                    <a:gd name="T14" fmla="*/ 0 w 21"/>
                    <a:gd name="T15" fmla="*/ 0 h 17"/>
                    <a:gd name="T16" fmla="*/ 0 w 21"/>
                    <a:gd name="T17" fmla="*/ 0 h 17"/>
                    <a:gd name="T18" fmla="*/ 0 w 21"/>
                    <a:gd name="T19" fmla="*/ 0 h 17"/>
                    <a:gd name="T20" fmla="*/ 0 w 21"/>
                    <a:gd name="T21" fmla="*/ 0 h 17"/>
                    <a:gd name="T22" fmla="*/ 0 w 21"/>
                    <a:gd name="T23" fmla="*/ 0 h 17"/>
                    <a:gd name="T24" fmla="*/ 0 w 21"/>
                    <a:gd name="T25" fmla="*/ 0 h 1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1"/>
                    <a:gd name="T40" fmla="*/ 0 h 17"/>
                    <a:gd name="T41" fmla="*/ 21 w 21"/>
                    <a:gd name="T42" fmla="*/ 17 h 17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1" h="17">
                      <a:moveTo>
                        <a:pt x="0" y="17"/>
                      </a:moveTo>
                      <a:lnTo>
                        <a:pt x="2" y="16"/>
                      </a:lnTo>
                      <a:lnTo>
                        <a:pt x="2" y="12"/>
                      </a:lnTo>
                      <a:lnTo>
                        <a:pt x="7" y="6"/>
                      </a:lnTo>
                      <a:lnTo>
                        <a:pt x="12" y="9"/>
                      </a:lnTo>
                      <a:lnTo>
                        <a:pt x="16" y="12"/>
                      </a:lnTo>
                      <a:lnTo>
                        <a:pt x="20" y="10"/>
                      </a:lnTo>
                      <a:lnTo>
                        <a:pt x="21" y="6"/>
                      </a:lnTo>
                      <a:lnTo>
                        <a:pt x="16" y="0"/>
                      </a:lnTo>
                      <a:lnTo>
                        <a:pt x="11" y="0"/>
                      </a:lnTo>
                      <a:lnTo>
                        <a:pt x="5" y="1"/>
                      </a:lnTo>
                      <a:lnTo>
                        <a:pt x="3" y="6"/>
                      </a:lnTo>
                      <a:lnTo>
                        <a:pt x="0" y="17"/>
                      </a:lnTo>
                      <a:close/>
                    </a:path>
                  </a:pathLst>
                </a:custGeom>
                <a:solidFill>
                  <a:srgbClr val="FFC08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34831" name="Group 259"/>
                <p:cNvGrpSpPr>
                  <a:grpSpLocks/>
                </p:cNvGrpSpPr>
                <p:nvPr/>
              </p:nvGrpSpPr>
              <p:grpSpPr bwMode="auto">
                <a:xfrm>
                  <a:off x="2636" y="2608"/>
                  <a:ext cx="72" cy="66"/>
                  <a:chOff x="2636" y="2608"/>
                  <a:chExt cx="72" cy="66"/>
                </a:xfrm>
              </p:grpSpPr>
              <p:grpSp>
                <p:nvGrpSpPr>
                  <p:cNvPr id="34835" name="Group 260"/>
                  <p:cNvGrpSpPr>
                    <a:grpSpLocks/>
                  </p:cNvGrpSpPr>
                  <p:nvPr/>
                </p:nvGrpSpPr>
                <p:grpSpPr bwMode="auto">
                  <a:xfrm>
                    <a:off x="2636" y="2614"/>
                    <a:ext cx="69" cy="60"/>
                    <a:chOff x="2636" y="2614"/>
                    <a:chExt cx="69" cy="60"/>
                  </a:xfrm>
                </p:grpSpPr>
                <p:sp>
                  <p:nvSpPr>
                    <p:cNvPr id="38654" name="Freeform 261"/>
                    <p:cNvSpPr>
                      <a:spLocks/>
                    </p:cNvSpPr>
                    <p:nvPr/>
                  </p:nvSpPr>
                  <p:spPr bwMode="auto">
                    <a:xfrm>
                      <a:off x="2661" y="2616"/>
                      <a:ext cx="19" cy="12"/>
                    </a:xfrm>
                    <a:custGeom>
                      <a:avLst/>
                      <a:gdLst>
                        <a:gd name="T0" fmla="*/ 0 w 76"/>
                        <a:gd name="T1" fmla="*/ 0 h 50"/>
                        <a:gd name="T2" fmla="*/ 0 w 76"/>
                        <a:gd name="T3" fmla="*/ 0 h 50"/>
                        <a:gd name="T4" fmla="*/ 0 w 76"/>
                        <a:gd name="T5" fmla="*/ 0 h 50"/>
                        <a:gd name="T6" fmla="*/ 0 w 76"/>
                        <a:gd name="T7" fmla="*/ 0 h 50"/>
                        <a:gd name="T8" fmla="*/ 0 w 76"/>
                        <a:gd name="T9" fmla="*/ 0 h 50"/>
                        <a:gd name="T10" fmla="*/ 0 w 76"/>
                        <a:gd name="T11" fmla="*/ 0 h 50"/>
                        <a:gd name="T12" fmla="*/ 0 w 76"/>
                        <a:gd name="T13" fmla="*/ 0 h 50"/>
                        <a:gd name="T14" fmla="*/ 0 w 76"/>
                        <a:gd name="T15" fmla="*/ 0 h 50"/>
                        <a:gd name="T16" fmla="*/ 0 w 76"/>
                        <a:gd name="T17" fmla="*/ 0 h 50"/>
                        <a:gd name="T18" fmla="*/ 0 w 76"/>
                        <a:gd name="T19" fmla="*/ 0 h 50"/>
                        <a:gd name="T20" fmla="*/ 0 w 76"/>
                        <a:gd name="T21" fmla="*/ 0 h 50"/>
                        <a:gd name="T22" fmla="*/ 0 w 76"/>
                        <a:gd name="T23" fmla="*/ 0 h 50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w 76"/>
                        <a:gd name="T37" fmla="*/ 0 h 50"/>
                        <a:gd name="T38" fmla="*/ 76 w 76"/>
                        <a:gd name="T39" fmla="*/ 50 h 50"/>
                      </a:gdLst>
                      <a:ahLst/>
                      <a:cxnLst>
                        <a:cxn ang="T24">
                          <a:pos x="T0" y="T1"/>
                        </a:cxn>
                        <a:cxn ang="T25">
                          <a:pos x="T2" y="T3"/>
                        </a:cxn>
                        <a:cxn ang="T26">
                          <a:pos x="T4" y="T5"/>
                        </a:cxn>
                        <a:cxn ang="T27">
                          <a:pos x="T6" y="T7"/>
                        </a:cxn>
                        <a:cxn ang="T28">
                          <a:pos x="T8" y="T9"/>
                        </a:cxn>
                        <a:cxn ang="T29">
                          <a:pos x="T10" y="T11"/>
                        </a:cxn>
                        <a:cxn ang="T30">
                          <a:pos x="T12" y="T13"/>
                        </a:cxn>
                        <a:cxn ang="T31">
                          <a:pos x="T14" y="T15"/>
                        </a:cxn>
                        <a:cxn ang="T32">
                          <a:pos x="T16" y="T17"/>
                        </a:cxn>
                        <a:cxn ang="T33">
                          <a:pos x="T18" y="T19"/>
                        </a:cxn>
                        <a:cxn ang="T34">
                          <a:pos x="T20" y="T21"/>
                        </a:cxn>
                        <a:cxn ang="T35">
                          <a:pos x="T22" y="T23"/>
                        </a:cxn>
                      </a:cxnLst>
                      <a:rect l="T36" t="T37" r="T38" b="T39"/>
                      <a:pathLst>
                        <a:path w="76" h="50">
                          <a:moveTo>
                            <a:pt x="73" y="23"/>
                          </a:moveTo>
                          <a:lnTo>
                            <a:pt x="76" y="50"/>
                          </a:lnTo>
                          <a:lnTo>
                            <a:pt x="60" y="47"/>
                          </a:lnTo>
                          <a:lnTo>
                            <a:pt x="46" y="47"/>
                          </a:lnTo>
                          <a:lnTo>
                            <a:pt x="33" y="46"/>
                          </a:lnTo>
                          <a:lnTo>
                            <a:pt x="17" y="37"/>
                          </a:lnTo>
                          <a:lnTo>
                            <a:pt x="4" y="27"/>
                          </a:lnTo>
                          <a:lnTo>
                            <a:pt x="2" y="16"/>
                          </a:lnTo>
                          <a:lnTo>
                            <a:pt x="0" y="8"/>
                          </a:lnTo>
                          <a:lnTo>
                            <a:pt x="0" y="3"/>
                          </a:lnTo>
                          <a:lnTo>
                            <a:pt x="36" y="0"/>
                          </a:lnTo>
                          <a:lnTo>
                            <a:pt x="73" y="23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655" name="Freeform 262"/>
                    <p:cNvSpPr>
                      <a:spLocks/>
                    </p:cNvSpPr>
                    <p:nvPr/>
                  </p:nvSpPr>
                  <p:spPr bwMode="auto">
                    <a:xfrm>
                      <a:off x="2692" y="2629"/>
                      <a:ext cx="11" cy="10"/>
                    </a:xfrm>
                    <a:custGeom>
                      <a:avLst/>
                      <a:gdLst>
                        <a:gd name="T0" fmla="*/ 0 w 43"/>
                        <a:gd name="T1" fmla="*/ 0 h 39"/>
                        <a:gd name="T2" fmla="*/ 0 w 43"/>
                        <a:gd name="T3" fmla="*/ 0 h 39"/>
                        <a:gd name="T4" fmla="*/ 0 w 43"/>
                        <a:gd name="T5" fmla="*/ 0 h 39"/>
                        <a:gd name="T6" fmla="*/ 0 w 43"/>
                        <a:gd name="T7" fmla="*/ 0 h 39"/>
                        <a:gd name="T8" fmla="*/ 0 w 43"/>
                        <a:gd name="T9" fmla="*/ 0 h 39"/>
                        <a:gd name="T10" fmla="*/ 0 w 43"/>
                        <a:gd name="T11" fmla="*/ 0 h 39"/>
                        <a:gd name="T12" fmla="*/ 0 w 43"/>
                        <a:gd name="T13" fmla="*/ 0 h 39"/>
                        <a:gd name="T14" fmla="*/ 0 w 43"/>
                        <a:gd name="T15" fmla="*/ 0 h 39"/>
                        <a:gd name="T16" fmla="*/ 0 w 43"/>
                        <a:gd name="T17" fmla="*/ 0 h 39"/>
                        <a:gd name="T18" fmla="*/ 0 w 43"/>
                        <a:gd name="T19" fmla="*/ 0 h 39"/>
                        <a:gd name="T20" fmla="*/ 0 w 43"/>
                        <a:gd name="T21" fmla="*/ 0 h 39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w 43"/>
                        <a:gd name="T34" fmla="*/ 0 h 39"/>
                        <a:gd name="T35" fmla="*/ 43 w 43"/>
                        <a:gd name="T36" fmla="*/ 39 h 39"/>
                      </a:gdLst>
                      <a:ahLst/>
                      <a:cxnLst>
                        <a:cxn ang="T22">
                          <a:pos x="T0" y="T1"/>
                        </a:cxn>
                        <a:cxn ang="T23">
                          <a:pos x="T2" y="T3"/>
                        </a:cxn>
                        <a:cxn ang="T24">
                          <a:pos x="T4" y="T5"/>
                        </a:cxn>
                        <a:cxn ang="T25">
                          <a:pos x="T6" y="T7"/>
                        </a:cxn>
                        <a:cxn ang="T26">
                          <a:pos x="T8" y="T9"/>
                        </a:cxn>
                        <a:cxn ang="T27">
                          <a:pos x="T10" y="T11"/>
                        </a:cxn>
                        <a:cxn ang="T28">
                          <a:pos x="T12" y="T13"/>
                        </a:cxn>
                        <a:cxn ang="T29">
                          <a:pos x="T14" y="T15"/>
                        </a:cxn>
                        <a:cxn ang="T30">
                          <a:pos x="T16" y="T17"/>
                        </a:cxn>
                        <a:cxn ang="T31">
                          <a:pos x="T18" y="T19"/>
                        </a:cxn>
                        <a:cxn ang="T32">
                          <a:pos x="T20" y="T21"/>
                        </a:cxn>
                      </a:cxnLst>
                      <a:rect l="T33" t="T34" r="T35" b="T36"/>
                      <a:pathLst>
                        <a:path w="43" h="39">
                          <a:moveTo>
                            <a:pt x="43" y="16"/>
                          </a:moveTo>
                          <a:lnTo>
                            <a:pt x="38" y="26"/>
                          </a:lnTo>
                          <a:lnTo>
                            <a:pt x="24" y="39"/>
                          </a:lnTo>
                          <a:lnTo>
                            <a:pt x="19" y="32"/>
                          </a:lnTo>
                          <a:lnTo>
                            <a:pt x="8" y="27"/>
                          </a:lnTo>
                          <a:lnTo>
                            <a:pt x="3" y="19"/>
                          </a:lnTo>
                          <a:lnTo>
                            <a:pt x="0" y="14"/>
                          </a:lnTo>
                          <a:lnTo>
                            <a:pt x="3" y="11"/>
                          </a:lnTo>
                          <a:lnTo>
                            <a:pt x="10" y="0"/>
                          </a:lnTo>
                          <a:lnTo>
                            <a:pt x="36" y="6"/>
                          </a:lnTo>
                          <a:lnTo>
                            <a:pt x="43" y="16"/>
                          </a:lnTo>
                          <a:close/>
                        </a:path>
                      </a:pathLst>
                    </a:custGeom>
                    <a:solidFill>
                      <a:srgbClr val="FFC08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656" name="Freeform 263"/>
                    <p:cNvSpPr>
                      <a:spLocks/>
                    </p:cNvSpPr>
                    <p:nvPr/>
                  </p:nvSpPr>
                  <p:spPr bwMode="auto">
                    <a:xfrm>
                      <a:off x="2664" y="2617"/>
                      <a:ext cx="13" cy="7"/>
                    </a:xfrm>
                    <a:custGeom>
                      <a:avLst/>
                      <a:gdLst>
                        <a:gd name="T0" fmla="*/ 0 w 53"/>
                        <a:gd name="T1" fmla="*/ 0 h 30"/>
                        <a:gd name="T2" fmla="*/ 0 w 53"/>
                        <a:gd name="T3" fmla="*/ 0 h 30"/>
                        <a:gd name="T4" fmla="*/ 0 w 53"/>
                        <a:gd name="T5" fmla="*/ 0 h 30"/>
                        <a:gd name="T6" fmla="*/ 0 w 53"/>
                        <a:gd name="T7" fmla="*/ 0 h 30"/>
                        <a:gd name="T8" fmla="*/ 0 w 53"/>
                        <a:gd name="T9" fmla="*/ 0 h 30"/>
                        <a:gd name="T10" fmla="*/ 0 w 53"/>
                        <a:gd name="T11" fmla="*/ 0 h 30"/>
                        <a:gd name="T12" fmla="*/ 0 w 53"/>
                        <a:gd name="T13" fmla="*/ 0 h 30"/>
                        <a:gd name="T14" fmla="*/ 0 w 53"/>
                        <a:gd name="T15" fmla="*/ 0 h 30"/>
                        <a:gd name="T16" fmla="*/ 0 w 53"/>
                        <a:gd name="T17" fmla="*/ 0 h 30"/>
                        <a:gd name="T18" fmla="*/ 0 w 53"/>
                        <a:gd name="T19" fmla="*/ 0 h 30"/>
                        <a:gd name="T20" fmla="*/ 0 w 53"/>
                        <a:gd name="T21" fmla="*/ 0 h 30"/>
                        <a:gd name="T22" fmla="*/ 0 w 53"/>
                        <a:gd name="T23" fmla="*/ 0 h 30"/>
                        <a:gd name="T24" fmla="*/ 0 w 53"/>
                        <a:gd name="T25" fmla="*/ 0 h 30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w 53"/>
                        <a:gd name="T40" fmla="*/ 0 h 30"/>
                        <a:gd name="T41" fmla="*/ 53 w 53"/>
                        <a:gd name="T42" fmla="*/ 30 h 30"/>
                      </a:gdLst>
                      <a:ahLst/>
                      <a:cxnLst>
                        <a:cxn ang="T26">
                          <a:pos x="T0" y="T1"/>
                        </a:cxn>
                        <a:cxn ang="T27">
                          <a:pos x="T2" y="T3"/>
                        </a:cxn>
                        <a:cxn ang="T28">
                          <a:pos x="T4" y="T5"/>
                        </a:cxn>
                        <a:cxn ang="T29">
                          <a:pos x="T6" y="T7"/>
                        </a:cxn>
                        <a:cxn ang="T30">
                          <a:pos x="T8" y="T9"/>
                        </a:cxn>
                        <a:cxn ang="T31">
                          <a:pos x="T10" y="T11"/>
                        </a:cxn>
                        <a:cxn ang="T32">
                          <a:pos x="T12" y="T13"/>
                        </a:cxn>
                        <a:cxn ang="T33">
                          <a:pos x="T14" y="T15"/>
                        </a:cxn>
                        <a:cxn ang="T34">
                          <a:pos x="T16" y="T17"/>
                        </a:cxn>
                        <a:cxn ang="T35">
                          <a:pos x="T18" y="T19"/>
                        </a:cxn>
                        <a:cxn ang="T36">
                          <a:pos x="T20" y="T21"/>
                        </a:cxn>
                        <a:cxn ang="T37">
                          <a:pos x="T22" y="T23"/>
                        </a:cxn>
                        <a:cxn ang="T38">
                          <a:pos x="T24" y="T25"/>
                        </a:cxn>
                      </a:cxnLst>
                      <a:rect l="T39" t="T40" r="T41" b="T42"/>
                      <a:pathLst>
                        <a:path w="53" h="30">
                          <a:moveTo>
                            <a:pt x="0" y="6"/>
                          </a:moveTo>
                          <a:lnTo>
                            <a:pt x="3" y="17"/>
                          </a:lnTo>
                          <a:lnTo>
                            <a:pt x="7" y="20"/>
                          </a:lnTo>
                          <a:lnTo>
                            <a:pt x="13" y="24"/>
                          </a:lnTo>
                          <a:lnTo>
                            <a:pt x="18" y="28"/>
                          </a:lnTo>
                          <a:lnTo>
                            <a:pt x="26" y="30"/>
                          </a:lnTo>
                          <a:lnTo>
                            <a:pt x="33" y="30"/>
                          </a:lnTo>
                          <a:lnTo>
                            <a:pt x="45" y="30"/>
                          </a:lnTo>
                          <a:lnTo>
                            <a:pt x="53" y="30"/>
                          </a:lnTo>
                          <a:lnTo>
                            <a:pt x="50" y="18"/>
                          </a:lnTo>
                          <a:lnTo>
                            <a:pt x="41" y="8"/>
                          </a:lnTo>
                          <a:lnTo>
                            <a:pt x="17" y="0"/>
                          </a:lnTo>
                          <a:lnTo>
                            <a:pt x="0" y="6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657" name="Freeform 264"/>
                    <p:cNvSpPr>
                      <a:spLocks/>
                    </p:cNvSpPr>
                    <p:nvPr/>
                  </p:nvSpPr>
                  <p:spPr bwMode="auto">
                    <a:xfrm>
                      <a:off x="2694" y="2630"/>
                      <a:ext cx="8" cy="6"/>
                    </a:xfrm>
                    <a:custGeom>
                      <a:avLst/>
                      <a:gdLst>
                        <a:gd name="T0" fmla="*/ 0 w 33"/>
                        <a:gd name="T1" fmla="*/ 0 h 24"/>
                        <a:gd name="T2" fmla="*/ 0 w 33"/>
                        <a:gd name="T3" fmla="*/ 0 h 24"/>
                        <a:gd name="T4" fmla="*/ 0 w 33"/>
                        <a:gd name="T5" fmla="*/ 0 h 24"/>
                        <a:gd name="T6" fmla="*/ 0 w 33"/>
                        <a:gd name="T7" fmla="*/ 0 h 24"/>
                        <a:gd name="T8" fmla="*/ 0 w 33"/>
                        <a:gd name="T9" fmla="*/ 0 h 24"/>
                        <a:gd name="T10" fmla="*/ 0 w 33"/>
                        <a:gd name="T11" fmla="*/ 0 h 24"/>
                        <a:gd name="T12" fmla="*/ 0 w 33"/>
                        <a:gd name="T13" fmla="*/ 0 h 24"/>
                        <a:gd name="T14" fmla="*/ 0 w 33"/>
                        <a:gd name="T15" fmla="*/ 0 h 24"/>
                        <a:gd name="T16" fmla="*/ 0 w 33"/>
                        <a:gd name="T17" fmla="*/ 0 h 24"/>
                        <a:gd name="T18" fmla="*/ 0 w 33"/>
                        <a:gd name="T19" fmla="*/ 0 h 24"/>
                        <a:gd name="T20" fmla="*/ 0 w 33"/>
                        <a:gd name="T21" fmla="*/ 0 h 24"/>
                        <a:gd name="T22" fmla="*/ 0 w 33"/>
                        <a:gd name="T23" fmla="*/ 0 h 24"/>
                        <a:gd name="T24" fmla="*/ 0 w 33"/>
                        <a:gd name="T25" fmla="*/ 0 h 24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w 33"/>
                        <a:gd name="T40" fmla="*/ 0 h 24"/>
                        <a:gd name="T41" fmla="*/ 33 w 33"/>
                        <a:gd name="T42" fmla="*/ 24 h 24"/>
                      </a:gdLst>
                      <a:ahLst/>
                      <a:cxnLst>
                        <a:cxn ang="T26">
                          <a:pos x="T0" y="T1"/>
                        </a:cxn>
                        <a:cxn ang="T27">
                          <a:pos x="T2" y="T3"/>
                        </a:cxn>
                        <a:cxn ang="T28">
                          <a:pos x="T4" y="T5"/>
                        </a:cxn>
                        <a:cxn ang="T29">
                          <a:pos x="T6" y="T7"/>
                        </a:cxn>
                        <a:cxn ang="T30">
                          <a:pos x="T8" y="T9"/>
                        </a:cxn>
                        <a:cxn ang="T31">
                          <a:pos x="T10" y="T11"/>
                        </a:cxn>
                        <a:cxn ang="T32">
                          <a:pos x="T12" y="T13"/>
                        </a:cxn>
                        <a:cxn ang="T33">
                          <a:pos x="T14" y="T15"/>
                        </a:cxn>
                        <a:cxn ang="T34">
                          <a:pos x="T16" y="T17"/>
                        </a:cxn>
                        <a:cxn ang="T35">
                          <a:pos x="T18" y="T19"/>
                        </a:cxn>
                        <a:cxn ang="T36">
                          <a:pos x="T20" y="T21"/>
                        </a:cxn>
                        <a:cxn ang="T37">
                          <a:pos x="T22" y="T23"/>
                        </a:cxn>
                        <a:cxn ang="T38">
                          <a:pos x="T24" y="T25"/>
                        </a:cxn>
                      </a:cxnLst>
                      <a:rect l="T39" t="T40" r="T41" b="T42"/>
                      <a:pathLst>
                        <a:path w="33" h="24">
                          <a:moveTo>
                            <a:pt x="33" y="13"/>
                          </a:moveTo>
                          <a:lnTo>
                            <a:pt x="29" y="18"/>
                          </a:lnTo>
                          <a:lnTo>
                            <a:pt x="25" y="22"/>
                          </a:lnTo>
                          <a:lnTo>
                            <a:pt x="20" y="24"/>
                          </a:lnTo>
                          <a:lnTo>
                            <a:pt x="13" y="24"/>
                          </a:lnTo>
                          <a:lnTo>
                            <a:pt x="8" y="21"/>
                          </a:lnTo>
                          <a:lnTo>
                            <a:pt x="4" y="18"/>
                          </a:lnTo>
                          <a:lnTo>
                            <a:pt x="1" y="15"/>
                          </a:lnTo>
                          <a:lnTo>
                            <a:pt x="1" y="9"/>
                          </a:lnTo>
                          <a:lnTo>
                            <a:pt x="0" y="3"/>
                          </a:lnTo>
                          <a:lnTo>
                            <a:pt x="11" y="0"/>
                          </a:lnTo>
                          <a:lnTo>
                            <a:pt x="23" y="0"/>
                          </a:lnTo>
                          <a:lnTo>
                            <a:pt x="33" y="13"/>
                          </a:lnTo>
                          <a:close/>
                        </a:path>
                      </a:pathLst>
                    </a:custGeom>
                    <a:solidFill>
                      <a:srgbClr val="FFFFF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658" name="Oval 265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669" y="2617"/>
                      <a:ext cx="8" cy="7"/>
                    </a:xfrm>
                    <a:prstGeom prst="ellipse">
                      <a:avLst/>
                    </a:prstGeom>
                    <a:solidFill>
                      <a:srgbClr val="00E0E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659" name="Oval 266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696" y="2629"/>
                      <a:ext cx="7" cy="6"/>
                    </a:xfrm>
                    <a:prstGeom prst="ellipse">
                      <a:avLst/>
                    </a:prstGeom>
                    <a:solidFill>
                      <a:srgbClr val="00E0E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660" name="Oval 267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671" y="2618"/>
                      <a:ext cx="4" cy="5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661" name="Oval 268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697" y="2630"/>
                      <a:ext cx="4" cy="3"/>
                    </a:xfrm>
                    <a:prstGeom prst="ellipse">
                      <a:avLst/>
                    </a:prstGeom>
                    <a:solidFill>
                      <a:srgbClr val="000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662" name="Oval 26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672" y="2620"/>
                      <a:ext cx="2" cy="2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grpSp>
                  <p:nvGrpSpPr>
                    <p:cNvPr id="34839" name="Group 270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2636" y="2622"/>
                      <a:ext cx="53" cy="52"/>
                      <a:chOff x="2636" y="2622"/>
                      <a:chExt cx="53" cy="52"/>
                    </a:xfrm>
                  </p:grpSpPr>
                  <p:sp>
                    <p:nvSpPr>
                      <p:cNvPr id="38669" name="Freeform 271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2636" y="2622"/>
                        <a:ext cx="31" cy="45"/>
                      </a:xfrm>
                      <a:custGeom>
                        <a:avLst/>
                        <a:gdLst>
                          <a:gd name="T0" fmla="*/ 0 w 122"/>
                          <a:gd name="T1" fmla="*/ 0 h 181"/>
                          <a:gd name="T2" fmla="*/ 0 w 122"/>
                          <a:gd name="T3" fmla="*/ 0 h 181"/>
                          <a:gd name="T4" fmla="*/ 0 w 122"/>
                          <a:gd name="T5" fmla="*/ 0 h 181"/>
                          <a:gd name="T6" fmla="*/ 0 w 122"/>
                          <a:gd name="T7" fmla="*/ 0 h 181"/>
                          <a:gd name="T8" fmla="*/ 0 w 122"/>
                          <a:gd name="T9" fmla="*/ 0 h 181"/>
                          <a:gd name="T10" fmla="*/ 0 w 122"/>
                          <a:gd name="T11" fmla="*/ 0 h 181"/>
                          <a:gd name="T12" fmla="*/ 0 w 122"/>
                          <a:gd name="T13" fmla="*/ 0 h 181"/>
                          <a:gd name="T14" fmla="*/ 0 w 122"/>
                          <a:gd name="T15" fmla="*/ 0 h 181"/>
                          <a:gd name="T16" fmla="*/ 0 w 122"/>
                          <a:gd name="T17" fmla="*/ 0 h 181"/>
                          <a:gd name="T18" fmla="*/ 0 w 122"/>
                          <a:gd name="T19" fmla="*/ 0 h 181"/>
                          <a:gd name="T20" fmla="*/ 0 w 122"/>
                          <a:gd name="T21" fmla="*/ 0 h 181"/>
                          <a:gd name="T22" fmla="*/ 0 w 122"/>
                          <a:gd name="T23" fmla="*/ 0 h 181"/>
                          <a:gd name="T24" fmla="*/ 0 w 122"/>
                          <a:gd name="T25" fmla="*/ 0 h 181"/>
                          <a:gd name="T26" fmla="*/ 0 w 122"/>
                          <a:gd name="T27" fmla="*/ 0 h 181"/>
                          <a:gd name="T28" fmla="*/ 0 w 122"/>
                          <a:gd name="T29" fmla="*/ 0 h 181"/>
                          <a:gd name="T30" fmla="*/ 0 w 122"/>
                          <a:gd name="T31" fmla="*/ 0 h 181"/>
                          <a:gd name="T32" fmla="*/ 0 w 122"/>
                          <a:gd name="T33" fmla="*/ 0 h 181"/>
                          <a:gd name="T34" fmla="*/ 0 w 122"/>
                          <a:gd name="T35" fmla="*/ 0 h 181"/>
                          <a:gd name="T36" fmla="*/ 0 w 122"/>
                          <a:gd name="T37" fmla="*/ 0 h 181"/>
                          <a:gd name="T38" fmla="*/ 0 w 122"/>
                          <a:gd name="T39" fmla="*/ 0 h 181"/>
                          <a:gd name="T40" fmla="*/ 0 w 122"/>
                          <a:gd name="T41" fmla="*/ 0 h 181"/>
                          <a:gd name="T42" fmla="*/ 0 w 122"/>
                          <a:gd name="T43" fmla="*/ 0 h 181"/>
                          <a:gd name="T44" fmla="*/ 0 w 122"/>
                          <a:gd name="T45" fmla="*/ 0 h 181"/>
                          <a:gd name="T46" fmla="*/ 0 w 122"/>
                          <a:gd name="T47" fmla="*/ 0 h 181"/>
                          <a:gd name="T48" fmla="*/ 0 w 122"/>
                          <a:gd name="T49" fmla="*/ 0 h 181"/>
                          <a:gd name="T50" fmla="*/ 0 w 122"/>
                          <a:gd name="T51" fmla="*/ 0 h 181"/>
                          <a:gd name="T52" fmla="*/ 0 w 122"/>
                          <a:gd name="T53" fmla="*/ 0 h 181"/>
                          <a:gd name="T54" fmla="*/ 0 w 122"/>
                          <a:gd name="T55" fmla="*/ 0 h 181"/>
                          <a:gd name="T56" fmla="*/ 0 60000 65536"/>
                          <a:gd name="T57" fmla="*/ 0 60000 65536"/>
                          <a:gd name="T58" fmla="*/ 0 60000 65536"/>
                          <a:gd name="T59" fmla="*/ 0 60000 65536"/>
                          <a:gd name="T60" fmla="*/ 0 60000 65536"/>
                          <a:gd name="T61" fmla="*/ 0 60000 65536"/>
                          <a:gd name="T62" fmla="*/ 0 60000 65536"/>
                          <a:gd name="T63" fmla="*/ 0 60000 65536"/>
                          <a:gd name="T64" fmla="*/ 0 60000 65536"/>
                          <a:gd name="T65" fmla="*/ 0 60000 65536"/>
                          <a:gd name="T66" fmla="*/ 0 60000 65536"/>
                          <a:gd name="T67" fmla="*/ 0 60000 65536"/>
                          <a:gd name="T68" fmla="*/ 0 60000 65536"/>
                          <a:gd name="T69" fmla="*/ 0 60000 65536"/>
                          <a:gd name="T70" fmla="*/ 0 60000 65536"/>
                          <a:gd name="T71" fmla="*/ 0 60000 65536"/>
                          <a:gd name="T72" fmla="*/ 0 60000 65536"/>
                          <a:gd name="T73" fmla="*/ 0 60000 65536"/>
                          <a:gd name="T74" fmla="*/ 0 60000 65536"/>
                          <a:gd name="T75" fmla="*/ 0 60000 65536"/>
                          <a:gd name="T76" fmla="*/ 0 60000 65536"/>
                          <a:gd name="T77" fmla="*/ 0 60000 65536"/>
                          <a:gd name="T78" fmla="*/ 0 60000 65536"/>
                          <a:gd name="T79" fmla="*/ 0 60000 65536"/>
                          <a:gd name="T80" fmla="*/ 0 60000 65536"/>
                          <a:gd name="T81" fmla="*/ 0 60000 65536"/>
                          <a:gd name="T82" fmla="*/ 0 60000 65536"/>
                          <a:gd name="T83" fmla="*/ 0 60000 65536"/>
                          <a:gd name="T84" fmla="*/ 0 w 122"/>
                          <a:gd name="T85" fmla="*/ 0 h 181"/>
                          <a:gd name="T86" fmla="*/ 122 w 122"/>
                          <a:gd name="T87" fmla="*/ 181 h 181"/>
                        </a:gdLst>
                        <a:ahLst/>
                        <a:cxnLst>
                          <a:cxn ang="T56">
                            <a:pos x="T0" y="T1"/>
                          </a:cxn>
                          <a:cxn ang="T57">
                            <a:pos x="T2" y="T3"/>
                          </a:cxn>
                          <a:cxn ang="T58">
                            <a:pos x="T4" y="T5"/>
                          </a:cxn>
                          <a:cxn ang="T59">
                            <a:pos x="T6" y="T7"/>
                          </a:cxn>
                          <a:cxn ang="T60">
                            <a:pos x="T8" y="T9"/>
                          </a:cxn>
                          <a:cxn ang="T61">
                            <a:pos x="T10" y="T11"/>
                          </a:cxn>
                          <a:cxn ang="T62">
                            <a:pos x="T12" y="T13"/>
                          </a:cxn>
                          <a:cxn ang="T63">
                            <a:pos x="T14" y="T15"/>
                          </a:cxn>
                          <a:cxn ang="T64">
                            <a:pos x="T16" y="T17"/>
                          </a:cxn>
                          <a:cxn ang="T65">
                            <a:pos x="T18" y="T19"/>
                          </a:cxn>
                          <a:cxn ang="T66">
                            <a:pos x="T20" y="T21"/>
                          </a:cxn>
                          <a:cxn ang="T67">
                            <a:pos x="T22" y="T23"/>
                          </a:cxn>
                          <a:cxn ang="T68">
                            <a:pos x="T24" y="T25"/>
                          </a:cxn>
                          <a:cxn ang="T69">
                            <a:pos x="T26" y="T27"/>
                          </a:cxn>
                          <a:cxn ang="T70">
                            <a:pos x="T28" y="T29"/>
                          </a:cxn>
                          <a:cxn ang="T71">
                            <a:pos x="T30" y="T31"/>
                          </a:cxn>
                          <a:cxn ang="T72">
                            <a:pos x="T32" y="T33"/>
                          </a:cxn>
                          <a:cxn ang="T73">
                            <a:pos x="T34" y="T35"/>
                          </a:cxn>
                          <a:cxn ang="T74">
                            <a:pos x="T36" y="T37"/>
                          </a:cxn>
                          <a:cxn ang="T75">
                            <a:pos x="T38" y="T39"/>
                          </a:cxn>
                          <a:cxn ang="T76">
                            <a:pos x="T40" y="T41"/>
                          </a:cxn>
                          <a:cxn ang="T77">
                            <a:pos x="T42" y="T43"/>
                          </a:cxn>
                          <a:cxn ang="T78">
                            <a:pos x="T44" y="T45"/>
                          </a:cxn>
                          <a:cxn ang="T79">
                            <a:pos x="T46" y="T47"/>
                          </a:cxn>
                          <a:cxn ang="T80">
                            <a:pos x="T48" y="T49"/>
                          </a:cxn>
                          <a:cxn ang="T81">
                            <a:pos x="T50" y="T51"/>
                          </a:cxn>
                          <a:cxn ang="T82">
                            <a:pos x="T52" y="T53"/>
                          </a:cxn>
                          <a:cxn ang="T83">
                            <a:pos x="T54" y="T55"/>
                          </a:cxn>
                        </a:cxnLst>
                        <a:rect l="T84" t="T85" r="T86" b="T87"/>
                        <a:pathLst>
                          <a:path w="122" h="181">
                            <a:moveTo>
                              <a:pt x="13" y="0"/>
                            </a:moveTo>
                            <a:lnTo>
                              <a:pt x="47" y="52"/>
                            </a:lnTo>
                            <a:lnTo>
                              <a:pt x="55" y="60"/>
                            </a:lnTo>
                            <a:lnTo>
                              <a:pt x="64" y="65"/>
                            </a:lnTo>
                            <a:lnTo>
                              <a:pt x="72" y="67"/>
                            </a:lnTo>
                            <a:lnTo>
                              <a:pt x="100" y="67"/>
                            </a:lnTo>
                            <a:lnTo>
                              <a:pt x="122" y="81"/>
                            </a:lnTo>
                            <a:lnTo>
                              <a:pt x="88" y="85"/>
                            </a:lnTo>
                            <a:lnTo>
                              <a:pt x="70" y="86"/>
                            </a:lnTo>
                            <a:lnTo>
                              <a:pt x="53" y="89"/>
                            </a:lnTo>
                            <a:lnTo>
                              <a:pt x="41" y="103"/>
                            </a:lnTo>
                            <a:lnTo>
                              <a:pt x="27" y="138"/>
                            </a:lnTo>
                            <a:lnTo>
                              <a:pt x="34" y="181"/>
                            </a:lnTo>
                            <a:lnTo>
                              <a:pt x="24" y="164"/>
                            </a:lnTo>
                            <a:lnTo>
                              <a:pt x="17" y="153"/>
                            </a:lnTo>
                            <a:lnTo>
                              <a:pt x="12" y="143"/>
                            </a:lnTo>
                            <a:lnTo>
                              <a:pt x="12" y="134"/>
                            </a:lnTo>
                            <a:lnTo>
                              <a:pt x="12" y="123"/>
                            </a:lnTo>
                            <a:lnTo>
                              <a:pt x="15" y="103"/>
                            </a:lnTo>
                            <a:lnTo>
                              <a:pt x="14" y="112"/>
                            </a:lnTo>
                            <a:lnTo>
                              <a:pt x="20" y="94"/>
                            </a:lnTo>
                            <a:lnTo>
                              <a:pt x="27" y="85"/>
                            </a:lnTo>
                            <a:lnTo>
                              <a:pt x="8" y="63"/>
                            </a:lnTo>
                            <a:lnTo>
                              <a:pt x="3" y="55"/>
                            </a:lnTo>
                            <a:lnTo>
                              <a:pt x="0" y="47"/>
                            </a:lnTo>
                            <a:lnTo>
                              <a:pt x="1" y="38"/>
                            </a:lnTo>
                            <a:lnTo>
                              <a:pt x="4" y="28"/>
                            </a:lnTo>
                            <a:lnTo>
                              <a:pt x="13" y="0"/>
                            </a:lnTo>
                            <a:close/>
                          </a:path>
                        </a:pathLst>
                      </a:custGeom>
                      <a:solidFill>
                        <a:srgbClr val="FFA040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670" name="Freeform 27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2656" y="2670"/>
                        <a:ext cx="16" cy="4"/>
                      </a:xfrm>
                      <a:custGeom>
                        <a:avLst/>
                        <a:gdLst>
                          <a:gd name="T0" fmla="*/ 0 w 65"/>
                          <a:gd name="T1" fmla="*/ 0 h 13"/>
                          <a:gd name="T2" fmla="*/ 0 w 65"/>
                          <a:gd name="T3" fmla="*/ 0 h 13"/>
                          <a:gd name="T4" fmla="*/ 0 w 65"/>
                          <a:gd name="T5" fmla="*/ 0 h 13"/>
                          <a:gd name="T6" fmla="*/ 0 w 65"/>
                          <a:gd name="T7" fmla="*/ 0 h 13"/>
                          <a:gd name="T8" fmla="*/ 0 w 65"/>
                          <a:gd name="T9" fmla="*/ 0 h 13"/>
                          <a:gd name="T10" fmla="*/ 0 w 65"/>
                          <a:gd name="T11" fmla="*/ 0 h 13"/>
                          <a:gd name="T12" fmla="*/ 0 60000 65536"/>
                          <a:gd name="T13" fmla="*/ 0 60000 65536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w 65"/>
                          <a:gd name="T19" fmla="*/ 0 h 13"/>
                          <a:gd name="T20" fmla="*/ 65 w 65"/>
                          <a:gd name="T21" fmla="*/ 13 h 13"/>
                        </a:gdLst>
                        <a:ahLst/>
                        <a:cxnLst>
                          <a:cxn ang="T12">
                            <a:pos x="T0" y="T1"/>
                          </a:cxn>
                          <a:cxn ang="T13">
                            <a:pos x="T2" y="T3"/>
                          </a:cxn>
                          <a:cxn ang="T14">
                            <a:pos x="T4" y="T5"/>
                          </a:cxn>
                          <a:cxn ang="T15">
                            <a:pos x="T6" y="T7"/>
                          </a:cxn>
                          <a:cxn ang="T16">
                            <a:pos x="T8" y="T9"/>
                          </a:cxn>
                          <a:cxn ang="T17">
                            <a:pos x="T10" y="T11"/>
                          </a:cxn>
                        </a:cxnLst>
                        <a:rect l="T18" t="T19" r="T20" b="T21"/>
                        <a:pathLst>
                          <a:path w="65" h="13">
                            <a:moveTo>
                              <a:pt x="65" y="12"/>
                            </a:moveTo>
                            <a:lnTo>
                              <a:pt x="49" y="0"/>
                            </a:lnTo>
                            <a:lnTo>
                              <a:pt x="22" y="0"/>
                            </a:lnTo>
                            <a:lnTo>
                              <a:pt x="0" y="4"/>
                            </a:lnTo>
                            <a:lnTo>
                              <a:pt x="21" y="13"/>
                            </a:lnTo>
                            <a:lnTo>
                              <a:pt x="65" y="12"/>
                            </a:lnTo>
                            <a:close/>
                          </a:path>
                        </a:pathLst>
                      </a:custGeom>
                      <a:solidFill>
                        <a:srgbClr val="FFA040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671" name="Freeform 273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2664" y="2662"/>
                        <a:ext cx="17" cy="5"/>
                      </a:xfrm>
                      <a:custGeom>
                        <a:avLst/>
                        <a:gdLst>
                          <a:gd name="T0" fmla="*/ 0 w 70"/>
                          <a:gd name="T1" fmla="*/ 0 h 20"/>
                          <a:gd name="T2" fmla="*/ 0 w 70"/>
                          <a:gd name="T3" fmla="*/ 0 h 20"/>
                          <a:gd name="T4" fmla="*/ 0 w 70"/>
                          <a:gd name="T5" fmla="*/ 0 h 20"/>
                          <a:gd name="T6" fmla="*/ 0 w 70"/>
                          <a:gd name="T7" fmla="*/ 0 h 20"/>
                          <a:gd name="T8" fmla="*/ 0 w 70"/>
                          <a:gd name="T9" fmla="*/ 0 h 20"/>
                          <a:gd name="T10" fmla="*/ 0 w 70"/>
                          <a:gd name="T11" fmla="*/ 0 h 20"/>
                          <a:gd name="T12" fmla="*/ 0 w 70"/>
                          <a:gd name="T13" fmla="*/ 0 h 20"/>
                          <a:gd name="T14" fmla="*/ 0 w 70"/>
                          <a:gd name="T15" fmla="*/ 0 h 20"/>
                          <a:gd name="T16" fmla="*/ 0 w 70"/>
                          <a:gd name="T17" fmla="*/ 0 h 20"/>
                          <a:gd name="T18" fmla="*/ 0 60000 65536"/>
                          <a:gd name="T19" fmla="*/ 0 60000 65536"/>
                          <a:gd name="T20" fmla="*/ 0 60000 65536"/>
                          <a:gd name="T21" fmla="*/ 0 60000 65536"/>
                          <a:gd name="T22" fmla="*/ 0 60000 65536"/>
                          <a:gd name="T23" fmla="*/ 0 60000 65536"/>
                          <a:gd name="T24" fmla="*/ 0 60000 65536"/>
                          <a:gd name="T25" fmla="*/ 0 60000 65536"/>
                          <a:gd name="T26" fmla="*/ 0 60000 65536"/>
                          <a:gd name="T27" fmla="*/ 0 w 70"/>
                          <a:gd name="T28" fmla="*/ 0 h 20"/>
                          <a:gd name="T29" fmla="*/ 70 w 70"/>
                          <a:gd name="T30" fmla="*/ 20 h 20"/>
                        </a:gdLst>
                        <a:ahLst/>
                        <a:cxnLst>
                          <a:cxn ang="T18">
                            <a:pos x="T0" y="T1"/>
                          </a:cxn>
                          <a:cxn ang="T19">
                            <a:pos x="T2" y="T3"/>
                          </a:cxn>
                          <a:cxn ang="T20">
                            <a:pos x="T4" y="T5"/>
                          </a:cxn>
                          <a:cxn ang="T21">
                            <a:pos x="T6" y="T7"/>
                          </a:cxn>
                          <a:cxn ang="T22">
                            <a:pos x="T8" y="T9"/>
                          </a:cxn>
                          <a:cxn ang="T23">
                            <a:pos x="T10" y="T11"/>
                          </a:cxn>
                          <a:cxn ang="T24">
                            <a:pos x="T12" y="T13"/>
                          </a:cxn>
                          <a:cxn ang="T25">
                            <a:pos x="T14" y="T15"/>
                          </a:cxn>
                          <a:cxn ang="T26">
                            <a:pos x="T16" y="T17"/>
                          </a:cxn>
                        </a:cxnLst>
                        <a:rect l="T27" t="T28" r="T29" b="T30"/>
                        <a:pathLst>
                          <a:path w="70" h="20">
                            <a:moveTo>
                              <a:pt x="0" y="0"/>
                            </a:moveTo>
                            <a:lnTo>
                              <a:pt x="43" y="0"/>
                            </a:lnTo>
                            <a:lnTo>
                              <a:pt x="48" y="5"/>
                            </a:lnTo>
                            <a:lnTo>
                              <a:pt x="59" y="6"/>
                            </a:lnTo>
                            <a:lnTo>
                              <a:pt x="70" y="20"/>
                            </a:lnTo>
                            <a:lnTo>
                              <a:pt x="53" y="11"/>
                            </a:lnTo>
                            <a:lnTo>
                              <a:pt x="41" y="10"/>
                            </a:lnTo>
                            <a:lnTo>
                              <a:pt x="20" y="5"/>
                            </a:lnTo>
                            <a:lnTo>
                              <a:pt x="0" y="0"/>
                            </a:lnTo>
                            <a:close/>
                          </a:path>
                        </a:pathLst>
                      </a:custGeom>
                      <a:solidFill>
                        <a:srgbClr val="FFA040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672" name="Freeform 274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2666" y="2634"/>
                        <a:ext cx="15" cy="20"/>
                      </a:xfrm>
                      <a:custGeom>
                        <a:avLst/>
                        <a:gdLst>
                          <a:gd name="T0" fmla="*/ 0 w 59"/>
                          <a:gd name="T1" fmla="*/ 0 h 81"/>
                          <a:gd name="T2" fmla="*/ 0 w 59"/>
                          <a:gd name="T3" fmla="*/ 0 h 81"/>
                          <a:gd name="T4" fmla="*/ 0 w 59"/>
                          <a:gd name="T5" fmla="*/ 0 h 81"/>
                          <a:gd name="T6" fmla="*/ 0 w 59"/>
                          <a:gd name="T7" fmla="*/ 0 h 81"/>
                          <a:gd name="T8" fmla="*/ 0 w 59"/>
                          <a:gd name="T9" fmla="*/ 0 h 81"/>
                          <a:gd name="T10" fmla="*/ 0 w 59"/>
                          <a:gd name="T11" fmla="*/ 0 h 81"/>
                          <a:gd name="T12" fmla="*/ 0 w 59"/>
                          <a:gd name="T13" fmla="*/ 0 h 81"/>
                          <a:gd name="T14" fmla="*/ 0 w 59"/>
                          <a:gd name="T15" fmla="*/ 0 h 81"/>
                          <a:gd name="T16" fmla="*/ 0 w 59"/>
                          <a:gd name="T17" fmla="*/ 0 h 81"/>
                          <a:gd name="T18" fmla="*/ 0 w 59"/>
                          <a:gd name="T19" fmla="*/ 0 h 81"/>
                          <a:gd name="T20" fmla="*/ 0 w 59"/>
                          <a:gd name="T21" fmla="*/ 0 h 81"/>
                          <a:gd name="T22" fmla="*/ 0 w 59"/>
                          <a:gd name="T23" fmla="*/ 0 h 81"/>
                          <a:gd name="T24" fmla="*/ 0 w 59"/>
                          <a:gd name="T25" fmla="*/ 0 h 81"/>
                          <a:gd name="T26" fmla="*/ 0 w 59"/>
                          <a:gd name="T27" fmla="*/ 0 h 81"/>
                          <a:gd name="T28" fmla="*/ 0 w 59"/>
                          <a:gd name="T29" fmla="*/ 0 h 81"/>
                          <a:gd name="T30" fmla="*/ 0 w 59"/>
                          <a:gd name="T31" fmla="*/ 0 h 81"/>
                          <a:gd name="T32" fmla="*/ 0 w 59"/>
                          <a:gd name="T33" fmla="*/ 0 h 81"/>
                          <a:gd name="T34" fmla="*/ 0 w 59"/>
                          <a:gd name="T35" fmla="*/ 0 h 81"/>
                          <a:gd name="T36" fmla="*/ 0 w 59"/>
                          <a:gd name="T37" fmla="*/ 0 h 81"/>
                          <a:gd name="T38" fmla="*/ 0 w 59"/>
                          <a:gd name="T39" fmla="*/ 0 h 81"/>
                          <a:gd name="T40" fmla="*/ 0 w 59"/>
                          <a:gd name="T41" fmla="*/ 0 h 81"/>
                          <a:gd name="T42" fmla="*/ 0 w 59"/>
                          <a:gd name="T43" fmla="*/ 0 h 81"/>
                          <a:gd name="T44" fmla="*/ 0 w 59"/>
                          <a:gd name="T45" fmla="*/ 0 h 81"/>
                          <a:gd name="T46" fmla="*/ 0 w 59"/>
                          <a:gd name="T47" fmla="*/ 0 h 81"/>
                          <a:gd name="T48" fmla="*/ 0 w 59"/>
                          <a:gd name="T49" fmla="*/ 0 h 81"/>
                          <a:gd name="T50" fmla="*/ 0 60000 65536"/>
                          <a:gd name="T51" fmla="*/ 0 60000 65536"/>
                          <a:gd name="T52" fmla="*/ 0 60000 65536"/>
                          <a:gd name="T53" fmla="*/ 0 60000 65536"/>
                          <a:gd name="T54" fmla="*/ 0 60000 65536"/>
                          <a:gd name="T55" fmla="*/ 0 60000 65536"/>
                          <a:gd name="T56" fmla="*/ 0 60000 65536"/>
                          <a:gd name="T57" fmla="*/ 0 60000 65536"/>
                          <a:gd name="T58" fmla="*/ 0 60000 65536"/>
                          <a:gd name="T59" fmla="*/ 0 60000 65536"/>
                          <a:gd name="T60" fmla="*/ 0 60000 65536"/>
                          <a:gd name="T61" fmla="*/ 0 60000 65536"/>
                          <a:gd name="T62" fmla="*/ 0 60000 65536"/>
                          <a:gd name="T63" fmla="*/ 0 60000 65536"/>
                          <a:gd name="T64" fmla="*/ 0 60000 65536"/>
                          <a:gd name="T65" fmla="*/ 0 60000 65536"/>
                          <a:gd name="T66" fmla="*/ 0 60000 65536"/>
                          <a:gd name="T67" fmla="*/ 0 60000 65536"/>
                          <a:gd name="T68" fmla="*/ 0 60000 65536"/>
                          <a:gd name="T69" fmla="*/ 0 60000 65536"/>
                          <a:gd name="T70" fmla="*/ 0 60000 65536"/>
                          <a:gd name="T71" fmla="*/ 0 60000 65536"/>
                          <a:gd name="T72" fmla="*/ 0 60000 65536"/>
                          <a:gd name="T73" fmla="*/ 0 60000 65536"/>
                          <a:gd name="T74" fmla="*/ 0 60000 65536"/>
                          <a:gd name="T75" fmla="*/ 0 w 59"/>
                          <a:gd name="T76" fmla="*/ 0 h 81"/>
                          <a:gd name="T77" fmla="*/ 59 w 59"/>
                          <a:gd name="T78" fmla="*/ 81 h 81"/>
                        </a:gdLst>
                        <a:ahLst/>
                        <a:cxnLst>
                          <a:cxn ang="T50">
                            <a:pos x="T0" y="T1"/>
                          </a:cxn>
                          <a:cxn ang="T51">
                            <a:pos x="T2" y="T3"/>
                          </a:cxn>
                          <a:cxn ang="T52">
                            <a:pos x="T4" y="T5"/>
                          </a:cxn>
                          <a:cxn ang="T53">
                            <a:pos x="T6" y="T7"/>
                          </a:cxn>
                          <a:cxn ang="T54">
                            <a:pos x="T8" y="T9"/>
                          </a:cxn>
                          <a:cxn ang="T55">
                            <a:pos x="T10" y="T11"/>
                          </a:cxn>
                          <a:cxn ang="T56">
                            <a:pos x="T12" y="T13"/>
                          </a:cxn>
                          <a:cxn ang="T57">
                            <a:pos x="T14" y="T15"/>
                          </a:cxn>
                          <a:cxn ang="T58">
                            <a:pos x="T16" y="T17"/>
                          </a:cxn>
                          <a:cxn ang="T59">
                            <a:pos x="T18" y="T19"/>
                          </a:cxn>
                          <a:cxn ang="T60">
                            <a:pos x="T20" y="T21"/>
                          </a:cxn>
                          <a:cxn ang="T61">
                            <a:pos x="T22" y="T23"/>
                          </a:cxn>
                          <a:cxn ang="T62">
                            <a:pos x="T24" y="T25"/>
                          </a:cxn>
                          <a:cxn ang="T63">
                            <a:pos x="T26" y="T27"/>
                          </a:cxn>
                          <a:cxn ang="T64">
                            <a:pos x="T28" y="T29"/>
                          </a:cxn>
                          <a:cxn ang="T65">
                            <a:pos x="T30" y="T31"/>
                          </a:cxn>
                          <a:cxn ang="T66">
                            <a:pos x="T32" y="T33"/>
                          </a:cxn>
                          <a:cxn ang="T67">
                            <a:pos x="T34" y="T35"/>
                          </a:cxn>
                          <a:cxn ang="T68">
                            <a:pos x="T36" y="T37"/>
                          </a:cxn>
                          <a:cxn ang="T69">
                            <a:pos x="T38" y="T39"/>
                          </a:cxn>
                          <a:cxn ang="T70">
                            <a:pos x="T40" y="T41"/>
                          </a:cxn>
                          <a:cxn ang="T71">
                            <a:pos x="T42" y="T43"/>
                          </a:cxn>
                          <a:cxn ang="T72">
                            <a:pos x="T44" y="T45"/>
                          </a:cxn>
                          <a:cxn ang="T73">
                            <a:pos x="T46" y="T47"/>
                          </a:cxn>
                          <a:cxn ang="T74">
                            <a:pos x="T48" y="T49"/>
                          </a:cxn>
                        </a:cxnLst>
                        <a:rect l="T75" t="T76" r="T77" b="T78"/>
                        <a:pathLst>
                          <a:path w="59" h="81">
                            <a:moveTo>
                              <a:pt x="59" y="0"/>
                            </a:moveTo>
                            <a:lnTo>
                              <a:pt x="57" y="14"/>
                            </a:lnTo>
                            <a:lnTo>
                              <a:pt x="59" y="46"/>
                            </a:lnTo>
                            <a:lnTo>
                              <a:pt x="59" y="67"/>
                            </a:lnTo>
                            <a:lnTo>
                              <a:pt x="56" y="76"/>
                            </a:lnTo>
                            <a:lnTo>
                              <a:pt x="47" y="67"/>
                            </a:lnTo>
                            <a:lnTo>
                              <a:pt x="42" y="62"/>
                            </a:lnTo>
                            <a:lnTo>
                              <a:pt x="30" y="60"/>
                            </a:lnTo>
                            <a:lnTo>
                              <a:pt x="22" y="60"/>
                            </a:lnTo>
                            <a:lnTo>
                              <a:pt x="14" y="64"/>
                            </a:lnTo>
                            <a:lnTo>
                              <a:pt x="9" y="71"/>
                            </a:lnTo>
                            <a:lnTo>
                              <a:pt x="10" y="75"/>
                            </a:lnTo>
                            <a:lnTo>
                              <a:pt x="12" y="80"/>
                            </a:lnTo>
                            <a:lnTo>
                              <a:pt x="12" y="81"/>
                            </a:lnTo>
                            <a:lnTo>
                              <a:pt x="0" y="74"/>
                            </a:lnTo>
                            <a:lnTo>
                              <a:pt x="0" y="66"/>
                            </a:lnTo>
                            <a:lnTo>
                              <a:pt x="4" y="62"/>
                            </a:lnTo>
                            <a:lnTo>
                              <a:pt x="12" y="61"/>
                            </a:lnTo>
                            <a:lnTo>
                              <a:pt x="21" y="55"/>
                            </a:lnTo>
                            <a:lnTo>
                              <a:pt x="33" y="43"/>
                            </a:lnTo>
                            <a:lnTo>
                              <a:pt x="40" y="33"/>
                            </a:lnTo>
                            <a:lnTo>
                              <a:pt x="45" y="22"/>
                            </a:lnTo>
                            <a:lnTo>
                              <a:pt x="45" y="18"/>
                            </a:lnTo>
                            <a:lnTo>
                              <a:pt x="47" y="15"/>
                            </a:lnTo>
                            <a:lnTo>
                              <a:pt x="59" y="0"/>
                            </a:lnTo>
                            <a:close/>
                          </a:path>
                        </a:pathLst>
                      </a:custGeom>
                      <a:solidFill>
                        <a:srgbClr val="FFA040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673" name="Freeform 275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2685" y="2624"/>
                        <a:ext cx="4" cy="5"/>
                      </a:xfrm>
                      <a:custGeom>
                        <a:avLst/>
                        <a:gdLst>
                          <a:gd name="T0" fmla="*/ 0 w 14"/>
                          <a:gd name="T1" fmla="*/ 0 h 22"/>
                          <a:gd name="T2" fmla="*/ 0 w 14"/>
                          <a:gd name="T3" fmla="*/ 0 h 22"/>
                          <a:gd name="T4" fmla="*/ 0 w 14"/>
                          <a:gd name="T5" fmla="*/ 0 h 22"/>
                          <a:gd name="T6" fmla="*/ 0 w 14"/>
                          <a:gd name="T7" fmla="*/ 0 h 22"/>
                          <a:gd name="T8" fmla="*/ 0 w 14"/>
                          <a:gd name="T9" fmla="*/ 0 h 22"/>
                          <a:gd name="T10" fmla="*/ 0 w 14"/>
                          <a:gd name="T11" fmla="*/ 0 h 22"/>
                          <a:gd name="T12" fmla="*/ 0 60000 65536"/>
                          <a:gd name="T13" fmla="*/ 0 60000 65536"/>
                          <a:gd name="T14" fmla="*/ 0 60000 65536"/>
                          <a:gd name="T15" fmla="*/ 0 60000 65536"/>
                          <a:gd name="T16" fmla="*/ 0 60000 65536"/>
                          <a:gd name="T17" fmla="*/ 0 60000 65536"/>
                          <a:gd name="T18" fmla="*/ 0 w 14"/>
                          <a:gd name="T19" fmla="*/ 0 h 22"/>
                          <a:gd name="T20" fmla="*/ 14 w 14"/>
                          <a:gd name="T21" fmla="*/ 22 h 22"/>
                        </a:gdLst>
                        <a:ahLst/>
                        <a:cxnLst>
                          <a:cxn ang="T12">
                            <a:pos x="T0" y="T1"/>
                          </a:cxn>
                          <a:cxn ang="T13">
                            <a:pos x="T2" y="T3"/>
                          </a:cxn>
                          <a:cxn ang="T14">
                            <a:pos x="T4" y="T5"/>
                          </a:cxn>
                          <a:cxn ang="T15">
                            <a:pos x="T6" y="T7"/>
                          </a:cxn>
                          <a:cxn ang="T16">
                            <a:pos x="T8" y="T9"/>
                          </a:cxn>
                          <a:cxn ang="T17">
                            <a:pos x="T10" y="T11"/>
                          </a:cxn>
                        </a:cxnLst>
                        <a:rect l="T18" t="T19" r="T20" b="T21"/>
                        <a:pathLst>
                          <a:path w="14" h="22">
                            <a:moveTo>
                              <a:pt x="11" y="0"/>
                            </a:moveTo>
                            <a:lnTo>
                              <a:pt x="14" y="13"/>
                            </a:lnTo>
                            <a:lnTo>
                              <a:pt x="11" y="17"/>
                            </a:lnTo>
                            <a:lnTo>
                              <a:pt x="12" y="22"/>
                            </a:lnTo>
                            <a:lnTo>
                              <a:pt x="0" y="20"/>
                            </a:lnTo>
                            <a:lnTo>
                              <a:pt x="11" y="0"/>
                            </a:lnTo>
                            <a:close/>
                          </a:path>
                        </a:pathLst>
                      </a:custGeom>
                      <a:solidFill>
                        <a:srgbClr val="FFA040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  <p:sp>
                    <p:nvSpPr>
                      <p:cNvPr id="38674" name="Freeform 276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2641" y="2647"/>
                        <a:ext cx="6" cy="20"/>
                      </a:xfrm>
                      <a:custGeom>
                        <a:avLst/>
                        <a:gdLst>
                          <a:gd name="T0" fmla="*/ 0 w 23"/>
                          <a:gd name="T1" fmla="*/ 0 h 82"/>
                          <a:gd name="T2" fmla="*/ 0 w 23"/>
                          <a:gd name="T3" fmla="*/ 0 h 82"/>
                          <a:gd name="T4" fmla="*/ 0 w 23"/>
                          <a:gd name="T5" fmla="*/ 0 h 82"/>
                          <a:gd name="T6" fmla="*/ 0 w 23"/>
                          <a:gd name="T7" fmla="*/ 0 h 82"/>
                          <a:gd name="T8" fmla="*/ 0 w 23"/>
                          <a:gd name="T9" fmla="*/ 0 h 82"/>
                          <a:gd name="T10" fmla="*/ 0 w 23"/>
                          <a:gd name="T11" fmla="*/ 0 h 82"/>
                          <a:gd name="T12" fmla="*/ 0 w 23"/>
                          <a:gd name="T13" fmla="*/ 0 h 82"/>
                          <a:gd name="T14" fmla="*/ 0 w 23"/>
                          <a:gd name="T15" fmla="*/ 0 h 82"/>
                          <a:gd name="T16" fmla="*/ 0 w 23"/>
                          <a:gd name="T17" fmla="*/ 0 h 82"/>
                          <a:gd name="T18" fmla="*/ 0 w 23"/>
                          <a:gd name="T19" fmla="*/ 0 h 82"/>
                          <a:gd name="T20" fmla="*/ 0 w 23"/>
                          <a:gd name="T21" fmla="*/ 0 h 82"/>
                          <a:gd name="T22" fmla="*/ 0 w 23"/>
                          <a:gd name="T23" fmla="*/ 0 h 82"/>
                          <a:gd name="T24" fmla="*/ 0 w 23"/>
                          <a:gd name="T25" fmla="*/ 0 h 82"/>
                          <a:gd name="T26" fmla="*/ 0 w 23"/>
                          <a:gd name="T27" fmla="*/ 0 h 82"/>
                          <a:gd name="T28" fmla="*/ 0 w 23"/>
                          <a:gd name="T29" fmla="*/ 0 h 82"/>
                          <a:gd name="T30" fmla="*/ 0 w 23"/>
                          <a:gd name="T31" fmla="*/ 0 h 82"/>
                          <a:gd name="T32" fmla="*/ 0 w 23"/>
                          <a:gd name="T33" fmla="*/ 0 h 82"/>
                          <a:gd name="T34" fmla="*/ 0 w 23"/>
                          <a:gd name="T35" fmla="*/ 0 h 82"/>
                          <a:gd name="T36" fmla="*/ 0 60000 65536"/>
                          <a:gd name="T37" fmla="*/ 0 60000 65536"/>
                          <a:gd name="T38" fmla="*/ 0 60000 65536"/>
                          <a:gd name="T39" fmla="*/ 0 60000 65536"/>
                          <a:gd name="T40" fmla="*/ 0 60000 65536"/>
                          <a:gd name="T41" fmla="*/ 0 60000 65536"/>
                          <a:gd name="T42" fmla="*/ 0 60000 65536"/>
                          <a:gd name="T43" fmla="*/ 0 60000 65536"/>
                          <a:gd name="T44" fmla="*/ 0 60000 65536"/>
                          <a:gd name="T45" fmla="*/ 0 60000 65536"/>
                          <a:gd name="T46" fmla="*/ 0 60000 65536"/>
                          <a:gd name="T47" fmla="*/ 0 60000 65536"/>
                          <a:gd name="T48" fmla="*/ 0 60000 65536"/>
                          <a:gd name="T49" fmla="*/ 0 60000 65536"/>
                          <a:gd name="T50" fmla="*/ 0 60000 65536"/>
                          <a:gd name="T51" fmla="*/ 0 60000 65536"/>
                          <a:gd name="T52" fmla="*/ 0 60000 65536"/>
                          <a:gd name="T53" fmla="*/ 0 60000 65536"/>
                          <a:gd name="T54" fmla="*/ 0 w 23"/>
                          <a:gd name="T55" fmla="*/ 0 h 82"/>
                          <a:gd name="T56" fmla="*/ 23 w 23"/>
                          <a:gd name="T57" fmla="*/ 82 h 82"/>
                        </a:gdLst>
                        <a:ahLst/>
                        <a:cxnLst>
                          <a:cxn ang="T36">
                            <a:pos x="T0" y="T1"/>
                          </a:cxn>
                          <a:cxn ang="T37">
                            <a:pos x="T2" y="T3"/>
                          </a:cxn>
                          <a:cxn ang="T38">
                            <a:pos x="T4" y="T5"/>
                          </a:cxn>
                          <a:cxn ang="T39">
                            <a:pos x="T6" y="T7"/>
                          </a:cxn>
                          <a:cxn ang="T40">
                            <a:pos x="T8" y="T9"/>
                          </a:cxn>
                          <a:cxn ang="T41">
                            <a:pos x="T10" y="T11"/>
                          </a:cxn>
                          <a:cxn ang="T42">
                            <a:pos x="T12" y="T13"/>
                          </a:cxn>
                          <a:cxn ang="T43">
                            <a:pos x="T14" y="T15"/>
                          </a:cxn>
                          <a:cxn ang="T44">
                            <a:pos x="T16" y="T17"/>
                          </a:cxn>
                          <a:cxn ang="T45">
                            <a:pos x="T18" y="T19"/>
                          </a:cxn>
                          <a:cxn ang="T46">
                            <a:pos x="T20" y="T21"/>
                          </a:cxn>
                          <a:cxn ang="T47">
                            <a:pos x="T22" y="T23"/>
                          </a:cxn>
                          <a:cxn ang="T48">
                            <a:pos x="T24" y="T25"/>
                          </a:cxn>
                          <a:cxn ang="T49">
                            <a:pos x="T26" y="T27"/>
                          </a:cxn>
                          <a:cxn ang="T50">
                            <a:pos x="T28" y="T29"/>
                          </a:cxn>
                          <a:cxn ang="T51">
                            <a:pos x="T30" y="T31"/>
                          </a:cxn>
                          <a:cxn ang="T52">
                            <a:pos x="T32" y="T33"/>
                          </a:cxn>
                          <a:cxn ang="T53">
                            <a:pos x="T34" y="T35"/>
                          </a:cxn>
                        </a:cxnLst>
                        <a:rect l="T54" t="T55" r="T56" b="T57"/>
                        <a:pathLst>
                          <a:path w="23" h="82">
                            <a:moveTo>
                              <a:pt x="23" y="0"/>
                            </a:moveTo>
                            <a:lnTo>
                              <a:pt x="18" y="11"/>
                            </a:lnTo>
                            <a:lnTo>
                              <a:pt x="13" y="21"/>
                            </a:lnTo>
                            <a:lnTo>
                              <a:pt x="13" y="33"/>
                            </a:lnTo>
                            <a:lnTo>
                              <a:pt x="13" y="52"/>
                            </a:lnTo>
                            <a:lnTo>
                              <a:pt x="12" y="42"/>
                            </a:lnTo>
                            <a:lnTo>
                              <a:pt x="13" y="59"/>
                            </a:lnTo>
                            <a:lnTo>
                              <a:pt x="18" y="82"/>
                            </a:lnTo>
                            <a:lnTo>
                              <a:pt x="3" y="55"/>
                            </a:lnTo>
                            <a:lnTo>
                              <a:pt x="7" y="61"/>
                            </a:lnTo>
                            <a:lnTo>
                              <a:pt x="2" y="49"/>
                            </a:lnTo>
                            <a:lnTo>
                              <a:pt x="0" y="41"/>
                            </a:lnTo>
                            <a:lnTo>
                              <a:pt x="2" y="32"/>
                            </a:lnTo>
                            <a:lnTo>
                              <a:pt x="3" y="23"/>
                            </a:lnTo>
                            <a:lnTo>
                              <a:pt x="5" y="16"/>
                            </a:lnTo>
                            <a:lnTo>
                              <a:pt x="8" y="9"/>
                            </a:lnTo>
                            <a:lnTo>
                              <a:pt x="14" y="2"/>
                            </a:lnTo>
                            <a:lnTo>
                              <a:pt x="23" y="0"/>
                            </a:lnTo>
                            <a:close/>
                          </a:path>
                        </a:pathLst>
                      </a:custGeom>
                      <a:solidFill>
                        <a:srgbClr val="FFC080"/>
                      </a:solidFill>
                      <a:ln w="9525">
                        <a:noFill/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/>
                      </a:p>
                    </p:txBody>
                  </p:sp>
                </p:grpSp>
                <p:sp>
                  <p:nvSpPr>
                    <p:cNvPr id="38664" name="Freeform 277"/>
                    <p:cNvSpPr>
                      <a:spLocks/>
                    </p:cNvSpPr>
                    <p:nvPr/>
                  </p:nvSpPr>
                  <p:spPr bwMode="auto">
                    <a:xfrm>
                      <a:off x="2661" y="2614"/>
                      <a:ext cx="20" cy="8"/>
                    </a:xfrm>
                    <a:custGeom>
                      <a:avLst/>
                      <a:gdLst>
                        <a:gd name="T0" fmla="*/ 0 w 82"/>
                        <a:gd name="T1" fmla="*/ 0 h 33"/>
                        <a:gd name="T2" fmla="*/ 0 w 82"/>
                        <a:gd name="T3" fmla="*/ 0 h 33"/>
                        <a:gd name="T4" fmla="*/ 0 w 82"/>
                        <a:gd name="T5" fmla="*/ 0 h 33"/>
                        <a:gd name="T6" fmla="*/ 0 w 82"/>
                        <a:gd name="T7" fmla="*/ 0 h 33"/>
                        <a:gd name="T8" fmla="*/ 0 w 82"/>
                        <a:gd name="T9" fmla="*/ 0 h 33"/>
                        <a:gd name="T10" fmla="*/ 0 w 82"/>
                        <a:gd name="T11" fmla="*/ 0 h 33"/>
                        <a:gd name="T12" fmla="*/ 0 w 82"/>
                        <a:gd name="T13" fmla="*/ 0 h 33"/>
                        <a:gd name="T14" fmla="*/ 0 w 82"/>
                        <a:gd name="T15" fmla="*/ 0 h 33"/>
                        <a:gd name="T16" fmla="*/ 0 w 82"/>
                        <a:gd name="T17" fmla="*/ 0 h 33"/>
                        <a:gd name="T18" fmla="*/ 0 w 82"/>
                        <a:gd name="T19" fmla="*/ 0 h 33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w 82"/>
                        <a:gd name="T31" fmla="*/ 0 h 33"/>
                        <a:gd name="T32" fmla="*/ 82 w 82"/>
                        <a:gd name="T33" fmla="*/ 33 h 33"/>
                      </a:gdLst>
                      <a:ahLst/>
                      <a:cxnLst>
                        <a:cxn ang="T20">
                          <a:pos x="T0" y="T1"/>
                        </a:cxn>
                        <a:cxn ang="T21">
                          <a:pos x="T2" y="T3"/>
                        </a:cxn>
                        <a:cxn ang="T22">
                          <a:pos x="T4" y="T5"/>
                        </a:cxn>
                        <a:cxn ang="T23">
                          <a:pos x="T6" y="T7"/>
                        </a:cxn>
                        <a:cxn ang="T24">
                          <a:pos x="T8" y="T9"/>
                        </a:cxn>
                        <a:cxn ang="T25">
                          <a:pos x="T10" y="T11"/>
                        </a:cxn>
                        <a:cxn ang="T26">
                          <a:pos x="T12" y="T13"/>
                        </a:cxn>
                        <a:cxn ang="T27">
                          <a:pos x="T14" y="T15"/>
                        </a:cxn>
                        <a:cxn ang="T28">
                          <a:pos x="T16" y="T17"/>
                        </a:cxn>
                        <a:cxn ang="T29">
                          <a:pos x="T18" y="T19"/>
                        </a:cxn>
                      </a:cxnLst>
                      <a:rect l="T30" t="T31" r="T32" b="T33"/>
                      <a:pathLst>
                        <a:path w="82" h="33">
                          <a:moveTo>
                            <a:pt x="80" y="33"/>
                          </a:moveTo>
                          <a:lnTo>
                            <a:pt x="82" y="31"/>
                          </a:lnTo>
                          <a:lnTo>
                            <a:pt x="70" y="13"/>
                          </a:lnTo>
                          <a:lnTo>
                            <a:pt x="57" y="8"/>
                          </a:lnTo>
                          <a:lnTo>
                            <a:pt x="49" y="3"/>
                          </a:lnTo>
                          <a:lnTo>
                            <a:pt x="28" y="0"/>
                          </a:lnTo>
                          <a:lnTo>
                            <a:pt x="0" y="0"/>
                          </a:lnTo>
                          <a:lnTo>
                            <a:pt x="16" y="12"/>
                          </a:lnTo>
                          <a:lnTo>
                            <a:pt x="64" y="27"/>
                          </a:lnTo>
                          <a:lnTo>
                            <a:pt x="80" y="33"/>
                          </a:lnTo>
                          <a:close/>
                        </a:path>
                      </a:pathLst>
                    </a:custGeom>
                    <a:solidFill>
                      <a:srgbClr val="FFA04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665" name="Freeform 278"/>
                    <p:cNvSpPr>
                      <a:spLocks/>
                    </p:cNvSpPr>
                    <p:nvPr/>
                  </p:nvSpPr>
                  <p:spPr bwMode="auto">
                    <a:xfrm>
                      <a:off x="2663" y="2616"/>
                      <a:ext cx="14" cy="7"/>
                    </a:xfrm>
                    <a:custGeom>
                      <a:avLst/>
                      <a:gdLst>
                        <a:gd name="T0" fmla="*/ 0 w 56"/>
                        <a:gd name="T1" fmla="*/ 0 h 28"/>
                        <a:gd name="T2" fmla="*/ 0 w 56"/>
                        <a:gd name="T3" fmla="*/ 0 h 28"/>
                        <a:gd name="T4" fmla="*/ 0 w 56"/>
                        <a:gd name="T5" fmla="*/ 0 h 28"/>
                        <a:gd name="T6" fmla="*/ 0 w 56"/>
                        <a:gd name="T7" fmla="*/ 0 h 28"/>
                        <a:gd name="T8" fmla="*/ 0 w 56"/>
                        <a:gd name="T9" fmla="*/ 0 h 28"/>
                        <a:gd name="T10" fmla="*/ 0 w 56"/>
                        <a:gd name="T11" fmla="*/ 0 h 28"/>
                        <a:gd name="T12" fmla="*/ 0 w 56"/>
                        <a:gd name="T13" fmla="*/ 0 h 28"/>
                        <a:gd name="T14" fmla="*/ 0 w 56"/>
                        <a:gd name="T15" fmla="*/ 0 h 28"/>
                        <a:gd name="T16" fmla="*/ 0 w 56"/>
                        <a:gd name="T17" fmla="*/ 0 h 28"/>
                        <a:gd name="T18" fmla="*/ 0 w 56"/>
                        <a:gd name="T19" fmla="*/ 0 h 28"/>
                        <a:gd name="T20" fmla="*/ 0 w 56"/>
                        <a:gd name="T21" fmla="*/ 0 h 28"/>
                        <a:gd name="T22" fmla="*/ 0 w 56"/>
                        <a:gd name="T23" fmla="*/ 0 h 28"/>
                        <a:gd name="T24" fmla="*/ 0 w 56"/>
                        <a:gd name="T25" fmla="*/ 0 h 28"/>
                        <a:gd name="T26" fmla="*/ 0 w 56"/>
                        <a:gd name="T27" fmla="*/ 0 h 28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60000 65536"/>
                        <a:gd name="T40" fmla="*/ 0 60000 65536"/>
                        <a:gd name="T41" fmla="*/ 0 60000 65536"/>
                        <a:gd name="T42" fmla="*/ 0 w 56"/>
                        <a:gd name="T43" fmla="*/ 0 h 28"/>
                        <a:gd name="T44" fmla="*/ 56 w 56"/>
                        <a:gd name="T45" fmla="*/ 28 h 28"/>
                      </a:gdLst>
                      <a:ahLst/>
                      <a:cxnLst>
                        <a:cxn ang="T28">
                          <a:pos x="T0" y="T1"/>
                        </a:cxn>
                        <a:cxn ang="T29">
                          <a:pos x="T2" y="T3"/>
                        </a:cxn>
                        <a:cxn ang="T30">
                          <a:pos x="T4" y="T5"/>
                        </a:cxn>
                        <a:cxn ang="T31">
                          <a:pos x="T6" y="T7"/>
                        </a:cxn>
                        <a:cxn ang="T32">
                          <a:pos x="T8" y="T9"/>
                        </a:cxn>
                        <a:cxn ang="T33">
                          <a:pos x="T10" y="T11"/>
                        </a:cxn>
                        <a:cxn ang="T34">
                          <a:pos x="T12" y="T13"/>
                        </a:cxn>
                        <a:cxn ang="T35">
                          <a:pos x="T14" y="T15"/>
                        </a:cxn>
                        <a:cxn ang="T36">
                          <a:pos x="T16" y="T17"/>
                        </a:cxn>
                        <a:cxn ang="T37">
                          <a:pos x="T18" y="T19"/>
                        </a:cxn>
                        <a:cxn ang="T38">
                          <a:pos x="T20" y="T21"/>
                        </a:cxn>
                        <a:cxn ang="T39">
                          <a:pos x="T22" y="T23"/>
                        </a:cxn>
                        <a:cxn ang="T40">
                          <a:pos x="T24" y="T25"/>
                        </a:cxn>
                        <a:cxn ang="T41">
                          <a:pos x="T26" y="T27"/>
                        </a:cxn>
                      </a:cxnLst>
                      <a:rect l="T42" t="T43" r="T44" b="T45"/>
                      <a:pathLst>
                        <a:path w="56" h="28">
                          <a:moveTo>
                            <a:pt x="56" y="28"/>
                          </a:moveTo>
                          <a:lnTo>
                            <a:pt x="56" y="19"/>
                          </a:lnTo>
                          <a:lnTo>
                            <a:pt x="50" y="8"/>
                          </a:lnTo>
                          <a:lnTo>
                            <a:pt x="45" y="4"/>
                          </a:lnTo>
                          <a:lnTo>
                            <a:pt x="37" y="0"/>
                          </a:lnTo>
                          <a:lnTo>
                            <a:pt x="27" y="0"/>
                          </a:lnTo>
                          <a:lnTo>
                            <a:pt x="14" y="3"/>
                          </a:lnTo>
                          <a:lnTo>
                            <a:pt x="0" y="7"/>
                          </a:lnTo>
                          <a:lnTo>
                            <a:pt x="8" y="12"/>
                          </a:lnTo>
                          <a:lnTo>
                            <a:pt x="19" y="10"/>
                          </a:lnTo>
                          <a:lnTo>
                            <a:pt x="32" y="8"/>
                          </a:lnTo>
                          <a:lnTo>
                            <a:pt x="45" y="12"/>
                          </a:lnTo>
                          <a:lnTo>
                            <a:pt x="51" y="18"/>
                          </a:lnTo>
                          <a:lnTo>
                            <a:pt x="56" y="28"/>
                          </a:lnTo>
                          <a:close/>
                        </a:path>
                      </a:pathLst>
                    </a:custGeom>
                    <a:solidFill>
                      <a:srgbClr val="E07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666" name="Oval 279"/>
                    <p:cNvSpPr>
                      <a:spLocks noChangeArrowheads="1"/>
                    </p:cNvSpPr>
                    <p:nvPr/>
                  </p:nvSpPr>
                  <p:spPr bwMode="auto">
                    <a:xfrm>
                      <a:off x="2698" y="2631"/>
                      <a:ext cx="2" cy="1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667" name="Freeform 280"/>
                    <p:cNvSpPr>
                      <a:spLocks/>
                    </p:cNvSpPr>
                    <p:nvPr/>
                  </p:nvSpPr>
                  <p:spPr bwMode="auto">
                    <a:xfrm>
                      <a:off x="2695" y="2628"/>
                      <a:ext cx="10" cy="4"/>
                    </a:xfrm>
                    <a:custGeom>
                      <a:avLst/>
                      <a:gdLst>
                        <a:gd name="T0" fmla="*/ 0 w 39"/>
                        <a:gd name="T1" fmla="*/ 0 h 16"/>
                        <a:gd name="T2" fmla="*/ 0 w 39"/>
                        <a:gd name="T3" fmla="*/ 0 h 16"/>
                        <a:gd name="T4" fmla="*/ 0 w 39"/>
                        <a:gd name="T5" fmla="*/ 0 h 16"/>
                        <a:gd name="T6" fmla="*/ 0 w 39"/>
                        <a:gd name="T7" fmla="*/ 0 h 16"/>
                        <a:gd name="T8" fmla="*/ 0 w 39"/>
                        <a:gd name="T9" fmla="*/ 0 h 16"/>
                        <a:gd name="T10" fmla="*/ 0 w 39"/>
                        <a:gd name="T11" fmla="*/ 0 h 16"/>
                        <a:gd name="T12" fmla="*/ 0 w 39"/>
                        <a:gd name="T13" fmla="*/ 0 h 16"/>
                        <a:gd name="T14" fmla="*/ 0 60000 65536"/>
                        <a:gd name="T15" fmla="*/ 0 60000 65536"/>
                        <a:gd name="T16" fmla="*/ 0 60000 65536"/>
                        <a:gd name="T17" fmla="*/ 0 60000 65536"/>
                        <a:gd name="T18" fmla="*/ 0 60000 65536"/>
                        <a:gd name="T19" fmla="*/ 0 60000 65536"/>
                        <a:gd name="T20" fmla="*/ 0 60000 65536"/>
                        <a:gd name="T21" fmla="*/ 0 w 39"/>
                        <a:gd name="T22" fmla="*/ 0 h 16"/>
                        <a:gd name="T23" fmla="*/ 39 w 39"/>
                        <a:gd name="T24" fmla="*/ 16 h 16"/>
                      </a:gdLst>
                      <a:ahLst/>
                      <a:cxnLst>
                        <a:cxn ang="T14">
                          <a:pos x="T0" y="T1"/>
                        </a:cxn>
                        <a:cxn ang="T15">
                          <a:pos x="T2" y="T3"/>
                        </a:cxn>
                        <a:cxn ang="T16">
                          <a:pos x="T4" y="T5"/>
                        </a:cxn>
                        <a:cxn ang="T17">
                          <a:pos x="T6" y="T7"/>
                        </a:cxn>
                        <a:cxn ang="T18">
                          <a:pos x="T8" y="T9"/>
                        </a:cxn>
                        <a:cxn ang="T19">
                          <a:pos x="T10" y="T11"/>
                        </a:cxn>
                        <a:cxn ang="T20">
                          <a:pos x="T12" y="T13"/>
                        </a:cxn>
                      </a:cxnLst>
                      <a:rect l="T21" t="T22" r="T23" b="T24"/>
                      <a:pathLst>
                        <a:path w="39" h="16">
                          <a:moveTo>
                            <a:pt x="30" y="16"/>
                          </a:moveTo>
                          <a:lnTo>
                            <a:pt x="39" y="10"/>
                          </a:lnTo>
                          <a:lnTo>
                            <a:pt x="29" y="2"/>
                          </a:lnTo>
                          <a:lnTo>
                            <a:pt x="18" y="0"/>
                          </a:lnTo>
                          <a:lnTo>
                            <a:pt x="8" y="0"/>
                          </a:lnTo>
                          <a:lnTo>
                            <a:pt x="0" y="3"/>
                          </a:lnTo>
                          <a:lnTo>
                            <a:pt x="30" y="16"/>
                          </a:lnTo>
                          <a:close/>
                        </a:path>
                      </a:pathLst>
                    </a:custGeom>
                    <a:solidFill>
                      <a:srgbClr val="FFA04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668" name="Freeform 281"/>
                    <p:cNvSpPr>
                      <a:spLocks/>
                    </p:cNvSpPr>
                    <p:nvPr/>
                  </p:nvSpPr>
                  <p:spPr bwMode="auto">
                    <a:xfrm>
                      <a:off x="2694" y="2629"/>
                      <a:ext cx="10" cy="4"/>
                    </a:xfrm>
                    <a:custGeom>
                      <a:avLst/>
                      <a:gdLst>
                        <a:gd name="T0" fmla="*/ 0 w 40"/>
                        <a:gd name="T1" fmla="*/ 0 h 17"/>
                        <a:gd name="T2" fmla="*/ 0 w 40"/>
                        <a:gd name="T3" fmla="*/ 0 h 17"/>
                        <a:gd name="T4" fmla="*/ 0 w 40"/>
                        <a:gd name="T5" fmla="*/ 0 h 17"/>
                        <a:gd name="T6" fmla="*/ 0 w 40"/>
                        <a:gd name="T7" fmla="*/ 0 h 17"/>
                        <a:gd name="T8" fmla="*/ 0 w 40"/>
                        <a:gd name="T9" fmla="*/ 0 h 17"/>
                        <a:gd name="T10" fmla="*/ 0 w 40"/>
                        <a:gd name="T11" fmla="*/ 0 h 17"/>
                        <a:gd name="T12" fmla="*/ 0 w 40"/>
                        <a:gd name="T13" fmla="*/ 0 h 17"/>
                        <a:gd name="T14" fmla="*/ 0 w 40"/>
                        <a:gd name="T15" fmla="*/ 0 h 17"/>
                        <a:gd name="T16" fmla="*/ 0 w 40"/>
                        <a:gd name="T17" fmla="*/ 0 h 17"/>
                        <a:gd name="T18" fmla="*/ 0 w 40"/>
                        <a:gd name="T19" fmla="*/ 0 h 17"/>
                        <a:gd name="T20" fmla="*/ 0 60000 65536"/>
                        <a:gd name="T21" fmla="*/ 0 60000 65536"/>
                        <a:gd name="T22" fmla="*/ 0 60000 65536"/>
                        <a:gd name="T23" fmla="*/ 0 60000 65536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w 40"/>
                        <a:gd name="T31" fmla="*/ 0 h 17"/>
                        <a:gd name="T32" fmla="*/ 40 w 40"/>
                        <a:gd name="T33" fmla="*/ 17 h 17"/>
                      </a:gdLst>
                      <a:ahLst/>
                      <a:cxnLst>
                        <a:cxn ang="T20">
                          <a:pos x="T0" y="T1"/>
                        </a:cxn>
                        <a:cxn ang="T21">
                          <a:pos x="T2" y="T3"/>
                        </a:cxn>
                        <a:cxn ang="T22">
                          <a:pos x="T4" y="T5"/>
                        </a:cxn>
                        <a:cxn ang="T23">
                          <a:pos x="T6" y="T7"/>
                        </a:cxn>
                        <a:cxn ang="T24">
                          <a:pos x="T8" y="T9"/>
                        </a:cxn>
                        <a:cxn ang="T25">
                          <a:pos x="T10" y="T11"/>
                        </a:cxn>
                        <a:cxn ang="T26">
                          <a:pos x="T12" y="T13"/>
                        </a:cxn>
                        <a:cxn ang="T27">
                          <a:pos x="T14" y="T15"/>
                        </a:cxn>
                        <a:cxn ang="T28">
                          <a:pos x="T16" y="T17"/>
                        </a:cxn>
                        <a:cxn ang="T29">
                          <a:pos x="T18" y="T19"/>
                        </a:cxn>
                      </a:cxnLst>
                      <a:rect l="T30" t="T31" r="T32" b="T33"/>
                      <a:pathLst>
                        <a:path w="40" h="17">
                          <a:moveTo>
                            <a:pt x="33" y="17"/>
                          </a:moveTo>
                          <a:lnTo>
                            <a:pt x="40" y="17"/>
                          </a:lnTo>
                          <a:lnTo>
                            <a:pt x="29" y="8"/>
                          </a:lnTo>
                          <a:lnTo>
                            <a:pt x="24" y="4"/>
                          </a:lnTo>
                          <a:lnTo>
                            <a:pt x="13" y="2"/>
                          </a:lnTo>
                          <a:lnTo>
                            <a:pt x="8" y="0"/>
                          </a:lnTo>
                          <a:lnTo>
                            <a:pt x="0" y="4"/>
                          </a:lnTo>
                          <a:lnTo>
                            <a:pt x="14" y="4"/>
                          </a:lnTo>
                          <a:lnTo>
                            <a:pt x="22" y="7"/>
                          </a:lnTo>
                          <a:lnTo>
                            <a:pt x="33" y="17"/>
                          </a:lnTo>
                          <a:close/>
                        </a:path>
                      </a:pathLst>
                    </a:custGeom>
                    <a:solidFill>
                      <a:srgbClr val="C06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  <p:grpSp>
                <p:nvGrpSpPr>
                  <p:cNvPr id="35009" name="Group 282"/>
                  <p:cNvGrpSpPr>
                    <a:grpSpLocks/>
                  </p:cNvGrpSpPr>
                  <p:nvPr/>
                </p:nvGrpSpPr>
                <p:grpSpPr bwMode="auto">
                  <a:xfrm>
                    <a:off x="2671" y="2608"/>
                    <a:ext cx="37" cy="20"/>
                    <a:chOff x="2671" y="2608"/>
                    <a:chExt cx="37" cy="20"/>
                  </a:xfrm>
                </p:grpSpPr>
                <p:sp>
                  <p:nvSpPr>
                    <p:cNvPr id="38652" name="Freeform 283"/>
                    <p:cNvSpPr>
                      <a:spLocks/>
                    </p:cNvSpPr>
                    <p:nvPr/>
                  </p:nvSpPr>
                  <p:spPr bwMode="auto">
                    <a:xfrm>
                      <a:off x="2699" y="2615"/>
                      <a:ext cx="9" cy="13"/>
                    </a:xfrm>
                    <a:custGeom>
                      <a:avLst/>
                      <a:gdLst>
                        <a:gd name="T0" fmla="*/ 0 w 38"/>
                        <a:gd name="T1" fmla="*/ 0 h 52"/>
                        <a:gd name="T2" fmla="*/ 0 w 38"/>
                        <a:gd name="T3" fmla="*/ 0 h 52"/>
                        <a:gd name="T4" fmla="*/ 0 w 38"/>
                        <a:gd name="T5" fmla="*/ 0 h 52"/>
                        <a:gd name="T6" fmla="*/ 0 w 38"/>
                        <a:gd name="T7" fmla="*/ 0 h 52"/>
                        <a:gd name="T8" fmla="*/ 0 w 38"/>
                        <a:gd name="T9" fmla="*/ 0 h 52"/>
                        <a:gd name="T10" fmla="*/ 0 w 38"/>
                        <a:gd name="T11" fmla="*/ 0 h 52"/>
                        <a:gd name="T12" fmla="*/ 0 w 38"/>
                        <a:gd name="T13" fmla="*/ 0 h 52"/>
                        <a:gd name="T14" fmla="*/ 0 w 38"/>
                        <a:gd name="T15" fmla="*/ 0 h 52"/>
                        <a:gd name="T16" fmla="*/ 0 w 38"/>
                        <a:gd name="T17" fmla="*/ 0 h 52"/>
                        <a:gd name="T18" fmla="*/ 0 w 38"/>
                        <a:gd name="T19" fmla="*/ 0 h 52"/>
                        <a:gd name="T20" fmla="*/ 0 w 38"/>
                        <a:gd name="T21" fmla="*/ 0 h 52"/>
                        <a:gd name="T22" fmla="*/ 0 w 38"/>
                        <a:gd name="T23" fmla="*/ 0 h 52"/>
                        <a:gd name="T24" fmla="*/ 0 w 38"/>
                        <a:gd name="T25" fmla="*/ 0 h 52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60000 65536"/>
                        <a:gd name="T37" fmla="*/ 0 60000 65536"/>
                        <a:gd name="T38" fmla="*/ 0 60000 65536"/>
                        <a:gd name="T39" fmla="*/ 0 w 38"/>
                        <a:gd name="T40" fmla="*/ 0 h 52"/>
                        <a:gd name="T41" fmla="*/ 38 w 38"/>
                        <a:gd name="T42" fmla="*/ 52 h 52"/>
                      </a:gdLst>
                      <a:ahLst/>
                      <a:cxnLst>
                        <a:cxn ang="T26">
                          <a:pos x="T0" y="T1"/>
                        </a:cxn>
                        <a:cxn ang="T27">
                          <a:pos x="T2" y="T3"/>
                        </a:cxn>
                        <a:cxn ang="T28">
                          <a:pos x="T4" y="T5"/>
                        </a:cxn>
                        <a:cxn ang="T29">
                          <a:pos x="T6" y="T7"/>
                        </a:cxn>
                        <a:cxn ang="T30">
                          <a:pos x="T8" y="T9"/>
                        </a:cxn>
                        <a:cxn ang="T31">
                          <a:pos x="T10" y="T11"/>
                        </a:cxn>
                        <a:cxn ang="T32">
                          <a:pos x="T12" y="T13"/>
                        </a:cxn>
                        <a:cxn ang="T33">
                          <a:pos x="T14" y="T15"/>
                        </a:cxn>
                        <a:cxn ang="T34">
                          <a:pos x="T16" y="T17"/>
                        </a:cxn>
                        <a:cxn ang="T35">
                          <a:pos x="T18" y="T19"/>
                        </a:cxn>
                        <a:cxn ang="T36">
                          <a:pos x="T20" y="T21"/>
                        </a:cxn>
                        <a:cxn ang="T37">
                          <a:pos x="T22" y="T23"/>
                        </a:cxn>
                        <a:cxn ang="T38">
                          <a:pos x="T24" y="T25"/>
                        </a:cxn>
                      </a:cxnLst>
                      <a:rect l="T39" t="T40" r="T41" b="T42"/>
                      <a:pathLst>
                        <a:path w="38" h="52">
                          <a:moveTo>
                            <a:pt x="38" y="42"/>
                          </a:moveTo>
                          <a:lnTo>
                            <a:pt x="29" y="52"/>
                          </a:lnTo>
                          <a:lnTo>
                            <a:pt x="29" y="43"/>
                          </a:lnTo>
                          <a:lnTo>
                            <a:pt x="15" y="28"/>
                          </a:lnTo>
                          <a:lnTo>
                            <a:pt x="10" y="24"/>
                          </a:lnTo>
                          <a:lnTo>
                            <a:pt x="4" y="15"/>
                          </a:lnTo>
                          <a:lnTo>
                            <a:pt x="0" y="9"/>
                          </a:lnTo>
                          <a:lnTo>
                            <a:pt x="0" y="0"/>
                          </a:lnTo>
                          <a:lnTo>
                            <a:pt x="11" y="14"/>
                          </a:lnTo>
                          <a:lnTo>
                            <a:pt x="20" y="18"/>
                          </a:lnTo>
                          <a:lnTo>
                            <a:pt x="29" y="24"/>
                          </a:lnTo>
                          <a:lnTo>
                            <a:pt x="35" y="33"/>
                          </a:lnTo>
                          <a:lnTo>
                            <a:pt x="38" y="42"/>
                          </a:lnTo>
                          <a:close/>
                        </a:path>
                      </a:pathLst>
                    </a:custGeom>
                    <a:solidFill>
                      <a:srgbClr val="A05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653" name="Freeform 284"/>
                    <p:cNvSpPr>
                      <a:spLocks/>
                    </p:cNvSpPr>
                    <p:nvPr/>
                  </p:nvSpPr>
                  <p:spPr bwMode="auto">
                    <a:xfrm>
                      <a:off x="2671" y="2608"/>
                      <a:ext cx="13" cy="14"/>
                    </a:xfrm>
                    <a:custGeom>
                      <a:avLst/>
                      <a:gdLst>
                        <a:gd name="T0" fmla="*/ 0 w 50"/>
                        <a:gd name="T1" fmla="*/ 0 h 54"/>
                        <a:gd name="T2" fmla="*/ 0 w 50"/>
                        <a:gd name="T3" fmla="*/ 0 h 54"/>
                        <a:gd name="T4" fmla="*/ 0 w 50"/>
                        <a:gd name="T5" fmla="*/ 0 h 54"/>
                        <a:gd name="T6" fmla="*/ 0 w 50"/>
                        <a:gd name="T7" fmla="*/ 0 h 54"/>
                        <a:gd name="T8" fmla="*/ 0 w 50"/>
                        <a:gd name="T9" fmla="*/ 0 h 54"/>
                        <a:gd name="T10" fmla="*/ 0 w 50"/>
                        <a:gd name="T11" fmla="*/ 0 h 54"/>
                        <a:gd name="T12" fmla="*/ 0 w 50"/>
                        <a:gd name="T13" fmla="*/ 0 h 54"/>
                        <a:gd name="T14" fmla="*/ 0 w 50"/>
                        <a:gd name="T15" fmla="*/ 0 h 54"/>
                        <a:gd name="T16" fmla="*/ 0 w 50"/>
                        <a:gd name="T17" fmla="*/ 0 h 54"/>
                        <a:gd name="T18" fmla="*/ 0 w 50"/>
                        <a:gd name="T19" fmla="*/ 0 h 54"/>
                        <a:gd name="T20" fmla="*/ 0 w 50"/>
                        <a:gd name="T21" fmla="*/ 0 h 54"/>
                        <a:gd name="T22" fmla="*/ 0 w 50"/>
                        <a:gd name="T23" fmla="*/ 0 h 54"/>
                        <a:gd name="T24" fmla="*/ 0 60000 65536"/>
                        <a:gd name="T25" fmla="*/ 0 60000 65536"/>
                        <a:gd name="T26" fmla="*/ 0 60000 65536"/>
                        <a:gd name="T27" fmla="*/ 0 60000 65536"/>
                        <a:gd name="T28" fmla="*/ 0 60000 65536"/>
                        <a:gd name="T29" fmla="*/ 0 60000 65536"/>
                        <a:gd name="T30" fmla="*/ 0 60000 65536"/>
                        <a:gd name="T31" fmla="*/ 0 60000 65536"/>
                        <a:gd name="T32" fmla="*/ 0 60000 65536"/>
                        <a:gd name="T33" fmla="*/ 0 60000 65536"/>
                        <a:gd name="T34" fmla="*/ 0 60000 65536"/>
                        <a:gd name="T35" fmla="*/ 0 60000 65536"/>
                        <a:gd name="T36" fmla="*/ 0 w 50"/>
                        <a:gd name="T37" fmla="*/ 0 h 54"/>
                        <a:gd name="T38" fmla="*/ 50 w 50"/>
                        <a:gd name="T39" fmla="*/ 54 h 54"/>
                      </a:gdLst>
                      <a:ahLst/>
                      <a:cxnLst>
                        <a:cxn ang="T24">
                          <a:pos x="T0" y="T1"/>
                        </a:cxn>
                        <a:cxn ang="T25">
                          <a:pos x="T2" y="T3"/>
                        </a:cxn>
                        <a:cxn ang="T26">
                          <a:pos x="T4" y="T5"/>
                        </a:cxn>
                        <a:cxn ang="T27">
                          <a:pos x="T6" y="T7"/>
                        </a:cxn>
                        <a:cxn ang="T28">
                          <a:pos x="T8" y="T9"/>
                        </a:cxn>
                        <a:cxn ang="T29">
                          <a:pos x="T10" y="T11"/>
                        </a:cxn>
                        <a:cxn ang="T30">
                          <a:pos x="T12" y="T13"/>
                        </a:cxn>
                        <a:cxn ang="T31">
                          <a:pos x="T14" y="T15"/>
                        </a:cxn>
                        <a:cxn ang="T32">
                          <a:pos x="T16" y="T17"/>
                        </a:cxn>
                        <a:cxn ang="T33">
                          <a:pos x="T18" y="T19"/>
                        </a:cxn>
                        <a:cxn ang="T34">
                          <a:pos x="T20" y="T21"/>
                        </a:cxn>
                        <a:cxn ang="T35">
                          <a:pos x="T22" y="T23"/>
                        </a:cxn>
                      </a:cxnLst>
                      <a:rect l="T36" t="T37" r="T38" b="T39"/>
                      <a:pathLst>
                        <a:path w="50" h="54">
                          <a:moveTo>
                            <a:pt x="48" y="54"/>
                          </a:moveTo>
                          <a:lnTo>
                            <a:pt x="50" y="41"/>
                          </a:lnTo>
                          <a:lnTo>
                            <a:pt x="49" y="34"/>
                          </a:lnTo>
                          <a:lnTo>
                            <a:pt x="45" y="25"/>
                          </a:lnTo>
                          <a:lnTo>
                            <a:pt x="38" y="17"/>
                          </a:lnTo>
                          <a:lnTo>
                            <a:pt x="24" y="11"/>
                          </a:lnTo>
                          <a:lnTo>
                            <a:pt x="0" y="0"/>
                          </a:lnTo>
                          <a:lnTo>
                            <a:pt x="11" y="16"/>
                          </a:lnTo>
                          <a:lnTo>
                            <a:pt x="25" y="24"/>
                          </a:lnTo>
                          <a:lnTo>
                            <a:pt x="34" y="31"/>
                          </a:lnTo>
                          <a:lnTo>
                            <a:pt x="41" y="43"/>
                          </a:lnTo>
                          <a:lnTo>
                            <a:pt x="48" y="54"/>
                          </a:lnTo>
                          <a:close/>
                        </a:path>
                      </a:pathLst>
                    </a:custGeom>
                    <a:solidFill>
                      <a:srgbClr val="A05000"/>
                    </a:solidFill>
                    <a:ln w="9525">
                      <a:noFill/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</p:grpSp>
            <p:sp>
              <p:nvSpPr>
                <p:cNvPr id="38637" name="Freeform 285"/>
                <p:cNvSpPr>
                  <a:spLocks/>
                </p:cNvSpPr>
                <p:nvPr/>
              </p:nvSpPr>
              <p:spPr bwMode="auto">
                <a:xfrm>
                  <a:off x="2705" y="3205"/>
                  <a:ext cx="55" cy="5"/>
                </a:xfrm>
                <a:custGeom>
                  <a:avLst/>
                  <a:gdLst>
                    <a:gd name="T0" fmla="*/ 0 w 219"/>
                    <a:gd name="T1" fmla="*/ 0 h 23"/>
                    <a:gd name="T2" fmla="*/ 0 w 219"/>
                    <a:gd name="T3" fmla="*/ 0 h 23"/>
                    <a:gd name="T4" fmla="*/ 0 w 219"/>
                    <a:gd name="T5" fmla="*/ 0 h 23"/>
                    <a:gd name="T6" fmla="*/ 0 w 219"/>
                    <a:gd name="T7" fmla="*/ 0 h 23"/>
                    <a:gd name="T8" fmla="*/ 0 w 219"/>
                    <a:gd name="T9" fmla="*/ 0 h 23"/>
                    <a:gd name="T10" fmla="*/ 0 w 219"/>
                    <a:gd name="T11" fmla="*/ 0 h 23"/>
                    <a:gd name="T12" fmla="*/ 0 w 219"/>
                    <a:gd name="T13" fmla="*/ 0 h 23"/>
                    <a:gd name="T14" fmla="*/ 0 w 219"/>
                    <a:gd name="T15" fmla="*/ 0 h 2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19"/>
                    <a:gd name="T25" fmla="*/ 0 h 23"/>
                    <a:gd name="T26" fmla="*/ 219 w 219"/>
                    <a:gd name="T27" fmla="*/ 23 h 23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19" h="23">
                      <a:moveTo>
                        <a:pt x="0" y="0"/>
                      </a:moveTo>
                      <a:lnTo>
                        <a:pt x="111" y="9"/>
                      </a:lnTo>
                      <a:lnTo>
                        <a:pt x="219" y="7"/>
                      </a:lnTo>
                      <a:lnTo>
                        <a:pt x="211" y="14"/>
                      </a:lnTo>
                      <a:lnTo>
                        <a:pt x="142" y="21"/>
                      </a:lnTo>
                      <a:lnTo>
                        <a:pt x="107" y="23"/>
                      </a:lnTo>
                      <a:lnTo>
                        <a:pt x="28" y="1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38" name="Freeform 286"/>
                <p:cNvSpPr>
                  <a:spLocks/>
                </p:cNvSpPr>
                <p:nvPr/>
              </p:nvSpPr>
              <p:spPr bwMode="auto">
                <a:xfrm>
                  <a:off x="2505" y="2727"/>
                  <a:ext cx="143" cy="131"/>
                </a:xfrm>
                <a:custGeom>
                  <a:avLst/>
                  <a:gdLst>
                    <a:gd name="T0" fmla="*/ 0 w 572"/>
                    <a:gd name="T1" fmla="*/ 0 h 526"/>
                    <a:gd name="T2" fmla="*/ 0 w 572"/>
                    <a:gd name="T3" fmla="*/ 0 h 526"/>
                    <a:gd name="T4" fmla="*/ 0 w 572"/>
                    <a:gd name="T5" fmla="*/ 0 h 526"/>
                    <a:gd name="T6" fmla="*/ 0 w 572"/>
                    <a:gd name="T7" fmla="*/ 0 h 526"/>
                    <a:gd name="T8" fmla="*/ 0 w 572"/>
                    <a:gd name="T9" fmla="*/ 0 h 526"/>
                    <a:gd name="T10" fmla="*/ 0 w 572"/>
                    <a:gd name="T11" fmla="*/ 0 h 526"/>
                    <a:gd name="T12" fmla="*/ 0 w 572"/>
                    <a:gd name="T13" fmla="*/ 0 h 526"/>
                    <a:gd name="T14" fmla="*/ 0 w 572"/>
                    <a:gd name="T15" fmla="*/ 0 h 526"/>
                    <a:gd name="T16" fmla="*/ 0 w 572"/>
                    <a:gd name="T17" fmla="*/ 0 h 526"/>
                    <a:gd name="T18" fmla="*/ 0 w 572"/>
                    <a:gd name="T19" fmla="*/ 0 h 526"/>
                    <a:gd name="T20" fmla="*/ 0 w 572"/>
                    <a:gd name="T21" fmla="*/ 0 h 526"/>
                    <a:gd name="T22" fmla="*/ 0 w 572"/>
                    <a:gd name="T23" fmla="*/ 0 h 526"/>
                    <a:gd name="T24" fmla="*/ 0 w 572"/>
                    <a:gd name="T25" fmla="*/ 0 h 526"/>
                    <a:gd name="T26" fmla="*/ 0 w 572"/>
                    <a:gd name="T27" fmla="*/ 0 h 526"/>
                    <a:gd name="T28" fmla="*/ 0 w 572"/>
                    <a:gd name="T29" fmla="*/ 0 h 526"/>
                    <a:gd name="T30" fmla="*/ 0 w 572"/>
                    <a:gd name="T31" fmla="*/ 0 h 526"/>
                    <a:gd name="T32" fmla="*/ 0 w 572"/>
                    <a:gd name="T33" fmla="*/ 0 h 526"/>
                    <a:gd name="T34" fmla="*/ 0 w 572"/>
                    <a:gd name="T35" fmla="*/ 0 h 526"/>
                    <a:gd name="T36" fmla="*/ 0 w 572"/>
                    <a:gd name="T37" fmla="*/ 0 h 526"/>
                    <a:gd name="T38" fmla="*/ 0 w 572"/>
                    <a:gd name="T39" fmla="*/ 0 h 526"/>
                    <a:gd name="T40" fmla="*/ 0 w 572"/>
                    <a:gd name="T41" fmla="*/ 0 h 526"/>
                    <a:gd name="T42" fmla="*/ 0 w 572"/>
                    <a:gd name="T43" fmla="*/ 0 h 526"/>
                    <a:gd name="T44" fmla="*/ 0 w 572"/>
                    <a:gd name="T45" fmla="*/ 0 h 526"/>
                    <a:gd name="T46" fmla="*/ 0 w 572"/>
                    <a:gd name="T47" fmla="*/ 0 h 526"/>
                    <a:gd name="T48" fmla="*/ 0 w 572"/>
                    <a:gd name="T49" fmla="*/ 0 h 526"/>
                    <a:gd name="T50" fmla="*/ 0 w 572"/>
                    <a:gd name="T51" fmla="*/ 0 h 526"/>
                    <a:gd name="T52" fmla="*/ 0 w 572"/>
                    <a:gd name="T53" fmla="*/ 0 h 526"/>
                    <a:gd name="T54" fmla="*/ 0 w 572"/>
                    <a:gd name="T55" fmla="*/ 0 h 526"/>
                    <a:gd name="T56" fmla="*/ 0 w 572"/>
                    <a:gd name="T57" fmla="*/ 0 h 526"/>
                    <a:gd name="T58" fmla="*/ 0 w 572"/>
                    <a:gd name="T59" fmla="*/ 0 h 526"/>
                    <a:gd name="T60" fmla="*/ 0 w 572"/>
                    <a:gd name="T61" fmla="*/ 0 h 526"/>
                    <a:gd name="T62" fmla="*/ 0 w 572"/>
                    <a:gd name="T63" fmla="*/ 0 h 526"/>
                    <a:gd name="T64" fmla="*/ 0 w 572"/>
                    <a:gd name="T65" fmla="*/ 0 h 526"/>
                    <a:gd name="T66" fmla="*/ 0 w 572"/>
                    <a:gd name="T67" fmla="*/ 0 h 526"/>
                    <a:gd name="T68" fmla="*/ 0 w 572"/>
                    <a:gd name="T69" fmla="*/ 0 h 526"/>
                    <a:gd name="T70" fmla="*/ 0 w 572"/>
                    <a:gd name="T71" fmla="*/ 0 h 526"/>
                    <a:gd name="T72" fmla="*/ 0 w 572"/>
                    <a:gd name="T73" fmla="*/ 0 h 526"/>
                    <a:gd name="T74" fmla="*/ 0 w 572"/>
                    <a:gd name="T75" fmla="*/ 0 h 526"/>
                    <a:gd name="T76" fmla="*/ 0 w 572"/>
                    <a:gd name="T77" fmla="*/ 0 h 526"/>
                    <a:gd name="T78" fmla="*/ 0 w 572"/>
                    <a:gd name="T79" fmla="*/ 0 h 526"/>
                    <a:gd name="T80" fmla="*/ 0 w 572"/>
                    <a:gd name="T81" fmla="*/ 0 h 526"/>
                    <a:gd name="T82" fmla="*/ 0 w 572"/>
                    <a:gd name="T83" fmla="*/ 0 h 526"/>
                    <a:gd name="T84" fmla="*/ 0 w 572"/>
                    <a:gd name="T85" fmla="*/ 0 h 52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572"/>
                    <a:gd name="T130" fmla="*/ 0 h 526"/>
                    <a:gd name="T131" fmla="*/ 572 w 572"/>
                    <a:gd name="T132" fmla="*/ 526 h 526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572" h="526">
                      <a:moveTo>
                        <a:pt x="14" y="526"/>
                      </a:moveTo>
                      <a:lnTo>
                        <a:pt x="1" y="469"/>
                      </a:lnTo>
                      <a:lnTo>
                        <a:pt x="0" y="435"/>
                      </a:lnTo>
                      <a:lnTo>
                        <a:pt x="8" y="403"/>
                      </a:lnTo>
                      <a:lnTo>
                        <a:pt x="62" y="237"/>
                      </a:lnTo>
                      <a:lnTo>
                        <a:pt x="65" y="218"/>
                      </a:lnTo>
                      <a:lnTo>
                        <a:pt x="69" y="195"/>
                      </a:lnTo>
                      <a:lnTo>
                        <a:pt x="62" y="110"/>
                      </a:lnTo>
                      <a:lnTo>
                        <a:pt x="102" y="185"/>
                      </a:lnTo>
                      <a:lnTo>
                        <a:pt x="278" y="43"/>
                      </a:lnTo>
                      <a:lnTo>
                        <a:pt x="320" y="24"/>
                      </a:lnTo>
                      <a:lnTo>
                        <a:pt x="367" y="5"/>
                      </a:lnTo>
                      <a:lnTo>
                        <a:pt x="392" y="0"/>
                      </a:lnTo>
                      <a:lnTo>
                        <a:pt x="440" y="0"/>
                      </a:lnTo>
                      <a:lnTo>
                        <a:pt x="572" y="17"/>
                      </a:lnTo>
                      <a:lnTo>
                        <a:pt x="477" y="27"/>
                      </a:lnTo>
                      <a:lnTo>
                        <a:pt x="443" y="32"/>
                      </a:lnTo>
                      <a:lnTo>
                        <a:pt x="402" y="39"/>
                      </a:lnTo>
                      <a:lnTo>
                        <a:pt x="342" y="61"/>
                      </a:lnTo>
                      <a:lnTo>
                        <a:pt x="308" y="75"/>
                      </a:lnTo>
                      <a:lnTo>
                        <a:pt x="275" y="98"/>
                      </a:lnTo>
                      <a:lnTo>
                        <a:pt x="241" y="129"/>
                      </a:lnTo>
                      <a:lnTo>
                        <a:pt x="214" y="162"/>
                      </a:lnTo>
                      <a:lnTo>
                        <a:pt x="206" y="181"/>
                      </a:lnTo>
                      <a:lnTo>
                        <a:pt x="251" y="147"/>
                      </a:lnTo>
                      <a:lnTo>
                        <a:pt x="268" y="138"/>
                      </a:lnTo>
                      <a:lnTo>
                        <a:pt x="279" y="135"/>
                      </a:lnTo>
                      <a:lnTo>
                        <a:pt x="240" y="184"/>
                      </a:lnTo>
                      <a:lnTo>
                        <a:pt x="152" y="310"/>
                      </a:lnTo>
                      <a:lnTo>
                        <a:pt x="142" y="329"/>
                      </a:lnTo>
                      <a:lnTo>
                        <a:pt x="124" y="340"/>
                      </a:lnTo>
                      <a:lnTo>
                        <a:pt x="74" y="372"/>
                      </a:lnTo>
                      <a:lnTo>
                        <a:pt x="75" y="394"/>
                      </a:lnTo>
                      <a:lnTo>
                        <a:pt x="198" y="360"/>
                      </a:lnTo>
                      <a:lnTo>
                        <a:pt x="251" y="355"/>
                      </a:lnTo>
                      <a:lnTo>
                        <a:pt x="283" y="355"/>
                      </a:lnTo>
                      <a:lnTo>
                        <a:pt x="176" y="394"/>
                      </a:lnTo>
                      <a:lnTo>
                        <a:pt x="135" y="407"/>
                      </a:lnTo>
                      <a:lnTo>
                        <a:pt x="96" y="420"/>
                      </a:lnTo>
                      <a:lnTo>
                        <a:pt x="62" y="439"/>
                      </a:lnTo>
                      <a:lnTo>
                        <a:pt x="47" y="460"/>
                      </a:lnTo>
                      <a:lnTo>
                        <a:pt x="32" y="488"/>
                      </a:lnTo>
                      <a:lnTo>
                        <a:pt x="14" y="526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39" name="Freeform 287"/>
                <p:cNvSpPr>
                  <a:spLocks/>
                </p:cNvSpPr>
                <p:nvPr/>
              </p:nvSpPr>
              <p:spPr bwMode="auto">
                <a:xfrm>
                  <a:off x="2516" y="2662"/>
                  <a:ext cx="137" cy="110"/>
                </a:xfrm>
                <a:custGeom>
                  <a:avLst/>
                  <a:gdLst>
                    <a:gd name="T0" fmla="*/ 0 w 548"/>
                    <a:gd name="T1" fmla="*/ 0 h 437"/>
                    <a:gd name="T2" fmla="*/ 0 w 548"/>
                    <a:gd name="T3" fmla="*/ 0 h 437"/>
                    <a:gd name="T4" fmla="*/ 0 w 548"/>
                    <a:gd name="T5" fmla="*/ 0 h 437"/>
                    <a:gd name="T6" fmla="*/ 0 w 548"/>
                    <a:gd name="T7" fmla="*/ 0 h 437"/>
                    <a:gd name="T8" fmla="*/ 0 w 548"/>
                    <a:gd name="T9" fmla="*/ 0 h 437"/>
                    <a:gd name="T10" fmla="*/ 0 w 548"/>
                    <a:gd name="T11" fmla="*/ 0 h 437"/>
                    <a:gd name="T12" fmla="*/ 0 w 548"/>
                    <a:gd name="T13" fmla="*/ 0 h 437"/>
                    <a:gd name="T14" fmla="*/ 0 w 548"/>
                    <a:gd name="T15" fmla="*/ 0 h 437"/>
                    <a:gd name="T16" fmla="*/ 0 w 548"/>
                    <a:gd name="T17" fmla="*/ 0 h 437"/>
                    <a:gd name="T18" fmla="*/ 0 w 548"/>
                    <a:gd name="T19" fmla="*/ 0 h 437"/>
                    <a:gd name="T20" fmla="*/ 0 w 548"/>
                    <a:gd name="T21" fmla="*/ 0 h 437"/>
                    <a:gd name="T22" fmla="*/ 0 w 548"/>
                    <a:gd name="T23" fmla="*/ 0 h 437"/>
                    <a:gd name="T24" fmla="*/ 0 w 548"/>
                    <a:gd name="T25" fmla="*/ 0 h 437"/>
                    <a:gd name="T26" fmla="*/ 0 w 548"/>
                    <a:gd name="T27" fmla="*/ 0 h 437"/>
                    <a:gd name="T28" fmla="*/ 0 w 548"/>
                    <a:gd name="T29" fmla="*/ 0 h 437"/>
                    <a:gd name="T30" fmla="*/ 0 w 548"/>
                    <a:gd name="T31" fmla="*/ 0 h 437"/>
                    <a:gd name="T32" fmla="*/ 0 w 548"/>
                    <a:gd name="T33" fmla="*/ 0 h 437"/>
                    <a:gd name="T34" fmla="*/ 0 w 548"/>
                    <a:gd name="T35" fmla="*/ 0 h 437"/>
                    <a:gd name="T36" fmla="*/ 0 w 548"/>
                    <a:gd name="T37" fmla="*/ 0 h 437"/>
                    <a:gd name="T38" fmla="*/ 0 w 548"/>
                    <a:gd name="T39" fmla="*/ 0 h 437"/>
                    <a:gd name="T40" fmla="*/ 0 w 548"/>
                    <a:gd name="T41" fmla="*/ 0 h 437"/>
                    <a:gd name="T42" fmla="*/ 0 w 548"/>
                    <a:gd name="T43" fmla="*/ 0 h 437"/>
                    <a:gd name="T44" fmla="*/ 0 w 548"/>
                    <a:gd name="T45" fmla="*/ 0 h 437"/>
                    <a:gd name="T46" fmla="*/ 0 w 548"/>
                    <a:gd name="T47" fmla="*/ 0 h 437"/>
                    <a:gd name="T48" fmla="*/ 0 w 548"/>
                    <a:gd name="T49" fmla="*/ 0 h 437"/>
                    <a:gd name="T50" fmla="*/ 0 w 548"/>
                    <a:gd name="T51" fmla="*/ 0 h 437"/>
                    <a:gd name="T52" fmla="*/ 0 w 548"/>
                    <a:gd name="T53" fmla="*/ 0 h 437"/>
                    <a:gd name="T54" fmla="*/ 0 w 548"/>
                    <a:gd name="T55" fmla="*/ 0 h 437"/>
                    <a:gd name="T56" fmla="*/ 0 w 548"/>
                    <a:gd name="T57" fmla="*/ 0 h 437"/>
                    <a:gd name="T58" fmla="*/ 0 w 548"/>
                    <a:gd name="T59" fmla="*/ 0 h 437"/>
                    <a:gd name="T60" fmla="*/ 0 w 548"/>
                    <a:gd name="T61" fmla="*/ 0 h 437"/>
                    <a:gd name="T62" fmla="*/ 0 w 548"/>
                    <a:gd name="T63" fmla="*/ 0 h 437"/>
                    <a:gd name="T64" fmla="*/ 0 w 548"/>
                    <a:gd name="T65" fmla="*/ 0 h 437"/>
                    <a:gd name="T66" fmla="*/ 0 w 548"/>
                    <a:gd name="T67" fmla="*/ 0 h 437"/>
                    <a:gd name="T68" fmla="*/ 0 w 548"/>
                    <a:gd name="T69" fmla="*/ 0 h 437"/>
                    <a:gd name="T70" fmla="*/ 0 w 548"/>
                    <a:gd name="T71" fmla="*/ 0 h 437"/>
                    <a:gd name="T72" fmla="*/ 0 w 548"/>
                    <a:gd name="T73" fmla="*/ 0 h 437"/>
                    <a:gd name="T74" fmla="*/ 0 w 548"/>
                    <a:gd name="T75" fmla="*/ 0 h 437"/>
                    <a:gd name="T76" fmla="*/ 0 w 548"/>
                    <a:gd name="T77" fmla="*/ 0 h 437"/>
                    <a:gd name="T78" fmla="*/ 0 w 548"/>
                    <a:gd name="T79" fmla="*/ 0 h 437"/>
                    <a:gd name="T80" fmla="*/ 0 w 548"/>
                    <a:gd name="T81" fmla="*/ 0 h 437"/>
                    <a:gd name="T82" fmla="*/ 0 w 548"/>
                    <a:gd name="T83" fmla="*/ 0 h 437"/>
                    <a:gd name="T84" fmla="*/ 0 w 548"/>
                    <a:gd name="T85" fmla="*/ 0 h 437"/>
                    <a:gd name="T86" fmla="*/ 0 w 548"/>
                    <a:gd name="T87" fmla="*/ 0 h 437"/>
                    <a:gd name="T88" fmla="*/ 0 w 548"/>
                    <a:gd name="T89" fmla="*/ 0 h 437"/>
                    <a:gd name="T90" fmla="*/ 0 w 548"/>
                    <a:gd name="T91" fmla="*/ 0 h 437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548"/>
                    <a:gd name="T139" fmla="*/ 0 h 437"/>
                    <a:gd name="T140" fmla="*/ 548 w 548"/>
                    <a:gd name="T141" fmla="*/ 437 h 437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548" h="437">
                      <a:moveTo>
                        <a:pt x="0" y="318"/>
                      </a:moveTo>
                      <a:lnTo>
                        <a:pt x="47" y="437"/>
                      </a:lnTo>
                      <a:lnTo>
                        <a:pt x="149" y="328"/>
                      </a:lnTo>
                      <a:lnTo>
                        <a:pt x="190" y="298"/>
                      </a:lnTo>
                      <a:lnTo>
                        <a:pt x="228" y="279"/>
                      </a:lnTo>
                      <a:lnTo>
                        <a:pt x="263" y="271"/>
                      </a:lnTo>
                      <a:lnTo>
                        <a:pt x="330" y="256"/>
                      </a:lnTo>
                      <a:lnTo>
                        <a:pt x="322" y="275"/>
                      </a:lnTo>
                      <a:lnTo>
                        <a:pt x="415" y="260"/>
                      </a:lnTo>
                      <a:lnTo>
                        <a:pt x="411" y="246"/>
                      </a:lnTo>
                      <a:lnTo>
                        <a:pt x="412" y="234"/>
                      </a:lnTo>
                      <a:lnTo>
                        <a:pt x="423" y="223"/>
                      </a:lnTo>
                      <a:lnTo>
                        <a:pt x="462" y="211"/>
                      </a:lnTo>
                      <a:lnTo>
                        <a:pt x="502" y="206"/>
                      </a:lnTo>
                      <a:lnTo>
                        <a:pt x="521" y="208"/>
                      </a:lnTo>
                      <a:lnTo>
                        <a:pt x="548" y="222"/>
                      </a:lnTo>
                      <a:lnTo>
                        <a:pt x="506" y="184"/>
                      </a:lnTo>
                      <a:lnTo>
                        <a:pt x="485" y="173"/>
                      </a:lnTo>
                      <a:lnTo>
                        <a:pt x="449" y="172"/>
                      </a:lnTo>
                      <a:lnTo>
                        <a:pt x="420" y="177"/>
                      </a:lnTo>
                      <a:lnTo>
                        <a:pt x="316" y="211"/>
                      </a:lnTo>
                      <a:lnTo>
                        <a:pt x="322" y="143"/>
                      </a:lnTo>
                      <a:lnTo>
                        <a:pt x="320" y="119"/>
                      </a:lnTo>
                      <a:lnTo>
                        <a:pt x="305" y="86"/>
                      </a:lnTo>
                      <a:lnTo>
                        <a:pt x="259" y="0"/>
                      </a:lnTo>
                      <a:lnTo>
                        <a:pt x="288" y="111"/>
                      </a:lnTo>
                      <a:lnTo>
                        <a:pt x="286" y="123"/>
                      </a:lnTo>
                      <a:lnTo>
                        <a:pt x="258" y="142"/>
                      </a:lnTo>
                      <a:lnTo>
                        <a:pt x="212" y="33"/>
                      </a:lnTo>
                      <a:lnTo>
                        <a:pt x="225" y="176"/>
                      </a:lnTo>
                      <a:lnTo>
                        <a:pt x="155" y="33"/>
                      </a:lnTo>
                      <a:lnTo>
                        <a:pt x="190" y="162"/>
                      </a:lnTo>
                      <a:lnTo>
                        <a:pt x="122" y="68"/>
                      </a:lnTo>
                      <a:lnTo>
                        <a:pt x="130" y="134"/>
                      </a:lnTo>
                      <a:lnTo>
                        <a:pt x="53" y="49"/>
                      </a:lnTo>
                      <a:lnTo>
                        <a:pt x="107" y="134"/>
                      </a:lnTo>
                      <a:lnTo>
                        <a:pt x="57" y="106"/>
                      </a:lnTo>
                      <a:lnTo>
                        <a:pt x="111" y="164"/>
                      </a:lnTo>
                      <a:lnTo>
                        <a:pt x="116" y="176"/>
                      </a:lnTo>
                      <a:lnTo>
                        <a:pt x="118" y="204"/>
                      </a:lnTo>
                      <a:lnTo>
                        <a:pt x="116" y="241"/>
                      </a:lnTo>
                      <a:lnTo>
                        <a:pt x="103" y="261"/>
                      </a:lnTo>
                      <a:lnTo>
                        <a:pt x="92" y="280"/>
                      </a:lnTo>
                      <a:lnTo>
                        <a:pt x="74" y="298"/>
                      </a:lnTo>
                      <a:lnTo>
                        <a:pt x="42" y="307"/>
                      </a:lnTo>
                      <a:lnTo>
                        <a:pt x="0" y="318"/>
                      </a:lnTo>
                      <a:close/>
                    </a:path>
                  </a:pathLst>
                </a:custGeom>
                <a:solidFill>
                  <a:srgbClr val="0066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grpSp>
              <p:nvGrpSpPr>
                <p:cNvPr id="35093" name="Group 288"/>
                <p:cNvGrpSpPr>
                  <a:grpSpLocks/>
                </p:cNvGrpSpPr>
                <p:nvPr/>
              </p:nvGrpSpPr>
              <p:grpSpPr bwMode="auto">
                <a:xfrm>
                  <a:off x="2715" y="3261"/>
                  <a:ext cx="157" cy="88"/>
                  <a:chOff x="2715" y="3261"/>
                  <a:chExt cx="157" cy="88"/>
                </a:xfrm>
              </p:grpSpPr>
              <p:sp>
                <p:nvSpPr>
                  <p:cNvPr id="38641" name="Freeform 289"/>
                  <p:cNvSpPr>
                    <a:spLocks/>
                  </p:cNvSpPr>
                  <p:nvPr/>
                </p:nvSpPr>
                <p:spPr bwMode="auto">
                  <a:xfrm>
                    <a:off x="2717" y="3294"/>
                    <a:ext cx="155" cy="55"/>
                  </a:xfrm>
                  <a:custGeom>
                    <a:avLst/>
                    <a:gdLst>
                      <a:gd name="T0" fmla="*/ 0 w 617"/>
                      <a:gd name="T1" fmla="*/ 0 h 221"/>
                      <a:gd name="T2" fmla="*/ 0 w 617"/>
                      <a:gd name="T3" fmla="*/ 0 h 221"/>
                      <a:gd name="T4" fmla="*/ 0 w 617"/>
                      <a:gd name="T5" fmla="*/ 0 h 221"/>
                      <a:gd name="T6" fmla="*/ 0 w 617"/>
                      <a:gd name="T7" fmla="*/ 0 h 221"/>
                      <a:gd name="T8" fmla="*/ 0 w 617"/>
                      <a:gd name="T9" fmla="*/ 0 h 221"/>
                      <a:gd name="T10" fmla="*/ 0 w 617"/>
                      <a:gd name="T11" fmla="*/ 0 h 221"/>
                      <a:gd name="T12" fmla="*/ 0 w 617"/>
                      <a:gd name="T13" fmla="*/ 0 h 221"/>
                      <a:gd name="T14" fmla="*/ 0 w 617"/>
                      <a:gd name="T15" fmla="*/ 0 h 221"/>
                      <a:gd name="T16" fmla="*/ 0 w 617"/>
                      <a:gd name="T17" fmla="*/ 0 h 221"/>
                      <a:gd name="T18" fmla="*/ 0 w 617"/>
                      <a:gd name="T19" fmla="*/ 0 h 221"/>
                      <a:gd name="T20" fmla="*/ 0 w 617"/>
                      <a:gd name="T21" fmla="*/ 0 h 221"/>
                      <a:gd name="T22" fmla="*/ 0 w 617"/>
                      <a:gd name="T23" fmla="*/ 0 h 221"/>
                      <a:gd name="T24" fmla="*/ 0 w 617"/>
                      <a:gd name="T25" fmla="*/ 0 h 221"/>
                      <a:gd name="T26" fmla="*/ 0 w 617"/>
                      <a:gd name="T27" fmla="*/ 0 h 221"/>
                      <a:gd name="T28" fmla="*/ 0 w 617"/>
                      <a:gd name="T29" fmla="*/ 0 h 221"/>
                      <a:gd name="T30" fmla="*/ 0 w 617"/>
                      <a:gd name="T31" fmla="*/ 0 h 221"/>
                      <a:gd name="T32" fmla="*/ 0 w 617"/>
                      <a:gd name="T33" fmla="*/ 0 h 221"/>
                      <a:gd name="T34" fmla="*/ 0 60000 65536"/>
                      <a:gd name="T35" fmla="*/ 0 60000 65536"/>
                      <a:gd name="T36" fmla="*/ 0 60000 65536"/>
                      <a:gd name="T37" fmla="*/ 0 60000 65536"/>
                      <a:gd name="T38" fmla="*/ 0 60000 65536"/>
                      <a:gd name="T39" fmla="*/ 0 60000 65536"/>
                      <a:gd name="T40" fmla="*/ 0 60000 65536"/>
                      <a:gd name="T41" fmla="*/ 0 60000 65536"/>
                      <a:gd name="T42" fmla="*/ 0 60000 65536"/>
                      <a:gd name="T43" fmla="*/ 0 60000 65536"/>
                      <a:gd name="T44" fmla="*/ 0 60000 65536"/>
                      <a:gd name="T45" fmla="*/ 0 60000 65536"/>
                      <a:gd name="T46" fmla="*/ 0 60000 65536"/>
                      <a:gd name="T47" fmla="*/ 0 60000 65536"/>
                      <a:gd name="T48" fmla="*/ 0 60000 65536"/>
                      <a:gd name="T49" fmla="*/ 0 60000 65536"/>
                      <a:gd name="T50" fmla="*/ 0 60000 65536"/>
                      <a:gd name="T51" fmla="*/ 0 w 617"/>
                      <a:gd name="T52" fmla="*/ 0 h 221"/>
                      <a:gd name="T53" fmla="*/ 617 w 617"/>
                      <a:gd name="T54" fmla="*/ 221 h 221"/>
                    </a:gdLst>
                    <a:ahLst/>
                    <a:cxnLst>
                      <a:cxn ang="T34">
                        <a:pos x="T0" y="T1"/>
                      </a:cxn>
                      <a:cxn ang="T35">
                        <a:pos x="T2" y="T3"/>
                      </a:cxn>
                      <a:cxn ang="T36">
                        <a:pos x="T4" y="T5"/>
                      </a:cxn>
                      <a:cxn ang="T37">
                        <a:pos x="T6" y="T7"/>
                      </a:cxn>
                      <a:cxn ang="T38">
                        <a:pos x="T8" y="T9"/>
                      </a:cxn>
                      <a:cxn ang="T39">
                        <a:pos x="T10" y="T11"/>
                      </a:cxn>
                      <a:cxn ang="T40">
                        <a:pos x="T12" y="T13"/>
                      </a:cxn>
                      <a:cxn ang="T41">
                        <a:pos x="T14" y="T15"/>
                      </a:cxn>
                      <a:cxn ang="T42">
                        <a:pos x="T16" y="T17"/>
                      </a:cxn>
                      <a:cxn ang="T43">
                        <a:pos x="T18" y="T19"/>
                      </a:cxn>
                      <a:cxn ang="T44">
                        <a:pos x="T20" y="T21"/>
                      </a:cxn>
                      <a:cxn ang="T45">
                        <a:pos x="T22" y="T23"/>
                      </a:cxn>
                      <a:cxn ang="T46">
                        <a:pos x="T24" y="T25"/>
                      </a:cxn>
                      <a:cxn ang="T47">
                        <a:pos x="T26" y="T27"/>
                      </a:cxn>
                      <a:cxn ang="T48">
                        <a:pos x="T28" y="T29"/>
                      </a:cxn>
                      <a:cxn ang="T49">
                        <a:pos x="T30" y="T31"/>
                      </a:cxn>
                      <a:cxn ang="T50">
                        <a:pos x="T32" y="T33"/>
                      </a:cxn>
                    </a:cxnLst>
                    <a:rect l="T51" t="T52" r="T53" b="T54"/>
                    <a:pathLst>
                      <a:path w="617" h="221">
                        <a:moveTo>
                          <a:pt x="0" y="179"/>
                        </a:moveTo>
                        <a:lnTo>
                          <a:pt x="4" y="221"/>
                        </a:lnTo>
                        <a:lnTo>
                          <a:pt x="68" y="217"/>
                        </a:lnTo>
                        <a:lnTo>
                          <a:pt x="137" y="213"/>
                        </a:lnTo>
                        <a:lnTo>
                          <a:pt x="213" y="182"/>
                        </a:lnTo>
                        <a:lnTo>
                          <a:pt x="297" y="161"/>
                        </a:lnTo>
                        <a:lnTo>
                          <a:pt x="331" y="152"/>
                        </a:lnTo>
                        <a:lnTo>
                          <a:pt x="406" y="148"/>
                        </a:lnTo>
                        <a:lnTo>
                          <a:pt x="473" y="133"/>
                        </a:lnTo>
                        <a:lnTo>
                          <a:pt x="520" y="108"/>
                        </a:lnTo>
                        <a:lnTo>
                          <a:pt x="557" y="80"/>
                        </a:lnTo>
                        <a:lnTo>
                          <a:pt x="592" y="54"/>
                        </a:lnTo>
                        <a:lnTo>
                          <a:pt x="615" y="24"/>
                        </a:lnTo>
                        <a:lnTo>
                          <a:pt x="617" y="11"/>
                        </a:lnTo>
                        <a:lnTo>
                          <a:pt x="614" y="4"/>
                        </a:lnTo>
                        <a:lnTo>
                          <a:pt x="596" y="0"/>
                        </a:lnTo>
                        <a:lnTo>
                          <a:pt x="0" y="179"/>
                        </a:lnTo>
                        <a:close/>
                      </a:path>
                    </a:pathLst>
                  </a:custGeom>
                  <a:solidFill>
                    <a:srgbClr val="5599F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642" name="Freeform 290"/>
                  <p:cNvSpPr>
                    <a:spLocks/>
                  </p:cNvSpPr>
                  <p:nvPr/>
                </p:nvSpPr>
                <p:spPr bwMode="auto">
                  <a:xfrm>
                    <a:off x="2715" y="3277"/>
                    <a:ext cx="155" cy="65"/>
                  </a:xfrm>
                  <a:custGeom>
                    <a:avLst/>
                    <a:gdLst>
                      <a:gd name="T0" fmla="*/ 0 w 623"/>
                      <a:gd name="T1" fmla="*/ 0 h 260"/>
                      <a:gd name="T2" fmla="*/ 0 w 623"/>
                      <a:gd name="T3" fmla="*/ 0 h 260"/>
                      <a:gd name="T4" fmla="*/ 0 w 623"/>
                      <a:gd name="T5" fmla="*/ 0 h 260"/>
                      <a:gd name="T6" fmla="*/ 0 w 623"/>
                      <a:gd name="T7" fmla="*/ 0 h 260"/>
                      <a:gd name="T8" fmla="*/ 0 w 623"/>
                      <a:gd name="T9" fmla="*/ 0 h 260"/>
                      <a:gd name="T10" fmla="*/ 0 w 623"/>
                      <a:gd name="T11" fmla="*/ 0 h 260"/>
                      <a:gd name="T12" fmla="*/ 0 w 623"/>
                      <a:gd name="T13" fmla="*/ 0 h 260"/>
                      <a:gd name="T14" fmla="*/ 0 w 623"/>
                      <a:gd name="T15" fmla="*/ 0 h 260"/>
                      <a:gd name="T16" fmla="*/ 0 w 623"/>
                      <a:gd name="T17" fmla="*/ 0 h 260"/>
                      <a:gd name="T18" fmla="*/ 0 w 623"/>
                      <a:gd name="T19" fmla="*/ 0 h 260"/>
                      <a:gd name="T20" fmla="*/ 0 w 623"/>
                      <a:gd name="T21" fmla="*/ 0 h 260"/>
                      <a:gd name="T22" fmla="*/ 0 w 623"/>
                      <a:gd name="T23" fmla="*/ 0 h 260"/>
                      <a:gd name="T24" fmla="*/ 0 w 623"/>
                      <a:gd name="T25" fmla="*/ 0 h 260"/>
                      <a:gd name="T26" fmla="*/ 0 w 623"/>
                      <a:gd name="T27" fmla="*/ 0 h 260"/>
                      <a:gd name="T28" fmla="*/ 0 w 623"/>
                      <a:gd name="T29" fmla="*/ 0 h 260"/>
                      <a:gd name="T30" fmla="*/ 0 w 623"/>
                      <a:gd name="T31" fmla="*/ 0 h 260"/>
                      <a:gd name="T32" fmla="*/ 0 w 623"/>
                      <a:gd name="T33" fmla="*/ 0 h 260"/>
                      <a:gd name="T34" fmla="*/ 0 w 623"/>
                      <a:gd name="T35" fmla="*/ 0 h 260"/>
                      <a:gd name="T36" fmla="*/ 0 w 623"/>
                      <a:gd name="T37" fmla="*/ 0 h 260"/>
                      <a:gd name="T38" fmla="*/ 0 w 623"/>
                      <a:gd name="T39" fmla="*/ 0 h 260"/>
                      <a:gd name="T40" fmla="*/ 0 w 623"/>
                      <a:gd name="T41" fmla="*/ 0 h 260"/>
                      <a:gd name="T42" fmla="*/ 0 w 623"/>
                      <a:gd name="T43" fmla="*/ 0 h 260"/>
                      <a:gd name="T44" fmla="*/ 0 w 623"/>
                      <a:gd name="T45" fmla="*/ 0 h 260"/>
                      <a:gd name="T46" fmla="*/ 0 w 623"/>
                      <a:gd name="T47" fmla="*/ 0 h 260"/>
                      <a:gd name="T48" fmla="*/ 0 60000 65536"/>
                      <a:gd name="T49" fmla="*/ 0 60000 65536"/>
                      <a:gd name="T50" fmla="*/ 0 60000 65536"/>
                      <a:gd name="T51" fmla="*/ 0 60000 65536"/>
                      <a:gd name="T52" fmla="*/ 0 60000 65536"/>
                      <a:gd name="T53" fmla="*/ 0 60000 65536"/>
                      <a:gd name="T54" fmla="*/ 0 60000 65536"/>
                      <a:gd name="T55" fmla="*/ 0 60000 65536"/>
                      <a:gd name="T56" fmla="*/ 0 60000 65536"/>
                      <a:gd name="T57" fmla="*/ 0 60000 65536"/>
                      <a:gd name="T58" fmla="*/ 0 60000 65536"/>
                      <a:gd name="T59" fmla="*/ 0 60000 65536"/>
                      <a:gd name="T60" fmla="*/ 0 60000 65536"/>
                      <a:gd name="T61" fmla="*/ 0 60000 65536"/>
                      <a:gd name="T62" fmla="*/ 0 60000 65536"/>
                      <a:gd name="T63" fmla="*/ 0 60000 65536"/>
                      <a:gd name="T64" fmla="*/ 0 60000 65536"/>
                      <a:gd name="T65" fmla="*/ 0 60000 65536"/>
                      <a:gd name="T66" fmla="*/ 0 60000 65536"/>
                      <a:gd name="T67" fmla="*/ 0 60000 65536"/>
                      <a:gd name="T68" fmla="*/ 0 60000 65536"/>
                      <a:gd name="T69" fmla="*/ 0 60000 65536"/>
                      <a:gd name="T70" fmla="*/ 0 60000 65536"/>
                      <a:gd name="T71" fmla="*/ 0 60000 65536"/>
                      <a:gd name="T72" fmla="*/ 0 w 623"/>
                      <a:gd name="T73" fmla="*/ 0 h 260"/>
                      <a:gd name="T74" fmla="*/ 623 w 623"/>
                      <a:gd name="T75" fmla="*/ 260 h 260"/>
                    </a:gdLst>
                    <a:ahLst/>
                    <a:cxnLst>
                      <a:cxn ang="T48">
                        <a:pos x="T0" y="T1"/>
                      </a:cxn>
                      <a:cxn ang="T49">
                        <a:pos x="T2" y="T3"/>
                      </a:cxn>
                      <a:cxn ang="T50">
                        <a:pos x="T4" y="T5"/>
                      </a:cxn>
                      <a:cxn ang="T51">
                        <a:pos x="T6" y="T7"/>
                      </a:cxn>
                      <a:cxn ang="T52">
                        <a:pos x="T8" y="T9"/>
                      </a:cxn>
                      <a:cxn ang="T53">
                        <a:pos x="T10" y="T11"/>
                      </a:cxn>
                      <a:cxn ang="T54">
                        <a:pos x="T12" y="T13"/>
                      </a:cxn>
                      <a:cxn ang="T55">
                        <a:pos x="T14" y="T15"/>
                      </a:cxn>
                      <a:cxn ang="T56">
                        <a:pos x="T16" y="T17"/>
                      </a:cxn>
                      <a:cxn ang="T57">
                        <a:pos x="T18" y="T19"/>
                      </a:cxn>
                      <a:cxn ang="T58">
                        <a:pos x="T20" y="T21"/>
                      </a:cxn>
                      <a:cxn ang="T59">
                        <a:pos x="T22" y="T23"/>
                      </a:cxn>
                      <a:cxn ang="T60">
                        <a:pos x="T24" y="T25"/>
                      </a:cxn>
                      <a:cxn ang="T61">
                        <a:pos x="T26" y="T27"/>
                      </a:cxn>
                      <a:cxn ang="T62">
                        <a:pos x="T28" y="T29"/>
                      </a:cxn>
                      <a:cxn ang="T63">
                        <a:pos x="T30" y="T31"/>
                      </a:cxn>
                      <a:cxn ang="T64">
                        <a:pos x="T32" y="T33"/>
                      </a:cxn>
                      <a:cxn ang="T65">
                        <a:pos x="T34" y="T35"/>
                      </a:cxn>
                      <a:cxn ang="T66">
                        <a:pos x="T36" y="T37"/>
                      </a:cxn>
                      <a:cxn ang="T67">
                        <a:pos x="T38" y="T39"/>
                      </a:cxn>
                      <a:cxn ang="T68">
                        <a:pos x="T40" y="T41"/>
                      </a:cxn>
                      <a:cxn ang="T69">
                        <a:pos x="T42" y="T43"/>
                      </a:cxn>
                      <a:cxn ang="T70">
                        <a:pos x="T44" y="T45"/>
                      </a:cxn>
                      <a:cxn ang="T71">
                        <a:pos x="T46" y="T47"/>
                      </a:cxn>
                    </a:cxnLst>
                    <a:rect l="T72" t="T73" r="T74" b="T75"/>
                    <a:pathLst>
                      <a:path w="623" h="260">
                        <a:moveTo>
                          <a:pt x="118" y="256"/>
                        </a:moveTo>
                        <a:lnTo>
                          <a:pt x="154" y="251"/>
                        </a:lnTo>
                        <a:lnTo>
                          <a:pt x="175" y="240"/>
                        </a:lnTo>
                        <a:lnTo>
                          <a:pt x="272" y="218"/>
                        </a:lnTo>
                        <a:lnTo>
                          <a:pt x="339" y="199"/>
                        </a:lnTo>
                        <a:lnTo>
                          <a:pt x="404" y="199"/>
                        </a:lnTo>
                        <a:lnTo>
                          <a:pt x="481" y="180"/>
                        </a:lnTo>
                        <a:lnTo>
                          <a:pt x="565" y="127"/>
                        </a:lnTo>
                        <a:lnTo>
                          <a:pt x="588" y="112"/>
                        </a:lnTo>
                        <a:lnTo>
                          <a:pt x="622" y="71"/>
                        </a:lnTo>
                        <a:lnTo>
                          <a:pt x="623" y="51"/>
                        </a:lnTo>
                        <a:lnTo>
                          <a:pt x="577" y="27"/>
                        </a:lnTo>
                        <a:lnTo>
                          <a:pt x="477" y="27"/>
                        </a:lnTo>
                        <a:lnTo>
                          <a:pt x="305" y="27"/>
                        </a:lnTo>
                        <a:lnTo>
                          <a:pt x="276" y="0"/>
                        </a:lnTo>
                        <a:lnTo>
                          <a:pt x="251" y="28"/>
                        </a:lnTo>
                        <a:lnTo>
                          <a:pt x="141" y="101"/>
                        </a:lnTo>
                        <a:lnTo>
                          <a:pt x="50" y="76"/>
                        </a:lnTo>
                        <a:lnTo>
                          <a:pt x="19" y="117"/>
                        </a:lnTo>
                        <a:lnTo>
                          <a:pt x="0" y="170"/>
                        </a:lnTo>
                        <a:lnTo>
                          <a:pt x="0" y="222"/>
                        </a:lnTo>
                        <a:lnTo>
                          <a:pt x="16" y="260"/>
                        </a:lnTo>
                        <a:lnTo>
                          <a:pt x="61" y="260"/>
                        </a:lnTo>
                        <a:lnTo>
                          <a:pt x="118" y="256"/>
                        </a:lnTo>
                        <a:close/>
                      </a:path>
                    </a:pathLst>
                  </a:custGeom>
                  <a:solidFill>
                    <a:srgbClr val="A0000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grpSp>
                <p:nvGrpSpPr>
                  <p:cNvPr id="35096" name="Group 291"/>
                  <p:cNvGrpSpPr>
                    <a:grpSpLocks/>
                  </p:cNvGrpSpPr>
                  <p:nvPr/>
                </p:nvGrpSpPr>
                <p:grpSpPr bwMode="auto">
                  <a:xfrm>
                    <a:off x="2780" y="3261"/>
                    <a:ext cx="55" cy="31"/>
                    <a:chOff x="2780" y="3261"/>
                    <a:chExt cx="55" cy="31"/>
                  </a:xfrm>
                </p:grpSpPr>
                <p:sp>
                  <p:nvSpPr>
                    <p:cNvPr id="38647" name="Freeform 292"/>
                    <p:cNvSpPr>
                      <a:spLocks/>
                    </p:cNvSpPr>
                    <p:nvPr/>
                  </p:nvSpPr>
                  <p:spPr bwMode="auto">
                    <a:xfrm>
                      <a:off x="2782" y="3261"/>
                      <a:ext cx="51" cy="27"/>
                    </a:xfrm>
                    <a:custGeom>
                      <a:avLst/>
                      <a:gdLst>
                        <a:gd name="T0" fmla="*/ 0 w 200"/>
                        <a:gd name="T1" fmla="*/ 0 h 110"/>
                        <a:gd name="T2" fmla="*/ 0 w 200"/>
                        <a:gd name="T3" fmla="*/ 0 h 110"/>
                        <a:gd name="T4" fmla="*/ 0 w 200"/>
                        <a:gd name="T5" fmla="*/ 0 h 110"/>
                        <a:gd name="T6" fmla="*/ 0 w 200"/>
                        <a:gd name="T7" fmla="*/ 0 h 110"/>
                        <a:gd name="T8" fmla="*/ 0 w 200"/>
                        <a:gd name="T9" fmla="*/ 0 h 110"/>
                        <a:gd name="T10" fmla="*/ 0 w 200"/>
                        <a:gd name="T11" fmla="*/ 0 h 110"/>
                        <a:gd name="T12" fmla="*/ 0 w 200"/>
                        <a:gd name="T13" fmla="*/ 0 h 110"/>
                        <a:gd name="T14" fmla="*/ 0 w 200"/>
                        <a:gd name="T15" fmla="*/ 0 h 110"/>
                        <a:gd name="T16" fmla="*/ 0 w 200"/>
                        <a:gd name="T17" fmla="*/ 0 h 110"/>
                        <a:gd name="T18" fmla="*/ 0 w 200"/>
                        <a:gd name="T19" fmla="*/ 0 h 110"/>
                        <a:gd name="T20" fmla="*/ 0 w 200"/>
                        <a:gd name="T21" fmla="*/ 0 h 110"/>
                        <a:gd name="T22" fmla="*/ 0 w 200"/>
                        <a:gd name="T23" fmla="*/ 0 h 110"/>
                        <a:gd name="T24" fmla="*/ 0 w 200"/>
                        <a:gd name="T25" fmla="*/ 0 h 110"/>
                        <a:gd name="T26" fmla="*/ 0 w 200"/>
                        <a:gd name="T27" fmla="*/ 0 h 110"/>
                        <a:gd name="T28" fmla="*/ 0 w 200"/>
                        <a:gd name="T29" fmla="*/ 0 h 110"/>
                        <a:gd name="T30" fmla="*/ 0 w 200"/>
                        <a:gd name="T31" fmla="*/ 0 h 110"/>
                        <a:gd name="T32" fmla="*/ 0 w 200"/>
                        <a:gd name="T33" fmla="*/ 0 h 110"/>
                        <a:gd name="T34" fmla="*/ 0 w 200"/>
                        <a:gd name="T35" fmla="*/ 0 h 110"/>
                        <a:gd name="T36" fmla="*/ 0 w 200"/>
                        <a:gd name="T37" fmla="*/ 0 h 110"/>
                        <a:gd name="T38" fmla="*/ 0 w 200"/>
                        <a:gd name="T39" fmla="*/ 0 h 110"/>
                        <a:gd name="T40" fmla="*/ 0 w 200"/>
                        <a:gd name="T41" fmla="*/ 0 h 110"/>
                        <a:gd name="T42" fmla="*/ 0 w 200"/>
                        <a:gd name="T43" fmla="*/ 0 h 110"/>
                        <a:gd name="T44" fmla="*/ 0 w 200"/>
                        <a:gd name="T45" fmla="*/ 0 h 110"/>
                        <a:gd name="T46" fmla="*/ 0 60000 65536"/>
                        <a:gd name="T47" fmla="*/ 0 60000 65536"/>
                        <a:gd name="T48" fmla="*/ 0 60000 65536"/>
                        <a:gd name="T49" fmla="*/ 0 60000 65536"/>
                        <a:gd name="T50" fmla="*/ 0 60000 65536"/>
                        <a:gd name="T51" fmla="*/ 0 60000 65536"/>
                        <a:gd name="T52" fmla="*/ 0 60000 65536"/>
                        <a:gd name="T53" fmla="*/ 0 60000 65536"/>
                        <a:gd name="T54" fmla="*/ 0 60000 65536"/>
                        <a:gd name="T55" fmla="*/ 0 60000 65536"/>
                        <a:gd name="T56" fmla="*/ 0 60000 65536"/>
                        <a:gd name="T57" fmla="*/ 0 60000 65536"/>
                        <a:gd name="T58" fmla="*/ 0 60000 65536"/>
                        <a:gd name="T59" fmla="*/ 0 60000 65536"/>
                        <a:gd name="T60" fmla="*/ 0 60000 65536"/>
                        <a:gd name="T61" fmla="*/ 0 60000 65536"/>
                        <a:gd name="T62" fmla="*/ 0 60000 65536"/>
                        <a:gd name="T63" fmla="*/ 0 60000 65536"/>
                        <a:gd name="T64" fmla="*/ 0 60000 65536"/>
                        <a:gd name="T65" fmla="*/ 0 60000 65536"/>
                        <a:gd name="T66" fmla="*/ 0 60000 65536"/>
                        <a:gd name="T67" fmla="*/ 0 60000 65536"/>
                        <a:gd name="T68" fmla="*/ 0 60000 65536"/>
                        <a:gd name="T69" fmla="*/ 0 w 200"/>
                        <a:gd name="T70" fmla="*/ 0 h 110"/>
                        <a:gd name="T71" fmla="*/ 200 w 200"/>
                        <a:gd name="T72" fmla="*/ 110 h 110"/>
                      </a:gdLst>
                      <a:ahLst/>
                      <a:cxnLst>
                        <a:cxn ang="T46">
                          <a:pos x="T0" y="T1"/>
                        </a:cxn>
                        <a:cxn ang="T47">
                          <a:pos x="T2" y="T3"/>
                        </a:cxn>
                        <a:cxn ang="T48">
                          <a:pos x="T4" y="T5"/>
                        </a:cxn>
                        <a:cxn ang="T49">
                          <a:pos x="T6" y="T7"/>
                        </a:cxn>
                        <a:cxn ang="T50">
                          <a:pos x="T8" y="T9"/>
                        </a:cxn>
                        <a:cxn ang="T51">
                          <a:pos x="T10" y="T11"/>
                        </a:cxn>
                        <a:cxn ang="T52">
                          <a:pos x="T12" y="T13"/>
                        </a:cxn>
                        <a:cxn ang="T53">
                          <a:pos x="T14" y="T15"/>
                        </a:cxn>
                        <a:cxn ang="T54">
                          <a:pos x="T16" y="T17"/>
                        </a:cxn>
                        <a:cxn ang="T55">
                          <a:pos x="T18" y="T19"/>
                        </a:cxn>
                        <a:cxn ang="T56">
                          <a:pos x="T20" y="T21"/>
                        </a:cxn>
                        <a:cxn ang="T57">
                          <a:pos x="T22" y="T23"/>
                        </a:cxn>
                        <a:cxn ang="T58">
                          <a:pos x="T24" y="T25"/>
                        </a:cxn>
                        <a:cxn ang="T59">
                          <a:pos x="T26" y="T27"/>
                        </a:cxn>
                        <a:cxn ang="T60">
                          <a:pos x="T28" y="T29"/>
                        </a:cxn>
                        <a:cxn ang="T61">
                          <a:pos x="T30" y="T31"/>
                        </a:cxn>
                        <a:cxn ang="T62">
                          <a:pos x="T32" y="T33"/>
                        </a:cxn>
                        <a:cxn ang="T63">
                          <a:pos x="T34" y="T35"/>
                        </a:cxn>
                        <a:cxn ang="T64">
                          <a:pos x="T36" y="T37"/>
                        </a:cxn>
                        <a:cxn ang="T65">
                          <a:pos x="T38" y="T39"/>
                        </a:cxn>
                        <a:cxn ang="T66">
                          <a:pos x="T40" y="T41"/>
                        </a:cxn>
                        <a:cxn ang="T67">
                          <a:pos x="T42" y="T43"/>
                        </a:cxn>
                        <a:cxn ang="T68">
                          <a:pos x="T44" y="T45"/>
                        </a:cxn>
                      </a:cxnLst>
                      <a:rect l="T69" t="T70" r="T71" b="T72"/>
                      <a:pathLst>
                        <a:path w="200" h="110">
                          <a:moveTo>
                            <a:pt x="200" y="110"/>
                          </a:moveTo>
                          <a:lnTo>
                            <a:pt x="143" y="91"/>
                          </a:lnTo>
                          <a:lnTo>
                            <a:pt x="118" y="95"/>
                          </a:lnTo>
                          <a:lnTo>
                            <a:pt x="106" y="110"/>
                          </a:lnTo>
                          <a:lnTo>
                            <a:pt x="73" y="97"/>
                          </a:lnTo>
                          <a:lnTo>
                            <a:pt x="81" y="86"/>
                          </a:lnTo>
                          <a:lnTo>
                            <a:pt x="73" y="61"/>
                          </a:lnTo>
                          <a:lnTo>
                            <a:pt x="96" y="49"/>
                          </a:lnTo>
                          <a:lnTo>
                            <a:pt x="96" y="29"/>
                          </a:lnTo>
                          <a:lnTo>
                            <a:pt x="89" y="14"/>
                          </a:lnTo>
                          <a:lnTo>
                            <a:pt x="57" y="25"/>
                          </a:lnTo>
                          <a:lnTo>
                            <a:pt x="58" y="0"/>
                          </a:lnTo>
                          <a:lnTo>
                            <a:pt x="28" y="0"/>
                          </a:lnTo>
                          <a:lnTo>
                            <a:pt x="12" y="40"/>
                          </a:lnTo>
                          <a:lnTo>
                            <a:pt x="0" y="61"/>
                          </a:lnTo>
                          <a:lnTo>
                            <a:pt x="15" y="67"/>
                          </a:lnTo>
                          <a:lnTo>
                            <a:pt x="16" y="87"/>
                          </a:lnTo>
                          <a:lnTo>
                            <a:pt x="31" y="101"/>
                          </a:lnTo>
                          <a:lnTo>
                            <a:pt x="64" y="87"/>
                          </a:lnTo>
                          <a:lnTo>
                            <a:pt x="64" y="57"/>
                          </a:lnTo>
                          <a:lnTo>
                            <a:pt x="57" y="29"/>
                          </a:lnTo>
                          <a:lnTo>
                            <a:pt x="28" y="59"/>
                          </a:lnTo>
                          <a:lnTo>
                            <a:pt x="16" y="49"/>
                          </a:lnTo>
                        </a:path>
                      </a:pathLst>
                    </a:custGeom>
                    <a:noFill/>
                    <a:ln w="4763">
                      <a:solidFill>
                        <a:srgbClr val="5599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648" name="Line 293"/>
                    <p:cNvSpPr>
                      <a:spLocks noChangeShapeType="1"/>
                    </p:cNvSpPr>
                    <p:nvPr/>
                  </p:nvSpPr>
                  <p:spPr bwMode="auto">
                    <a:xfrm flipV="1">
                      <a:off x="2820" y="3285"/>
                      <a:ext cx="15" cy="6"/>
                    </a:xfrm>
                    <a:prstGeom prst="line">
                      <a:avLst/>
                    </a:prstGeom>
                    <a:noFill/>
                    <a:ln w="4763">
                      <a:solidFill>
                        <a:srgbClr val="5599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  <p:sp>
                  <p:nvSpPr>
                    <p:cNvPr id="38649" name="Freeform 294"/>
                    <p:cNvSpPr>
                      <a:spLocks/>
                    </p:cNvSpPr>
                    <p:nvPr/>
                  </p:nvSpPr>
                  <p:spPr bwMode="auto">
                    <a:xfrm>
                      <a:off x="2780" y="3275"/>
                      <a:ext cx="16" cy="17"/>
                    </a:xfrm>
                    <a:custGeom>
                      <a:avLst/>
                      <a:gdLst>
                        <a:gd name="T0" fmla="*/ 0 w 65"/>
                        <a:gd name="T1" fmla="*/ 0 h 69"/>
                        <a:gd name="T2" fmla="*/ 0 w 65"/>
                        <a:gd name="T3" fmla="*/ 0 h 69"/>
                        <a:gd name="T4" fmla="*/ 0 w 65"/>
                        <a:gd name="T5" fmla="*/ 0 h 69"/>
                        <a:gd name="T6" fmla="*/ 0 w 65"/>
                        <a:gd name="T7" fmla="*/ 0 h 69"/>
                        <a:gd name="T8" fmla="*/ 0 60000 65536"/>
                        <a:gd name="T9" fmla="*/ 0 60000 65536"/>
                        <a:gd name="T10" fmla="*/ 0 60000 65536"/>
                        <a:gd name="T11" fmla="*/ 0 60000 65536"/>
                        <a:gd name="T12" fmla="*/ 0 w 65"/>
                        <a:gd name="T13" fmla="*/ 0 h 69"/>
                        <a:gd name="T14" fmla="*/ 65 w 65"/>
                        <a:gd name="T15" fmla="*/ 69 h 69"/>
                      </a:gdLst>
                      <a:ahLst/>
                      <a:cxnLst>
                        <a:cxn ang="T8">
                          <a:pos x="T0" y="T1"/>
                        </a:cxn>
                        <a:cxn ang="T9">
                          <a:pos x="T2" y="T3"/>
                        </a:cxn>
                        <a:cxn ang="T10">
                          <a:pos x="T4" y="T5"/>
                        </a:cxn>
                        <a:cxn ang="T11">
                          <a:pos x="T6" y="T7"/>
                        </a:cxn>
                      </a:cxnLst>
                      <a:rect l="T12" t="T13" r="T14" b="T15"/>
                      <a:pathLst>
                        <a:path w="65" h="69">
                          <a:moveTo>
                            <a:pt x="0" y="69"/>
                          </a:moveTo>
                          <a:lnTo>
                            <a:pt x="65" y="25"/>
                          </a:lnTo>
                          <a:lnTo>
                            <a:pt x="61" y="0"/>
                          </a:lnTo>
                          <a:lnTo>
                            <a:pt x="36" y="35"/>
                          </a:lnTo>
                        </a:path>
                      </a:pathLst>
                    </a:custGeom>
                    <a:noFill/>
                    <a:ln w="4763">
                      <a:solidFill>
                        <a:srgbClr val="5599FF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/>
                    </a:p>
                  </p:txBody>
                </p:sp>
              </p:grpSp>
              <p:sp>
                <p:nvSpPr>
                  <p:cNvPr id="38644" name="Freeform 295"/>
                  <p:cNvSpPr>
                    <a:spLocks/>
                  </p:cNvSpPr>
                  <p:nvPr/>
                </p:nvSpPr>
                <p:spPr bwMode="auto">
                  <a:xfrm>
                    <a:off x="2774" y="3295"/>
                    <a:ext cx="20" cy="33"/>
                  </a:xfrm>
                  <a:custGeom>
                    <a:avLst/>
                    <a:gdLst>
                      <a:gd name="T0" fmla="*/ 0 w 78"/>
                      <a:gd name="T1" fmla="*/ 0 h 132"/>
                      <a:gd name="T2" fmla="*/ 0 w 78"/>
                      <a:gd name="T3" fmla="*/ 0 h 132"/>
                      <a:gd name="T4" fmla="*/ 0 w 78"/>
                      <a:gd name="T5" fmla="*/ 0 h 132"/>
                      <a:gd name="T6" fmla="*/ 0 w 78"/>
                      <a:gd name="T7" fmla="*/ 0 h 132"/>
                      <a:gd name="T8" fmla="*/ 0 w 78"/>
                      <a:gd name="T9" fmla="*/ 0 h 132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8"/>
                      <a:gd name="T16" fmla="*/ 0 h 132"/>
                      <a:gd name="T17" fmla="*/ 78 w 78"/>
                      <a:gd name="T18" fmla="*/ 132 h 132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8" h="132">
                        <a:moveTo>
                          <a:pt x="54" y="0"/>
                        </a:moveTo>
                        <a:lnTo>
                          <a:pt x="78" y="4"/>
                        </a:lnTo>
                        <a:lnTo>
                          <a:pt x="24" y="129"/>
                        </a:lnTo>
                        <a:lnTo>
                          <a:pt x="0" y="132"/>
                        </a:lnTo>
                        <a:lnTo>
                          <a:pt x="54" y="0"/>
                        </a:lnTo>
                        <a:close/>
                      </a:path>
                    </a:pathLst>
                  </a:custGeom>
                  <a:solidFill>
                    <a:srgbClr val="5599F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645" name="Freeform 296"/>
                  <p:cNvSpPr>
                    <a:spLocks/>
                  </p:cNvSpPr>
                  <p:nvPr/>
                </p:nvSpPr>
                <p:spPr bwMode="auto">
                  <a:xfrm>
                    <a:off x="2786" y="3296"/>
                    <a:ext cx="18" cy="32"/>
                  </a:xfrm>
                  <a:custGeom>
                    <a:avLst/>
                    <a:gdLst>
                      <a:gd name="T0" fmla="*/ 0 w 71"/>
                      <a:gd name="T1" fmla="*/ 0 h 125"/>
                      <a:gd name="T2" fmla="*/ 0 w 71"/>
                      <a:gd name="T3" fmla="*/ 0 h 125"/>
                      <a:gd name="T4" fmla="*/ 0 w 71"/>
                      <a:gd name="T5" fmla="*/ 0 h 125"/>
                      <a:gd name="T6" fmla="*/ 0 w 71"/>
                      <a:gd name="T7" fmla="*/ 0 h 125"/>
                      <a:gd name="T8" fmla="*/ 0 w 71"/>
                      <a:gd name="T9" fmla="*/ 0 h 1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71"/>
                      <a:gd name="T16" fmla="*/ 0 h 125"/>
                      <a:gd name="T17" fmla="*/ 71 w 71"/>
                      <a:gd name="T18" fmla="*/ 125 h 1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71" h="125">
                        <a:moveTo>
                          <a:pt x="49" y="0"/>
                        </a:moveTo>
                        <a:lnTo>
                          <a:pt x="71" y="0"/>
                        </a:lnTo>
                        <a:lnTo>
                          <a:pt x="25" y="119"/>
                        </a:lnTo>
                        <a:lnTo>
                          <a:pt x="0" y="125"/>
                        </a:lnTo>
                        <a:lnTo>
                          <a:pt x="49" y="0"/>
                        </a:lnTo>
                        <a:close/>
                      </a:path>
                    </a:pathLst>
                  </a:custGeom>
                  <a:solidFill>
                    <a:srgbClr val="5599F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38646" name="Freeform 297"/>
                  <p:cNvSpPr>
                    <a:spLocks/>
                  </p:cNvSpPr>
                  <p:nvPr/>
                </p:nvSpPr>
                <p:spPr bwMode="auto">
                  <a:xfrm>
                    <a:off x="2797" y="3296"/>
                    <a:ext cx="17" cy="30"/>
                  </a:xfrm>
                  <a:custGeom>
                    <a:avLst/>
                    <a:gdLst>
                      <a:gd name="T0" fmla="*/ 0 w 68"/>
                      <a:gd name="T1" fmla="*/ 0 h 117"/>
                      <a:gd name="T2" fmla="*/ 0 w 68"/>
                      <a:gd name="T3" fmla="*/ 0 h 117"/>
                      <a:gd name="T4" fmla="*/ 0 w 68"/>
                      <a:gd name="T5" fmla="*/ 0 h 117"/>
                      <a:gd name="T6" fmla="*/ 0 w 68"/>
                      <a:gd name="T7" fmla="*/ 0 h 117"/>
                      <a:gd name="T8" fmla="*/ 0 w 68"/>
                      <a:gd name="T9" fmla="*/ 0 h 11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68"/>
                      <a:gd name="T16" fmla="*/ 0 h 117"/>
                      <a:gd name="T17" fmla="*/ 68 w 68"/>
                      <a:gd name="T18" fmla="*/ 117 h 11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68" h="117">
                        <a:moveTo>
                          <a:pt x="45" y="0"/>
                        </a:moveTo>
                        <a:lnTo>
                          <a:pt x="68" y="3"/>
                        </a:lnTo>
                        <a:lnTo>
                          <a:pt x="27" y="113"/>
                        </a:lnTo>
                        <a:lnTo>
                          <a:pt x="0" y="117"/>
                        </a:lnTo>
                        <a:lnTo>
                          <a:pt x="45" y="0"/>
                        </a:lnTo>
                        <a:close/>
                      </a:path>
                    </a:pathLst>
                  </a:custGeom>
                  <a:solidFill>
                    <a:srgbClr val="5599FF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</p:grpSp>
          <p:grpSp>
            <p:nvGrpSpPr>
              <p:cNvPr id="35097" name="Group 298"/>
              <p:cNvGrpSpPr>
                <a:grpSpLocks/>
              </p:cNvGrpSpPr>
              <p:nvPr/>
            </p:nvGrpSpPr>
            <p:grpSpPr bwMode="auto">
              <a:xfrm>
                <a:off x="2647" y="3250"/>
                <a:ext cx="114" cy="115"/>
                <a:chOff x="2647" y="3250"/>
                <a:chExt cx="114" cy="115"/>
              </a:xfrm>
            </p:grpSpPr>
            <p:sp>
              <p:nvSpPr>
                <p:cNvPr id="38592" name="Oval 299"/>
                <p:cNvSpPr>
                  <a:spLocks noChangeArrowheads="1"/>
                </p:cNvSpPr>
                <p:nvPr/>
              </p:nvSpPr>
              <p:spPr bwMode="auto">
                <a:xfrm>
                  <a:off x="2648" y="3250"/>
                  <a:ext cx="113" cy="115"/>
                </a:xfrm>
                <a:prstGeom prst="ellipse">
                  <a:avLst/>
                </a:prstGeom>
                <a:solidFill>
                  <a:srgbClr val="FFFFFF"/>
                </a:solidFill>
                <a:ln w="4763">
                  <a:solidFill>
                    <a:srgbClr val="0066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93" name="Freeform 300"/>
                <p:cNvSpPr>
                  <a:spLocks/>
                </p:cNvSpPr>
                <p:nvPr/>
              </p:nvSpPr>
              <p:spPr bwMode="auto">
                <a:xfrm>
                  <a:off x="2734" y="3262"/>
                  <a:ext cx="24" cy="34"/>
                </a:xfrm>
                <a:custGeom>
                  <a:avLst/>
                  <a:gdLst>
                    <a:gd name="T0" fmla="*/ 0 w 99"/>
                    <a:gd name="T1" fmla="*/ 0 h 137"/>
                    <a:gd name="T2" fmla="*/ 0 w 99"/>
                    <a:gd name="T3" fmla="*/ 0 h 137"/>
                    <a:gd name="T4" fmla="*/ 0 w 99"/>
                    <a:gd name="T5" fmla="*/ 0 h 137"/>
                    <a:gd name="T6" fmla="*/ 0 w 99"/>
                    <a:gd name="T7" fmla="*/ 0 h 137"/>
                    <a:gd name="T8" fmla="*/ 0 w 99"/>
                    <a:gd name="T9" fmla="*/ 0 h 137"/>
                    <a:gd name="T10" fmla="*/ 0 w 99"/>
                    <a:gd name="T11" fmla="*/ 0 h 137"/>
                    <a:gd name="T12" fmla="*/ 0 w 99"/>
                    <a:gd name="T13" fmla="*/ 0 h 13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9"/>
                    <a:gd name="T22" fmla="*/ 0 h 137"/>
                    <a:gd name="T23" fmla="*/ 99 w 99"/>
                    <a:gd name="T24" fmla="*/ 137 h 13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9" h="137">
                      <a:moveTo>
                        <a:pt x="47" y="20"/>
                      </a:moveTo>
                      <a:lnTo>
                        <a:pt x="77" y="52"/>
                      </a:lnTo>
                      <a:lnTo>
                        <a:pt x="96" y="84"/>
                      </a:lnTo>
                      <a:lnTo>
                        <a:pt x="99" y="137"/>
                      </a:lnTo>
                      <a:lnTo>
                        <a:pt x="26" y="84"/>
                      </a:lnTo>
                      <a:lnTo>
                        <a:pt x="0" y="0"/>
                      </a:lnTo>
                      <a:lnTo>
                        <a:pt x="47" y="2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4763">
                  <a:solidFill>
                    <a:srgbClr val="60606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94" name="Freeform 301"/>
                <p:cNvSpPr>
                  <a:spLocks/>
                </p:cNvSpPr>
                <p:nvPr/>
              </p:nvSpPr>
              <p:spPr bwMode="auto">
                <a:xfrm>
                  <a:off x="2737" y="3316"/>
                  <a:ext cx="24" cy="32"/>
                </a:xfrm>
                <a:custGeom>
                  <a:avLst/>
                  <a:gdLst>
                    <a:gd name="T0" fmla="*/ 0 w 94"/>
                    <a:gd name="T1" fmla="*/ 0 h 128"/>
                    <a:gd name="T2" fmla="*/ 0 w 94"/>
                    <a:gd name="T3" fmla="*/ 0 h 128"/>
                    <a:gd name="T4" fmla="*/ 0 w 94"/>
                    <a:gd name="T5" fmla="*/ 0 h 128"/>
                    <a:gd name="T6" fmla="*/ 0 w 94"/>
                    <a:gd name="T7" fmla="*/ 0 h 128"/>
                    <a:gd name="T8" fmla="*/ 0 w 94"/>
                    <a:gd name="T9" fmla="*/ 0 h 128"/>
                    <a:gd name="T10" fmla="*/ 0 w 94"/>
                    <a:gd name="T11" fmla="*/ 0 h 128"/>
                    <a:gd name="T12" fmla="*/ 0 w 94"/>
                    <a:gd name="T13" fmla="*/ 0 h 12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94"/>
                    <a:gd name="T22" fmla="*/ 0 h 128"/>
                    <a:gd name="T23" fmla="*/ 94 w 94"/>
                    <a:gd name="T24" fmla="*/ 128 h 12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94" h="128">
                      <a:moveTo>
                        <a:pt x="84" y="0"/>
                      </a:moveTo>
                      <a:lnTo>
                        <a:pt x="94" y="25"/>
                      </a:lnTo>
                      <a:lnTo>
                        <a:pt x="75" y="77"/>
                      </a:lnTo>
                      <a:lnTo>
                        <a:pt x="33" y="128"/>
                      </a:lnTo>
                      <a:lnTo>
                        <a:pt x="0" y="128"/>
                      </a:lnTo>
                      <a:lnTo>
                        <a:pt x="21" y="49"/>
                      </a:lnTo>
                      <a:lnTo>
                        <a:pt x="84" y="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4763">
                  <a:solidFill>
                    <a:srgbClr val="60606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95" name="Freeform 302"/>
                <p:cNvSpPr>
                  <a:spLocks/>
                </p:cNvSpPr>
                <p:nvPr/>
              </p:nvSpPr>
              <p:spPr bwMode="auto">
                <a:xfrm>
                  <a:off x="2673" y="3250"/>
                  <a:ext cx="36" cy="16"/>
                </a:xfrm>
                <a:custGeom>
                  <a:avLst/>
                  <a:gdLst>
                    <a:gd name="T0" fmla="*/ 0 w 143"/>
                    <a:gd name="T1" fmla="*/ 0 h 66"/>
                    <a:gd name="T2" fmla="*/ 0 w 143"/>
                    <a:gd name="T3" fmla="*/ 0 h 66"/>
                    <a:gd name="T4" fmla="*/ 0 w 143"/>
                    <a:gd name="T5" fmla="*/ 0 h 66"/>
                    <a:gd name="T6" fmla="*/ 0 w 143"/>
                    <a:gd name="T7" fmla="*/ 0 h 66"/>
                    <a:gd name="T8" fmla="*/ 0 w 143"/>
                    <a:gd name="T9" fmla="*/ 0 h 66"/>
                    <a:gd name="T10" fmla="*/ 0 w 143"/>
                    <a:gd name="T11" fmla="*/ 0 h 66"/>
                    <a:gd name="T12" fmla="*/ 0 w 143"/>
                    <a:gd name="T13" fmla="*/ 0 h 6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43"/>
                    <a:gd name="T22" fmla="*/ 0 h 66"/>
                    <a:gd name="T23" fmla="*/ 143 w 143"/>
                    <a:gd name="T24" fmla="*/ 66 h 6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43" h="66">
                      <a:moveTo>
                        <a:pt x="93" y="0"/>
                      </a:moveTo>
                      <a:lnTo>
                        <a:pt x="143" y="8"/>
                      </a:lnTo>
                      <a:lnTo>
                        <a:pt x="87" y="66"/>
                      </a:lnTo>
                      <a:lnTo>
                        <a:pt x="0" y="66"/>
                      </a:lnTo>
                      <a:lnTo>
                        <a:pt x="18" y="29"/>
                      </a:lnTo>
                      <a:lnTo>
                        <a:pt x="58" y="8"/>
                      </a:lnTo>
                      <a:lnTo>
                        <a:pt x="93" y="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4763">
                  <a:solidFill>
                    <a:srgbClr val="60606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96" name="Freeform 303"/>
                <p:cNvSpPr>
                  <a:spLocks/>
                </p:cNvSpPr>
                <p:nvPr/>
              </p:nvSpPr>
              <p:spPr bwMode="auto">
                <a:xfrm>
                  <a:off x="2647" y="3287"/>
                  <a:ext cx="20" cy="40"/>
                </a:xfrm>
                <a:custGeom>
                  <a:avLst/>
                  <a:gdLst>
                    <a:gd name="T0" fmla="*/ 0 w 78"/>
                    <a:gd name="T1" fmla="*/ 0 h 160"/>
                    <a:gd name="T2" fmla="*/ 0 w 78"/>
                    <a:gd name="T3" fmla="*/ 0 h 160"/>
                    <a:gd name="T4" fmla="*/ 0 w 78"/>
                    <a:gd name="T5" fmla="*/ 0 h 160"/>
                    <a:gd name="T6" fmla="*/ 0 w 78"/>
                    <a:gd name="T7" fmla="*/ 0 h 160"/>
                    <a:gd name="T8" fmla="*/ 0 w 78"/>
                    <a:gd name="T9" fmla="*/ 0 h 160"/>
                    <a:gd name="T10" fmla="*/ 0 w 78"/>
                    <a:gd name="T11" fmla="*/ 0 h 160"/>
                    <a:gd name="T12" fmla="*/ 0 w 78"/>
                    <a:gd name="T13" fmla="*/ 0 h 16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78"/>
                    <a:gd name="T22" fmla="*/ 0 h 160"/>
                    <a:gd name="T23" fmla="*/ 78 w 78"/>
                    <a:gd name="T24" fmla="*/ 160 h 16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78" h="160">
                      <a:moveTo>
                        <a:pt x="41" y="0"/>
                      </a:moveTo>
                      <a:lnTo>
                        <a:pt x="78" y="79"/>
                      </a:lnTo>
                      <a:lnTo>
                        <a:pt x="53" y="160"/>
                      </a:lnTo>
                      <a:lnTo>
                        <a:pt x="6" y="126"/>
                      </a:lnTo>
                      <a:lnTo>
                        <a:pt x="0" y="80"/>
                      </a:lnTo>
                      <a:lnTo>
                        <a:pt x="6" y="43"/>
                      </a:lnTo>
                      <a:lnTo>
                        <a:pt x="41" y="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4763">
                  <a:solidFill>
                    <a:srgbClr val="60606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97" name="Freeform 304"/>
                <p:cNvSpPr>
                  <a:spLocks/>
                </p:cNvSpPr>
                <p:nvPr/>
              </p:nvSpPr>
              <p:spPr bwMode="auto">
                <a:xfrm>
                  <a:off x="2677" y="3347"/>
                  <a:ext cx="36" cy="18"/>
                </a:xfrm>
                <a:custGeom>
                  <a:avLst/>
                  <a:gdLst>
                    <a:gd name="T0" fmla="*/ 0 w 147"/>
                    <a:gd name="T1" fmla="*/ 0 h 72"/>
                    <a:gd name="T2" fmla="*/ 0 w 147"/>
                    <a:gd name="T3" fmla="*/ 0 h 72"/>
                    <a:gd name="T4" fmla="*/ 0 w 147"/>
                    <a:gd name="T5" fmla="*/ 0 h 72"/>
                    <a:gd name="T6" fmla="*/ 0 w 147"/>
                    <a:gd name="T7" fmla="*/ 0 h 72"/>
                    <a:gd name="T8" fmla="*/ 0 w 147"/>
                    <a:gd name="T9" fmla="*/ 0 h 72"/>
                    <a:gd name="T10" fmla="*/ 0 w 147"/>
                    <a:gd name="T11" fmla="*/ 0 h 72"/>
                    <a:gd name="T12" fmla="*/ 0 w 147"/>
                    <a:gd name="T13" fmla="*/ 0 h 7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47"/>
                    <a:gd name="T22" fmla="*/ 0 h 72"/>
                    <a:gd name="T23" fmla="*/ 147 w 147"/>
                    <a:gd name="T24" fmla="*/ 72 h 72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47" h="72">
                      <a:moveTo>
                        <a:pt x="0" y="6"/>
                      </a:moveTo>
                      <a:lnTo>
                        <a:pt x="20" y="53"/>
                      </a:lnTo>
                      <a:lnTo>
                        <a:pt x="59" y="64"/>
                      </a:lnTo>
                      <a:lnTo>
                        <a:pt x="97" y="72"/>
                      </a:lnTo>
                      <a:lnTo>
                        <a:pt x="147" y="40"/>
                      </a:lnTo>
                      <a:lnTo>
                        <a:pt x="78" y="0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4763">
                  <a:solidFill>
                    <a:srgbClr val="60606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98" name="Freeform 305"/>
                <p:cNvSpPr>
                  <a:spLocks/>
                </p:cNvSpPr>
                <p:nvPr/>
              </p:nvSpPr>
              <p:spPr bwMode="auto">
                <a:xfrm>
                  <a:off x="2687" y="3288"/>
                  <a:ext cx="39" cy="36"/>
                </a:xfrm>
                <a:custGeom>
                  <a:avLst/>
                  <a:gdLst>
                    <a:gd name="T0" fmla="*/ 0 w 155"/>
                    <a:gd name="T1" fmla="*/ 0 h 143"/>
                    <a:gd name="T2" fmla="*/ 0 w 155"/>
                    <a:gd name="T3" fmla="*/ 0 h 143"/>
                    <a:gd name="T4" fmla="*/ 0 w 155"/>
                    <a:gd name="T5" fmla="*/ 0 h 143"/>
                    <a:gd name="T6" fmla="*/ 0 w 155"/>
                    <a:gd name="T7" fmla="*/ 0 h 143"/>
                    <a:gd name="T8" fmla="*/ 0 w 155"/>
                    <a:gd name="T9" fmla="*/ 0 h 143"/>
                    <a:gd name="T10" fmla="*/ 0 w 155"/>
                    <a:gd name="T11" fmla="*/ 0 h 14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55"/>
                    <a:gd name="T19" fmla="*/ 0 h 143"/>
                    <a:gd name="T20" fmla="*/ 155 w 155"/>
                    <a:gd name="T21" fmla="*/ 143 h 14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55" h="143">
                      <a:moveTo>
                        <a:pt x="55" y="0"/>
                      </a:moveTo>
                      <a:lnTo>
                        <a:pt x="152" y="15"/>
                      </a:lnTo>
                      <a:lnTo>
                        <a:pt x="155" y="114"/>
                      </a:lnTo>
                      <a:lnTo>
                        <a:pt x="59" y="143"/>
                      </a:lnTo>
                      <a:lnTo>
                        <a:pt x="0" y="66"/>
                      </a:lnTo>
                      <a:lnTo>
                        <a:pt x="55" y="0"/>
                      </a:lnTo>
                      <a:close/>
                    </a:path>
                  </a:pathLst>
                </a:custGeom>
                <a:solidFill>
                  <a:srgbClr val="40404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99" name="Freeform 306"/>
                <p:cNvSpPr>
                  <a:spLocks/>
                </p:cNvSpPr>
                <p:nvPr/>
              </p:nvSpPr>
              <p:spPr bwMode="auto">
                <a:xfrm>
                  <a:off x="2658" y="3253"/>
                  <a:ext cx="100" cy="103"/>
                </a:xfrm>
                <a:custGeom>
                  <a:avLst/>
                  <a:gdLst>
                    <a:gd name="T0" fmla="*/ 0 w 399"/>
                    <a:gd name="T1" fmla="*/ 0 h 414"/>
                    <a:gd name="T2" fmla="*/ 0 w 399"/>
                    <a:gd name="T3" fmla="*/ 0 h 414"/>
                    <a:gd name="T4" fmla="*/ 0 w 399"/>
                    <a:gd name="T5" fmla="*/ 0 h 414"/>
                    <a:gd name="T6" fmla="*/ 0 w 399"/>
                    <a:gd name="T7" fmla="*/ 0 h 414"/>
                    <a:gd name="T8" fmla="*/ 0 w 399"/>
                    <a:gd name="T9" fmla="*/ 0 h 414"/>
                    <a:gd name="T10" fmla="*/ 0 w 399"/>
                    <a:gd name="T11" fmla="*/ 0 h 414"/>
                    <a:gd name="T12" fmla="*/ 0 w 399"/>
                    <a:gd name="T13" fmla="*/ 0 h 414"/>
                    <a:gd name="T14" fmla="*/ 0 w 399"/>
                    <a:gd name="T15" fmla="*/ 0 h 414"/>
                    <a:gd name="T16" fmla="*/ 0 w 399"/>
                    <a:gd name="T17" fmla="*/ 0 h 414"/>
                    <a:gd name="T18" fmla="*/ 0 w 399"/>
                    <a:gd name="T19" fmla="*/ 0 h 414"/>
                    <a:gd name="T20" fmla="*/ 0 w 399"/>
                    <a:gd name="T21" fmla="*/ 0 h 414"/>
                    <a:gd name="T22" fmla="*/ 0 w 399"/>
                    <a:gd name="T23" fmla="*/ 0 h 414"/>
                    <a:gd name="T24" fmla="*/ 0 w 399"/>
                    <a:gd name="T25" fmla="*/ 0 h 414"/>
                    <a:gd name="T26" fmla="*/ 0 w 399"/>
                    <a:gd name="T27" fmla="*/ 0 h 414"/>
                    <a:gd name="T28" fmla="*/ 0 w 399"/>
                    <a:gd name="T29" fmla="*/ 0 h 414"/>
                    <a:gd name="T30" fmla="*/ 0 w 399"/>
                    <a:gd name="T31" fmla="*/ 0 h 414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399"/>
                    <a:gd name="T49" fmla="*/ 0 h 414"/>
                    <a:gd name="T50" fmla="*/ 399 w 399"/>
                    <a:gd name="T51" fmla="*/ 414 h 414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399" h="414">
                      <a:moveTo>
                        <a:pt x="204" y="0"/>
                      </a:moveTo>
                      <a:lnTo>
                        <a:pt x="303" y="33"/>
                      </a:lnTo>
                      <a:lnTo>
                        <a:pt x="326" y="117"/>
                      </a:lnTo>
                      <a:lnTo>
                        <a:pt x="399" y="171"/>
                      </a:lnTo>
                      <a:lnTo>
                        <a:pt x="399" y="253"/>
                      </a:lnTo>
                      <a:lnTo>
                        <a:pt x="333" y="303"/>
                      </a:lnTo>
                      <a:lnTo>
                        <a:pt x="312" y="378"/>
                      </a:lnTo>
                      <a:lnTo>
                        <a:pt x="219" y="414"/>
                      </a:lnTo>
                      <a:lnTo>
                        <a:pt x="152" y="374"/>
                      </a:lnTo>
                      <a:lnTo>
                        <a:pt x="68" y="379"/>
                      </a:lnTo>
                      <a:lnTo>
                        <a:pt x="8" y="292"/>
                      </a:lnTo>
                      <a:lnTo>
                        <a:pt x="34" y="212"/>
                      </a:lnTo>
                      <a:lnTo>
                        <a:pt x="0" y="133"/>
                      </a:lnTo>
                      <a:lnTo>
                        <a:pt x="54" y="54"/>
                      </a:lnTo>
                      <a:lnTo>
                        <a:pt x="144" y="52"/>
                      </a:lnTo>
                      <a:lnTo>
                        <a:pt x="204" y="0"/>
                      </a:lnTo>
                    </a:path>
                  </a:pathLst>
                </a:custGeom>
                <a:noFill/>
                <a:ln w="4763">
                  <a:solidFill>
                    <a:srgbClr val="60606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00" name="Freeform 307"/>
                <p:cNvSpPr>
                  <a:spLocks/>
                </p:cNvSpPr>
                <p:nvPr/>
              </p:nvSpPr>
              <p:spPr bwMode="auto">
                <a:xfrm>
                  <a:off x="2695" y="3267"/>
                  <a:ext cx="44" cy="25"/>
                </a:xfrm>
                <a:custGeom>
                  <a:avLst/>
                  <a:gdLst>
                    <a:gd name="T0" fmla="*/ 0 w 179"/>
                    <a:gd name="T1" fmla="*/ 0 h 99"/>
                    <a:gd name="T2" fmla="*/ 0 w 179"/>
                    <a:gd name="T3" fmla="*/ 0 h 99"/>
                    <a:gd name="T4" fmla="*/ 0 w 179"/>
                    <a:gd name="T5" fmla="*/ 0 h 99"/>
                    <a:gd name="T6" fmla="*/ 0 w 179"/>
                    <a:gd name="T7" fmla="*/ 0 h 9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79"/>
                    <a:gd name="T13" fmla="*/ 0 h 99"/>
                    <a:gd name="T14" fmla="*/ 179 w 179"/>
                    <a:gd name="T15" fmla="*/ 99 h 9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79" h="99">
                      <a:moveTo>
                        <a:pt x="0" y="0"/>
                      </a:moveTo>
                      <a:lnTo>
                        <a:pt x="28" y="85"/>
                      </a:lnTo>
                      <a:lnTo>
                        <a:pt x="126" y="99"/>
                      </a:lnTo>
                      <a:lnTo>
                        <a:pt x="179" y="62"/>
                      </a:lnTo>
                    </a:path>
                  </a:pathLst>
                </a:custGeom>
                <a:noFill/>
                <a:ln w="4763">
                  <a:solidFill>
                    <a:srgbClr val="60606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01" name="Freeform 308"/>
                <p:cNvSpPr>
                  <a:spLocks/>
                </p:cNvSpPr>
                <p:nvPr/>
              </p:nvSpPr>
              <p:spPr bwMode="auto">
                <a:xfrm>
                  <a:off x="2726" y="3293"/>
                  <a:ext cx="16" cy="36"/>
                </a:xfrm>
                <a:custGeom>
                  <a:avLst/>
                  <a:gdLst>
                    <a:gd name="T0" fmla="*/ 0 w 65"/>
                    <a:gd name="T1" fmla="*/ 0 h 144"/>
                    <a:gd name="T2" fmla="*/ 0 w 65"/>
                    <a:gd name="T3" fmla="*/ 0 h 144"/>
                    <a:gd name="T4" fmla="*/ 0 w 65"/>
                    <a:gd name="T5" fmla="*/ 0 h 144"/>
                    <a:gd name="T6" fmla="*/ 0 60000 65536"/>
                    <a:gd name="T7" fmla="*/ 0 60000 65536"/>
                    <a:gd name="T8" fmla="*/ 0 60000 65536"/>
                    <a:gd name="T9" fmla="*/ 0 w 65"/>
                    <a:gd name="T10" fmla="*/ 0 h 144"/>
                    <a:gd name="T11" fmla="*/ 65 w 65"/>
                    <a:gd name="T12" fmla="*/ 144 h 144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65" h="144">
                      <a:moveTo>
                        <a:pt x="0" y="0"/>
                      </a:moveTo>
                      <a:lnTo>
                        <a:pt x="4" y="97"/>
                      </a:lnTo>
                      <a:lnTo>
                        <a:pt x="65" y="144"/>
                      </a:lnTo>
                    </a:path>
                  </a:pathLst>
                </a:custGeom>
                <a:noFill/>
                <a:ln w="4763">
                  <a:solidFill>
                    <a:srgbClr val="60606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02" name="Freeform 309"/>
                <p:cNvSpPr>
                  <a:spLocks/>
                </p:cNvSpPr>
                <p:nvPr/>
              </p:nvSpPr>
              <p:spPr bwMode="auto">
                <a:xfrm>
                  <a:off x="2696" y="3317"/>
                  <a:ext cx="31" cy="30"/>
                </a:xfrm>
                <a:custGeom>
                  <a:avLst/>
                  <a:gdLst>
                    <a:gd name="T0" fmla="*/ 0 w 123"/>
                    <a:gd name="T1" fmla="*/ 0 h 118"/>
                    <a:gd name="T2" fmla="*/ 0 w 123"/>
                    <a:gd name="T3" fmla="*/ 0 h 118"/>
                    <a:gd name="T4" fmla="*/ 0 w 123"/>
                    <a:gd name="T5" fmla="*/ 0 h 118"/>
                    <a:gd name="T6" fmla="*/ 0 60000 65536"/>
                    <a:gd name="T7" fmla="*/ 0 60000 65536"/>
                    <a:gd name="T8" fmla="*/ 0 60000 65536"/>
                    <a:gd name="T9" fmla="*/ 0 w 123"/>
                    <a:gd name="T10" fmla="*/ 0 h 118"/>
                    <a:gd name="T11" fmla="*/ 123 w 123"/>
                    <a:gd name="T12" fmla="*/ 118 h 11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23" h="118">
                      <a:moveTo>
                        <a:pt x="123" y="0"/>
                      </a:moveTo>
                      <a:lnTo>
                        <a:pt x="22" y="31"/>
                      </a:lnTo>
                      <a:lnTo>
                        <a:pt x="0" y="118"/>
                      </a:lnTo>
                    </a:path>
                  </a:pathLst>
                </a:custGeom>
                <a:noFill/>
                <a:ln w="4763">
                  <a:solidFill>
                    <a:srgbClr val="60606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03" name="Freeform 310"/>
                <p:cNvSpPr>
                  <a:spLocks/>
                </p:cNvSpPr>
                <p:nvPr/>
              </p:nvSpPr>
              <p:spPr bwMode="auto">
                <a:xfrm>
                  <a:off x="2667" y="3289"/>
                  <a:ext cx="33" cy="17"/>
                </a:xfrm>
                <a:custGeom>
                  <a:avLst/>
                  <a:gdLst>
                    <a:gd name="T0" fmla="*/ 0 w 132"/>
                    <a:gd name="T1" fmla="*/ 0 h 67"/>
                    <a:gd name="T2" fmla="*/ 0 w 132"/>
                    <a:gd name="T3" fmla="*/ 0 h 67"/>
                    <a:gd name="T4" fmla="*/ 0 w 132"/>
                    <a:gd name="T5" fmla="*/ 0 h 67"/>
                    <a:gd name="T6" fmla="*/ 0 60000 65536"/>
                    <a:gd name="T7" fmla="*/ 0 60000 65536"/>
                    <a:gd name="T8" fmla="*/ 0 60000 65536"/>
                    <a:gd name="T9" fmla="*/ 0 w 132"/>
                    <a:gd name="T10" fmla="*/ 0 h 67"/>
                    <a:gd name="T11" fmla="*/ 132 w 132"/>
                    <a:gd name="T12" fmla="*/ 67 h 6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32" h="67">
                      <a:moveTo>
                        <a:pt x="132" y="0"/>
                      </a:moveTo>
                      <a:lnTo>
                        <a:pt x="80" y="59"/>
                      </a:lnTo>
                      <a:lnTo>
                        <a:pt x="0" y="67"/>
                      </a:lnTo>
                    </a:path>
                  </a:pathLst>
                </a:custGeom>
                <a:noFill/>
                <a:ln w="4763">
                  <a:solidFill>
                    <a:srgbClr val="60606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604" name="Line 311"/>
                <p:cNvSpPr>
                  <a:spLocks noChangeShapeType="1"/>
                </p:cNvSpPr>
                <p:nvPr/>
              </p:nvSpPr>
              <p:spPr bwMode="auto">
                <a:xfrm>
                  <a:off x="2688" y="3307"/>
                  <a:ext cx="14" cy="19"/>
                </a:xfrm>
                <a:prstGeom prst="line">
                  <a:avLst/>
                </a:prstGeom>
                <a:noFill/>
                <a:ln w="4763">
                  <a:solidFill>
                    <a:srgbClr val="60606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sp>
          <p:nvSpPr>
            <p:cNvPr id="38589" name="Rectangle 313"/>
            <p:cNvSpPr>
              <a:spLocks noChangeArrowheads="1"/>
            </p:cNvSpPr>
            <p:nvPr/>
          </p:nvSpPr>
          <p:spPr bwMode="auto">
            <a:xfrm>
              <a:off x="2845" y="2853"/>
              <a:ext cx="616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</a:rPr>
                <a:t>Soccer Players</a:t>
              </a:r>
              <a:endParaRPr lang="en-US" sz="1400" b="1" dirty="0"/>
            </a:p>
          </p:txBody>
        </p:sp>
      </p:grpSp>
      <p:grpSp>
        <p:nvGrpSpPr>
          <p:cNvPr id="35100" name="Group 317"/>
          <p:cNvGrpSpPr>
            <a:grpSpLocks/>
          </p:cNvGrpSpPr>
          <p:nvPr/>
        </p:nvGrpSpPr>
        <p:grpSpPr bwMode="auto">
          <a:xfrm>
            <a:off x="3956926" y="1628800"/>
            <a:ext cx="2655358" cy="1657350"/>
            <a:chOff x="3412" y="1045"/>
            <a:chExt cx="1544" cy="1044"/>
          </a:xfrm>
        </p:grpSpPr>
        <p:grpSp>
          <p:nvGrpSpPr>
            <p:cNvPr id="35101" name="Group 318"/>
            <p:cNvGrpSpPr>
              <a:grpSpLocks/>
            </p:cNvGrpSpPr>
            <p:nvPr/>
          </p:nvGrpSpPr>
          <p:grpSpPr bwMode="auto">
            <a:xfrm>
              <a:off x="3412" y="1045"/>
              <a:ext cx="1544" cy="1018"/>
              <a:chOff x="3412" y="1045"/>
              <a:chExt cx="1544" cy="1018"/>
            </a:xfrm>
          </p:grpSpPr>
          <p:sp>
            <p:nvSpPr>
              <p:cNvPr id="38557" name="Rectangle 319"/>
              <p:cNvSpPr>
                <a:spLocks noChangeArrowheads="1"/>
              </p:cNvSpPr>
              <p:nvPr/>
            </p:nvSpPr>
            <p:spPr bwMode="auto">
              <a:xfrm>
                <a:off x="3412" y="1600"/>
                <a:ext cx="1544" cy="4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grpSp>
            <p:nvGrpSpPr>
              <p:cNvPr id="35102" name="Group 323"/>
              <p:cNvGrpSpPr>
                <a:grpSpLocks/>
              </p:cNvGrpSpPr>
              <p:nvPr/>
            </p:nvGrpSpPr>
            <p:grpSpPr bwMode="auto">
              <a:xfrm>
                <a:off x="4070" y="1045"/>
                <a:ext cx="696" cy="703"/>
                <a:chOff x="4070" y="1045"/>
                <a:chExt cx="696" cy="703"/>
              </a:xfrm>
            </p:grpSpPr>
            <p:sp>
              <p:nvSpPr>
                <p:cNvPr id="38562" name="Freeform 324"/>
                <p:cNvSpPr>
                  <a:spLocks/>
                </p:cNvSpPr>
                <p:nvPr/>
              </p:nvSpPr>
              <p:spPr bwMode="auto">
                <a:xfrm>
                  <a:off x="4070" y="1045"/>
                  <a:ext cx="696" cy="703"/>
                </a:xfrm>
                <a:custGeom>
                  <a:avLst/>
                  <a:gdLst>
                    <a:gd name="T0" fmla="*/ 164 w 696"/>
                    <a:gd name="T1" fmla="*/ 697 h 703"/>
                    <a:gd name="T2" fmla="*/ 53 w 696"/>
                    <a:gd name="T3" fmla="*/ 687 h 703"/>
                    <a:gd name="T4" fmla="*/ 47 w 696"/>
                    <a:gd name="T5" fmla="*/ 671 h 703"/>
                    <a:gd name="T6" fmla="*/ 37 w 696"/>
                    <a:gd name="T7" fmla="*/ 666 h 703"/>
                    <a:gd name="T8" fmla="*/ 37 w 696"/>
                    <a:gd name="T9" fmla="*/ 660 h 703"/>
                    <a:gd name="T10" fmla="*/ 32 w 696"/>
                    <a:gd name="T11" fmla="*/ 655 h 703"/>
                    <a:gd name="T12" fmla="*/ 26 w 696"/>
                    <a:gd name="T13" fmla="*/ 650 h 703"/>
                    <a:gd name="T14" fmla="*/ 10 w 696"/>
                    <a:gd name="T15" fmla="*/ 564 h 703"/>
                    <a:gd name="T16" fmla="*/ 10 w 696"/>
                    <a:gd name="T17" fmla="*/ 485 h 703"/>
                    <a:gd name="T18" fmla="*/ 10 w 696"/>
                    <a:gd name="T19" fmla="*/ 405 h 703"/>
                    <a:gd name="T20" fmla="*/ 5 w 696"/>
                    <a:gd name="T21" fmla="*/ 325 h 703"/>
                    <a:gd name="T22" fmla="*/ 0 w 696"/>
                    <a:gd name="T23" fmla="*/ 240 h 703"/>
                    <a:gd name="T24" fmla="*/ 5 w 696"/>
                    <a:gd name="T25" fmla="*/ 165 h 703"/>
                    <a:gd name="T26" fmla="*/ 10 w 696"/>
                    <a:gd name="T27" fmla="*/ 128 h 703"/>
                    <a:gd name="T28" fmla="*/ 26 w 696"/>
                    <a:gd name="T29" fmla="*/ 91 h 703"/>
                    <a:gd name="T30" fmla="*/ 42 w 696"/>
                    <a:gd name="T31" fmla="*/ 53 h 703"/>
                    <a:gd name="T32" fmla="*/ 74 w 696"/>
                    <a:gd name="T33" fmla="*/ 16 h 703"/>
                    <a:gd name="T34" fmla="*/ 106 w 696"/>
                    <a:gd name="T35" fmla="*/ 11 h 703"/>
                    <a:gd name="T36" fmla="*/ 138 w 696"/>
                    <a:gd name="T37" fmla="*/ 5 h 703"/>
                    <a:gd name="T38" fmla="*/ 164 w 696"/>
                    <a:gd name="T39" fmla="*/ 0 h 703"/>
                    <a:gd name="T40" fmla="*/ 196 w 696"/>
                    <a:gd name="T41" fmla="*/ 5 h 703"/>
                    <a:gd name="T42" fmla="*/ 441 w 696"/>
                    <a:gd name="T43" fmla="*/ 11 h 703"/>
                    <a:gd name="T44" fmla="*/ 489 w 696"/>
                    <a:gd name="T45" fmla="*/ 11 h 703"/>
                    <a:gd name="T46" fmla="*/ 537 w 696"/>
                    <a:gd name="T47" fmla="*/ 16 h 703"/>
                    <a:gd name="T48" fmla="*/ 574 w 696"/>
                    <a:gd name="T49" fmla="*/ 16 h 703"/>
                    <a:gd name="T50" fmla="*/ 611 w 696"/>
                    <a:gd name="T51" fmla="*/ 21 h 703"/>
                    <a:gd name="T52" fmla="*/ 648 w 696"/>
                    <a:gd name="T53" fmla="*/ 37 h 703"/>
                    <a:gd name="T54" fmla="*/ 664 w 696"/>
                    <a:gd name="T55" fmla="*/ 53 h 703"/>
                    <a:gd name="T56" fmla="*/ 680 w 696"/>
                    <a:gd name="T57" fmla="*/ 75 h 703"/>
                    <a:gd name="T58" fmla="*/ 696 w 696"/>
                    <a:gd name="T59" fmla="*/ 176 h 703"/>
                    <a:gd name="T60" fmla="*/ 686 w 696"/>
                    <a:gd name="T61" fmla="*/ 197 h 703"/>
                    <a:gd name="T62" fmla="*/ 691 w 696"/>
                    <a:gd name="T63" fmla="*/ 245 h 703"/>
                    <a:gd name="T64" fmla="*/ 691 w 696"/>
                    <a:gd name="T65" fmla="*/ 293 h 703"/>
                    <a:gd name="T66" fmla="*/ 686 w 696"/>
                    <a:gd name="T67" fmla="*/ 341 h 703"/>
                    <a:gd name="T68" fmla="*/ 691 w 696"/>
                    <a:gd name="T69" fmla="*/ 394 h 703"/>
                    <a:gd name="T70" fmla="*/ 686 w 696"/>
                    <a:gd name="T71" fmla="*/ 447 h 703"/>
                    <a:gd name="T72" fmla="*/ 686 w 696"/>
                    <a:gd name="T73" fmla="*/ 506 h 703"/>
                    <a:gd name="T74" fmla="*/ 686 w 696"/>
                    <a:gd name="T75" fmla="*/ 559 h 703"/>
                    <a:gd name="T76" fmla="*/ 686 w 696"/>
                    <a:gd name="T77" fmla="*/ 618 h 703"/>
                    <a:gd name="T78" fmla="*/ 659 w 696"/>
                    <a:gd name="T79" fmla="*/ 671 h 703"/>
                    <a:gd name="T80" fmla="*/ 595 w 696"/>
                    <a:gd name="T81" fmla="*/ 682 h 703"/>
                    <a:gd name="T82" fmla="*/ 537 w 696"/>
                    <a:gd name="T83" fmla="*/ 692 h 703"/>
                    <a:gd name="T84" fmla="*/ 478 w 696"/>
                    <a:gd name="T85" fmla="*/ 692 h 703"/>
                    <a:gd name="T86" fmla="*/ 414 w 696"/>
                    <a:gd name="T87" fmla="*/ 692 h 703"/>
                    <a:gd name="T88" fmla="*/ 297 w 696"/>
                    <a:gd name="T89" fmla="*/ 687 h 703"/>
                    <a:gd name="T90" fmla="*/ 234 w 696"/>
                    <a:gd name="T91" fmla="*/ 692 h 703"/>
                    <a:gd name="T92" fmla="*/ 180 w 696"/>
                    <a:gd name="T93" fmla="*/ 703 h 703"/>
                    <a:gd name="T94" fmla="*/ 164 w 696"/>
                    <a:gd name="T95" fmla="*/ 697 h 703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696"/>
                    <a:gd name="T145" fmla="*/ 0 h 703"/>
                    <a:gd name="T146" fmla="*/ 696 w 696"/>
                    <a:gd name="T147" fmla="*/ 703 h 703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696" h="703">
                      <a:moveTo>
                        <a:pt x="164" y="697"/>
                      </a:moveTo>
                      <a:lnTo>
                        <a:pt x="53" y="687"/>
                      </a:lnTo>
                      <a:lnTo>
                        <a:pt x="47" y="671"/>
                      </a:lnTo>
                      <a:lnTo>
                        <a:pt x="37" y="666"/>
                      </a:lnTo>
                      <a:lnTo>
                        <a:pt x="37" y="660"/>
                      </a:lnTo>
                      <a:lnTo>
                        <a:pt x="32" y="655"/>
                      </a:lnTo>
                      <a:lnTo>
                        <a:pt x="26" y="650"/>
                      </a:lnTo>
                      <a:lnTo>
                        <a:pt x="10" y="564"/>
                      </a:lnTo>
                      <a:lnTo>
                        <a:pt x="10" y="485"/>
                      </a:lnTo>
                      <a:lnTo>
                        <a:pt x="10" y="405"/>
                      </a:lnTo>
                      <a:lnTo>
                        <a:pt x="5" y="325"/>
                      </a:lnTo>
                      <a:lnTo>
                        <a:pt x="0" y="240"/>
                      </a:lnTo>
                      <a:lnTo>
                        <a:pt x="5" y="165"/>
                      </a:lnTo>
                      <a:lnTo>
                        <a:pt x="10" y="128"/>
                      </a:lnTo>
                      <a:lnTo>
                        <a:pt x="26" y="91"/>
                      </a:lnTo>
                      <a:lnTo>
                        <a:pt x="42" y="53"/>
                      </a:lnTo>
                      <a:lnTo>
                        <a:pt x="74" y="16"/>
                      </a:lnTo>
                      <a:lnTo>
                        <a:pt x="106" y="11"/>
                      </a:lnTo>
                      <a:lnTo>
                        <a:pt x="138" y="5"/>
                      </a:lnTo>
                      <a:lnTo>
                        <a:pt x="164" y="0"/>
                      </a:lnTo>
                      <a:lnTo>
                        <a:pt x="196" y="5"/>
                      </a:lnTo>
                      <a:lnTo>
                        <a:pt x="441" y="11"/>
                      </a:lnTo>
                      <a:lnTo>
                        <a:pt x="489" y="11"/>
                      </a:lnTo>
                      <a:lnTo>
                        <a:pt x="537" y="16"/>
                      </a:lnTo>
                      <a:lnTo>
                        <a:pt x="574" y="16"/>
                      </a:lnTo>
                      <a:lnTo>
                        <a:pt x="611" y="21"/>
                      </a:lnTo>
                      <a:lnTo>
                        <a:pt x="648" y="37"/>
                      </a:lnTo>
                      <a:lnTo>
                        <a:pt x="664" y="53"/>
                      </a:lnTo>
                      <a:lnTo>
                        <a:pt x="680" y="75"/>
                      </a:lnTo>
                      <a:lnTo>
                        <a:pt x="696" y="176"/>
                      </a:lnTo>
                      <a:lnTo>
                        <a:pt x="686" y="197"/>
                      </a:lnTo>
                      <a:lnTo>
                        <a:pt x="691" y="245"/>
                      </a:lnTo>
                      <a:lnTo>
                        <a:pt x="691" y="293"/>
                      </a:lnTo>
                      <a:lnTo>
                        <a:pt x="686" y="341"/>
                      </a:lnTo>
                      <a:lnTo>
                        <a:pt x="691" y="394"/>
                      </a:lnTo>
                      <a:lnTo>
                        <a:pt x="686" y="447"/>
                      </a:lnTo>
                      <a:lnTo>
                        <a:pt x="686" y="506"/>
                      </a:lnTo>
                      <a:lnTo>
                        <a:pt x="686" y="559"/>
                      </a:lnTo>
                      <a:lnTo>
                        <a:pt x="686" y="618"/>
                      </a:lnTo>
                      <a:lnTo>
                        <a:pt x="659" y="671"/>
                      </a:lnTo>
                      <a:lnTo>
                        <a:pt x="595" y="682"/>
                      </a:lnTo>
                      <a:lnTo>
                        <a:pt x="537" y="692"/>
                      </a:lnTo>
                      <a:lnTo>
                        <a:pt x="478" y="692"/>
                      </a:lnTo>
                      <a:lnTo>
                        <a:pt x="414" y="692"/>
                      </a:lnTo>
                      <a:lnTo>
                        <a:pt x="297" y="687"/>
                      </a:lnTo>
                      <a:lnTo>
                        <a:pt x="234" y="692"/>
                      </a:lnTo>
                      <a:lnTo>
                        <a:pt x="180" y="703"/>
                      </a:lnTo>
                      <a:lnTo>
                        <a:pt x="164" y="697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63" name="Freeform 325"/>
                <p:cNvSpPr>
                  <a:spLocks/>
                </p:cNvSpPr>
                <p:nvPr/>
              </p:nvSpPr>
              <p:spPr bwMode="auto">
                <a:xfrm>
                  <a:off x="4102" y="1088"/>
                  <a:ext cx="632" cy="633"/>
                </a:xfrm>
                <a:custGeom>
                  <a:avLst/>
                  <a:gdLst>
                    <a:gd name="T0" fmla="*/ 74 w 632"/>
                    <a:gd name="T1" fmla="*/ 628 h 633"/>
                    <a:gd name="T2" fmla="*/ 58 w 632"/>
                    <a:gd name="T3" fmla="*/ 628 h 633"/>
                    <a:gd name="T4" fmla="*/ 15 w 632"/>
                    <a:gd name="T5" fmla="*/ 585 h 633"/>
                    <a:gd name="T6" fmla="*/ 5 w 632"/>
                    <a:gd name="T7" fmla="*/ 442 h 633"/>
                    <a:gd name="T8" fmla="*/ 0 w 632"/>
                    <a:gd name="T9" fmla="*/ 308 h 633"/>
                    <a:gd name="T10" fmla="*/ 5 w 632"/>
                    <a:gd name="T11" fmla="*/ 170 h 633"/>
                    <a:gd name="T12" fmla="*/ 26 w 632"/>
                    <a:gd name="T13" fmla="*/ 37 h 633"/>
                    <a:gd name="T14" fmla="*/ 58 w 632"/>
                    <a:gd name="T15" fmla="*/ 0 h 633"/>
                    <a:gd name="T16" fmla="*/ 74 w 632"/>
                    <a:gd name="T17" fmla="*/ 0 h 633"/>
                    <a:gd name="T18" fmla="*/ 579 w 632"/>
                    <a:gd name="T19" fmla="*/ 0 h 633"/>
                    <a:gd name="T20" fmla="*/ 579 w 632"/>
                    <a:gd name="T21" fmla="*/ 5 h 633"/>
                    <a:gd name="T22" fmla="*/ 579 w 632"/>
                    <a:gd name="T23" fmla="*/ 10 h 633"/>
                    <a:gd name="T24" fmla="*/ 579 w 632"/>
                    <a:gd name="T25" fmla="*/ 10 h 633"/>
                    <a:gd name="T26" fmla="*/ 585 w 632"/>
                    <a:gd name="T27" fmla="*/ 16 h 633"/>
                    <a:gd name="T28" fmla="*/ 611 w 632"/>
                    <a:gd name="T29" fmla="*/ 32 h 633"/>
                    <a:gd name="T30" fmla="*/ 632 w 632"/>
                    <a:gd name="T31" fmla="*/ 58 h 633"/>
                    <a:gd name="T32" fmla="*/ 632 w 632"/>
                    <a:gd name="T33" fmla="*/ 74 h 633"/>
                    <a:gd name="T34" fmla="*/ 632 w 632"/>
                    <a:gd name="T35" fmla="*/ 234 h 633"/>
                    <a:gd name="T36" fmla="*/ 632 w 632"/>
                    <a:gd name="T37" fmla="*/ 410 h 633"/>
                    <a:gd name="T38" fmla="*/ 632 w 632"/>
                    <a:gd name="T39" fmla="*/ 495 h 633"/>
                    <a:gd name="T40" fmla="*/ 632 w 632"/>
                    <a:gd name="T41" fmla="*/ 585 h 633"/>
                    <a:gd name="T42" fmla="*/ 611 w 632"/>
                    <a:gd name="T43" fmla="*/ 612 h 633"/>
                    <a:gd name="T44" fmla="*/ 553 w 632"/>
                    <a:gd name="T45" fmla="*/ 623 h 633"/>
                    <a:gd name="T46" fmla="*/ 499 w 632"/>
                    <a:gd name="T47" fmla="*/ 628 h 633"/>
                    <a:gd name="T48" fmla="*/ 441 w 632"/>
                    <a:gd name="T49" fmla="*/ 628 h 633"/>
                    <a:gd name="T50" fmla="*/ 388 w 632"/>
                    <a:gd name="T51" fmla="*/ 633 h 633"/>
                    <a:gd name="T52" fmla="*/ 79 w 632"/>
                    <a:gd name="T53" fmla="*/ 633 h 633"/>
                    <a:gd name="T54" fmla="*/ 74 w 632"/>
                    <a:gd name="T55" fmla="*/ 628 h 633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w 632"/>
                    <a:gd name="T85" fmla="*/ 0 h 633"/>
                    <a:gd name="T86" fmla="*/ 632 w 632"/>
                    <a:gd name="T87" fmla="*/ 633 h 633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T84" t="T85" r="T86" b="T87"/>
                  <a:pathLst>
                    <a:path w="632" h="633">
                      <a:moveTo>
                        <a:pt x="74" y="628"/>
                      </a:moveTo>
                      <a:lnTo>
                        <a:pt x="58" y="628"/>
                      </a:lnTo>
                      <a:lnTo>
                        <a:pt x="15" y="585"/>
                      </a:lnTo>
                      <a:lnTo>
                        <a:pt x="5" y="442"/>
                      </a:lnTo>
                      <a:lnTo>
                        <a:pt x="0" y="308"/>
                      </a:lnTo>
                      <a:lnTo>
                        <a:pt x="5" y="170"/>
                      </a:lnTo>
                      <a:lnTo>
                        <a:pt x="26" y="37"/>
                      </a:lnTo>
                      <a:lnTo>
                        <a:pt x="58" y="0"/>
                      </a:lnTo>
                      <a:lnTo>
                        <a:pt x="74" y="0"/>
                      </a:lnTo>
                      <a:lnTo>
                        <a:pt x="579" y="0"/>
                      </a:lnTo>
                      <a:lnTo>
                        <a:pt x="579" y="5"/>
                      </a:lnTo>
                      <a:lnTo>
                        <a:pt x="579" y="10"/>
                      </a:lnTo>
                      <a:lnTo>
                        <a:pt x="585" y="16"/>
                      </a:lnTo>
                      <a:lnTo>
                        <a:pt x="611" y="32"/>
                      </a:lnTo>
                      <a:lnTo>
                        <a:pt x="632" y="58"/>
                      </a:lnTo>
                      <a:lnTo>
                        <a:pt x="632" y="74"/>
                      </a:lnTo>
                      <a:lnTo>
                        <a:pt x="632" y="234"/>
                      </a:lnTo>
                      <a:lnTo>
                        <a:pt x="632" y="410"/>
                      </a:lnTo>
                      <a:lnTo>
                        <a:pt x="632" y="495"/>
                      </a:lnTo>
                      <a:lnTo>
                        <a:pt x="632" y="585"/>
                      </a:lnTo>
                      <a:lnTo>
                        <a:pt x="611" y="612"/>
                      </a:lnTo>
                      <a:lnTo>
                        <a:pt x="553" y="623"/>
                      </a:lnTo>
                      <a:lnTo>
                        <a:pt x="499" y="628"/>
                      </a:lnTo>
                      <a:lnTo>
                        <a:pt x="441" y="628"/>
                      </a:lnTo>
                      <a:lnTo>
                        <a:pt x="388" y="633"/>
                      </a:lnTo>
                      <a:lnTo>
                        <a:pt x="79" y="633"/>
                      </a:lnTo>
                      <a:lnTo>
                        <a:pt x="74" y="628"/>
                      </a:lnTo>
                      <a:close/>
                    </a:path>
                  </a:pathLst>
                </a:custGeom>
                <a:solidFill>
                  <a:srgbClr val="61BFF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64" name="Freeform 326"/>
                <p:cNvSpPr>
                  <a:spLocks/>
                </p:cNvSpPr>
                <p:nvPr/>
              </p:nvSpPr>
              <p:spPr bwMode="auto">
                <a:xfrm>
                  <a:off x="4266" y="1647"/>
                  <a:ext cx="48" cy="26"/>
                </a:xfrm>
                <a:custGeom>
                  <a:avLst/>
                  <a:gdLst>
                    <a:gd name="T0" fmla="*/ 0 w 48"/>
                    <a:gd name="T1" fmla="*/ 21 h 26"/>
                    <a:gd name="T2" fmla="*/ 0 w 48"/>
                    <a:gd name="T3" fmla="*/ 21 h 26"/>
                    <a:gd name="T4" fmla="*/ 48 w 48"/>
                    <a:gd name="T5" fmla="*/ 0 h 26"/>
                    <a:gd name="T6" fmla="*/ 27 w 48"/>
                    <a:gd name="T7" fmla="*/ 26 h 26"/>
                    <a:gd name="T8" fmla="*/ 0 w 48"/>
                    <a:gd name="T9" fmla="*/ 21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8"/>
                    <a:gd name="T16" fmla="*/ 0 h 26"/>
                    <a:gd name="T17" fmla="*/ 48 w 48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8" h="26">
                      <a:moveTo>
                        <a:pt x="0" y="21"/>
                      </a:moveTo>
                      <a:lnTo>
                        <a:pt x="0" y="21"/>
                      </a:lnTo>
                      <a:lnTo>
                        <a:pt x="48" y="0"/>
                      </a:lnTo>
                      <a:lnTo>
                        <a:pt x="27" y="26"/>
                      </a:lnTo>
                      <a:lnTo>
                        <a:pt x="0" y="21"/>
                      </a:lnTo>
                      <a:close/>
                    </a:path>
                  </a:pathLst>
                </a:custGeom>
                <a:solidFill>
                  <a:srgbClr val="49557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65" name="Freeform 327"/>
                <p:cNvSpPr>
                  <a:spLocks/>
                </p:cNvSpPr>
                <p:nvPr/>
              </p:nvSpPr>
              <p:spPr bwMode="auto">
                <a:xfrm>
                  <a:off x="4362" y="1301"/>
                  <a:ext cx="213" cy="372"/>
                </a:xfrm>
                <a:custGeom>
                  <a:avLst/>
                  <a:gdLst>
                    <a:gd name="T0" fmla="*/ 69 w 213"/>
                    <a:gd name="T1" fmla="*/ 367 h 372"/>
                    <a:gd name="T2" fmla="*/ 48 w 213"/>
                    <a:gd name="T3" fmla="*/ 351 h 372"/>
                    <a:gd name="T4" fmla="*/ 37 w 213"/>
                    <a:gd name="T5" fmla="*/ 335 h 372"/>
                    <a:gd name="T6" fmla="*/ 21 w 213"/>
                    <a:gd name="T7" fmla="*/ 314 h 372"/>
                    <a:gd name="T8" fmla="*/ 5 w 213"/>
                    <a:gd name="T9" fmla="*/ 298 h 372"/>
                    <a:gd name="T10" fmla="*/ 5 w 213"/>
                    <a:gd name="T11" fmla="*/ 255 h 372"/>
                    <a:gd name="T12" fmla="*/ 0 w 213"/>
                    <a:gd name="T13" fmla="*/ 218 h 372"/>
                    <a:gd name="T14" fmla="*/ 11 w 213"/>
                    <a:gd name="T15" fmla="*/ 181 h 372"/>
                    <a:gd name="T16" fmla="*/ 21 w 213"/>
                    <a:gd name="T17" fmla="*/ 143 h 372"/>
                    <a:gd name="T18" fmla="*/ 37 w 213"/>
                    <a:gd name="T19" fmla="*/ 111 h 372"/>
                    <a:gd name="T20" fmla="*/ 59 w 213"/>
                    <a:gd name="T21" fmla="*/ 79 h 372"/>
                    <a:gd name="T22" fmla="*/ 91 w 213"/>
                    <a:gd name="T23" fmla="*/ 53 h 372"/>
                    <a:gd name="T24" fmla="*/ 122 w 213"/>
                    <a:gd name="T25" fmla="*/ 32 h 372"/>
                    <a:gd name="T26" fmla="*/ 160 w 213"/>
                    <a:gd name="T27" fmla="*/ 21 h 372"/>
                    <a:gd name="T28" fmla="*/ 122 w 213"/>
                    <a:gd name="T29" fmla="*/ 0 h 372"/>
                    <a:gd name="T30" fmla="*/ 122 w 213"/>
                    <a:gd name="T31" fmla="*/ 0 h 372"/>
                    <a:gd name="T32" fmla="*/ 213 w 213"/>
                    <a:gd name="T33" fmla="*/ 0 h 372"/>
                    <a:gd name="T34" fmla="*/ 213 w 213"/>
                    <a:gd name="T35" fmla="*/ 5 h 372"/>
                    <a:gd name="T36" fmla="*/ 213 w 213"/>
                    <a:gd name="T37" fmla="*/ 10 h 372"/>
                    <a:gd name="T38" fmla="*/ 160 w 213"/>
                    <a:gd name="T39" fmla="*/ 79 h 372"/>
                    <a:gd name="T40" fmla="*/ 160 w 213"/>
                    <a:gd name="T41" fmla="*/ 53 h 372"/>
                    <a:gd name="T42" fmla="*/ 176 w 213"/>
                    <a:gd name="T43" fmla="*/ 32 h 372"/>
                    <a:gd name="T44" fmla="*/ 144 w 213"/>
                    <a:gd name="T45" fmla="*/ 48 h 372"/>
                    <a:gd name="T46" fmla="*/ 128 w 213"/>
                    <a:gd name="T47" fmla="*/ 53 h 372"/>
                    <a:gd name="T48" fmla="*/ 96 w 213"/>
                    <a:gd name="T49" fmla="*/ 74 h 372"/>
                    <a:gd name="T50" fmla="*/ 69 w 213"/>
                    <a:gd name="T51" fmla="*/ 101 h 372"/>
                    <a:gd name="T52" fmla="*/ 53 w 213"/>
                    <a:gd name="T53" fmla="*/ 127 h 372"/>
                    <a:gd name="T54" fmla="*/ 37 w 213"/>
                    <a:gd name="T55" fmla="*/ 159 h 372"/>
                    <a:gd name="T56" fmla="*/ 27 w 213"/>
                    <a:gd name="T57" fmla="*/ 218 h 372"/>
                    <a:gd name="T58" fmla="*/ 37 w 213"/>
                    <a:gd name="T59" fmla="*/ 282 h 372"/>
                    <a:gd name="T60" fmla="*/ 53 w 213"/>
                    <a:gd name="T61" fmla="*/ 319 h 372"/>
                    <a:gd name="T62" fmla="*/ 91 w 213"/>
                    <a:gd name="T63" fmla="*/ 356 h 372"/>
                    <a:gd name="T64" fmla="*/ 75 w 213"/>
                    <a:gd name="T65" fmla="*/ 372 h 372"/>
                    <a:gd name="T66" fmla="*/ 69 w 213"/>
                    <a:gd name="T67" fmla="*/ 367 h 372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13"/>
                    <a:gd name="T103" fmla="*/ 0 h 372"/>
                    <a:gd name="T104" fmla="*/ 213 w 213"/>
                    <a:gd name="T105" fmla="*/ 372 h 372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13" h="372">
                      <a:moveTo>
                        <a:pt x="69" y="367"/>
                      </a:moveTo>
                      <a:lnTo>
                        <a:pt x="48" y="351"/>
                      </a:lnTo>
                      <a:lnTo>
                        <a:pt x="37" y="335"/>
                      </a:lnTo>
                      <a:lnTo>
                        <a:pt x="21" y="314"/>
                      </a:lnTo>
                      <a:lnTo>
                        <a:pt x="5" y="298"/>
                      </a:lnTo>
                      <a:lnTo>
                        <a:pt x="5" y="255"/>
                      </a:lnTo>
                      <a:lnTo>
                        <a:pt x="0" y="218"/>
                      </a:lnTo>
                      <a:lnTo>
                        <a:pt x="11" y="181"/>
                      </a:lnTo>
                      <a:lnTo>
                        <a:pt x="21" y="143"/>
                      </a:lnTo>
                      <a:lnTo>
                        <a:pt x="37" y="111"/>
                      </a:lnTo>
                      <a:lnTo>
                        <a:pt x="59" y="79"/>
                      </a:lnTo>
                      <a:lnTo>
                        <a:pt x="91" y="53"/>
                      </a:lnTo>
                      <a:lnTo>
                        <a:pt x="122" y="32"/>
                      </a:lnTo>
                      <a:lnTo>
                        <a:pt x="160" y="21"/>
                      </a:lnTo>
                      <a:lnTo>
                        <a:pt x="122" y="0"/>
                      </a:lnTo>
                      <a:lnTo>
                        <a:pt x="213" y="0"/>
                      </a:lnTo>
                      <a:lnTo>
                        <a:pt x="213" y="5"/>
                      </a:lnTo>
                      <a:lnTo>
                        <a:pt x="213" y="10"/>
                      </a:lnTo>
                      <a:lnTo>
                        <a:pt x="160" y="79"/>
                      </a:lnTo>
                      <a:lnTo>
                        <a:pt x="160" y="53"/>
                      </a:lnTo>
                      <a:lnTo>
                        <a:pt x="176" y="32"/>
                      </a:lnTo>
                      <a:lnTo>
                        <a:pt x="144" y="48"/>
                      </a:lnTo>
                      <a:lnTo>
                        <a:pt x="128" y="53"/>
                      </a:lnTo>
                      <a:lnTo>
                        <a:pt x="96" y="74"/>
                      </a:lnTo>
                      <a:lnTo>
                        <a:pt x="69" y="101"/>
                      </a:lnTo>
                      <a:lnTo>
                        <a:pt x="53" y="127"/>
                      </a:lnTo>
                      <a:lnTo>
                        <a:pt x="37" y="159"/>
                      </a:lnTo>
                      <a:lnTo>
                        <a:pt x="27" y="218"/>
                      </a:lnTo>
                      <a:lnTo>
                        <a:pt x="37" y="282"/>
                      </a:lnTo>
                      <a:lnTo>
                        <a:pt x="53" y="319"/>
                      </a:lnTo>
                      <a:lnTo>
                        <a:pt x="91" y="356"/>
                      </a:lnTo>
                      <a:lnTo>
                        <a:pt x="75" y="372"/>
                      </a:lnTo>
                      <a:lnTo>
                        <a:pt x="69" y="367"/>
                      </a:lnTo>
                      <a:close/>
                    </a:path>
                  </a:pathLst>
                </a:custGeom>
                <a:solidFill>
                  <a:srgbClr val="ACDC7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66" name="Freeform 328"/>
                <p:cNvSpPr>
                  <a:spLocks/>
                </p:cNvSpPr>
                <p:nvPr/>
              </p:nvSpPr>
              <p:spPr bwMode="auto">
                <a:xfrm>
                  <a:off x="4373" y="1290"/>
                  <a:ext cx="212" cy="373"/>
                </a:xfrm>
                <a:custGeom>
                  <a:avLst/>
                  <a:gdLst>
                    <a:gd name="T0" fmla="*/ 69 w 212"/>
                    <a:gd name="T1" fmla="*/ 367 h 373"/>
                    <a:gd name="T2" fmla="*/ 48 w 212"/>
                    <a:gd name="T3" fmla="*/ 351 h 373"/>
                    <a:gd name="T4" fmla="*/ 37 w 212"/>
                    <a:gd name="T5" fmla="*/ 335 h 373"/>
                    <a:gd name="T6" fmla="*/ 10 w 212"/>
                    <a:gd name="T7" fmla="*/ 298 h 373"/>
                    <a:gd name="T8" fmla="*/ 5 w 212"/>
                    <a:gd name="T9" fmla="*/ 261 h 373"/>
                    <a:gd name="T10" fmla="*/ 0 w 212"/>
                    <a:gd name="T11" fmla="*/ 224 h 373"/>
                    <a:gd name="T12" fmla="*/ 10 w 212"/>
                    <a:gd name="T13" fmla="*/ 186 h 373"/>
                    <a:gd name="T14" fmla="*/ 21 w 212"/>
                    <a:gd name="T15" fmla="*/ 149 h 373"/>
                    <a:gd name="T16" fmla="*/ 37 w 212"/>
                    <a:gd name="T17" fmla="*/ 117 h 373"/>
                    <a:gd name="T18" fmla="*/ 64 w 212"/>
                    <a:gd name="T19" fmla="*/ 80 h 373"/>
                    <a:gd name="T20" fmla="*/ 90 w 212"/>
                    <a:gd name="T21" fmla="*/ 53 h 373"/>
                    <a:gd name="T22" fmla="*/ 122 w 212"/>
                    <a:gd name="T23" fmla="*/ 32 h 373"/>
                    <a:gd name="T24" fmla="*/ 165 w 212"/>
                    <a:gd name="T25" fmla="*/ 21 h 373"/>
                    <a:gd name="T26" fmla="*/ 122 w 212"/>
                    <a:gd name="T27" fmla="*/ 5 h 373"/>
                    <a:gd name="T28" fmla="*/ 122 w 212"/>
                    <a:gd name="T29" fmla="*/ 0 h 373"/>
                    <a:gd name="T30" fmla="*/ 122 w 212"/>
                    <a:gd name="T31" fmla="*/ 0 h 373"/>
                    <a:gd name="T32" fmla="*/ 212 w 212"/>
                    <a:gd name="T33" fmla="*/ 5 h 373"/>
                    <a:gd name="T34" fmla="*/ 212 w 212"/>
                    <a:gd name="T35" fmla="*/ 5 h 373"/>
                    <a:gd name="T36" fmla="*/ 212 w 212"/>
                    <a:gd name="T37" fmla="*/ 11 h 373"/>
                    <a:gd name="T38" fmla="*/ 159 w 212"/>
                    <a:gd name="T39" fmla="*/ 80 h 373"/>
                    <a:gd name="T40" fmla="*/ 159 w 212"/>
                    <a:gd name="T41" fmla="*/ 53 h 373"/>
                    <a:gd name="T42" fmla="*/ 175 w 212"/>
                    <a:gd name="T43" fmla="*/ 32 h 373"/>
                    <a:gd name="T44" fmla="*/ 149 w 212"/>
                    <a:gd name="T45" fmla="*/ 53 h 373"/>
                    <a:gd name="T46" fmla="*/ 127 w 212"/>
                    <a:gd name="T47" fmla="*/ 53 h 373"/>
                    <a:gd name="T48" fmla="*/ 95 w 212"/>
                    <a:gd name="T49" fmla="*/ 75 h 373"/>
                    <a:gd name="T50" fmla="*/ 69 w 212"/>
                    <a:gd name="T51" fmla="*/ 101 h 373"/>
                    <a:gd name="T52" fmla="*/ 53 w 212"/>
                    <a:gd name="T53" fmla="*/ 128 h 373"/>
                    <a:gd name="T54" fmla="*/ 37 w 212"/>
                    <a:gd name="T55" fmla="*/ 160 h 373"/>
                    <a:gd name="T56" fmla="*/ 26 w 212"/>
                    <a:gd name="T57" fmla="*/ 218 h 373"/>
                    <a:gd name="T58" fmla="*/ 37 w 212"/>
                    <a:gd name="T59" fmla="*/ 282 h 373"/>
                    <a:gd name="T60" fmla="*/ 53 w 212"/>
                    <a:gd name="T61" fmla="*/ 319 h 373"/>
                    <a:gd name="T62" fmla="*/ 90 w 212"/>
                    <a:gd name="T63" fmla="*/ 362 h 373"/>
                    <a:gd name="T64" fmla="*/ 80 w 212"/>
                    <a:gd name="T65" fmla="*/ 373 h 373"/>
                    <a:gd name="T66" fmla="*/ 69 w 212"/>
                    <a:gd name="T67" fmla="*/ 367 h 373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w 212"/>
                    <a:gd name="T103" fmla="*/ 0 h 373"/>
                    <a:gd name="T104" fmla="*/ 212 w 212"/>
                    <a:gd name="T105" fmla="*/ 373 h 373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T102" t="T103" r="T104" b="T105"/>
                  <a:pathLst>
                    <a:path w="212" h="373">
                      <a:moveTo>
                        <a:pt x="69" y="367"/>
                      </a:moveTo>
                      <a:lnTo>
                        <a:pt x="48" y="351"/>
                      </a:lnTo>
                      <a:lnTo>
                        <a:pt x="37" y="335"/>
                      </a:lnTo>
                      <a:lnTo>
                        <a:pt x="10" y="298"/>
                      </a:lnTo>
                      <a:lnTo>
                        <a:pt x="5" y="261"/>
                      </a:lnTo>
                      <a:lnTo>
                        <a:pt x="0" y="224"/>
                      </a:lnTo>
                      <a:lnTo>
                        <a:pt x="10" y="186"/>
                      </a:lnTo>
                      <a:lnTo>
                        <a:pt x="21" y="149"/>
                      </a:lnTo>
                      <a:lnTo>
                        <a:pt x="37" y="117"/>
                      </a:lnTo>
                      <a:lnTo>
                        <a:pt x="64" y="80"/>
                      </a:lnTo>
                      <a:lnTo>
                        <a:pt x="90" y="53"/>
                      </a:lnTo>
                      <a:lnTo>
                        <a:pt x="122" y="32"/>
                      </a:lnTo>
                      <a:lnTo>
                        <a:pt x="165" y="21"/>
                      </a:lnTo>
                      <a:lnTo>
                        <a:pt x="122" y="5"/>
                      </a:lnTo>
                      <a:lnTo>
                        <a:pt x="122" y="0"/>
                      </a:lnTo>
                      <a:lnTo>
                        <a:pt x="212" y="5"/>
                      </a:lnTo>
                      <a:lnTo>
                        <a:pt x="212" y="11"/>
                      </a:lnTo>
                      <a:lnTo>
                        <a:pt x="159" y="80"/>
                      </a:lnTo>
                      <a:lnTo>
                        <a:pt x="159" y="53"/>
                      </a:lnTo>
                      <a:lnTo>
                        <a:pt x="175" y="32"/>
                      </a:lnTo>
                      <a:lnTo>
                        <a:pt x="149" y="53"/>
                      </a:lnTo>
                      <a:lnTo>
                        <a:pt x="127" y="53"/>
                      </a:lnTo>
                      <a:lnTo>
                        <a:pt x="95" y="75"/>
                      </a:lnTo>
                      <a:lnTo>
                        <a:pt x="69" y="101"/>
                      </a:lnTo>
                      <a:lnTo>
                        <a:pt x="53" y="128"/>
                      </a:lnTo>
                      <a:lnTo>
                        <a:pt x="37" y="160"/>
                      </a:lnTo>
                      <a:lnTo>
                        <a:pt x="26" y="218"/>
                      </a:lnTo>
                      <a:lnTo>
                        <a:pt x="37" y="282"/>
                      </a:lnTo>
                      <a:lnTo>
                        <a:pt x="53" y="319"/>
                      </a:lnTo>
                      <a:lnTo>
                        <a:pt x="90" y="362"/>
                      </a:lnTo>
                      <a:lnTo>
                        <a:pt x="80" y="373"/>
                      </a:lnTo>
                      <a:lnTo>
                        <a:pt x="69" y="367"/>
                      </a:lnTo>
                      <a:close/>
                    </a:path>
                  </a:pathLst>
                </a:custGeom>
                <a:solidFill>
                  <a:srgbClr val="504A5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67" name="Freeform 329"/>
                <p:cNvSpPr>
                  <a:spLocks/>
                </p:cNvSpPr>
                <p:nvPr/>
              </p:nvSpPr>
              <p:spPr bwMode="auto">
                <a:xfrm>
                  <a:off x="4437" y="1380"/>
                  <a:ext cx="271" cy="288"/>
                </a:xfrm>
                <a:custGeom>
                  <a:avLst/>
                  <a:gdLst>
                    <a:gd name="T0" fmla="*/ 122 w 271"/>
                    <a:gd name="T1" fmla="*/ 272 h 288"/>
                    <a:gd name="T2" fmla="*/ 95 w 271"/>
                    <a:gd name="T3" fmla="*/ 256 h 288"/>
                    <a:gd name="T4" fmla="*/ 85 w 271"/>
                    <a:gd name="T5" fmla="*/ 261 h 288"/>
                    <a:gd name="T6" fmla="*/ 53 w 271"/>
                    <a:gd name="T7" fmla="*/ 251 h 288"/>
                    <a:gd name="T8" fmla="*/ 21 w 271"/>
                    <a:gd name="T9" fmla="*/ 224 h 288"/>
                    <a:gd name="T10" fmla="*/ 21 w 271"/>
                    <a:gd name="T11" fmla="*/ 219 h 288"/>
                    <a:gd name="T12" fmla="*/ 21 w 271"/>
                    <a:gd name="T13" fmla="*/ 208 h 288"/>
                    <a:gd name="T14" fmla="*/ 26 w 271"/>
                    <a:gd name="T15" fmla="*/ 166 h 288"/>
                    <a:gd name="T16" fmla="*/ 10 w 271"/>
                    <a:gd name="T17" fmla="*/ 160 h 288"/>
                    <a:gd name="T18" fmla="*/ 0 w 271"/>
                    <a:gd name="T19" fmla="*/ 123 h 288"/>
                    <a:gd name="T20" fmla="*/ 10 w 271"/>
                    <a:gd name="T21" fmla="*/ 123 h 288"/>
                    <a:gd name="T22" fmla="*/ 31 w 271"/>
                    <a:gd name="T23" fmla="*/ 107 h 288"/>
                    <a:gd name="T24" fmla="*/ 21 w 271"/>
                    <a:gd name="T25" fmla="*/ 59 h 288"/>
                    <a:gd name="T26" fmla="*/ 53 w 271"/>
                    <a:gd name="T27" fmla="*/ 59 h 288"/>
                    <a:gd name="T28" fmla="*/ 58 w 271"/>
                    <a:gd name="T29" fmla="*/ 54 h 288"/>
                    <a:gd name="T30" fmla="*/ 69 w 271"/>
                    <a:gd name="T31" fmla="*/ 16 h 288"/>
                    <a:gd name="T32" fmla="*/ 101 w 271"/>
                    <a:gd name="T33" fmla="*/ 32 h 288"/>
                    <a:gd name="T34" fmla="*/ 122 w 271"/>
                    <a:gd name="T35" fmla="*/ 0 h 288"/>
                    <a:gd name="T36" fmla="*/ 159 w 271"/>
                    <a:gd name="T37" fmla="*/ 27 h 288"/>
                    <a:gd name="T38" fmla="*/ 218 w 271"/>
                    <a:gd name="T39" fmla="*/ 22 h 288"/>
                    <a:gd name="T40" fmla="*/ 212 w 271"/>
                    <a:gd name="T41" fmla="*/ 54 h 288"/>
                    <a:gd name="T42" fmla="*/ 228 w 271"/>
                    <a:gd name="T43" fmla="*/ 59 h 288"/>
                    <a:gd name="T44" fmla="*/ 255 w 271"/>
                    <a:gd name="T45" fmla="*/ 70 h 288"/>
                    <a:gd name="T46" fmla="*/ 244 w 271"/>
                    <a:gd name="T47" fmla="*/ 107 h 288"/>
                    <a:gd name="T48" fmla="*/ 271 w 271"/>
                    <a:gd name="T49" fmla="*/ 123 h 288"/>
                    <a:gd name="T50" fmla="*/ 244 w 271"/>
                    <a:gd name="T51" fmla="*/ 166 h 288"/>
                    <a:gd name="T52" fmla="*/ 244 w 271"/>
                    <a:gd name="T53" fmla="*/ 224 h 288"/>
                    <a:gd name="T54" fmla="*/ 218 w 271"/>
                    <a:gd name="T55" fmla="*/ 261 h 288"/>
                    <a:gd name="T56" fmla="*/ 212 w 271"/>
                    <a:gd name="T57" fmla="*/ 261 h 288"/>
                    <a:gd name="T58" fmla="*/ 202 w 271"/>
                    <a:gd name="T59" fmla="*/ 267 h 288"/>
                    <a:gd name="T60" fmla="*/ 170 w 271"/>
                    <a:gd name="T61" fmla="*/ 251 h 288"/>
                    <a:gd name="T62" fmla="*/ 138 w 271"/>
                    <a:gd name="T63" fmla="*/ 283 h 288"/>
                    <a:gd name="T64" fmla="*/ 122 w 271"/>
                    <a:gd name="T65" fmla="*/ 283 h 288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71"/>
                    <a:gd name="T100" fmla="*/ 0 h 288"/>
                    <a:gd name="T101" fmla="*/ 271 w 271"/>
                    <a:gd name="T102" fmla="*/ 288 h 288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71" h="288">
                      <a:moveTo>
                        <a:pt x="122" y="283"/>
                      </a:moveTo>
                      <a:lnTo>
                        <a:pt x="122" y="272"/>
                      </a:lnTo>
                      <a:lnTo>
                        <a:pt x="101" y="251"/>
                      </a:lnTo>
                      <a:lnTo>
                        <a:pt x="95" y="256"/>
                      </a:lnTo>
                      <a:lnTo>
                        <a:pt x="95" y="261"/>
                      </a:lnTo>
                      <a:lnTo>
                        <a:pt x="85" y="261"/>
                      </a:lnTo>
                      <a:lnTo>
                        <a:pt x="85" y="267"/>
                      </a:lnTo>
                      <a:lnTo>
                        <a:pt x="53" y="251"/>
                      </a:lnTo>
                      <a:lnTo>
                        <a:pt x="53" y="219"/>
                      </a:lnTo>
                      <a:lnTo>
                        <a:pt x="21" y="224"/>
                      </a:lnTo>
                      <a:lnTo>
                        <a:pt x="21" y="219"/>
                      </a:lnTo>
                      <a:lnTo>
                        <a:pt x="21" y="208"/>
                      </a:lnTo>
                      <a:lnTo>
                        <a:pt x="31" y="176"/>
                      </a:lnTo>
                      <a:lnTo>
                        <a:pt x="26" y="166"/>
                      </a:lnTo>
                      <a:lnTo>
                        <a:pt x="21" y="160"/>
                      </a:lnTo>
                      <a:lnTo>
                        <a:pt x="10" y="160"/>
                      </a:lnTo>
                      <a:lnTo>
                        <a:pt x="5" y="155"/>
                      </a:lnTo>
                      <a:lnTo>
                        <a:pt x="0" y="123"/>
                      </a:lnTo>
                      <a:lnTo>
                        <a:pt x="5" y="123"/>
                      </a:lnTo>
                      <a:lnTo>
                        <a:pt x="10" y="123"/>
                      </a:lnTo>
                      <a:lnTo>
                        <a:pt x="26" y="118"/>
                      </a:lnTo>
                      <a:lnTo>
                        <a:pt x="31" y="107"/>
                      </a:lnTo>
                      <a:lnTo>
                        <a:pt x="16" y="86"/>
                      </a:lnTo>
                      <a:lnTo>
                        <a:pt x="21" y="59"/>
                      </a:lnTo>
                      <a:lnTo>
                        <a:pt x="53" y="64"/>
                      </a:lnTo>
                      <a:lnTo>
                        <a:pt x="53" y="59"/>
                      </a:lnTo>
                      <a:lnTo>
                        <a:pt x="58" y="59"/>
                      </a:lnTo>
                      <a:lnTo>
                        <a:pt x="58" y="54"/>
                      </a:lnTo>
                      <a:lnTo>
                        <a:pt x="63" y="54"/>
                      </a:lnTo>
                      <a:lnTo>
                        <a:pt x="69" y="16"/>
                      </a:lnTo>
                      <a:lnTo>
                        <a:pt x="90" y="11"/>
                      </a:lnTo>
                      <a:lnTo>
                        <a:pt x="101" y="32"/>
                      </a:lnTo>
                      <a:lnTo>
                        <a:pt x="117" y="27"/>
                      </a:lnTo>
                      <a:lnTo>
                        <a:pt x="122" y="0"/>
                      </a:lnTo>
                      <a:lnTo>
                        <a:pt x="154" y="0"/>
                      </a:lnTo>
                      <a:lnTo>
                        <a:pt x="159" y="27"/>
                      </a:lnTo>
                      <a:lnTo>
                        <a:pt x="175" y="16"/>
                      </a:lnTo>
                      <a:lnTo>
                        <a:pt x="218" y="22"/>
                      </a:lnTo>
                      <a:lnTo>
                        <a:pt x="212" y="54"/>
                      </a:lnTo>
                      <a:lnTo>
                        <a:pt x="212" y="59"/>
                      </a:lnTo>
                      <a:lnTo>
                        <a:pt x="228" y="59"/>
                      </a:lnTo>
                      <a:lnTo>
                        <a:pt x="255" y="70"/>
                      </a:lnTo>
                      <a:lnTo>
                        <a:pt x="255" y="75"/>
                      </a:lnTo>
                      <a:lnTo>
                        <a:pt x="244" y="107"/>
                      </a:lnTo>
                      <a:lnTo>
                        <a:pt x="244" y="118"/>
                      </a:lnTo>
                      <a:lnTo>
                        <a:pt x="271" y="123"/>
                      </a:lnTo>
                      <a:lnTo>
                        <a:pt x="271" y="150"/>
                      </a:lnTo>
                      <a:lnTo>
                        <a:pt x="244" y="166"/>
                      </a:lnTo>
                      <a:lnTo>
                        <a:pt x="260" y="197"/>
                      </a:lnTo>
                      <a:lnTo>
                        <a:pt x="244" y="224"/>
                      </a:lnTo>
                      <a:lnTo>
                        <a:pt x="212" y="229"/>
                      </a:lnTo>
                      <a:lnTo>
                        <a:pt x="218" y="261"/>
                      </a:lnTo>
                      <a:lnTo>
                        <a:pt x="212" y="261"/>
                      </a:lnTo>
                      <a:lnTo>
                        <a:pt x="202" y="261"/>
                      </a:lnTo>
                      <a:lnTo>
                        <a:pt x="202" y="267"/>
                      </a:lnTo>
                      <a:lnTo>
                        <a:pt x="170" y="251"/>
                      </a:lnTo>
                      <a:lnTo>
                        <a:pt x="143" y="288"/>
                      </a:lnTo>
                      <a:lnTo>
                        <a:pt x="138" y="283"/>
                      </a:lnTo>
                      <a:lnTo>
                        <a:pt x="122" y="28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68" name="Freeform 330"/>
                <p:cNvSpPr>
                  <a:spLocks/>
                </p:cNvSpPr>
                <p:nvPr/>
              </p:nvSpPr>
              <p:spPr bwMode="auto">
                <a:xfrm>
                  <a:off x="4442" y="1370"/>
                  <a:ext cx="271" cy="287"/>
                </a:xfrm>
                <a:custGeom>
                  <a:avLst/>
                  <a:gdLst>
                    <a:gd name="T0" fmla="*/ 122 w 271"/>
                    <a:gd name="T1" fmla="*/ 271 h 287"/>
                    <a:gd name="T2" fmla="*/ 96 w 271"/>
                    <a:gd name="T3" fmla="*/ 255 h 287"/>
                    <a:gd name="T4" fmla="*/ 85 w 271"/>
                    <a:gd name="T5" fmla="*/ 261 h 287"/>
                    <a:gd name="T6" fmla="*/ 53 w 271"/>
                    <a:gd name="T7" fmla="*/ 250 h 287"/>
                    <a:gd name="T8" fmla="*/ 21 w 271"/>
                    <a:gd name="T9" fmla="*/ 223 h 287"/>
                    <a:gd name="T10" fmla="*/ 21 w 271"/>
                    <a:gd name="T11" fmla="*/ 213 h 287"/>
                    <a:gd name="T12" fmla="*/ 21 w 271"/>
                    <a:gd name="T13" fmla="*/ 207 h 287"/>
                    <a:gd name="T14" fmla="*/ 26 w 271"/>
                    <a:gd name="T15" fmla="*/ 165 h 287"/>
                    <a:gd name="T16" fmla="*/ 11 w 271"/>
                    <a:gd name="T17" fmla="*/ 160 h 287"/>
                    <a:gd name="T18" fmla="*/ 0 w 271"/>
                    <a:gd name="T19" fmla="*/ 122 h 287"/>
                    <a:gd name="T20" fmla="*/ 11 w 271"/>
                    <a:gd name="T21" fmla="*/ 122 h 287"/>
                    <a:gd name="T22" fmla="*/ 32 w 271"/>
                    <a:gd name="T23" fmla="*/ 101 h 287"/>
                    <a:gd name="T24" fmla="*/ 21 w 271"/>
                    <a:gd name="T25" fmla="*/ 53 h 287"/>
                    <a:gd name="T26" fmla="*/ 53 w 271"/>
                    <a:gd name="T27" fmla="*/ 58 h 287"/>
                    <a:gd name="T28" fmla="*/ 58 w 271"/>
                    <a:gd name="T29" fmla="*/ 53 h 287"/>
                    <a:gd name="T30" fmla="*/ 69 w 271"/>
                    <a:gd name="T31" fmla="*/ 16 h 287"/>
                    <a:gd name="T32" fmla="*/ 101 w 271"/>
                    <a:gd name="T33" fmla="*/ 32 h 287"/>
                    <a:gd name="T34" fmla="*/ 122 w 271"/>
                    <a:gd name="T35" fmla="*/ 0 h 287"/>
                    <a:gd name="T36" fmla="*/ 159 w 271"/>
                    <a:gd name="T37" fmla="*/ 26 h 287"/>
                    <a:gd name="T38" fmla="*/ 218 w 271"/>
                    <a:gd name="T39" fmla="*/ 21 h 287"/>
                    <a:gd name="T40" fmla="*/ 213 w 271"/>
                    <a:gd name="T41" fmla="*/ 53 h 287"/>
                    <a:gd name="T42" fmla="*/ 255 w 271"/>
                    <a:gd name="T43" fmla="*/ 69 h 287"/>
                    <a:gd name="T44" fmla="*/ 255 w 271"/>
                    <a:gd name="T45" fmla="*/ 74 h 287"/>
                    <a:gd name="T46" fmla="*/ 245 w 271"/>
                    <a:gd name="T47" fmla="*/ 117 h 287"/>
                    <a:gd name="T48" fmla="*/ 271 w 271"/>
                    <a:gd name="T49" fmla="*/ 149 h 287"/>
                    <a:gd name="T50" fmla="*/ 261 w 271"/>
                    <a:gd name="T51" fmla="*/ 191 h 287"/>
                    <a:gd name="T52" fmla="*/ 213 w 271"/>
                    <a:gd name="T53" fmla="*/ 229 h 287"/>
                    <a:gd name="T54" fmla="*/ 213 w 271"/>
                    <a:gd name="T55" fmla="*/ 261 h 287"/>
                    <a:gd name="T56" fmla="*/ 202 w 271"/>
                    <a:gd name="T57" fmla="*/ 261 h 287"/>
                    <a:gd name="T58" fmla="*/ 170 w 271"/>
                    <a:gd name="T59" fmla="*/ 250 h 287"/>
                    <a:gd name="T60" fmla="*/ 143 w 271"/>
                    <a:gd name="T61" fmla="*/ 287 h 287"/>
                    <a:gd name="T62" fmla="*/ 138 w 271"/>
                    <a:gd name="T63" fmla="*/ 282 h 287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71"/>
                    <a:gd name="T97" fmla="*/ 0 h 287"/>
                    <a:gd name="T98" fmla="*/ 271 w 271"/>
                    <a:gd name="T99" fmla="*/ 287 h 287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71" h="287">
                      <a:moveTo>
                        <a:pt x="122" y="282"/>
                      </a:moveTo>
                      <a:lnTo>
                        <a:pt x="122" y="271"/>
                      </a:lnTo>
                      <a:lnTo>
                        <a:pt x="101" y="250"/>
                      </a:lnTo>
                      <a:lnTo>
                        <a:pt x="96" y="255"/>
                      </a:lnTo>
                      <a:lnTo>
                        <a:pt x="96" y="261"/>
                      </a:lnTo>
                      <a:lnTo>
                        <a:pt x="85" y="261"/>
                      </a:lnTo>
                      <a:lnTo>
                        <a:pt x="85" y="266"/>
                      </a:lnTo>
                      <a:lnTo>
                        <a:pt x="53" y="250"/>
                      </a:lnTo>
                      <a:lnTo>
                        <a:pt x="53" y="213"/>
                      </a:lnTo>
                      <a:lnTo>
                        <a:pt x="21" y="223"/>
                      </a:lnTo>
                      <a:lnTo>
                        <a:pt x="21" y="213"/>
                      </a:lnTo>
                      <a:lnTo>
                        <a:pt x="21" y="207"/>
                      </a:lnTo>
                      <a:lnTo>
                        <a:pt x="32" y="176"/>
                      </a:lnTo>
                      <a:lnTo>
                        <a:pt x="26" y="165"/>
                      </a:lnTo>
                      <a:lnTo>
                        <a:pt x="21" y="160"/>
                      </a:lnTo>
                      <a:lnTo>
                        <a:pt x="11" y="160"/>
                      </a:lnTo>
                      <a:lnTo>
                        <a:pt x="5" y="154"/>
                      </a:lnTo>
                      <a:lnTo>
                        <a:pt x="0" y="122"/>
                      </a:lnTo>
                      <a:lnTo>
                        <a:pt x="5" y="122"/>
                      </a:lnTo>
                      <a:lnTo>
                        <a:pt x="11" y="122"/>
                      </a:lnTo>
                      <a:lnTo>
                        <a:pt x="26" y="117"/>
                      </a:lnTo>
                      <a:lnTo>
                        <a:pt x="32" y="101"/>
                      </a:lnTo>
                      <a:lnTo>
                        <a:pt x="16" y="85"/>
                      </a:lnTo>
                      <a:lnTo>
                        <a:pt x="21" y="53"/>
                      </a:lnTo>
                      <a:lnTo>
                        <a:pt x="53" y="64"/>
                      </a:lnTo>
                      <a:lnTo>
                        <a:pt x="53" y="58"/>
                      </a:lnTo>
                      <a:lnTo>
                        <a:pt x="58" y="58"/>
                      </a:lnTo>
                      <a:lnTo>
                        <a:pt x="58" y="53"/>
                      </a:lnTo>
                      <a:lnTo>
                        <a:pt x="64" y="53"/>
                      </a:lnTo>
                      <a:lnTo>
                        <a:pt x="69" y="16"/>
                      </a:lnTo>
                      <a:lnTo>
                        <a:pt x="90" y="10"/>
                      </a:lnTo>
                      <a:lnTo>
                        <a:pt x="101" y="32"/>
                      </a:lnTo>
                      <a:lnTo>
                        <a:pt x="117" y="26"/>
                      </a:lnTo>
                      <a:lnTo>
                        <a:pt x="122" y="0"/>
                      </a:lnTo>
                      <a:lnTo>
                        <a:pt x="154" y="0"/>
                      </a:lnTo>
                      <a:lnTo>
                        <a:pt x="159" y="26"/>
                      </a:lnTo>
                      <a:lnTo>
                        <a:pt x="175" y="16"/>
                      </a:lnTo>
                      <a:lnTo>
                        <a:pt x="218" y="21"/>
                      </a:lnTo>
                      <a:lnTo>
                        <a:pt x="213" y="53"/>
                      </a:lnTo>
                      <a:lnTo>
                        <a:pt x="229" y="58"/>
                      </a:lnTo>
                      <a:lnTo>
                        <a:pt x="255" y="69"/>
                      </a:lnTo>
                      <a:lnTo>
                        <a:pt x="255" y="74"/>
                      </a:lnTo>
                      <a:lnTo>
                        <a:pt x="245" y="101"/>
                      </a:lnTo>
                      <a:lnTo>
                        <a:pt x="245" y="117"/>
                      </a:lnTo>
                      <a:lnTo>
                        <a:pt x="271" y="122"/>
                      </a:lnTo>
                      <a:lnTo>
                        <a:pt x="271" y="149"/>
                      </a:lnTo>
                      <a:lnTo>
                        <a:pt x="245" y="165"/>
                      </a:lnTo>
                      <a:lnTo>
                        <a:pt x="261" y="191"/>
                      </a:lnTo>
                      <a:lnTo>
                        <a:pt x="245" y="223"/>
                      </a:lnTo>
                      <a:lnTo>
                        <a:pt x="213" y="229"/>
                      </a:lnTo>
                      <a:lnTo>
                        <a:pt x="218" y="261"/>
                      </a:lnTo>
                      <a:lnTo>
                        <a:pt x="213" y="261"/>
                      </a:lnTo>
                      <a:lnTo>
                        <a:pt x="202" y="261"/>
                      </a:lnTo>
                      <a:lnTo>
                        <a:pt x="202" y="266"/>
                      </a:lnTo>
                      <a:lnTo>
                        <a:pt x="170" y="250"/>
                      </a:lnTo>
                      <a:lnTo>
                        <a:pt x="143" y="287"/>
                      </a:lnTo>
                      <a:lnTo>
                        <a:pt x="138" y="282"/>
                      </a:lnTo>
                      <a:lnTo>
                        <a:pt x="122" y="282"/>
                      </a:lnTo>
                      <a:close/>
                    </a:path>
                  </a:pathLst>
                </a:custGeom>
                <a:solidFill>
                  <a:srgbClr val="96594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69" name="Freeform 331"/>
                <p:cNvSpPr>
                  <a:spLocks/>
                </p:cNvSpPr>
                <p:nvPr/>
              </p:nvSpPr>
              <p:spPr bwMode="auto">
                <a:xfrm>
                  <a:off x="4171" y="1604"/>
                  <a:ext cx="21" cy="37"/>
                </a:xfrm>
                <a:custGeom>
                  <a:avLst/>
                  <a:gdLst>
                    <a:gd name="T0" fmla="*/ 0 w 21"/>
                    <a:gd name="T1" fmla="*/ 32 h 37"/>
                    <a:gd name="T2" fmla="*/ 0 w 21"/>
                    <a:gd name="T3" fmla="*/ 32 h 37"/>
                    <a:gd name="T4" fmla="*/ 0 w 21"/>
                    <a:gd name="T5" fmla="*/ 0 h 37"/>
                    <a:gd name="T6" fmla="*/ 21 w 21"/>
                    <a:gd name="T7" fmla="*/ 0 h 37"/>
                    <a:gd name="T8" fmla="*/ 10 w 21"/>
                    <a:gd name="T9" fmla="*/ 37 h 37"/>
                    <a:gd name="T10" fmla="*/ 0 w 21"/>
                    <a:gd name="T11" fmla="*/ 32 h 3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1"/>
                    <a:gd name="T19" fmla="*/ 0 h 37"/>
                    <a:gd name="T20" fmla="*/ 21 w 21"/>
                    <a:gd name="T21" fmla="*/ 37 h 3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1" h="37">
                      <a:moveTo>
                        <a:pt x="0" y="32"/>
                      </a:moveTo>
                      <a:lnTo>
                        <a:pt x="0" y="32"/>
                      </a:lnTo>
                      <a:lnTo>
                        <a:pt x="0" y="0"/>
                      </a:lnTo>
                      <a:lnTo>
                        <a:pt x="21" y="0"/>
                      </a:lnTo>
                      <a:lnTo>
                        <a:pt x="10" y="37"/>
                      </a:lnTo>
                      <a:lnTo>
                        <a:pt x="0" y="32"/>
                      </a:lnTo>
                      <a:close/>
                    </a:path>
                  </a:pathLst>
                </a:custGeom>
                <a:solidFill>
                  <a:srgbClr val="49557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70" name="Freeform 332"/>
                <p:cNvSpPr>
                  <a:spLocks/>
                </p:cNvSpPr>
                <p:nvPr/>
              </p:nvSpPr>
              <p:spPr bwMode="auto">
                <a:xfrm>
                  <a:off x="4484" y="1439"/>
                  <a:ext cx="176" cy="165"/>
                </a:xfrm>
                <a:custGeom>
                  <a:avLst/>
                  <a:gdLst>
                    <a:gd name="T0" fmla="*/ 59 w 176"/>
                    <a:gd name="T1" fmla="*/ 165 h 165"/>
                    <a:gd name="T2" fmla="*/ 38 w 176"/>
                    <a:gd name="T3" fmla="*/ 149 h 165"/>
                    <a:gd name="T4" fmla="*/ 22 w 176"/>
                    <a:gd name="T5" fmla="*/ 144 h 165"/>
                    <a:gd name="T6" fmla="*/ 16 w 176"/>
                    <a:gd name="T7" fmla="*/ 117 h 165"/>
                    <a:gd name="T8" fmla="*/ 0 w 176"/>
                    <a:gd name="T9" fmla="*/ 91 h 165"/>
                    <a:gd name="T10" fmla="*/ 22 w 176"/>
                    <a:gd name="T11" fmla="*/ 16 h 165"/>
                    <a:gd name="T12" fmla="*/ 54 w 176"/>
                    <a:gd name="T13" fmla="*/ 0 h 165"/>
                    <a:gd name="T14" fmla="*/ 86 w 176"/>
                    <a:gd name="T15" fmla="*/ 0 h 165"/>
                    <a:gd name="T16" fmla="*/ 123 w 176"/>
                    <a:gd name="T17" fmla="*/ 0 h 165"/>
                    <a:gd name="T18" fmla="*/ 160 w 176"/>
                    <a:gd name="T19" fmla="*/ 21 h 165"/>
                    <a:gd name="T20" fmla="*/ 171 w 176"/>
                    <a:gd name="T21" fmla="*/ 48 h 165"/>
                    <a:gd name="T22" fmla="*/ 176 w 176"/>
                    <a:gd name="T23" fmla="*/ 69 h 165"/>
                    <a:gd name="T24" fmla="*/ 176 w 176"/>
                    <a:gd name="T25" fmla="*/ 91 h 165"/>
                    <a:gd name="T26" fmla="*/ 123 w 176"/>
                    <a:gd name="T27" fmla="*/ 149 h 165"/>
                    <a:gd name="T28" fmla="*/ 123 w 176"/>
                    <a:gd name="T29" fmla="*/ 154 h 165"/>
                    <a:gd name="T30" fmla="*/ 123 w 176"/>
                    <a:gd name="T31" fmla="*/ 160 h 165"/>
                    <a:gd name="T32" fmla="*/ 112 w 176"/>
                    <a:gd name="T33" fmla="*/ 160 h 165"/>
                    <a:gd name="T34" fmla="*/ 112 w 176"/>
                    <a:gd name="T35" fmla="*/ 165 h 165"/>
                    <a:gd name="T36" fmla="*/ 86 w 176"/>
                    <a:gd name="T37" fmla="*/ 165 h 165"/>
                    <a:gd name="T38" fmla="*/ 64 w 176"/>
                    <a:gd name="T39" fmla="*/ 165 h 165"/>
                    <a:gd name="T40" fmla="*/ 59 w 176"/>
                    <a:gd name="T41" fmla="*/ 165 h 165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76"/>
                    <a:gd name="T64" fmla="*/ 0 h 165"/>
                    <a:gd name="T65" fmla="*/ 176 w 176"/>
                    <a:gd name="T66" fmla="*/ 165 h 165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76" h="165">
                      <a:moveTo>
                        <a:pt x="59" y="165"/>
                      </a:moveTo>
                      <a:lnTo>
                        <a:pt x="38" y="149"/>
                      </a:lnTo>
                      <a:lnTo>
                        <a:pt x="22" y="144"/>
                      </a:lnTo>
                      <a:lnTo>
                        <a:pt x="16" y="117"/>
                      </a:lnTo>
                      <a:lnTo>
                        <a:pt x="0" y="91"/>
                      </a:lnTo>
                      <a:lnTo>
                        <a:pt x="22" y="16"/>
                      </a:lnTo>
                      <a:lnTo>
                        <a:pt x="54" y="0"/>
                      </a:lnTo>
                      <a:lnTo>
                        <a:pt x="86" y="0"/>
                      </a:lnTo>
                      <a:lnTo>
                        <a:pt x="123" y="0"/>
                      </a:lnTo>
                      <a:lnTo>
                        <a:pt x="160" y="21"/>
                      </a:lnTo>
                      <a:lnTo>
                        <a:pt x="171" y="48"/>
                      </a:lnTo>
                      <a:lnTo>
                        <a:pt x="176" y="69"/>
                      </a:lnTo>
                      <a:lnTo>
                        <a:pt x="176" y="91"/>
                      </a:lnTo>
                      <a:lnTo>
                        <a:pt x="123" y="149"/>
                      </a:lnTo>
                      <a:lnTo>
                        <a:pt x="123" y="154"/>
                      </a:lnTo>
                      <a:lnTo>
                        <a:pt x="123" y="160"/>
                      </a:lnTo>
                      <a:lnTo>
                        <a:pt x="112" y="160"/>
                      </a:lnTo>
                      <a:lnTo>
                        <a:pt x="112" y="165"/>
                      </a:lnTo>
                      <a:lnTo>
                        <a:pt x="86" y="165"/>
                      </a:lnTo>
                      <a:lnTo>
                        <a:pt x="64" y="165"/>
                      </a:lnTo>
                      <a:lnTo>
                        <a:pt x="59" y="165"/>
                      </a:lnTo>
                      <a:close/>
                    </a:path>
                  </a:pathLst>
                </a:custGeom>
                <a:solidFill>
                  <a:srgbClr val="61BFF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71" name="Freeform 333"/>
                <p:cNvSpPr>
                  <a:spLocks/>
                </p:cNvSpPr>
                <p:nvPr/>
              </p:nvSpPr>
              <p:spPr bwMode="auto">
                <a:xfrm>
                  <a:off x="4266" y="1530"/>
                  <a:ext cx="27" cy="26"/>
                </a:xfrm>
                <a:custGeom>
                  <a:avLst/>
                  <a:gdLst>
                    <a:gd name="T0" fmla="*/ 0 w 27"/>
                    <a:gd name="T1" fmla="*/ 26 h 26"/>
                    <a:gd name="T2" fmla="*/ 0 w 27"/>
                    <a:gd name="T3" fmla="*/ 26 h 26"/>
                    <a:gd name="T4" fmla="*/ 6 w 27"/>
                    <a:gd name="T5" fmla="*/ 0 h 26"/>
                    <a:gd name="T6" fmla="*/ 27 w 27"/>
                    <a:gd name="T7" fmla="*/ 0 h 26"/>
                    <a:gd name="T8" fmla="*/ 11 w 27"/>
                    <a:gd name="T9" fmla="*/ 26 h 26"/>
                    <a:gd name="T10" fmla="*/ 0 w 27"/>
                    <a:gd name="T11" fmla="*/ 26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7"/>
                    <a:gd name="T19" fmla="*/ 0 h 26"/>
                    <a:gd name="T20" fmla="*/ 27 w 2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7" h="26">
                      <a:moveTo>
                        <a:pt x="0" y="26"/>
                      </a:moveTo>
                      <a:lnTo>
                        <a:pt x="0" y="26"/>
                      </a:lnTo>
                      <a:lnTo>
                        <a:pt x="6" y="0"/>
                      </a:lnTo>
                      <a:lnTo>
                        <a:pt x="27" y="0"/>
                      </a:lnTo>
                      <a:lnTo>
                        <a:pt x="11" y="26"/>
                      </a:lnTo>
                      <a:lnTo>
                        <a:pt x="0" y="26"/>
                      </a:lnTo>
                      <a:close/>
                    </a:path>
                  </a:pathLst>
                </a:custGeom>
                <a:solidFill>
                  <a:srgbClr val="49557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72" name="Freeform 334"/>
                <p:cNvSpPr>
                  <a:spLocks/>
                </p:cNvSpPr>
                <p:nvPr/>
              </p:nvSpPr>
              <p:spPr bwMode="auto">
                <a:xfrm>
                  <a:off x="4543" y="1487"/>
                  <a:ext cx="53" cy="59"/>
                </a:xfrm>
                <a:custGeom>
                  <a:avLst/>
                  <a:gdLst>
                    <a:gd name="T0" fmla="*/ 27 w 53"/>
                    <a:gd name="T1" fmla="*/ 53 h 59"/>
                    <a:gd name="T2" fmla="*/ 16 w 53"/>
                    <a:gd name="T3" fmla="*/ 53 h 59"/>
                    <a:gd name="T4" fmla="*/ 0 w 53"/>
                    <a:gd name="T5" fmla="*/ 37 h 59"/>
                    <a:gd name="T6" fmla="*/ 0 w 53"/>
                    <a:gd name="T7" fmla="*/ 32 h 59"/>
                    <a:gd name="T8" fmla="*/ 0 w 53"/>
                    <a:gd name="T9" fmla="*/ 32 h 59"/>
                    <a:gd name="T10" fmla="*/ 16 w 53"/>
                    <a:gd name="T11" fmla="*/ 0 h 59"/>
                    <a:gd name="T12" fmla="*/ 53 w 53"/>
                    <a:gd name="T13" fmla="*/ 21 h 59"/>
                    <a:gd name="T14" fmla="*/ 32 w 53"/>
                    <a:gd name="T15" fmla="*/ 59 h 59"/>
                    <a:gd name="T16" fmla="*/ 27 w 53"/>
                    <a:gd name="T17" fmla="*/ 53 h 5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3"/>
                    <a:gd name="T28" fmla="*/ 0 h 59"/>
                    <a:gd name="T29" fmla="*/ 53 w 53"/>
                    <a:gd name="T30" fmla="*/ 59 h 5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3" h="59">
                      <a:moveTo>
                        <a:pt x="27" y="53"/>
                      </a:moveTo>
                      <a:lnTo>
                        <a:pt x="16" y="53"/>
                      </a:lnTo>
                      <a:lnTo>
                        <a:pt x="0" y="37"/>
                      </a:lnTo>
                      <a:lnTo>
                        <a:pt x="0" y="32"/>
                      </a:lnTo>
                      <a:lnTo>
                        <a:pt x="16" y="0"/>
                      </a:lnTo>
                      <a:lnTo>
                        <a:pt x="53" y="21"/>
                      </a:lnTo>
                      <a:lnTo>
                        <a:pt x="32" y="59"/>
                      </a:lnTo>
                      <a:lnTo>
                        <a:pt x="27" y="53"/>
                      </a:lnTo>
                      <a:close/>
                    </a:path>
                  </a:pathLst>
                </a:custGeom>
                <a:solidFill>
                  <a:srgbClr val="504A5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73" name="Freeform 335"/>
                <p:cNvSpPr>
                  <a:spLocks/>
                </p:cNvSpPr>
                <p:nvPr/>
              </p:nvSpPr>
              <p:spPr bwMode="auto">
                <a:xfrm>
                  <a:off x="4117" y="1258"/>
                  <a:ext cx="234" cy="229"/>
                </a:xfrm>
                <a:custGeom>
                  <a:avLst/>
                  <a:gdLst>
                    <a:gd name="T0" fmla="*/ 181 w 234"/>
                    <a:gd name="T1" fmla="*/ 229 h 229"/>
                    <a:gd name="T2" fmla="*/ 203 w 234"/>
                    <a:gd name="T3" fmla="*/ 176 h 229"/>
                    <a:gd name="T4" fmla="*/ 187 w 234"/>
                    <a:gd name="T5" fmla="*/ 192 h 229"/>
                    <a:gd name="T6" fmla="*/ 144 w 234"/>
                    <a:gd name="T7" fmla="*/ 192 h 229"/>
                    <a:gd name="T8" fmla="*/ 107 w 234"/>
                    <a:gd name="T9" fmla="*/ 186 h 229"/>
                    <a:gd name="T10" fmla="*/ 64 w 234"/>
                    <a:gd name="T11" fmla="*/ 165 h 229"/>
                    <a:gd name="T12" fmla="*/ 27 w 234"/>
                    <a:gd name="T13" fmla="*/ 133 h 229"/>
                    <a:gd name="T14" fmla="*/ 11 w 234"/>
                    <a:gd name="T15" fmla="*/ 101 h 229"/>
                    <a:gd name="T16" fmla="*/ 6 w 234"/>
                    <a:gd name="T17" fmla="*/ 69 h 229"/>
                    <a:gd name="T18" fmla="*/ 0 w 234"/>
                    <a:gd name="T19" fmla="*/ 16 h 229"/>
                    <a:gd name="T20" fmla="*/ 0 w 234"/>
                    <a:gd name="T21" fmla="*/ 5 h 229"/>
                    <a:gd name="T22" fmla="*/ 0 w 234"/>
                    <a:gd name="T23" fmla="*/ 0 h 229"/>
                    <a:gd name="T24" fmla="*/ 6 w 234"/>
                    <a:gd name="T25" fmla="*/ 0 h 229"/>
                    <a:gd name="T26" fmla="*/ 16 w 234"/>
                    <a:gd name="T27" fmla="*/ 27 h 229"/>
                    <a:gd name="T28" fmla="*/ 27 w 234"/>
                    <a:gd name="T29" fmla="*/ 91 h 229"/>
                    <a:gd name="T30" fmla="*/ 48 w 234"/>
                    <a:gd name="T31" fmla="*/ 117 h 229"/>
                    <a:gd name="T32" fmla="*/ 48 w 234"/>
                    <a:gd name="T33" fmla="*/ 117 h 229"/>
                    <a:gd name="T34" fmla="*/ 48 w 234"/>
                    <a:gd name="T35" fmla="*/ 122 h 229"/>
                    <a:gd name="T36" fmla="*/ 48 w 234"/>
                    <a:gd name="T37" fmla="*/ 128 h 229"/>
                    <a:gd name="T38" fmla="*/ 54 w 234"/>
                    <a:gd name="T39" fmla="*/ 133 h 229"/>
                    <a:gd name="T40" fmla="*/ 112 w 234"/>
                    <a:gd name="T41" fmla="*/ 160 h 229"/>
                    <a:gd name="T42" fmla="*/ 139 w 234"/>
                    <a:gd name="T43" fmla="*/ 170 h 229"/>
                    <a:gd name="T44" fmla="*/ 171 w 234"/>
                    <a:gd name="T45" fmla="*/ 176 h 229"/>
                    <a:gd name="T46" fmla="*/ 192 w 234"/>
                    <a:gd name="T47" fmla="*/ 160 h 229"/>
                    <a:gd name="T48" fmla="*/ 155 w 234"/>
                    <a:gd name="T49" fmla="*/ 149 h 229"/>
                    <a:gd name="T50" fmla="*/ 224 w 234"/>
                    <a:gd name="T51" fmla="*/ 138 h 229"/>
                    <a:gd name="T52" fmla="*/ 229 w 234"/>
                    <a:gd name="T53" fmla="*/ 138 h 229"/>
                    <a:gd name="T54" fmla="*/ 234 w 234"/>
                    <a:gd name="T55" fmla="*/ 144 h 229"/>
                    <a:gd name="T56" fmla="*/ 229 w 234"/>
                    <a:gd name="T57" fmla="*/ 165 h 229"/>
                    <a:gd name="T58" fmla="*/ 219 w 234"/>
                    <a:gd name="T59" fmla="*/ 186 h 229"/>
                    <a:gd name="T60" fmla="*/ 192 w 234"/>
                    <a:gd name="T61" fmla="*/ 229 h 229"/>
                    <a:gd name="T62" fmla="*/ 181 w 234"/>
                    <a:gd name="T63" fmla="*/ 229 h 229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234"/>
                    <a:gd name="T97" fmla="*/ 0 h 229"/>
                    <a:gd name="T98" fmla="*/ 234 w 234"/>
                    <a:gd name="T99" fmla="*/ 229 h 229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234" h="229">
                      <a:moveTo>
                        <a:pt x="181" y="229"/>
                      </a:moveTo>
                      <a:lnTo>
                        <a:pt x="203" y="176"/>
                      </a:lnTo>
                      <a:lnTo>
                        <a:pt x="187" y="192"/>
                      </a:lnTo>
                      <a:lnTo>
                        <a:pt x="144" y="192"/>
                      </a:lnTo>
                      <a:lnTo>
                        <a:pt x="107" y="186"/>
                      </a:lnTo>
                      <a:lnTo>
                        <a:pt x="64" y="165"/>
                      </a:lnTo>
                      <a:lnTo>
                        <a:pt x="27" y="133"/>
                      </a:lnTo>
                      <a:lnTo>
                        <a:pt x="11" y="101"/>
                      </a:lnTo>
                      <a:lnTo>
                        <a:pt x="6" y="69"/>
                      </a:lnTo>
                      <a:lnTo>
                        <a:pt x="0" y="16"/>
                      </a:ln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6" y="0"/>
                      </a:lnTo>
                      <a:lnTo>
                        <a:pt x="16" y="27"/>
                      </a:lnTo>
                      <a:lnTo>
                        <a:pt x="27" y="91"/>
                      </a:lnTo>
                      <a:lnTo>
                        <a:pt x="48" y="117"/>
                      </a:lnTo>
                      <a:lnTo>
                        <a:pt x="48" y="122"/>
                      </a:lnTo>
                      <a:lnTo>
                        <a:pt x="48" y="128"/>
                      </a:lnTo>
                      <a:lnTo>
                        <a:pt x="54" y="133"/>
                      </a:lnTo>
                      <a:lnTo>
                        <a:pt x="112" y="160"/>
                      </a:lnTo>
                      <a:lnTo>
                        <a:pt x="139" y="170"/>
                      </a:lnTo>
                      <a:lnTo>
                        <a:pt x="171" y="176"/>
                      </a:lnTo>
                      <a:lnTo>
                        <a:pt x="192" y="160"/>
                      </a:lnTo>
                      <a:lnTo>
                        <a:pt x="155" y="149"/>
                      </a:lnTo>
                      <a:lnTo>
                        <a:pt x="224" y="138"/>
                      </a:lnTo>
                      <a:lnTo>
                        <a:pt x="229" y="138"/>
                      </a:lnTo>
                      <a:lnTo>
                        <a:pt x="234" y="144"/>
                      </a:lnTo>
                      <a:lnTo>
                        <a:pt x="229" y="165"/>
                      </a:lnTo>
                      <a:lnTo>
                        <a:pt x="219" y="186"/>
                      </a:lnTo>
                      <a:lnTo>
                        <a:pt x="192" y="229"/>
                      </a:lnTo>
                      <a:lnTo>
                        <a:pt x="181" y="229"/>
                      </a:lnTo>
                      <a:close/>
                    </a:path>
                  </a:pathLst>
                </a:custGeom>
                <a:solidFill>
                  <a:srgbClr val="ACDC7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74" name="Freeform 336"/>
                <p:cNvSpPr>
                  <a:spLocks/>
                </p:cNvSpPr>
                <p:nvPr/>
              </p:nvSpPr>
              <p:spPr bwMode="auto">
                <a:xfrm>
                  <a:off x="4128" y="1253"/>
                  <a:ext cx="234" cy="223"/>
                </a:xfrm>
                <a:custGeom>
                  <a:avLst/>
                  <a:gdLst>
                    <a:gd name="T0" fmla="*/ 181 w 234"/>
                    <a:gd name="T1" fmla="*/ 223 h 223"/>
                    <a:gd name="T2" fmla="*/ 202 w 234"/>
                    <a:gd name="T3" fmla="*/ 175 h 223"/>
                    <a:gd name="T4" fmla="*/ 186 w 234"/>
                    <a:gd name="T5" fmla="*/ 191 h 223"/>
                    <a:gd name="T6" fmla="*/ 144 w 234"/>
                    <a:gd name="T7" fmla="*/ 191 h 223"/>
                    <a:gd name="T8" fmla="*/ 106 w 234"/>
                    <a:gd name="T9" fmla="*/ 186 h 223"/>
                    <a:gd name="T10" fmla="*/ 64 w 234"/>
                    <a:gd name="T11" fmla="*/ 165 h 223"/>
                    <a:gd name="T12" fmla="*/ 27 w 234"/>
                    <a:gd name="T13" fmla="*/ 133 h 223"/>
                    <a:gd name="T14" fmla="*/ 11 w 234"/>
                    <a:gd name="T15" fmla="*/ 101 h 223"/>
                    <a:gd name="T16" fmla="*/ 5 w 234"/>
                    <a:gd name="T17" fmla="*/ 69 h 223"/>
                    <a:gd name="T18" fmla="*/ 0 w 234"/>
                    <a:gd name="T19" fmla="*/ 16 h 223"/>
                    <a:gd name="T20" fmla="*/ 0 w 234"/>
                    <a:gd name="T21" fmla="*/ 5 h 223"/>
                    <a:gd name="T22" fmla="*/ 0 w 234"/>
                    <a:gd name="T23" fmla="*/ 0 h 223"/>
                    <a:gd name="T24" fmla="*/ 5 w 234"/>
                    <a:gd name="T25" fmla="*/ 0 h 223"/>
                    <a:gd name="T26" fmla="*/ 16 w 234"/>
                    <a:gd name="T27" fmla="*/ 26 h 223"/>
                    <a:gd name="T28" fmla="*/ 27 w 234"/>
                    <a:gd name="T29" fmla="*/ 90 h 223"/>
                    <a:gd name="T30" fmla="*/ 48 w 234"/>
                    <a:gd name="T31" fmla="*/ 117 h 223"/>
                    <a:gd name="T32" fmla="*/ 48 w 234"/>
                    <a:gd name="T33" fmla="*/ 117 h 223"/>
                    <a:gd name="T34" fmla="*/ 48 w 234"/>
                    <a:gd name="T35" fmla="*/ 122 h 223"/>
                    <a:gd name="T36" fmla="*/ 48 w 234"/>
                    <a:gd name="T37" fmla="*/ 127 h 223"/>
                    <a:gd name="T38" fmla="*/ 53 w 234"/>
                    <a:gd name="T39" fmla="*/ 133 h 223"/>
                    <a:gd name="T40" fmla="*/ 112 w 234"/>
                    <a:gd name="T41" fmla="*/ 159 h 223"/>
                    <a:gd name="T42" fmla="*/ 138 w 234"/>
                    <a:gd name="T43" fmla="*/ 170 h 223"/>
                    <a:gd name="T44" fmla="*/ 170 w 234"/>
                    <a:gd name="T45" fmla="*/ 175 h 223"/>
                    <a:gd name="T46" fmla="*/ 192 w 234"/>
                    <a:gd name="T47" fmla="*/ 159 h 223"/>
                    <a:gd name="T48" fmla="*/ 154 w 234"/>
                    <a:gd name="T49" fmla="*/ 149 h 223"/>
                    <a:gd name="T50" fmla="*/ 223 w 234"/>
                    <a:gd name="T51" fmla="*/ 138 h 223"/>
                    <a:gd name="T52" fmla="*/ 229 w 234"/>
                    <a:gd name="T53" fmla="*/ 138 h 223"/>
                    <a:gd name="T54" fmla="*/ 234 w 234"/>
                    <a:gd name="T55" fmla="*/ 143 h 223"/>
                    <a:gd name="T56" fmla="*/ 229 w 234"/>
                    <a:gd name="T57" fmla="*/ 165 h 223"/>
                    <a:gd name="T58" fmla="*/ 223 w 234"/>
                    <a:gd name="T59" fmla="*/ 186 h 223"/>
                    <a:gd name="T60" fmla="*/ 208 w 234"/>
                    <a:gd name="T61" fmla="*/ 202 h 223"/>
                    <a:gd name="T62" fmla="*/ 192 w 234"/>
                    <a:gd name="T63" fmla="*/ 223 h 223"/>
                    <a:gd name="T64" fmla="*/ 181 w 234"/>
                    <a:gd name="T65" fmla="*/ 223 h 223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234"/>
                    <a:gd name="T100" fmla="*/ 0 h 223"/>
                    <a:gd name="T101" fmla="*/ 234 w 234"/>
                    <a:gd name="T102" fmla="*/ 223 h 223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234" h="223">
                      <a:moveTo>
                        <a:pt x="181" y="223"/>
                      </a:moveTo>
                      <a:lnTo>
                        <a:pt x="202" y="175"/>
                      </a:lnTo>
                      <a:lnTo>
                        <a:pt x="186" y="191"/>
                      </a:lnTo>
                      <a:lnTo>
                        <a:pt x="144" y="191"/>
                      </a:lnTo>
                      <a:lnTo>
                        <a:pt x="106" y="186"/>
                      </a:lnTo>
                      <a:lnTo>
                        <a:pt x="64" y="165"/>
                      </a:lnTo>
                      <a:lnTo>
                        <a:pt x="27" y="133"/>
                      </a:lnTo>
                      <a:lnTo>
                        <a:pt x="11" y="101"/>
                      </a:lnTo>
                      <a:lnTo>
                        <a:pt x="5" y="69"/>
                      </a:lnTo>
                      <a:lnTo>
                        <a:pt x="0" y="16"/>
                      </a:ln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16" y="26"/>
                      </a:lnTo>
                      <a:lnTo>
                        <a:pt x="27" y="90"/>
                      </a:lnTo>
                      <a:lnTo>
                        <a:pt x="48" y="117"/>
                      </a:lnTo>
                      <a:lnTo>
                        <a:pt x="48" y="122"/>
                      </a:lnTo>
                      <a:lnTo>
                        <a:pt x="48" y="127"/>
                      </a:lnTo>
                      <a:lnTo>
                        <a:pt x="53" y="133"/>
                      </a:lnTo>
                      <a:lnTo>
                        <a:pt x="112" y="159"/>
                      </a:lnTo>
                      <a:lnTo>
                        <a:pt x="138" y="170"/>
                      </a:lnTo>
                      <a:lnTo>
                        <a:pt x="170" y="175"/>
                      </a:lnTo>
                      <a:lnTo>
                        <a:pt x="192" y="159"/>
                      </a:lnTo>
                      <a:lnTo>
                        <a:pt x="154" y="149"/>
                      </a:lnTo>
                      <a:lnTo>
                        <a:pt x="223" y="138"/>
                      </a:lnTo>
                      <a:lnTo>
                        <a:pt x="229" y="138"/>
                      </a:lnTo>
                      <a:lnTo>
                        <a:pt x="234" y="143"/>
                      </a:lnTo>
                      <a:lnTo>
                        <a:pt x="229" y="165"/>
                      </a:lnTo>
                      <a:lnTo>
                        <a:pt x="223" y="186"/>
                      </a:lnTo>
                      <a:lnTo>
                        <a:pt x="208" y="202"/>
                      </a:lnTo>
                      <a:lnTo>
                        <a:pt x="192" y="223"/>
                      </a:lnTo>
                      <a:lnTo>
                        <a:pt x="181" y="223"/>
                      </a:lnTo>
                      <a:close/>
                    </a:path>
                  </a:pathLst>
                </a:custGeom>
                <a:solidFill>
                  <a:srgbClr val="504A5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75" name="Freeform 337"/>
                <p:cNvSpPr>
                  <a:spLocks/>
                </p:cNvSpPr>
                <p:nvPr/>
              </p:nvSpPr>
              <p:spPr bwMode="auto">
                <a:xfrm>
                  <a:off x="4628" y="1343"/>
                  <a:ext cx="80" cy="69"/>
                </a:xfrm>
                <a:custGeom>
                  <a:avLst/>
                  <a:gdLst>
                    <a:gd name="T0" fmla="*/ 69 w 80"/>
                    <a:gd name="T1" fmla="*/ 64 h 69"/>
                    <a:gd name="T2" fmla="*/ 64 w 80"/>
                    <a:gd name="T3" fmla="*/ 53 h 69"/>
                    <a:gd name="T4" fmla="*/ 32 w 80"/>
                    <a:gd name="T5" fmla="*/ 27 h 69"/>
                    <a:gd name="T6" fmla="*/ 16 w 80"/>
                    <a:gd name="T7" fmla="*/ 16 h 69"/>
                    <a:gd name="T8" fmla="*/ 0 w 80"/>
                    <a:gd name="T9" fmla="*/ 0 h 69"/>
                    <a:gd name="T10" fmla="*/ 37 w 80"/>
                    <a:gd name="T11" fmla="*/ 11 h 69"/>
                    <a:gd name="T12" fmla="*/ 69 w 80"/>
                    <a:gd name="T13" fmla="*/ 43 h 69"/>
                    <a:gd name="T14" fmla="*/ 80 w 80"/>
                    <a:gd name="T15" fmla="*/ 69 h 69"/>
                    <a:gd name="T16" fmla="*/ 69 w 80"/>
                    <a:gd name="T17" fmla="*/ 64 h 69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80"/>
                    <a:gd name="T28" fmla="*/ 0 h 69"/>
                    <a:gd name="T29" fmla="*/ 80 w 80"/>
                    <a:gd name="T30" fmla="*/ 69 h 69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80" h="69">
                      <a:moveTo>
                        <a:pt x="69" y="64"/>
                      </a:moveTo>
                      <a:lnTo>
                        <a:pt x="64" y="53"/>
                      </a:lnTo>
                      <a:lnTo>
                        <a:pt x="32" y="27"/>
                      </a:lnTo>
                      <a:lnTo>
                        <a:pt x="16" y="16"/>
                      </a:lnTo>
                      <a:lnTo>
                        <a:pt x="0" y="0"/>
                      </a:lnTo>
                      <a:lnTo>
                        <a:pt x="37" y="11"/>
                      </a:lnTo>
                      <a:lnTo>
                        <a:pt x="69" y="43"/>
                      </a:lnTo>
                      <a:lnTo>
                        <a:pt x="80" y="69"/>
                      </a:lnTo>
                      <a:lnTo>
                        <a:pt x="69" y="64"/>
                      </a:lnTo>
                      <a:close/>
                    </a:path>
                  </a:pathLst>
                </a:custGeom>
                <a:solidFill>
                  <a:srgbClr val="49557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76" name="Freeform 338"/>
                <p:cNvSpPr>
                  <a:spLocks/>
                </p:cNvSpPr>
                <p:nvPr/>
              </p:nvSpPr>
              <p:spPr bwMode="auto">
                <a:xfrm>
                  <a:off x="4181" y="1098"/>
                  <a:ext cx="272" cy="282"/>
                </a:xfrm>
                <a:custGeom>
                  <a:avLst/>
                  <a:gdLst>
                    <a:gd name="T0" fmla="*/ 123 w 272"/>
                    <a:gd name="T1" fmla="*/ 277 h 282"/>
                    <a:gd name="T2" fmla="*/ 117 w 272"/>
                    <a:gd name="T3" fmla="*/ 267 h 282"/>
                    <a:gd name="T4" fmla="*/ 112 w 272"/>
                    <a:gd name="T5" fmla="*/ 261 h 282"/>
                    <a:gd name="T6" fmla="*/ 112 w 272"/>
                    <a:gd name="T7" fmla="*/ 261 h 282"/>
                    <a:gd name="T8" fmla="*/ 85 w 272"/>
                    <a:gd name="T9" fmla="*/ 267 h 282"/>
                    <a:gd name="T10" fmla="*/ 53 w 272"/>
                    <a:gd name="T11" fmla="*/ 251 h 282"/>
                    <a:gd name="T12" fmla="*/ 64 w 272"/>
                    <a:gd name="T13" fmla="*/ 224 h 282"/>
                    <a:gd name="T14" fmla="*/ 59 w 272"/>
                    <a:gd name="T15" fmla="*/ 224 h 282"/>
                    <a:gd name="T16" fmla="*/ 59 w 272"/>
                    <a:gd name="T17" fmla="*/ 224 h 282"/>
                    <a:gd name="T18" fmla="*/ 22 w 272"/>
                    <a:gd name="T19" fmla="*/ 224 h 282"/>
                    <a:gd name="T20" fmla="*/ 16 w 272"/>
                    <a:gd name="T21" fmla="*/ 197 h 282"/>
                    <a:gd name="T22" fmla="*/ 32 w 272"/>
                    <a:gd name="T23" fmla="*/ 176 h 282"/>
                    <a:gd name="T24" fmla="*/ 27 w 272"/>
                    <a:gd name="T25" fmla="*/ 160 h 282"/>
                    <a:gd name="T26" fmla="*/ 0 w 272"/>
                    <a:gd name="T27" fmla="*/ 155 h 282"/>
                    <a:gd name="T28" fmla="*/ 0 w 272"/>
                    <a:gd name="T29" fmla="*/ 123 h 282"/>
                    <a:gd name="T30" fmla="*/ 6 w 272"/>
                    <a:gd name="T31" fmla="*/ 123 h 282"/>
                    <a:gd name="T32" fmla="*/ 11 w 272"/>
                    <a:gd name="T33" fmla="*/ 123 h 282"/>
                    <a:gd name="T34" fmla="*/ 27 w 272"/>
                    <a:gd name="T35" fmla="*/ 117 h 282"/>
                    <a:gd name="T36" fmla="*/ 32 w 272"/>
                    <a:gd name="T37" fmla="*/ 101 h 282"/>
                    <a:gd name="T38" fmla="*/ 16 w 272"/>
                    <a:gd name="T39" fmla="*/ 86 h 282"/>
                    <a:gd name="T40" fmla="*/ 32 w 272"/>
                    <a:gd name="T41" fmla="*/ 59 h 282"/>
                    <a:gd name="T42" fmla="*/ 53 w 272"/>
                    <a:gd name="T43" fmla="*/ 64 h 282"/>
                    <a:gd name="T44" fmla="*/ 59 w 272"/>
                    <a:gd name="T45" fmla="*/ 22 h 282"/>
                    <a:gd name="T46" fmla="*/ 80 w 272"/>
                    <a:gd name="T47" fmla="*/ 11 h 282"/>
                    <a:gd name="T48" fmla="*/ 101 w 272"/>
                    <a:gd name="T49" fmla="*/ 32 h 282"/>
                    <a:gd name="T50" fmla="*/ 112 w 272"/>
                    <a:gd name="T51" fmla="*/ 32 h 282"/>
                    <a:gd name="T52" fmla="*/ 123 w 272"/>
                    <a:gd name="T53" fmla="*/ 0 h 282"/>
                    <a:gd name="T54" fmla="*/ 155 w 272"/>
                    <a:gd name="T55" fmla="*/ 0 h 282"/>
                    <a:gd name="T56" fmla="*/ 160 w 272"/>
                    <a:gd name="T57" fmla="*/ 32 h 282"/>
                    <a:gd name="T58" fmla="*/ 170 w 272"/>
                    <a:gd name="T59" fmla="*/ 32 h 282"/>
                    <a:gd name="T60" fmla="*/ 186 w 272"/>
                    <a:gd name="T61" fmla="*/ 11 h 282"/>
                    <a:gd name="T62" fmla="*/ 218 w 272"/>
                    <a:gd name="T63" fmla="*/ 32 h 282"/>
                    <a:gd name="T64" fmla="*/ 224 w 272"/>
                    <a:gd name="T65" fmla="*/ 64 h 282"/>
                    <a:gd name="T66" fmla="*/ 250 w 272"/>
                    <a:gd name="T67" fmla="*/ 59 h 282"/>
                    <a:gd name="T68" fmla="*/ 250 w 272"/>
                    <a:gd name="T69" fmla="*/ 59 h 282"/>
                    <a:gd name="T70" fmla="*/ 250 w 272"/>
                    <a:gd name="T71" fmla="*/ 64 h 282"/>
                    <a:gd name="T72" fmla="*/ 250 w 272"/>
                    <a:gd name="T73" fmla="*/ 70 h 282"/>
                    <a:gd name="T74" fmla="*/ 256 w 272"/>
                    <a:gd name="T75" fmla="*/ 75 h 282"/>
                    <a:gd name="T76" fmla="*/ 240 w 272"/>
                    <a:gd name="T77" fmla="*/ 107 h 282"/>
                    <a:gd name="T78" fmla="*/ 245 w 272"/>
                    <a:gd name="T79" fmla="*/ 117 h 282"/>
                    <a:gd name="T80" fmla="*/ 272 w 272"/>
                    <a:gd name="T81" fmla="*/ 123 h 282"/>
                    <a:gd name="T82" fmla="*/ 272 w 272"/>
                    <a:gd name="T83" fmla="*/ 149 h 282"/>
                    <a:gd name="T84" fmla="*/ 245 w 272"/>
                    <a:gd name="T85" fmla="*/ 160 h 282"/>
                    <a:gd name="T86" fmla="*/ 240 w 272"/>
                    <a:gd name="T87" fmla="*/ 176 h 282"/>
                    <a:gd name="T88" fmla="*/ 256 w 272"/>
                    <a:gd name="T89" fmla="*/ 197 h 282"/>
                    <a:gd name="T90" fmla="*/ 245 w 272"/>
                    <a:gd name="T91" fmla="*/ 224 h 282"/>
                    <a:gd name="T92" fmla="*/ 218 w 272"/>
                    <a:gd name="T93" fmla="*/ 219 h 282"/>
                    <a:gd name="T94" fmla="*/ 218 w 272"/>
                    <a:gd name="T95" fmla="*/ 256 h 282"/>
                    <a:gd name="T96" fmla="*/ 192 w 272"/>
                    <a:gd name="T97" fmla="*/ 272 h 282"/>
                    <a:gd name="T98" fmla="*/ 170 w 272"/>
                    <a:gd name="T99" fmla="*/ 251 h 282"/>
                    <a:gd name="T100" fmla="*/ 155 w 272"/>
                    <a:gd name="T101" fmla="*/ 256 h 282"/>
                    <a:gd name="T102" fmla="*/ 155 w 272"/>
                    <a:gd name="T103" fmla="*/ 282 h 282"/>
                    <a:gd name="T104" fmla="*/ 128 w 272"/>
                    <a:gd name="T105" fmla="*/ 282 h 282"/>
                    <a:gd name="T106" fmla="*/ 123 w 272"/>
                    <a:gd name="T107" fmla="*/ 277 h 282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272"/>
                    <a:gd name="T163" fmla="*/ 0 h 282"/>
                    <a:gd name="T164" fmla="*/ 272 w 272"/>
                    <a:gd name="T165" fmla="*/ 282 h 282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272" h="282">
                      <a:moveTo>
                        <a:pt x="123" y="277"/>
                      </a:moveTo>
                      <a:lnTo>
                        <a:pt x="117" y="267"/>
                      </a:lnTo>
                      <a:lnTo>
                        <a:pt x="112" y="261"/>
                      </a:lnTo>
                      <a:lnTo>
                        <a:pt x="85" y="267"/>
                      </a:lnTo>
                      <a:lnTo>
                        <a:pt x="53" y="251"/>
                      </a:lnTo>
                      <a:lnTo>
                        <a:pt x="64" y="224"/>
                      </a:lnTo>
                      <a:lnTo>
                        <a:pt x="59" y="224"/>
                      </a:lnTo>
                      <a:lnTo>
                        <a:pt x="22" y="224"/>
                      </a:lnTo>
                      <a:lnTo>
                        <a:pt x="16" y="197"/>
                      </a:lnTo>
                      <a:lnTo>
                        <a:pt x="32" y="176"/>
                      </a:lnTo>
                      <a:lnTo>
                        <a:pt x="27" y="160"/>
                      </a:lnTo>
                      <a:lnTo>
                        <a:pt x="0" y="155"/>
                      </a:lnTo>
                      <a:lnTo>
                        <a:pt x="0" y="123"/>
                      </a:lnTo>
                      <a:lnTo>
                        <a:pt x="6" y="123"/>
                      </a:lnTo>
                      <a:lnTo>
                        <a:pt x="11" y="123"/>
                      </a:lnTo>
                      <a:lnTo>
                        <a:pt x="27" y="117"/>
                      </a:lnTo>
                      <a:lnTo>
                        <a:pt x="32" y="101"/>
                      </a:lnTo>
                      <a:lnTo>
                        <a:pt x="16" y="86"/>
                      </a:lnTo>
                      <a:lnTo>
                        <a:pt x="32" y="59"/>
                      </a:lnTo>
                      <a:lnTo>
                        <a:pt x="53" y="64"/>
                      </a:lnTo>
                      <a:lnTo>
                        <a:pt x="59" y="22"/>
                      </a:lnTo>
                      <a:lnTo>
                        <a:pt x="80" y="11"/>
                      </a:lnTo>
                      <a:lnTo>
                        <a:pt x="101" y="32"/>
                      </a:lnTo>
                      <a:lnTo>
                        <a:pt x="112" y="32"/>
                      </a:lnTo>
                      <a:lnTo>
                        <a:pt x="123" y="0"/>
                      </a:lnTo>
                      <a:lnTo>
                        <a:pt x="155" y="0"/>
                      </a:lnTo>
                      <a:lnTo>
                        <a:pt x="160" y="32"/>
                      </a:lnTo>
                      <a:lnTo>
                        <a:pt x="170" y="32"/>
                      </a:lnTo>
                      <a:lnTo>
                        <a:pt x="186" y="11"/>
                      </a:lnTo>
                      <a:lnTo>
                        <a:pt x="218" y="32"/>
                      </a:lnTo>
                      <a:lnTo>
                        <a:pt x="224" y="64"/>
                      </a:lnTo>
                      <a:lnTo>
                        <a:pt x="250" y="59"/>
                      </a:lnTo>
                      <a:lnTo>
                        <a:pt x="250" y="64"/>
                      </a:lnTo>
                      <a:lnTo>
                        <a:pt x="250" y="70"/>
                      </a:lnTo>
                      <a:lnTo>
                        <a:pt x="256" y="75"/>
                      </a:lnTo>
                      <a:lnTo>
                        <a:pt x="240" y="107"/>
                      </a:lnTo>
                      <a:lnTo>
                        <a:pt x="245" y="117"/>
                      </a:lnTo>
                      <a:lnTo>
                        <a:pt x="272" y="123"/>
                      </a:lnTo>
                      <a:lnTo>
                        <a:pt x="272" y="149"/>
                      </a:lnTo>
                      <a:lnTo>
                        <a:pt x="245" y="160"/>
                      </a:lnTo>
                      <a:lnTo>
                        <a:pt x="240" y="176"/>
                      </a:lnTo>
                      <a:lnTo>
                        <a:pt x="256" y="197"/>
                      </a:lnTo>
                      <a:lnTo>
                        <a:pt x="245" y="224"/>
                      </a:lnTo>
                      <a:lnTo>
                        <a:pt x="218" y="219"/>
                      </a:lnTo>
                      <a:lnTo>
                        <a:pt x="218" y="256"/>
                      </a:lnTo>
                      <a:lnTo>
                        <a:pt x="192" y="272"/>
                      </a:lnTo>
                      <a:lnTo>
                        <a:pt x="170" y="251"/>
                      </a:lnTo>
                      <a:lnTo>
                        <a:pt x="155" y="256"/>
                      </a:lnTo>
                      <a:lnTo>
                        <a:pt x="155" y="282"/>
                      </a:lnTo>
                      <a:lnTo>
                        <a:pt x="128" y="282"/>
                      </a:lnTo>
                      <a:lnTo>
                        <a:pt x="123" y="277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77" name="Freeform 339"/>
                <p:cNvSpPr>
                  <a:spLocks/>
                </p:cNvSpPr>
                <p:nvPr/>
              </p:nvSpPr>
              <p:spPr bwMode="auto">
                <a:xfrm>
                  <a:off x="4192" y="1104"/>
                  <a:ext cx="266" cy="282"/>
                </a:xfrm>
                <a:custGeom>
                  <a:avLst/>
                  <a:gdLst>
                    <a:gd name="T0" fmla="*/ 117 w 266"/>
                    <a:gd name="T1" fmla="*/ 276 h 282"/>
                    <a:gd name="T2" fmla="*/ 112 w 266"/>
                    <a:gd name="T3" fmla="*/ 261 h 282"/>
                    <a:gd name="T4" fmla="*/ 106 w 266"/>
                    <a:gd name="T5" fmla="*/ 261 h 282"/>
                    <a:gd name="T6" fmla="*/ 106 w 266"/>
                    <a:gd name="T7" fmla="*/ 261 h 282"/>
                    <a:gd name="T8" fmla="*/ 85 w 266"/>
                    <a:gd name="T9" fmla="*/ 261 h 282"/>
                    <a:gd name="T10" fmla="*/ 53 w 266"/>
                    <a:gd name="T11" fmla="*/ 250 h 282"/>
                    <a:gd name="T12" fmla="*/ 58 w 266"/>
                    <a:gd name="T13" fmla="*/ 223 h 282"/>
                    <a:gd name="T14" fmla="*/ 58 w 266"/>
                    <a:gd name="T15" fmla="*/ 218 h 282"/>
                    <a:gd name="T16" fmla="*/ 58 w 266"/>
                    <a:gd name="T17" fmla="*/ 218 h 282"/>
                    <a:gd name="T18" fmla="*/ 21 w 266"/>
                    <a:gd name="T19" fmla="*/ 218 h 282"/>
                    <a:gd name="T20" fmla="*/ 11 w 266"/>
                    <a:gd name="T21" fmla="*/ 197 h 282"/>
                    <a:gd name="T22" fmla="*/ 27 w 266"/>
                    <a:gd name="T23" fmla="*/ 175 h 282"/>
                    <a:gd name="T24" fmla="*/ 21 w 266"/>
                    <a:gd name="T25" fmla="*/ 159 h 282"/>
                    <a:gd name="T26" fmla="*/ 0 w 266"/>
                    <a:gd name="T27" fmla="*/ 149 h 282"/>
                    <a:gd name="T28" fmla="*/ 0 w 266"/>
                    <a:gd name="T29" fmla="*/ 122 h 282"/>
                    <a:gd name="T30" fmla="*/ 0 w 266"/>
                    <a:gd name="T31" fmla="*/ 122 h 282"/>
                    <a:gd name="T32" fmla="*/ 5 w 266"/>
                    <a:gd name="T33" fmla="*/ 122 h 282"/>
                    <a:gd name="T34" fmla="*/ 21 w 266"/>
                    <a:gd name="T35" fmla="*/ 117 h 282"/>
                    <a:gd name="T36" fmla="*/ 27 w 266"/>
                    <a:gd name="T37" fmla="*/ 95 h 282"/>
                    <a:gd name="T38" fmla="*/ 11 w 266"/>
                    <a:gd name="T39" fmla="*/ 85 h 282"/>
                    <a:gd name="T40" fmla="*/ 27 w 266"/>
                    <a:gd name="T41" fmla="*/ 53 h 282"/>
                    <a:gd name="T42" fmla="*/ 53 w 266"/>
                    <a:gd name="T43" fmla="*/ 64 h 282"/>
                    <a:gd name="T44" fmla="*/ 58 w 266"/>
                    <a:gd name="T45" fmla="*/ 21 h 282"/>
                    <a:gd name="T46" fmla="*/ 74 w 266"/>
                    <a:gd name="T47" fmla="*/ 10 h 282"/>
                    <a:gd name="T48" fmla="*/ 96 w 266"/>
                    <a:gd name="T49" fmla="*/ 26 h 282"/>
                    <a:gd name="T50" fmla="*/ 106 w 266"/>
                    <a:gd name="T51" fmla="*/ 26 h 282"/>
                    <a:gd name="T52" fmla="*/ 117 w 266"/>
                    <a:gd name="T53" fmla="*/ 0 h 282"/>
                    <a:gd name="T54" fmla="*/ 149 w 266"/>
                    <a:gd name="T55" fmla="*/ 0 h 282"/>
                    <a:gd name="T56" fmla="*/ 159 w 266"/>
                    <a:gd name="T57" fmla="*/ 26 h 282"/>
                    <a:gd name="T58" fmla="*/ 170 w 266"/>
                    <a:gd name="T59" fmla="*/ 26 h 282"/>
                    <a:gd name="T60" fmla="*/ 186 w 266"/>
                    <a:gd name="T61" fmla="*/ 10 h 282"/>
                    <a:gd name="T62" fmla="*/ 213 w 266"/>
                    <a:gd name="T63" fmla="*/ 26 h 282"/>
                    <a:gd name="T64" fmla="*/ 218 w 266"/>
                    <a:gd name="T65" fmla="*/ 64 h 282"/>
                    <a:gd name="T66" fmla="*/ 245 w 266"/>
                    <a:gd name="T67" fmla="*/ 53 h 282"/>
                    <a:gd name="T68" fmla="*/ 245 w 266"/>
                    <a:gd name="T69" fmla="*/ 58 h 282"/>
                    <a:gd name="T70" fmla="*/ 245 w 266"/>
                    <a:gd name="T71" fmla="*/ 64 h 282"/>
                    <a:gd name="T72" fmla="*/ 245 w 266"/>
                    <a:gd name="T73" fmla="*/ 64 h 282"/>
                    <a:gd name="T74" fmla="*/ 250 w 266"/>
                    <a:gd name="T75" fmla="*/ 69 h 282"/>
                    <a:gd name="T76" fmla="*/ 239 w 266"/>
                    <a:gd name="T77" fmla="*/ 101 h 282"/>
                    <a:gd name="T78" fmla="*/ 245 w 266"/>
                    <a:gd name="T79" fmla="*/ 117 h 282"/>
                    <a:gd name="T80" fmla="*/ 266 w 266"/>
                    <a:gd name="T81" fmla="*/ 122 h 282"/>
                    <a:gd name="T82" fmla="*/ 266 w 266"/>
                    <a:gd name="T83" fmla="*/ 143 h 282"/>
                    <a:gd name="T84" fmla="*/ 245 w 266"/>
                    <a:gd name="T85" fmla="*/ 159 h 282"/>
                    <a:gd name="T86" fmla="*/ 239 w 266"/>
                    <a:gd name="T87" fmla="*/ 175 h 282"/>
                    <a:gd name="T88" fmla="*/ 255 w 266"/>
                    <a:gd name="T89" fmla="*/ 191 h 282"/>
                    <a:gd name="T90" fmla="*/ 245 w 266"/>
                    <a:gd name="T91" fmla="*/ 218 h 282"/>
                    <a:gd name="T92" fmla="*/ 213 w 266"/>
                    <a:gd name="T93" fmla="*/ 213 h 282"/>
                    <a:gd name="T94" fmla="*/ 213 w 266"/>
                    <a:gd name="T95" fmla="*/ 255 h 282"/>
                    <a:gd name="T96" fmla="*/ 191 w 266"/>
                    <a:gd name="T97" fmla="*/ 266 h 282"/>
                    <a:gd name="T98" fmla="*/ 170 w 266"/>
                    <a:gd name="T99" fmla="*/ 250 h 282"/>
                    <a:gd name="T100" fmla="*/ 154 w 266"/>
                    <a:gd name="T101" fmla="*/ 255 h 282"/>
                    <a:gd name="T102" fmla="*/ 149 w 266"/>
                    <a:gd name="T103" fmla="*/ 282 h 282"/>
                    <a:gd name="T104" fmla="*/ 128 w 266"/>
                    <a:gd name="T105" fmla="*/ 282 h 282"/>
                    <a:gd name="T106" fmla="*/ 117 w 266"/>
                    <a:gd name="T107" fmla="*/ 276 h 282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266"/>
                    <a:gd name="T163" fmla="*/ 0 h 282"/>
                    <a:gd name="T164" fmla="*/ 266 w 266"/>
                    <a:gd name="T165" fmla="*/ 282 h 282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266" h="282">
                      <a:moveTo>
                        <a:pt x="117" y="276"/>
                      </a:moveTo>
                      <a:lnTo>
                        <a:pt x="112" y="261"/>
                      </a:lnTo>
                      <a:lnTo>
                        <a:pt x="106" y="261"/>
                      </a:lnTo>
                      <a:lnTo>
                        <a:pt x="85" y="261"/>
                      </a:lnTo>
                      <a:lnTo>
                        <a:pt x="53" y="250"/>
                      </a:lnTo>
                      <a:lnTo>
                        <a:pt x="58" y="223"/>
                      </a:lnTo>
                      <a:lnTo>
                        <a:pt x="58" y="218"/>
                      </a:lnTo>
                      <a:lnTo>
                        <a:pt x="21" y="218"/>
                      </a:lnTo>
                      <a:lnTo>
                        <a:pt x="11" y="197"/>
                      </a:lnTo>
                      <a:lnTo>
                        <a:pt x="27" y="175"/>
                      </a:lnTo>
                      <a:lnTo>
                        <a:pt x="21" y="159"/>
                      </a:lnTo>
                      <a:lnTo>
                        <a:pt x="0" y="149"/>
                      </a:lnTo>
                      <a:lnTo>
                        <a:pt x="0" y="122"/>
                      </a:lnTo>
                      <a:lnTo>
                        <a:pt x="5" y="122"/>
                      </a:lnTo>
                      <a:lnTo>
                        <a:pt x="21" y="117"/>
                      </a:lnTo>
                      <a:lnTo>
                        <a:pt x="27" y="95"/>
                      </a:lnTo>
                      <a:lnTo>
                        <a:pt x="11" y="85"/>
                      </a:lnTo>
                      <a:lnTo>
                        <a:pt x="27" y="53"/>
                      </a:lnTo>
                      <a:lnTo>
                        <a:pt x="53" y="64"/>
                      </a:lnTo>
                      <a:lnTo>
                        <a:pt x="58" y="21"/>
                      </a:lnTo>
                      <a:lnTo>
                        <a:pt x="74" y="10"/>
                      </a:lnTo>
                      <a:lnTo>
                        <a:pt x="96" y="26"/>
                      </a:lnTo>
                      <a:lnTo>
                        <a:pt x="106" y="26"/>
                      </a:lnTo>
                      <a:lnTo>
                        <a:pt x="117" y="0"/>
                      </a:lnTo>
                      <a:lnTo>
                        <a:pt x="149" y="0"/>
                      </a:lnTo>
                      <a:lnTo>
                        <a:pt x="159" y="26"/>
                      </a:lnTo>
                      <a:lnTo>
                        <a:pt x="170" y="26"/>
                      </a:lnTo>
                      <a:lnTo>
                        <a:pt x="186" y="10"/>
                      </a:lnTo>
                      <a:lnTo>
                        <a:pt x="213" y="26"/>
                      </a:lnTo>
                      <a:lnTo>
                        <a:pt x="218" y="64"/>
                      </a:lnTo>
                      <a:lnTo>
                        <a:pt x="245" y="53"/>
                      </a:lnTo>
                      <a:lnTo>
                        <a:pt x="245" y="58"/>
                      </a:lnTo>
                      <a:lnTo>
                        <a:pt x="245" y="64"/>
                      </a:lnTo>
                      <a:lnTo>
                        <a:pt x="250" y="69"/>
                      </a:lnTo>
                      <a:lnTo>
                        <a:pt x="239" y="101"/>
                      </a:lnTo>
                      <a:lnTo>
                        <a:pt x="245" y="117"/>
                      </a:lnTo>
                      <a:lnTo>
                        <a:pt x="266" y="122"/>
                      </a:lnTo>
                      <a:lnTo>
                        <a:pt x="266" y="143"/>
                      </a:lnTo>
                      <a:lnTo>
                        <a:pt x="245" y="159"/>
                      </a:lnTo>
                      <a:lnTo>
                        <a:pt x="239" y="175"/>
                      </a:lnTo>
                      <a:lnTo>
                        <a:pt x="255" y="191"/>
                      </a:lnTo>
                      <a:lnTo>
                        <a:pt x="245" y="218"/>
                      </a:lnTo>
                      <a:lnTo>
                        <a:pt x="213" y="213"/>
                      </a:lnTo>
                      <a:lnTo>
                        <a:pt x="213" y="255"/>
                      </a:lnTo>
                      <a:lnTo>
                        <a:pt x="191" y="266"/>
                      </a:lnTo>
                      <a:lnTo>
                        <a:pt x="170" y="250"/>
                      </a:lnTo>
                      <a:lnTo>
                        <a:pt x="154" y="255"/>
                      </a:lnTo>
                      <a:lnTo>
                        <a:pt x="149" y="282"/>
                      </a:lnTo>
                      <a:lnTo>
                        <a:pt x="128" y="282"/>
                      </a:lnTo>
                      <a:lnTo>
                        <a:pt x="117" y="276"/>
                      </a:lnTo>
                      <a:close/>
                    </a:path>
                  </a:pathLst>
                </a:custGeom>
                <a:solidFill>
                  <a:srgbClr val="96594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78" name="Freeform 340"/>
                <p:cNvSpPr>
                  <a:spLocks/>
                </p:cNvSpPr>
                <p:nvPr/>
              </p:nvSpPr>
              <p:spPr bwMode="auto">
                <a:xfrm>
                  <a:off x="4660" y="1333"/>
                  <a:ext cx="37" cy="26"/>
                </a:xfrm>
                <a:custGeom>
                  <a:avLst/>
                  <a:gdLst>
                    <a:gd name="T0" fmla="*/ 21 w 37"/>
                    <a:gd name="T1" fmla="*/ 21 h 26"/>
                    <a:gd name="T2" fmla="*/ 0 w 37"/>
                    <a:gd name="T3" fmla="*/ 10 h 26"/>
                    <a:gd name="T4" fmla="*/ 0 w 37"/>
                    <a:gd name="T5" fmla="*/ 0 h 26"/>
                    <a:gd name="T6" fmla="*/ 0 w 37"/>
                    <a:gd name="T7" fmla="*/ 0 h 26"/>
                    <a:gd name="T8" fmla="*/ 37 w 37"/>
                    <a:gd name="T9" fmla="*/ 26 h 26"/>
                    <a:gd name="T10" fmla="*/ 21 w 37"/>
                    <a:gd name="T11" fmla="*/ 21 h 2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7"/>
                    <a:gd name="T19" fmla="*/ 0 h 26"/>
                    <a:gd name="T20" fmla="*/ 37 w 37"/>
                    <a:gd name="T21" fmla="*/ 26 h 2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7" h="26">
                      <a:moveTo>
                        <a:pt x="21" y="21"/>
                      </a:moveTo>
                      <a:lnTo>
                        <a:pt x="0" y="10"/>
                      </a:lnTo>
                      <a:lnTo>
                        <a:pt x="0" y="0"/>
                      </a:lnTo>
                      <a:lnTo>
                        <a:pt x="37" y="26"/>
                      </a:lnTo>
                      <a:lnTo>
                        <a:pt x="21" y="21"/>
                      </a:lnTo>
                      <a:close/>
                    </a:path>
                  </a:pathLst>
                </a:custGeom>
                <a:solidFill>
                  <a:srgbClr val="49557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79" name="Freeform 341"/>
                <p:cNvSpPr>
                  <a:spLocks/>
                </p:cNvSpPr>
                <p:nvPr/>
              </p:nvSpPr>
              <p:spPr bwMode="auto">
                <a:xfrm>
                  <a:off x="4234" y="1157"/>
                  <a:ext cx="160" cy="165"/>
                </a:xfrm>
                <a:custGeom>
                  <a:avLst/>
                  <a:gdLst>
                    <a:gd name="T0" fmla="*/ 59 w 160"/>
                    <a:gd name="T1" fmla="*/ 165 h 165"/>
                    <a:gd name="T2" fmla="*/ 48 w 160"/>
                    <a:gd name="T3" fmla="*/ 165 h 165"/>
                    <a:gd name="T4" fmla="*/ 6 w 160"/>
                    <a:gd name="T5" fmla="*/ 128 h 165"/>
                    <a:gd name="T6" fmla="*/ 0 w 160"/>
                    <a:gd name="T7" fmla="*/ 101 h 165"/>
                    <a:gd name="T8" fmla="*/ 0 w 160"/>
                    <a:gd name="T9" fmla="*/ 64 h 165"/>
                    <a:gd name="T10" fmla="*/ 27 w 160"/>
                    <a:gd name="T11" fmla="*/ 16 h 165"/>
                    <a:gd name="T12" fmla="*/ 27 w 160"/>
                    <a:gd name="T13" fmla="*/ 16 h 165"/>
                    <a:gd name="T14" fmla="*/ 32 w 160"/>
                    <a:gd name="T15" fmla="*/ 16 h 165"/>
                    <a:gd name="T16" fmla="*/ 86 w 160"/>
                    <a:gd name="T17" fmla="*/ 0 h 165"/>
                    <a:gd name="T18" fmla="*/ 112 w 160"/>
                    <a:gd name="T19" fmla="*/ 0 h 165"/>
                    <a:gd name="T20" fmla="*/ 149 w 160"/>
                    <a:gd name="T21" fmla="*/ 27 h 165"/>
                    <a:gd name="T22" fmla="*/ 155 w 160"/>
                    <a:gd name="T23" fmla="*/ 48 h 165"/>
                    <a:gd name="T24" fmla="*/ 160 w 160"/>
                    <a:gd name="T25" fmla="*/ 85 h 165"/>
                    <a:gd name="T26" fmla="*/ 155 w 160"/>
                    <a:gd name="T27" fmla="*/ 101 h 165"/>
                    <a:gd name="T28" fmla="*/ 149 w 160"/>
                    <a:gd name="T29" fmla="*/ 122 h 165"/>
                    <a:gd name="T30" fmla="*/ 133 w 160"/>
                    <a:gd name="T31" fmla="*/ 144 h 165"/>
                    <a:gd name="T32" fmla="*/ 117 w 160"/>
                    <a:gd name="T33" fmla="*/ 160 h 165"/>
                    <a:gd name="T34" fmla="*/ 70 w 160"/>
                    <a:gd name="T35" fmla="*/ 165 h 165"/>
                    <a:gd name="T36" fmla="*/ 59 w 160"/>
                    <a:gd name="T37" fmla="*/ 165 h 165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160"/>
                    <a:gd name="T58" fmla="*/ 0 h 165"/>
                    <a:gd name="T59" fmla="*/ 160 w 160"/>
                    <a:gd name="T60" fmla="*/ 165 h 165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160" h="165">
                      <a:moveTo>
                        <a:pt x="59" y="165"/>
                      </a:moveTo>
                      <a:lnTo>
                        <a:pt x="48" y="165"/>
                      </a:lnTo>
                      <a:lnTo>
                        <a:pt x="6" y="128"/>
                      </a:lnTo>
                      <a:lnTo>
                        <a:pt x="0" y="101"/>
                      </a:lnTo>
                      <a:lnTo>
                        <a:pt x="0" y="64"/>
                      </a:lnTo>
                      <a:lnTo>
                        <a:pt x="27" y="16"/>
                      </a:lnTo>
                      <a:lnTo>
                        <a:pt x="32" y="16"/>
                      </a:lnTo>
                      <a:lnTo>
                        <a:pt x="86" y="0"/>
                      </a:lnTo>
                      <a:lnTo>
                        <a:pt x="112" y="0"/>
                      </a:lnTo>
                      <a:lnTo>
                        <a:pt x="149" y="27"/>
                      </a:lnTo>
                      <a:lnTo>
                        <a:pt x="155" y="48"/>
                      </a:lnTo>
                      <a:lnTo>
                        <a:pt x="160" y="85"/>
                      </a:lnTo>
                      <a:lnTo>
                        <a:pt x="155" y="101"/>
                      </a:lnTo>
                      <a:lnTo>
                        <a:pt x="149" y="122"/>
                      </a:lnTo>
                      <a:lnTo>
                        <a:pt x="133" y="144"/>
                      </a:lnTo>
                      <a:lnTo>
                        <a:pt x="117" y="160"/>
                      </a:lnTo>
                      <a:lnTo>
                        <a:pt x="70" y="165"/>
                      </a:lnTo>
                      <a:lnTo>
                        <a:pt x="59" y="165"/>
                      </a:lnTo>
                      <a:close/>
                    </a:path>
                  </a:pathLst>
                </a:custGeom>
                <a:solidFill>
                  <a:srgbClr val="61BFF3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80" name="Freeform 342"/>
                <p:cNvSpPr>
                  <a:spLocks/>
                </p:cNvSpPr>
                <p:nvPr/>
              </p:nvSpPr>
              <p:spPr bwMode="auto">
                <a:xfrm>
                  <a:off x="4639" y="1253"/>
                  <a:ext cx="21" cy="21"/>
                </a:xfrm>
                <a:custGeom>
                  <a:avLst/>
                  <a:gdLst>
                    <a:gd name="T0" fmla="*/ 0 w 21"/>
                    <a:gd name="T1" fmla="*/ 21 h 21"/>
                    <a:gd name="T2" fmla="*/ 0 w 21"/>
                    <a:gd name="T3" fmla="*/ 0 h 21"/>
                    <a:gd name="T4" fmla="*/ 21 w 21"/>
                    <a:gd name="T5" fmla="*/ 0 h 21"/>
                    <a:gd name="T6" fmla="*/ 10 w 21"/>
                    <a:gd name="T7" fmla="*/ 21 h 21"/>
                    <a:gd name="T8" fmla="*/ 0 w 21"/>
                    <a:gd name="T9" fmla="*/ 21 h 2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1"/>
                    <a:gd name="T16" fmla="*/ 0 h 21"/>
                    <a:gd name="T17" fmla="*/ 21 w 21"/>
                    <a:gd name="T18" fmla="*/ 21 h 2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1" h="21">
                      <a:moveTo>
                        <a:pt x="0" y="21"/>
                      </a:moveTo>
                      <a:lnTo>
                        <a:pt x="0" y="0"/>
                      </a:lnTo>
                      <a:lnTo>
                        <a:pt x="21" y="0"/>
                      </a:lnTo>
                      <a:lnTo>
                        <a:pt x="10" y="21"/>
                      </a:lnTo>
                      <a:lnTo>
                        <a:pt x="0" y="21"/>
                      </a:lnTo>
                      <a:close/>
                    </a:path>
                  </a:pathLst>
                </a:custGeom>
                <a:solidFill>
                  <a:srgbClr val="49557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81" name="Freeform 343"/>
                <p:cNvSpPr>
                  <a:spLocks/>
                </p:cNvSpPr>
                <p:nvPr/>
              </p:nvSpPr>
              <p:spPr bwMode="auto">
                <a:xfrm>
                  <a:off x="4282" y="1205"/>
                  <a:ext cx="54" cy="58"/>
                </a:xfrm>
                <a:custGeom>
                  <a:avLst/>
                  <a:gdLst>
                    <a:gd name="T0" fmla="*/ 11 w 54"/>
                    <a:gd name="T1" fmla="*/ 53 h 58"/>
                    <a:gd name="T2" fmla="*/ 11 w 54"/>
                    <a:gd name="T3" fmla="*/ 53 h 58"/>
                    <a:gd name="T4" fmla="*/ 6 w 54"/>
                    <a:gd name="T5" fmla="*/ 48 h 58"/>
                    <a:gd name="T6" fmla="*/ 6 w 54"/>
                    <a:gd name="T7" fmla="*/ 48 h 58"/>
                    <a:gd name="T8" fmla="*/ 0 w 54"/>
                    <a:gd name="T9" fmla="*/ 37 h 58"/>
                    <a:gd name="T10" fmla="*/ 0 w 54"/>
                    <a:gd name="T11" fmla="*/ 37 h 58"/>
                    <a:gd name="T12" fmla="*/ 22 w 54"/>
                    <a:gd name="T13" fmla="*/ 0 h 58"/>
                    <a:gd name="T14" fmla="*/ 32 w 54"/>
                    <a:gd name="T15" fmla="*/ 0 h 58"/>
                    <a:gd name="T16" fmla="*/ 54 w 54"/>
                    <a:gd name="T17" fmla="*/ 21 h 58"/>
                    <a:gd name="T18" fmla="*/ 43 w 54"/>
                    <a:gd name="T19" fmla="*/ 48 h 58"/>
                    <a:gd name="T20" fmla="*/ 22 w 54"/>
                    <a:gd name="T21" fmla="*/ 58 h 58"/>
                    <a:gd name="T22" fmla="*/ 11 w 54"/>
                    <a:gd name="T23" fmla="*/ 53 h 5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54"/>
                    <a:gd name="T37" fmla="*/ 0 h 58"/>
                    <a:gd name="T38" fmla="*/ 54 w 54"/>
                    <a:gd name="T39" fmla="*/ 58 h 5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54" h="58">
                      <a:moveTo>
                        <a:pt x="11" y="53"/>
                      </a:moveTo>
                      <a:lnTo>
                        <a:pt x="11" y="53"/>
                      </a:lnTo>
                      <a:lnTo>
                        <a:pt x="6" y="48"/>
                      </a:lnTo>
                      <a:lnTo>
                        <a:pt x="0" y="37"/>
                      </a:lnTo>
                      <a:lnTo>
                        <a:pt x="22" y="0"/>
                      </a:lnTo>
                      <a:lnTo>
                        <a:pt x="32" y="0"/>
                      </a:lnTo>
                      <a:lnTo>
                        <a:pt x="54" y="21"/>
                      </a:lnTo>
                      <a:lnTo>
                        <a:pt x="43" y="48"/>
                      </a:lnTo>
                      <a:lnTo>
                        <a:pt x="22" y="58"/>
                      </a:lnTo>
                      <a:lnTo>
                        <a:pt x="11" y="53"/>
                      </a:lnTo>
                      <a:close/>
                    </a:path>
                  </a:pathLst>
                </a:custGeom>
                <a:solidFill>
                  <a:srgbClr val="504A5D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82" name="Freeform 344"/>
                <p:cNvSpPr>
                  <a:spLocks/>
                </p:cNvSpPr>
                <p:nvPr/>
              </p:nvSpPr>
              <p:spPr bwMode="auto">
                <a:xfrm>
                  <a:off x="4437" y="1120"/>
                  <a:ext cx="58" cy="106"/>
                </a:xfrm>
                <a:custGeom>
                  <a:avLst/>
                  <a:gdLst>
                    <a:gd name="T0" fmla="*/ 42 w 58"/>
                    <a:gd name="T1" fmla="*/ 106 h 106"/>
                    <a:gd name="T2" fmla="*/ 42 w 58"/>
                    <a:gd name="T3" fmla="*/ 64 h 106"/>
                    <a:gd name="T4" fmla="*/ 31 w 58"/>
                    <a:gd name="T5" fmla="*/ 37 h 106"/>
                    <a:gd name="T6" fmla="*/ 16 w 58"/>
                    <a:gd name="T7" fmla="*/ 16 h 106"/>
                    <a:gd name="T8" fmla="*/ 10 w 58"/>
                    <a:gd name="T9" fmla="*/ 16 h 106"/>
                    <a:gd name="T10" fmla="*/ 10 w 58"/>
                    <a:gd name="T11" fmla="*/ 16 h 106"/>
                    <a:gd name="T12" fmla="*/ 0 w 58"/>
                    <a:gd name="T13" fmla="*/ 10 h 106"/>
                    <a:gd name="T14" fmla="*/ 0 w 58"/>
                    <a:gd name="T15" fmla="*/ 10 h 106"/>
                    <a:gd name="T16" fmla="*/ 5 w 58"/>
                    <a:gd name="T17" fmla="*/ 0 h 106"/>
                    <a:gd name="T18" fmla="*/ 10 w 58"/>
                    <a:gd name="T19" fmla="*/ 0 h 106"/>
                    <a:gd name="T20" fmla="*/ 42 w 58"/>
                    <a:gd name="T21" fmla="*/ 21 h 106"/>
                    <a:gd name="T22" fmla="*/ 53 w 58"/>
                    <a:gd name="T23" fmla="*/ 53 h 106"/>
                    <a:gd name="T24" fmla="*/ 58 w 58"/>
                    <a:gd name="T25" fmla="*/ 90 h 106"/>
                    <a:gd name="T26" fmla="*/ 53 w 58"/>
                    <a:gd name="T27" fmla="*/ 95 h 106"/>
                    <a:gd name="T28" fmla="*/ 53 w 58"/>
                    <a:gd name="T29" fmla="*/ 101 h 106"/>
                    <a:gd name="T30" fmla="*/ 53 w 58"/>
                    <a:gd name="T31" fmla="*/ 106 h 106"/>
                    <a:gd name="T32" fmla="*/ 42 w 58"/>
                    <a:gd name="T33" fmla="*/ 106 h 10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w 58"/>
                    <a:gd name="T52" fmla="*/ 0 h 106"/>
                    <a:gd name="T53" fmla="*/ 58 w 58"/>
                    <a:gd name="T54" fmla="*/ 106 h 10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T51" t="T52" r="T53" b="T54"/>
                  <a:pathLst>
                    <a:path w="58" h="106">
                      <a:moveTo>
                        <a:pt x="42" y="106"/>
                      </a:moveTo>
                      <a:lnTo>
                        <a:pt x="42" y="64"/>
                      </a:lnTo>
                      <a:lnTo>
                        <a:pt x="31" y="37"/>
                      </a:lnTo>
                      <a:lnTo>
                        <a:pt x="16" y="16"/>
                      </a:lnTo>
                      <a:lnTo>
                        <a:pt x="10" y="16"/>
                      </a:lnTo>
                      <a:lnTo>
                        <a:pt x="0" y="10"/>
                      </a:lnTo>
                      <a:lnTo>
                        <a:pt x="5" y="0"/>
                      </a:lnTo>
                      <a:lnTo>
                        <a:pt x="10" y="0"/>
                      </a:lnTo>
                      <a:lnTo>
                        <a:pt x="42" y="21"/>
                      </a:lnTo>
                      <a:lnTo>
                        <a:pt x="53" y="53"/>
                      </a:lnTo>
                      <a:lnTo>
                        <a:pt x="58" y="90"/>
                      </a:lnTo>
                      <a:lnTo>
                        <a:pt x="53" y="95"/>
                      </a:lnTo>
                      <a:lnTo>
                        <a:pt x="53" y="101"/>
                      </a:lnTo>
                      <a:lnTo>
                        <a:pt x="53" y="106"/>
                      </a:lnTo>
                      <a:lnTo>
                        <a:pt x="42" y="106"/>
                      </a:lnTo>
                      <a:close/>
                    </a:path>
                  </a:pathLst>
                </a:custGeom>
                <a:solidFill>
                  <a:srgbClr val="49557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83" name="Freeform 345"/>
                <p:cNvSpPr>
                  <a:spLocks/>
                </p:cNvSpPr>
                <p:nvPr/>
              </p:nvSpPr>
              <p:spPr bwMode="auto">
                <a:xfrm>
                  <a:off x="4155" y="1109"/>
                  <a:ext cx="42" cy="90"/>
                </a:xfrm>
                <a:custGeom>
                  <a:avLst/>
                  <a:gdLst>
                    <a:gd name="T0" fmla="*/ 0 w 42"/>
                    <a:gd name="T1" fmla="*/ 85 h 90"/>
                    <a:gd name="T2" fmla="*/ 5 w 42"/>
                    <a:gd name="T3" fmla="*/ 43 h 90"/>
                    <a:gd name="T4" fmla="*/ 16 w 42"/>
                    <a:gd name="T5" fmla="*/ 16 h 90"/>
                    <a:gd name="T6" fmla="*/ 37 w 42"/>
                    <a:gd name="T7" fmla="*/ 0 h 90"/>
                    <a:gd name="T8" fmla="*/ 42 w 42"/>
                    <a:gd name="T9" fmla="*/ 16 h 90"/>
                    <a:gd name="T10" fmla="*/ 10 w 42"/>
                    <a:gd name="T11" fmla="*/ 90 h 90"/>
                    <a:gd name="T12" fmla="*/ 0 w 42"/>
                    <a:gd name="T13" fmla="*/ 85 h 9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2"/>
                    <a:gd name="T22" fmla="*/ 0 h 90"/>
                    <a:gd name="T23" fmla="*/ 42 w 42"/>
                    <a:gd name="T24" fmla="*/ 90 h 9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2" h="90">
                      <a:moveTo>
                        <a:pt x="0" y="85"/>
                      </a:moveTo>
                      <a:lnTo>
                        <a:pt x="5" y="43"/>
                      </a:lnTo>
                      <a:lnTo>
                        <a:pt x="16" y="16"/>
                      </a:lnTo>
                      <a:lnTo>
                        <a:pt x="37" y="0"/>
                      </a:lnTo>
                      <a:lnTo>
                        <a:pt x="42" y="16"/>
                      </a:lnTo>
                      <a:lnTo>
                        <a:pt x="10" y="90"/>
                      </a:lnTo>
                      <a:lnTo>
                        <a:pt x="0" y="85"/>
                      </a:lnTo>
                      <a:close/>
                    </a:path>
                  </a:pathLst>
                </a:custGeom>
                <a:solidFill>
                  <a:srgbClr val="49557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84" name="Freeform 346"/>
                <p:cNvSpPr>
                  <a:spLocks/>
                </p:cNvSpPr>
                <p:nvPr/>
              </p:nvSpPr>
              <p:spPr bwMode="auto">
                <a:xfrm>
                  <a:off x="4623" y="1146"/>
                  <a:ext cx="42" cy="38"/>
                </a:xfrm>
                <a:custGeom>
                  <a:avLst/>
                  <a:gdLst>
                    <a:gd name="T0" fmla="*/ 5 w 42"/>
                    <a:gd name="T1" fmla="*/ 38 h 38"/>
                    <a:gd name="T2" fmla="*/ 0 w 42"/>
                    <a:gd name="T3" fmla="*/ 22 h 38"/>
                    <a:gd name="T4" fmla="*/ 16 w 42"/>
                    <a:gd name="T5" fmla="*/ 0 h 38"/>
                    <a:gd name="T6" fmla="*/ 16 w 42"/>
                    <a:gd name="T7" fmla="*/ 0 h 38"/>
                    <a:gd name="T8" fmla="*/ 21 w 42"/>
                    <a:gd name="T9" fmla="*/ 0 h 38"/>
                    <a:gd name="T10" fmla="*/ 42 w 42"/>
                    <a:gd name="T11" fmla="*/ 11 h 38"/>
                    <a:gd name="T12" fmla="*/ 26 w 42"/>
                    <a:gd name="T13" fmla="*/ 38 h 38"/>
                    <a:gd name="T14" fmla="*/ 16 w 42"/>
                    <a:gd name="T15" fmla="*/ 38 h 38"/>
                    <a:gd name="T16" fmla="*/ 5 w 42"/>
                    <a:gd name="T17" fmla="*/ 38 h 3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2"/>
                    <a:gd name="T28" fmla="*/ 0 h 38"/>
                    <a:gd name="T29" fmla="*/ 42 w 42"/>
                    <a:gd name="T30" fmla="*/ 38 h 38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2" h="38">
                      <a:moveTo>
                        <a:pt x="5" y="38"/>
                      </a:moveTo>
                      <a:lnTo>
                        <a:pt x="0" y="22"/>
                      </a:lnTo>
                      <a:lnTo>
                        <a:pt x="16" y="0"/>
                      </a:lnTo>
                      <a:lnTo>
                        <a:pt x="21" y="0"/>
                      </a:lnTo>
                      <a:lnTo>
                        <a:pt x="42" y="11"/>
                      </a:lnTo>
                      <a:lnTo>
                        <a:pt x="26" y="38"/>
                      </a:lnTo>
                      <a:lnTo>
                        <a:pt x="16" y="38"/>
                      </a:lnTo>
                      <a:lnTo>
                        <a:pt x="5" y="38"/>
                      </a:lnTo>
                      <a:close/>
                    </a:path>
                  </a:pathLst>
                </a:custGeom>
                <a:solidFill>
                  <a:srgbClr val="49557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85" name="Freeform 347"/>
                <p:cNvSpPr>
                  <a:spLocks/>
                </p:cNvSpPr>
                <p:nvPr/>
              </p:nvSpPr>
              <p:spPr bwMode="auto">
                <a:xfrm>
                  <a:off x="4490" y="1130"/>
                  <a:ext cx="32" cy="48"/>
                </a:xfrm>
                <a:custGeom>
                  <a:avLst/>
                  <a:gdLst>
                    <a:gd name="T0" fmla="*/ 21 w 32"/>
                    <a:gd name="T1" fmla="*/ 48 h 48"/>
                    <a:gd name="T2" fmla="*/ 16 w 32"/>
                    <a:gd name="T3" fmla="*/ 32 h 48"/>
                    <a:gd name="T4" fmla="*/ 0 w 32"/>
                    <a:gd name="T5" fmla="*/ 0 h 48"/>
                    <a:gd name="T6" fmla="*/ 26 w 32"/>
                    <a:gd name="T7" fmla="*/ 16 h 48"/>
                    <a:gd name="T8" fmla="*/ 32 w 32"/>
                    <a:gd name="T9" fmla="*/ 48 h 48"/>
                    <a:gd name="T10" fmla="*/ 21 w 32"/>
                    <a:gd name="T11" fmla="*/ 48 h 4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2"/>
                    <a:gd name="T19" fmla="*/ 0 h 48"/>
                    <a:gd name="T20" fmla="*/ 32 w 32"/>
                    <a:gd name="T21" fmla="*/ 48 h 4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2" h="48">
                      <a:moveTo>
                        <a:pt x="21" y="48"/>
                      </a:moveTo>
                      <a:lnTo>
                        <a:pt x="16" y="32"/>
                      </a:lnTo>
                      <a:lnTo>
                        <a:pt x="0" y="0"/>
                      </a:lnTo>
                      <a:lnTo>
                        <a:pt x="26" y="16"/>
                      </a:lnTo>
                      <a:lnTo>
                        <a:pt x="32" y="48"/>
                      </a:lnTo>
                      <a:lnTo>
                        <a:pt x="21" y="48"/>
                      </a:lnTo>
                      <a:close/>
                    </a:path>
                  </a:pathLst>
                </a:custGeom>
                <a:solidFill>
                  <a:srgbClr val="49557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586" name="Freeform 348"/>
                <p:cNvSpPr>
                  <a:spLocks/>
                </p:cNvSpPr>
                <p:nvPr/>
              </p:nvSpPr>
              <p:spPr bwMode="auto">
                <a:xfrm>
                  <a:off x="4139" y="1109"/>
                  <a:ext cx="26" cy="48"/>
                </a:xfrm>
                <a:custGeom>
                  <a:avLst/>
                  <a:gdLst>
                    <a:gd name="T0" fmla="*/ 0 w 26"/>
                    <a:gd name="T1" fmla="*/ 48 h 48"/>
                    <a:gd name="T2" fmla="*/ 26 w 26"/>
                    <a:gd name="T3" fmla="*/ 0 h 48"/>
                    <a:gd name="T4" fmla="*/ 10 w 26"/>
                    <a:gd name="T5" fmla="*/ 48 h 48"/>
                    <a:gd name="T6" fmla="*/ 0 w 26"/>
                    <a:gd name="T7" fmla="*/ 48 h 48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6"/>
                    <a:gd name="T13" fmla="*/ 0 h 48"/>
                    <a:gd name="T14" fmla="*/ 26 w 26"/>
                    <a:gd name="T15" fmla="*/ 48 h 48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6" h="48">
                      <a:moveTo>
                        <a:pt x="0" y="48"/>
                      </a:moveTo>
                      <a:lnTo>
                        <a:pt x="26" y="0"/>
                      </a:lnTo>
                      <a:lnTo>
                        <a:pt x="10" y="48"/>
                      </a:lnTo>
                      <a:lnTo>
                        <a:pt x="0" y="48"/>
                      </a:lnTo>
                      <a:close/>
                    </a:path>
                  </a:pathLst>
                </a:custGeom>
                <a:solidFill>
                  <a:srgbClr val="495578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</p:grpSp>
        <p:sp>
          <p:nvSpPr>
            <p:cNvPr id="38497" name="Rectangle 349"/>
            <p:cNvSpPr>
              <a:spLocks noChangeArrowheads="1"/>
            </p:cNvSpPr>
            <p:nvPr/>
          </p:nvSpPr>
          <p:spPr bwMode="auto">
            <a:xfrm>
              <a:off x="3412" y="1600"/>
              <a:ext cx="1544" cy="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35103" name="Group 353"/>
            <p:cNvGrpSpPr>
              <a:grpSpLocks/>
            </p:cNvGrpSpPr>
            <p:nvPr/>
          </p:nvGrpSpPr>
          <p:grpSpPr bwMode="auto">
            <a:xfrm>
              <a:off x="4070" y="1045"/>
              <a:ext cx="696" cy="703"/>
              <a:chOff x="4070" y="1045"/>
              <a:chExt cx="696" cy="703"/>
            </a:xfrm>
          </p:grpSpPr>
          <p:sp>
            <p:nvSpPr>
              <p:cNvPr id="38532" name="Freeform 354"/>
              <p:cNvSpPr>
                <a:spLocks/>
              </p:cNvSpPr>
              <p:nvPr/>
            </p:nvSpPr>
            <p:spPr bwMode="auto">
              <a:xfrm>
                <a:off x="4070" y="1045"/>
                <a:ext cx="696" cy="703"/>
              </a:xfrm>
              <a:custGeom>
                <a:avLst/>
                <a:gdLst>
                  <a:gd name="T0" fmla="*/ 164 w 696"/>
                  <a:gd name="T1" fmla="*/ 697 h 703"/>
                  <a:gd name="T2" fmla="*/ 53 w 696"/>
                  <a:gd name="T3" fmla="*/ 687 h 703"/>
                  <a:gd name="T4" fmla="*/ 47 w 696"/>
                  <a:gd name="T5" fmla="*/ 671 h 703"/>
                  <a:gd name="T6" fmla="*/ 37 w 696"/>
                  <a:gd name="T7" fmla="*/ 666 h 703"/>
                  <a:gd name="T8" fmla="*/ 37 w 696"/>
                  <a:gd name="T9" fmla="*/ 660 h 703"/>
                  <a:gd name="T10" fmla="*/ 32 w 696"/>
                  <a:gd name="T11" fmla="*/ 655 h 703"/>
                  <a:gd name="T12" fmla="*/ 26 w 696"/>
                  <a:gd name="T13" fmla="*/ 650 h 703"/>
                  <a:gd name="T14" fmla="*/ 10 w 696"/>
                  <a:gd name="T15" fmla="*/ 564 h 703"/>
                  <a:gd name="T16" fmla="*/ 10 w 696"/>
                  <a:gd name="T17" fmla="*/ 485 h 703"/>
                  <a:gd name="T18" fmla="*/ 10 w 696"/>
                  <a:gd name="T19" fmla="*/ 405 h 703"/>
                  <a:gd name="T20" fmla="*/ 5 w 696"/>
                  <a:gd name="T21" fmla="*/ 325 h 703"/>
                  <a:gd name="T22" fmla="*/ 0 w 696"/>
                  <a:gd name="T23" fmla="*/ 240 h 703"/>
                  <a:gd name="T24" fmla="*/ 5 w 696"/>
                  <a:gd name="T25" fmla="*/ 165 h 703"/>
                  <a:gd name="T26" fmla="*/ 10 w 696"/>
                  <a:gd name="T27" fmla="*/ 128 h 703"/>
                  <a:gd name="T28" fmla="*/ 26 w 696"/>
                  <a:gd name="T29" fmla="*/ 91 h 703"/>
                  <a:gd name="T30" fmla="*/ 42 w 696"/>
                  <a:gd name="T31" fmla="*/ 53 h 703"/>
                  <a:gd name="T32" fmla="*/ 74 w 696"/>
                  <a:gd name="T33" fmla="*/ 16 h 703"/>
                  <a:gd name="T34" fmla="*/ 106 w 696"/>
                  <a:gd name="T35" fmla="*/ 11 h 703"/>
                  <a:gd name="T36" fmla="*/ 138 w 696"/>
                  <a:gd name="T37" fmla="*/ 5 h 703"/>
                  <a:gd name="T38" fmla="*/ 164 w 696"/>
                  <a:gd name="T39" fmla="*/ 0 h 703"/>
                  <a:gd name="T40" fmla="*/ 196 w 696"/>
                  <a:gd name="T41" fmla="*/ 5 h 703"/>
                  <a:gd name="T42" fmla="*/ 441 w 696"/>
                  <a:gd name="T43" fmla="*/ 11 h 703"/>
                  <a:gd name="T44" fmla="*/ 489 w 696"/>
                  <a:gd name="T45" fmla="*/ 11 h 703"/>
                  <a:gd name="T46" fmla="*/ 537 w 696"/>
                  <a:gd name="T47" fmla="*/ 16 h 703"/>
                  <a:gd name="T48" fmla="*/ 574 w 696"/>
                  <a:gd name="T49" fmla="*/ 16 h 703"/>
                  <a:gd name="T50" fmla="*/ 611 w 696"/>
                  <a:gd name="T51" fmla="*/ 21 h 703"/>
                  <a:gd name="T52" fmla="*/ 648 w 696"/>
                  <a:gd name="T53" fmla="*/ 37 h 703"/>
                  <a:gd name="T54" fmla="*/ 664 w 696"/>
                  <a:gd name="T55" fmla="*/ 53 h 703"/>
                  <a:gd name="T56" fmla="*/ 680 w 696"/>
                  <a:gd name="T57" fmla="*/ 75 h 703"/>
                  <a:gd name="T58" fmla="*/ 696 w 696"/>
                  <a:gd name="T59" fmla="*/ 176 h 703"/>
                  <a:gd name="T60" fmla="*/ 686 w 696"/>
                  <a:gd name="T61" fmla="*/ 197 h 703"/>
                  <a:gd name="T62" fmla="*/ 691 w 696"/>
                  <a:gd name="T63" fmla="*/ 245 h 703"/>
                  <a:gd name="T64" fmla="*/ 691 w 696"/>
                  <a:gd name="T65" fmla="*/ 293 h 703"/>
                  <a:gd name="T66" fmla="*/ 686 w 696"/>
                  <a:gd name="T67" fmla="*/ 341 h 703"/>
                  <a:gd name="T68" fmla="*/ 691 w 696"/>
                  <a:gd name="T69" fmla="*/ 394 h 703"/>
                  <a:gd name="T70" fmla="*/ 686 w 696"/>
                  <a:gd name="T71" fmla="*/ 447 h 703"/>
                  <a:gd name="T72" fmla="*/ 686 w 696"/>
                  <a:gd name="T73" fmla="*/ 506 h 703"/>
                  <a:gd name="T74" fmla="*/ 686 w 696"/>
                  <a:gd name="T75" fmla="*/ 559 h 703"/>
                  <a:gd name="T76" fmla="*/ 686 w 696"/>
                  <a:gd name="T77" fmla="*/ 618 h 703"/>
                  <a:gd name="T78" fmla="*/ 659 w 696"/>
                  <a:gd name="T79" fmla="*/ 671 h 703"/>
                  <a:gd name="T80" fmla="*/ 595 w 696"/>
                  <a:gd name="T81" fmla="*/ 682 h 703"/>
                  <a:gd name="T82" fmla="*/ 537 w 696"/>
                  <a:gd name="T83" fmla="*/ 692 h 703"/>
                  <a:gd name="T84" fmla="*/ 478 w 696"/>
                  <a:gd name="T85" fmla="*/ 692 h 703"/>
                  <a:gd name="T86" fmla="*/ 414 w 696"/>
                  <a:gd name="T87" fmla="*/ 692 h 703"/>
                  <a:gd name="T88" fmla="*/ 297 w 696"/>
                  <a:gd name="T89" fmla="*/ 687 h 703"/>
                  <a:gd name="T90" fmla="*/ 234 w 696"/>
                  <a:gd name="T91" fmla="*/ 692 h 703"/>
                  <a:gd name="T92" fmla="*/ 180 w 696"/>
                  <a:gd name="T93" fmla="*/ 703 h 703"/>
                  <a:gd name="T94" fmla="*/ 164 w 696"/>
                  <a:gd name="T95" fmla="*/ 697 h 703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96"/>
                  <a:gd name="T145" fmla="*/ 0 h 703"/>
                  <a:gd name="T146" fmla="*/ 696 w 696"/>
                  <a:gd name="T147" fmla="*/ 703 h 703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96" h="703">
                    <a:moveTo>
                      <a:pt x="164" y="697"/>
                    </a:moveTo>
                    <a:lnTo>
                      <a:pt x="53" y="687"/>
                    </a:lnTo>
                    <a:lnTo>
                      <a:pt x="47" y="671"/>
                    </a:lnTo>
                    <a:lnTo>
                      <a:pt x="37" y="666"/>
                    </a:lnTo>
                    <a:lnTo>
                      <a:pt x="37" y="660"/>
                    </a:lnTo>
                    <a:lnTo>
                      <a:pt x="32" y="655"/>
                    </a:lnTo>
                    <a:lnTo>
                      <a:pt x="26" y="650"/>
                    </a:lnTo>
                    <a:lnTo>
                      <a:pt x="10" y="564"/>
                    </a:lnTo>
                    <a:lnTo>
                      <a:pt x="10" y="485"/>
                    </a:lnTo>
                    <a:lnTo>
                      <a:pt x="10" y="405"/>
                    </a:lnTo>
                    <a:lnTo>
                      <a:pt x="5" y="325"/>
                    </a:lnTo>
                    <a:lnTo>
                      <a:pt x="0" y="240"/>
                    </a:lnTo>
                    <a:lnTo>
                      <a:pt x="5" y="165"/>
                    </a:lnTo>
                    <a:lnTo>
                      <a:pt x="10" y="128"/>
                    </a:lnTo>
                    <a:lnTo>
                      <a:pt x="26" y="91"/>
                    </a:lnTo>
                    <a:lnTo>
                      <a:pt x="42" y="53"/>
                    </a:lnTo>
                    <a:lnTo>
                      <a:pt x="74" y="16"/>
                    </a:lnTo>
                    <a:lnTo>
                      <a:pt x="106" y="11"/>
                    </a:lnTo>
                    <a:lnTo>
                      <a:pt x="138" y="5"/>
                    </a:lnTo>
                    <a:lnTo>
                      <a:pt x="164" y="0"/>
                    </a:lnTo>
                    <a:lnTo>
                      <a:pt x="196" y="5"/>
                    </a:lnTo>
                    <a:lnTo>
                      <a:pt x="441" y="11"/>
                    </a:lnTo>
                    <a:lnTo>
                      <a:pt x="489" y="11"/>
                    </a:lnTo>
                    <a:lnTo>
                      <a:pt x="537" y="16"/>
                    </a:lnTo>
                    <a:lnTo>
                      <a:pt x="574" y="16"/>
                    </a:lnTo>
                    <a:lnTo>
                      <a:pt x="611" y="21"/>
                    </a:lnTo>
                    <a:lnTo>
                      <a:pt x="648" y="37"/>
                    </a:lnTo>
                    <a:lnTo>
                      <a:pt x="664" y="53"/>
                    </a:lnTo>
                    <a:lnTo>
                      <a:pt x="680" y="75"/>
                    </a:lnTo>
                    <a:lnTo>
                      <a:pt x="696" y="176"/>
                    </a:lnTo>
                    <a:lnTo>
                      <a:pt x="686" y="197"/>
                    </a:lnTo>
                    <a:lnTo>
                      <a:pt x="691" y="245"/>
                    </a:lnTo>
                    <a:lnTo>
                      <a:pt x="691" y="293"/>
                    </a:lnTo>
                    <a:lnTo>
                      <a:pt x="686" y="341"/>
                    </a:lnTo>
                    <a:lnTo>
                      <a:pt x="691" y="394"/>
                    </a:lnTo>
                    <a:lnTo>
                      <a:pt x="686" y="447"/>
                    </a:lnTo>
                    <a:lnTo>
                      <a:pt x="686" y="506"/>
                    </a:lnTo>
                    <a:lnTo>
                      <a:pt x="686" y="559"/>
                    </a:lnTo>
                    <a:lnTo>
                      <a:pt x="686" y="618"/>
                    </a:lnTo>
                    <a:lnTo>
                      <a:pt x="659" y="671"/>
                    </a:lnTo>
                    <a:lnTo>
                      <a:pt x="595" y="682"/>
                    </a:lnTo>
                    <a:lnTo>
                      <a:pt x="537" y="692"/>
                    </a:lnTo>
                    <a:lnTo>
                      <a:pt x="478" y="692"/>
                    </a:lnTo>
                    <a:lnTo>
                      <a:pt x="414" y="692"/>
                    </a:lnTo>
                    <a:lnTo>
                      <a:pt x="297" y="687"/>
                    </a:lnTo>
                    <a:lnTo>
                      <a:pt x="234" y="692"/>
                    </a:lnTo>
                    <a:lnTo>
                      <a:pt x="180" y="703"/>
                    </a:lnTo>
                    <a:lnTo>
                      <a:pt x="164" y="697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33" name="Freeform 355"/>
              <p:cNvSpPr>
                <a:spLocks/>
              </p:cNvSpPr>
              <p:nvPr/>
            </p:nvSpPr>
            <p:spPr bwMode="auto">
              <a:xfrm>
                <a:off x="4102" y="1088"/>
                <a:ext cx="632" cy="633"/>
              </a:xfrm>
              <a:custGeom>
                <a:avLst/>
                <a:gdLst>
                  <a:gd name="T0" fmla="*/ 74 w 632"/>
                  <a:gd name="T1" fmla="*/ 628 h 633"/>
                  <a:gd name="T2" fmla="*/ 58 w 632"/>
                  <a:gd name="T3" fmla="*/ 628 h 633"/>
                  <a:gd name="T4" fmla="*/ 15 w 632"/>
                  <a:gd name="T5" fmla="*/ 585 h 633"/>
                  <a:gd name="T6" fmla="*/ 5 w 632"/>
                  <a:gd name="T7" fmla="*/ 442 h 633"/>
                  <a:gd name="T8" fmla="*/ 0 w 632"/>
                  <a:gd name="T9" fmla="*/ 308 h 633"/>
                  <a:gd name="T10" fmla="*/ 5 w 632"/>
                  <a:gd name="T11" fmla="*/ 170 h 633"/>
                  <a:gd name="T12" fmla="*/ 26 w 632"/>
                  <a:gd name="T13" fmla="*/ 37 h 633"/>
                  <a:gd name="T14" fmla="*/ 58 w 632"/>
                  <a:gd name="T15" fmla="*/ 0 h 633"/>
                  <a:gd name="T16" fmla="*/ 74 w 632"/>
                  <a:gd name="T17" fmla="*/ 0 h 633"/>
                  <a:gd name="T18" fmla="*/ 579 w 632"/>
                  <a:gd name="T19" fmla="*/ 0 h 633"/>
                  <a:gd name="T20" fmla="*/ 579 w 632"/>
                  <a:gd name="T21" fmla="*/ 5 h 633"/>
                  <a:gd name="T22" fmla="*/ 579 w 632"/>
                  <a:gd name="T23" fmla="*/ 10 h 633"/>
                  <a:gd name="T24" fmla="*/ 579 w 632"/>
                  <a:gd name="T25" fmla="*/ 10 h 633"/>
                  <a:gd name="T26" fmla="*/ 585 w 632"/>
                  <a:gd name="T27" fmla="*/ 16 h 633"/>
                  <a:gd name="T28" fmla="*/ 611 w 632"/>
                  <a:gd name="T29" fmla="*/ 32 h 633"/>
                  <a:gd name="T30" fmla="*/ 632 w 632"/>
                  <a:gd name="T31" fmla="*/ 58 h 633"/>
                  <a:gd name="T32" fmla="*/ 632 w 632"/>
                  <a:gd name="T33" fmla="*/ 74 h 633"/>
                  <a:gd name="T34" fmla="*/ 632 w 632"/>
                  <a:gd name="T35" fmla="*/ 234 h 633"/>
                  <a:gd name="T36" fmla="*/ 632 w 632"/>
                  <a:gd name="T37" fmla="*/ 410 h 633"/>
                  <a:gd name="T38" fmla="*/ 632 w 632"/>
                  <a:gd name="T39" fmla="*/ 495 h 633"/>
                  <a:gd name="T40" fmla="*/ 632 w 632"/>
                  <a:gd name="T41" fmla="*/ 585 h 633"/>
                  <a:gd name="T42" fmla="*/ 611 w 632"/>
                  <a:gd name="T43" fmla="*/ 612 h 633"/>
                  <a:gd name="T44" fmla="*/ 553 w 632"/>
                  <a:gd name="T45" fmla="*/ 623 h 633"/>
                  <a:gd name="T46" fmla="*/ 499 w 632"/>
                  <a:gd name="T47" fmla="*/ 628 h 633"/>
                  <a:gd name="T48" fmla="*/ 441 w 632"/>
                  <a:gd name="T49" fmla="*/ 628 h 633"/>
                  <a:gd name="T50" fmla="*/ 388 w 632"/>
                  <a:gd name="T51" fmla="*/ 633 h 633"/>
                  <a:gd name="T52" fmla="*/ 79 w 632"/>
                  <a:gd name="T53" fmla="*/ 633 h 633"/>
                  <a:gd name="T54" fmla="*/ 74 w 632"/>
                  <a:gd name="T55" fmla="*/ 628 h 633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632"/>
                  <a:gd name="T85" fmla="*/ 0 h 633"/>
                  <a:gd name="T86" fmla="*/ 632 w 632"/>
                  <a:gd name="T87" fmla="*/ 633 h 633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632" h="633">
                    <a:moveTo>
                      <a:pt x="74" y="628"/>
                    </a:moveTo>
                    <a:lnTo>
                      <a:pt x="58" y="628"/>
                    </a:lnTo>
                    <a:lnTo>
                      <a:pt x="15" y="585"/>
                    </a:lnTo>
                    <a:lnTo>
                      <a:pt x="5" y="442"/>
                    </a:lnTo>
                    <a:lnTo>
                      <a:pt x="0" y="308"/>
                    </a:lnTo>
                    <a:lnTo>
                      <a:pt x="5" y="170"/>
                    </a:lnTo>
                    <a:lnTo>
                      <a:pt x="26" y="37"/>
                    </a:lnTo>
                    <a:lnTo>
                      <a:pt x="58" y="0"/>
                    </a:lnTo>
                    <a:lnTo>
                      <a:pt x="74" y="0"/>
                    </a:lnTo>
                    <a:lnTo>
                      <a:pt x="579" y="0"/>
                    </a:lnTo>
                    <a:lnTo>
                      <a:pt x="579" y="5"/>
                    </a:lnTo>
                    <a:lnTo>
                      <a:pt x="579" y="10"/>
                    </a:lnTo>
                    <a:lnTo>
                      <a:pt x="585" y="16"/>
                    </a:lnTo>
                    <a:lnTo>
                      <a:pt x="611" y="32"/>
                    </a:lnTo>
                    <a:lnTo>
                      <a:pt x="632" y="58"/>
                    </a:lnTo>
                    <a:lnTo>
                      <a:pt x="632" y="74"/>
                    </a:lnTo>
                    <a:lnTo>
                      <a:pt x="632" y="234"/>
                    </a:lnTo>
                    <a:lnTo>
                      <a:pt x="632" y="410"/>
                    </a:lnTo>
                    <a:lnTo>
                      <a:pt x="632" y="495"/>
                    </a:lnTo>
                    <a:lnTo>
                      <a:pt x="632" y="585"/>
                    </a:lnTo>
                    <a:lnTo>
                      <a:pt x="611" y="612"/>
                    </a:lnTo>
                    <a:lnTo>
                      <a:pt x="553" y="623"/>
                    </a:lnTo>
                    <a:lnTo>
                      <a:pt x="499" y="628"/>
                    </a:lnTo>
                    <a:lnTo>
                      <a:pt x="441" y="628"/>
                    </a:lnTo>
                    <a:lnTo>
                      <a:pt x="388" y="633"/>
                    </a:lnTo>
                    <a:lnTo>
                      <a:pt x="79" y="633"/>
                    </a:lnTo>
                    <a:lnTo>
                      <a:pt x="74" y="628"/>
                    </a:lnTo>
                    <a:close/>
                  </a:path>
                </a:pathLst>
              </a:custGeom>
              <a:solidFill>
                <a:srgbClr val="61BFF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34" name="Freeform 356"/>
              <p:cNvSpPr>
                <a:spLocks/>
              </p:cNvSpPr>
              <p:nvPr/>
            </p:nvSpPr>
            <p:spPr bwMode="auto">
              <a:xfrm>
                <a:off x="4266" y="1647"/>
                <a:ext cx="48" cy="26"/>
              </a:xfrm>
              <a:custGeom>
                <a:avLst/>
                <a:gdLst>
                  <a:gd name="T0" fmla="*/ 0 w 48"/>
                  <a:gd name="T1" fmla="*/ 21 h 26"/>
                  <a:gd name="T2" fmla="*/ 0 w 48"/>
                  <a:gd name="T3" fmla="*/ 21 h 26"/>
                  <a:gd name="T4" fmla="*/ 48 w 48"/>
                  <a:gd name="T5" fmla="*/ 0 h 26"/>
                  <a:gd name="T6" fmla="*/ 27 w 48"/>
                  <a:gd name="T7" fmla="*/ 26 h 26"/>
                  <a:gd name="T8" fmla="*/ 0 w 48"/>
                  <a:gd name="T9" fmla="*/ 21 h 2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26"/>
                  <a:gd name="T17" fmla="*/ 48 w 48"/>
                  <a:gd name="T18" fmla="*/ 26 h 2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26">
                    <a:moveTo>
                      <a:pt x="0" y="21"/>
                    </a:moveTo>
                    <a:lnTo>
                      <a:pt x="0" y="21"/>
                    </a:lnTo>
                    <a:lnTo>
                      <a:pt x="48" y="0"/>
                    </a:lnTo>
                    <a:lnTo>
                      <a:pt x="27" y="26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49557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35" name="Freeform 357"/>
              <p:cNvSpPr>
                <a:spLocks/>
              </p:cNvSpPr>
              <p:nvPr/>
            </p:nvSpPr>
            <p:spPr bwMode="auto">
              <a:xfrm>
                <a:off x="4362" y="1301"/>
                <a:ext cx="213" cy="372"/>
              </a:xfrm>
              <a:custGeom>
                <a:avLst/>
                <a:gdLst>
                  <a:gd name="T0" fmla="*/ 69 w 213"/>
                  <a:gd name="T1" fmla="*/ 367 h 372"/>
                  <a:gd name="T2" fmla="*/ 48 w 213"/>
                  <a:gd name="T3" fmla="*/ 351 h 372"/>
                  <a:gd name="T4" fmla="*/ 37 w 213"/>
                  <a:gd name="T5" fmla="*/ 335 h 372"/>
                  <a:gd name="T6" fmla="*/ 21 w 213"/>
                  <a:gd name="T7" fmla="*/ 314 h 372"/>
                  <a:gd name="T8" fmla="*/ 5 w 213"/>
                  <a:gd name="T9" fmla="*/ 298 h 372"/>
                  <a:gd name="T10" fmla="*/ 5 w 213"/>
                  <a:gd name="T11" fmla="*/ 255 h 372"/>
                  <a:gd name="T12" fmla="*/ 0 w 213"/>
                  <a:gd name="T13" fmla="*/ 218 h 372"/>
                  <a:gd name="T14" fmla="*/ 11 w 213"/>
                  <a:gd name="T15" fmla="*/ 181 h 372"/>
                  <a:gd name="T16" fmla="*/ 21 w 213"/>
                  <a:gd name="T17" fmla="*/ 143 h 372"/>
                  <a:gd name="T18" fmla="*/ 37 w 213"/>
                  <a:gd name="T19" fmla="*/ 111 h 372"/>
                  <a:gd name="T20" fmla="*/ 59 w 213"/>
                  <a:gd name="T21" fmla="*/ 79 h 372"/>
                  <a:gd name="T22" fmla="*/ 91 w 213"/>
                  <a:gd name="T23" fmla="*/ 53 h 372"/>
                  <a:gd name="T24" fmla="*/ 122 w 213"/>
                  <a:gd name="T25" fmla="*/ 32 h 372"/>
                  <a:gd name="T26" fmla="*/ 160 w 213"/>
                  <a:gd name="T27" fmla="*/ 21 h 372"/>
                  <a:gd name="T28" fmla="*/ 122 w 213"/>
                  <a:gd name="T29" fmla="*/ 0 h 372"/>
                  <a:gd name="T30" fmla="*/ 122 w 213"/>
                  <a:gd name="T31" fmla="*/ 0 h 372"/>
                  <a:gd name="T32" fmla="*/ 213 w 213"/>
                  <a:gd name="T33" fmla="*/ 0 h 372"/>
                  <a:gd name="T34" fmla="*/ 213 w 213"/>
                  <a:gd name="T35" fmla="*/ 5 h 372"/>
                  <a:gd name="T36" fmla="*/ 213 w 213"/>
                  <a:gd name="T37" fmla="*/ 10 h 372"/>
                  <a:gd name="T38" fmla="*/ 160 w 213"/>
                  <a:gd name="T39" fmla="*/ 79 h 372"/>
                  <a:gd name="T40" fmla="*/ 160 w 213"/>
                  <a:gd name="T41" fmla="*/ 53 h 372"/>
                  <a:gd name="T42" fmla="*/ 176 w 213"/>
                  <a:gd name="T43" fmla="*/ 32 h 372"/>
                  <a:gd name="T44" fmla="*/ 144 w 213"/>
                  <a:gd name="T45" fmla="*/ 48 h 372"/>
                  <a:gd name="T46" fmla="*/ 128 w 213"/>
                  <a:gd name="T47" fmla="*/ 53 h 372"/>
                  <a:gd name="T48" fmla="*/ 96 w 213"/>
                  <a:gd name="T49" fmla="*/ 74 h 372"/>
                  <a:gd name="T50" fmla="*/ 69 w 213"/>
                  <a:gd name="T51" fmla="*/ 101 h 372"/>
                  <a:gd name="T52" fmla="*/ 53 w 213"/>
                  <a:gd name="T53" fmla="*/ 127 h 372"/>
                  <a:gd name="T54" fmla="*/ 37 w 213"/>
                  <a:gd name="T55" fmla="*/ 159 h 372"/>
                  <a:gd name="T56" fmla="*/ 27 w 213"/>
                  <a:gd name="T57" fmla="*/ 218 h 372"/>
                  <a:gd name="T58" fmla="*/ 37 w 213"/>
                  <a:gd name="T59" fmla="*/ 282 h 372"/>
                  <a:gd name="T60" fmla="*/ 53 w 213"/>
                  <a:gd name="T61" fmla="*/ 319 h 372"/>
                  <a:gd name="T62" fmla="*/ 91 w 213"/>
                  <a:gd name="T63" fmla="*/ 356 h 372"/>
                  <a:gd name="T64" fmla="*/ 75 w 213"/>
                  <a:gd name="T65" fmla="*/ 372 h 372"/>
                  <a:gd name="T66" fmla="*/ 69 w 213"/>
                  <a:gd name="T67" fmla="*/ 367 h 372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13"/>
                  <a:gd name="T103" fmla="*/ 0 h 372"/>
                  <a:gd name="T104" fmla="*/ 213 w 213"/>
                  <a:gd name="T105" fmla="*/ 372 h 372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13" h="372">
                    <a:moveTo>
                      <a:pt x="69" y="367"/>
                    </a:moveTo>
                    <a:lnTo>
                      <a:pt x="48" y="351"/>
                    </a:lnTo>
                    <a:lnTo>
                      <a:pt x="37" y="335"/>
                    </a:lnTo>
                    <a:lnTo>
                      <a:pt x="21" y="314"/>
                    </a:lnTo>
                    <a:lnTo>
                      <a:pt x="5" y="298"/>
                    </a:lnTo>
                    <a:lnTo>
                      <a:pt x="5" y="255"/>
                    </a:lnTo>
                    <a:lnTo>
                      <a:pt x="0" y="218"/>
                    </a:lnTo>
                    <a:lnTo>
                      <a:pt x="11" y="181"/>
                    </a:lnTo>
                    <a:lnTo>
                      <a:pt x="21" y="143"/>
                    </a:lnTo>
                    <a:lnTo>
                      <a:pt x="37" y="111"/>
                    </a:lnTo>
                    <a:lnTo>
                      <a:pt x="59" y="79"/>
                    </a:lnTo>
                    <a:lnTo>
                      <a:pt x="91" y="53"/>
                    </a:lnTo>
                    <a:lnTo>
                      <a:pt x="122" y="32"/>
                    </a:lnTo>
                    <a:lnTo>
                      <a:pt x="160" y="21"/>
                    </a:lnTo>
                    <a:lnTo>
                      <a:pt x="122" y="0"/>
                    </a:lnTo>
                    <a:lnTo>
                      <a:pt x="213" y="0"/>
                    </a:lnTo>
                    <a:lnTo>
                      <a:pt x="213" y="5"/>
                    </a:lnTo>
                    <a:lnTo>
                      <a:pt x="213" y="10"/>
                    </a:lnTo>
                    <a:lnTo>
                      <a:pt x="160" y="79"/>
                    </a:lnTo>
                    <a:lnTo>
                      <a:pt x="160" y="53"/>
                    </a:lnTo>
                    <a:lnTo>
                      <a:pt x="176" y="32"/>
                    </a:lnTo>
                    <a:lnTo>
                      <a:pt x="144" y="48"/>
                    </a:lnTo>
                    <a:lnTo>
                      <a:pt x="128" y="53"/>
                    </a:lnTo>
                    <a:lnTo>
                      <a:pt x="96" y="74"/>
                    </a:lnTo>
                    <a:lnTo>
                      <a:pt x="69" y="101"/>
                    </a:lnTo>
                    <a:lnTo>
                      <a:pt x="53" y="127"/>
                    </a:lnTo>
                    <a:lnTo>
                      <a:pt x="37" y="159"/>
                    </a:lnTo>
                    <a:lnTo>
                      <a:pt x="27" y="218"/>
                    </a:lnTo>
                    <a:lnTo>
                      <a:pt x="37" y="282"/>
                    </a:lnTo>
                    <a:lnTo>
                      <a:pt x="53" y="319"/>
                    </a:lnTo>
                    <a:lnTo>
                      <a:pt x="91" y="356"/>
                    </a:lnTo>
                    <a:lnTo>
                      <a:pt x="75" y="372"/>
                    </a:lnTo>
                    <a:lnTo>
                      <a:pt x="69" y="367"/>
                    </a:lnTo>
                    <a:close/>
                  </a:path>
                </a:pathLst>
              </a:custGeom>
              <a:solidFill>
                <a:srgbClr val="ACDC7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36" name="Freeform 358"/>
              <p:cNvSpPr>
                <a:spLocks/>
              </p:cNvSpPr>
              <p:nvPr/>
            </p:nvSpPr>
            <p:spPr bwMode="auto">
              <a:xfrm>
                <a:off x="4373" y="1290"/>
                <a:ext cx="212" cy="373"/>
              </a:xfrm>
              <a:custGeom>
                <a:avLst/>
                <a:gdLst>
                  <a:gd name="T0" fmla="*/ 69 w 212"/>
                  <a:gd name="T1" fmla="*/ 367 h 373"/>
                  <a:gd name="T2" fmla="*/ 48 w 212"/>
                  <a:gd name="T3" fmla="*/ 351 h 373"/>
                  <a:gd name="T4" fmla="*/ 37 w 212"/>
                  <a:gd name="T5" fmla="*/ 335 h 373"/>
                  <a:gd name="T6" fmla="*/ 10 w 212"/>
                  <a:gd name="T7" fmla="*/ 298 h 373"/>
                  <a:gd name="T8" fmla="*/ 5 w 212"/>
                  <a:gd name="T9" fmla="*/ 261 h 373"/>
                  <a:gd name="T10" fmla="*/ 0 w 212"/>
                  <a:gd name="T11" fmla="*/ 224 h 373"/>
                  <a:gd name="T12" fmla="*/ 10 w 212"/>
                  <a:gd name="T13" fmla="*/ 186 h 373"/>
                  <a:gd name="T14" fmla="*/ 21 w 212"/>
                  <a:gd name="T15" fmla="*/ 149 h 373"/>
                  <a:gd name="T16" fmla="*/ 37 w 212"/>
                  <a:gd name="T17" fmla="*/ 117 h 373"/>
                  <a:gd name="T18" fmla="*/ 64 w 212"/>
                  <a:gd name="T19" fmla="*/ 80 h 373"/>
                  <a:gd name="T20" fmla="*/ 90 w 212"/>
                  <a:gd name="T21" fmla="*/ 53 h 373"/>
                  <a:gd name="T22" fmla="*/ 122 w 212"/>
                  <a:gd name="T23" fmla="*/ 32 h 373"/>
                  <a:gd name="T24" fmla="*/ 165 w 212"/>
                  <a:gd name="T25" fmla="*/ 21 h 373"/>
                  <a:gd name="T26" fmla="*/ 122 w 212"/>
                  <a:gd name="T27" fmla="*/ 5 h 373"/>
                  <a:gd name="T28" fmla="*/ 122 w 212"/>
                  <a:gd name="T29" fmla="*/ 0 h 373"/>
                  <a:gd name="T30" fmla="*/ 122 w 212"/>
                  <a:gd name="T31" fmla="*/ 0 h 373"/>
                  <a:gd name="T32" fmla="*/ 212 w 212"/>
                  <a:gd name="T33" fmla="*/ 5 h 373"/>
                  <a:gd name="T34" fmla="*/ 212 w 212"/>
                  <a:gd name="T35" fmla="*/ 5 h 373"/>
                  <a:gd name="T36" fmla="*/ 212 w 212"/>
                  <a:gd name="T37" fmla="*/ 11 h 373"/>
                  <a:gd name="T38" fmla="*/ 159 w 212"/>
                  <a:gd name="T39" fmla="*/ 80 h 373"/>
                  <a:gd name="T40" fmla="*/ 159 w 212"/>
                  <a:gd name="T41" fmla="*/ 53 h 373"/>
                  <a:gd name="T42" fmla="*/ 175 w 212"/>
                  <a:gd name="T43" fmla="*/ 32 h 373"/>
                  <a:gd name="T44" fmla="*/ 149 w 212"/>
                  <a:gd name="T45" fmla="*/ 53 h 373"/>
                  <a:gd name="T46" fmla="*/ 127 w 212"/>
                  <a:gd name="T47" fmla="*/ 53 h 373"/>
                  <a:gd name="T48" fmla="*/ 95 w 212"/>
                  <a:gd name="T49" fmla="*/ 75 h 373"/>
                  <a:gd name="T50" fmla="*/ 69 w 212"/>
                  <a:gd name="T51" fmla="*/ 101 h 373"/>
                  <a:gd name="T52" fmla="*/ 53 w 212"/>
                  <a:gd name="T53" fmla="*/ 128 h 373"/>
                  <a:gd name="T54" fmla="*/ 37 w 212"/>
                  <a:gd name="T55" fmla="*/ 160 h 373"/>
                  <a:gd name="T56" fmla="*/ 26 w 212"/>
                  <a:gd name="T57" fmla="*/ 218 h 373"/>
                  <a:gd name="T58" fmla="*/ 37 w 212"/>
                  <a:gd name="T59" fmla="*/ 282 h 373"/>
                  <a:gd name="T60" fmla="*/ 53 w 212"/>
                  <a:gd name="T61" fmla="*/ 319 h 373"/>
                  <a:gd name="T62" fmla="*/ 90 w 212"/>
                  <a:gd name="T63" fmla="*/ 362 h 373"/>
                  <a:gd name="T64" fmla="*/ 80 w 212"/>
                  <a:gd name="T65" fmla="*/ 373 h 373"/>
                  <a:gd name="T66" fmla="*/ 69 w 212"/>
                  <a:gd name="T67" fmla="*/ 367 h 37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12"/>
                  <a:gd name="T103" fmla="*/ 0 h 373"/>
                  <a:gd name="T104" fmla="*/ 212 w 212"/>
                  <a:gd name="T105" fmla="*/ 373 h 373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12" h="373">
                    <a:moveTo>
                      <a:pt x="69" y="367"/>
                    </a:moveTo>
                    <a:lnTo>
                      <a:pt x="48" y="351"/>
                    </a:lnTo>
                    <a:lnTo>
                      <a:pt x="37" y="335"/>
                    </a:lnTo>
                    <a:lnTo>
                      <a:pt x="10" y="298"/>
                    </a:lnTo>
                    <a:lnTo>
                      <a:pt x="5" y="261"/>
                    </a:lnTo>
                    <a:lnTo>
                      <a:pt x="0" y="224"/>
                    </a:lnTo>
                    <a:lnTo>
                      <a:pt x="10" y="186"/>
                    </a:lnTo>
                    <a:lnTo>
                      <a:pt x="21" y="149"/>
                    </a:lnTo>
                    <a:lnTo>
                      <a:pt x="37" y="117"/>
                    </a:lnTo>
                    <a:lnTo>
                      <a:pt x="64" y="80"/>
                    </a:lnTo>
                    <a:lnTo>
                      <a:pt x="90" y="53"/>
                    </a:lnTo>
                    <a:lnTo>
                      <a:pt x="122" y="32"/>
                    </a:lnTo>
                    <a:lnTo>
                      <a:pt x="165" y="21"/>
                    </a:lnTo>
                    <a:lnTo>
                      <a:pt x="122" y="5"/>
                    </a:lnTo>
                    <a:lnTo>
                      <a:pt x="122" y="0"/>
                    </a:lnTo>
                    <a:lnTo>
                      <a:pt x="212" y="5"/>
                    </a:lnTo>
                    <a:lnTo>
                      <a:pt x="212" y="11"/>
                    </a:lnTo>
                    <a:lnTo>
                      <a:pt x="159" y="80"/>
                    </a:lnTo>
                    <a:lnTo>
                      <a:pt x="159" y="53"/>
                    </a:lnTo>
                    <a:lnTo>
                      <a:pt x="175" y="32"/>
                    </a:lnTo>
                    <a:lnTo>
                      <a:pt x="149" y="53"/>
                    </a:lnTo>
                    <a:lnTo>
                      <a:pt x="127" y="53"/>
                    </a:lnTo>
                    <a:lnTo>
                      <a:pt x="95" y="75"/>
                    </a:lnTo>
                    <a:lnTo>
                      <a:pt x="69" y="101"/>
                    </a:lnTo>
                    <a:lnTo>
                      <a:pt x="53" y="128"/>
                    </a:lnTo>
                    <a:lnTo>
                      <a:pt x="37" y="160"/>
                    </a:lnTo>
                    <a:lnTo>
                      <a:pt x="26" y="218"/>
                    </a:lnTo>
                    <a:lnTo>
                      <a:pt x="37" y="282"/>
                    </a:lnTo>
                    <a:lnTo>
                      <a:pt x="53" y="319"/>
                    </a:lnTo>
                    <a:lnTo>
                      <a:pt x="90" y="362"/>
                    </a:lnTo>
                    <a:lnTo>
                      <a:pt x="80" y="373"/>
                    </a:lnTo>
                    <a:lnTo>
                      <a:pt x="69" y="367"/>
                    </a:lnTo>
                    <a:close/>
                  </a:path>
                </a:pathLst>
              </a:custGeom>
              <a:solidFill>
                <a:srgbClr val="504A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37" name="Freeform 359"/>
              <p:cNvSpPr>
                <a:spLocks/>
              </p:cNvSpPr>
              <p:nvPr/>
            </p:nvSpPr>
            <p:spPr bwMode="auto">
              <a:xfrm>
                <a:off x="4437" y="1380"/>
                <a:ext cx="271" cy="288"/>
              </a:xfrm>
              <a:custGeom>
                <a:avLst/>
                <a:gdLst>
                  <a:gd name="T0" fmla="*/ 122 w 271"/>
                  <a:gd name="T1" fmla="*/ 272 h 288"/>
                  <a:gd name="T2" fmla="*/ 95 w 271"/>
                  <a:gd name="T3" fmla="*/ 256 h 288"/>
                  <a:gd name="T4" fmla="*/ 85 w 271"/>
                  <a:gd name="T5" fmla="*/ 261 h 288"/>
                  <a:gd name="T6" fmla="*/ 53 w 271"/>
                  <a:gd name="T7" fmla="*/ 251 h 288"/>
                  <a:gd name="T8" fmla="*/ 21 w 271"/>
                  <a:gd name="T9" fmla="*/ 224 h 288"/>
                  <a:gd name="T10" fmla="*/ 21 w 271"/>
                  <a:gd name="T11" fmla="*/ 219 h 288"/>
                  <a:gd name="T12" fmla="*/ 21 w 271"/>
                  <a:gd name="T13" fmla="*/ 208 h 288"/>
                  <a:gd name="T14" fmla="*/ 26 w 271"/>
                  <a:gd name="T15" fmla="*/ 166 h 288"/>
                  <a:gd name="T16" fmla="*/ 10 w 271"/>
                  <a:gd name="T17" fmla="*/ 160 h 288"/>
                  <a:gd name="T18" fmla="*/ 0 w 271"/>
                  <a:gd name="T19" fmla="*/ 123 h 288"/>
                  <a:gd name="T20" fmla="*/ 10 w 271"/>
                  <a:gd name="T21" fmla="*/ 123 h 288"/>
                  <a:gd name="T22" fmla="*/ 31 w 271"/>
                  <a:gd name="T23" fmla="*/ 107 h 288"/>
                  <a:gd name="T24" fmla="*/ 21 w 271"/>
                  <a:gd name="T25" fmla="*/ 59 h 288"/>
                  <a:gd name="T26" fmla="*/ 53 w 271"/>
                  <a:gd name="T27" fmla="*/ 59 h 288"/>
                  <a:gd name="T28" fmla="*/ 58 w 271"/>
                  <a:gd name="T29" fmla="*/ 54 h 288"/>
                  <a:gd name="T30" fmla="*/ 69 w 271"/>
                  <a:gd name="T31" fmla="*/ 16 h 288"/>
                  <a:gd name="T32" fmla="*/ 101 w 271"/>
                  <a:gd name="T33" fmla="*/ 32 h 288"/>
                  <a:gd name="T34" fmla="*/ 122 w 271"/>
                  <a:gd name="T35" fmla="*/ 0 h 288"/>
                  <a:gd name="T36" fmla="*/ 159 w 271"/>
                  <a:gd name="T37" fmla="*/ 27 h 288"/>
                  <a:gd name="T38" fmla="*/ 218 w 271"/>
                  <a:gd name="T39" fmla="*/ 22 h 288"/>
                  <a:gd name="T40" fmla="*/ 212 w 271"/>
                  <a:gd name="T41" fmla="*/ 54 h 288"/>
                  <a:gd name="T42" fmla="*/ 228 w 271"/>
                  <a:gd name="T43" fmla="*/ 59 h 288"/>
                  <a:gd name="T44" fmla="*/ 255 w 271"/>
                  <a:gd name="T45" fmla="*/ 70 h 288"/>
                  <a:gd name="T46" fmla="*/ 244 w 271"/>
                  <a:gd name="T47" fmla="*/ 107 h 288"/>
                  <a:gd name="T48" fmla="*/ 271 w 271"/>
                  <a:gd name="T49" fmla="*/ 123 h 288"/>
                  <a:gd name="T50" fmla="*/ 244 w 271"/>
                  <a:gd name="T51" fmla="*/ 166 h 288"/>
                  <a:gd name="T52" fmla="*/ 244 w 271"/>
                  <a:gd name="T53" fmla="*/ 224 h 288"/>
                  <a:gd name="T54" fmla="*/ 218 w 271"/>
                  <a:gd name="T55" fmla="*/ 261 h 288"/>
                  <a:gd name="T56" fmla="*/ 212 w 271"/>
                  <a:gd name="T57" fmla="*/ 261 h 288"/>
                  <a:gd name="T58" fmla="*/ 202 w 271"/>
                  <a:gd name="T59" fmla="*/ 267 h 288"/>
                  <a:gd name="T60" fmla="*/ 170 w 271"/>
                  <a:gd name="T61" fmla="*/ 251 h 288"/>
                  <a:gd name="T62" fmla="*/ 138 w 271"/>
                  <a:gd name="T63" fmla="*/ 283 h 288"/>
                  <a:gd name="T64" fmla="*/ 122 w 271"/>
                  <a:gd name="T65" fmla="*/ 283 h 288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71"/>
                  <a:gd name="T100" fmla="*/ 0 h 288"/>
                  <a:gd name="T101" fmla="*/ 271 w 271"/>
                  <a:gd name="T102" fmla="*/ 288 h 288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71" h="288">
                    <a:moveTo>
                      <a:pt x="122" y="283"/>
                    </a:moveTo>
                    <a:lnTo>
                      <a:pt x="122" y="272"/>
                    </a:lnTo>
                    <a:lnTo>
                      <a:pt x="101" y="251"/>
                    </a:lnTo>
                    <a:lnTo>
                      <a:pt x="95" y="256"/>
                    </a:lnTo>
                    <a:lnTo>
                      <a:pt x="95" y="261"/>
                    </a:lnTo>
                    <a:lnTo>
                      <a:pt x="85" y="261"/>
                    </a:lnTo>
                    <a:lnTo>
                      <a:pt x="85" y="267"/>
                    </a:lnTo>
                    <a:lnTo>
                      <a:pt x="53" y="251"/>
                    </a:lnTo>
                    <a:lnTo>
                      <a:pt x="53" y="219"/>
                    </a:lnTo>
                    <a:lnTo>
                      <a:pt x="21" y="224"/>
                    </a:lnTo>
                    <a:lnTo>
                      <a:pt x="21" y="219"/>
                    </a:lnTo>
                    <a:lnTo>
                      <a:pt x="21" y="208"/>
                    </a:lnTo>
                    <a:lnTo>
                      <a:pt x="31" y="176"/>
                    </a:lnTo>
                    <a:lnTo>
                      <a:pt x="26" y="166"/>
                    </a:lnTo>
                    <a:lnTo>
                      <a:pt x="21" y="160"/>
                    </a:lnTo>
                    <a:lnTo>
                      <a:pt x="10" y="160"/>
                    </a:lnTo>
                    <a:lnTo>
                      <a:pt x="5" y="155"/>
                    </a:lnTo>
                    <a:lnTo>
                      <a:pt x="0" y="123"/>
                    </a:lnTo>
                    <a:lnTo>
                      <a:pt x="5" y="123"/>
                    </a:lnTo>
                    <a:lnTo>
                      <a:pt x="10" y="123"/>
                    </a:lnTo>
                    <a:lnTo>
                      <a:pt x="26" y="118"/>
                    </a:lnTo>
                    <a:lnTo>
                      <a:pt x="31" y="107"/>
                    </a:lnTo>
                    <a:lnTo>
                      <a:pt x="16" y="86"/>
                    </a:lnTo>
                    <a:lnTo>
                      <a:pt x="21" y="59"/>
                    </a:lnTo>
                    <a:lnTo>
                      <a:pt x="53" y="64"/>
                    </a:lnTo>
                    <a:lnTo>
                      <a:pt x="53" y="59"/>
                    </a:lnTo>
                    <a:lnTo>
                      <a:pt x="58" y="59"/>
                    </a:lnTo>
                    <a:lnTo>
                      <a:pt x="58" y="54"/>
                    </a:lnTo>
                    <a:lnTo>
                      <a:pt x="63" y="54"/>
                    </a:lnTo>
                    <a:lnTo>
                      <a:pt x="69" y="16"/>
                    </a:lnTo>
                    <a:lnTo>
                      <a:pt x="90" y="11"/>
                    </a:lnTo>
                    <a:lnTo>
                      <a:pt x="101" y="32"/>
                    </a:lnTo>
                    <a:lnTo>
                      <a:pt x="117" y="27"/>
                    </a:lnTo>
                    <a:lnTo>
                      <a:pt x="122" y="0"/>
                    </a:lnTo>
                    <a:lnTo>
                      <a:pt x="154" y="0"/>
                    </a:lnTo>
                    <a:lnTo>
                      <a:pt x="159" y="27"/>
                    </a:lnTo>
                    <a:lnTo>
                      <a:pt x="175" y="16"/>
                    </a:lnTo>
                    <a:lnTo>
                      <a:pt x="218" y="22"/>
                    </a:lnTo>
                    <a:lnTo>
                      <a:pt x="212" y="54"/>
                    </a:lnTo>
                    <a:lnTo>
                      <a:pt x="212" y="59"/>
                    </a:lnTo>
                    <a:lnTo>
                      <a:pt x="228" y="59"/>
                    </a:lnTo>
                    <a:lnTo>
                      <a:pt x="255" y="70"/>
                    </a:lnTo>
                    <a:lnTo>
                      <a:pt x="255" y="75"/>
                    </a:lnTo>
                    <a:lnTo>
                      <a:pt x="244" y="107"/>
                    </a:lnTo>
                    <a:lnTo>
                      <a:pt x="244" y="118"/>
                    </a:lnTo>
                    <a:lnTo>
                      <a:pt x="271" y="123"/>
                    </a:lnTo>
                    <a:lnTo>
                      <a:pt x="271" y="150"/>
                    </a:lnTo>
                    <a:lnTo>
                      <a:pt x="244" y="166"/>
                    </a:lnTo>
                    <a:lnTo>
                      <a:pt x="260" y="197"/>
                    </a:lnTo>
                    <a:lnTo>
                      <a:pt x="244" y="224"/>
                    </a:lnTo>
                    <a:lnTo>
                      <a:pt x="212" y="229"/>
                    </a:lnTo>
                    <a:lnTo>
                      <a:pt x="218" y="261"/>
                    </a:lnTo>
                    <a:lnTo>
                      <a:pt x="212" y="261"/>
                    </a:lnTo>
                    <a:lnTo>
                      <a:pt x="202" y="261"/>
                    </a:lnTo>
                    <a:lnTo>
                      <a:pt x="202" y="267"/>
                    </a:lnTo>
                    <a:lnTo>
                      <a:pt x="170" y="251"/>
                    </a:lnTo>
                    <a:lnTo>
                      <a:pt x="143" y="288"/>
                    </a:lnTo>
                    <a:lnTo>
                      <a:pt x="138" y="283"/>
                    </a:lnTo>
                    <a:lnTo>
                      <a:pt x="122" y="2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38" name="Freeform 360"/>
              <p:cNvSpPr>
                <a:spLocks/>
              </p:cNvSpPr>
              <p:nvPr/>
            </p:nvSpPr>
            <p:spPr bwMode="auto">
              <a:xfrm>
                <a:off x="4442" y="1370"/>
                <a:ext cx="271" cy="287"/>
              </a:xfrm>
              <a:custGeom>
                <a:avLst/>
                <a:gdLst>
                  <a:gd name="T0" fmla="*/ 122 w 271"/>
                  <a:gd name="T1" fmla="*/ 271 h 287"/>
                  <a:gd name="T2" fmla="*/ 96 w 271"/>
                  <a:gd name="T3" fmla="*/ 255 h 287"/>
                  <a:gd name="T4" fmla="*/ 85 w 271"/>
                  <a:gd name="T5" fmla="*/ 261 h 287"/>
                  <a:gd name="T6" fmla="*/ 53 w 271"/>
                  <a:gd name="T7" fmla="*/ 250 h 287"/>
                  <a:gd name="T8" fmla="*/ 21 w 271"/>
                  <a:gd name="T9" fmla="*/ 223 h 287"/>
                  <a:gd name="T10" fmla="*/ 21 w 271"/>
                  <a:gd name="T11" fmla="*/ 213 h 287"/>
                  <a:gd name="T12" fmla="*/ 21 w 271"/>
                  <a:gd name="T13" fmla="*/ 207 h 287"/>
                  <a:gd name="T14" fmla="*/ 26 w 271"/>
                  <a:gd name="T15" fmla="*/ 165 h 287"/>
                  <a:gd name="T16" fmla="*/ 11 w 271"/>
                  <a:gd name="T17" fmla="*/ 160 h 287"/>
                  <a:gd name="T18" fmla="*/ 0 w 271"/>
                  <a:gd name="T19" fmla="*/ 122 h 287"/>
                  <a:gd name="T20" fmla="*/ 11 w 271"/>
                  <a:gd name="T21" fmla="*/ 122 h 287"/>
                  <a:gd name="T22" fmla="*/ 32 w 271"/>
                  <a:gd name="T23" fmla="*/ 101 h 287"/>
                  <a:gd name="T24" fmla="*/ 21 w 271"/>
                  <a:gd name="T25" fmla="*/ 53 h 287"/>
                  <a:gd name="T26" fmla="*/ 53 w 271"/>
                  <a:gd name="T27" fmla="*/ 58 h 287"/>
                  <a:gd name="T28" fmla="*/ 58 w 271"/>
                  <a:gd name="T29" fmla="*/ 53 h 287"/>
                  <a:gd name="T30" fmla="*/ 69 w 271"/>
                  <a:gd name="T31" fmla="*/ 16 h 287"/>
                  <a:gd name="T32" fmla="*/ 101 w 271"/>
                  <a:gd name="T33" fmla="*/ 32 h 287"/>
                  <a:gd name="T34" fmla="*/ 122 w 271"/>
                  <a:gd name="T35" fmla="*/ 0 h 287"/>
                  <a:gd name="T36" fmla="*/ 159 w 271"/>
                  <a:gd name="T37" fmla="*/ 26 h 287"/>
                  <a:gd name="T38" fmla="*/ 218 w 271"/>
                  <a:gd name="T39" fmla="*/ 21 h 287"/>
                  <a:gd name="T40" fmla="*/ 213 w 271"/>
                  <a:gd name="T41" fmla="*/ 53 h 287"/>
                  <a:gd name="T42" fmla="*/ 255 w 271"/>
                  <a:gd name="T43" fmla="*/ 69 h 287"/>
                  <a:gd name="T44" fmla="*/ 255 w 271"/>
                  <a:gd name="T45" fmla="*/ 74 h 287"/>
                  <a:gd name="T46" fmla="*/ 245 w 271"/>
                  <a:gd name="T47" fmla="*/ 117 h 287"/>
                  <a:gd name="T48" fmla="*/ 271 w 271"/>
                  <a:gd name="T49" fmla="*/ 149 h 287"/>
                  <a:gd name="T50" fmla="*/ 261 w 271"/>
                  <a:gd name="T51" fmla="*/ 191 h 287"/>
                  <a:gd name="T52" fmla="*/ 213 w 271"/>
                  <a:gd name="T53" fmla="*/ 229 h 287"/>
                  <a:gd name="T54" fmla="*/ 213 w 271"/>
                  <a:gd name="T55" fmla="*/ 261 h 287"/>
                  <a:gd name="T56" fmla="*/ 202 w 271"/>
                  <a:gd name="T57" fmla="*/ 261 h 287"/>
                  <a:gd name="T58" fmla="*/ 170 w 271"/>
                  <a:gd name="T59" fmla="*/ 250 h 287"/>
                  <a:gd name="T60" fmla="*/ 143 w 271"/>
                  <a:gd name="T61" fmla="*/ 287 h 287"/>
                  <a:gd name="T62" fmla="*/ 138 w 271"/>
                  <a:gd name="T63" fmla="*/ 282 h 28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71"/>
                  <a:gd name="T97" fmla="*/ 0 h 287"/>
                  <a:gd name="T98" fmla="*/ 271 w 271"/>
                  <a:gd name="T99" fmla="*/ 287 h 28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71" h="287">
                    <a:moveTo>
                      <a:pt x="122" y="282"/>
                    </a:moveTo>
                    <a:lnTo>
                      <a:pt x="122" y="271"/>
                    </a:lnTo>
                    <a:lnTo>
                      <a:pt x="101" y="250"/>
                    </a:lnTo>
                    <a:lnTo>
                      <a:pt x="96" y="255"/>
                    </a:lnTo>
                    <a:lnTo>
                      <a:pt x="96" y="261"/>
                    </a:lnTo>
                    <a:lnTo>
                      <a:pt x="85" y="261"/>
                    </a:lnTo>
                    <a:lnTo>
                      <a:pt x="85" y="266"/>
                    </a:lnTo>
                    <a:lnTo>
                      <a:pt x="53" y="250"/>
                    </a:lnTo>
                    <a:lnTo>
                      <a:pt x="53" y="213"/>
                    </a:lnTo>
                    <a:lnTo>
                      <a:pt x="21" y="223"/>
                    </a:lnTo>
                    <a:lnTo>
                      <a:pt x="21" y="213"/>
                    </a:lnTo>
                    <a:lnTo>
                      <a:pt x="21" y="207"/>
                    </a:lnTo>
                    <a:lnTo>
                      <a:pt x="32" y="176"/>
                    </a:lnTo>
                    <a:lnTo>
                      <a:pt x="26" y="165"/>
                    </a:lnTo>
                    <a:lnTo>
                      <a:pt x="21" y="160"/>
                    </a:lnTo>
                    <a:lnTo>
                      <a:pt x="11" y="160"/>
                    </a:lnTo>
                    <a:lnTo>
                      <a:pt x="5" y="154"/>
                    </a:lnTo>
                    <a:lnTo>
                      <a:pt x="0" y="122"/>
                    </a:lnTo>
                    <a:lnTo>
                      <a:pt x="5" y="122"/>
                    </a:lnTo>
                    <a:lnTo>
                      <a:pt x="11" y="122"/>
                    </a:lnTo>
                    <a:lnTo>
                      <a:pt x="26" y="117"/>
                    </a:lnTo>
                    <a:lnTo>
                      <a:pt x="32" y="101"/>
                    </a:lnTo>
                    <a:lnTo>
                      <a:pt x="16" y="85"/>
                    </a:lnTo>
                    <a:lnTo>
                      <a:pt x="21" y="53"/>
                    </a:lnTo>
                    <a:lnTo>
                      <a:pt x="53" y="64"/>
                    </a:lnTo>
                    <a:lnTo>
                      <a:pt x="53" y="58"/>
                    </a:lnTo>
                    <a:lnTo>
                      <a:pt x="58" y="58"/>
                    </a:lnTo>
                    <a:lnTo>
                      <a:pt x="58" y="53"/>
                    </a:lnTo>
                    <a:lnTo>
                      <a:pt x="64" y="53"/>
                    </a:lnTo>
                    <a:lnTo>
                      <a:pt x="69" y="16"/>
                    </a:lnTo>
                    <a:lnTo>
                      <a:pt x="90" y="10"/>
                    </a:lnTo>
                    <a:lnTo>
                      <a:pt x="101" y="32"/>
                    </a:lnTo>
                    <a:lnTo>
                      <a:pt x="117" y="26"/>
                    </a:lnTo>
                    <a:lnTo>
                      <a:pt x="122" y="0"/>
                    </a:lnTo>
                    <a:lnTo>
                      <a:pt x="154" y="0"/>
                    </a:lnTo>
                    <a:lnTo>
                      <a:pt x="159" y="26"/>
                    </a:lnTo>
                    <a:lnTo>
                      <a:pt x="175" y="16"/>
                    </a:lnTo>
                    <a:lnTo>
                      <a:pt x="218" y="21"/>
                    </a:lnTo>
                    <a:lnTo>
                      <a:pt x="213" y="53"/>
                    </a:lnTo>
                    <a:lnTo>
                      <a:pt x="229" y="58"/>
                    </a:lnTo>
                    <a:lnTo>
                      <a:pt x="255" y="69"/>
                    </a:lnTo>
                    <a:lnTo>
                      <a:pt x="255" y="74"/>
                    </a:lnTo>
                    <a:lnTo>
                      <a:pt x="245" y="101"/>
                    </a:lnTo>
                    <a:lnTo>
                      <a:pt x="245" y="117"/>
                    </a:lnTo>
                    <a:lnTo>
                      <a:pt x="271" y="122"/>
                    </a:lnTo>
                    <a:lnTo>
                      <a:pt x="271" y="149"/>
                    </a:lnTo>
                    <a:lnTo>
                      <a:pt x="245" y="165"/>
                    </a:lnTo>
                    <a:lnTo>
                      <a:pt x="261" y="191"/>
                    </a:lnTo>
                    <a:lnTo>
                      <a:pt x="245" y="223"/>
                    </a:lnTo>
                    <a:lnTo>
                      <a:pt x="213" y="229"/>
                    </a:lnTo>
                    <a:lnTo>
                      <a:pt x="218" y="261"/>
                    </a:lnTo>
                    <a:lnTo>
                      <a:pt x="213" y="261"/>
                    </a:lnTo>
                    <a:lnTo>
                      <a:pt x="202" y="261"/>
                    </a:lnTo>
                    <a:lnTo>
                      <a:pt x="202" y="266"/>
                    </a:lnTo>
                    <a:lnTo>
                      <a:pt x="170" y="250"/>
                    </a:lnTo>
                    <a:lnTo>
                      <a:pt x="143" y="287"/>
                    </a:lnTo>
                    <a:lnTo>
                      <a:pt x="138" y="282"/>
                    </a:lnTo>
                    <a:lnTo>
                      <a:pt x="122" y="282"/>
                    </a:lnTo>
                    <a:close/>
                  </a:path>
                </a:pathLst>
              </a:custGeom>
              <a:solidFill>
                <a:srgbClr val="96594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39" name="Freeform 361"/>
              <p:cNvSpPr>
                <a:spLocks/>
              </p:cNvSpPr>
              <p:nvPr/>
            </p:nvSpPr>
            <p:spPr bwMode="auto">
              <a:xfrm>
                <a:off x="4171" y="1604"/>
                <a:ext cx="21" cy="37"/>
              </a:xfrm>
              <a:custGeom>
                <a:avLst/>
                <a:gdLst>
                  <a:gd name="T0" fmla="*/ 0 w 21"/>
                  <a:gd name="T1" fmla="*/ 32 h 37"/>
                  <a:gd name="T2" fmla="*/ 0 w 21"/>
                  <a:gd name="T3" fmla="*/ 32 h 37"/>
                  <a:gd name="T4" fmla="*/ 0 w 21"/>
                  <a:gd name="T5" fmla="*/ 0 h 37"/>
                  <a:gd name="T6" fmla="*/ 21 w 21"/>
                  <a:gd name="T7" fmla="*/ 0 h 37"/>
                  <a:gd name="T8" fmla="*/ 10 w 21"/>
                  <a:gd name="T9" fmla="*/ 37 h 37"/>
                  <a:gd name="T10" fmla="*/ 0 w 21"/>
                  <a:gd name="T11" fmla="*/ 3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"/>
                  <a:gd name="T19" fmla="*/ 0 h 37"/>
                  <a:gd name="T20" fmla="*/ 21 w 21"/>
                  <a:gd name="T21" fmla="*/ 37 h 3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" h="37">
                    <a:moveTo>
                      <a:pt x="0" y="32"/>
                    </a:moveTo>
                    <a:lnTo>
                      <a:pt x="0" y="32"/>
                    </a:lnTo>
                    <a:lnTo>
                      <a:pt x="0" y="0"/>
                    </a:lnTo>
                    <a:lnTo>
                      <a:pt x="21" y="0"/>
                    </a:lnTo>
                    <a:lnTo>
                      <a:pt x="10" y="37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49557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40" name="Freeform 362"/>
              <p:cNvSpPr>
                <a:spLocks/>
              </p:cNvSpPr>
              <p:nvPr/>
            </p:nvSpPr>
            <p:spPr bwMode="auto">
              <a:xfrm>
                <a:off x="4484" y="1439"/>
                <a:ext cx="176" cy="165"/>
              </a:xfrm>
              <a:custGeom>
                <a:avLst/>
                <a:gdLst>
                  <a:gd name="T0" fmla="*/ 59 w 176"/>
                  <a:gd name="T1" fmla="*/ 165 h 165"/>
                  <a:gd name="T2" fmla="*/ 38 w 176"/>
                  <a:gd name="T3" fmla="*/ 149 h 165"/>
                  <a:gd name="T4" fmla="*/ 22 w 176"/>
                  <a:gd name="T5" fmla="*/ 144 h 165"/>
                  <a:gd name="T6" fmla="*/ 16 w 176"/>
                  <a:gd name="T7" fmla="*/ 117 h 165"/>
                  <a:gd name="T8" fmla="*/ 0 w 176"/>
                  <a:gd name="T9" fmla="*/ 91 h 165"/>
                  <a:gd name="T10" fmla="*/ 22 w 176"/>
                  <a:gd name="T11" fmla="*/ 16 h 165"/>
                  <a:gd name="T12" fmla="*/ 54 w 176"/>
                  <a:gd name="T13" fmla="*/ 0 h 165"/>
                  <a:gd name="T14" fmla="*/ 86 w 176"/>
                  <a:gd name="T15" fmla="*/ 0 h 165"/>
                  <a:gd name="T16" fmla="*/ 123 w 176"/>
                  <a:gd name="T17" fmla="*/ 0 h 165"/>
                  <a:gd name="T18" fmla="*/ 160 w 176"/>
                  <a:gd name="T19" fmla="*/ 21 h 165"/>
                  <a:gd name="T20" fmla="*/ 171 w 176"/>
                  <a:gd name="T21" fmla="*/ 48 h 165"/>
                  <a:gd name="T22" fmla="*/ 176 w 176"/>
                  <a:gd name="T23" fmla="*/ 69 h 165"/>
                  <a:gd name="T24" fmla="*/ 176 w 176"/>
                  <a:gd name="T25" fmla="*/ 91 h 165"/>
                  <a:gd name="T26" fmla="*/ 123 w 176"/>
                  <a:gd name="T27" fmla="*/ 149 h 165"/>
                  <a:gd name="T28" fmla="*/ 123 w 176"/>
                  <a:gd name="T29" fmla="*/ 154 h 165"/>
                  <a:gd name="T30" fmla="*/ 123 w 176"/>
                  <a:gd name="T31" fmla="*/ 160 h 165"/>
                  <a:gd name="T32" fmla="*/ 112 w 176"/>
                  <a:gd name="T33" fmla="*/ 160 h 165"/>
                  <a:gd name="T34" fmla="*/ 112 w 176"/>
                  <a:gd name="T35" fmla="*/ 165 h 165"/>
                  <a:gd name="T36" fmla="*/ 86 w 176"/>
                  <a:gd name="T37" fmla="*/ 165 h 165"/>
                  <a:gd name="T38" fmla="*/ 64 w 176"/>
                  <a:gd name="T39" fmla="*/ 165 h 165"/>
                  <a:gd name="T40" fmla="*/ 59 w 176"/>
                  <a:gd name="T41" fmla="*/ 165 h 16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76"/>
                  <a:gd name="T64" fmla="*/ 0 h 165"/>
                  <a:gd name="T65" fmla="*/ 176 w 176"/>
                  <a:gd name="T66" fmla="*/ 165 h 16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76" h="165">
                    <a:moveTo>
                      <a:pt x="59" y="165"/>
                    </a:moveTo>
                    <a:lnTo>
                      <a:pt x="38" y="149"/>
                    </a:lnTo>
                    <a:lnTo>
                      <a:pt x="22" y="144"/>
                    </a:lnTo>
                    <a:lnTo>
                      <a:pt x="16" y="117"/>
                    </a:lnTo>
                    <a:lnTo>
                      <a:pt x="0" y="91"/>
                    </a:lnTo>
                    <a:lnTo>
                      <a:pt x="22" y="16"/>
                    </a:lnTo>
                    <a:lnTo>
                      <a:pt x="54" y="0"/>
                    </a:lnTo>
                    <a:lnTo>
                      <a:pt x="86" y="0"/>
                    </a:lnTo>
                    <a:lnTo>
                      <a:pt x="123" y="0"/>
                    </a:lnTo>
                    <a:lnTo>
                      <a:pt x="160" y="21"/>
                    </a:lnTo>
                    <a:lnTo>
                      <a:pt x="171" y="48"/>
                    </a:lnTo>
                    <a:lnTo>
                      <a:pt x="176" y="69"/>
                    </a:lnTo>
                    <a:lnTo>
                      <a:pt x="176" y="91"/>
                    </a:lnTo>
                    <a:lnTo>
                      <a:pt x="123" y="149"/>
                    </a:lnTo>
                    <a:lnTo>
                      <a:pt x="123" y="154"/>
                    </a:lnTo>
                    <a:lnTo>
                      <a:pt x="123" y="160"/>
                    </a:lnTo>
                    <a:lnTo>
                      <a:pt x="112" y="160"/>
                    </a:lnTo>
                    <a:lnTo>
                      <a:pt x="112" y="165"/>
                    </a:lnTo>
                    <a:lnTo>
                      <a:pt x="86" y="165"/>
                    </a:lnTo>
                    <a:lnTo>
                      <a:pt x="64" y="165"/>
                    </a:lnTo>
                    <a:lnTo>
                      <a:pt x="59" y="165"/>
                    </a:lnTo>
                    <a:close/>
                  </a:path>
                </a:pathLst>
              </a:custGeom>
              <a:solidFill>
                <a:srgbClr val="61BFF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41" name="Freeform 363"/>
              <p:cNvSpPr>
                <a:spLocks/>
              </p:cNvSpPr>
              <p:nvPr/>
            </p:nvSpPr>
            <p:spPr bwMode="auto">
              <a:xfrm>
                <a:off x="4266" y="1530"/>
                <a:ext cx="27" cy="26"/>
              </a:xfrm>
              <a:custGeom>
                <a:avLst/>
                <a:gdLst>
                  <a:gd name="T0" fmla="*/ 0 w 27"/>
                  <a:gd name="T1" fmla="*/ 26 h 26"/>
                  <a:gd name="T2" fmla="*/ 0 w 27"/>
                  <a:gd name="T3" fmla="*/ 26 h 26"/>
                  <a:gd name="T4" fmla="*/ 6 w 27"/>
                  <a:gd name="T5" fmla="*/ 0 h 26"/>
                  <a:gd name="T6" fmla="*/ 27 w 27"/>
                  <a:gd name="T7" fmla="*/ 0 h 26"/>
                  <a:gd name="T8" fmla="*/ 11 w 27"/>
                  <a:gd name="T9" fmla="*/ 26 h 26"/>
                  <a:gd name="T10" fmla="*/ 0 w 27"/>
                  <a:gd name="T11" fmla="*/ 26 h 2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7"/>
                  <a:gd name="T19" fmla="*/ 0 h 26"/>
                  <a:gd name="T20" fmla="*/ 27 w 27"/>
                  <a:gd name="T21" fmla="*/ 26 h 2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7" h="26">
                    <a:moveTo>
                      <a:pt x="0" y="26"/>
                    </a:moveTo>
                    <a:lnTo>
                      <a:pt x="0" y="26"/>
                    </a:lnTo>
                    <a:lnTo>
                      <a:pt x="6" y="0"/>
                    </a:lnTo>
                    <a:lnTo>
                      <a:pt x="27" y="0"/>
                    </a:lnTo>
                    <a:lnTo>
                      <a:pt x="11" y="26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rgbClr val="49557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42" name="Freeform 364"/>
              <p:cNvSpPr>
                <a:spLocks/>
              </p:cNvSpPr>
              <p:nvPr/>
            </p:nvSpPr>
            <p:spPr bwMode="auto">
              <a:xfrm>
                <a:off x="4543" y="1487"/>
                <a:ext cx="53" cy="59"/>
              </a:xfrm>
              <a:custGeom>
                <a:avLst/>
                <a:gdLst>
                  <a:gd name="T0" fmla="*/ 27 w 53"/>
                  <a:gd name="T1" fmla="*/ 53 h 59"/>
                  <a:gd name="T2" fmla="*/ 16 w 53"/>
                  <a:gd name="T3" fmla="*/ 53 h 59"/>
                  <a:gd name="T4" fmla="*/ 0 w 53"/>
                  <a:gd name="T5" fmla="*/ 37 h 59"/>
                  <a:gd name="T6" fmla="*/ 0 w 53"/>
                  <a:gd name="T7" fmla="*/ 32 h 59"/>
                  <a:gd name="T8" fmla="*/ 0 w 53"/>
                  <a:gd name="T9" fmla="*/ 32 h 59"/>
                  <a:gd name="T10" fmla="*/ 16 w 53"/>
                  <a:gd name="T11" fmla="*/ 0 h 59"/>
                  <a:gd name="T12" fmla="*/ 53 w 53"/>
                  <a:gd name="T13" fmla="*/ 21 h 59"/>
                  <a:gd name="T14" fmla="*/ 32 w 53"/>
                  <a:gd name="T15" fmla="*/ 59 h 59"/>
                  <a:gd name="T16" fmla="*/ 27 w 53"/>
                  <a:gd name="T17" fmla="*/ 53 h 5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3"/>
                  <a:gd name="T28" fmla="*/ 0 h 59"/>
                  <a:gd name="T29" fmla="*/ 53 w 53"/>
                  <a:gd name="T30" fmla="*/ 59 h 5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3" h="59">
                    <a:moveTo>
                      <a:pt x="27" y="53"/>
                    </a:moveTo>
                    <a:lnTo>
                      <a:pt x="16" y="53"/>
                    </a:lnTo>
                    <a:lnTo>
                      <a:pt x="0" y="37"/>
                    </a:lnTo>
                    <a:lnTo>
                      <a:pt x="0" y="32"/>
                    </a:lnTo>
                    <a:lnTo>
                      <a:pt x="16" y="0"/>
                    </a:lnTo>
                    <a:lnTo>
                      <a:pt x="53" y="21"/>
                    </a:lnTo>
                    <a:lnTo>
                      <a:pt x="32" y="59"/>
                    </a:lnTo>
                    <a:lnTo>
                      <a:pt x="27" y="53"/>
                    </a:lnTo>
                    <a:close/>
                  </a:path>
                </a:pathLst>
              </a:custGeom>
              <a:solidFill>
                <a:srgbClr val="504A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43" name="Freeform 365"/>
              <p:cNvSpPr>
                <a:spLocks/>
              </p:cNvSpPr>
              <p:nvPr/>
            </p:nvSpPr>
            <p:spPr bwMode="auto">
              <a:xfrm>
                <a:off x="4117" y="1258"/>
                <a:ext cx="234" cy="229"/>
              </a:xfrm>
              <a:custGeom>
                <a:avLst/>
                <a:gdLst>
                  <a:gd name="T0" fmla="*/ 181 w 234"/>
                  <a:gd name="T1" fmla="*/ 229 h 229"/>
                  <a:gd name="T2" fmla="*/ 203 w 234"/>
                  <a:gd name="T3" fmla="*/ 176 h 229"/>
                  <a:gd name="T4" fmla="*/ 187 w 234"/>
                  <a:gd name="T5" fmla="*/ 192 h 229"/>
                  <a:gd name="T6" fmla="*/ 144 w 234"/>
                  <a:gd name="T7" fmla="*/ 192 h 229"/>
                  <a:gd name="T8" fmla="*/ 107 w 234"/>
                  <a:gd name="T9" fmla="*/ 186 h 229"/>
                  <a:gd name="T10" fmla="*/ 64 w 234"/>
                  <a:gd name="T11" fmla="*/ 165 h 229"/>
                  <a:gd name="T12" fmla="*/ 27 w 234"/>
                  <a:gd name="T13" fmla="*/ 133 h 229"/>
                  <a:gd name="T14" fmla="*/ 11 w 234"/>
                  <a:gd name="T15" fmla="*/ 101 h 229"/>
                  <a:gd name="T16" fmla="*/ 6 w 234"/>
                  <a:gd name="T17" fmla="*/ 69 h 229"/>
                  <a:gd name="T18" fmla="*/ 0 w 234"/>
                  <a:gd name="T19" fmla="*/ 16 h 229"/>
                  <a:gd name="T20" fmla="*/ 0 w 234"/>
                  <a:gd name="T21" fmla="*/ 5 h 229"/>
                  <a:gd name="T22" fmla="*/ 0 w 234"/>
                  <a:gd name="T23" fmla="*/ 0 h 229"/>
                  <a:gd name="T24" fmla="*/ 6 w 234"/>
                  <a:gd name="T25" fmla="*/ 0 h 229"/>
                  <a:gd name="T26" fmla="*/ 16 w 234"/>
                  <a:gd name="T27" fmla="*/ 27 h 229"/>
                  <a:gd name="T28" fmla="*/ 27 w 234"/>
                  <a:gd name="T29" fmla="*/ 91 h 229"/>
                  <a:gd name="T30" fmla="*/ 48 w 234"/>
                  <a:gd name="T31" fmla="*/ 117 h 229"/>
                  <a:gd name="T32" fmla="*/ 48 w 234"/>
                  <a:gd name="T33" fmla="*/ 117 h 229"/>
                  <a:gd name="T34" fmla="*/ 48 w 234"/>
                  <a:gd name="T35" fmla="*/ 122 h 229"/>
                  <a:gd name="T36" fmla="*/ 48 w 234"/>
                  <a:gd name="T37" fmla="*/ 128 h 229"/>
                  <a:gd name="T38" fmla="*/ 54 w 234"/>
                  <a:gd name="T39" fmla="*/ 133 h 229"/>
                  <a:gd name="T40" fmla="*/ 112 w 234"/>
                  <a:gd name="T41" fmla="*/ 160 h 229"/>
                  <a:gd name="T42" fmla="*/ 139 w 234"/>
                  <a:gd name="T43" fmla="*/ 170 h 229"/>
                  <a:gd name="T44" fmla="*/ 171 w 234"/>
                  <a:gd name="T45" fmla="*/ 176 h 229"/>
                  <a:gd name="T46" fmla="*/ 192 w 234"/>
                  <a:gd name="T47" fmla="*/ 160 h 229"/>
                  <a:gd name="T48" fmla="*/ 155 w 234"/>
                  <a:gd name="T49" fmla="*/ 149 h 229"/>
                  <a:gd name="T50" fmla="*/ 224 w 234"/>
                  <a:gd name="T51" fmla="*/ 138 h 229"/>
                  <a:gd name="T52" fmla="*/ 229 w 234"/>
                  <a:gd name="T53" fmla="*/ 138 h 229"/>
                  <a:gd name="T54" fmla="*/ 234 w 234"/>
                  <a:gd name="T55" fmla="*/ 144 h 229"/>
                  <a:gd name="T56" fmla="*/ 229 w 234"/>
                  <a:gd name="T57" fmla="*/ 165 h 229"/>
                  <a:gd name="T58" fmla="*/ 219 w 234"/>
                  <a:gd name="T59" fmla="*/ 186 h 229"/>
                  <a:gd name="T60" fmla="*/ 192 w 234"/>
                  <a:gd name="T61" fmla="*/ 229 h 229"/>
                  <a:gd name="T62" fmla="*/ 181 w 234"/>
                  <a:gd name="T63" fmla="*/ 229 h 22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34"/>
                  <a:gd name="T97" fmla="*/ 0 h 229"/>
                  <a:gd name="T98" fmla="*/ 234 w 234"/>
                  <a:gd name="T99" fmla="*/ 229 h 229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34" h="229">
                    <a:moveTo>
                      <a:pt x="181" y="229"/>
                    </a:moveTo>
                    <a:lnTo>
                      <a:pt x="203" y="176"/>
                    </a:lnTo>
                    <a:lnTo>
                      <a:pt x="187" y="192"/>
                    </a:lnTo>
                    <a:lnTo>
                      <a:pt x="144" y="192"/>
                    </a:lnTo>
                    <a:lnTo>
                      <a:pt x="107" y="186"/>
                    </a:lnTo>
                    <a:lnTo>
                      <a:pt x="64" y="165"/>
                    </a:lnTo>
                    <a:lnTo>
                      <a:pt x="27" y="133"/>
                    </a:lnTo>
                    <a:lnTo>
                      <a:pt x="11" y="101"/>
                    </a:lnTo>
                    <a:lnTo>
                      <a:pt x="6" y="69"/>
                    </a:lnTo>
                    <a:lnTo>
                      <a:pt x="0" y="16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16" y="27"/>
                    </a:lnTo>
                    <a:lnTo>
                      <a:pt x="27" y="91"/>
                    </a:lnTo>
                    <a:lnTo>
                      <a:pt x="48" y="117"/>
                    </a:lnTo>
                    <a:lnTo>
                      <a:pt x="48" y="122"/>
                    </a:lnTo>
                    <a:lnTo>
                      <a:pt x="48" y="128"/>
                    </a:lnTo>
                    <a:lnTo>
                      <a:pt x="54" y="133"/>
                    </a:lnTo>
                    <a:lnTo>
                      <a:pt x="112" y="160"/>
                    </a:lnTo>
                    <a:lnTo>
                      <a:pt x="139" y="170"/>
                    </a:lnTo>
                    <a:lnTo>
                      <a:pt x="171" y="176"/>
                    </a:lnTo>
                    <a:lnTo>
                      <a:pt x="192" y="160"/>
                    </a:lnTo>
                    <a:lnTo>
                      <a:pt x="155" y="149"/>
                    </a:lnTo>
                    <a:lnTo>
                      <a:pt x="224" y="138"/>
                    </a:lnTo>
                    <a:lnTo>
                      <a:pt x="229" y="138"/>
                    </a:lnTo>
                    <a:lnTo>
                      <a:pt x="234" y="144"/>
                    </a:lnTo>
                    <a:lnTo>
                      <a:pt x="229" y="165"/>
                    </a:lnTo>
                    <a:lnTo>
                      <a:pt x="219" y="186"/>
                    </a:lnTo>
                    <a:lnTo>
                      <a:pt x="192" y="229"/>
                    </a:lnTo>
                    <a:lnTo>
                      <a:pt x="181" y="229"/>
                    </a:lnTo>
                    <a:close/>
                  </a:path>
                </a:pathLst>
              </a:custGeom>
              <a:solidFill>
                <a:srgbClr val="ACDC7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44" name="Freeform 366"/>
              <p:cNvSpPr>
                <a:spLocks/>
              </p:cNvSpPr>
              <p:nvPr/>
            </p:nvSpPr>
            <p:spPr bwMode="auto">
              <a:xfrm>
                <a:off x="4128" y="1253"/>
                <a:ext cx="234" cy="223"/>
              </a:xfrm>
              <a:custGeom>
                <a:avLst/>
                <a:gdLst>
                  <a:gd name="T0" fmla="*/ 181 w 234"/>
                  <a:gd name="T1" fmla="*/ 223 h 223"/>
                  <a:gd name="T2" fmla="*/ 202 w 234"/>
                  <a:gd name="T3" fmla="*/ 175 h 223"/>
                  <a:gd name="T4" fmla="*/ 186 w 234"/>
                  <a:gd name="T5" fmla="*/ 191 h 223"/>
                  <a:gd name="T6" fmla="*/ 144 w 234"/>
                  <a:gd name="T7" fmla="*/ 191 h 223"/>
                  <a:gd name="T8" fmla="*/ 106 w 234"/>
                  <a:gd name="T9" fmla="*/ 186 h 223"/>
                  <a:gd name="T10" fmla="*/ 64 w 234"/>
                  <a:gd name="T11" fmla="*/ 165 h 223"/>
                  <a:gd name="T12" fmla="*/ 27 w 234"/>
                  <a:gd name="T13" fmla="*/ 133 h 223"/>
                  <a:gd name="T14" fmla="*/ 11 w 234"/>
                  <a:gd name="T15" fmla="*/ 101 h 223"/>
                  <a:gd name="T16" fmla="*/ 5 w 234"/>
                  <a:gd name="T17" fmla="*/ 69 h 223"/>
                  <a:gd name="T18" fmla="*/ 0 w 234"/>
                  <a:gd name="T19" fmla="*/ 16 h 223"/>
                  <a:gd name="T20" fmla="*/ 0 w 234"/>
                  <a:gd name="T21" fmla="*/ 5 h 223"/>
                  <a:gd name="T22" fmla="*/ 0 w 234"/>
                  <a:gd name="T23" fmla="*/ 0 h 223"/>
                  <a:gd name="T24" fmla="*/ 5 w 234"/>
                  <a:gd name="T25" fmla="*/ 0 h 223"/>
                  <a:gd name="T26" fmla="*/ 16 w 234"/>
                  <a:gd name="T27" fmla="*/ 26 h 223"/>
                  <a:gd name="T28" fmla="*/ 27 w 234"/>
                  <a:gd name="T29" fmla="*/ 90 h 223"/>
                  <a:gd name="T30" fmla="*/ 48 w 234"/>
                  <a:gd name="T31" fmla="*/ 117 h 223"/>
                  <a:gd name="T32" fmla="*/ 48 w 234"/>
                  <a:gd name="T33" fmla="*/ 117 h 223"/>
                  <a:gd name="T34" fmla="*/ 48 w 234"/>
                  <a:gd name="T35" fmla="*/ 122 h 223"/>
                  <a:gd name="T36" fmla="*/ 48 w 234"/>
                  <a:gd name="T37" fmla="*/ 127 h 223"/>
                  <a:gd name="T38" fmla="*/ 53 w 234"/>
                  <a:gd name="T39" fmla="*/ 133 h 223"/>
                  <a:gd name="T40" fmla="*/ 112 w 234"/>
                  <a:gd name="T41" fmla="*/ 159 h 223"/>
                  <a:gd name="T42" fmla="*/ 138 w 234"/>
                  <a:gd name="T43" fmla="*/ 170 h 223"/>
                  <a:gd name="T44" fmla="*/ 170 w 234"/>
                  <a:gd name="T45" fmla="*/ 175 h 223"/>
                  <a:gd name="T46" fmla="*/ 192 w 234"/>
                  <a:gd name="T47" fmla="*/ 159 h 223"/>
                  <a:gd name="T48" fmla="*/ 154 w 234"/>
                  <a:gd name="T49" fmla="*/ 149 h 223"/>
                  <a:gd name="T50" fmla="*/ 223 w 234"/>
                  <a:gd name="T51" fmla="*/ 138 h 223"/>
                  <a:gd name="T52" fmla="*/ 229 w 234"/>
                  <a:gd name="T53" fmla="*/ 138 h 223"/>
                  <a:gd name="T54" fmla="*/ 234 w 234"/>
                  <a:gd name="T55" fmla="*/ 143 h 223"/>
                  <a:gd name="T56" fmla="*/ 229 w 234"/>
                  <a:gd name="T57" fmla="*/ 165 h 223"/>
                  <a:gd name="T58" fmla="*/ 223 w 234"/>
                  <a:gd name="T59" fmla="*/ 186 h 223"/>
                  <a:gd name="T60" fmla="*/ 208 w 234"/>
                  <a:gd name="T61" fmla="*/ 202 h 223"/>
                  <a:gd name="T62" fmla="*/ 192 w 234"/>
                  <a:gd name="T63" fmla="*/ 223 h 223"/>
                  <a:gd name="T64" fmla="*/ 181 w 234"/>
                  <a:gd name="T65" fmla="*/ 223 h 223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34"/>
                  <a:gd name="T100" fmla="*/ 0 h 223"/>
                  <a:gd name="T101" fmla="*/ 234 w 234"/>
                  <a:gd name="T102" fmla="*/ 223 h 223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34" h="223">
                    <a:moveTo>
                      <a:pt x="181" y="223"/>
                    </a:moveTo>
                    <a:lnTo>
                      <a:pt x="202" y="175"/>
                    </a:lnTo>
                    <a:lnTo>
                      <a:pt x="186" y="191"/>
                    </a:lnTo>
                    <a:lnTo>
                      <a:pt x="144" y="191"/>
                    </a:lnTo>
                    <a:lnTo>
                      <a:pt x="106" y="186"/>
                    </a:lnTo>
                    <a:lnTo>
                      <a:pt x="64" y="165"/>
                    </a:lnTo>
                    <a:lnTo>
                      <a:pt x="27" y="133"/>
                    </a:lnTo>
                    <a:lnTo>
                      <a:pt x="11" y="101"/>
                    </a:lnTo>
                    <a:lnTo>
                      <a:pt x="5" y="69"/>
                    </a:lnTo>
                    <a:lnTo>
                      <a:pt x="0" y="16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16" y="26"/>
                    </a:lnTo>
                    <a:lnTo>
                      <a:pt x="27" y="90"/>
                    </a:lnTo>
                    <a:lnTo>
                      <a:pt x="48" y="117"/>
                    </a:lnTo>
                    <a:lnTo>
                      <a:pt x="48" y="122"/>
                    </a:lnTo>
                    <a:lnTo>
                      <a:pt x="48" y="127"/>
                    </a:lnTo>
                    <a:lnTo>
                      <a:pt x="53" y="133"/>
                    </a:lnTo>
                    <a:lnTo>
                      <a:pt x="112" y="159"/>
                    </a:lnTo>
                    <a:lnTo>
                      <a:pt x="138" y="170"/>
                    </a:lnTo>
                    <a:lnTo>
                      <a:pt x="170" y="175"/>
                    </a:lnTo>
                    <a:lnTo>
                      <a:pt x="192" y="159"/>
                    </a:lnTo>
                    <a:lnTo>
                      <a:pt x="154" y="149"/>
                    </a:lnTo>
                    <a:lnTo>
                      <a:pt x="223" y="138"/>
                    </a:lnTo>
                    <a:lnTo>
                      <a:pt x="229" y="138"/>
                    </a:lnTo>
                    <a:lnTo>
                      <a:pt x="234" y="143"/>
                    </a:lnTo>
                    <a:lnTo>
                      <a:pt x="229" y="165"/>
                    </a:lnTo>
                    <a:lnTo>
                      <a:pt x="223" y="186"/>
                    </a:lnTo>
                    <a:lnTo>
                      <a:pt x="208" y="202"/>
                    </a:lnTo>
                    <a:lnTo>
                      <a:pt x="192" y="223"/>
                    </a:lnTo>
                    <a:lnTo>
                      <a:pt x="181" y="223"/>
                    </a:lnTo>
                    <a:close/>
                  </a:path>
                </a:pathLst>
              </a:custGeom>
              <a:solidFill>
                <a:srgbClr val="504A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45" name="Freeform 367"/>
              <p:cNvSpPr>
                <a:spLocks/>
              </p:cNvSpPr>
              <p:nvPr/>
            </p:nvSpPr>
            <p:spPr bwMode="auto">
              <a:xfrm>
                <a:off x="4628" y="1343"/>
                <a:ext cx="80" cy="69"/>
              </a:xfrm>
              <a:custGeom>
                <a:avLst/>
                <a:gdLst>
                  <a:gd name="T0" fmla="*/ 69 w 80"/>
                  <a:gd name="T1" fmla="*/ 64 h 69"/>
                  <a:gd name="T2" fmla="*/ 64 w 80"/>
                  <a:gd name="T3" fmla="*/ 53 h 69"/>
                  <a:gd name="T4" fmla="*/ 32 w 80"/>
                  <a:gd name="T5" fmla="*/ 27 h 69"/>
                  <a:gd name="T6" fmla="*/ 16 w 80"/>
                  <a:gd name="T7" fmla="*/ 16 h 69"/>
                  <a:gd name="T8" fmla="*/ 0 w 80"/>
                  <a:gd name="T9" fmla="*/ 0 h 69"/>
                  <a:gd name="T10" fmla="*/ 37 w 80"/>
                  <a:gd name="T11" fmla="*/ 11 h 69"/>
                  <a:gd name="T12" fmla="*/ 69 w 80"/>
                  <a:gd name="T13" fmla="*/ 43 h 69"/>
                  <a:gd name="T14" fmla="*/ 80 w 80"/>
                  <a:gd name="T15" fmla="*/ 69 h 69"/>
                  <a:gd name="T16" fmla="*/ 69 w 80"/>
                  <a:gd name="T17" fmla="*/ 64 h 6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0"/>
                  <a:gd name="T28" fmla="*/ 0 h 69"/>
                  <a:gd name="T29" fmla="*/ 80 w 80"/>
                  <a:gd name="T30" fmla="*/ 69 h 6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0" h="69">
                    <a:moveTo>
                      <a:pt x="69" y="64"/>
                    </a:moveTo>
                    <a:lnTo>
                      <a:pt x="64" y="53"/>
                    </a:lnTo>
                    <a:lnTo>
                      <a:pt x="32" y="27"/>
                    </a:lnTo>
                    <a:lnTo>
                      <a:pt x="16" y="16"/>
                    </a:lnTo>
                    <a:lnTo>
                      <a:pt x="0" y="0"/>
                    </a:lnTo>
                    <a:lnTo>
                      <a:pt x="37" y="11"/>
                    </a:lnTo>
                    <a:lnTo>
                      <a:pt x="69" y="43"/>
                    </a:lnTo>
                    <a:lnTo>
                      <a:pt x="80" y="69"/>
                    </a:lnTo>
                    <a:lnTo>
                      <a:pt x="69" y="64"/>
                    </a:lnTo>
                    <a:close/>
                  </a:path>
                </a:pathLst>
              </a:custGeom>
              <a:solidFill>
                <a:srgbClr val="49557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46" name="Freeform 368"/>
              <p:cNvSpPr>
                <a:spLocks/>
              </p:cNvSpPr>
              <p:nvPr/>
            </p:nvSpPr>
            <p:spPr bwMode="auto">
              <a:xfrm>
                <a:off x="4181" y="1098"/>
                <a:ext cx="272" cy="282"/>
              </a:xfrm>
              <a:custGeom>
                <a:avLst/>
                <a:gdLst>
                  <a:gd name="T0" fmla="*/ 123 w 272"/>
                  <a:gd name="T1" fmla="*/ 277 h 282"/>
                  <a:gd name="T2" fmla="*/ 117 w 272"/>
                  <a:gd name="T3" fmla="*/ 267 h 282"/>
                  <a:gd name="T4" fmla="*/ 112 w 272"/>
                  <a:gd name="T5" fmla="*/ 261 h 282"/>
                  <a:gd name="T6" fmla="*/ 112 w 272"/>
                  <a:gd name="T7" fmla="*/ 261 h 282"/>
                  <a:gd name="T8" fmla="*/ 85 w 272"/>
                  <a:gd name="T9" fmla="*/ 267 h 282"/>
                  <a:gd name="T10" fmla="*/ 53 w 272"/>
                  <a:gd name="T11" fmla="*/ 251 h 282"/>
                  <a:gd name="T12" fmla="*/ 64 w 272"/>
                  <a:gd name="T13" fmla="*/ 224 h 282"/>
                  <a:gd name="T14" fmla="*/ 59 w 272"/>
                  <a:gd name="T15" fmla="*/ 224 h 282"/>
                  <a:gd name="T16" fmla="*/ 59 w 272"/>
                  <a:gd name="T17" fmla="*/ 224 h 282"/>
                  <a:gd name="T18" fmla="*/ 22 w 272"/>
                  <a:gd name="T19" fmla="*/ 224 h 282"/>
                  <a:gd name="T20" fmla="*/ 16 w 272"/>
                  <a:gd name="T21" fmla="*/ 197 h 282"/>
                  <a:gd name="T22" fmla="*/ 32 w 272"/>
                  <a:gd name="T23" fmla="*/ 176 h 282"/>
                  <a:gd name="T24" fmla="*/ 27 w 272"/>
                  <a:gd name="T25" fmla="*/ 160 h 282"/>
                  <a:gd name="T26" fmla="*/ 0 w 272"/>
                  <a:gd name="T27" fmla="*/ 155 h 282"/>
                  <a:gd name="T28" fmla="*/ 0 w 272"/>
                  <a:gd name="T29" fmla="*/ 123 h 282"/>
                  <a:gd name="T30" fmla="*/ 6 w 272"/>
                  <a:gd name="T31" fmla="*/ 123 h 282"/>
                  <a:gd name="T32" fmla="*/ 11 w 272"/>
                  <a:gd name="T33" fmla="*/ 123 h 282"/>
                  <a:gd name="T34" fmla="*/ 27 w 272"/>
                  <a:gd name="T35" fmla="*/ 117 h 282"/>
                  <a:gd name="T36" fmla="*/ 32 w 272"/>
                  <a:gd name="T37" fmla="*/ 101 h 282"/>
                  <a:gd name="T38" fmla="*/ 16 w 272"/>
                  <a:gd name="T39" fmla="*/ 86 h 282"/>
                  <a:gd name="T40" fmla="*/ 32 w 272"/>
                  <a:gd name="T41" fmla="*/ 59 h 282"/>
                  <a:gd name="T42" fmla="*/ 53 w 272"/>
                  <a:gd name="T43" fmla="*/ 64 h 282"/>
                  <a:gd name="T44" fmla="*/ 59 w 272"/>
                  <a:gd name="T45" fmla="*/ 22 h 282"/>
                  <a:gd name="T46" fmla="*/ 80 w 272"/>
                  <a:gd name="T47" fmla="*/ 11 h 282"/>
                  <a:gd name="T48" fmla="*/ 101 w 272"/>
                  <a:gd name="T49" fmla="*/ 32 h 282"/>
                  <a:gd name="T50" fmla="*/ 112 w 272"/>
                  <a:gd name="T51" fmla="*/ 32 h 282"/>
                  <a:gd name="T52" fmla="*/ 123 w 272"/>
                  <a:gd name="T53" fmla="*/ 0 h 282"/>
                  <a:gd name="T54" fmla="*/ 155 w 272"/>
                  <a:gd name="T55" fmla="*/ 0 h 282"/>
                  <a:gd name="T56" fmla="*/ 160 w 272"/>
                  <a:gd name="T57" fmla="*/ 32 h 282"/>
                  <a:gd name="T58" fmla="*/ 170 w 272"/>
                  <a:gd name="T59" fmla="*/ 32 h 282"/>
                  <a:gd name="T60" fmla="*/ 186 w 272"/>
                  <a:gd name="T61" fmla="*/ 11 h 282"/>
                  <a:gd name="T62" fmla="*/ 218 w 272"/>
                  <a:gd name="T63" fmla="*/ 32 h 282"/>
                  <a:gd name="T64" fmla="*/ 224 w 272"/>
                  <a:gd name="T65" fmla="*/ 64 h 282"/>
                  <a:gd name="T66" fmla="*/ 250 w 272"/>
                  <a:gd name="T67" fmla="*/ 59 h 282"/>
                  <a:gd name="T68" fmla="*/ 250 w 272"/>
                  <a:gd name="T69" fmla="*/ 59 h 282"/>
                  <a:gd name="T70" fmla="*/ 250 w 272"/>
                  <a:gd name="T71" fmla="*/ 64 h 282"/>
                  <a:gd name="T72" fmla="*/ 250 w 272"/>
                  <a:gd name="T73" fmla="*/ 70 h 282"/>
                  <a:gd name="T74" fmla="*/ 256 w 272"/>
                  <a:gd name="T75" fmla="*/ 75 h 282"/>
                  <a:gd name="T76" fmla="*/ 240 w 272"/>
                  <a:gd name="T77" fmla="*/ 107 h 282"/>
                  <a:gd name="T78" fmla="*/ 245 w 272"/>
                  <a:gd name="T79" fmla="*/ 117 h 282"/>
                  <a:gd name="T80" fmla="*/ 272 w 272"/>
                  <a:gd name="T81" fmla="*/ 123 h 282"/>
                  <a:gd name="T82" fmla="*/ 272 w 272"/>
                  <a:gd name="T83" fmla="*/ 149 h 282"/>
                  <a:gd name="T84" fmla="*/ 245 w 272"/>
                  <a:gd name="T85" fmla="*/ 160 h 282"/>
                  <a:gd name="T86" fmla="*/ 240 w 272"/>
                  <a:gd name="T87" fmla="*/ 176 h 282"/>
                  <a:gd name="T88" fmla="*/ 256 w 272"/>
                  <a:gd name="T89" fmla="*/ 197 h 282"/>
                  <a:gd name="T90" fmla="*/ 245 w 272"/>
                  <a:gd name="T91" fmla="*/ 224 h 282"/>
                  <a:gd name="T92" fmla="*/ 218 w 272"/>
                  <a:gd name="T93" fmla="*/ 219 h 282"/>
                  <a:gd name="T94" fmla="*/ 218 w 272"/>
                  <a:gd name="T95" fmla="*/ 256 h 282"/>
                  <a:gd name="T96" fmla="*/ 192 w 272"/>
                  <a:gd name="T97" fmla="*/ 272 h 282"/>
                  <a:gd name="T98" fmla="*/ 170 w 272"/>
                  <a:gd name="T99" fmla="*/ 251 h 282"/>
                  <a:gd name="T100" fmla="*/ 155 w 272"/>
                  <a:gd name="T101" fmla="*/ 256 h 282"/>
                  <a:gd name="T102" fmla="*/ 155 w 272"/>
                  <a:gd name="T103" fmla="*/ 282 h 282"/>
                  <a:gd name="T104" fmla="*/ 128 w 272"/>
                  <a:gd name="T105" fmla="*/ 282 h 282"/>
                  <a:gd name="T106" fmla="*/ 123 w 272"/>
                  <a:gd name="T107" fmla="*/ 277 h 28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72"/>
                  <a:gd name="T163" fmla="*/ 0 h 282"/>
                  <a:gd name="T164" fmla="*/ 272 w 272"/>
                  <a:gd name="T165" fmla="*/ 282 h 282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72" h="282">
                    <a:moveTo>
                      <a:pt x="123" y="277"/>
                    </a:moveTo>
                    <a:lnTo>
                      <a:pt x="117" y="267"/>
                    </a:lnTo>
                    <a:lnTo>
                      <a:pt x="112" y="261"/>
                    </a:lnTo>
                    <a:lnTo>
                      <a:pt x="85" y="267"/>
                    </a:lnTo>
                    <a:lnTo>
                      <a:pt x="53" y="251"/>
                    </a:lnTo>
                    <a:lnTo>
                      <a:pt x="64" y="224"/>
                    </a:lnTo>
                    <a:lnTo>
                      <a:pt x="59" y="224"/>
                    </a:lnTo>
                    <a:lnTo>
                      <a:pt x="22" y="224"/>
                    </a:lnTo>
                    <a:lnTo>
                      <a:pt x="16" y="197"/>
                    </a:lnTo>
                    <a:lnTo>
                      <a:pt x="32" y="176"/>
                    </a:lnTo>
                    <a:lnTo>
                      <a:pt x="27" y="160"/>
                    </a:lnTo>
                    <a:lnTo>
                      <a:pt x="0" y="155"/>
                    </a:lnTo>
                    <a:lnTo>
                      <a:pt x="0" y="123"/>
                    </a:lnTo>
                    <a:lnTo>
                      <a:pt x="6" y="123"/>
                    </a:lnTo>
                    <a:lnTo>
                      <a:pt x="11" y="123"/>
                    </a:lnTo>
                    <a:lnTo>
                      <a:pt x="27" y="117"/>
                    </a:lnTo>
                    <a:lnTo>
                      <a:pt x="32" y="101"/>
                    </a:lnTo>
                    <a:lnTo>
                      <a:pt x="16" y="86"/>
                    </a:lnTo>
                    <a:lnTo>
                      <a:pt x="32" y="59"/>
                    </a:lnTo>
                    <a:lnTo>
                      <a:pt x="53" y="64"/>
                    </a:lnTo>
                    <a:lnTo>
                      <a:pt x="59" y="22"/>
                    </a:lnTo>
                    <a:lnTo>
                      <a:pt x="80" y="11"/>
                    </a:lnTo>
                    <a:lnTo>
                      <a:pt x="101" y="32"/>
                    </a:lnTo>
                    <a:lnTo>
                      <a:pt x="112" y="32"/>
                    </a:lnTo>
                    <a:lnTo>
                      <a:pt x="123" y="0"/>
                    </a:lnTo>
                    <a:lnTo>
                      <a:pt x="155" y="0"/>
                    </a:lnTo>
                    <a:lnTo>
                      <a:pt x="160" y="32"/>
                    </a:lnTo>
                    <a:lnTo>
                      <a:pt x="170" y="32"/>
                    </a:lnTo>
                    <a:lnTo>
                      <a:pt x="186" y="11"/>
                    </a:lnTo>
                    <a:lnTo>
                      <a:pt x="218" y="32"/>
                    </a:lnTo>
                    <a:lnTo>
                      <a:pt x="224" y="64"/>
                    </a:lnTo>
                    <a:lnTo>
                      <a:pt x="250" y="59"/>
                    </a:lnTo>
                    <a:lnTo>
                      <a:pt x="250" y="64"/>
                    </a:lnTo>
                    <a:lnTo>
                      <a:pt x="250" y="70"/>
                    </a:lnTo>
                    <a:lnTo>
                      <a:pt x="256" y="75"/>
                    </a:lnTo>
                    <a:lnTo>
                      <a:pt x="240" y="107"/>
                    </a:lnTo>
                    <a:lnTo>
                      <a:pt x="245" y="117"/>
                    </a:lnTo>
                    <a:lnTo>
                      <a:pt x="272" y="123"/>
                    </a:lnTo>
                    <a:lnTo>
                      <a:pt x="272" y="149"/>
                    </a:lnTo>
                    <a:lnTo>
                      <a:pt x="245" y="160"/>
                    </a:lnTo>
                    <a:lnTo>
                      <a:pt x="240" y="176"/>
                    </a:lnTo>
                    <a:lnTo>
                      <a:pt x="256" y="197"/>
                    </a:lnTo>
                    <a:lnTo>
                      <a:pt x="245" y="224"/>
                    </a:lnTo>
                    <a:lnTo>
                      <a:pt x="218" y="219"/>
                    </a:lnTo>
                    <a:lnTo>
                      <a:pt x="218" y="256"/>
                    </a:lnTo>
                    <a:lnTo>
                      <a:pt x="192" y="272"/>
                    </a:lnTo>
                    <a:lnTo>
                      <a:pt x="170" y="251"/>
                    </a:lnTo>
                    <a:lnTo>
                      <a:pt x="155" y="256"/>
                    </a:lnTo>
                    <a:lnTo>
                      <a:pt x="155" y="282"/>
                    </a:lnTo>
                    <a:lnTo>
                      <a:pt x="128" y="282"/>
                    </a:lnTo>
                    <a:lnTo>
                      <a:pt x="123" y="27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47" name="Freeform 369"/>
              <p:cNvSpPr>
                <a:spLocks/>
              </p:cNvSpPr>
              <p:nvPr/>
            </p:nvSpPr>
            <p:spPr bwMode="auto">
              <a:xfrm>
                <a:off x="4192" y="1104"/>
                <a:ext cx="266" cy="282"/>
              </a:xfrm>
              <a:custGeom>
                <a:avLst/>
                <a:gdLst>
                  <a:gd name="T0" fmla="*/ 117 w 266"/>
                  <a:gd name="T1" fmla="*/ 276 h 282"/>
                  <a:gd name="T2" fmla="*/ 112 w 266"/>
                  <a:gd name="T3" fmla="*/ 261 h 282"/>
                  <a:gd name="T4" fmla="*/ 106 w 266"/>
                  <a:gd name="T5" fmla="*/ 261 h 282"/>
                  <a:gd name="T6" fmla="*/ 106 w 266"/>
                  <a:gd name="T7" fmla="*/ 261 h 282"/>
                  <a:gd name="T8" fmla="*/ 85 w 266"/>
                  <a:gd name="T9" fmla="*/ 261 h 282"/>
                  <a:gd name="T10" fmla="*/ 53 w 266"/>
                  <a:gd name="T11" fmla="*/ 250 h 282"/>
                  <a:gd name="T12" fmla="*/ 58 w 266"/>
                  <a:gd name="T13" fmla="*/ 223 h 282"/>
                  <a:gd name="T14" fmla="*/ 58 w 266"/>
                  <a:gd name="T15" fmla="*/ 218 h 282"/>
                  <a:gd name="T16" fmla="*/ 58 w 266"/>
                  <a:gd name="T17" fmla="*/ 218 h 282"/>
                  <a:gd name="T18" fmla="*/ 21 w 266"/>
                  <a:gd name="T19" fmla="*/ 218 h 282"/>
                  <a:gd name="T20" fmla="*/ 11 w 266"/>
                  <a:gd name="T21" fmla="*/ 197 h 282"/>
                  <a:gd name="T22" fmla="*/ 27 w 266"/>
                  <a:gd name="T23" fmla="*/ 175 h 282"/>
                  <a:gd name="T24" fmla="*/ 21 w 266"/>
                  <a:gd name="T25" fmla="*/ 159 h 282"/>
                  <a:gd name="T26" fmla="*/ 0 w 266"/>
                  <a:gd name="T27" fmla="*/ 149 h 282"/>
                  <a:gd name="T28" fmla="*/ 0 w 266"/>
                  <a:gd name="T29" fmla="*/ 122 h 282"/>
                  <a:gd name="T30" fmla="*/ 0 w 266"/>
                  <a:gd name="T31" fmla="*/ 122 h 282"/>
                  <a:gd name="T32" fmla="*/ 5 w 266"/>
                  <a:gd name="T33" fmla="*/ 122 h 282"/>
                  <a:gd name="T34" fmla="*/ 21 w 266"/>
                  <a:gd name="T35" fmla="*/ 117 h 282"/>
                  <a:gd name="T36" fmla="*/ 27 w 266"/>
                  <a:gd name="T37" fmla="*/ 95 h 282"/>
                  <a:gd name="T38" fmla="*/ 11 w 266"/>
                  <a:gd name="T39" fmla="*/ 85 h 282"/>
                  <a:gd name="T40" fmla="*/ 27 w 266"/>
                  <a:gd name="T41" fmla="*/ 53 h 282"/>
                  <a:gd name="T42" fmla="*/ 53 w 266"/>
                  <a:gd name="T43" fmla="*/ 64 h 282"/>
                  <a:gd name="T44" fmla="*/ 58 w 266"/>
                  <a:gd name="T45" fmla="*/ 21 h 282"/>
                  <a:gd name="T46" fmla="*/ 74 w 266"/>
                  <a:gd name="T47" fmla="*/ 10 h 282"/>
                  <a:gd name="T48" fmla="*/ 96 w 266"/>
                  <a:gd name="T49" fmla="*/ 26 h 282"/>
                  <a:gd name="T50" fmla="*/ 106 w 266"/>
                  <a:gd name="T51" fmla="*/ 26 h 282"/>
                  <a:gd name="T52" fmla="*/ 117 w 266"/>
                  <a:gd name="T53" fmla="*/ 0 h 282"/>
                  <a:gd name="T54" fmla="*/ 149 w 266"/>
                  <a:gd name="T55" fmla="*/ 0 h 282"/>
                  <a:gd name="T56" fmla="*/ 159 w 266"/>
                  <a:gd name="T57" fmla="*/ 26 h 282"/>
                  <a:gd name="T58" fmla="*/ 170 w 266"/>
                  <a:gd name="T59" fmla="*/ 26 h 282"/>
                  <a:gd name="T60" fmla="*/ 186 w 266"/>
                  <a:gd name="T61" fmla="*/ 10 h 282"/>
                  <a:gd name="T62" fmla="*/ 213 w 266"/>
                  <a:gd name="T63" fmla="*/ 26 h 282"/>
                  <a:gd name="T64" fmla="*/ 218 w 266"/>
                  <a:gd name="T65" fmla="*/ 64 h 282"/>
                  <a:gd name="T66" fmla="*/ 245 w 266"/>
                  <a:gd name="T67" fmla="*/ 53 h 282"/>
                  <a:gd name="T68" fmla="*/ 245 w 266"/>
                  <a:gd name="T69" fmla="*/ 58 h 282"/>
                  <a:gd name="T70" fmla="*/ 245 w 266"/>
                  <a:gd name="T71" fmla="*/ 64 h 282"/>
                  <a:gd name="T72" fmla="*/ 245 w 266"/>
                  <a:gd name="T73" fmla="*/ 64 h 282"/>
                  <a:gd name="T74" fmla="*/ 250 w 266"/>
                  <a:gd name="T75" fmla="*/ 69 h 282"/>
                  <a:gd name="T76" fmla="*/ 239 w 266"/>
                  <a:gd name="T77" fmla="*/ 101 h 282"/>
                  <a:gd name="T78" fmla="*/ 245 w 266"/>
                  <a:gd name="T79" fmla="*/ 117 h 282"/>
                  <a:gd name="T80" fmla="*/ 266 w 266"/>
                  <a:gd name="T81" fmla="*/ 122 h 282"/>
                  <a:gd name="T82" fmla="*/ 266 w 266"/>
                  <a:gd name="T83" fmla="*/ 143 h 282"/>
                  <a:gd name="T84" fmla="*/ 245 w 266"/>
                  <a:gd name="T85" fmla="*/ 159 h 282"/>
                  <a:gd name="T86" fmla="*/ 239 w 266"/>
                  <a:gd name="T87" fmla="*/ 175 h 282"/>
                  <a:gd name="T88" fmla="*/ 255 w 266"/>
                  <a:gd name="T89" fmla="*/ 191 h 282"/>
                  <a:gd name="T90" fmla="*/ 245 w 266"/>
                  <a:gd name="T91" fmla="*/ 218 h 282"/>
                  <a:gd name="T92" fmla="*/ 213 w 266"/>
                  <a:gd name="T93" fmla="*/ 213 h 282"/>
                  <a:gd name="T94" fmla="*/ 213 w 266"/>
                  <a:gd name="T95" fmla="*/ 255 h 282"/>
                  <a:gd name="T96" fmla="*/ 191 w 266"/>
                  <a:gd name="T97" fmla="*/ 266 h 282"/>
                  <a:gd name="T98" fmla="*/ 170 w 266"/>
                  <a:gd name="T99" fmla="*/ 250 h 282"/>
                  <a:gd name="T100" fmla="*/ 154 w 266"/>
                  <a:gd name="T101" fmla="*/ 255 h 282"/>
                  <a:gd name="T102" fmla="*/ 149 w 266"/>
                  <a:gd name="T103" fmla="*/ 282 h 282"/>
                  <a:gd name="T104" fmla="*/ 128 w 266"/>
                  <a:gd name="T105" fmla="*/ 282 h 282"/>
                  <a:gd name="T106" fmla="*/ 117 w 266"/>
                  <a:gd name="T107" fmla="*/ 276 h 28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66"/>
                  <a:gd name="T163" fmla="*/ 0 h 282"/>
                  <a:gd name="T164" fmla="*/ 266 w 266"/>
                  <a:gd name="T165" fmla="*/ 282 h 282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66" h="282">
                    <a:moveTo>
                      <a:pt x="117" y="276"/>
                    </a:moveTo>
                    <a:lnTo>
                      <a:pt x="112" y="261"/>
                    </a:lnTo>
                    <a:lnTo>
                      <a:pt x="106" y="261"/>
                    </a:lnTo>
                    <a:lnTo>
                      <a:pt x="85" y="261"/>
                    </a:lnTo>
                    <a:lnTo>
                      <a:pt x="53" y="250"/>
                    </a:lnTo>
                    <a:lnTo>
                      <a:pt x="58" y="223"/>
                    </a:lnTo>
                    <a:lnTo>
                      <a:pt x="58" y="218"/>
                    </a:lnTo>
                    <a:lnTo>
                      <a:pt x="21" y="218"/>
                    </a:lnTo>
                    <a:lnTo>
                      <a:pt x="11" y="197"/>
                    </a:lnTo>
                    <a:lnTo>
                      <a:pt x="27" y="175"/>
                    </a:lnTo>
                    <a:lnTo>
                      <a:pt x="21" y="159"/>
                    </a:lnTo>
                    <a:lnTo>
                      <a:pt x="0" y="149"/>
                    </a:lnTo>
                    <a:lnTo>
                      <a:pt x="0" y="122"/>
                    </a:lnTo>
                    <a:lnTo>
                      <a:pt x="5" y="122"/>
                    </a:lnTo>
                    <a:lnTo>
                      <a:pt x="21" y="117"/>
                    </a:lnTo>
                    <a:lnTo>
                      <a:pt x="27" y="95"/>
                    </a:lnTo>
                    <a:lnTo>
                      <a:pt x="11" y="85"/>
                    </a:lnTo>
                    <a:lnTo>
                      <a:pt x="27" y="53"/>
                    </a:lnTo>
                    <a:lnTo>
                      <a:pt x="53" y="64"/>
                    </a:lnTo>
                    <a:lnTo>
                      <a:pt x="58" y="21"/>
                    </a:lnTo>
                    <a:lnTo>
                      <a:pt x="74" y="10"/>
                    </a:lnTo>
                    <a:lnTo>
                      <a:pt x="96" y="26"/>
                    </a:lnTo>
                    <a:lnTo>
                      <a:pt x="106" y="26"/>
                    </a:lnTo>
                    <a:lnTo>
                      <a:pt x="117" y="0"/>
                    </a:lnTo>
                    <a:lnTo>
                      <a:pt x="149" y="0"/>
                    </a:lnTo>
                    <a:lnTo>
                      <a:pt x="159" y="26"/>
                    </a:lnTo>
                    <a:lnTo>
                      <a:pt x="170" y="26"/>
                    </a:lnTo>
                    <a:lnTo>
                      <a:pt x="186" y="10"/>
                    </a:lnTo>
                    <a:lnTo>
                      <a:pt x="213" y="26"/>
                    </a:lnTo>
                    <a:lnTo>
                      <a:pt x="218" y="64"/>
                    </a:lnTo>
                    <a:lnTo>
                      <a:pt x="245" y="53"/>
                    </a:lnTo>
                    <a:lnTo>
                      <a:pt x="245" y="58"/>
                    </a:lnTo>
                    <a:lnTo>
                      <a:pt x="245" y="64"/>
                    </a:lnTo>
                    <a:lnTo>
                      <a:pt x="250" y="69"/>
                    </a:lnTo>
                    <a:lnTo>
                      <a:pt x="239" y="101"/>
                    </a:lnTo>
                    <a:lnTo>
                      <a:pt x="245" y="117"/>
                    </a:lnTo>
                    <a:lnTo>
                      <a:pt x="266" y="122"/>
                    </a:lnTo>
                    <a:lnTo>
                      <a:pt x="266" y="143"/>
                    </a:lnTo>
                    <a:lnTo>
                      <a:pt x="245" y="159"/>
                    </a:lnTo>
                    <a:lnTo>
                      <a:pt x="239" y="175"/>
                    </a:lnTo>
                    <a:lnTo>
                      <a:pt x="255" y="191"/>
                    </a:lnTo>
                    <a:lnTo>
                      <a:pt x="245" y="218"/>
                    </a:lnTo>
                    <a:lnTo>
                      <a:pt x="213" y="213"/>
                    </a:lnTo>
                    <a:lnTo>
                      <a:pt x="213" y="255"/>
                    </a:lnTo>
                    <a:lnTo>
                      <a:pt x="191" y="266"/>
                    </a:lnTo>
                    <a:lnTo>
                      <a:pt x="170" y="250"/>
                    </a:lnTo>
                    <a:lnTo>
                      <a:pt x="154" y="255"/>
                    </a:lnTo>
                    <a:lnTo>
                      <a:pt x="149" y="282"/>
                    </a:lnTo>
                    <a:lnTo>
                      <a:pt x="128" y="282"/>
                    </a:lnTo>
                    <a:lnTo>
                      <a:pt x="117" y="276"/>
                    </a:lnTo>
                    <a:close/>
                  </a:path>
                </a:pathLst>
              </a:custGeom>
              <a:solidFill>
                <a:srgbClr val="96594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48" name="Freeform 370"/>
              <p:cNvSpPr>
                <a:spLocks/>
              </p:cNvSpPr>
              <p:nvPr/>
            </p:nvSpPr>
            <p:spPr bwMode="auto">
              <a:xfrm>
                <a:off x="4660" y="1333"/>
                <a:ext cx="37" cy="26"/>
              </a:xfrm>
              <a:custGeom>
                <a:avLst/>
                <a:gdLst>
                  <a:gd name="T0" fmla="*/ 21 w 37"/>
                  <a:gd name="T1" fmla="*/ 21 h 26"/>
                  <a:gd name="T2" fmla="*/ 0 w 37"/>
                  <a:gd name="T3" fmla="*/ 10 h 26"/>
                  <a:gd name="T4" fmla="*/ 0 w 37"/>
                  <a:gd name="T5" fmla="*/ 0 h 26"/>
                  <a:gd name="T6" fmla="*/ 0 w 37"/>
                  <a:gd name="T7" fmla="*/ 0 h 26"/>
                  <a:gd name="T8" fmla="*/ 37 w 37"/>
                  <a:gd name="T9" fmla="*/ 26 h 26"/>
                  <a:gd name="T10" fmla="*/ 21 w 37"/>
                  <a:gd name="T11" fmla="*/ 21 h 2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7"/>
                  <a:gd name="T19" fmla="*/ 0 h 26"/>
                  <a:gd name="T20" fmla="*/ 37 w 37"/>
                  <a:gd name="T21" fmla="*/ 26 h 2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7" h="26">
                    <a:moveTo>
                      <a:pt x="21" y="21"/>
                    </a:moveTo>
                    <a:lnTo>
                      <a:pt x="0" y="10"/>
                    </a:lnTo>
                    <a:lnTo>
                      <a:pt x="0" y="0"/>
                    </a:lnTo>
                    <a:lnTo>
                      <a:pt x="37" y="26"/>
                    </a:lnTo>
                    <a:lnTo>
                      <a:pt x="21" y="21"/>
                    </a:lnTo>
                    <a:close/>
                  </a:path>
                </a:pathLst>
              </a:custGeom>
              <a:solidFill>
                <a:srgbClr val="49557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49" name="Freeform 371"/>
              <p:cNvSpPr>
                <a:spLocks/>
              </p:cNvSpPr>
              <p:nvPr/>
            </p:nvSpPr>
            <p:spPr bwMode="auto">
              <a:xfrm>
                <a:off x="4234" y="1157"/>
                <a:ext cx="160" cy="165"/>
              </a:xfrm>
              <a:custGeom>
                <a:avLst/>
                <a:gdLst>
                  <a:gd name="T0" fmla="*/ 59 w 160"/>
                  <a:gd name="T1" fmla="*/ 165 h 165"/>
                  <a:gd name="T2" fmla="*/ 48 w 160"/>
                  <a:gd name="T3" fmla="*/ 165 h 165"/>
                  <a:gd name="T4" fmla="*/ 6 w 160"/>
                  <a:gd name="T5" fmla="*/ 128 h 165"/>
                  <a:gd name="T6" fmla="*/ 0 w 160"/>
                  <a:gd name="T7" fmla="*/ 101 h 165"/>
                  <a:gd name="T8" fmla="*/ 0 w 160"/>
                  <a:gd name="T9" fmla="*/ 64 h 165"/>
                  <a:gd name="T10" fmla="*/ 27 w 160"/>
                  <a:gd name="T11" fmla="*/ 16 h 165"/>
                  <a:gd name="T12" fmla="*/ 27 w 160"/>
                  <a:gd name="T13" fmla="*/ 16 h 165"/>
                  <a:gd name="T14" fmla="*/ 32 w 160"/>
                  <a:gd name="T15" fmla="*/ 16 h 165"/>
                  <a:gd name="T16" fmla="*/ 86 w 160"/>
                  <a:gd name="T17" fmla="*/ 0 h 165"/>
                  <a:gd name="T18" fmla="*/ 112 w 160"/>
                  <a:gd name="T19" fmla="*/ 0 h 165"/>
                  <a:gd name="T20" fmla="*/ 149 w 160"/>
                  <a:gd name="T21" fmla="*/ 27 h 165"/>
                  <a:gd name="T22" fmla="*/ 155 w 160"/>
                  <a:gd name="T23" fmla="*/ 48 h 165"/>
                  <a:gd name="T24" fmla="*/ 160 w 160"/>
                  <a:gd name="T25" fmla="*/ 85 h 165"/>
                  <a:gd name="T26" fmla="*/ 155 w 160"/>
                  <a:gd name="T27" fmla="*/ 101 h 165"/>
                  <a:gd name="T28" fmla="*/ 149 w 160"/>
                  <a:gd name="T29" fmla="*/ 122 h 165"/>
                  <a:gd name="T30" fmla="*/ 133 w 160"/>
                  <a:gd name="T31" fmla="*/ 144 h 165"/>
                  <a:gd name="T32" fmla="*/ 117 w 160"/>
                  <a:gd name="T33" fmla="*/ 160 h 165"/>
                  <a:gd name="T34" fmla="*/ 70 w 160"/>
                  <a:gd name="T35" fmla="*/ 165 h 165"/>
                  <a:gd name="T36" fmla="*/ 59 w 160"/>
                  <a:gd name="T37" fmla="*/ 165 h 16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60"/>
                  <a:gd name="T58" fmla="*/ 0 h 165"/>
                  <a:gd name="T59" fmla="*/ 160 w 160"/>
                  <a:gd name="T60" fmla="*/ 165 h 16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60" h="165">
                    <a:moveTo>
                      <a:pt x="59" y="165"/>
                    </a:moveTo>
                    <a:lnTo>
                      <a:pt x="48" y="165"/>
                    </a:lnTo>
                    <a:lnTo>
                      <a:pt x="6" y="128"/>
                    </a:lnTo>
                    <a:lnTo>
                      <a:pt x="0" y="101"/>
                    </a:lnTo>
                    <a:lnTo>
                      <a:pt x="0" y="64"/>
                    </a:lnTo>
                    <a:lnTo>
                      <a:pt x="27" y="16"/>
                    </a:lnTo>
                    <a:lnTo>
                      <a:pt x="32" y="16"/>
                    </a:lnTo>
                    <a:lnTo>
                      <a:pt x="86" y="0"/>
                    </a:lnTo>
                    <a:lnTo>
                      <a:pt x="112" y="0"/>
                    </a:lnTo>
                    <a:lnTo>
                      <a:pt x="149" y="27"/>
                    </a:lnTo>
                    <a:lnTo>
                      <a:pt x="155" y="48"/>
                    </a:lnTo>
                    <a:lnTo>
                      <a:pt x="160" y="85"/>
                    </a:lnTo>
                    <a:lnTo>
                      <a:pt x="155" y="101"/>
                    </a:lnTo>
                    <a:lnTo>
                      <a:pt x="149" y="122"/>
                    </a:lnTo>
                    <a:lnTo>
                      <a:pt x="133" y="144"/>
                    </a:lnTo>
                    <a:lnTo>
                      <a:pt x="117" y="160"/>
                    </a:lnTo>
                    <a:lnTo>
                      <a:pt x="70" y="165"/>
                    </a:lnTo>
                    <a:lnTo>
                      <a:pt x="59" y="165"/>
                    </a:lnTo>
                    <a:close/>
                  </a:path>
                </a:pathLst>
              </a:custGeom>
              <a:solidFill>
                <a:srgbClr val="61BFF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50" name="Freeform 372"/>
              <p:cNvSpPr>
                <a:spLocks/>
              </p:cNvSpPr>
              <p:nvPr/>
            </p:nvSpPr>
            <p:spPr bwMode="auto">
              <a:xfrm>
                <a:off x="4639" y="1253"/>
                <a:ext cx="21" cy="21"/>
              </a:xfrm>
              <a:custGeom>
                <a:avLst/>
                <a:gdLst>
                  <a:gd name="T0" fmla="*/ 0 w 21"/>
                  <a:gd name="T1" fmla="*/ 21 h 21"/>
                  <a:gd name="T2" fmla="*/ 0 w 21"/>
                  <a:gd name="T3" fmla="*/ 0 h 21"/>
                  <a:gd name="T4" fmla="*/ 21 w 21"/>
                  <a:gd name="T5" fmla="*/ 0 h 21"/>
                  <a:gd name="T6" fmla="*/ 10 w 21"/>
                  <a:gd name="T7" fmla="*/ 21 h 21"/>
                  <a:gd name="T8" fmla="*/ 0 w 21"/>
                  <a:gd name="T9" fmla="*/ 21 h 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"/>
                  <a:gd name="T16" fmla="*/ 0 h 21"/>
                  <a:gd name="T17" fmla="*/ 21 w 21"/>
                  <a:gd name="T18" fmla="*/ 21 h 2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" h="21">
                    <a:moveTo>
                      <a:pt x="0" y="21"/>
                    </a:moveTo>
                    <a:lnTo>
                      <a:pt x="0" y="0"/>
                    </a:lnTo>
                    <a:lnTo>
                      <a:pt x="21" y="0"/>
                    </a:lnTo>
                    <a:lnTo>
                      <a:pt x="10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49557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51" name="Freeform 373"/>
              <p:cNvSpPr>
                <a:spLocks/>
              </p:cNvSpPr>
              <p:nvPr/>
            </p:nvSpPr>
            <p:spPr bwMode="auto">
              <a:xfrm>
                <a:off x="4282" y="1205"/>
                <a:ext cx="54" cy="58"/>
              </a:xfrm>
              <a:custGeom>
                <a:avLst/>
                <a:gdLst>
                  <a:gd name="T0" fmla="*/ 11 w 54"/>
                  <a:gd name="T1" fmla="*/ 53 h 58"/>
                  <a:gd name="T2" fmla="*/ 11 w 54"/>
                  <a:gd name="T3" fmla="*/ 53 h 58"/>
                  <a:gd name="T4" fmla="*/ 6 w 54"/>
                  <a:gd name="T5" fmla="*/ 48 h 58"/>
                  <a:gd name="T6" fmla="*/ 6 w 54"/>
                  <a:gd name="T7" fmla="*/ 48 h 58"/>
                  <a:gd name="T8" fmla="*/ 0 w 54"/>
                  <a:gd name="T9" fmla="*/ 37 h 58"/>
                  <a:gd name="T10" fmla="*/ 0 w 54"/>
                  <a:gd name="T11" fmla="*/ 37 h 58"/>
                  <a:gd name="T12" fmla="*/ 22 w 54"/>
                  <a:gd name="T13" fmla="*/ 0 h 58"/>
                  <a:gd name="T14" fmla="*/ 32 w 54"/>
                  <a:gd name="T15" fmla="*/ 0 h 58"/>
                  <a:gd name="T16" fmla="*/ 54 w 54"/>
                  <a:gd name="T17" fmla="*/ 21 h 58"/>
                  <a:gd name="T18" fmla="*/ 43 w 54"/>
                  <a:gd name="T19" fmla="*/ 48 h 58"/>
                  <a:gd name="T20" fmla="*/ 22 w 54"/>
                  <a:gd name="T21" fmla="*/ 58 h 58"/>
                  <a:gd name="T22" fmla="*/ 11 w 54"/>
                  <a:gd name="T23" fmla="*/ 53 h 5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4"/>
                  <a:gd name="T37" fmla="*/ 0 h 58"/>
                  <a:gd name="T38" fmla="*/ 54 w 54"/>
                  <a:gd name="T39" fmla="*/ 58 h 5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4" h="58">
                    <a:moveTo>
                      <a:pt x="11" y="53"/>
                    </a:moveTo>
                    <a:lnTo>
                      <a:pt x="11" y="53"/>
                    </a:lnTo>
                    <a:lnTo>
                      <a:pt x="6" y="48"/>
                    </a:lnTo>
                    <a:lnTo>
                      <a:pt x="0" y="37"/>
                    </a:lnTo>
                    <a:lnTo>
                      <a:pt x="22" y="0"/>
                    </a:lnTo>
                    <a:lnTo>
                      <a:pt x="32" y="0"/>
                    </a:lnTo>
                    <a:lnTo>
                      <a:pt x="54" y="21"/>
                    </a:lnTo>
                    <a:lnTo>
                      <a:pt x="43" y="48"/>
                    </a:lnTo>
                    <a:lnTo>
                      <a:pt x="22" y="58"/>
                    </a:lnTo>
                    <a:lnTo>
                      <a:pt x="11" y="53"/>
                    </a:lnTo>
                    <a:close/>
                  </a:path>
                </a:pathLst>
              </a:custGeom>
              <a:solidFill>
                <a:srgbClr val="504A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52" name="Freeform 374"/>
              <p:cNvSpPr>
                <a:spLocks/>
              </p:cNvSpPr>
              <p:nvPr/>
            </p:nvSpPr>
            <p:spPr bwMode="auto">
              <a:xfrm>
                <a:off x="4437" y="1120"/>
                <a:ext cx="58" cy="106"/>
              </a:xfrm>
              <a:custGeom>
                <a:avLst/>
                <a:gdLst>
                  <a:gd name="T0" fmla="*/ 42 w 58"/>
                  <a:gd name="T1" fmla="*/ 106 h 106"/>
                  <a:gd name="T2" fmla="*/ 42 w 58"/>
                  <a:gd name="T3" fmla="*/ 64 h 106"/>
                  <a:gd name="T4" fmla="*/ 31 w 58"/>
                  <a:gd name="T5" fmla="*/ 37 h 106"/>
                  <a:gd name="T6" fmla="*/ 16 w 58"/>
                  <a:gd name="T7" fmla="*/ 16 h 106"/>
                  <a:gd name="T8" fmla="*/ 10 w 58"/>
                  <a:gd name="T9" fmla="*/ 16 h 106"/>
                  <a:gd name="T10" fmla="*/ 10 w 58"/>
                  <a:gd name="T11" fmla="*/ 16 h 106"/>
                  <a:gd name="T12" fmla="*/ 0 w 58"/>
                  <a:gd name="T13" fmla="*/ 10 h 106"/>
                  <a:gd name="T14" fmla="*/ 0 w 58"/>
                  <a:gd name="T15" fmla="*/ 10 h 106"/>
                  <a:gd name="T16" fmla="*/ 5 w 58"/>
                  <a:gd name="T17" fmla="*/ 0 h 106"/>
                  <a:gd name="T18" fmla="*/ 10 w 58"/>
                  <a:gd name="T19" fmla="*/ 0 h 106"/>
                  <a:gd name="T20" fmla="*/ 42 w 58"/>
                  <a:gd name="T21" fmla="*/ 21 h 106"/>
                  <a:gd name="T22" fmla="*/ 53 w 58"/>
                  <a:gd name="T23" fmla="*/ 53 h 106"/>
                  <a:gd name="T24" fmla="*/ 58 w 58"/>
                  <a:gd name="T25" fmla="*/ 90 h 106"/>
                  <a:gd name="T26" fmla="*/ 53 w 58"/>
                  <a:gd name="T27" fmla="*/ 95 h 106"/>
                  <a:gd name="T28" fmla="*/ 53 w 58"/>
                  <a:gd name="T29" fmla="*/ 101 h 106"/>
                  <a:gd name="T30" fmla="*/ 53 w 58"/>
                  <a:gd name="T31" fmla="*/ 106 h 106"/>
                  <a:gd name="T32" fmla="*/ 42 w 58"/>
                  <a:gd name="T33" fmla="*/ 106 h 10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8"/>
                  <a:gd name="T52" fmla="*/ 0 h 106"/>
                  <a:gd name="T53" fmla="*/ 58 w 58"/>
                  <a:gd name="T54" fmla="*/ 106 h 10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8" h="106">
                    <a:moveTo>
                      <a:pt x="42" y="106"/>
                    </a:moveTo>
                    <a:lnTo>
                      <a:pt x="42" y="64"/>
                    </a:lnTo>
                    <a:lnTo>
                      <a:pt x="31" y="37"/>
                    </a:lnTo>
                    <a:lnTo>
                      <a:pt x="16" y="16"/>
                    </a:lnTo>
                    <a:lnTo>
                      <a:pt x="10" y="16"/>
                    </a:lnTo>
                    <a:lnTo>
                      <a:pt x="0" y="10"/>
                    </a:lnTo>
                    <a:lnTo>
                      <a:pt x="5" y="0"/>
                    </a:lnTo>
                    <a:lnTo>
                      <a:pt x="10" y="0"/>
                    </a:lnTo>
                    <a:lnTo>
                      <a:pt x="42" y="21"/>
                    </a:lnTo>
                    <a:lnTo>
                      <a:pt x="53" y="53"/>
                    </a:lnTo>
                    <a:lnTo>
                      <a:pt x="58" y="90"/>
                    </a:lnTo>
                    <a:lnTo>
                      <a:pt x="53" y="95"/>
                    </a:lnTo>
                    <a:lnTo>
                      <a:pt x="53" y="101"/>
                    </a:lnTo>
                    <a:lnTo>
                      <a:pt x="53" y="106"/>
                    </a:lnTo>
                    <a:lnTo>
                      <a:pt x="42" y="106"/>
                    </a:lnTo>
                    <a:close/>
                  </a:path>
                </a:pathLst>
              </a:custGeom>
              <a:solidFill>
                <a:srgbClr val="49557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53" name="Freeform 375"/>
              <p:cNvSpPr>
                <a:spLocks/>
              </p:cNvSpPr>
              <p:nvPr/>
            </p:nvSpPr>
            <p:spPr bwMode="auto">
              <a:xfrm>
                <a:off x="4155" y="1109"/>
                <a:ext cx="42" cy="90"/>
              </a:xfrm>
              <a:custGeom>
                <a:avLst/>
                <a:gdLst>
                  <a:gd name="T0" fmla="*/ 0 w 42"/>
                  <a:gd name="T1" fmla="*/ 85 h 90"/>
                  <a:gd name="T2" fmla="*/ 5 w 42"/>
                  <a:gd name="T3" fmla="*/ 43 h 90"/>
                  <a:gd name="T4" fmla="*/ 16 w 42"/>
                  <a:gd name="T5" fmla="*/ 16 h 90"/>
                  <a:gd name="T6" fmla="*/ 37 w 42"/>
                  <a:gd name="T7" fmla="*/ 0 h 90"/>
                  <a:gd name="T8" fmla="*/ 42 w 42"/>
                  <a:gd name="T9" fmla="*/ 16 h 90"/>
                  <a:gd name="T10" fmla="*/ 10 w 42"/>
                  <a:gd name="T11" fmla="*/ 90 h 90"/>
                  <a:gd name="T12" fmla="*/ 0 w 42"/>
                  <a:gd name="T13" fmla="*/ 85 h 9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2"/>
                  <a:gd name="T22" fmla="*/ 0 h 90"/>
                  <a:gd name="T23" fmla="*/ 42 w 42"/>
                  <a:gd name="T24" fmla="*/ 90 h 9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2" h="90">
                    <a:moveTo>
                      <a:pt x="0" y="85"/>
                    </a:moveTo>
                    <a:lnTo>
                      <a:pt x="5" y="43"/>
                    </a:lnTo>
                    <a:lnTo>
                      <a:pt x="16" y="16"/>
                    </a:lnTo>
                    <a:lnTo>
                      <a:pt x="37" y="0"/>
                    </a:lnTo>
                    <a:lnTo>
                      <a:pt x="42" y="16"/>
                    </a:lnTo>
                    <a:lnTo>
                      <a:pt x="10" y="90"/>
                    </a:lnTo>
                    <a:lnTo>
                      <a:pt x="0" y="85"/>
                    </a:lnTo>
                    <a:close/>
                  </a:path>
                </a:pathLst>
              </a:custGeom>
              <a:solidFill>
                <a:srgbClr val="49557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54" name="Freeform 376"/>
              <p:cNvSpPr>
                <a:spLocks/>
              </p:cNvSpPr>
              <p:nvPr/>
            </p:nvSpPr>
            <p:spPr bwMode="auto">
              <a:xfrm>
                <a:off x="4623" y="1146"/>
                <a:ext cx="42" cy="38"/>
              </a:xfrm>
              <a:custGeom>
                <a:avLst/>
                <a:gdLst>
                  <a:gd name="T0" fmla="*/ 5 w 42"/>
                  <a:gd name="T1" fmla="*/ 38 h 38"/>
                  <a:gd name="T2" fmla="*/ 0 w 42"/>
                  <a:gd name="T3" fmla="*/ 22 h 38"/>
                  <a:gd name="T4" fmla="*/ 16 w 42"/>
                  <a:gd name="T5" fmla="*/ 0 h 38"/>
                  <a:gd name="T6" fmla="*/ 16 w 42"/>
                  <a:gd name="T7" fmla="*/ 0 h 38"/>
                  <a:gd name="T8" fmla="*/ 21 w 42"/>
                  <a:gd name="T9" fmla="*/ 0 h 38"/>
                  <a:gd name="T10" fmla="*/ 42 w 42"/>
                  <a:gd name="T11" fmla="*/ 11 h 38"/>
                  <a:gd name="T12" fmla="*/ 26 w 42"/>
                  <a:gd name="T13" fmla="*/ 38 h 38"/>
                  <a:gd name="T14" fmla="*/ 16 w 42"/>
                  <a:gd name="T15" fmla="*/ 38 h 38"/>
                  <a:gd name="T16" fmla="*/ 5 w 42"/>
                  <a:gd name="T17" fmla="*/ 38 h 3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2"/>
                  <a:gd name="T28" fmla="*/ 0 h 38"/>
                  <a:gd name="T29" fmla="*/ 42 w 42"/>
                  <a:gd name="T30" fmla="*/ 38 h 3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2" h="38">
                    <a:moveTo>
                      <a:pt x="5" y="38"/>
                    </a:moveTo>
                    <a:lnTo>
                      <a:pt x="0" y="22"/>
                    </a:lnTo>
                    <a:lnTo>
                      <a:pt x="16" y="0"/>
                    </a:lnTo>
                    <a:lnTo>
                      <a:pt x="21" y="0"/>
                    </a:lnTo>
                    <a:lnTo>
                      <a:pt x="42" y="11"/>
                    </a:lnTo>
                    <a:lnTo>
                      <a:pt x="26" y="38"/>
                    </a:lnTo>
                    <a:lnTo>
                      <a:pt x="16" y="38"/>
                    </a:lnTo>
                    <a:lnTo>
                      <a:pt x="5" y="38"/>
                    </a:lnTo>
                    <a:close/>
                  </a:path>
                </a:pathLst>
              </a:custGeom>
              <a:solidFill>
                <a:srgbClr val="49557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55" name="Freeform 377"/>
              <p:cNvSpPr>
                <a:spLocks/>
              </p:cNvSpPr>
              <p:nvPr/>
            </p:nvSpPr>
            <p:spPr bwMode="auto">
              <a:xfrm>
                <a:off x="4490" y="1130"/>
                <a:ext cx="32" cy="48"/>
              </a:xfrm>
              <a:custGeom>
                <a:avLst/>
                <a:gdLst>
                  <a:gd name="T0" fmla="*/ 21 w 32"/>
                  <a:gd name="T1" fmla="*/ 48 h 48"/>
                  <a:gd name="T2" fmla="*/ 16 w 32"/>
                  <a:gd name="T3" fmla="*/ 32 h 48"/>
                  <a:gd name="T4" fmla="*/ 0 w 32"/>
                  <a:gd name="T5" fmla="*/ 0 h 48"/>
                  <a:gd name="T6" fmla="*/ 26 w 32"/>
                  <a:gd name="T7" fmla="*/ 16 h 48"/>
                  <a:gd name="T8" fmla="*/ 32 w 32"/>
                  <a:gd name="T9" fmla="*/ 48 h 48"/>
                  <a:gd name="T10" fmla="*/ 21 w 32"/>
                  <a:gd name="T11" fmla="*/ 48 h 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2"/>
                  <a:gd name="T19" fmla="*/ 0 h 48"/>
                  <a:gd name="T20" fmla="*/ 32 w 32"/>
                  <a:gd name="T21" fmla="*/ 48 h 4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2" h="48">
                    <a:moveTo>
                      <a:pt x="21" y="48"/>
                    </a:moveTo>
                    <a:lnTo>
                      <a:pt x="16" y="32"/>
                    </a:lnTo>
                    <a:lnTo>
                      <a:pt x="0" y="0"/>
                    </a:lnTo>
                    <a:lnTo>
                      <a:pt x="26" y="16"/>
                    </a:lnTo>
                    <a:lnTo>
                      <a:pt x="32" y="48"/>
                    </a:lnTo>
                    <a:lnTo>
                      <a:pt x="21" y="48"/>
                    </a:lnTo>
                    <a:close/>
                  </a:path>
                </a:pathLst>
              </a:custGeom>
              <a:solidFill>
                <a:srgbClr val="49557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56" name="Freeform 378"/>
              <p:cNvSpPr>
                <a:spLocks/>
              </p:cNvSpPr>
              <p:nvPr/>
            </p:nvSpPr>
            <p:spPr bwMode="auto">
              <a:xfrm>
                <a:off x="4139" y="1109"/>
                <a:ext cx="26" cy="48"/>
              </a:xfrm>
              <a:custGeom>
                <a:avLst/>
                <a:gdLst>
                  <a:gd name="T0" fmla="*/ 0 w 26"/>
                  <a:gd name="T1" fmla="*/ 48 h 48"/>
                  <a:gd name="T2" fmla="*/ 26 w 26"/>
                  <a:gd name="T3" fmla="*/ 0 h 48"/>
                  <a:gd name="T4" fmla="*/ 10 w 26"/>
                  <a:gd name="T5" fmla="*/ 48 h 48"/>
                  <a:gd name="T6" fmla="*/ 0 w 26"/>
                  <a:gd name="T7" fmla="*/ 48 h 4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"/>
                  <a:gd name="T13" fmla="*/ 0 h 48"/>
                  <a:gd name="T14" fmla="*/ 26 w 26"/>
                  <a:gd name="T15" fmla="*/ 48 h 4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" h="48">
                    <a:moveTo>
                      <a:pt x="0" y="48"/>
                    </a:moveTo>
                    <a:lnTo>
                      <a:pt x="26" y="0"/>
                    </a:lnTo>
                    <a:lnTo>
                      <a:pt x="10" y="48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49557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8502" name="Rectangle 379"/>
            <p:cNvSpPr>
              <a:spLocks noChangeArrowheads="1"/>
            </p:cNvSpPr>
            <p:nvPr/>
          </p:nvSpPr>
          <p:spPr bwMode="auto">
            <a:xfrm>
              <a:off x="3412" y="1600"/>
              <a:ext cx="1544" cy="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503" name="Rectangle 380"/>
            <p:cNvSpPr>
              <a:spLocks noChangeArrowheads="1"/>
            </p:cNvSpPr>
            <p:nvPr/>
          </p:nvSpPr>
          <p:spPr bwMode="auto">
            <a:xfrm>
              <a:off x="3456" y="1589"/>
              <a:ext cx="464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</a:rPr>
                <a:t>Machinery</a:t>
              </a:r>
              <a:endParaRPr lang="en-US" sz="1400" b="1" dirty="0"/>
            </a:p>
          </p:txBody>
        </p:sp>
        <p:sp>
          <p:nvSpPr>
            <p:cNvPr id="38504" name="Rectangle 381"/>
            <p:cNvSpPr>
              <a:spLocks noChangeArrowheads="1"/>
            </p:cNvSpPr>
            <p:nvPr/>
          </p:nvSpPr>
          <p:spPr bwMode="auto">
            <a:xfrm>
              <a:off x="3453" y="1771"/>
              <a:ext cx="671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</a:rPr>
                <a:t>(Tools/Ceramic </a:t>
              </a:r>
              <a:endParaRPr lang="en-US" sz="1400" b="1" dirty="0"/>
            </a:p>
          </p:txBody>
        </p:sp>
        <p:sp>
          <p:nvSpPr>
            <p:cNvPr id="38505" name="Rectangle 382"/>
            <p:cNvSpPr>
              <a:spLocks noChangeArrowheads="1"/>
            </p:cNvSpPr>
            <p:nvPr/>
          </p:nvSpPr>
          <p:spPr bwMode="auto">
            <a:xfrm>
              <a:off x="3453" y="1953"/>
              <a:ext cx="510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</a:rPr>
                <a:t>Production)</a:t>
              </a:r>
              <a:endParaRPr lang="en-US" sz="1400" b="1" dirty="0"/>
            </a:p>
          </p:txBody>
        </p:sp>
        <p:grpSp>
          <p:nvGrpSpPr>
            <p:cNvPr id="38496" name="Group 383"/>
            <p:cNvGrpSpPr>
              <a:grpSpLocks/>
            </p:cNvGrpSpPr>
            <p:nvPr/>
          </p:nvGrpSpPr>
          <p:grpSpPr bwMode="auto">
            <a:xfrm>
              <a:off x="4070" y="1045"/>
              <a:ext cx="696" cy="703"/>
              <a:chOff x="4070" y="1045"/>
              <a:chExt cx="696" cy="703"/>
            </a:xfrm>
          </p:grpSpPr>
          <p:sp>
            <p:nvSpPr>
              <p:cNvPr id="38507" name="Freeform 384"/>
              <p:cNvSpPr>
                <a:spLocks/>
              </p:cNvSpPr>
              <p:nvPr/>
            </p:nvSpPr>
            <p:spPr bwMode="auto">
              <a:xfrm>
                <a:off x="4070" y="1045"/>
                <a:ext cx="696" cy="703"/>
              </a:xfrm>
              <a:custGeom>
                <a:avLst/>
                <a:gdLst>
                  <a:gd name="T0" fmla="*/ 164 w 696"/>
                  <a:gd name="T1" fmla="*/ 697 h 703"/>
                  <a:gd name="T2" fmla="*/ 53 w 696"/>
                  <a:gd name="T3" fmla="*/ 687 h 703"/>
                  <a:gd name="T4" fmla="*/ 47 w 696"/>
                  <a:gd name="T5" fmla="*/ 671 h 703"/>
                  <a:gd name="T6" fmla="*/ 37 w 696"/>
                  <a:gd name="T7" fmla="*/ 666 h 703"/>
                  <a:gd name="T8" fmla="*/ 37 w 696"/>
                  <a:gd name="T9" fmla="*/ 660 h 703"/>
                  <a:gd name="T10" fmla="*/ 32 w 696"/>
                  <a:gd name="T11" fmla="*/ 655 h 703"/>
                  <a:gd name="T12" fmla="*/ 26 w 696"/>
                  <a:gd name="T13" fmla="*/ 650 h 703"/>
                  <a:gd name="T14" fmla="*/ 10 w 696"/>
                  <a:gd name="T15" fmla="*/ 564 h 703"/>
                  <a:gd name="T16" fmla="*/ 10 w 696"/>
                  <a:gd name="T17" fmla="*/ 485 h 703"/>
                  <a:gd name="T18" fmla="*/ 10 w 696"/>
                  <a:gd name="T19" fmla="*/ 405 h 703"/>
                  <a:gd name="T20" fmla="*/ 5 w 696"/>
                  <a:gd name="T21" fmla="*/ 325 h 703"/>
                  <a:gd name="T22" fmla="*/ 0 w 696"/>
                  <a:gd name="T23" fmla="*/ 240 h 703"/>
                  <a:gd name="T24" fmla="*/ 5 w 696"/>
                  <a:gd name="T25" fmla="*/ 165 h 703"/>
                  <a:gd name="T26" fmla="*/ 10 w 696"/>
                  <a:gd name="T27" fmla="*/ 128 h 703"/>
                  <a:gd name="T28" fmla="*/ 26 w 696"/>
                  <a:gd name="T29" fmla="*/ 91 h 703"/>
                  <a:gd name="T30" fmla="*/ 42 w 696"/>
                  <a:gd name="T31" fmla="*/ 53 h 703"/>
                  <a:gd name="T32" fmla="*/ 74 w 696"/>
                  <a:gd name="T33" fmla="*/ 16 h 703"/>
                  <a:gd name="T34" fmla="*/ 106 w 696"/>
                  <a:gd name="T35" fmla="*/ 11 h 703"/>
                  <a:gd name="T36" fmla="*/ 138 w 696"/>
                  <a:gd name="T37" fmla="*/ 5 h 703"/>
                  <a:gd name="T38" fmla="*/ 164 w 696"/>
                  <a:gd name="T39" fmla="*/ 0 h 703"/>
                  <a:gd name="T40" fmla="*/ 196 w 696"/>
                  <a:gd name="T41" fmla="*/ 5 h 703"/>
                  <a:gd name="T42" fmla="*/ 441 w 696"/>
                  <a:gd name="T43" fmla="*/ 11 h 703"/>
                  <a:gd name="T44" fmla="*/ 489 w 696"/>
                  <a:gd name="T45" fmla="*/ 11 h 703"/>
                  <a:gd name="T46" fmla="*/ 537 w 696"/>
                  <a:gd name="T47" fmla="*/ 16 h 703"/>
                  <a:gd name="T48" fmla="*/ 574 w 696"/>
                  <a:gd name="T49" fmla="*/ 16 h 703"/>
                  <a:gd name="T50" fmla="*/ 611 w 696"/>
                  <a:gd name="T51" fmla="*/ 21 h 703"/>
                  <a:gd name="T52" fmla="*/ 648 w 696"/>
                  <a:gd name="T53" fmla="*/ 37 h 703"/>
                  <a:gd name="T54" fmla="*/ 664 w 696"/>
                  <a:gd name="T55" fmla="*/ 53 h 703"/>
                  <a:gd name="T56" fmla="*/ 680 w 696"/>
                  <a:gd name="T57" fmla="*/ 75 h 703"/>
                  <a:gd name="T58" fmla="*/ 696 w 696"/>
                  <a:gd name="T59" fmla="*/ 176 h 703"/>
                  <a:gd name="T60" fmla="*/ 686 w 696"/>
                  <a:gd name="T61" fmla="*/ 197 h 703"/>
                  <a:gd name="T62" fmla="*/ 691 w 696"/>
                  <a:gd name="T63" fmla="*/ 245 h 703"/>
                  <a:gd name="T64" fmla="*/ 691 w 696"/>
                  <a:gd name="T65" fmla="*/ 293 h 703"/>
                  <a:gd name="T66" fmla="*/ 686 w 696"/>
                  <a:gd name="T67" fmla="*/ 341 h 703"/>
                  <a:gd name="T68" fmla="*/ 691 w 696"/>
                  <a:gd name="T69" fmla="*/ 394 h 703"/>
                  <a:gd name="T70" fmla="*/ 686 w 696"/>
                  <a:gd name="T71" fmla="*/ 447 h 703"/>
                  <a:gd name="T72" fmla="*/ 686 w 696"/>
                  <a:gd name="T73" fmla="*/ 506 h 703"/>
                  <a:gd name="T74" fmla="*/ 686 w 696"/>
                  <a:gd name="T75" fmla="*/ 559 h 703"/>
                  <a:gd name="T76" fmla="*/ 686 w 696"/>
                  <a:gd name="T77" fmla="*/ 618 h 703"/>
                  <a:gd name="T78" fmla="*/ 659 w 696"/>
                  <a:gd name="T79" fmla="*/ 671 h 703"/>
                  <a:gd name="T80" fmla="*/ 595 w 696"/>
                  <a:gd name="T81" fmla="*/ 682 h 703"/>
                  <a:gd name="T82" fmla="*/ 537 w 696"/>
                  <a:gd name="T83" fmla="*/ 692 h 703"/>
                  <a:gd name="T84" fmla="*/ 478 w 696"/>
                  <a:gd name="T85" fmla="*/ 692 h 703"/>
                  <a:gd name="T86" fmla="*/ 414 w 696"/>
                  <a:gd name="T87" fmla="*/ 692 h 703"/>
                  <a:gd name="T88" fmla="*/ 297 w 696"/>
                  <a:gd name="T89" fmla="*/ 687 h 703"/>
                  <a:gd name="T90" fmla="*/ 234 w 696"/>
                  <a:gd name="T91" fmla="*/ 692 h 703"/>
                  <a:gd name="T92" fmla="*/ 180 w 696"/>
                  <a:gd name="T93" fmla="*/ 703 h 703"/>
                  <a:gd name="T94" fmla="*/ 164 w 696"/>
                  <a:gd name="T95" fmla="*/ 697 h 703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96"/>
                  <a:gd name="T145" fmla="*/ 0 h 703"/>
                  <a:gd name="T146" fmla="*/ 696 w 696"/>
                  <a:gd name="T147" fmla="*/ 703 h 703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96" h="703">
                    <a:moveTo>
                      <a:pt x="164" y="697"/>
                    </a:moveTo>
                    <a:lnTo>
                      <a:pt x="53" y="687"/>
                    </a:lnTo>
                    <a:lnTo>
                      <a:pt x="47" y="671"/>
                    </a:lnTo>
                    <a:lnTo>
                      <a:pt x="37" y="666"/>
                    </a:lnTo>
                    <a:lnTo>
                      <a:pt x="37" y="660"/>
                    </a:lnTo>
                    <a:lnTo>
                      <a:pt x="32" y="655"/>
                    </a:lnTo>
                    <a:lnTo>
                      <a:pt x="26" y="650"/>
                    </a:lnTo>
                    <a:lnTo>
                      <a:pt x="10" y="564"/>
                    </a:lnTo>
                    <a:lnTo>
                      <a:pt x="10" y="485"/>
                    </a:lnTo>
                    <a:lnTo>
                      <a:pt x="10" y="405"/>
                    </a:lnTo>
                    <a:lnTo>
                      <a:pt x="5" y="325"/>
                    </a:lnTo>
                    <a:lnTo>
                      <a:pt x="0" y="240"/>
                    </a:lnTo>
                    <a:lnTo>
                      <a:pt x="5" y="165"/>
                    </a:lnTo>
                    <a:lnTo>
                      <a:pt x="10" y="128"/>
                    </a:lnTo>
                    <a:lnTo>
                      <a:pt x="26" y="91"/>
                    </a:lnTo>
                    <a:lnTo>
                      <a:pt x="42" y="53"/>
                    </a:lnTo>
                    <a:lnTo>
                      <a:pt x="74" y="16"/>
                    </a:lnTo>
                    <a:lnTo>
                      <a:pt x="106" y="11"/>
                    </a:lnTo>
                    <a:lnTo>
                      <a:pt x="138" y="5"/>
                    </a:lnTo>
                    <a:lnTo>
                      <a:pt x="164" y="0"/>
                    </a:lnTo>
                    <a:lnTo>
                      <a:pt x="196" y="5"/>
                    </a:lnTo>
                    <a:lnTo>
                      <a:pt x="441" y="11"/>
                    </a:lnTo>
                    <a:lnTo>
                      <a:pt x="489" y="11"/>
                    </a:lnTo>
                    <a:lnTo>
                      <a:pt x="537" y="16"/>
                    </a:lnTo>
                    <a:lnTo>
                      <a:pt x="574" y="16"/>
                    </a:lnTo>
                    <a:lnTo>
                      <a:pt x="611" y="21"/>
                    </a:lnTo>
                    <a:lnTo>
                      <a:pt x="648" y="37"/>
                    </a:lnTo>
                    <a:lnTo>
                      <a:pt x="664" y="53"/>
                    </a:lnTo>
                    <a:lnTo>
                      <a:pt x="680" y="75"/>
                    </a:lnTo>
                    <a:lnTo>
                      <a:pt x="696" y="176"/>
                    </a:lnTo>
                    <a:lnTo>
                      <a:pt x="686" y="197"/>
                    </a:lnTo>
                    <a:lnTo>
                      <a:pt x="691" y="245"/>
                    </a:lnTo>
                    <a:lnTo>
                      <a:pt x="691" y="293"/>
                    </a:lnTo>
                    <a:lnTo>
                      <a:pt x="686" y="341"/>
                    </a:lnTo>
                    <a:lnTo>
                      <a:pt x="691" y="394"/>
                    </a:lnTo>
                    <a:lnTo>
                      <a:pt x="686" y="447"/>
                    </a:lnTo>
                    <a:lnTo>
                      <a:pt x="686" y="506"/>
                    </a:lnTo>
                    <a:lnTo>
                      <a:pt x="686" y="559"/>
                    </a:lnTo>
                    <a:lnTo>
                      <a:pt x="686" y="618"/>
                    </a:lnTo>
                    <a:lnTo>
                      <a:pt x="659" y="671"/>
                    </a:lnTo>
                    <a:lnTo>
                      <a:pt x="595" y="682"/>
                    </a:lnTo>
                    <a:lnTo>
                      <a:pt x="537" y="692"/>
                    </a:lnTo>
                    <a:lnTo>
                      <a:pt x="478" y="692"/>
                    </a:lnTo>
                    <a:lnTo>
                      <a:pt x="414" y="692"/>
                    </a:lnTo>
                    <a:lnTo>
                      <a:pt x="297" y="687"/>
                    </a:lnTo>
                    <a:lnTo>
                      <a:pt x="234" y="692"/>
                    </a:lnTo>
                    <a:lnTo>
                      <a:pt x="180" y="703"/>
                    </a:lnTo>
                    <a:lnTo>
                      <a:pt x="164" y="697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08" name="Freeform 385"/>
              <p:cNvSpPr>
                <a:spLocks/>
              </p:cNvSpPr>
              <p:nvPr/>
            </p:nvSpPr>
            <p:spPr bwMode="auto">
              <a:xfrm>
                <a:off x="4102" y="1088"/>
                <a:ext cx="632" cy="633"/>
              </a:xfrm>
              <a:custGeom>
                <a:avLst/>
                <a:gdLst>
                  <a:gd name="T0" fmla="*/ 74 w 632"/>
                  <a:gd name="T1" fmla="*/ 628 h 633"/>
                  <a:gd name="T2" fmla="*/ 58 w 632"/>
                  <a:gd name="T3" fmla="*/ 628 h 633"/>
                  <a:gd name="T4" fmla="*/ 15 w 632"/>
                  <a:gd name="T5" fmla="*/ 585 h 633"/>
                  <a:gd name="T6" fmla="*/ 5 w 632"/>
                  <a:gd name="T7" fmla="*/ 442 h 633"/>
                  <a:gd name="T8" fmla="*/ 0 w 632"/>
                  <a:gd name="T9" fmla="*/ 308 h 633"/>
                  <a:gd name="T10" fmla="*/ 5 w 632"/>
                  <a:gd name="T11" fmla="*/ 170 h 633"/>
                  <a:gd name="T12" fmla="*/ 26 w 632"/>
                  <a:gd name="T13" fmla="*/ 37 h 633"/>
                  <a:gd name="T14" fmla="*/ 58 w 632"/>
                  <a:gd name="T15" fmla="*/ 0 h 633"/>
                  <a:gd name="T16" fmla="*/ 74 w 632"/>
                  <a:gd name="T17" fmla="*/ 0 h 633"/>
                  <a:gd name="T18" fmla="*/ 579 w 632"/>
                  <a:gd name="T19" fmla="*/ 0 h 633"/>
                  <a:gd name="T20" fmla="*/ 579 w 632"/>
                  <a:gd name="T21" fmla="*/ 5 h 633"/>
                  <a:gd name="T22" fmla="*/ 579 w 632"/>
                  <a:gd name="T23" fmla="*/ 10 h 633"/>
                  <a:gd name="T24" fmla="*/ 579 w 632"/>
                  <a:gd name="T25" fmla="*/ 10 h 633"/>
                  <a:gd name="T26" fmla="*/ 585 w 632"/>
                  <a:gd name="T27" fmla="*/ 16 h 633"/>
                  <a:gd name="T28" fmla="*/ 611 w 632"/>
                  <a:gd name="T29" fmla="*/ 32 h 633"/>
                  <a:gd name="T30" fmla="*/ 632 w 632"/>
                  <a:gd name="T31" fmla="*/ 58 h 633"/>
                  <a:gd name="T32" fmla="*/ 632 w 632"/>
                  <a:gd name="T33" fmla="*/ 74 h 633"/>
                  <a:gd name="T34" fmla="*/ 632 w 632"/>
                  <a:gd name="T35" fmla="*/ 234 h 633"/>
                  <a:gd name="T36" fmla="*/ 632 w 632"/>
                  <a:gd name="T37" fmla="*/ 410 h 633"/>
                  <a:gd name="T38" fmla="*/ 632 w 632"/>
                  <a:gd name="T39" fmla="*/ 495 h 633"/>
                  <a:gd name="T40" fmla="*/ 632 w 632"/>
                  <a:gd name="T41" fmla="*/ 585 h 633"/>
                  <a:gd name="T42" fmla="*/ 611 w 632"/>
                  <a:gd name="T43" fmla="*/ 612 h 633"/>
                  <a:gd name="T44" fmla="*/ 553 w 632"/>
                  <a:gd name="T45" fmla="*/ 623 h 633"/>
                  <a:gd name="T46" fmla="*/ 499 w 632"/>
                  <a:gd name="T47" fmla="*/ 628 h 633"/>
                  <a:gd name="T48" fmla="*/ 441 w 632"/>
                  <a:gd name="T49" fmla="*/ 628 h 633"/>
                  <a:gd name="T50" fmla="*/ 388 w 632"/>
                  <a:gd name="T51" fmla="*/ 633 h 633"/>
                  <a:gd name="T52" fmla="*/ 79 w 632"/>
                  <a:gd name="T53" fmla="*/ 633 h 633"/>
                  <a:gd name="T54" fmla="*/ 74 w 632"/>
                  <a:gd name="T55" fmla="*/ 628 h 633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632"/>
                  <a:gd name="T85" fmla="*/ 0 h 633"/>
                  <a:gd name="T86" fmla="*/ 632 w 632"/>
                  <a:gd name="T87" fmla="*/ 633 h 633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632" h="633">
                    <a:moveTo>
                      <a:pt x="74" y="628"/>
                    </a:moveTo>
                    <a:lnTo>
                      <a:pt x="58" y="628"/>
                    </a:lnTo>
                    <a:lnTo>
                      <a:pt x="15" y="585"/>
                    </a:lnTo>
                    <a:lnTo>
                      <a:pt x="5" y="442"/>
                    </a:lnTo>
                    <a:lnTo>
                      <a:pt x="0" y="308"/>
                    </a:lnTo>
                    <a:lnTo>
                      <a:pt x="5" y="170"/>
                    </a:lnTo>
                    <a:lnTo>
                      <a:pt x="26" y="37"/>
                    </a:lnTo>
                    <a:lnTo>
                      <a:pt x="58" y="0"/>
                    </a:lnTo>
                    <a:lnTo>
                      <a:pt x="74" y="0"/>
                    </a:lnTo>
                    <a:lnTo>
                      <a:pt x="579" y="0"/>
                    </a:lnTo>
                    <a:lnTo>
                      <a:pt x="579" y="5"/>
                    </a:lnTo>
                    <a:lnTo>
                      <a:pt x="579" y="10"/>
                    </a:lnTo>
                    <a:lnTo>
                      <a:pt x="585" y="16"/>
                    </a:lnTo>
                    <a:lnTo>
                      <a:pt x="611" y="32"/>
                    </a:lnTo>
                    <a:lnTo>
                      <a:pt x="632" y="58"/>
                    </a:lnTo>
                    <a:lnTo>
                      <a:pt x="632" y="74"/>
                    </a:lnTo>
                    <a:lnTo>
                      <a:pt x="632" y="234"/>
                    </a:lnTo>
                    <a:lnTo>
                      <a:pt x="632" y="410"/>
                    </a:lnTo>
                    <a:lnTo>
                      <a:pt x="632" y="495"/>
                    </a:lnTo>
                    <a:lnTo>
                      <a:pt x="632" y="585"/>
                    </a:lnTo>
                    <a:lnTo>
                      <a:pt x="611" y="612"/>
                    </a:lnTo>
                    <a:lnTo>
                      <a:pt x="553" y="623"/>
                    </a:lnTo>
                    <a:lnTo>
                      <a:pt x="499" y="628"/>
                    </a:lnTo>
                    <a:lnTo>
                      <a:pt x="441" y="628"/>
                    </a:lnTo>
                    <a:lnTo>
                      <a:pt x="388" y="633"/>
                    </a:lnTo>
                    <a:lnTo>
                      <a:pt x="79" y="633"/>
                    </a:lnTo>
                    <a:lnTo>
                      <a:pt x="74" y="628"/>
                    </a:lnTo>
                    <a:close/>
                  </a:path>
                </a:pathLst>
              </a:custGeom>
              <a:solidFill>
                <a:srgbClr val="61BFF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09" name="Freeform 386"/>
              <p:cNvSpPr>
                <a:spLocks/>
              </p:cNvSpPr>
              <p:nvPr/>
            </p:nvSpPr>
            <p:spPr bwMode="auto">
              <a:xfrm>
                <a:off x="4266" y="1647"/>
                <a:ext cx="48" cy="26"/>
              </a:xfrm>
              <a:custGeom>
                <a:avLst/>
                <a:gdLst>
                  <a:gd name="T0" fmla="*/ 0 w 48"/>
                  <a:gd name="T1" fmla="*/ 21 h 26"/>
                  <a:gd name="T2" fmla="*/ 0 w 48"/>
                  <a:gd name="T3" fmla="*/ 21 h 26"/>
                  <a:gd name="T4" fmla="*/ 48 w 48"/>
                  <a:gd name="T5" fmla="*/ 0 h 26"/>
                  <a:gd name="T6" fmla="*/ 27 w 48"/>
                  <a:gd name="T7" fmla="*/ 26 h 26"/>
                  <a:gd name="T8" fmla="*/ 0 w 48"/>
                  <a:gd name="T9" fmla="*/ 21 h 2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26"/>
                  <a:gd name="T17" fmla="*/ 48 w 48"/>
                  <a:gd name="T18" fmla="*/ 26 h 2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26">
                    <a:moveTo>
                      <a:pt x="0" y="21"/>
                    </a:moveTo>
                    <a:lnTo>
                      <a:pt x="0" y="21"/>
                    </a:lnTo>
                    <a:lnTo>
                      <a:pt x="48" y="0"/>
                    </a:lnTo>
                    <a:lnTo>
                      <a:pt x="27" y="26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49557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10" name="Freeform 387"/>
              <p:cNvSpPr>
                <a:spLocks/>
              </p:cNvSpPr>
              <p:nvPr/>
            </p:nvSpPr>
            <p:spPr bwMode="auto">
              <a:xfrm>
                <a:off x="4362" y="1301"/>
                <a:ext cx="213" cy="372"/>
              </a:xfrm>
              <a:custGeom>
                <a:avLst/>
                <a:gdLst>
                  <a:gd name="T0" fmla="*/ 69 w 213"/>
                  <a:gd name="T1" fmla="*/ 367 h 372"/>
                  <a:gd name="T2" fmla="*/ 48 w 213"/>
                  <a:gd name="T3" fmla="*/ 351 h 372"/>
                  <a:gd name="T4" fmla="*/ 37 w 213"/>
                  <a:gd name="T5" fmla="*/ 335 h 372"/>
                  <a:gd name="T6" fmla="*/ 21 w 213"/>
                  <a:gd name="T7" fmla="*/ 314 h 372"/>
                  <a:gd name="T8" fmla="*/ 5 w 213"/>
                  <a:gd name="T9" fmla="*/ 298 h 372"/>
                  <a:gd name="T10" fmla="*/ 5 w 213"/>
                  <a:gd name="T11" fmla="*/ 255 h 372"/>
                  <a:gd name="T12" fmla="*/ 0 w 213"/>
                  <a:gd name="T13" fmla="*/ 218 h 372"/>
                  <a:gd name="T14" fmla="*/ 11 w 213"/>
                  <a:gd name="T15" fmla="*/ 181 h 372"/>
                  <a:gd name="T16" fmla="*/ 21 w 213"/>
                  <a:gd name="T17" fmla="*/ 143 h 372"/>
                  <a:gd name="T18" fmla="*/ 37 w 213"/>
                  <a:gd name="T19" fmla="*/ 111 h 372"/>
                  <a:gd name="T20" fmla="*/ 59 w 213"/>
                  <a:gd name="T21" fmla="*/ 79 h 372"/>
                  <a:gd name="T22" fmla="*/ 91 w 213"/>
                  <a:gd name="T23" fmla="*/ 53 h 372"/>
                  <a:gd name="T24" fmla="*/ 122 w 213"/>
                  <a:gd name="T25" fmla="*/ 32 h 372"/>
                  <a:gd name="T26" fmla="*/ 160 w 213"/>
                  <a:gd name="T27" fmla="*/ 21 h 372"/>
                  <a:gd name="T28" fmla="*/ 122 w 213"/>
                  <a:gd name="T29" fmla="*/ 0 h 372"/>
                  <a:gd name="T30" fmla="*/ 122 w 213"/>
                  <a:gd name="T31" fmla="*/ 0 h 372"/>
                  <a:gd name="T32" fmla="*/ 213 w 213"/>
                  <a:gd name="T33" fmla="*/ 0 h 372"/>
                  <a:gd name="T34" fmla="*/ 213 w 213"/>
                  <a:gd name="T35" fmla="*/ 5 h 372"/>
                  <a:gd name="T36" fmla="*/ 213 w 213"/>
                  <a:gd name="T37" fmla="*/ 10 h 372"/>
                  <a:gd name="T38" fmla="*/ 160 w 213"/>
                  <a:gd name="T39" fmla="*/ 79 h 372"/>
                  <a:gd name="T40" fmla="*/ 160 w 213"/>
                  <a:gd name="T41" fmla="*/ 53 h 372"/>
                  <a:gd name="T42" fmla="*/ 176 w 213"/>
                  <a:gd name="T43" fmla="*/ 32 h 372"/>
                  <a:gd name="T44" fmla="*/ 144 w 213"/>
                  <a:gd name="T45" fmla="*/ 48 h 372"/>
                  <a:gd name="T46" fmla="*/ 128 w 213"/>
                  <a:gd name="T47" fmla="*/ 53 h 372"/>
                  <a:gd name="T48" fmla="*/ 96 w 213"/>
                  <a:gd name="T49" fmla="*/ 74 h 372"/>
                  <a:gd name="T50" fmla="*/ 69 w 213"/>
                  <a:gd name="T51" fmla="*/ 101 h 372"/>
                  <a:gd name="T52" fmla="*/ 53 w 213"/>
                  <a:gd name="T53" fmla="*/ 127 h 372"/>
                  <a:gd name="T54" fmla="*/ 37 w 213"/>
                  <a:gd name="T55" fmla="*/ 159 h 372"/>
                  <a:gd name="T56" fmla="*/ 27 w 213"/>
                  <a:gd name="T57" fmla="*/ 218 h 372"/>
                  <a:gd name="T58" fmla="*/ 37 w 213"/>
                  <a:gd name="T59" fmla="*/ 282 h 372"/>
                  <a:gd name="T60" fmla="*/ 53 w 213"/>
                  <a:gd name="T61" fmla="*/ 319 h 372"/>
                  <a:gd name="T62" fmla="*/ 91 w 213"/>
                  <a:gd name="T63" fmla="*/ 356 h 372"/>
                  <a:gd name="T64" fmla="*/ 75 w 213"/>
                  <a:gd name="T65" fmla="*/ 372 h 372"/>
                  <a:gd name="T66" fmla="*/ 69 w 213"/>
                  <a:gd name="T67" fmla="*/ 367 h 372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13"/>
                  <a:gd name="T103" fmla="*/ 0 h 372"/>
                  <a:gd name="T104" fmla="*/ 213 w 213"/>
                  <a:gd name="T105" fmla="*/ 372 h 372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13" h="372">
                    <a:moveTo>
                      <a:pt x="69" y="367"/>
                    </a:moveTo>
                    <a:lnTo>
                      <a:pt x="48" y="351"/>
                    </a:lnTo>
                    <a:lnTo>
                      <a:pt x="37" y="335"/>
                    </a:lnTo>
                    <a:lnTo>
                      <a:pt x="21" y="314"/>
                    </a:lnTo>
                    <a:lnTo>
                      <a:pt x="5" y="298"/>
                    </a:lnTo>
                    <a:lnTo>
                      <a:pt x="5" y="255"/>
                    </a:lnTo>
                    <a:lnTo>
                      <a:pt x="0" y="218"/>
                    </a:lnTo>
                    <a:lnTo>
                      <a:pt x="11" y="181"/>
                    </a:lnTo>
                    <a:lnTo>
                      <a:pt x="21" y="143"/>
                    </a:lnTo>
                    <a:lnTo>
                      <a:pt x="37" y="111"/>
                    </a:lnTo>
                    <a:lnTo>
                      <a:pt x="59" y="79"/>
                    </a:lnTo>
                    <a:lnTo>
                      <a:pt x="91" y="53"/>
                    </a:lnTo>
                    <a:lnTo>
                      <a:pt x="122" y="32"/>
                    </a:lnTo>
                    <a:lnTo>
                      <a:pt x="160" y="21"/>
                    </a:lnTo>
                    <a:lnTo>
                      <a:pt x="122" y="0"/>
                    </a:lnTo>
                    <a:lnTo>
                      <a:pt x="213" y="0"/>
                    </a:lnTo>
                    <a:lnTo>
                      <a:pt x="213" y="5"/>
                    </a:lnTo>
                    <a:lnTo>
                      <a:pt x="213" y="10"/>
                    </a:lnTo>
                    <a:lnTo>
                      <a:pt x="160" y="79"/>
                    </a:lnTo>
                    <a:lnTo>
                      <a:pt x="160" y="53"/>
                    </a:lnTo>
                    <a:lnTo>
                      <a:pt x="176" y="32"/>
                    </a:lnTo>
                    <a:lnTo>
                      <a:pt x="144" y="48"/>
                    </a:lnTo>
                    <a:lnTo>
                      <a:pt x="128" y="53"/>
                    </a:lnTo>
                    <a:lnTo>
                      <a:pt x="96" y="74"/>
                    </a:lnTo>
                    <a:lnTo>
                      <a:pt x="69" y="101"/>
                    </a:lnTo>
                    <a:lnTo>
                      <a:pt x="53" y="127"/>
                    </a:lnTo>
                    <a:lnTo>
                      <a:pt x="37" y="159"/>
                    </a:lnTo>
                    <a:lnTo>
                      <a:pt x="27" y="218"/>
                    </a:lnTo>
                    <a:lnTo>
                      <a:pt x="37" y="282"/>
                    </a:lnTo>
                    <a:lnTo>
                      <a:pt x="53" y="319"/>
                    </a:lnTo>
                    <a:lnTo>
                      <a:pt x="91" y="356"/>
                    </a:lnTo>
                    <a:lnTo>
                      <a:pt x="75" y="372"/>
                    </a:lnTo>
                    <a:lnTo>
                      <a:pt x="69" y="367"/>
                    </a:lnTo>
                    <a:close/>
                  </a:path>
                </a:pathLst>
              </a:custGeom>
              <a:solidFill>
                <a:srgbClr val="ACDC7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11" name="Freeform 388"/>
              <p:cNvSpPr>
                <a:spLocks/>
              </p:cNvSpPr>
              <p:nvPr/>
            </p:nvSpPr>
            <p:spPr bwMode="auto">
              <a:xfrm>
                <a:off x="4373" y="1290"/>
                <a:ext cx="212" cy="373"/>
              </a:xfrm>
              <a:custGeom>
                <a:avLst/>
                <a:gdLst>
                  <a:gd name="T0" fmla="*/ 69 w 212"/>
                  <a:gd name="T1" fmla="*/ 367 h 373"/>
                  <a:gd name="T2" fmla="*/ 48 w 212"/>
                  <a:gd name="T3" fmla="*/ 351 h 373"/>
                  <a:gd name="T4" fmla="*/ 37 w 212"/>
                  <a:gd name="T5" fmla="*/ 335 h 373"/>
                  <a:gd name="T6" fmla="*/ 10 w 212"/>
                  <a:gd name="T7" fmla="*/ 298 h 373"/>
                  <a:gd name="T8" fmla="*/ 5 w 212"/>
                  <a:gd name="T9" fmla="*/ 261 h 373"/>
                  <a:gd name="T10" fmla="*/ 0 w 212"/>
                  <a:gd name="T11" fmla="*/ 224 h 373"/>
                  <a:gd name="T12" fmla="*/ 10 w 212"/>
                  <a:gd name="T13" fmla="*/ 186 h 373"/>
                  <a:gd name="T14" fmla="*/ 21 w 212"/>
                  <a:gd name="T15" fmla="*/ 149 h 373"/>
                  <a:gd name="T16" fmla="*/ 37 w 212"/>
                  <a:gd name="T17" fmla="*/ 117 h 373"/>
                  <a:gd name="T18" fmla="*/ 64 w 212"/>
                  <a:gd name="T19" fmla="*/ 80 h 373"/>
                  <a:gd name="T20" fmla="*/ 90 w 212"/>
                  <a:gd name="T21" fmla="*/ 53 h 373"/>
                  <a:gd name="T22" fmla="*/ 122 w 212"/>
                  <a:gd name="T23" fmla="*/ 32 h 373"/>
                  <a:gd name="T24" fmla="*/ 165 w 212"/>
                  <a:gd name="T25" fmla="*/ 21 h 373"/>
                  <a:gd name="T26" fmla="*/ 122 w 212"/>
                  <a:gd name="T27" fmla="*/ 5 h 373"/>
                  <a:gd name="T28" fmla="*/ 122 w 212"/>
                  <a:gd name="T29" fmla="*/ 0 h 373"/>
                  <a:gd name="T30" fmla="*/ 122 w 212"/>
                  <a:gd name="T31" fmla="*/ 0 h 373"/>
                  <a:gd name="T32" fmla="*/ 212 w 212"/>
                  <a:gd name="T33" fmla="*/ 5 h 373"/>
                  <a:gd name="T34" fmla="*/ 212 w 212"/>
                  <a:gd name="T35" fmla="*/ 5 h 373"/>
                  <a:gd name="T36" fmla="*/ 212 w 212"/>
                  <a:gd name="T37" fmla="*/ 11 h 373"/>
                  <a:gd name="T38" fmla="*/ 159 w 212"/>
                  <a:gd name="T39" fmla="*/ 80 h 373"/>
                  <a:gd name="T40" fmla="*/ 159 w 212"/>
                  <a:gd name="T41" fmla="*/ 53 h 373"/>
                  <a:gd name="T42" fmla="*/ 175 w 212"/>
                  <a:gd name="T43" fmla="*/ 32 h 373"/>
                  <a:gd name="T44" fmla="*/ 149 w 212"/>
                  <a:gd name="T45" fmla="*/ 53 h 373"/>
                  <a:gd name="T46" fmla="*/ 127 w 212"/>
                  <a:gd name="T47" fmla="*/ 53 h 373"/>
                  <a:gd name="T48" fmla="*/ 95 w 212"/>
                  <a:gd name="T49" fmla="*/ 75 h 373"/>
                  <a:gd name="T50" fmla="*/ 69 w 212"/>
                  <a:gd name="T51" fmla="*/ 101 h 373"/>
                  <a:gd name="T52" fmla="*/ 53 w 212"/>
                  <a:gd name="T53" fmla="*/ 128 h 373"/>
                  <a:gd name="T54" fmla="*/ 37 w 212"/>
                  <a:gd name="T55" fmla="*/ 160 h 373"/>
                  <a:gd name="T56" fmla="*/ 26 w 212"/>
                  <a:gd name="T57" fmla="*/ 218 h 373"/>
                  <a:gd name="T58" fmla="*/ 37 w 212"/>
                  <a:gd name="T59" fmla="*/ 282 h 373"/>
                  <a:gd name="T60" fmla="*/ 53 w 212"/>
                  <a:gd name="T61" fmla="*/ 319 h 373"/>
                  <a:gd name="T62" fmla="*/ 90 w 212"/>
                  <a:gd name="T63" fmla="*/ 362 h 373"/>
                  <a:gd name="T64" fmla="*/ 80 w 212"/>
                  <a:gd name="T65" fmla="*/ 373 h 373"/>
                  <a:gd name="T66" fmla="*/ 69 w 212"/>
                  <a:gd name="T67" fmla="*/ 367 h 37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12"/>
                  <a:gd name="T103" fmla="*/ 0 h 373"/>
                  <a:gd name="T104" fmla="*/ 212 w 212"/>
                  <a:gd name="T105" fmla="*/ 373 h 373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12" h="373">
                    <a:moveTo>
                      <a:pt x="69" y="367"/>
                    </a:moveTo>
                    <a:lnTo>
                      <a:pt x="48" y="351"/>
                    </a:lnTo>
                    <a:lnTo>
                      <a:pt x="37" y="335"/>
                    </a:lnTo>
                    <a:lnTo>
                      <a:pt x="10" y="298"/>
                    </a:lnTo>
                    <a:lnTo>
                      <a:pt x="5" y="261"/>
                    </a:lnTo>
                    <a:lnTo>
                      <a:pt x="0" y="224"/>
                    </a:lnTo>
                    <a:lnTo>
                      <a:pt x="10" y="186"/>
                    </a:lnTo>
                    <a:lnTo>
                      <a:pt x="21" y="149"/>
                    </a:lnTo>
                    <a:lnTo>
                      <a:pt x="37" y="117"/>
                    </a:lnTo>
                    <a:lnTo>
                      <a:pt x="64" y="80"/>
                    </a:lnTo>
                    <a:lnTo>
                      <a:pt x="90" y="53"/>
                    </a:lnTo>
                    <a:lnTo>
                      <a:pt x="122" y="32"/>
                    </a:lnTo>
                    <a:lnTo>
                      <a:pt x="165" y="21"/>
                    </a:lnTo>
                    <a:lnTo>
                      <a:pt x="122" y="5"/>
                    </a:lnTo>
                    <a:lnTo>
                      <a:pt x="122" y="0"/>
                    </a:lnTo>
                    <a:lnTo>
                      <a:pt x="212" y="5"/>
                    </a:lnTo>
                    <a:lnTo>
                      <a:pt x="212" y="11"/>
                    </a:lnTo>
                    <a:lnTo>
                      <a:pt x="159" y="80"/>
                    </a:lnTo>
                    <a:lnTo>
                      <a:pt x="159" y="53"/>
                    </a:lnTo>
                    <a:lnTo>
                      <a:pt x="175" y="32"/>
                    </a:lnTo>
                    <a:lnTo>
                      <a:pt x="149" y="53"/>
                    </a:lnTo>
                    <a:lnTo>
                      <a:pt x="127" y="53"/>
                    </a:lnTo>
                    <a:lnTo>
                      <a:pt x="95" y="75"/>
                    </a:lnTo>
                    <a:lnTo>
                      <a:pt x="69" y="101"/>
                    </a:lnTo>
                    <a:lnTo>
                      <a:pt x="53" y="128"/>
                    </a:lnTo>
                    <a:lnTo>
                      <a:pt x="37" y="160"/>
                    </a:lnTo>
                    <a:lnTo>
                      <a:pt x="26" y="218"/>
                    </a:lnTo>
                    <a:lnTo>
                      <a:pt x="37" y="282"/>
                    </a:lnTo>
                    <a:lnTo>
                      <a:pt x="53" y="319"/>
                    </a:lnTo>
                    <a:lnTo>
                      <a:pt x="90" y="362"/>
                    </a:lnTo>
                    <a:lnTo>
                      <a:pt x="80" y="373"/>
                    </a:lnTo>
                    <a:lnTo>
                      <a:pt x="69" y="367"/>
                    </a:lnTo>
                    <a:close/>
                  </a:path>
                </a:pathLst>
              </a:custGeom>
              <a:solidFill>
                <a:srgbClr val="504A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12" name="Freeform 389"/>
              <p:cNvSpPr>
                <a:spLocks/>
              </p:cNvSpPr>
              <p:nvPr/>
            </p:nvSpPr>
            <p:spPr bwMode="auto">
              <a:xfrm>
                <a:off x="4437" y="1380"/>
                <a:ext cx="271" cy="288"/>
              </a:xfrm>
              <a:custGeom>
                <a:avLst/>
                <a:gdLst>
                  <a:gd name="T0" fmla="*/ 122 w 271"/>
                  <a:gd name="T1" fmla="*/ 272 h 288"/>
                  <a:gd name="T2" fmla="*/ 95 w 271"/>
                  <a:gd name="T3" fmla="*/ 256 h 288"/>
                  <a:gd name="T4" fmla="*/ 85 w 271"/>
                  <a:gd name="T5" fmla="*/ 261 h 288"/>
                  <a:gd name="T6" fmla="*/ 53 w 271"/>
                  <a:gd name="T7" fmla="*/ 251 h 288"/>
                  <a:gd name="T8" fmla="*/ 21 w 271"/>
                  <a:gd name="T9" fmla="*/ 224 h 288"/>
                  <a:gd name="T10" fmla="*/ 21 w 271"/>
                  <a:gd name="T11" fmla="*/ 219 h 288"/>
                  <a:gd name="T12" fmla="*/ 21 w 271"/>
                  <a:gd name="T13" fmla="*/ 208 h 288"/>
                  <a:gd name="T14" fmla="*/ 26 w 271"/>
                  <a:gd name="T15" fmla="*/ 166 h 288"/>
                  <a:gd name="T16" fmla="*/ 10 w 271"/>
                  <a:gd name="T17" fmla="*/ 160 h 288"/>
                  <a:gd name="T18" fmla="*/ 0 w 271"/>
                  <a:gd name="T19" fmla="*/ 123 h 288"/>
                  <a:gd name="T20" fmla="*/ 10 w 271"/>
                  <a:gd name="T21" fmla="*/ 123 h 288"/>
                  <a:gd name="T22" fmla="*/ 31 w 271"/>
                  <a:gd name="T23" fmla="*/ 107 h 288"/>
                  <a:gd name="T24" fmla="*/ 21 w 271"/>
                  <a:gd name="T25" fmla="*/ 59 h 288"/>
                  <a:gd name="T26" fmla="*/ 53 w 271"/>
                  <a:gd name="T27" fmla="*/ 59 h 288"/>
                  <a:gd name="T28" fmla="*/ 58 w 271"/>
                  <a:gd name="T29" fmla="*/ 54 h 288"/>
                  <a:gd name="T30" fmla="*/ 69 w 271"/>
                  <a:gd name="T31" fmla="*/ 16 h 288"/>
                  <a:gd name="T32" fmla="*/ 101 w 271"/>
                  <a:gd name="T33" fmla="*/ 32 h 288"/>
                  <a:gd name="T34" fmla="*/ 122 w 271"/>
                  <a:gd name="T35" fmla="*/ 0 h 288"/>
                  <a:gd name="T36" fmla="*/ 159 w 271"/>
                  <a:gd name="T37" fmla="*/ 27 h 288"/>
                  <a:gd name="T38" fmla="*/ 218 w 271"/>
                  <a:gd name="T39" fmla="*/ 22 h 288"/>
                  <a:gd name="T40" fmla="*/ 212 w 271"/>
                  <a:gd name="T41" fmla="*/ 54 h 288"/>
                  <a:gd name="T42" fmla="*/ 228 w 271"/>
                  <a:gd name="T43" fmla="*/ 59 h 288"/>
                  <a:gd name="T44" fmla="*/ 255 w 271"/>
                  <a:gd name="T45" fmla="*/ 70 h 288"/>
                  <a:gd name="T46" fmla="*/ 244 w 271"/>
                  <a:gd name="T47" fmla="*/ 107 h 288"/>
                  <a:gd name="T48" fmla="*/ 271 w 271"/>
                  <a:gd name="T49" fmla="*/ 123 h 288"/>
                  <a:gd name="T50" fmla="*/ 244 w 271"/>
                  <a:gd name="T51" fmla="*/ 166 h 288"/>
                  <a:gd name="T52" fmla="*/ 244 w 271"/>
                  <a:gd name="T53" fmla="*/ 224 h 288"/>
                  <a:gd name="T54" fmla="*/ 218 w 271"/>
                  <a:gd name="T55" fmla="*/ 261 h 288"/>
                  <a:gd name="T56" fmla="*/ 212 w 271"/>
                  <a:gd name="T57" fmla="*/ 261 h 288"/>
                  <a:gd name="T58" fmla="*/ 202 w 271"/>
                  <a:gd name="T59" fmla="*/ 267 h 288"/>
                  <a:gd name="T60" fmla="*/ 170 w 271"/>
                  <a:gd name="T61" fmla="*/ 251 h 288"/>
                  <a:gd name="T62" fmla="*/ 138 w 271"/>
                  <a:gd name="T63" fmla="*/ 283 h 288"/>
                  <a:gd name="T64" fmla="*/ 122 w 271"/>
                  <a:gd name="T65" fmla="*/ 283 h 288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71"/>
                  <a:gd name="T100" fmla="*/ 0 h 288"/>
                  <a:gd name="T101" fmla="*/ 271 w 271"/>
                  <a:gd name="T102" fmla="*/ 288 h 288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71" h="288">
                    <a:moveTo>
                      <a:pt x="122" y="283"/>
                    </a:moveTo>
                    <a:lnTo>
                      <a:pt x="122" y="272"/>
                    </a:lnTo>
                    <a:lnTo>
                      <a:pt x="101" y="251"/>
                    </a:lnTo>
                    <a:lnTo>
                      <a:pt x="95" y="256"/>
                    </a:lnTo>
                    <a:lnTo>
                      <a:pt x="95" y="261"/>
                    </a:lnTo>
                    <a:lnTo>
                      <a:pt x="85" y="261"/>
                    </a:lnTo>
                    <a:lnTo>
                      <a:pt x="85" y="267"/>
                    </a:lnTo>
                    <a:lnTo>
                      <a:pt x="53" y="251"/>
                    </a:lnTo>
                    <a:lnTo>
                      <a:pt x="53" y="219"/>
                    </a:lnTo>
                    <a:lnTo>
                      <a:pt x="21" y="224"/>
                    </a:lnTo>
                    <a:lnTo>
                      <a:pt x="21" y="219"/>
                    </a:lnTo>
                    <a:lnTo>
                      <a:pt x="21" y="208"/>
                    </a:lnTo>
                    <a:lnTo>
                      <a:pt x="31" y="176"/>
                    </a:lnTo>
                    <a:lnTo>
                      <a:pt x="26" y="166"/>
                    </a:lnTo>
                    <a:lnTo>
                      <a:pt x="21" y="160"/>
                    </a:lnTo>
                    <a:lnTo>
                      <a:pt x="10" y="160"/>
                    </a:lnTo>
                    <a:lnTo>
                      <a:pt x="5" y="155"/>
                    </a:lnTo>
                    <a:lnTo>
                      <a:pt x="0" y="123"/>
                    </a:lnTo>
                    <a:lnTo>
                      <a:pt x="5" y="123"/>
                    </a:lnTo>
                    <a:lnTo>
                      <a:pt x="10" y="123"/>
                    </a:lnTo>
                    <a:lnTo>
                      <a:pt x="26" y="118"/>
                    </a:lnTo>
                    <a:lnTo>
                      <a:pt x="31" y="107"/>
                    </a:lnTo>
                    <a:lnTo>
                      <a:pt x="16" y="86"/>
                    </a:lnTo>
                    <a:lnTo>
                      <a:pt x="21" y="59"/>
                    </a:lnTo>
                    <a:lnTo>
                      <a:pt x="53" y="64"/>
                    </a:lnTo>
                    <a:lnTo>
                      <a:pt x="53" y="59"/>
                    </a:lnTo>
                    <a:lnTo>
                      <a:pt x="58" y="59"/>
                    </a:lnTo>
                    <a:lnTo>
                      <a:pt x="58" y="54"/>
                    </a:lnTo>
                    <a:lnTo>
                      <a:pt x="63" y="54"/>
                    </a:lnTo>
                    <a:lnTo>
                      <a:pt x="69" y="16"/>
                    </a:lnTo>
                    <a:lnTo>
                      <a:pt x="90" y="11"/>
                    </a:lnTo>
                    <a:lnTo>
                      <a:pt x="101" y="32"/>
                    </a:lnTo>
                    <a:lnTo>
                      <a:pt x="117" y="27"/>
                    </a:lnTo>
                    <a:lnTo>
                      <a:pt x="122" y="0"/>
                    </a:lnTo>
                    <a:lnTo>
                      <a:pt x="154" y="0"/>
                    </a:lnTo>
                    <a:lnTo>
                      <a:pt x="159" y="27"/>
                    </a:lnTo>
                    <a:lnTo>
                      <a:pt x="175" y="16"/>
                    </a:lnTo>
                    <a:lnTo>
                      <a:pt x="218" y="22"/>
                    </a:lnTo>
                    <a:lnTo>
                      <a:pt x="212" y="54"/>
                    </a:lnTo>
                    <a:lnTo>
                      <a:pt x="212" y="59"/>
                    </a:lnTo>
                    <a:lnTo>
                      <a:pt x="228" y="59"/>
                    </a:lnTo>
                    <a:lnTo>
                      <a:pt x="255" y="70"/>
                    </a:lnTo>
                    <a:lnTo>
                      <a:pt x="255" y="75"/>
                    </a:lnTo>
                    <a:lnTo>
                      <a:pt x="244" y="107"/>
                    </a:lnTo>
                    <a:lnTo>
                      <a:pt x="244" y="118"/>
                    </a:lnTo>
                    <a:lnTo>
                      <a:pt x="271" y="123"/>
                    </a:lnTo>
                    <a:lnTo>
                      <a:pt x="271" y="150"/>
                    </a:lnTo>
                    <a:lnTo>
                      <a:pt x="244" y="166"/>
                    </a:lnTo>
                    <a:lnTo>
                      <a:pt x="260" y="197"/>
                    </a:lnTo>
                    <a:lnTo>
                      <a:pt x="244" y="224"/>
                    </a:lnTo>
                    <a:lnTo>
                      <a:pt x="212" y="229"/>
                    </a:lnTo>
                    <a:lnTo>
                      <a:pt x="218" y="261"/>
                    </a:lnTo>
                    <a:lnTo>
                      <a:pt x="212" y="261"/>
                    </a:lnTo>
                    <a:lnTo>
                      <a:pt x="202" y="261"/>
                    </a:lnTo>
                    <a:lnTo>
                      <a:pt x="202" y="267"/>
                    </a:lnTo>
                    <a:lnTo>
                      <a:pt x="170" y="251"/>
                    </a:lnTo>
                    <a:lnTo>
                      <a:pt x="143" y="288"/>
                    </a:lnTo>
                    <a:lnTo>
                      <a:pt x="138" y="283"/>
                    </a:lnTo>
                    <a:lnTo>
                      <a:pt x="122" y="2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13" name="Freeform 390"/>
              <p:cNvSpPr>
                <a:spLocks/>
              </p:cNvSpPr>
              <p:nvPr/>
            </p:nvSpPr>
            <p:spPr bwMode="auto">
              <a:xfrm>
                <a:off x="4442" y="1370"/>
                <a:ext cx="271" cy="287"/>
              </a:xfrm>
              <a:custGeom>
                <a:avLst/>
                <a:gdLst>
                  <a:gd name="T0" fmla="*/ 122 w 271"/>
                  <a:gd name="T1" fmla="*/ 271 h 287"/>
                  <a:gd name="T2" fmla="*/ 96 w 271"/>
                  <a:gd name="T3" fmla="*/ 255 h 287"/>
                  <a:gd name="T4" fmla="*/ 85 w 271"/>
                  <a:gd name="T5" fmla="*/ 261 h 287"/>
                  <a:gd name="T6" fmla="*/ 53 w 271"/>
                  <a:gd name="T7" fmla="*/ 250 h 287"/>
                  <a:gd name="T8" fmla="*/ 21 w 271"/>
                  <a:gd name="T9" fmla="*/ 223 h 287"/>
                  <a:gd name="T10" fmla="*/ 21 w 271"/>
                  <a:gd name="T11" fmla="*/ 213 h 287"/>
                  <a:gd name="T12" fmla="*/ 21 w 271"/>
                  <a:gd name="T13" fmla="*/ 207 h 287"/>
                  <a:gd name="T14" fmla="*/ 26 w 271"/>
                  <a:gd name="T15" fmla="*/ 165 h 287"/>
                  <a:gd name="T16" fmla="*/ 11 w 271"/>
                  <a:gd name="T17" fmla="*/ 160 h 287"/>
                  <a:gd name="T18" fmla="*/ 0 w 271"/>
                  <a:gd name="T19" fmla="*/ 122 h 287"/>
                  <a:gd name="T20" fmla="*/ 11 w 271"/>
                  <a:gd name="T21" fmla="*/ 122 h 287"/>
                  <a:gd name="T22" fmla="*/ 32 w 271"/>
                  <a:gd name="T23" fmla="*/ 101 h 287"/>
                  <a:gd name="T24" fmla="*/ 21 w 271"/>
                  <a:gd name="T25" fmla="*/ 53 h 287"/>
                  <a:gd name="T26" fmla="*/ 53 w 271"/>
                  <a:gd name="T27" fmla="*/ 58 h 287"/>
                  <a:gd name="T28" fmla="*/ 58 w 271"/>
                  <a:gd name="T29" fmla="*/ 53 h 287"/>
                  <a:gd name="T30" fmla="*/ 69 w 271"/>
                  <a:gd name="T31" fmla="*/ 16 h 287"/>
                  <a:gd name="T32" fmla="*/ 101 w 271"/>
                  <a:gd name="T33" fmla="*/ 32 h 287"/>
                  <a:gd name="T34" fmla="*/ 122 w 271"/>
                  <a:gd name="T35" fmla="*/ 0 h 287"/>
                  <a:gd name="T36" fmla="*/ 159 w 271"/>
                  <a:gd name="T37" fmla="*/ 26 h 287"/>
                  <a:gd name="T38" fmla="*/ 218 w 271"/>
                  <a:gd name="T39" fmla="*/ 21 h 287"/>
                  <a:gd name="T40" fmla="*/ 213 w 271"/>
                  <a:gd name="T41" fmla="*/ 53 h 287"/>
                  <a:gd name="T42" fmla="*/ 255 w 271"/>
                  <a:gd name="T43" fmla="*/ 69 h 287"/>
                  <a:gd name="T44" fmla="*/ 255 w 271"/>
                  <a:gd name="T45" fmla="*/ 74 h 287"/>
                  <a:gd name="T46" fmla="*/ 245 w 271"/>
                  <a:gd name="T47" fmla="*/ 117 h 287"/>
                  <a:gd name="T48" fmla="*/ 271 w 271"/>
                  <a:gd name="T49" fmla="*/ 149 h 287"/>
                  <a:gd name="T50" fmla="*/ 261 w 271"/>
                  <a:gd name="T51" fmla="*/ 191 h 287"/>
                  <a:gd name="T52" fmla="*/ 213 w 271"/>
                  <a:gd name="T53" fmla="*/ 229 h 287"/>
                  <a:gd name="T54" fmla="*/ 213 w 271"/>
                  <a:gd name="T55" fmla="*/ 261 h 287"/>
                  <a:gd name="T56" fmla="*/ 202 w 271"/>
                  <a:gd name="T57" fmla="*/ 261 h 287"/>
                  <a:gd name="T58" fmla="*/ 170 w 271"/>
                  <a:gd name="T59" fmla="*/ 250 h 287"/>
                  <a:gd name="T60" fmla="*/ 143 w 271"/>
                  <a:gd name="T61" fmla="*/ 287 h 287"/>
                  <a:gd name="T62" fmla="*/ 138 w 271"/>
                  <a:gd name="T63" fmla="*/ 282 h 28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71"/>
                  <a:gd name="T97" fmla="*/ 0 h 287"/>
                  <a:gd name="T98" fmla="*/ 271 w 271"/>
                  <a:gd name="T99" fmla="*/ 287 h 28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71" h="287">
                    <a:moveTo>
                      <a:pt x="122" y="282"/>
                    </a:moveTo>
                    <a:lnTo>
                      <a:pt x="122" y="271"/>
                    </a:lnTo>
                    <a:lnTo>
                      <a:pt x="101" y="250"/>
                    </a:lnTo>
                    <a:lnTo>
                      <a:pt x="96" y="255"/>
                    </a:lnTo>
                    <a:lnTo>
                      <a:pt x="96" y="261"/>
                    </a:lnTo>
                    <a:lnTo>
                      <a:pt x="85" y="261"/>
                    </a:lnTo>
                    <a:lnTo>
                      <a:pt x="85" y="266"/>
                    </a:lnTo>
                    <a:lnTo>
                      <a:pt x="53" y="250"/>
                    </a:lnTo>
                    <a:lnTo>
                      <a:pt x="53" y="213"/>
                    </a:lnTo>
                    <a:lnTo>
                      <a:pt x="21" y="223"/>
                    </a:lnTo>
                    <a:lnTo>
                      <a:pt x="21" y="213"/>
                    </a:lnTo>
                    <a:lnTo>
                      <a:pt x="21" y="207"/>
                    </a:lnTo>
                    <a:lnTo>
                      <a:pt x="32" y="176"/>
                    </a:lnTo>
                    <a:lnTo>
                      <a:pt x="26" y="165"/>
                    </a:lnTo>
                    <a:lnTo>
                      <a:pt x="21" y="160"/>
                    </a:lnTo>
                    <a:lnTo>
                      <a:pt x="11" y="160"/>
                    </a:lnTo>
                    <a:lnTo>
                      <a:pt x="5" y="154"/>
                    </a:lnTo>
                    <a:lnTo>
                      <a:pt x="0" y="122"/>
                    </a:lnTo>
                    <a:lnTo>
                      <a:pt x="5" y="122"/>
                    </a:lnTo>
                    <a:lnTo>
                      <a:pt x="11" y="122"/>
                    </a:lnTo>
                    <a:lnTo>
                      <a:pt x="26" y="117"/>
                    </a:lnTo>
                    <a:lnTo>
                      <a:pt x="32" y="101"/>
                    </a:lnTo>
                    <a:lnTo>
                      <a:pt x="16" y="85"/>
                    </a:lnTo>
                    <a:lnTo>
                      <a:pt x="21" y="53"/>
                    </a:lnTo>
                    <a:lnTo>
                      <a:pt x="53" y="64"/>
                    </a:lnTo>
                    <a:lnTo>
                      <a:pt x="53" y="58"/>
                    </a:lnTo>
                    <a:lnTo>
                      <a:pt x="58" y="58"/>
                    </a:lnTo>
                    <a:lnTo>
                      <a:pt x="58" y="53"/>
                    </a:lnTo>
                    <a:lnTo>
                      <a:pt x="64" y="53"/>
                    </a:lnTo>
                    <a:lnTo>
                      <a:pt x="69" y="16"/>
                    </a:lnTo>
                    <a:lnTo>
                      <a:pt x="90" y="10"/>
                    </a:lnTo>
                    <a:lnTo>
                      <a:pt x="101" y="32"/>
                    </a:lnTo>
                    <a:lnTo>
                      <a:pt x="117" y="26"/>
                    </a:lnTo>
                    <a:lnTo>
                      <a:pt x="122" y="0"/>
                    </a:lnTo>
                    <a:lnTo>
                      <a:pt x="154" y="0"/>
                    </a:lnTo>
                    <a:lnTo>
                      <a:pt x="159" y="26"/>
                    </a:lnTo>
                    <a:lnTo>
                      <a:pt x="175" y="16"/>
                    </a:lnTo>
                    <a:lnTo>
                      <a:pt x="218" y="21"/>
                    </a:lnTo>
                    <a:lnTo>
                      <a:pt x="213" y="53"/>
                    </a:lnTo>
                    <a:lnTo>
                      <a:pt x="229" y="58"/>
                    </a:lnTo>
                    <a:lnTo>
                      <a:pt x="255" y="69"/>
                    </a:lnTo>
                    <a:lnTo>
                      <a:pt x="255" y="74"/>
                    </a:lnTo>
                    <a:lnTo>
                      <a:pt x="245" y="101"/>
                    </a:lnTo>
                    <a:lnTo>
                      <a:pt x="245" y="117"/>
                    </a:lnTo>
                    <a:lnTo>
                      <a:pt x="271" y="122"/>
                    </a:lnTo>
                    <a:lnTo>
                      <a:pt x="271" y="149"/>
                    </a:lnTo>
                    <a:lnTo>
                      <a:pt x="245" y="165"/>
                    </a:lnTo>
                    <a:lnTo>
                      <a:pt x="261" y="191"/>
                    </a:lnTo>
                    <a:lnTo>
                      <a:pt x="245" y="223"/>
                    </a:lnTo>
                    <a:lnTo>
                      <a:pt x="213" y="229"/>
                    </a:lnTo>
                    <a:lnTo>
                      <a:pt x="218" y="261"/>
                    </a:lnTo>
                    <a:lnTo>
                      <a:pt x="213" y="261"/>
                    </a:lnTo>
                    <a:lnTo>
                      <a:pt x="202" y="261"/>
                    </a:lnTo>
                    <a:lnTo>
                      <a:pt x="202" y="266"/>
                    </a:lnTo>
                    <a:lnTo>
                      <a:pt x="170" y="250"/>
                    </a:lnTo>
                    <a:lnTo>
                      <a:pt x="143" y="287"/>
                    </a:lnTo>
                    <a:lnTo>
                      <a:pt x="138" y="282"/>
                    </a:lnTo>
                    <a:lnTo>
                      <a:pt x="122" y="282"/>
                    </a:lnTo>
                    <a:close/>
                  </a:path>
                </a:pathLst>
              </a:custGeom>
              <a:solidFill>
                <a:srgbClr val="96594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14" name="Freeform 391"/>
              <p:cNvSpPr>
                <a:spLocks/>
              </p:cNvSpPr>
              <p:nvPr/>
            </p:nvSpPr>
            <p:spPr bwMode="auto">
              <a:xfrm>
                <a:off x="4171" y="1604"/>
                <a:ext cx="21" cy="37"/>
              </a:xfrm>
              <a:custGeom>
                <a:avLst/>
                <a:gdLst>
                  <a:gd name="T0" fmla="*/ 0 w 21"/>
                  <a:gd name="T1" fmla="*/ 32 h 37"/>
                  <a:gd name="T2" fmla="*/ 0 w 21"/>
                  <a:gd name="T3" fmla="*/ 32 h 37"/>
                  <a:gd name="T4" fmla="*/ 0 w 21"/>
                  <a:gd name="T5" fmla="*/ 0 h 37"/>
                  <a:gd name="T6" fmla="*/ 21 w 21"/>
                  <a:gd name="T7" fmla="*/ 0 h 37"/>
                  <a:gd name="T8" fmla="*/ 10 w 21"/>
                  <a:gd name="T9" fmla="*/ 37 h 37"/>
                  <a:gd name="T10" fmla="*/ 0 w 21"/>
                  <a:gd name="T11" fmla="*/ 32 h 3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"/>
                  <a:gd name="T19" fmla="*/ 0 h 37"/>
                  <a:gd name="T20" fmla="*/ 21 w 21"/>
                  <a:gd name="T21" fmla="*/ 37 h 3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" h="37">
                    <a:moveTo>
                      <a:pt x="0" y="32"/>
                    </a:moveTo>
                    <a:lnTo>
                      <a:pt x="0" y="32"/>
                    </a:lnTo>
                    <a:lnTo>
                      <a:pt x="0" y="0"/>
                    </a:lnTo>
                    <a:lnTo>
                      <a:pt x="21" y="0"/>
                    </a:lnTo>
                    <a:lnTo>
                      <a:pt x="10" y="37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49557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15" name="Freeform 392"/>
              <p:cNvSpPr>
                <a:spLocks/>
              </p:cNvSpPr>
              <p:nvPr/>
            </p:nvSpPr>
            <p:spPr bwMode="auto">
              <a:xfrm>
                <a:off x="4484" y="1439"/>
                <a:ext cx="176" cy="165"/>
              </a:xfrm>
              <a:custGeom>
                <a:avLst/>
                <a:gdLst>
                  <a:gd name="T0" fmla="*/ 59 w 176"/>
                  <a:gd name="T1" fmla="*/ 165 h 165"/>
                  <a:gd name="T2" fmla="*/ 38 w 176"/>
                  <a:gd name="T3" fmla="*/ 149 h 165"/>
                  <a:gd name="T4" fmla="*/ 22 w 176"/>
                  <a:gd name="T5" fmla="*/ 144 h 165"/>
                  <a:gd name="T6" fmla="*/ 16 w 176"/>
                  <a:gd name="T7" fmla="*/ 117 h 165"/>
                  <a:gd name="T8" fmla="*/ 0 w 176"/>
                  <a:gd name="T9" fmla="*/ 91 h 165"/>
                  <a:gd name="T10" fmla="*/ 22 w 176"/>
                  <a:gd name="T11" fmla="*/ 16 h 165"/>
                  <a:gd name="T12" fmla="*/ 54 w 176"/>
                  <a:gd name="T13" fmla="*/ 0 h 165"/>
                  <a:gd name="T14" fmla="*/ 86 w 176"/>
                  <a:gd name="T15" fmla="*/ 0 h 165"/>
                  <a:gd name="T16" fmla="*/ 123 w 176"/>
                  <a:gd name="T17" fmla="*/ 0 h 165"/>
                  <a:gd name="T18" fmla="*/ 160 w 176"/>
                  <a:gd name="T19" fmla="*/ 21 h 165"/>
                  <a:gd name="T20" fmla="*/ 171 w 176"/>
                  <a:gd name="T21" fmla="*/ 48 h 165"/>
                  <a:gd name="T22" fmla="*/ 176 w 176"/>
                  <a:gd name="T23" fmla="*/ 69 h 165"/>
                  <a:gd name="T24" fmla="*/ 176 w 176"/>
                  <a:gd name="T25" fmla="*/ 91 h 165"/>
                  <a:gd name="T26" fmla="*/ 123 w 176"/>
                  <a:gd name="T27" fmla="*/ 149 h 165"/>
                  <a:gd name="T28" fmla="*/ 123 w 176"/>
                  <a:gd name="T29" fmla="*/ 154 h 165"/>
                  <a:gd name="T30" fmla="*/ 123 w 176"/>
                  <a:gd name="T31" fmla="*/ 160 h 165"/>
                  <a:gd name="T32" fmla="*/ 112 w 176"/>
                  <a:gd name="T33" fmla="*/ 160 h 165"/>
                  <a:gd name="T34" fmla="*/ 112 w 176"/>
                  <a:gd name="T35" fmla="*/ 165 h 165"/>
                  <a:gd name="T36" fmla="*/ 86 w 176"/>
                  <a:gd name="T37" fmla="*/ 165 h 165"/>
                  <a:gd name="T38" fmla="*/ 64 w 176"/>
                  <a:gd name="T39" fmla="*/ 165 h 165"/>
                  <a:gd name="T40" fmla="*/ 59 w 176"/>
                  <a:gd name="T41" fmla="*/ 165 h 16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76"/>
                  <a:gd name="T64" fmla="*/ 0 h 165"/>
                  <a:gd name="T65" fmla="*/ 176 w 176"/>
                  <a:gd name="T66" fmla="*/ 165 h 16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76" h="165">
                    <a:moveTo>
                      <a:pt x="59" y="165"/>
                    </a:moveTo>
                    <a:lnTo>
                      <a:pt x="38" y="149"/>
                    </a:lnTo>
                    <a:lnTo>
                      <a:pt x="22" y="144"/>
                    </a:lnTo>
                    <a:lnTo>
                      <a:pt x="16" y="117"/>
                    </a:lnTo>
                    <a:lnTo>
                      <a:pt x="0" y="91"/>
                    </a:lnTo>
                    <a:lnTo>
                      <a:pt x="22" y="16"/>
                    </a:lnTo>
                    <a:lnTo>
                      <a:pt x="54" y="0"/>
                    </a:lnTo>
                    <a:lnTo>
                      <a:pt x="86" y="0"/>
                    </a:lnTo>
                    <a:lnTo>
                      <a:pt x="123" y="0"/>
                    </a:lnTo>
                    <a:lnTo>
                      <a:pt x="160" y="21"/>
                    </a:lnTo>
                    <a:lnTo>
                      <a:pt x="171" y="48"/>
                    </a:lnTo>
                    <a:lnTo>
                      <a:pt x="176" y="69"/>
                    </a:lnTo>
                    <a:lnTo>
                      <a:pt x="176" y="91"/>
                    </a:lnTo>
                    <a:lnTo>
                      <a:pt x="123" y="149"/>
                    </a:lnTo>
                    <a:lnTo>
                      <a:pt x="123" y="154"/>
                    </a:lnTo>
                    <a:lnTo>
                      <a:pt x="123" y="160"/>
                    </a:lnTo>
                    <a:lnTo>
                      <a:pt x="112" y="160"/>
                    </a:lnTo>
                    <a:lnTo>
                      <a:pt x="112" y="165"/>
                    </a:lnTo>
                    <a:lnTo>
                      <a:pt x="86" y="165"/>
                    </a:lnTo>
                    <a:lnTo>
                      <a:pt x="64" y="165"/>
                    </a:lnTo>
                    <a:lnTo>
                      <a:pt x="59" y="165"/>
                    </a:lnTo>
                    <a:close/>
                  </a:path>
                </a:pathLst>
              </a:custGeom>
              <a:solidFill>
                <a:srgbClr val="61BFF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16" name="Freeform 393"/>
              <p:cNvSpPr>
                <a:spLocks/>
              </p:cNvSpPr>
              <p:nvPr/>
            </p:nvSpPr>
            <p:spPr bwMode="auto">
              <a:xfrm>
                <a:off x="4266" y="1530"/>
                <a:ext cx="27" cy="26"/>
              </a:xfrm>
              <a:custGeom>
                <a:avLst/>
                <a:gdLst>
                  <a:gd name="T0" fmla="*/ 0 w 27"/>
                  <a:gd name="T1" fmla="*/ 26 h 26"/>
                  <a:gd name="T2" fmla="*/ 0 w 27"/>
                  <a:gd name="T3" fmla="*/ 26 h 26"/>
                  <a:gd name="T4" fmla="*/ 6 w 27"/>
                  <a:gd name="T5" fmla="*/ 0 h 26"/>
                  <a:gd name="T6" fmla="*/ 27 w 27"/>
                  <a:gd name="T7" fmla="*/ 0 h 26"/>
                  <a:gd name="T8" fmla="*/ 11 w 27"/>
                  <a:gd name="T9" fmla="*/ 26 h 26"/>
                  <a:gd name="T10" fmla="*/ 0 w 27"/>
                  <a:gd name="T11" fmla="*/ 26 h 2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7"/>
                  <a:gd name="T19" fmla="*/ 0 h 26"/>
                  <a:gd name="T20" fmla="*/ 27 w 27"/>
                  <a:gd name="T21" fmla="*/ 26 h 2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7" h="26">
                    <a:moveTo>
                      <a:pt x="0" y="26"/>
                    </a:moveTo>
                    <a:lnTo>
                      <a:pt x="0" y="26"/>
                    </a:lnTo>
                    <a:lnTo>
                      <a:pt x="6" y="0"/>
                    </a:lnTo>
                    <a:lnTo>
                      <a:pt x="27" y="0"/>
                    </a:lnTo>
                    <a:lnTo>
                      <a:pt x="11" y="26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rgbClr val="49557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17" name="Freeform 394"/>
              <p:cNvSpPr>
                <a:spLocks/>
              </p:cNvSpPr>
              <p:nvPr/>
            </p:nvSpPr>
            <p:spPr bwMode="auto">
              <a:xfrm>
                <a:off x="4543" y="1487"/>
                <a:ext cx="53" cy="59"/>
              </a:xfrm>
              <a:custGeom>
                <a:avLst/>
                <a:gdLst>
                  <a:gd name="T0" fmla="*/ 27 w 53"/>
                  <a:gd name="T1" fmla="*/ 53 h 59"/>
                  <a:gd name="T2" fmla="*/ 16 w 53"/>
                  <a:gd name="T3" fmla="*/ 53 h 59"/>
                  <a:gd name="T4" fmla="*/ 0 w 53"/>
                  <a:gd name="T5" fmla="*/ 37 h 59"/>
                  <a:gd name="T6" fmla="*/ 0 w 53"/>
                  <a:gd name="T7" fmla="*/ 32 h 59"/>
                  <a:gd name="T8" fmla="*/ 0 w 53"/>
                  <a:gd name="T9" fmla="*/ 32 h 59"/>
                  <a:gd name="T10" fmla="*/ 16 w 53"/>
                  <a:gd name="T11" fmla="*/ 0 h 59"/>
                  <a:gd name="T12" fmla="*/ 53 w 53"/>
                  <a:gd name="T13" fmla="*/ 21 h 59"/>
                  <a:gd name="T14" fmla="*/ 32 w 53"/>
                  <a:gd name="T15" fmla="*/ 59 h 59"/>
                  <a:gd name="T16" fmla="*/ 27 w 53"/>
                  <a:gd name="T17" fmla="*/ 53 h 5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3"/>
                  <a:gd name="T28" fmla="*/ 0 h 59"/>
                  <a:gd name="T29" fmla="*/ 53 w 53"/>
                  <a:gd name="T30" fmla="*/ 59 h 5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3" h="59">
                    <a:moveTo>
                      <a:pt x="27" y="53"/>
                    </a:moveTo>
                    <a:lnTo>
                      <a:pt x="16" y="53"/>
                    </a:lnTo>
                    <a:lnTo>
                      <a:pt x="0" y="37"/>
                    </a:lnTo>
                    <a:lnTo>
                      <a:pt x="0" y="32"/>
                    </a:lnTo>
                    <a:lnTo>
                      <a:pt x="16" y="0"/>
                    </a:lnTo>
                    <a:lnTo>
                      <a:pt x="53" y="21"/>
                    </a:lnTo>
                    <a:lnTo>
                      <a:pt x="32" y="59"/>
                    </a:lnTo>
                    <a:lnTo>
                      <a:pt x="27" y="53"/>
                    </a:lnTo>
                    <a:close/>
                  </a:path>
                </a:pathLst>
              </a:custGeom>
              <a:solidFill>
                <a:srgbClr val="504A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18" name="Freeform 395"/>
              <p:cNvSpPr>
                <a:spLocks/>
              </p:cNvSpPr>
              <p:nvPr/>
            </p:nvSpPr>
            <p:spPr bwMode="auto">
              <a:xfrm>
                <a:off x="4117" y="1258"/>
                <a:ext cx="234" cy="229"/>
              </a:xfrm>
              <a:custGeom>
                <a:avLst/>
                <a:gdLst>
                  <a:gd name="T0" fmla="*/ 181 w 234"/>
                  <a:gd name="T1" fmla="*/ 229 h 229"/>
                  <a:gd name="T2" fmla="*/ 203 w 234"/>
                  <a:gd name="T3" fmla="*/ 176 h 229"/>
                  <a:gd name="T4" fmla="*/ 187 w 234"/>
                  <a:gd name="T5" fmla="*/ 192 h 229"/>
                  <a:gd name="T6" fmla="*/ 144 w 234"/>
                  <a:gd name="T7" fmla="*/ 192 h 229"/>
                  <a:gd name="T8" fmla="*/ 107 w 234"/>
                  <a:gd name="T9" fmla="*/ 186 h 229"/>
                  <a:gd name="T10" fmla="*/ 64 w 234"/>
                  <a:gd name="T11" fmla="*/ 165 h 229"/>
                  <a:gd name="T12" fmla="*/ 27 w 234"/>
                  <a:gd name="T13" fmla="*/ 133 h 229"/>
                  <a:gd name="T14" fmla="*/ 11 w 234"/>
                  <a:gd name="T15" fmla="*/ 101 h 229"/>
                  <a:gd name="T16" fmla="*/ 6 w 234"/>
                  <a:gd name="T17" fmla="*/ 69 h 229"/>
                  <a:gd name="T18" fmla="*/ 0 w 234"/>
                  <a:gd name="T19" fmla="*/ 16 h 229"/>
                  <a:gd name="T20" fmla="*/ 0 w 234"/>
                  <a:gd name="T21" fmla="*/ 5 h 229"/>
                  <a:gd name="T22" fmla="*/ 0 w 234"/>
                  <a:gd name="T23" fmla="*/ 0 h 229"/>
                  <a:gd name="T24" fmla="*/ 6 w 234"/>
                  <a:gd name="T25" fmla="*/ 0 h 229"/>
                  <a:gd name="T26" fmla="*/ 16 w 234"/>
                  <a:gd name="T27" fmla="*/ 27 h 229"/>
                  <a:gd name="T28" fmla="*/ 27 w 234"/>
                  <a:gd name="T29" fmla="*/ 91 h 229"/>
                  <a:gd name="T30" fmla="*/ 48 w 234"/>
                  <a:gd name="T31" fmla="*/ 117 h 229"/>
                  <a:gd name="T32" fmla="*/ 48 w 234"/>
                  <a:gd name="T33" fmla="*/ 117 h 229"/>
                  <a:gd name="T34" fmla="*/ 48 w 234"/>
                  <a:gd name="T35" fmla="*/ 122 h 229"/>
                  <a:gd name="T36" fmla="*/ 48 w 234"/>
                  <a:gd name="T37" fmla="*/ 128 h 229"/>
                  <a:gd name="T38" fmla="*/ 54 w 234"/>
                  <a:gd name="T39" fmla="*/ 133 h 229"/>
                  <a:gd name="T40" fmla="*/ 112 w 234"/>
                  <a:gd name="T41" fmla="*/ 160 h 229"/>
                  <a:gd name="T42" fmla="*/ 139 w 234"/>
                  <a:gd name="T43" fmla="*/ 170 h 229"/>
                  <a:gd name="T44" fmla="*/ 171 w 234"/>
                  <a:gd name="T45" fmla="*/ 176 h 229"/>
                  <a:gd name="T46" fmla="*/ 192 w 234"/>
                  <a:gd name="T47" fmla="*/ 160 h 229"/>
                  <a:gd name="T48" fmla="*/ 155 w 234"/>
                  <a:gd name="T49" fmla="*/ 149 h 229"/>
                  <a:gd name="T50" fmla="*/ 224 w 234"/>
                  <a:gd name="T51" fmla="*/ 138 h 229"/>
                  <a:gd name="T52" fmla="*/ 229 w 234"/>
                  <a:gd name="T53" fmla="*/ 138 h 229"/>
                  <a:gd name="T54" fmla="*/ 234 w 234"/>
                  <a:gd name="T55" fmla="*/ 144 h 229"/>
                  <a:gd name="T56" fmla="*/ 229 w 234"/>
                  <a:gd name="T57" fmla="*/ 165 h 229"/>
                  <a:gd name="T58" fmla="*/ 219 w 234"/>
                  <a:gd name="T59" fmla="*/ 186 h 229"/>
                  <a:gd name="T60" fmla="*/ 192 w 234"/>
                  <a:gd name="T61" fmla="*/ 229 h 229"/>
                  <a:gd name="T62" fmla="*/ 181 w 234"/>
                  <a:gd name="T63" fmla="*/ 229 h 22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34"/>
                  <a:gd name="T97" fmla="*/ 0 h 229"/>
                  <a:gd name="T98" fmla="*/ 234 w 234"/>
                  <a:gd name="T99" fmla="*/ 229 h 229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34" h="229">
                    <a:moveTo>
                      <a:pt x="181" y="229"/>
                    </a:moveTo>
                    <a:lnTo>
                      <a:pt x="203" y="176"/>
                    </a:lnTo>
                    <a:lnTo>
                      <a:pt x="187" y="192"/>
                    </a:lnTo>
                    <a:lnTo>
                      <a:pt x="144" y="192"/>
                    </a:lnTo>
                    <a:lnTo>
                      <a:pt x="107" y="186"/>
                    </a:lnTo>
                    <a:lnTo>
                      <a:pt x="64" y="165"/>
                    </a:lnTo>
                    <a:lnTo>
                      <a:pt x="27" y="133"/>
                    </a:lnTo>
                    <a:lnTo>
                      <a:pt x="11" y="101"/>
                    </a:lnTo>
                    <a:lnTo>
                      <a:pt x="6" y="69"/>
                    </a:lnTo>
                    <a:lnTo>
                      <a:pt x="0" y="16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16" y="27"/>
                    </a:lnTo>
                    <a:lnTo>
                      <a:pt x="27" y="91"/>
                    </a:lnTo>
                    <a:lnTo>
                      <a:pt x="48" y="117"/>
                    </a:lnTo>
                    <a:lnTo>
                      <a:pt x="48" y="122"/>
                    </a:lnTo>
                    <a:lnTo>
                      <a:pt x="48" y="128"/>
                    </a:lnTo>
                    <a:lnTo>
                      <a:pt x="54" y="133"/>
                    </a:lnTo>
                    <a:lnTo>
                      <a:pt x="112" y="160"/>
                    </a:lnTo>
                    <a:lnTo>
                      <a:pt x="139" y="170"/>
                    </a:lnTo>
                    <a:lnTo>
                      <a:pt x="171" y="176"/>
                    </a:lnTo>
                    <a:lnTo>
                      <a:pt x="192" y="160"/>
                    </a:lnTo>
                    <a:lnTo>
                      <a:pt x="155" y="149"/>
                    </a:lnTo>
                    <a:lnTo>
                      <a:pt x="224" y="138"/>
                    </a:lnTo>
                    <a:lnTo>
                      <a:pt x="229" y="138"/>
                    </a:lnTo>
                    <a:lnTo>
                      <a:pt x="234" y="144"/>
                    </a:lnTo>
                    <a:lnTo>
                      <a:pt x="229" y="165"/>
                    </a:lnTo>
                    <a:lnTo>
                      <a:pt x="219" y="186"/>
                    </a:lnTo>
                    <a:lnTo>
                      <a:pt x="192" y="229"/>
                    </a:lnTo>
                    <a:lnTo>
                      <a:pt x="181" y="229"/>
                    </a:lnTo>
                    <a:close/>
                  </a:path>
                </a:pathLst>
              </a:custGeom>
              <a:solidFill>
                <a:srgbClr val="ACDC7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19" name="Freeform 396"/>
              <p:cNvSpPr>
                <a:spLocks/>
              </p:cNvSpPr>
              <p:nvPr/>
            </p:nvSpPr>
            <p:spPr bwMode="auto">
              <a:xfrm>
                <a:off x="4128" y="1253"/>
                <a:ext cx="234" cy="223"/>
              </a:xfrm>
              <a:custGeom>
                <a:avLst/>
                <a:gdLst>
                  <a:gd name="T0" fmla="*/ 181 w 234"/>
                  <a:gd name="T1" fmla="*/ 223 h 223"/>
                  <a:gd name="T2" fmla="*/ 202 w 234"/>
                  <a:gd name="T3" fmla="*/ 175 h 223"/>
                  <a:gd name="T4" fmla="*/ 186 w 234"/>
                  <a:gd name="T5" fmla="*/ 191 h 223"/>
                  <a:gd name="T6" fmla="*/ 144 w 234"/>
                  <a:gd name="T7" fmla="*/ 191 h 223"/>
                  <a:gd name="T8" fmla="*/ 106 w 234"/>
                  <a:gd name="T9" fmla="*/ 186 h 223"/>
                  <a:gd name="T10" fmla="*/ 64 w 234"/>
                  <a:gd name="T11" fmla="*/ 165 h 223"/>
                  <a:gd name="T12" fmla="*/ 27 w 234"/>
                  <a:gd name="T13" fmla="*/ 133 h 223"/>
                  <a:gd name="T14" fmla="*/ 11 w 234"/>
                  <a:gd name="T15" fmla="*/ 101 h 223"/>
                  <a:gd name="T16" fmla="*/ 5 w 234"/>
                  <a:gd name="T17" fmla="*/ 69 h 223"/>
                  <a:gd name="T18" fmla="*/ 0 w 234"/>
                  <a:gd name="T19" fmla="*/ 16 h 223"/>
                  <a:gd name="T20" fmla="*/ 0 w 234"/>
                  <a:gd name="T21" fmla="*/ 5 h 223"/>
                  <a:gd name="T22" fmla="*/ 0 w 234"/>
                  <a:gd name="T23" fmla="*/ 0 h 223"/>
                  <a:gd name="T24" fmla="*/ 5 w 234"/>
                  <a:gd name="T25" fmla="*/ 0 h 223"/>
                  <a:gd name="T26" fmla="*/ 16 w 234"/>
                  <a:gd name="T27" fmla="*/ 26 h 223"/>
                  <a:gd name="T28" fmla="*/ 27 w 234"/>
                  <a:gd name="T29" fmla="*/ 90 h 223"/>
                  <a:gd name="T30" fmla="*/ 48 w 234"/>
                  <a:gd name="T31" fmla="*/ 117 h 223"/>
                  <a:gd name="T32" fmla="*/ 48 w 234"/>
                  <a:gd name="T33" fmla="*/ 117 h 223"/>
                  <a:gd name="T34" fmla="*/ 48 w 234"/>
                  <a:gd name="T35" fmla="*/ 122 h 223"/>
                  <a:gd name="T36" fmla="*/ 48 w 234"/>
                  <a:gd name="T37" fmla="*/ 127 h 223"/>
                  <a:gd name="T38" fmla="*/ 53 w 234"/>
                  <a:gd name="T39" fmla="*/ 133 h 223"/>
                  <a:gd name="T40" fmla="*/ 112 w 234"/>
                  <a:gd name="T41" fmla="*/ 159 h 223"/>
                  <a:gd name="T42" fmla="*/ 138 w 234"/>
                  <a:gd name="T43" fmla="*/ 170 h 223"/>
                  <a:gd name="T44" fmla="*/ 170 w 234"/>
                  <a:gd name="T45" fmla="*/ 175 h 223"/>
                  <a:gd name="T46" fmla="*/ 192 w 234"/>
                  <a:gd name="T47" fmla="*/ 159 h 223"/>
                  <a:gd name="T48" fmla="*/ 154 w 234"/>
                  <a:gd name="T49" fmla="*/ 149 h 223"/>
                  <a:gd name="T50" fmla="*/ 223 w 234"/>
                  <a:gd name="T51" fmla="*/ 138 h 223"/>
                  <a:gd name="T52" fmla="*/ 229 w 234"/>
                  <a:gd name="T53" fmla="*/ 138 h 223"/>
                  <a:gd name="T54" fmla="*/ 234 w 234"/>
                  <a:gd name="T55" fmla="*/ 143 h 223"/>
                  <a:gd name="T56" fmla="*/ 229 w 234"/>
                  <a:gd name="T57" fmla="*/ 165 h 223"/>
                  <a:gd name="T58" fmla="*/ 223 w 234"/>
                  <a:gd name="T59" fmla="*/ 186 h 223"/>
                  <a:gd name="T60" fmla="*/ 208 w 234"/>
                  <a:gd name="T61" fmla="*/ 202 h 223"/>
                  <a:gd name="T62" fmla="*/ 192 w 234"/>
                  <a:gd name="T63" fmla="*/ 223 h 223"/>
                  <a:gd name="T64" fmla="*/ 181 w 234"/>
                  <a:gd name="T65" fmla="*/ 223 h 223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34"/>
                  <a:gd name="T100" fmla="*/ 0 h 223"/>
                  <a:gd name="T101" fmla="*/ 234 w 234"/>
                  <a:gd name="T102" fmla="*/ 223 h 223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34" h="223">
                    <a:moveTo>
                      <a:pt x="181" y="223"/>
                    </a:moveTo>
                    <a:lnTo>
                      <a:pt x="202" y="175"/>
                    </a:lnTo>
                    <a:lnTo>
                      <a:pt x="186" y="191"/>
                    </a:lnTo>
                    <a:lnTo>
                      <a:pt x="144" y="191"/>
                    </a:lnTo>
                    <a:lnTo>
                      <a:pt x="106" y="186"/>
                    </a:lnTo>
                    <a:lnTo>
                      <a:pt x="64" y="165"/>
                    </a:lnTo>
                    <a:lnTo>
                      <a:pt x="27" y="133"/>
                    </a:lnTo>
                    <a:lnTo>
                      <a:pt x="11" y="101"/>
                    </a:lnTo>
                    <a:lnTo>
                      <a:pt x="5" y="69"/>
                    </a:lnTo>
                    <a:lnTo>
                      <a:pt x="0" y="16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16" y="26"/>
                    </a:lnTo>
                    <a:lnTo>
                      <a:pt x="27" y="90"/>
                    </a:lnTo>
                    <a:lnTo>
                      <a:pt x="48" y="117"/>
                    </a:lnTo>
                    <a:lnTo>
                      <a:pt x="48" y="122"/>
                    </a:lnTo>
                    <a:lnTo>
                      <a:pt x="48" y="127"/>
                    </a:lnTo>
                    <a:lnTo>
                      <a:pt x="53" y="133"/>
                    </a:lnTo>
                    <a:lnTo>
                      <a:pt x="112" y="159"/>
                    </a:lnTo>
                    <a:lnTo>
                      <a:pt x="138" y="170"/>
                    </a:lnTo>
                    <a:lnTo>
                      <a:pt x="170" y="175"/>
                    </a:lnTo>
                    <a:lnTo>
                      <a:pt x="192" y="159"/>
                    </a:lnTo>
                    <a:lnTo>
                      <a:pt x="154" y="149"/>
                    </a:lnTo>
                    <a:lnTo>
                      <a:pt x="223" y="138"/>
                    </a:lnTo>
                    <a:lnTo>
                      <a:pt x="229" y="138"/>
                    </a:lnTo>
                    <a:lnTo>
                      <a:pt x="234" y="143"/>
                    </a:lnTo>
                    <a:lnTo>
                      <a:pt x="229" y="165"/>
                    </a:lnTo>
                    <a:lnTo>
                      <a:pt x="223" y="186"/>
                    </a:lnTo>
                    <a:lnTo>
                      <a:pt x="208" y="202"/>
                    </a:lnTo>
                    <a:lnTo>
                      <a:pt x="192" y="223"/>
                    </a:lnTo>
                    <a:lnTo>
                      <a:pt x="181" y="223"/>
                    </a:lnTo>
                    <a:close/>
                  </a:path>
                </a:pathLst>
              </a:custGeom>
              <a:solidFill>
                <a:srgbClr val="504A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20" name="Freeform 397"/>
              <p:cNvSpPr>
                <a:spLocks/>
              </p:cNvSpPr>
              <p:nvPr/>
            </p:nvSpPr>
            <p:spPr bwMode="auto">
              <a:xfrm>
                <a:off x="4628" y="1343"/>
                <a:ext cx="80" cy="69"/>
              </a:xfrm>
              <a:custGeom>
                <a:avLst/>
                <a:gdLst>
                  <a:gd name="T0" fmla="*/ 69 w 80"/>
                  <a:gd name="T1" fmla="*/ 64 h 69"/>
                  <a:gd name="T2" fmla="*/ 64 w 80"/>
                  <a:gd name="T3" fmla="*/ 53 h 69"/>
                  <a:gd name="T4" fmla="*/ 32 w 80"/>
                  <a:gd name="T5" fmla="*/ 27 h 69"/>
                  <a:gd name="T6" fmla="*/ 16 w 80"/>
                  <a:gd name="T7" fmla="*/ 16 h 69"/>
                  <a:gd name="T8" fmla="*/ 0 w 80"/>
                  <a:gd name="T9" fmla="*/ 0 h 69"/>
                  <a:gd name="T10" fmla="*/ 37 w 80"/>
                  <a:gd name="T11" fmla="*/ 11 h 69"/>
                  <a:gd name="T12" fmla="*/ 69 w 80"/>
                  <a:gd name="T13" fmla="*/ 43 h 69"/>
                  <a:gd name="T14" fmla="*/ 80 w 80"/>
                  <a:gd name="T15" fmla="*/ 69 h 69"/>
                  <a:gd name="T16" fmla="*/ 69 w 80"/>
                  <a:gd name="T17" fmla="*/ 64 h 6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0"/>
                  <a:gd name="T28" fmla="*/ 0 h 69"/>
                  <a:gd name="T29" fmla="*/ 80 w 80"/>
                  <a:gd name="T30" fmla="*/ 69 h 6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0" h="69">
                    <a:moveTo>
                      <a:pt x="69" y="64"/>
                    </a:moveTo>
                    <a:lnTo>
                      <a:pt x="64" y="53"/>
                    </a:lnTo>
                    <a:lnTo>
                      <a:pt x="32" y="27"/>
                    </a:lnTo>
                    <a:lnTo>
                      <a:pt x="16" y="16"/>
                    </a:lnTo>
                    <a:lnTo>
                      <a:pt x="0" y="0"/>
                    </a:lnTo>
                    <a:lnTo>
                      <a:pt x="37" y="11"/>
                    </a:lnTo>
                    <a:lnTo>
                      <a:pt x="69" y="43"/>
                    </a:lnTo>
                    <a:lnTo>
                      <a:pt x="80" y="69"/>
                    </a:lnTo>
                    <a:lnTo>
                      <a:pt x="69" y="64"/>
                    </a:lnTo>
                    <a:close/>
                  </a:path>
                </a:pathLst>
              </a:custGeom>
              <a:solidFill>
                <a:srgbClr val="49557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21" name="Freeform 398"/>
              <p:cNvSpPr>
                <a:spLocks/>
              </p:cNvSpPr>
              <p:nvPr/>
            </p:nvSpPr>
            <p:spPr bwMode="auto">
              <a:xfrm>
                <a:off x="4181" y="1098"/>
                <a:ext cx="272" cy="282"/>
              </a:xfrm>
              <a:custGeom>
                <a:avLst/>
                <a:gdLst>
                  <a:gd name="T0" fmla="*/ 123 w 272"/>
                  <a:gd name="T1" fmla="*/ 277 h 282"/>
                  <a:gd name="T2" fmla="*/ 117 w 272"/>
                  <a:gd name="T3" fmla="*/ 267 h 282"/>
                  <a:gd name="T4" fmla="*/ 112 w 272"/>
                  <a:gd name="T5" fmla="*/ 261 h 282"/>
                  <a:gd name="T6" fmla="*/ 112 w 272"/>
                  <a:gd name="T7" fmla="*/ 261 h 282"/>
                  <a:gd name="T8" fmla="*/ 85 w 272"/>
                  <a:gd name="T9" fmla="*/ 267 h 282"/>
                  <a:gd name="T10" fmla="*/ 53 w 272"/>
                  <a:gd name="T11" fmla="*/ 251 h 282"/>
                  <a:gd name="T12" fmla="*/ 64 w 272"/>
                  <a:gd name="T13" fmla="*/ 224 h 282"/>
                  <a:gd name="T14" fmla="*/ 59 w 272"/>
                  <a:gd name="T15" fmla="*/ 224 h 282"/>
                  <a:gd name="T16" fmla="*/ 59 w 272"/>
                  <a:gd name="T17" fmla="*/ 224 h 282"/>
                  <a:gd name="T18" fmla="*/ 22 w 272"/>
                  <a:gd name="T19" fmla="*/ 224 h 282"/>
                  <a:gd name="T20" fmla="*/ 16 w 272"/>
                  <a:gd name="T21" fmla="*/ 197 h 282"/>
                  <a:gd name="T22" fmla="*/ 32 w 272"/>
                  <a:gd name="T23" fmla="*/ 176 h 282"/>
                  <a:gd name="T24" fmla="*/ 27 w 272"/>
                  <a:gd name="T25" fmla="*/ 160 h 282"/>
                  <a:gd name="T26" fmla="*/ 0 w 272"/>
                  <a:gd name="T27" fmla="*/ 155 h 282"/>
                  <a:gd name="T28" fmla="*/ 0 w 272"/>
                  <a:gd name="T29" fmla="*/ 123 h 282"/>
                  <a:gd name="T30" fmla="*/ 6 w 272"/>
                  <a:gd name="T31" fmla="*/ 123 h 282"/>
                  <a:gd name="T32" fmla="*/ 11 w 272"/>
                  <a:gd name="T33" fmla="*/ 123 h 282"/>
                  <a:gd name="T34" fmla="*/ 27 w 272"/>
                  <a:gd name="T35" fmla="*/ 117 h 282"/>
                  <a:gd name="T36" fmla="*/ 32 w 272"/>
                  <a:gd name="T37" fmla="*/ 101 h 282"/>
                  <a:gd name="T38" fmla="*/ 16 w 272"/>
                  <a:gd name="T39" fmla="*/ 86 h 282"/>
                  <a:gd name="T40" fmla="*/ 32 w 272"/>
                  <a:gd name="T41" fmla="*/ 59 h 282"/>
                  <a:gd name="T42" fmla="*/ 53 w 272"/>
                  <a:gd name="T43" fmla="*/ 64 h 282"/>
                  <a:gd name="T44" fmla="*/ 59 w 272"/>
                  <a:gd name="T45" fmla="*/ 22 h 282"/>
                  <a:gd name="T46" fmla="*/ 80 w 272"/>
                  <a:gd name="T47" fmla="*/ 11 h 282"/>
                  <a:gd name="T48" fmla="*/ 101 w 272"/>
                  <a:gd name="T49" fmla="*/ 32 h 282"/>
                  <a:gd name="T50" fmla="*/ 112 w 272"/>
                  <a:gd name="T51" fmla="*/ 32 h 282"/>
                  <a:gd name="T52" fmla="*/ 123 w 272"/>
                  <a:gd name="T53" fmla="*/ 0 h 282"/>
                  <a:gd name="T54" fmla="*/ 155 w 272"/>
                  <a:gd name="T55" fmla="*/ 0 h 282"/>
                  <a:gd name="T56" fmla="*/ 160 w 272"/>
                  <a:gd name="T57" fmla="*/ 32 h 282"/>
                  <a:gd name="T58" fmla="*/ 170 w 272"/>
                  <a:gd name="T59" fmla="*/ 32 h 282"/>
                  <a:gd name="T60" fmla="*/ 186 w 272"/>
                  <a:gd name="T61" fmla="*/ 11 h 282"/>
                  <a:gd name="T62" fmla="*/ 218 w 272"/>
                  <a:gd name="T63" fmla="*/ 32 h 282"/>
                  <a:gd name="T64" fmla="*/ 224 w 272"/>
                  <a:gd name="T65" fmla="*/ 64 h 282"/>
                  <a:gd name="T66" fmla="*/ 250 w 272"/>
                  <a:gd name="T67" fmla="*/ 59 h 282"/>
                  <a:gd name="T68" fmla="*/ 250 w 272"/>
                  <a:gd name="T69" fmla="*/ 59 h 282"/>
                  <a:gd name="T70" fmla="*/ 250 w 272"/>
                  <a:gd name="T71" fmla="*/ 64 h 282"/>
                  <a:gd name="T72" fmla="*/ 250 w 272"/>
                  <a:gd name="T73" fmla="*/ 70 h 282"/>
                  <a:gd name="T74" fmla="*/ 256 w 272"/>
                  <a:gd name="T75" fmla="*/ 75 h 282"/>
                  <a:gd name="T76" fmla="*/ 240 w 272"/>
                  <a:gd name="T77" fmla="*/ 107 h 282"/>
                  <a:gd name="T78" fmla="*/ 245 w 272"/>
                  <a:gd name="T79" fmla="*/ 117 h 282"/>
                  <a:gd name="T80" fmla="*/ 272 w 272"/>
                  <a:gd name="T81" fmla="*/ 123 h 282"/>
                  <a:gd name="T82" fmla="*/ 272 w 272"/>
                  <a:gd name="T83" fmla="*/ 149 h 282"/>
                  <a:gd name="T84" fmla="*/ 245 w 272"/>
                  <a:gd name="T85" fmla="*/ 160 h 282"/>
                  <a:gd name="T86" fmla="*/ 240 w 272"/>
                  <a:gd name="T87" fmla="*/ 176 h 282"/>
                  <a:gd name="T88" fmla="*/ 256 w 272"/>
                  <a:gd name="T89" fmla="*/ 197 h 282"/>
                  <a:gd name="T90" fmla="*/ 245 w 272"/>
                  <a:gd name="T91" fmla="*/ 224 h 282"/>
                  <a:gd name="T92" fmla="*/ 218 w 272"/>
                  <a:gd name="T93" fmla="*/ 219 h 282"/>
                  <a:gd name="T94" fmla="*/ 218 w 272"/>
                  <a:gd name="T95" fmla="*/ 256 h 282"/>
                  <a:gd name="T96" fmla="*/ 192 w 272"/>
                  <a:gd name="T97" fmla="*/ 272 h 282"/>
                  <a:gd name="T98" fmla="*/ 170 w 272"/>
                  <a:gd name="T99" fmla="*/ 251 h 282"/>
                  <a:gd name="T100" fmla="*/ 155 w 272"/>
                  <a:gd name="T101" fmla="*/ 256 h 282"/>
                  <a:gd name="T102" fmla="*/ 155 w 272"/>
                  <a:gd name="T103" fmla="*/ 282 h 282"/>
                  <a:gd name="T104" fmla="*/ 128 w 272"/>
                  <a:gd name="T105" fmla="*/ 282 h 282"/>
                  <a:gd name="T106" fmla="*/ 123 w 272"/>
                  <a:gd name="T107" fmla="*/ 277 h 28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72"/>
                  <a:gd name="T163" fmla="*/ 0 h 282"/>
                  <a:gd name="T164" fmla="*/ 272 w 272"/>
                  <a:gd name="T165" fmla="*/ 282 h 282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72" h="282">
                    <a:moveTo>
                      <a:pt x="123" y="277"/>
                    </a:moveTo>
                    <a:lnTo>
                      <a:pt x="117" y="267"/>
                    </a:lnTo>
                    <a:lnTo>
                      <a:pt x="112" y="261"/>
                    </a:lnTo>
                    <a:lnTo>
                      <a:pt x="85" y="267"/>
                    </a:lnTo>
                    <a:lnTo>
                      <a:pt x="53" y="251"/>
                    </a:lnTo>
                    <a:lnTo>
                      <a:pt x="64" y="224"/>
                    </a:lnTo>
                    <a:lnTo>
                      <a:pt x="59" y="224"/>
                    </a:lnTo>
                    <a:lnTo>
                      <a:pt x="22" y="224"/>
                    </a:lnTo>
                    <a:lnTo>
                      <a:pt x="16" y="197"/>
                    </a:lnTo>
                    <a:lnTo>
                      <a:pt x="32" y="176"/>
                    </a:lnTo>
                    <a:lnTo>
                      <a:pt x="27" y="160"/>
                    </a:lnTo>
                    <a:lnTo>
                      <a:pt x="0" y="155"/>
                    </a:lnTo>
                    <a:lnTo>
                      <a:pt x="0" y="123"/>
                    </a:lnTo>
                    <a:lnTo>
                      <a:pt x="6" y="123"/>
                    </a:lnTo>
                    <a:lnTo>
                      <a:pt x="11" y="123"/>
                    </a:lnTo>
                    <a:lnTo>
                      <a:pt x="27" y="117"/>
                    </a:lnTo>
                    <a:lnTo>
                      <a:pt x="32" y="101"/>
                    </a:lnTo>
                    <a:lnTo>
                      <a:pt x="16" y="86"/>
                    </a:lnTo>
                    <a:lnTo>
                      <a:pt x="32" y="59"/>
                    </a:lnTo>
                    <a:lnTo>
                      <a:pt x="53" y="64"/>
                    </a:lnTo>
                    <a:lnTo>
                      <a:pt x="59" y="22"/>
                    </a:lnTo>
                    <a:lnTo>
                      <a:pt x="80" y="11"/>
                    </a:lnTo>
                    <a:lnTo>
                      <a:pt x="101" y="32"/>
                    </a:lnTo>
                    <a:lnTo>
                      <a:pt x="112" y="32"/>
                    </a:lnTo>
                    <a:lnTo>
                      <a:pt x="123" y="0"/>
                    </a:lnTo>
                    <a:lnTo>
                      <a:pt x="155" y="0"/>
                    </a:lnTo>
                    <a:lnTo>
                      <a:pt x="160" y="32"/>
                    </a:lnTo>
                    <a:lnTo>
                      <a:pt x="170" y="32"/>
                    </a:lnTo>
                    <a:lnTo>
                      <a:pt x="186" y="11"/>
                    </a:lnTo>
                    <a:lnTo>
                      <a:pt x="218" y="32"/>
                    </a:lnTo>
                    <a:lnTo>
                      <a:pt x="224" y="64"/>
                    </a:lnTo>
                    <a:lnTo>
                      <a:pt x="250" y="59"/>
                    </a:lnTo>
                    <a:lnTo>
                      <a:pt x="250" y="64"/>
                    </a:lnTo>
                    <a:lnTo>
                      <a:pt x="250" y="70"/>
                    </a:lnTo>
                    <a:lnTo>
                      <a:pt x="256" y="75"/>
                    </a:lnTo>
                    <a:lnTo>
                      <a:pt x="240" y="107"/>
                    </a:lnTo>
                    <a:lnTo>
                      <a:pt x="245" y="117"/>
                    </a:lnTo>
                    <a:lnTo>
                      <a:pt x="272" y="123"/>
                    </a:lnTo>
                    <a:lnTo>
                      <a:pt x="272" y="149"/>
                    </a:lnTo>
                    <a:lnTo>
                      <a:pt x="245" y="160"/>
                    </a:lnTo>
                    <a:lnTo>
                      <a:pt x="240" y="176"/>
                    </a:lnTo>
                    <a:lnTo>
                      <a:pt x="256" y="197"/>
                    </a:lnTo>
                    <a:lnTo>
                      <a:pt x="245" y="224"/>
                    </a:lnTo>
                    <a:lnTo>
                      <a:pt x="218" y="219"/>
                    </a:lnTo>
                    <a:lnTo>
                      <a:pt x="218" y="256"/>
                    </a:lnTo>
                    <a:lnTo>
                      <a:pt x="192" y="272"/>
                    </a:lnTo>
                    <a:lnTo>
                      <a:pt x="170" y="251"/>
                    </a:lnTo>
                    <a:lnTo>
                      <a:pt x="155" y="256"/>
                    </a:lnTo>
                    <a:lnTo>
                      <a:pt x="155" y="282"/>
                    </a:lnTo>
                    <a:lnTo>
                      <a:pt x="128" y="282"/>
                    </a:lnTo>
                    <a:lnTo>
                      <a:pt x="123" y="27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22" name="Freeform 399"/>
              <p:cNvSpPr>
                <a:spLocks/>
              </p:cNvSpPr>
              <p:nvPr/>
            </p:nvSpPr>
            <p:spPr bwMode="auto">
              <a:xfrm>
                <a:off x="4192" y="1104"/>
                <a:ext cx="266" cy="282"/>
              </a:xfrm>
              <a:custGeom>
                <a:avLst/>
                <a:gdLst>
                  <a:gd name="T0" fmla="*/ 117 w 266"/>
                  <a:gd name="T1" fmla="*/ 276 h 282"/>
                  <a:gd name="T2" fmla="*/ 112 w 266"/>
                  <a:gd name="T3" fmla="*/ 261 h 282"/>
                  <a:gd name="T4" fmla="*/ 106 w 266"/>
                  <a:gd name="T5" fmla="*/ 261 h 282"/>
                  <a:gd name="T6" fmla="*/ 106 w 266"/>
                  <a:gd name="T7" fmla="*/ 261 h 282"/>
                  <a:gd name="T8" fmla="*/ 85 w 266"/>
                  <a:gd name="T9" fmla="*/ 261 h 282"/>
                  <a:gd name="T10" fmla="*/ 53 w 266"/>
                  <a:gd name="T11" fmla="*/ 250 h 282"/>
                  <a:gd name="T12" fmla="*/ 58 w 266"/>
                  <a:gd name="T13" fmla="*/ 223 h 282"/>
                  <a:gd name="T14" fmla="*/ 58 w 266"/>
                  <a:gd name="T15" fmla="*/ 218 h 282"/>
                  <a:gd name="T16" fmla="*/ 58 w 266"/>
                  <a:gd name="T17" fmla="*/ 218 h 282"/>
                  <a:gd name="T18" fmla="*/ 21 w 266"/>
                  <a:gd name="T19" fmla="*/ 218 h 282"/>
                  <a:gd name="T20" fmla="*/ 11 w 266"/>
                  <a:gd name="T21" fmla="*/ 197 h 282"/>
                  <a:gd name="T22" fmla="*/ 27 w 266"/>
                  <a:gd name="T23" fmla="*/ 175 h 282"/>
                  <a:gd name="T24" fmla="*/ 21 w 266"/>
                  <a:gd name="T25" fmla="*/ 159 h 282"/>
                  <a:gd name="T26" fmla="*/ 0 w 266"/>
                  <a:gd name="T27" fmla="*/ 149 h 282"/>
                  <a:gd name="T28" fmla="*/ 0 w 266"/>
                  <a:gd name="T29" fmla="*/ 122 h 282"/>
                  <a:gd name="T30" fmla="*/ 0 w 266"/>
                  <a:gd name="T31" fmla="*/ 122 h 282"/>
                  <a:gd name="T32" fmla="*/ 5 w 266"/>
                  <a:gd name="T33" fmla="*/ 122 h 282"/>
                  <a:gd name="T34" fmla="*/ 21 w 266"/>
                  <a:gd name="T35" fmla="*/ 117 h 282"/>
                  <a:gd name="T36" fmla="*/ 27 w 266"/>
                  <a:gd name="T37" fmla="*/ 95 h 282"/>
                  <a:gd name="T38" fmla="*/ 11 w 266"/>
                  <a:gd name="T39" fmla="*/ 85 h 282"/>
                  <a:gd name="T40" fmla="*/ 27 w 266"/>
                  <a:gd name="T41" fmla="*/ 53 h 282"/>
                  <a:gd name="T42" fmla="*/ 53 w 266"/>
                  <a:gd name="T43" fmla="*/ 64 h 282"/>
                  <a:gd name="T44" fmla="*/ 58 w 266"/>
                  <a:gd name="T45" fmla="*/ 21 h 282"/>
                  <a:gd name="T46" fmla="*/ 74 w 266"/>
                  <a:gd name="T47" fmla="*/ 10 h 282"/>
                  <a:gd name="T48" fmla="*/ 96 w 266"/>
                  <a:gd name="T49" fmla="*/ 26 h 282"/>
                  <a:gd name="T50" fmla="*/ 106 w 266"/>
                  <a:gd name="T51" fmla="*/ 26 h 282"/>
                  <a:gd name="T52" fmla="*/ 117 w 266"/>
                  <a:gd name="T53" fmla="*/ 0 h 282"/>
                  <a:gd name="T54" fmla="*/ 149 w 266"/>
                  <a:gd name="T55" fmla="*/ 0 h 282"/>
                  <a:gd name="T56" fmla="*/ 159 w 266"/>
                  <a:gd name="T57" fmla="*/ 26 h 282"/>
                  <a:gd name="T58" fmla="*/ 170 w 266"/>
                  <a:gd name="T59" fmla="*/ 26 h 282"/>
                  <a:gd name="T60" fmla="*/ 186 w 266"/>
                  <a:gd name="T61" fmla="*/ 10 h 282"/>
                  <a:gd name="T62" fmla="*/ 213 w 266"/>
                  <a:gd name="T63" fmla="*/ 26 h 282"/>
                  <a:gd name="T64" fmla="*/ 218 w 266"/>
                  <a:gd name="T65" fmla="*/ 64 h 282"/>
                  <a:gd name="T66" fmla="*/ 245 w 266"/>
                  <a:gd name="T67" fmla="*/ 53 h 282"/>
                  <a:gd name="T68" fmla="*/ 245 w 266"/>
                  <a:gd name="T69" fmla="*/ 58 h 282"/>
                  <a:gd name="T70" fmla="*/ 245 w 266"/>
                  <a:gd name="T71" fmla="*/ 64 h 282"/>
                  <a:gd name="T72" fmla="*/ 245 w 266"/>
                  <a:gd name="T73" fmla="*/ 64 h 282"/>
                  <a:gd name="T74" fmla="*/ 250 w 266"/>
                  <a:gd name="T75" fmla="*/ 69 h 282"/>
                  <a:gd name="T76" fmla="*/ 239 w 266"/>
                  <a:gd name="T77" fmla="*/ 101 h 282"/>
                  <a:gd name="T78" fmla="*/ 245 w 266"/>
                  <a:gd name="T79" fmla="*/ 117 h 282"/>
                  <a:gd name="T80" fmla="*/ 266 w 266"/>
                  <a:gd name="T81" fmla="*/ 122 h 282"/>
                  <a:gd name="T82" fmla="*/ 266 w 266"/>
                  <a:gd name="T83" fmla="*/ 143 h 282"/>
                  <a:gd name="T84" fmla="*/ 245 w 266"/>
                  <a:gd name="T85" fmla="*/ 159 h 282"/>
                  <a:gd name="T86" fmla="*/ 239 w 266"/>
                  <a:gd name="T87" fmla="*/ 175 h 282"/>
                  <a:gd name="T88" fmla="*/ 255 w 266"/>
                  <a:gd name="T89" fmla="*/ 191 h 282"/>
                  <a:gd name="T90" fmla="*/ 245 w 266"/>
                  <a:gd name="T91" fmla="*/ 218 h 282"/>
                  <a:gd name="T92" fmla="*/ 213 w 266"/>
                  <a:gd name="T93" fmla="*/ 213 h 282"/>
                  <a:gd name="T94" fmla="*/ 213 w 266"/>
                  <a:gd name="T95" fmla="*/ 255 h 282"/>
                  <a:gd name="T96" fmla="*/ 191 w 266"/>
                  <a:gd name="T97" fmla="*/ 266 h 282"/>
                  <a:gd name="T98" fmla="*/ 170 w 266"/>
                  <a:gd name="T99" fmla="*/ 250 h 282"/>
                  <a:gd name="T100" fmla="*/ 154 w 266"/>
                  <a:gd name="T101" fmla="*/ 255 h 282"/>
                  <a:gd name="T102" fmla="*/ 149 w 266"/>
                  <a:gd name="T103" fmla="*/ 282 h 282"/>
                  <a:gd name="T104" fmla="*/ 128 w 266"/>
                  <a:gd name="T105" fmla="*/ 282 h 282"/>
                  <a:gd name="T106" fmla="*/ 117 w 266"/>
                  <a:gd name="T107" fmla="*/ 276 h 28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266"/>
                  <a:gd name="T163" fmla="*/ 0 h 282"/>
                  <a:gd name="T164" fmla="*/ 266 w 266"/>
                  <a:gd name="T165" fmla="*/ 282 h 282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266" h="282">
                    <a:moveTo>
                      <a:pt x="117" y="276"/>
                    </a:moveTo>
                    <a:lnTo>
                      <a:pt x="112" y="261"/>
                    </a:lnTo>
                    <a:lnTo>
                      <a:pt x="106" y="261"/>
                    </a:lnTo>
                    <a:lnTo>
                      <a:pt x="85" y="261"/>
                    </a:lnTo>
                    <a:lnTo>
                      <a:pt x="53" y="250"/>
                    </a:lnTo>
                    <a:lnTo>
                      <a:pt x="58" y="223"/>
                    </a:lnTo>
                    <a:lnTo>
                      <a:pt x="58" y="218"/>
                    </a:lnTo>
                    <a:lnTo>
                      <a:pt x="21" y="218"/>
                    </a:lnTo>
                    <a:lnTo>
                      <a:pt x="11" y="197"/>
                    </a:lnTo>
                    <a:lnTo>
                      <a:pt x="27" y="175"/>
                    </a:lnTo>
                    <a:lnTo>
                      <a:pt x="21" y="159"/>
                    </a:lnTo>
                    <a:lnTo>
                      <a:pt x="0" y="149"/>
                    </a:lnTo>
                    <a:lnTo>
                      <a:pt x="0" y="122"/>
                    </a:lnTo>
                    <a:lnTo>
                      <a:pt x="5" y="122"/>
                    </a:lnTo>
                    <a:lnTo>
                      <a:pt x="21" y="117"/>
                    </a:lnTo>
                    <a:lnTo>
                      <a:pt x="27" y="95"/>
                    </a:lnTo>
                    <a:lnTo>
                      <a:pt x="11" y="85"/>
                    </a:lnTo>
                    <a:lnTo>
                      <a:pt x="27" y="53"/>
                    </a:lnTo>
                    <a:lnTo>
                      <a:pt x="53" y="64"/>
                    </a:lnTo>
                    <a:lnTo>
                      <a:pt x="58" y="21"/>
                    </a:lnTo>
                    <a:lnTo>
                      <a:pt x="74" y="10"/>
                    </a:lnTo>
                    <a:lnTo>
                      <a:pt x="96" y="26"/>
                    </a:lnTo>
                    <a:lnTo>
                      <a:pt x="106" y="26"/>
                    </a:lnTo>
                    <a:lnTo>
                      <a:pt x="117" y="0"/>
                    </a:lnTo>
                    <a:lnTo>
                      <a:pt x="149" y="0"/>
                    </a:lnTo>
                    <a:lnTo>
                      <a:pt x="159" y="26"/>
                    </a:lnTo>
                    <a:lnTo>
                      <a:pt x="170" y="26"/>
                    </a:lnTo>
                    <a:lnTo>
                      <a:pt x="186" y="10"/>
                    </a:lnTo>
                    <a:lnTo>
                      <a:pt x="213" y="26"/>
                    </a:lnTo>
                    <a:lnTo>
                      <a:pt x="218" y="64"/>
                    </a:lnTo>
                    <a:lnTo>
                      <a:pt x="245" y="53"/>
                    </a:lnTo>
                    <a:lnTo>
                      <a:pt x="245" y="58"/>
                    </a:lnTo>
                    <a:lnTo>
                      <a:pt x="245" y="64"/>
                    </a:lnTo>
                    <a:lnTo>
                      <a:pt x="250" y="69"/>
                    </a:lnTo>
                    <a:lnTo>
                      <a:pt x="239" y="101"/>
                    </a:lnTo>
                    <a:lnTo>
                      <a:pt x="245" y="117"/>
                    </a:lnTo>
                    <a:lnTo>
                      <a:pt x="266" y="122"/>
                    </a:lnTo>
                    <a:lnTo>
                      <a:pt x="266" y="143"/>
                    </a:lnTo>
                    <a:lnTo>
                      <a:pt x="245" y="159"/>
                    </a:lnTo>
                    <a:lnTo>
                      <a:pt x="239" y="175"/>
                    </a:lnTo>
                    <a:lnTo>
                      <a:pt x="255" y="191"/>
                    </a:lnTo>
                    <a:lnTo>
                      <a:pt x="245" y="218"/>
                    </a:lnTo>
                    <a:lnTo>
                      <a:pt x="213" y="213"/>
                    </a:lnTo>
                    <a:lnTo>
                      <a:pt x="213" y="255"/>
                    </a:lnTo>
                    <a:lnTo>
                      <a:pt x="191" y="266"/>
                    </a:lnTo>
                    <a:lnTo>
                      <a:pt x="170" y="250"/>
                    </a:lnTo>
                    <a:lnTo>
                      <a:pt x="154" y="255"/>
                    </a:lnTo>
                    <a:lnTo>
                      <a:pt x="149" y="282"/>
                    </a:lnTo>
                    <a:lnTo>
                      <a:pt x="128" y="282"/>
                    </a:lnTo>
                    <a:lnTo>
                      <a:pt x="117" y="276"/>
                    </a:lnTo>
                    <a:close/>
                  </a:path>
                </a:pathLst>
              </a:custGeom>
              <a:solidFill>
                <a:srgbClr val="96594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23" name="Freeform 400"/>
              <p:cNvSpPr>
                <a:spLocks/>
              </p:cNvSpPr>
              <p:nvPr/>
            </p:nvSpPr>
            <p:spPr bwMode="auto">
              <a:xfrm>
                <a:off x="4660" y="1333"/>
                <a:ext cx="37" cy="26"/>
              </a:xfrm>
              <a:custGeom>
                <a:avLst/>
                <a:gdLst>
                  <a:gd name="T0" fmla="*/ 21 w 37"/>
                  <a:gd name="T1" fmla="*/ 21 h 26"/>
                  <a:gd name="T2" fmla="*/ 0 w 37"/>
                  <a:gd name="T3" fmla="*/ 10 h 26"/>
                  <a:gd name="T4" fmla="*/ 0 w 37"/>
                  <a:gd name="T5" fmla="*/ 0 h 26"/>
                  <a:gd name="T6" fmla="*/ 0 w 37"/>
                  <a:gd name="T7" fmla="*/ 0 h 26"/>
                  <a:gd name="T8" fmla="*/ 37 w 37"/>
                  <a:gd name="T9" fmla="*/ 26 h 26"/>
                  <a:gd name="T10" fmla="*/ 21 w 37"/>
                  <a:gd name="T11" fmla="*/ 21 h 2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7"/>
                  <a:gd name="T19" fmla="*/ 0 h 26"/>
                  <a:gd name="T20" fmla="*/ 37 w 37"/>
                  <a:gd name="T21" fmla="*/ 26 h 2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7" h="26">
                    <a:moveTo>
                      <a:pt x="21" y="21"/>
                    </a:moveTo>
                    <a:lnTo>
                      <a:pt x="0" y="10"/>
                    </a:lnTo>
                    <a:lnTo>
                      <a:pt x="0" y="0"/>
                    </a:lnTo>
                    <a:lnTo>
                      <a:pt x="37" y="26"/>
                    </a:lnTo>
                    <a:lnTo>
                      <a:pt x="21" y="21"/>
                    </a:lnTo>
                    <a:close/>
                  </a:path>
                </a:pathLst>
              </a:custGeom>
              <a:solidFill>
                <a:srgbClr val="49557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24" name="Freeform 401"/>
              <p:cNvSpPr>
                <a:spLocks/>
              </p:cNvSpPr>
              <p:nvPr/>
            </p:nvSpPr>
            <p:spPr bwMode="auto">
              <a:xfrm>
                <a:off x="4234" y="1157"/>
                <a:ext cx="160" cy="165"/>
              </a:xfrm>
              <a:custGeom>
                <a:avLst/>
                <a:gdLst>
                  <a:gd name="T0" fmla="*/ 59 w 160"/>
                  <a:gd name="T1" fmla="*/ 165 h 165"/>
                  <a:gd name="T2" fmla="*/ 48 w 160"/>
                  <a:gd name="T3" fmla="*/ 165 h 165"/>
                  <a:gd name="T4" fmla="*/ 6 w 160"/>
                  <a:gd name="T5" fmla="*/ 128 h 165"/>
                  <a:gd name="T6" fmla="*/ 0 w 160"/>
                  <a:gd name="T7" fmla="*/ 101 h 165"/>
                  <a:gd name="T8" fmla="*/ 0 w 160"/>
                  <a:gd name="T9" fmla="*/ 64 h 165"/>
                  <a:gd name="T10" fmla="*/ 27 w 160"/>
                  <a:gd name="T11" fmla="*/ 16 h 165"/>
                  <a:gd name="T12" fmla="*/ 27 w 160"/>
                  <a:gd name="T13" fmla="*/ 16 h 165"/>
                  <a:gd name="T14" fmla="*/ 32 w 160"/>
                  <a:gd name="T15" fmla="*/ 16 h 165"/>
                  <a:gd name="T16" fmla="*/ 86 w 160"/>
                  <a:gd name="T17" fmla="*/ 0 h 165"/>
                  <a:gd name="T18" fmla="*/ 112 w 160"/>
                  <a:gd name="T19" fmla="*/ 0 h 165"/>
                  <a:gd name="T20" fmla="*/ 149 w 160"/>
                  <a:gd name="T21" fmla="*/ 27 h 165"/>
                  <a:gd name="T22" fmla="*/ 155 w 160"/>
                  <a:gd name="T23" fmla="*/ 48 h 165"/>
                  <a:gd name="T24" fmla="*/ 160 w 160"/>
                  <a:gd name="T25" fmla="*/ 85 h 165"/>
                  <a:gd name="T26" fmla="*/ 155 w 160"/>
                  <a:gd name="T27" fmla="*/ 101 h 165"/>
                  <a:gd name="T28" fmla="*/ 149 w 160"/>
                  <a:gd name="T29" fmla="*/ 122 h 165"/>
                  <a:gd name="T30" fmla="*/ 133 w 160"/>
                  <a:gd name="T31" fmla="*/ 144 h 165"/>
                  <a:gd name="T32" fmla="*/ 117 w 160"/>
                  <a:gd name="T33" fmla="*/ 160 h 165"/>
                  <a:gd name="T34" fmla="*/ 70 w 160"/>
                  <a:gd name="T35" fmla="*/ 165 h 165"/>
                  <a:gd name="T36" fmla="*/ 59 w 160"/>
                  <a:gd name="T37" fmla="*/ 165 h 16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60"/>
                  <a:gd name="T58" fmla="*/ 0 h 165"/>
                  <a:gd name="T59" fmla="*/ 160 w 160"/>
                  <a:gd name="T60" fmla="*/ 165 h 16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60" h="165">
                    <a:moveTo>
                      <a:pt x="59" y="165"/>
                    </a:moveTo>
                    <a:lnTo>
                      <a:pt x="48" y="165"/>
                    </a:lnTo>
                    <a:lnTo>
                      <a:pt x="6" y="128"/>
                    </a:lnTo>
                    <a:lnTo>
                      <a:pt x="0" y="101"/>
                    </a:lnTo>
                    <a:lnTo>
                      <a:pt x="0" y="64"/>
                    </a:lnTo>
                    <a:lnTo>
                      <a:pt x="27" y="16"/>
                    </a:lnTo>
                    <a:lnTo>
                      <a:pt x="32" y="16"/>
                    </a:lnTo>
                    <a:lnTo>
                      <a:pt x="86" y="0"/>
                    </a:lnTo>
                    <a:lnTo>
                      <a:pt x="112" y="0"/>
                    </a:lnTo>
                    <a:lnTo>
                      <a:pt x="149" y="27"/>
                    </a:lnTo>
                    <a:lnTo>
                      <a:pt x="155" y="48"/>
                    </a:lnTo>
                    <a:lnTo>
                      <a:pt x="160" y="85"/>
                    </a:lnTo>
                    <a:lnTo>
                      <a:pt x="155" y="101"/>
                    </a:lnTo>
                    <a:lnTo>
                      <a:pt x="149" y="122"/>
                    </a:lnTo>
                    <a:lnTo>
                      <a:pt x="133" y="144"/>
                    </a:lnTo>
                    <a:lnTo>
                      <a:pt x="117" y="160"/>
                    </a:lnTo>
                    <a:lnTo>
                      <a:pt x="70" y="165"/>
                    </a:lnTo>
                    <a:lnTo>
                      <a:pt x="59" y="165"/>
                    </a:lnTo>
                    <a:close/>
                  </a:path>
                </a:pathLst>
              </a:custGeom>
              <a:solidFill>
                <a:srgbClr val="61BFF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25" name="Freeform 402"/>
              <p:cNvSpPr>
                <a:spLocks/>
              </p:cNvSpPr>
              <p:nvPr/>
            </p:nvSpPr>
            <p:spPr bwMode="auto">
              <a:xfrm>
                <a:off x="4639" y="1253"/>
                <a:ext cx="21" cy="21"/>
              </a:xfrm>
              <a:custGeom>
                <a:avLst/>
                <a:gdLst>
                  <a:gd name="T0" fmla="*/ 0 w 21"/>
                  <a:gd name="T1" fmla="*/ 21 h 21"/>
                  <a:gd name="T2" fmla="*/ 0 w 21"/>
                  <a:gd name="T3" fmla="*/ 0 h 21"/>
                  <a:gd name="T4" fmla="*/ 21 w 21"/>
                  <a:gd name="T5" fmla="*/ 0 h 21"/>
                  <a:gd name="T6" fmla="*/ 10 w 21"/>
                  <a:gd name="T7" fmla="*/ 21 h 21"/>
                  <a:gd name="T8" fmla="*/ 0 w 21"/>
                  <a:gd name="T9" fmla="*/ 21 h 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"/>
                  <a:gd name="T16" fmla="*/ 0 h 21"/>
                  <a:gd name="T17" fmla="*/ 21 w 21"/>
                  <a:gd name="T18" fmla="*/ 21 h 2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" h="21">
                    <a:moveTo>
                      <a:pt x="0" y="21"/>
                    </a:moveTo>
                    <a:lnTo>
                      <a:pt x="0" y="0"/>
                    </a:lnTo>
                    <a:lnTo>
                      <a:pt x="21" y="0"/>
                    </a:lnTo>
                    <a:lnTo>
                      <a:pt x="10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49557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26" name="Freeform 403"/>
              <p:cNvSpPr>
                <a:spLocks/>
              </p:cNvSpPr>
              <p:nvPr/>
            </p:nvSpPr>
            <p:spPr bwMode="auto">
              <a:xfrm>
                <a:off x="4282" y="1205"/>
                <a:ext cx="54" cy="58"/>
              </a:xfrm>
              <a:custGeom>
                <a:avLst/>
                <a:gdLst>
                  <a:gd name="T0" fmla="*/ 11 w 54"/>
                  <a:gd name="T1" fmla="*/ 53 h 58"/>
                  <a:gd name="T2" fmla="*/ 11 w 54"/>
                  <a:gd name="T3" fmla="*/ 53 h 58"/>
                  <a:gd name="T4" fmla="*/ 6 w 54"/>
                  <a:gd name="T5" fmla="*/ 48 h 58"/>
                  <a:gd name="T6" fmla="*/ 6 w 54"/>
                  <a:gd name="T7" fmla="*/ 48 h 58"/>
                  <a:gd name="T8" fmla="*/ 0 w 54"/>
                  <a:gd name="T9" fmla="*/ 37 h 58"/>
                  <a:gd name="T10" fmla="*/ 0 w 54"/>
                  <a:gd name="T11" fmla="*/ 37 h 58"/>
                  <a:gd name="T12" fmla="*/ 22 w 54"/>
                  <a:gd name="T13" fmla="*/ 0 h 58"/>
                  <a:gd name="T14" fmla="*/ 32 w 54"/>
                  <a:gd name="T15" fmla="*/ 0 h 58"/>
                  <a:gd name="T16" fmla="*/ 54 w 54"/>
                  <a:gd name="T17" fmla="*/ 21 h 58"/>
                  <a:gd name="T18" fmla="*/ 43 w 54"/>
                  <a:gd name="T19" fmla="*/ 48 h 58"/>
                  <a:gd name="T20" fmla="*/ 22 w 54"/>
                  <a:gd name="T21" fmla="*/ 58 h 58"/>
                  <a:gd name="T22" fmla="*/ 11 w 54"/>
                  <a:gd name="T23" fmla="*/ 53 h 5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4"/>
                  <a:gd name="T37" fmla="*/ 0 h 58"/>
                  <a:gd name="T38" fmla="*/ 54 w 54"/>
                  <a:gd name="T39" fmla="*/ 58 h 5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4" h="58">
                    <a:moveTo>
                      <a:pt x="11" y="53"/>
                    </a:moveTo>
                    <a:lnTo>
                      <a:pt x="11" y="53"/>
                    </a:lnTo>
                    <a:lnTo>
                      <a:pt x="6" y="48"/>
                    </a:lnTo>
                    <a:lnTo>
                      <a:pt x="0" y="37"/>
                    </a:lnTo>
                    <a:lnTo>
                      <a:pt x="22" y="0"/>
                    </a:lnTo>
                    <a:lnTo>
                      <a:pt x="32" y="0"/>
                    </a:lnTo>
                    <a:lnTo>
                      <a:pt x="54" y="21"/>
                    </a:lnTo>
                    <a:lnTo>
                      <a:pt x="43" y="48"/>
                    </a:lnTo>
                    <a:lnTo>
                      <a:pt x="22" y="58"/>
                    </a:lnTo>
                    <a:lnTo>
                      <a:pt x="11" y="53"/>
                    </a:lnTo>
                    <a:close/>
                  </a:path>
                </a:pathLst>
              </a:custGeom>
              <a:solidFill>
                <a:srgbClr val="504A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27" name="Freeform 404"/>
              <p:cNvSpPr>
                <a:spLocks/>
              </p:cNvSpPr>
              <p:nvPr/>
            </p:nvSpPr>
            <p:spPr bwMode="auto">
              <a:xfrm>
                <a:off x="4437" y="1120"/>
                <a:ext cx="58" cy="106"/>
              </a:xfrm>
              <a:custGeom>
                <a:avLst/>
                <a:gdLst>
                  <a:gd name="T0" fmla="*/ 42 w 58"/>
                  <a:gd name="T1" fmla="*/ 106 h 106"/>
                  <a:gd name="T2" fmla="*/ 42 w 58"/>
                  <a:gd name="T3" fmla="*/ 64 h 106"/>
                  <a:gd name="T4" fmla="*/ 31 w 58"/>
                  <a:gd name="T5" fmla="*/ 37 h 106"/>
                  <a:gd name="T6" fmla="*/ 16 w 58"/>
                  <a:gd name="T7" fmla="*/ 16 h 106"/>
                  <a:gd name="T8" fmla="*/ 10 w 58"/>
                  <a:gd name="T9" fmla="*/ 16 h 106"/>
                  <a:gd name="T10" fmla="*/ 10 w 58"/>
                  <a:gd name="T11" fmla="*/ 16 h 106"/>
                  <a:gd name="T12" fmla="*/ 0 w 58"/>
                  <a:gd name="T13" fmla="*/ 10 h 106"/>
                  <a:gd name="T14" fmla="*/ 0 w 58"/>
                  <a:gd name="T15" fmla="*/ 10 h 106"/>
                  <a:gd name="T16" fmla="*/ 5 w 58"/>
                  <a:gd name="T17" fmla="*/ 0 h 106"/>
                  <a:gd name="T18" fmla="*/ 10 w 58"/>
                  <a:gd name="T19" fmla="*/ 0 h 106"/>
                  <a:gd name="T20" fmla="*/ 42 w 58"/>
                  <a:gd name="T21" fmla="*/ 21 h 106"/>
                  <a:gd name="T22" fmla="*/ 53 w 58"/>
                  <a:gd name="T23" fmla="*/ 53 h 106"/>
                  <a:gd name="T24" fmla="*/ 58 w 58"/>
                  <a:gd name="T25" fmla="*/ 90 h 106"/>
                  <a:gd name="T26" fmla="*/ 53 w 58"/>
                  <a:gd name="T27" fmla="*/ 95 h 106"/>
                  <a:gd name="T28" fmla="*/ 53 w 58"/>
                  <a:gd name="T29" fmla="*/ 101 h 106"/>
                  <a:gd name="T30" fmla="*/ 53 w 58"/>
                  <a:gd name="T31" fmla="*/ 106 h 106"/>
                  <a:gd name="T32" fmla="*/ 42 w 58"/>
                  <a:gd name="T33" fmla="*/ 106 h 10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8"/>
                  <a:gd name="T52" fmla="*/ 0 h 106"/>
                  <a:gd name="T53" fmla="*/ 58 w 58"/>
                  <a:gd name="T54" fmla="*/ 106 h 10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8" h="106">
                    <a:moveTo>
                      <a:pt x="42" y="106"/>
                    </a:moveTo>
                    <a:lnTo>
                      <a:pt x="42" y="64"/>
                    </a:lnTo>
                    <a:lnTo>
                      <a:pt x="31" y="37"/>
                    </a:lnTo>
                    <a:lnTo>
                      <a:pt x="16" y="16"/>
                    </a:lnTo>
                    <a:lnTo>
                      <a:pt x="10" y="16"/>
                    </a:lnTo>
                    <a:lnTo>
                      <a:pt x="0" y="10"/>
                    </a:lnTo>
                    <a:lnTo>
                      <a:pt x="5" y="0"/>
                    </a:lnTo>
                    <a:lnTo>
                      <a:pt x="10" y="0"/>
                    </a:lnTo>
                    <a:lnTo>
                      <a:pt x="42" y="21"/>
                    </a:lnTo>
                    <a:lnTo>
                      <a:pt x="53" y="53"/>
                    </a:lnTo>
                    <a:lnTo>
                      <a:pt x="58" y="90"/>
                    </a:lnTo>
                    <a:lnTo>
                      <a:pt x="53" y="95"/>
                    </a:lnTo>
                    <a:lnTo>
                      <a:pt x="53" y="101"/>
                    </a:lnTo>
                    <a:lnTo>
                      <a:pt x="53" y="106"/>
                    </a:lnTo>
                    <a:lnTo>
                      <a:pt x="42" y="106"/>
                    </a:lnTo>
                    <a:close/>
                  </a:path>
                </a:pathLst>
              </a:custGeom>
              <a:solidFill>
                <a:srgbClr val="49557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28" name="Freeform 405"/>
              <p:cNvSpPr>
                <a:spLocks/>
              </p:cNvSpPr>
              <p:nvPr/>
            </p:nvSpPr>
            <p:spPr bwMode="auto">
              <a:xfrm>
                <a:off x="4155" y="1109"/>
                <a:ext cx="42" cy="90"/>
              </a:xfrm>
              <a:custGeom>
                <a:avLst/>
                <a:gdLst>
                  <a:gd name="T0" fmla="*/ 0 w 42"/>
                  <a:gd name="T1" fmla="*/ 85 h 90"/>
                  <a:gd name="T2" fmla="*/ 5 w 42"/>
                  <a:gd name="T3" fmla="*/ 43 h 90"/>
                  <a:gd name="T4" fmla="*/ 16 w 42"/>
                  <a:gd name="T5" fmla="*/ 16 h 90"/>
                  <a:gd name="T6" fmla="*/ 37 w 42"/>
                  <a:gd name="T7" fmla="*/ 0 h 90"/>
                  <a:gd name="T8" fmla="*/ 42 w 42"/>
                  <a:gd name="T9" fmla="*/ 16 h 90"/>
                  <a:gd name="T10" fmla="*/ 10 w 42"/>
                  <a:gd name="T11" fmla="*/ 90 h 90"/>
                  <a:gd name="T12" fmla="*/ 0 w 42"/>
                  <a:gd name="T13" fmla="*/ 85 h 9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2"/>
                  <a:gd name="T22" fmla="*/ 0 h 90"/>
                  <a:gd name="T23" fmla="*/ 42 w 42"/>
                  <a:gd name="T24" fmla="*/ 90 h 9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2" h="90">
                    <a:moveTo>
                      <a:pt x="0" y="85"/>
                    </a:moveTo>
                    <a:lnTo>
                      <a:pt x="5" y="43"/>
                    </a:lnTo>
                    <a:lnTo>
                      <a:pt x="16" y="16"/>
                    </a:lnTo>
                    <a:lnTo>
                      <a:pt x="37" y="0"/>
                    </a:lnTo>
                    <a:lnTo>
                      <a:pt x="42" y="16"/>
                    </a:lnTo>
                    <a:lnTo>
                      <a:pt x="10" y="90"/>
                    </a:lnTo>
                    <a:lnTo>
                      <a:pt x="0" y="85"/>
                    </a:lnTo>
                    <a:close/>
                  </a:path>
                </a:pathLst>
              </a:custGeom>
              <a:solidFill>
                <a:srgbClr val="49557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29" name="Freeform 406"/>
              <p:cNvSpPr>
                <a:spLocks/>
              </p:cNvSpPr>
              <p:nvPr/>
            </p:nvSpPr>
            <p:spPr bwMode="auto">
              <a:xfrm>
                <a:off x="4623" y="1146"/>
                <a:ext cx="42" cy="38"/>
              </a:xfrm>
              <a:custGeom>
                <a:avLst/>
                <a:gdLst>
                  <a:gd name="T0" fmla="*/ 5 w 42"/>
                  <a:gd name="T1" fmla="*/ 38 h 38"/>
                  <a:gd name="T2" fmla="*/ 0 w 42"/>
                  <a:gd name="T3" fmla="*/ 22 h 38"/>
                  <a:gd name="T4" fmla="*/ 16 w 42"/>
                  <a:gd name="T5" fmla="*/ 0 h 38"/>
                  <a:gd name="T6" fmla="*/ 16 w 42"/>
                  <a:gd name="T7" fmla="*/ 0 h 38"/>
                  <a:gd name="T8" fmla="*/ 21 w 42"/>
                  <a:gd name="T9" fmla="*/ 0 h 38"/>
                  <a:gd name="T10" fmla="*/ 42 w 42"/>
                  <a:gd name="T11" fmla="*/ 11 h 38"/>
                  <a:gd name="T12" fmla="*/ 26 w 42"/>
                  <a:gd name="T13" fmla="*/ 38 h 38"/>
                  <a:gd name="T14" fmla="*/ 16 w 42"/>
                  <a:gd name="T15" fmla="*/ 38 h 38"/>
                  <a:gd name="T16" fmla="*/ 5 w 42"/>
                  <a:gd name="T17" fmla="*/ 38 h 3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42"/>
                  <a:gd name="T28" fmla="*/ 0 h 38"/>
                  <a:gd name="T29" fmla="*/ 42 w 42"/>
                  <a:gd name="T30" fmla="*/ 38 h 3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42" h="38">
                    <a:moveTo>
                      <a:pt x="5" y="38"/>
                    </a:moveTo>
                    <a:lnTo>
                      <a:pt x="0" y="22"/>
                    </a:lnTo>
                    <a:lnTo>
                      <a:pt x="16" y="0"/>
                    </a:lnTo>
                    <a:lnTo>
                      <a:pt x="21" y="0"/>
                    </a:lnTo>
                    <a:lnTo>
                      <a:pt x="42" y="11"/>
                    </a:lnTo>
                    <a:lnTo>
                      <a:pt x="26" y="38"/>
                    </a:lnTo>
                    <a:lnTo>
                      <a:pt x="16" y="38"/>
                    </a:lnTo>
                    <a:lnTo>
                      <a:pt x="5" y="38"/>
                    </a:lnTo>
                    <a:close/>
                  </a:path>
                </a:pathLst>
              </a:custGeom>
              <a:solidFill>
                <a:srgbClr val="49557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30" name="Freeform 407"/>
              <p:cNvSpPr>
                <a:spLocks/>
              </p:cNvSpPr>
              <p:nvPr/>
            </p:nvSpPr>
            <p:spPr bwMode="auto">
              <a:xfrm>
                <a:off x="4490" y="1130"/>
                <a:ext cx="32" cy="48"/>
              </a:xfrm>
              <a:custGeom>
                <a:avLst/>
                <a:gdLst>
                  <a:gd name="T0" fmla="*/ 21 w 32"/>
                  <a:gd name="T1" fmla="*/ 48 h 48"/>
                  <a:gd name="T2" fmla="*/ 16 w 32"/>
                  <a:gd name="T3" fmla="*/ 32 h 48"/>
                  <a:gd name="T4" fmla="*/ 0 w 32"/>
                  <a:gd name="T5" fmla="*/ 0 h 48"/>
                  <a:gd name="T6" fmla="*/ 26 w 32"/>
                  <a:gd name="T7" fmla="*/ 16 h 48"/>
                  <a:gd name="T8" fmla="*/ 32 w 32"/>
                  <a:gd name="T9" fmla="*/ 48 h 48"/>
                  <a:gd name="T10" fmla="*/ 21 w 32"/>
                  <a:gd name="T11" fmla="*/ 48 h 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2"/>
                  <a:gd name="T19" fmla="*/ 0 h 48"/>
                  <a:gd name="T20" fmla="*/ 32 w 32"/>
                  <a:gd name="T21" fmla="*/ 48 h 4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2" h="48">
                    <a:moveTo>
                      <a:pt x="21" y="48"/>
                    </a:moveTo>
                    <a:lnTo>
                      <a:pt x="16" y="32"/>
                    </a:lnTo>
                    <a:lnTo>
                      <a:pt x="0" y="0"/>
                    </a:lnTo>
                    <a:lnTo>
                      <a:pt x="26" y="16"/>
                    </a:lnTo>
                    <a:lnTo>
                      <a:pt x="32" y="48"/>
                    </a:lnTo>
                    <a:lnTo>
                      <a:pt x="21" y="48"/>
                    </a:lnTo>
                    <a:close/>
                  </a:path>
                </a:pathLst>
              </a:custGeom>
              <a:solidFill>
                <a:srgbClr val="49557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531" name="Freeform 408"/>
              <p:cNvSpPr>
                <a:spLocks/>
              </p:cNvSpPr>
              <p:nvPr/>
            </p:nvSpPr>
            <p:spPr bwMode="auto">
              <a:xfrm>
                <a:off x="4139" y="1109"/>
                <a:ext cx="26" cy="48"/>
              </a:xfrm>
              <a:custGeom>
                <a:avLst/>
                <a:gdLst>
                  <a:gd name="T0" fmla="*/ 0 w 26"/>
                  <a:gd name="T1" fmla="*/ 48 h 48"/>
                  <a:gd name="T2" fmla="*/ 26 w 26"/>
                  <a:gd name="T3" fmla="*/ 0 h 48"/>
                  <a:gd name="T4" fmla="*/ 10 w 26"/>
                  <a:gd name="T5" fmla="*/ 48 h 48"/>
                  <a:gd name="T6" fmla="*/ 0 w 26"/>
                  <a:gd name="T7" fmla="*/ 48 h 4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"/>
                  <a:gd name="T13" fmla="*/ 0 h 48"/>
                  <a:gd name="T14" fmla="*/ 26 w 26"/>
                  <a:gd name="T15" fmla="*/ 48 h 4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" h="48">
                    <a:moveTo>
                      <a:pt x="0" y="48"/>
                    </a:moveTo>
                    <a:lnTo>
                      <a:pt x="26" y="0"/>
                    </a:lnTo>
                    <a:lnTo>
                      <a:pt x="10" y="48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49557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</p:grpSp>
      <p:sp>
        <p:nvSpPr>
          <p:cNvPr id="37362" name="Rectangle 411"/>
          <p:cNvSpPr>
            <a:spLocks noChangeArrowheads="1"/>
          </p:cNvSpPr>
          <p:nvPr/>
        </p:nvSpPr>
        <p:spPr bwMode="auto">
          <a:xfrm>
            <a:off x="1426684" y="4006032"/>
            <a:ext cx="897731" cy="30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4079" name="Group 4078"/>
          <p:cNvGrpSpPr/>
          <p:nvPr/>
        </p:nvGrpSpPr>
        <p:grpSpPr>
          <a:xfrm>
            <a:off x="1640632" y="2636912"/>
            <a:ext cx="1594247" cy="1330325"/>
            <a:chOff x="3080792" y="2420888"/>
            <a:chExt cx="1594247" cy="1330325"/>
          </a:xfrm>
        </p:grpSpPr>
        <p:grpSp>
          <p:nvGrpSpPr>
            <p:cNvPr id="38587" name="Group 414"/>
            <p:cNvGrpSpPr>
              <a:grpSpLocks/>
            </p:cNvGrpSpPr>
            <p:nvPr/>
          </p:nvGrpSpPr>
          <p:grpSpPr bwMode="auto">
            <a:xfrm>
              <a:off x="3080792" y="2420888"/>
              <a:ext cx="1594247" cy="1330325"/>
              <a:chOff x="2469" y="1558"/>
              <a:chExt cx="927" cy="838"/>
            </a:xfrm>
          </p:grpSpPr>
          <p:sp>
            <p:nvSpPr>
              <p:cNvPr id="38296" name="Freeform 415"/>
              <p:cNvSpPr>
                <a:spLocks/>
              </p:cNvSpPr>
              <p:nvPr/>
            </p:nvSpPr>
            <p:spPr bwMode="auto">
              <a:xfrm>
                <a:off x="2753" y="2129"/>
                <a:ext cx="91" cy="59"/>
              </a:xfrm>
              <a:custGeom>
                <a:avLst/>
                <a:gdLst>
                  <a:gd name="T0" fmla="*/ 91 w 91"/>
                  <a:gd name="T1" fmla="*/ 32 h 59"/>
                  <a:gd name="T2" fmla="*/ 0 w 91"/>
                  <a:gd name="T3" fmla="*/ 0 h 59"/>
                  <a:gd name="T4" fmla="*/ 0 w 91"/>
                  <a:gd name="T5" fmla="*/ 32 h 59"/>
                  <a:gd name="T6" fmla="*/ 75 w 91"/>
                  <a:gd name="T7" fmla="*/ 59 h 59"/>
                  <a:gd name="T8" fmla="*/ 91 w 91"/>
                  <a:gd name="T9" fmla="*/ 59 h 59"/>
                  <a:gd name="T10" fmla="*/ 91 w 91"/>
                  <a:gd name="T11" fmla="*/ 59 h 59"/>
                  <a:gd name="T12" fmla="*/ 91 w 91"/>
                  <a:gd name="T13" fmla="*/ 32 h 5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1"/>
                  <a:gd name="T22" fmla="*/ 0 h 59"/>
                  <a:gd name="T23" fmla="*/ 91 w 91"/>
                  <a:gd name="T24" fmla="*/ 59 h 5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1" h="59">
                    <a:moveTo>
                      <a:pt x="91" y="32"/>
                    </a:moveTo>
                    <a:lnTo>
                      <a:pt x="0" y="0"/>
                    </a:lnTo>
                    <a:lnTo>
                      <a:pt x="0" y="32"/>
                    </a:lnTo>
                    <a:lnTo>
                      <a:pt x="75" y="59"/>
                    </a:lnTo>
                    <a:lnTo>
                      <a:pt x="91" y="59"/>
                    </a:lnTo>
                    <a:lnTo>
                      <a:pt x="91" y="32"/>
                    </a:lnTo>
                    <a:close/>
                  </a:path>
                </a:pathLst>
              </a:custGeom>
              <a:solidFill>
                <a:srgbClr val="615E5D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297" name="Freeform 416"/>
              <p:cNvSpPr>
                <a:spLocks/>
              </p:cNvSpPr>
              <p:nvPr/>
            </p:nvSpPr>
            <p:spPr bwMode="auto">
              <a:xfrm>
                <a:off x="3187" y="2081"/>
                <a:ext cx="193" cy="134"/>
              </a:xfrm>
              <a:custGeom>
                <a:avLst/>
                <a:gdLst>
                  <a:gd name="T0" fmla="*/ 0 w 193"/>
                  <a:gd name="T1" fmla="*/ 43 h 134"/>
                  <a:gd name="T2" fmla="*/ 5 w 193"/>
                  <a:gd name="T3" fmla="*/ 134 h 134"/>
                  <a:gd name="T4" fmla="*/ 10 w 193"/>
                  <a:gd name="T5" fmla="*/ 134 h 134"/>
                  <a:gd name="T6" fmla="*/ 16 w 193"/>
                  <a:gd name="T7" fmla="*/ 134 h 134"/>
                  <a:gd name="T8" fmla="*/ 101 w 193"/>
                  <a:gd name="T9" fmla="*/ 118 h 134"/>
                  <a:gd name="T10" fmla="*/ 187 w 193"/>
                  <a:gd name="T11" fmla="*/ 96 h 134"/>
                  <a:gd name="T12" fmla="*/ 187 w 193"/>
                  <a:gd name="T13" fmla="*/ 91 h 134"/>
                  <a:gd name="T14" fmla="*/ 193 w 193"/>
                  <a:gd name="T15" fmla="*/ 91 h 134"/>
                  <a:gd name="T16" fmla="*/ 187 w 193"/>
                  <a:gd name="T17" fmla="*/ 43 h 134"/>
                  <a:gd name="T18" fmla="*/ 182 w 193"/>
                  <a:gd name="T19" fmla="*/ 0 h 134"/>
                  <a:gd name="T20" fmla="*/ 176 w 193"/>
                  <a:gd name="T21" fmla="*/ 0 h 134"/>
                  <a:gd name="T22" fmla="*/ 10 w 193"/>
                  <a:gd name="T23" fmla="*/ 32 h 134"/>
                  <a:gd name="T24" fmla="*/ 0 w 193"/>
                  <a:gd name="T25" fmla="*/ 32 h 134"/>
                  <a:gd name="T26" fmla="*/ 0 w 193"/>
                  <a:gd name="T27" fmla="*/ 43 h 13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93"/>
                  <a:gd name="T43" fmla="*/ 0 h 134"/>
                  <a:gd name="T44" fmla="*/ 193 w 193"/>
                  <a:gd name="T45" fmla="*/ 134 h 134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93" h="134">
                    <a:moveTo>
                      <a:pt x="0" y="43"/>
                    </a:moveTo>
                    <a:lnTo>
                      <a:pt x="5" y="134"/>
                    </a:lnTo>
                    <a:lnTo>
                      <a:pt x="10" y="134"/>
                    </a:lnTo>
                    <a:lnTo>
                      <a:pt x="16" y="134"/>
                    </a:lnTo>
                    <a:lnTo>
                      <a:pt x="101" y="118"/>
                    </a:lnTo>
                    <a:lnTo>
                      <a:pt x="187" y="96"/>
                    </a:lnTo>
                    <a:lnTo>
                      <a:pt x="187" y="91"/>
                    </a:lnTo>
                    <a:lnTo>
                      <a:pt x="193" y="91"/>
                    </a:lnTo>
                    <a:lnTo>
                      <a:pt x="187" y="43"/>
                    </a:lnTo>
                    <a:lnTo>
                      <a:pt x="182" y="0"/>
                    </a:lnTo>
                    <a:lnTo>
                      <a:pt x="176" y="0"/>
                    </a:lnTo>
                    <a:lnTo>
                      <a:pt x="10" y="32"/>
                    </a:lnTo>
                    <a:lnTo>
                      <a:pt x="0" y="32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298" name="Freeform 417"/>
              <p:cNvSpPr>
                <a:spLocks/>
              </p:cNvSpPr>
              <p:nvPr/>
            </p:nvSpPr>
            <p:spPr bwMode="auto">
              <a:xfrm>
                <a:off x="2495" y="1846"/>
                <a:ext cx="697" cy="379"/>
              </a:xfrm>
              <a:custGeom>
                <a:avLst/>
                <a:gdLst>
                  <a:gd name="T0" fmla="*/ 697 w 697"/>
                  <a:gd name="T1" fmla="*/ 86 h 379"/>
                  <a:gd name="T2" fmla="*/ 526 w 697"/>
                  <a:gd name="T3" fmla="*/ 107 h 379"/>
                  <a:gd name="T4" fmla="*/ 509 w 697"/>
                  <a:gd name="T5" fmla="*/ 107 h 379"/>
                  <a:gd name="T6" fmla="*/ 0 w 697"/>
                  <a:gd name="T7" fmla="*/ 0 h 379"/>
                  <a:gd name="T8" fmla="*/ 6 w 697"/>
                  <a:gd name="T9" fmla="*/ 187 h 379"/>
                  <a:gd name="T10" fmla="*/ 515 w 697"/>
                  <a:gd name="T11" fmla="*/ 379 h 379"/>
                  <a:gd name="T12" fmla="*/ 552 w 697"/>
                  <a:gd name="T13" fmla="*/ 369 h 379"/>
                  <a:gd name="T14" fmla="*/ 697 w 697"/>
                  <a:gd name="T15" fmla="*/ 113 h 379"/>
                  <a:gd name="T16" fmla="*/ 697 w 697"/>
                  <a:gd name="T17" fmla="*/ 86 h 37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97"/>
                  <a:gd name="T28" fmla="*/ 0 h 379"/>
                  <a:gd name="T29" fmla="*/ 697 w 697"/>
                  <a:gd name="T30" fmla="*/ 379 h 37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97" h="379">
                    <a:moveTo>
                      <a:pt x="697" y="86"/>
                    </a:moveTo>
                    <a:lnTo>
                      <a:pt x="526" y="107"/>
                    </a:lnTo>
                    <a:lnTo>
                      <a:pt x="509" y="107"/>
                    </a:lnTo>
                    <a:lnTo>
                      <a:pt x="0" y="0"/>
                    </a:lnTo>
                    <a:lnTo>
                      <a:pt x="6" y="187"/>
                    </a:lnTo>
                    <a:lnTo>
                      <a:pt x="515" y="379"/>
                    </a:lnTo>
                    <a:lnTo>
                      <a:pt x="552" y="369"/>
                    </a:lnTo>
                    <a:lnTo>
                      <a:pt x="697" y="113"/>
                    </a:lnTo>
                    <a:lnTo>
                      <a:pt x="697" y="86"/>
                    </a:lnTo>
                    <a:close/>
                  </a:path>
                </a:pathLst>
              </a:custGeom>
              <a:solidFill>
                <a:srgbClr val="0074C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299" name="Freeform 418"/>
              <p:cNvSpPr>
                <a:spLocks/>
              </p:cNvSpPr>
              <p:nvPr/>
            </p:nvSpPr>
            <p:spPr bwMode="auto">
              <a:xfrm>
                <a:off x="3047" y="1937"/>
                <a:ext cx="338" cy="369"/>
              </a:xfrm>
              <a:custGeom>
                <a:avLst/>
                <a:gdLst>
                  <a:gd name="T0" fmla="*/ 316 w 338"/>
                  <a:gd name="T1" fmla="*/ 112 h 369"/>
                  <a:gd name="T2" fmla="*/ 311 w 338"/>
                  <a:gd name="T3" fmla="*/ 102 h 369"/>
                  <a:gd name="T4" fmla="*/ 263 w 338"/>
                  <a:gd name="T5" fmla="*/ 80 h 369"/>
                  <a:gd name="T6" fmla="*/ 247 w 338"/>
                  <a:gd name="T7" fmla="*/ 54 h 369"/>
                  <a:gd name="T8" fmla="*/ 231 w 338"/>
                  <a:gd name="T9" fmla="*/ 32 h 369"/>
                  <a:gd name="T10" fmla="*/ 199 w 338"/>
                  <a:gd name="T11" fmla="*/ 0 h 369"/>
                  <a:gd name="T12" fmla="*/ 177 w 338"/>
                  <a:gd name="T13" fmla="*/ 0 h 369"/>
                  <a:gd name="T14" fmla="*/ 177 w 338"/>
                  <a:gd name="T15" fmla="*/ 16 h 369"/>
                  <a:gd name="T16" fmla="*/ 70 w 338"/>
                  <a:gd name="T17" fmla="*/ 32 h 369"/>
                  <a:gd name="T18" fmla="*/ 43 w 338"/>
                  <a:gd name="T19" fmla="*/ 22 h 369"/>
                  <a:gd name="T20" fmla="*/ 22 w 338"/>
                  <a:gd name="T21" fmla="*/ 27 h 369"/>
                  <a:gd name="T22" fmla="*/ 22 w 338"/>
                  <a:gd name="T23" fmla="*/ 32 h 369"/>
                  <a:gd name="T24" fmla="*/ 11 w 338"/>
                  <a:gd name="T25" fmla="*/ 64 h 369"/>
                  <a:gd name="T26" fmla="*/ 11 w 338"/>
                  <a:gd name="T27" fmla="*/ 70 h 369"/>
                  <a:gd name="T28" fmla="*/ 27 w 338"/>
                  <a:gd name="T29" fmla="*/ 75 h 369"/>
                  <a:gd name="T30" fmla="*/ 27 w 338"/>
                  <a:gd name="T31" fmla="*/ 80 h 369"/>
                  <a:gd name="T32" fmla="*/ 11 w 338"/>
                  <a:gd name="T33" fmla="*/ 86 h 369"/>
                  <a:gd name="T34" fmla="*/ 6 w 338"/>
                  <a:gd name="T35" fmla="*/ 102 h 369"/>
                  <a:gd name="T36" fmla="*/ 0 w 338"/>
                  <a:gd name="T37" fmla="*/ 192 h 369"/>
                  <a:gd name="T38" fmla="*/ 0 w 338"/>
                  <a:gd name="T39" fmla="*/ 294 h 369"/>
                  <a:gd name="T40" fmla="*/ 65 w 338"/>
                  <a:gd name="T41" fmla="*/ 321 h 369"/>
                  <a:gd name="T42" fmla="*/ 70 w 338"/>
                  <a:gd name="T43" fmla="*/ 321 h 369"/>
                  <a:gd name="T44" fmla="*/ 81 w 338"/>
                  <a:gd name="T45" fmla="*/ 331 h 369"/>
                  <a:gd name="T46" fmla="*/ 97 w 338"/>
                  <a:gd name="T47" fmla="*/ 347 h 369"/>
                  <a:gd name="T48" fmla="*/ 134 w 338"/>
                  <a:gd name="T49" fmla="*/ 363 h 369"/>
                  <a:gd name="T50" fmla="*/ 134 w 338"/>
                  <a:gd name="T51" fmla="*/ 363 h 369"/>
                  <a:gd name="T52" fmla="*/ 150 w 338"/>
                  <a:gd name="T53" fmla="*/ 363 h 369"/>
                  <a:gd name="T54" fmla="*/ 166 w 338"/>
                  <a:gd name="T55" fmla="*/ 369 h 369"/>
                  <a:gd name="T56" fmla="*/ 252 w 338"/>
                  <a:gd name="T57" fmla="*/ 347 h 369"/>
                  <a:gd name="T58" fmla="*/ 338 w 338"/>
                  <a:gd name="T59" fmla="*/ 326 h 369"/>
                  <a:gd name="T60" fmla="*/ 333 w 338"/>
                  <a:gd name="T61" fmla="*/ 283 h 369"/>
                  <a:gd name="T62" fmla="*/ 333 w 338"/>
                  <a:gd name="T63" fmla="*/ 240 h 369"/>
                  <a:gd name="T64" fmla="*/ 333 w 338"/>
                  <a:gd name="T65" fmla="*/ 240 h 369"/>
                  <a:gd name="T66" fmla="*/ 241 w 338"/>
                  <a:gd name="T67" fmla="*/ 262 h 369"/>
                  <a:gd name="T68" fmla="*/ 156 w 338"/>
                  <a:gd name="T69" fmla="*/ 278 h 369"/>
                  <a:gd name="T70" fmla="*/ 150 w 338"/>
                  <a:gd name="T71" fmla="*/ 278 h 369"/>
                  <a:gd name="T72" fmla="*/ 145 w 338"/>
                  <a:gd name="T73" fmla="*/ 278 h 369"/>
                  <a:gd name="T74" fmla="*/ 140 w 338"/>
                  <a:gd name="T75" fmla="*/ 192 h 369"/>
                  <a:gd name="T76" fmla="*/ 140 w 338"/>
                  <a:gd name="T77" fmla="*/ 176 h 369"/>
                  <a:gd name="T78" fmla="*/ 150 w 338"/>
                  <a:gd name="T79" fmla="*/ 176 h 369"/>
                  <a:gd name="T80" fmla="*/ 231 w 338"/>
                  <a:gd name="T81" fmla="*/ 160 h 369"/>
                  <a:gd name="T82" fmla="*/ 316 w 338"/>
                  <a:gd name="T83" fmla="*/ 144 h 369"/>
                  <a:gd name="T84" fmla="*/ 316 w 338"/>
                  <a:gd name="T85" fmla="*/ 144 h 369"/>
                  <a:gd name="T86" fmla="*/ 322 w 338"/>
                  <a:gd name="T87" fmla="*/ 144 h 369"/>
                  <a:gd name="T88" fmla="*/ 316 w 338"/>
                  <a:gd name="T89" fmla="*/ 112 h 369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338"/>
                  <a:gd name="T136" fmla="*/ 0 h 369"/>
                  <a:gd name="T137" fmla="*/ 338 w 338"/>
                  <a:gd name="T138" fmla="*/ 369 h 369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338" h="369">
                    <a:moveTo>
                      <a:pt x="316" y="112"/>
                    </a:moveTo>
                    <a:lnTo>
                      <a:pt x="311" y="102"/>
                    </a:lnTo>
                    <a:lnTo>
                      <a:pt x="263" y="80"/>
                    </a:lnTo>
                    <a:lnTo>
                      <a:pt x="247" y="54"/>
                    </a:lnTo>
                    <a:lnTo>
                      <a:pt x="231" y="32"/>
                    </a:lnTo>
                    <a:lnTo>
                      <a:pt x="199" y="0"/>
                    </a:lnTo>
                    <a:lnTo>
                      <a:pt x="177" y="0"/>
                    </a:lnTo>
                    <a:lnTo>
                      <a:pt x="177" y="16"/>
                    </a:lnTo>
                    <a:lnTo>
                      <a:pt x="70" y="32"/>
                    </a:lnTo>
                    <a:lnTo>
                      <a:pt x="43" y="22"/>
                    </a:lnTo>
                    <a:lnTo>
                      <a:pt x="22" y="27"/>
                    </a:lnTo>
                    <a:lnTo>
                      <a:pt x="22" y="32"/>
                    </a:lnTo>
                    <a:lnTo>
                      <a:pt x="11" y="64"/>
                    </a:lnTo>
                    <a:lnTo>
                      <a:pt x="11" y="70"/>
                    </a:lnTo>
                    <a:lnTo>
                      <a:pt x="27" y="75"/>
                    </a:lnTo>
                    <a:lnTo>
                      <a:pt x="27" y="80"/>
                    </a:lnTo>
                    <a:lnTo>
                      <a:pt x="11" y="86"/>
                    </a:lnTo>
                    <a:lnTo>
                      <a:pt x="6" y="102"/>
                    </a:lnTo>
                    <a:lnTo>
                      <a:pt x="0" y="192"/>
                    </a:lnTo>
                    <a:lnTo>
                      <a:pt x="0" y="294"/>
                    </a:lnTo>
                    <a:lnTo>
                      <a:pt x="65" y="321"/>
                    </a:lnTo>
                    <a:lnTo>
                      <a:pt x="70" y="321"/>
                    </a:lnTo>
                    <a:lnTo>
                      <a:pt x="81" y="331"/>
                    </a:lnTo>
                    <a:lnTo>
                      <a:pt x="97" y="347"/>
                    </a:lnTo>
                    <a:lnTo>
                      <a:pt x="134" y="363"/>
                    </a:lnTo>
                    <a:lnTo>
                      <a:pt x="150" y="363"/>
                    </a:lnTo>
                    <a:lnTo>
                      <a:pt x="166" y="369"/>
                    </a:lnTo>
                    <a:lnTo>
                      <a:pt x="252" y="347"/>
                    </a:lnTo>
                    <a:lnTo>
                      <a:pt x="338" y="326"/>
                    </a:lnTo>
                    <a:lnTo>
                      <a:pt x="333" y="283"/>
                    </a:lnTo>
                    <a:lnTo>
                      <a:pt x="333" y="240"/>
                    </a:lnTo>
                    <a:lnTo>
                      <a:pt x="241" y="262"/>
                    </a:lnTo>
                    <a:lnTo>
                      <a:pt x="156" y="278"/>
                    </a:lnTo>
                    <a:lnTo>
                      <a:pt x="150" y="278"/>
                    </a:lnTo>
                    <a:lnTo>
                      <a:pt x="145" y="278"/>
                    </a:lnTo>
                    <a:lnTo>
                      <a:pt x="140" y="192"/>
                    </a:lnTo>
                    <a:lnTo>
                      <a:pt x="140" y="176"/>
                    </a:lnTo>
                    <a:lnTo>
                      <a:pt x="150" y="176"/>
                    </a:lnTo>
                    <a:lnTo>
                      <a:pt x="231" y="160"/>
                    </a:lnTo>
                    <a:lnTo>
                      <a:pt x="316" y="144"/>
                    </a:lnTo>
                    <a:lnTo>
                      <a:pt x="322" y="144"/>
                    </a:lnTo>
                    <a:lnTo>
                      <a:pt x="316" y="112"/>
                    </a:lnTo>
                    <a:close/>
                  </a:path>
                </a:pathLst>
              </a:custGeom>
              <a:solidFill>
                <a:srgbClr val="0074C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00" name="Freeform 419"/>
              <p:cNvSpPr>
                <a:spLocks/>
              </p:cNvSpPr>
              <p:nvPr/>
            </p:nvSpPr>
            <p:spPr bwMode="auto">
              <a:xfrm>
                <a:off x="3144" y="2311"/>
                <a:ext cx="241" cy="75"/>
              </a:xfrm>
              <a:custGeom>
                <a:avLst/>
                <a:gdLst>
                  <a:gd name="T0" fmla="*/ 241 w 241"/>
                  <a:gd name="T1" fmla="*/ 0 h 75"/>
                  <a:gd name="T2" fmla="*/ 59 w 241"/>
                  <a:gd name="T3" fmla="*/ 43 h 75"/>
                  <a:gd name="T4" fmla="*/ 37 w 241"/>
                  <a:gd name="T5" fmla="*/ 43 h 75"/>
                  <a:gd name="T6" fmla="*/ 32 w 241"/>
                  <a:gd name="T7" fmla="*/ 43 h 75"/>
                  <a:gd name="T8" fmla="*/ 37 w 241"/>
                  <a:gd name="T9" fmla="*/ 37 h 75"/>
                  <a:gd name="T10" fmla="*/ 11 w 241"/>
                  <a:gd name="T11" fmla="*/ 32 h 75"/>
                  <a:gd name="T12" fmla="*/ 5 w 241"/>
                  <a:gd name="T13" fmla="*/ 32 h 75"/>
                  <a:gd name="T14" fmla="*/ 0 w 241"/>
                  <a:gd name="T15" fmla="*/ 32 h 75"/>
                  <a:gd name="T16" fmla="*/ 0 w 241"/>
                  <a:gd name="T17" fmla="*/ 64 h 75"/>
                  <a:gd name="T18" fmla="*/ 11 w 241"/>
                  <a:gd name="T19" fmla="*/ 69 h 75"/>
                  <a:gd name="T20" fmla="*/ 27 w 241"/>
                  <a:gd name="T21" fmla="*/ 75 h 75"/>
                  <a:gd name="T22" fmla="*/ 32 w 241"/>
                  <a:gd name="T23" fmla="*/ 75 h 75"/>
                  <a:gd name="T24" fmla="*/ 59 w 241"/>
                  <a:gd name="T25" fmla="*/ 64 h 75"/>
                  <a:gd name="T26" fmla="*/ 144 w 241"/>
                  <a:gd name="T27" fmla="*/ 43 h 75"/>
                  <a:gd name="T28" fmla="*/ 230 w 241"/>
                  <a:gd name="T29" fmla="*/ 21 h 75"/>
                  <a:gd name="T30" fmla="*/ 236 w 241"/>
                  <a:gd name="T31" fmla="*/ 11 h 75"/>
                  <a:gd name="T32" fmla="*/ 241 w 241"/>
                  <a:gd name="T33" fmla="*/ 0 h 75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41"/>
                  <a:gd name="T52" fmla="*/ 0 h 75"/>
                  <a:gd name="T53" fmla="*/ 241 w 241"/>
                  <a:gd name="T54" fmla="*/ 75 h 75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41" h="75">
                    <a:moveTo>
                      <a:pt x="241" y="0"/>
                    </a:moveTo>
                    <a:lnTo>
                      <a:pt x="59" y="43"/>
                    </a:lnTo>
                    <a:lnTo>
                      <a:pt x="37" y="43"/>
                    </a:lnTo>
                    <a:lnTo>
                      <a:pt x="32" y="43"/>
                    </a:lnTo>
                    <a:lnTo>
                      <a:pt x="37" y="37"/>
                    </a:lnTo>
                    <a:lnTo>
                      <a:pt x="11" y="32"/>
                    </a:lnTo>
                    <a:lnTo>
                      <a:pt x="5" y="32"/>
                    </a:lnTo>
                    <a:lnTo>
                      <a:pt x="0" y="32"/>
                    </a:lnTo>
                    <a:lnTo>
                      <a:pt x="0" y="64"/>
                    </a:lnTo>
                    <a:lnTo>
                      <a:pt x="11" y="69"/>
                    </a:lnTo>
                    <a:lnTo>
                      <a:pt x="27" y="75"/>
                    </a:lnTo>
                    <a:lnTo>
                      <a:pt x="32" y="75"/>
                    </a:lnTo>
                    <a:lnTo>
                      <a:pt x="59" y="64"/>
                    </a:lnTo>
                    <a:lnTo>
                      <a:pt x="144" y="43"/>
                    </a:lnTo>
                    <a:lnTo>
                      <a:pt x="230" y="21"/>
                    </a:lnTo>
                    <a:lnTo>
                      <a:pt x="236" y="11"/>
                    </a:lnTo>
                    <a:lnTo>
                      <a:pt x="241" y="0"/>
                    </a:lnTo>
                    <a:close/>
                  </a:path>
                </a:pathLst>
              </a:custGeom>
              <a:solidFill>
                <a:srgbClr val="0074C5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01" name="Freeform 420"/>
              <p:cNvSpPr>
                <a:spLocks/>
              </p:cNvSpPr>
              <p:nvPr/>
            </p:nvSpPr>
            <p:spPr bwMode="auto">
              <a:xfrm>
                <a:off x="2490" y="1841"/>
                <a:ext cx="707" cy="118"/>
              </a:xfrm>
              <a:custGeom>
                <a:avLst/>
                <a:gdLst>
                  <a:gd name="T0" fmla="*/ 0 w 707"/>
                  <a:gd name="T1" fmla="*/ 5 h 118"/>
                  <a:gd name="T2" fmla="*/ 514 w 707"/>
                  <a:gd name="T3" fmla="*/ 112 h 118"/>
                  <a:gd name="T4" fmla="*/ 531 w 707"/>
                  <a:gd name="T5" fmla="*/ 118 h 118"/>
                  <a:gd name="T6" fmla="*/ 707 w 707"/>
                  <a:gd name="T7" fmla="*/ 91 h 118"/>
                  <a:gd name="T8" fmla="*/ 707 w 707"/>
                  <a:gd name="T9" fmla="*/ 80 h 118"/>
                  <a:gd name="T10" fmla="*/ 531 w 707"/>
                  <a:gd name="T11" fmla="*/ 101 h 118"/>
                  <a:gd name="T12" fmla="*/ 509 w 707"/>
                  <a:gd name="T13" fmla="*/ 101 h 118"/>
                  <a:gd name="T14" fmla="*/ 0 w 707"/>
                  <a:gd name="T15" fmla="*/ 0 h 118"/>
                  <a:gd name="T16" fmla="*/ 0 w 707"/>
                  <a:gd name="T17" fmla="*/ 5 h 1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07"/>
                  <a:gd name="T28" fmla="*/ 0 h 118"/>
                  <a:gd name="T29" fmla="*/ 707 w 707"/>
                  <a:gd name="T30" fmla="*/ 118 h 11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07" h="118">
                    <a:moveTo>
                      <a:pt x="0" y="5"/>
                    </a:moveTo>
                    <a:lnTo>
                      <a:pt x="514" y="112"/>
                    </a:lnTo>
                    <a:lnTo>
                      <a:pt x="531" y="118"/>
                    </a:lnTo>
                    <a:lnTo>
                      <a:pt x="707" y="91"/>
                    </a:lnTo>
                    <a:lnTo>
                      <a:pt x="707" y="80"/>
                    </a:lnTo>
                    <a:lnTo>
                      <a:pt x="531" y="101"/>
                    </a:lnTo>
                    <a:lnTo>
                      <a:pt x="509" y="101"/>
                    </a:lnTo>
                    <a:lnTo>
                      <a:pt x="0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72706F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02" name="Freeform 421"/>
              <p:cNvSpPr>
                <a:spLocks/>
              </p:cNvSpPr>
              <p:nvPr/>
            </p:nvSpPr>
            <p:spPr bwMode="auto">
              <a:xfrm>
                <a:off x="3192" y="2087"/>
                <a:ext cx="182" cy="112"/>
              </a:xfrm>
              <a:custGeom>
                <a:avLst/>
                <a:gdLst>
                  <a:gd name="T0" fmla="*/ 0 w 182"/>
                  <a:gd name="T1" fmla="*/ 37 h 112"/>
                  <a:gd name="T2" fmla="*/ 0 w 182"/>
                  <a:gd name="T3" fmla="*/ 101 h 112"/>
                  <a:gd name="T4" fmla="*/ 5 w 182"/>
                  <a:gd name="T5" fmla="*/ 106 h 112"/>
                  <a:gd name="T6" fmla="*/ 16 w 182"/>
                  <a:gd name="T7" fmla="*/ 112 h 112"/>
                  <a:gd name="T8" fmla="*/ 96 w 182"/>
                  <a:gd name="T9" fmla="*/ 90 h 112"/>
                  <a:gd name="T10" fmla="*/ 182 w 182"/>
                  <a:gd name="T11" fmla="*/ 74 h 112"/>
                  <a:gd name="T12" fmla="*/ 182 w 182"/>
                  <a:gd name="T13" fmla="*/ 69 h 112"/>
                  <a:gd name="T14" fmla="*/ 177 w 182"/>
                  <a:gd name="T15" fmla="*/ 0 h 112"/>
                  <a:gd name="T16" fmla="*/ 171 w 182"/>
                  <a:gd name="T17" fmla="*/ 0 h 112"/>
                  <a:gd name="T18" fmla="*/ 171 w 182"/>
                  <a:gd name="T19" fmla="*/ 32 h 112"/>
                  <a:gd name="T20" fmla="*/ 177 w 182"/>
                  <a:gd name="T21" fmla="*/ 69 h 112"/>
                  <a:gd name="T22" fmla="*/ 129 w 182"/>
                  <a:gd name="T23" fmla="*/ 42 h 112"/>
                  <a:gd name="T24" fmla="*/ 129 w 182"/>
                  <a:gd name="T25" fmla="*/ 10 h 112"/>
                  <a:gd name="T26" fmla="*/ 64 w 182"/>
                  <a:gd name="T27" fmla="*/ 21 h 112"/>
                  <a:gd name="T28" fmla="*/ 0 w 182"/>
                  <a:gd name="T29" fmla="*/ 32 h 112"/>
                  <a:gd name="T30" fmla="*/ 0 w 182"/>
                  <a:gd name="T31" fmla="*/ 37 h 11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82"/>
                  <a:gd name="T49" fmla="*/ 0 h 112"/>
                  <a:gd name="T50" fmla="*/ 182 w 182"/>
                  <a:gd name="T51" fmla="*/ 112 h 11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82" h="112">
                    <a:moveTo>
                      <a:pt x="0" y="37"/>
                    </a:moveTo>
                    <a:lnTo>
                      <a:pt x="0" y="101"/>
                    </a:lnTo>
                    <a:lnTo>
                      <a:pt x="5" y="106"/>
                    </a:lnTo>
                    <a:lnTo>
                      <a:pt x="16" y="112"/>
                    </a:lnTo>
                    <a:lnTo>
                      <a:pt x="96" y="90"/>
                    </a:lnTo>
                    <a:lnTo>
                      <a:pt x="182" y="74"/>
                    </a:lnTo>
                    <a:lnTo>
                      <a:pt x="182" y="69"/>
                    </a:lnTo>
                    <a:lnTo>
                      <a:pt x="177" y="0"/>
                    </a:lnTo>
                    <a:lnTo>
                      <a:pt x="171" y="0"/>
                    </a:lnTo>
                    <a:lnTo>
                      <a:pt x="171" y="32"/>
                    </a:lnTo>
                    <a:lnTo>
                      <a:pt x="177" y="69"/>
                    </a:lnTo>
                    <a:lnTo>
                      <a:pt x="129" y="42"/>
                    </a:lnTo>
                    <a:lnTo>
                      <a:pt x="129" y="10"/>
                    </a:lnTo>
                    <a:lnTo>
                      <a:pt x="64" y="21"/>
                    </a:lnTo>
                    <a:lnTo>
                      <a:pt x="0" y="32"/>
                    </a:lnTo>
                    <a:lnTo>
                      <a:pt x="0" y="37"/>
                    </a:lnTo>
                    <a:close/>
                  </a:path>
                </a:pathLst>
              </a:custGeom>
              <a:solidFill>
                <a:srgbClr val="95949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03" name="Freeform 422"/>
              <p:cNvSpPr>
                <a:spLocks/>
              </p:cNvSpPr>
              <p:nvPr/>
            </p:nvSpPr>
            <p:spPr bwMode="auto">
              <a:xfrm>
                <a:off x="3321" y="2087"/>
                <a:ext cx="48" cy="69"/>
              </a:xfrm>
              <a:custGeom>
                <a:avLst/>
                <a:gdLst>
                  <a:gd name="T0" fmla="*/ 42 w 48"/>
                  <a:gd name="T1" fmla="*/ 0 h 69"/>
                  <a:gd name="T2" fmla="*/ 0 w 48"/>
                  <a:gd name="T3" fmla="*/ 10 h 69"/>
                  <a:gd name="T4" fmla="*/ 0 w 48"/>
                  <a:gd name="T5" fmla="*/ 42 h 69"/>
                  <a:gd name="T6" fmla="*/ 48 w 48"/>
                  <a:gd name="T7" fmla="*/ 69 h 69"/>
                  <a:gd name="T8" fmla="*/ 42 w 48"/>
                  <a:gd name="T9" fmla="*/ 32 h 69"/>
                  <a:gd name="T10" fmla="*/ 42 w 48"/>
                  <a:gd name="T11" fmla="*/ 0 h 6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8"/>
                  <a:gd name="T19" fmla="*/ 0 h 69"/>
                  <a:gd name="T20" fmla="*/ 48 w 48"/>
                  <a:gd name="T21" fmla="*/ 69 h 6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8" h="69">
                    <a:moveTo>
                      <a:pt x="42" y="0"/>
                    </a:moveTo>
                    <a:lnTo>
                      <a:pt x="0" y="10"/>
                    </a:lnTo>
                    <a:lnTo>
                      <a:pt x="0" y="42"/>
                    </a:lnTo>
                    <a:lnTo>
                      <a:pt x="48" y="69"/>
                    </a:lnTo>
                    <a:lnTo>
                      <a:pt x="42" y="32"/>
                    </a:lnTo>
                    <a:lnTo>
                      <a:pt x="42" y="0"/>
                    </a:lnTo>
                    <a:close/>
                  </a:path>
                </a:pathLst>
              </a:custGeom>
              <a:solidFill>
                <a:srgbClr val="DEDED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04" name="Freeform 423"/>
              <p:cNvSpPr>
                <a:spLocks/>
              </p:cNvSpPr>
              <p:nvPr/>
            </p:nvSpPr>
            <p:spPr bwMode="auto">
              <a:xfrm>
                <a:off x="3219" y="2204"/>
                <a:ext cx="155" cy="59"/>
              </a:xfrm>
              <a:custGeom>
                <a:avLst/>
                <a:gdLst>
                  <a:gd name="T0" fmla="*/ 0 w 155"/>
                  <a:gd name="T1" fmla="*/ 32 h 59"/>
                  <a:gd name="T2" fmla="*/ 75 w 155"/>
                  <a:gd name="T3" fmla="*/ 16 h 59"/>
                  <a:gd name="T4" fmla="*/ 155 w 155"/>
                  <a:gd name="T5" fmla="*/ 0 h 59"/>
                  <a:gd name="T6" fmla="*/ 155 w 155"/>
                  <a:gd name="T7" fmla="*/ 21 h 59"/>
                  <a:gd name="T8" fmla="*/ 75 w 155"/>
                  <a:gd name="T9" fmla="*/ 37 h 59"/>
                  <a:gd name="T10" fmla="*/ 0 w 155"/>
                  <a:gd name="T11" fmla="*/ 59 h 59"/>
                  <a:gd name="T12" fmla="*/ 0 w 155"/>
                  <a:gd name="T13" fmla="*/ 32 h 5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5"/>
                  <a:gd name="T22" fmla="*/ 0 h 59"/>
                  <a:gd name="T23" fmla="*/ 155 w 155"/>
                  <a:gd name="T24" fmla="*/ 59 h 5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5" h="59">
                    <a:moveTo>
                      <a:pt x="0" y="32"/>
                    </a:moveTo>
                    <a:lnTo>
                      <a:pt x="75" y="16"/>
                    </a:lnTo>
                    <a:lnTo>
                      <a:pt x="155" y="0"/>
                    </a:lnTo>
                    <a:lnTo>
                      <a:pt x="155" y="21"/>
                    </a:lnTo>
                    <a:lnTo>
                      <a:pt x="75" y="37"/>
                    </a:lnTo>
                    <a:lnTo>
                      <a:pt x="0" y="59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05" name="Freeform 424"/>
              <p:cNvSpPr>
                <a:spLocks/>
              </p:cNvSpPr>
              <p:nvPr/>
            </p:nvSpPr>
            <p:spPr bwMode="auto">
              <a:xfrm>
                <a:off x="3224" y="2231"/>
                <a:ext cx="145" cy="53"/>
              </a:xfrm>
              <a:custGeom>
                <a:avLst/>
                <a:gdLst>
                  <a:gd name="T0" fmla="*/ 145 w 145"/>
                  <a:gd name="T1" fmla="*/ 0 h 53"/>
                  <a:gd name="T2" fmla="*/ 70 w 145"/>
                  <a:gd name="T3" fmla="*/ 21 h 53"/>
                  <a:gd name="T4" fmla="*/ 0 w 145"/>
                  <a:gd name="T5" fmla="*/ 37 h 53"/>
                  <a:gd name="T6" fmla="*/ 0 w 145"/>
                  <a:gd name="T7" fmla="*/ 53 h 53"/>
                  <a:gd name="T8" fmla="*/ 70 w 145"/>
                  <a:gd name="T9" fmla="*/ 32 h 53"/>
                  <a:gd name="T10" fmla="*/ 145 w 145"/>
                  <a:gd name="T11" fmla="*/ 16 h 53"/>
                  <a:gd name="T12" fmla="*/ 145 w 145"/>
                  <a:gd name="T13" fmla="*/ 0 h 5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5"/>
                  <a:gd name="T22" fmla="*/ 0 h 53"/>
                  <a:gd name="T23" fmla="*/ 145 w 145"/>
                  <a:gd name="T24" fmla="*/ 53 h 5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5" h="53">
                    <a:moveTo>
                      <a:pt x="145" y="0"/>
                    </a:moveTo>
                    <a:lnTo>
                      <a:pt x="70" y="21"/>
                    </a:lnTo>
                    <a:lnTo>
                      <a:pt x="0" y="37"/>
                    </a:lnTo>
                    <a:lnTo>
                      <a:pt x="0" y="53"/>
                    </a:lnTo>
                    <a:lnTo>
                      <a:pt x="70" y="32"/>
                    </a:lnTo>
                    <a:lnTo>
                      <a:pt x="145" y="16"/>
                    </a:lnTo>
                    <a:lnTo>
                      <a:pt x="145" y="0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06" name="Freeform 425"/>
              <p:cNvSpPr>
                <a:spLocks/>
              </p:cNvSpPr>
              <p:nvPr/>
            </p:nvSpPr>
            <p:spPr bwMode="auto">
              <a:xfrm>
                <a:off x="3224" y="2252"/>
                <a:ext cx="145" cy="43"/>
              </a:xfrm>
              <a:custGeom>
                <a:avLst/>
                <a:gdLst>
                  <a:gd name="T0" fmla="*/ 0 w 145"/>
                  <a:gd name="T1" fmla="*/ 32 h 43"/>
                  <a:gd name="T2" fmla="*/ 70 w 145"/>
                  <a:gd name="T3" fmla="*/ 16 h 43"/>
                  <a:gd name="T4" fmla="*/ 145 w 145"/>
                  <a:gd name="T5" fmla="*/ 0 h 43"/>
                  <a:gd name="T6" fmla="*/ 145 w 145"/>
                  <a:gd name="T7" fmla="*/ 6 h 43"/>
                  <a:gd name="T8" fmla="*/ 70 w 145"/>
                  <a:gd name="T9" fmla="*/ 22 h 43"/>
                  <a:gd name="T10" fmla="*/ 0 w 145"/>
                  <a:gd name="T11" fmla="*/ 43 h 43"/>
                  <a:gd name="T12" fmla="*/ 0 w 145"/>
                  <a:gd name="T13" fmla="*/ 32 h 4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5"/>
                  <a:gd name="T22" fmla="*/ 0 h 43"/>
                  <a:gd name="T23" fmla="*/ 145 w 145"/>
                  <a:gd name="T24" fmla="*/ 43 h 4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5" h="43">
                    <a:moveTo>
                      <a:pt x="0" y="32"/>
                    </a:moveTo>
                    <a:lnTo>
                      <a:pt x="70" y="16"/>
                    </a:lnTo>
                    <a:lnTo>
                      <a:pt x="145" y="0"/>
                    </a:lnTo>
                    <a:lnTo>
                      <a:pt x="145" y="6"/>
                    </a:lnTo>
                    <a:lnTo>
                      <a:pt x="70" y="22"/>
                    </a:lnTo>
                    <a:lnTo>
                      <a:pt x="0" y="43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07" name="Freeform 426"/>
              <p:cNvSpPr>
                <a:spLocks/>
              </p:cNvSpPr>
              <p:nvPr/>
            </p:nvSpPr>
            <p:spPr bwMode="auto">
              <a:xfrm>
                <a:off x="3262" y="2231"/>
                <a:ext cx="64" cy="16"/>
              </a:xfrm>
              <a:custGeom>
                <a:avLst/>
                <a:gdLst>
                  <a:gd name="T0" fmla="*/ 0 w 64"/>
                  <a:gd name="T1" fmla="*/ 16 h 16"/>
                  <a:gd name="T2" fmla="*/ 64 w 64"/>
                  <a:gd name="T3" fmla="*/ 0 h 16"/>
                  <a:gd name="T4" fmla="*/ 64 w 64"/>
                  <a:gd name="T5" fmla="*/ 5 h 16"/>
                  <a:gd name="T6" fmla="*/ 32 w 64"/>
                  <a:gd name="T7" fmla="*/ 10 h 16"/>
                  <a:gd name="T8" fmla="*/ 0 w 64"/>
                  <a:gd name="T9" fmla="*/ 16 h 16"/>
                  <a:gd name="T10" fmla="*/ 0 w 64"/>
                  <a:gd name="T11" fmla="*/ 16 h 1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4"/>
                  <a:gd name="T19" fmla="*/ 0 h 16"/>
                  <a:gd name="T20" fmla="*/ 64 w 64"/>
                  <a:gd name="T21" fmla="*/ 16 h 1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4" h="16">
                    <a:moveTo>
                      <a:pt x="0" y="16"/>
                    </a:moveTo>
                    <a:lnTo>
                      <a:pt x="64" y="0"/>
                    </a:lnTo>
                    <a:lnTo>
                      <a:pt x="64" y="5"/>
                    </a:lnTo>
                    <a:lnTo>
                      <a:pt x="32" y="10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3D393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08" name="Freeform 427"/>
              <p:cNvSpPr>
                <a:spLocks/>
              </p:cNvSpPr>
              <p:nvPr/>
            </p:nvSpPr>
            <p:spPr bwMode="auto">
              <a:xfrm>
                <a:off x="3262" y="2220"/>
                <a:ext cx="64" cy="16"/>
              </a:xfrm>
              <a:custGeom>
                <a:avLst/>
                <a:gdLst>
                  <a:gd name="T0" fmla="*/ 0 w 64"/>
                  <a:gd name="T1" fmla="*/ 11 h 16"/>
                  <a:gd name="T2" fmla="*/ 32 w 64"/>
                  <a:gd name="T3" fmla="*/ 5 h 16"/>
                  <a:gd name="T4" fmla="*/ 64 w 64"/>
                  <a:gd name="T5" fmla="*/ 0 h 16"/>
                  <a:gd name="T6" fmla="*/ 64 w 64"/>
                  <a:gd name="T7" fmla="*/ 0 h 16"/>
                  <a:gd name="T8" fmla="*/ 0 w 64"/>
                  <a:gd name="T9" fmla="*/ 16 h 16"/>
                  <a:gd name="T10" fmla="*/ 0 w 64"/>
                  <a:gd name="T11" fmla="*/ 11 h 1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4"/>
                  <a:gd name="T19" fmla="*/ 0 h 16"/>
                  <a:gd name="T20" fmla="*/ 64 w 64"/>
                  <a:gd name="T21" fmla="*/ 16 h 1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4" h="16">
                    <a:moveTo>
                      <a:pt x="0" y="11"/>
                    </a:moveTo>
                    <a:lnTo>
                      <a:pt x="32" y="5"/>
                    </a:lnTo>
                    <a:lnTo>
                      <a:pt x="64" y="0"/>
                    </a:lnTo>
                    <a:lnTo>
                      <a:pt x="0" y="16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3D393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09" name="Freeform 428"/>
              <p:cNvSpPr>
                <a:spLocks/>
              </p:cNvSpPr>
              <p:nvPr/>
            </p:nvSpPr>
            <p:spPr bwMode="auto">
              <a:xfrm>
                <a:off x="3262" y="2225"/>
                <a:ext cx="64" cy="16"/>
              </a:xfrm>
              <a:custGeom>
                <a:avLst/>
                <a:gdLst>
                  <a:gd name="T0" fmla="*/ 0 w 64"/>
                  <a:gd name="T1" fmla="*/ 11 h 16"/>
                  <a:gd name="T2" fmla="*/ 32 w 64"/>
                  <a:gd name="T3" fmla="*/ 6 h 16"/>
                  <a:gd name="T4" fmla="*/ 64 w 64"/>
                  <a:gd name="T5" fmla="*/ 0 h 16"/>
                  <a:gd name="T6" fmla="*/ 64 w 64"/>
                  <a:gd name="T7" fmla="*/ 0 h 16"/>
                  <a:gd name="T8" fmla="*/ 32 w 64"/>
                  <a:gd name="T9" fmla="*/ 6 h 16"/>
                  <a:gd name="T10" fmla="*/ 0 w 64"/>
                  <a:gd name="T11" fmla="*/ 16 h 16"/>
                  <a:gd name="T12" fmla="*/ 0 w 64"/>
                  <a:gd name="T13" fmla="*/ 11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4"/>
                  <a:gd name="T22" fmla="*/ 0 h 16"/>
                  <a:gd name="T23" fmla="*/ 64 w 64"/>
                  <a:gd name="T24" fmla="*/ 16 h 1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4" h="16">
                    <a:moveTo>
                      <a:pt x="0" y="11"/>
                    </a:moveTo>
                    <a:lnTo>
                      <a:pt x="32" y="6"/>
                    </a:lnTo>
                    <a:lnTo>
                      <a:pt x="64" y="0"/>
                    </a:lnTo>
                    <a:lnTo>
                      <a:pt x="32" y="6"/>
                    </a:lnTo>
                    <a:lnTo>
                      <a:pt x="0" y="16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3D393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10" name="Freeform 429"/>
              <p:cNvSpPr>
                <a:spLocks/>
              </p:cNvSpPr>
              <p:nvPr/>
            </p:nvSpPr>
            <p:spPr bwMode="auto">
              <a:xfrm>
                <a:off x="3176" y="2263"/>
                <a:ext cx="209" cy="91"/>
              </a:xfrm>
              <a:custGeom>
                <a:avLst/>
                <a:gdLst>
                  <a:gd name="T0" fmla="*/ 204 w 209"/>
                  <a:gd name="T1" fmla="*/ 0 h 91"/>
                  <a:gd name="T2" fmla="*/ 209 w 209"/>
                  <a:gd name="T3" fmla="*/ 5 h 91"/>
                  <a:gd name="T4" fmla="*/ 209 w 209"/>
                  <a:gd name="T5" fmla="*/ 43 h 91"/>
                  <a:gd name="T6" fmla="*/ 209 w 209"/>
                  <a:gd name="T7" fmla="*/ 48 h 91"/>
                  <a:gd name="T8" fmla="*/ 118 w 209"/>
                  <a:gd name="T9" fmla="*/ 69 h 91"/>
                  <a:gd name="T10" fmla="*/ 27 w 209"/>
                  <a:gd name="T11" fmla="*/ 91 h 91"/>
                  <a:gd name="T12" fmla="*/ 11 w 209"/>
                  <a:gd name="T13" fmla="*/ 91 h 91"/>
                  <a:gd name="T14" fmla="*/ 5 w 209"/>
                  <a:gd name="T15" fmla="*/ 91 h 91"/>
                  <a:gd name="T16" fmla="*/ 0 w 209"/>
                  <a:gd name="T17" fmla="*/ 85 h 91"/>
                  <a:gd name="T18" fmla="*/ 5 w 209"/>
                  <a:gd name="T19" fmla="*/ 48 h 91"/>
                  <a:gd name="T20" fmla="*/ 5 w 209"/>
                  <a:gd name="T21" fmla="*/ 43 h 91"/>
                  <a:gd name="T22" fmla="*/ 5 w 209"/>
                  <a:gd name="T23" fmla="*/ 43 h 91"/>
                  <a:gd name="T24" fmla="*/ 21 w 209"/>
                  <a:gd name="T25" fmla="*/ 43 h 91"/>
                  <a:gd name="T26" fmla="*/ 37 w 209"/>
                  <a:gd name="T27" fmla="*/ 43 h 91"/>
                  <a:gd name="T28" fmla="*/ 37 w 209"/>
                  <a:gd name="T29" fmla="*/ 37 h 91"/>
                  <a:gd name="T30" fmla="*/ 118 w 209"/>
                  <a:gd name="T31" fmla="*/ 21 h 91"/>
                  <a:gd name="T32" fmla="*/ 204 w 209"/>
                  <a:gd name="T33" fmla="*/ 0 h 9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09"/>
                  <a:gd name="T52" fmla="*/ 0 h 91"/>
                  <a:gd name="T53" fmla="*/ 209 w 209"/>
                  <a:gd name="T54" fmla="*/ 91 h 9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09" h="91">
                    <a:moveTo>
                      <a:pt x="204" y="0"/>
                    </a:moveTo>
                    <a:lnTo>
                      <a:pt x="209" y="5"/>
                    </a:lnTo>
                    <a:lnTo>
                      <a:pt x="209" y="43"/>
                    </a:lnTo>
                    <a:lnTo>
                      <a:pt x="209" y="48"/>
                    </a:lnTo>
                    <a:lnTo>
                      <a:pt x="118" y="69"/>
                    </a:lnTo>
                    <a:lnTo>
                      <a:pt x="27" y="91"/>
                    </a:lnTo>
                    <a:lnTo>
                      <a:pt x="11" y="91"/>
                    </a:lnTo>
                    <a:lnTo>
                      <a:pt x="5" y="91"/>
                    </a:lnTo>
                    <a:lnTo>
                      <a:pt x="0" y="85"/>
                    </a:lnTo>
                    <a:lnTo>
                      <a:pt x="5" y="48"/>
                    </a:lnTo>
                    <a:lnTo>
                      <a:pt x="5" y="43"/>
                    </a:lnTo>
                    <a:lnTo>
                      <a:pt x="21" y="43"/>
                    </a:lnTo>
                    <a:lnTo>
                      <a:pt x="37" y="43"/>
                    </a:lnTo>
                    <a:lnTo>
                      <a:pt x="37" y="37"/>
                    </a:lnTo>
                    <a:lnTo>
                      <a:pt x="118" y="21"/>
                    </a:lnTo>
                    <a:lnTo>
                      <a:pt x="204" y="0"/>
                    </a:lnTo>
                    <a:close/>
                  </a:path>
                </a:pathLst>
              </a:custGeom>
              <a:solidFill>
                <a:srgbClr val="72706F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11" name="Freeform 430"/>
              <p:cNvSpPr>
                <a:spLocks/>
              </p:cNvSpPr>
              <p:nvPr/>
            </p:nvSpPr>
            <p:spPr bwMode="auto">
              <a:xfrm>
                <a:off x="3235" y="2311"/>
                <a:ext cx="16" cy="21"/>
              </a:xfrm>
              <a:custGeom>
                <a:avLst/>
                <a:gdLst>
                  <a:gd name="T0" fmla="*/ 16 w 16"/>
                  <a:gd name="T1" fmla="*/ 21 h 21"/>
                  <a:gd name="T2" fmla="*/ 5 w 16"/>
                  <a:gd name="T3" fmla="*/ 21 h 21"/>
                  <a:gd name="T4" fmla="*/ 0 w 16"/>
                  <a:gd name="T5" fmla="*/ 21 h 21"/>
                  <a:gd name="T6" fmla="*/ 0 w 16"/>
                  <a:gd name="T7" fmla="*/ 5 h 21"/>
                  <a:gd name="T8" fmla="*/ 11 w 16"/>
                  <a:gd name="T9" fmla="*/ 0 h 21"/>
                  <a:gd name="T10" fmla="*/ 16 w 16"/>
                  <a:gd name="T11" fmla="*/ 21 h 2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21"/>
                  <a:gd name="T20" fmla="*/ 16 w 16"/>
                  <a:gd name="T21" fmla="*/ 21 h 2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21">
                    <a:moveTo>
                      <a:pt x="16" y="21"/>
                    </a:moveTo>
                    <a:lnTo>
                      <a:pt x="5" y="21"/>
                    </a:lnTo>
                    <a:lnTo>
                      <a:pt x="0" y="21"/>
                    </a:lnTo>
                    <a:lnTo>
                      <a:pt x="0" y="5"/>
                    </a:lnTo>
                    <a:lnTo>
                      <a:pt x="11" y="0"/>
                    </a:lnTo>
                    <a:lnTo>
                      <a:pt x="16" y="21"/>
                    </a:lnTo>
                    <a:close/>
                  </a:path>
                </a:pathLst>
              </a:custGeom>
              <a:solidFill>
                <a:srgbClr val="3D3937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12" name="Freeform 431"/>
              <p:cNvSpPr>
                <a:spLocks/>
              </p:cNvSpPr>
              <p:nvPr/>
            </p:nvSpPr>
            <p:spPr bwMode="auto">
              <a:xfrm>
                <a:off x="3262" y="2295"/>
                <a:ext cx="75" cy="32"/>
              </a:xfrm>
              <a:custGeom>
                <a:avLst/>
                <a:gdLst>
                  <a:gd name="T0" fmla="*/ 64 w 75"/>
                  <a:gd name="T1" fmla="*/ 16 h 32"/>
                  <a:gd name="T2" fmla="*/ 0 w 75"/>
                  <a:gd name="T3" fmla="*/ 32 h 32"/>
                  <a:gd name="T4" fmla="*/ 0 w 75"/>
                  <a:gd name="T5" fmla="*/ 21 h 32"/>
                  <a:gd name="T6" fmla="*/ 64 w 75"/>
                  <a:gd name="T7" fmla="*/ 5 h 32"/>
                  <a:gd name="T8" fmla="*/ 75 w 75"/>
                  <a:gd name="T9" fmla="*/ 0 h 32"/>
                  <a:gd name="T10" fmla="*/ 75 w 75"/>
                  <a:gd name="T11" fmla="*/ 16 h 32"/>
                  <a:gd name="T12" fmla="*/ 64 w 75"/>
                  <a:gd name="T13" fmla="*/ 16 h 3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5"/>
                  <a:gd name="T22" fmla="*/ 0 h 32"/>
                  <a:gd name="T23" fmla="*/ 75 w 75"/>
                  <a:gd name="T24" fmla="*/ 32 h 3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5" h="32">
                    <a:moveTo>
                      <a:pt x="64" y="16"/>
                    </a:moveTo>
                    <a:lnTo>
                      <a:pt x="0" y="32"/>
                    </a:lnTo>
                    <a:lnTo>
                      <a:pt x="0" y="21"/>
                    </a:lnTo>
                    <a:lnTo>
                      <a:pt x="64" y="5"/>
                    </a:lnTo>
                    <a:lnTo>
                      <a:pt x="75" y="0"/>
                    </a:lnTo>
                    <a:lnTo>
                      <a:pt x="75" y="16"/>
                    </a:lnTo>
                    <a:lnTo>
                      <a:pt x="64" y="16"/>
                    </a:lnTo>
                    <a:close/>
                  </a:path>
                </a:pathLst>
              </a:custGeom>
              <a:solidFill>
                <a:srgbClr val="3D393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13" name="Freeform 432"/>
              <p:cNvSpPr>
                <a:spLocks/>
              </p:cNvSpPr>
              <p:nvPr/>
            </p:nvSpPr>
            <p:spPr bwMode="auto">
              <a:xfrm>
                <a:off x="3342" y="2284"/>
                <a:ext cx="16" cy="22"/>
              </a:xfrm>
              <a:custGeom>
                <a:avLst/>
                <a:gdLst>
                  <a:gd name="T0" fmla="*/ 16 w 16"/>
                  <a:gd name="T1" fmla="*/ 22 h 22"/>
                  <a:gd name="T2" fmla="*/ 5 w 16"/>
                  <a:gd name="T3" fmla="*/ 22 h 22"/>
                  <a:gd name="T4" fmla="*/ 0 w 16"/>
                  <a:gd name="T5" fmla="*/ 22 h 22"/>
                  <a:gd name="T6" fmla="*/ 5 w 16"/>
                  <a:gd name="T7" fmla="*/ 6 h 22"/>
                  <a:gd name="T8" fmla="*/ 16 w 16"/>
                  <a:gd name="T9" fmla="*/ 0 h 22"/>
                  <a:gd name="T10" fmla="*/ 16 w 16"/>
                  <a:gd name="T11" fmla="*/ 22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22"/>
                  <a:gd name="T20" fmla="*/ 16 w 16"/>
                  <a:gd name="T21" fmla="*/ 22 h 2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22">
                    <a:moveTo>
                      <a:pt x="16" y="22"/>
                    </a:moveTo>
                    <a:lnTo>
                      <a:pt x="5" y="22"/>
                    </a:lnTo>
                    <a:lnTo>
                      <a:pt x="0" y="22"/>
                    </a:lnTo>
                    <a:lnTo>
                      <a:pt x="5" y="6"/>
                    </a:lnTo>
                    <a:lnTo>
                      <a:pt x="16" y="0"/>
                    </a:lnTo>
                    <a:lnTo>
                      <a:pt x="16" y="22"/>
                    </a:lnTo>
                    <a:close/>
                  </a:path>
                </a:pathLst>
              </a:custGeom>
              <a:solidFill>
                <a:srgbClr val="3D393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14" name="Freeform 433"/>
              <p:cNvSpPr>
                <a:spLocks/>
              </p:cNvSpPr>
              <p:nvPr/>
            </p:nvSpPr>
            <p:spPr bwMode="auto">
              <a:xfrm>
                <a:off x="3305" y="2332"/>
                <a:ext cx="21" cy="16"/>
              </a:xfrm>
              <a:custGeom>
                <a:avLst/>
                <a:gdLst>
                  <a:gd name="T0" fmla="*/ 21 w 21"/>
                  <a:gd name="T1" fmla="*/ 0 h 16"/>
                  <a:gd name="T2" fmla="*/ 16 w 21"/>
                  <a:gd name="T3" fmla="*/ 11 h 16"/>
                  <a:gd name="T4" fmla="*/ 0 w 21"/>
                  <a:gd name="T5" fmla="*/ 16 h 16"/>
                  <a:gd name="T6" fmla="*/ 0 w 21"/>
                  <a:gd name="T7" fmla="*/ 6 h 16"/>
                  <a:gd name="T8" fmla="*/ 21 w 21"/>
                  <a:gd name="T9" fmla="*/ 0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"/>
                  <a:gd name="T16" fmla="*/ 0 h 16"/>
                  <a:gd name="T17" fmla="*/ 21 w 21"/>
                  <a:gd name="T18" fmla="*/ 16 h 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" h="16">
                    <a:moveTo>
                      <a:pt x="21" y="0"/>
                    </a:moveTo>
                    <a:lnTo>
                      <a:pt x="16" y="11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3D3937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15" name="Freeform 434"/>
              <p:cNvSpPr>
                <a:spLocks/>
              </p:cNvSpPr>
              <p:nvPr/>
            </p:nvSpPr>
            <p:spPr bwMode="auto">
              <a:xfrm>
                <a:off x="3262" y="2343"/>
                <a:ext cx="26" cy="11"/>
              </a:xfrm>
              <a:custGeom>
                <a:avLst/>
                <a:gdLst>
                  <a:gd name="T0" fmla="*/ 26 w 26"/>
                  <a:gd name="T1" fmla="*/ 0 h 11"/>
                  <a:gd name="T2" fmla="*/ 21 w 26"/>
                  <a:gd name="T3" fmla="*/ 5 h 11"/>
                  <a:gd name="T4" fmla="*/ 5 w 26"/>
                  <a:gd name="T5" fmla="*/ 11 h 11"/>
                  <a:gd name="T6" fmla="*/ 0 w 26"/>
                  <a:gd name="T7" fmla="*/ 5 h 11"/>
                  <a:gd name="T8" fmla="*/ 26 w 26"/>
                  <a:gd name="T9" fmla="*/ 0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6"/>
                  <a:gd name="T16" fmla="*/ 0 h 11"/>
                  <a:gd name="T17" fmla="*/ 26 w 26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6" h="11">
                    <a:moveTo>
                      <a:pt x="26" y="0"/>
                    </a:moveTo>
                    <a:lnTo>
                      <a:pt x="21" y="5"/>
                    </a:lnTo>
                    <a:lnTo>
                      <a:pt x="5" y="11"/>
                    </a:lnTo>
                    <a:lnTo>
                      <a:pt x="0" y="5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3D3937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16" name="Freeform 435"/>
              <p:cNvSpPr>
                <a:spLocks/>
              </p:cNvSpPr>
              <p:nvPr/>
            </p:nvSpPr>
            <p:spPr bwMode="auto">
              <a:xfrm>
                <a:off x="3203" y="2354"/>
                <a:ext cx="27" cy="16"/>
              </a:xfrm>
              <a:custGeom>
                <a:avLst/>
                <a:gdLst>
                  <a:gd name="T0" fmla="*/ 27 w 27"/>
                  <a:gd name="T1" fmla="*/ 0 h 16"/>
                  <a:gd name="T2" fmla="*/ 0 w 27"/>
                  <a:gd name="T3" fmla="*/ 5 h 16"/>
                  <a:gd name="T4" fmla="*/ 0 w 27"/>
                  <a:gd name="T5" fmla="*/ 16 h 16"/>
                  <a:gd name="T6" fmla="*/ 27 w 27"/>
                  <a:gd name="T7" fmla="*/ 10 h 16"/>
                  <a:gd name="T8" fmla="*/ 27 w 27"/>
                  <a:gd name="T9" fmla="*/ 0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"/>
                  <a:gd name="T16" fmla="*/ 0 h 16"/>
                  <a:gd name="T17" fmla="*/ 27 w 27"/>
                  <a:gd name="T18" fmla="*/ 16 h 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" h="16">
                    <a:moveTo>
                      <a:pt x="27" y="0"/>
                    </a:moveTo>
                    <a:lnTo>
                      <a:pt x="0" y="5"/>
                    </a:lnTo>
                    <a:lnTo>
                      <a:pt x="0" y="16"/>
                    </a:lnTo>
                    <a:lnTo>
                      <a:pt x="27" y="10"/>
                    </a:lnTo>
                    <a:lnTo>
                      <a:pt x="27" y="0"/>
                    </a:lnTo>
                    <a:close/>
                  </a:path>
                </a:pathLst>
              </a:custGeom>
              <a:solidFill>
                <a:srgbClr val="C2C1C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17" name="Freeform 436"/>
              <p:cNvSpPr>
                <a:spLocks/>
              </p:cNvSpPr>
              <p:nvPr/>
            </p:nvSpPr>
            <p:spPr bwMode="auto">
              <a:xfrm>
                <a:off x="3353" y="2316"/>
                <a:ext cx="21" cy="16"/>
              </a:xfrm>
              <a:custGeom>
                <a:avLst/>
                <a:gdLst>
                  <a:gd name="T0" fmla="*/ 21 w 21"/>
                  <a:gd name="T1" fmla="*/ 0 h 16"/>
                  <a:gd name="T2" fmla="*/ 21 w 21"/>
                  <a:gd name="T3" fmla="*/ 11 h 16"/>
                  <a:gd name="T4" fmla="*/ 0 w 21"/>
                  <a:gd name="T5" fmla="*/ 16 h 16"/>
                  <a:gd name="T6" fmla="*/ 0 w 21"/>
                  <a:gd name="T7" fmla="*/ 6 h 16"/>
                  <a:gd name="T8" fmla="*/ 21 w 21"/>
                  <a:gd name="T9" fmla="*/ 0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"/>
                  <a:gd name="T16" fmla="*/ 0 h 16"/>
                  <a:gd name="T17" fmla="*/ 21 w 21"/>
                  <a:gd name="T18" fmla="*/ 16 h 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" h="16">
                    <a:moveTo>
                      <a:pt x="21" y="0"/>
                    </a:moveTo>
                    <a:lnTo>
                      <a:pt x="21" y="11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C2C1C1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18" name="Freeform 437"/>
              <p:cNvSpPr>
                <a:spLocks/>
              </p:cNvSpPr>
              <p:nvPr/>
            </p:nvSpPr>
            <p:spPr bwMode="auto">
              <a:xfrm>
                <a:off x="3283" y="2343"/>
                <a:ext cx="5" cy="11"/>
              </a:xfrm>
              <a:custGeom>
                <a:avLst/>
                <a:gdLst>
                  <a:gd name="T0" fmla="*/ 5 w 5"/>
                  <a:gd name="T1" fmla="*/ 0 h 11"/>
                  <a:gd name="T2" fmla="*/ 5 w 5"/>
                  <a:gd name="T3" fmla="*/ 11 h 11"/>
                  <a:gd name="T4" fmla="*/ 0 w 5"/>
                  <a:gd name="T5" fmla="*/ 5 h 11"/>
                  <a:gd name="T6" fmla="*/ 5 w 5"/>
                  <a:gd name="T7" fmla="*/ 0 h 11"/>
                  <a:gd name="T8" fmla="*/ 5 w 5"/>
                  <a:gd name="T9" fmla="*/ 0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11"/>
                  <a:gd name="T17" fmla="*/ 5 w 5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11">
                    <a:moveTo>
                      <a:pt x="5" y="0"/>
                    </a:moveTo>
                    <a:lnTo>
                      <a:pt x="5" y="11"/>
                    </a:lnTo>
                    <a:lnTo>
                      <a:pt x="0" y="5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005F9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19" name="Freeform 438"/>
              <p:cNvSpPr>
                <a:spLocks/>
              </p:cNvSpPr>
              <p:nvPr/>
            </p:nvSpPr>
            <p:spPr bwMode="auto">
              <a:xfrm>
                <a:off x="3321" y="2332"/>
                <a:ext cx="10" cy="11"/>
              </a:xfrm>
              <a:custGeom>
                <a:avLst/>
                <a:gdLst>
                  <a:gd name="T0" fmla="*/ 5 w 10"/>
                  <a:gd name="T1" fmla="*/ 0 h 11"/>
                  <a:gd name="T2" fmla="*/ 0 w 10"/>
                  <a:gd name="T3" fmla="*/ 11 h 11"/>
                  <a:gd name="T4" fmla="*/ 5 w 10"/>
                  <a:gd name="T5" fmla="*/ 11 h 11"/>
                  <a:gd name="T6" fmla="*/ 10 w 10"/>
                  <a:gd name="T7" fmla="*/ 0 h 11"/>
                  <a:gd name="T8" fmla="*/ 5 w 10"/>
                  <a:gd name="T9" fmla="*/ 0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11"/>
                  <a:gd name="T17" fmla="*/ 10 w 10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11">
                    <a:moveTo>
                      <a:pt x="5" y="0"/>
                    </a:moveTo>
                    <a:lnTo>
                      <a:pt x="0" y="11"/>
                    </a:lnTo>
                    <a:lnTo>
                      <a:pt x="5" y="11"/>
                    </a:lnTo>
                    <a:lnTo>
                      <a:pt x="10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005F98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20" name="Freeform 439"/>
              <p:cNvSpPr>
                <a:spLocks/>
              </p:cNvSpPr>
              <p:nvPr/>
            </p:nvSpPr>
            <p:spPr bwMode="auto">
              <a:xfrm>
                <a:off x="3374" y="2316"/>
                <a:ext cx="6" cy="11"/>
              </a:xfrm>
              <a:custGeom>
                <a:avLst/>
                <a:gdLst>
                  <a:gd name="T0" fmla="*/ 0 w 6"/>
                  <a:gd name="T1" fmla="*/ 0 h 11"/>
                  <a:gd name="T2" fmla="*/ 0 w 6"/>
                  <a:gd name="T3" fmla="*/ 11 h 11"/>
                  <a:gd name="T4" fmla="*/ 0 w 6"/>
                  <a:gd name="T5" fmla="*/ 11 h 11"/>
                  <a:gd name="T6" fmla="*/ 0 w 6"/>
                  <a:gd name="T7" fmla="*/ 6 h 11"/>
                  <a:gd name="T8" fmla="*/ 6 w 6"/>
                  <a:gd name="T9" fmla="*/ 0 h 11"/>
                  <a:gd name="T10" fmla="*/ 0 w 6"/>
                  <a:gd name="T11" fmla="*/ 0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11"/>
                  <a:gd name="T20" fmla="*/ 6 w 6"/>
                  <a:gd name="T21" fmla="*/ 11 h 1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11">
                    <a:moveTo>
                      <a:pt x="0" y="0"/>
                    </a:moveTo>
                    <a:lnTo>
                      <a:pt x="0" y="11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5F9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21" name="Rectangle 440"/>
              <p:cNvSpPr>
                <a:spLocks noChangeArrowheads="1"/>
              </p:cNvSpPr>
              <p:nvPr/>
            </p:nvSpPr>
            <p:spPr bwMode="auto">
              <a:xfrm>
                <a:off x="3230" y="2354"/>
                <a:ext cx="1" cy="10"/>
              </a:xfrm>
              <a:prstGeom prst="rect">
                <a:avLst/>
              </a:prstGeom>
              <a:solidFill>
                <a:srgbClr val="005F9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22" name="Freeform 441"/>
              <p:cNvSpPr>
                <a:spLocks/>
              </p:cNvSpPr>
              <p:nvPr/>
            </p:nvSpPr>
            <p:spPr bwMode="auto">
              <a:xfrm>
                <a:off x="3363" y="2279"/>
                <a:ext cx="22" cy="21"/>
              </a:xfrm>
              <a:custGeom>
                <a:avLst/>
                <a:gdLst>
                  <a:gd name="T0" fmla="*/ 22 w 22"/>
                  <a:gd name="T1" fmla="*/ 0 h 21"/>
                  <a:gd name="T2" fmla="*/ 11 w 22"/>
                  <a:gd name="T3" fmla="*/ 0 h 21"/>
                  <a:gd name="T4" fmla="*/ 0 w 22"/>
                  <a:gd name="T5" fmla="*/ 5 h 21"/>
                  <a:gd name="T6" fmla="*/ 0 w 22"/>
                  <a:gd name="T7" fmla="*/ 21 h 21"/>
                  <a:gd name="T8" fmla="*/ 11 w 22"/>
                  <a:gd name="T9" fmla="*/ 16 h 21"/>
                  <a:gd name="T10" fmla="*/ 22 w 22"/>
                  <a:gd name="T11" fmla="*/ 16 h 21"/>
                  <a:gd name="T12" fmla="*/ 22 w 22"/>
                  <a:gd name="T13" fmla="*/ 0 h 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2"/>
                  <a:gd name="T22" fmla="*/ 0 h 21"/>
                  <a:gd name="T23" fmla="*/ 22 w 22"/>
                  <a:gd name="T24" fmla="*/ 21 h 2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2" h="21">
                    <a:moveTo>
                      <a:pt x="22" y="0"/>
                    </a:moveTo>
                    <a:lnTo>
                      <a:pt x="11" y="0"/>
                    </a:lnTo>
                    <a:lnTo>
                      <a:pt x="0" y="5"/>
                    </a:lnTo>
                    <a:lnTo>
                      <a:pt x="0" y="21"/>
                    </a:lnTo>
                    <a:lnTo>
                      <a:pt x="11" y="16"/>
                    </a:lnTo>
                    <a:lnTo>
                      <a:pt x="22" y="16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DEDED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23" name="Freeform 442"/>
              <p:cNvSpPr>
                <a:spLocks/>
              </p:cNvSpPr>
              <p:nvPr/>
            </p:nvSpPr>
            <p:spPr bwMode="auto">
              <a:xfrm>
                <a:off x="3380" y="2279"/>
                <a:ext cx="5" cy="21"/>
              </a:xfrm>
              <a:custGeom>
                <a:avLst/>
                <a:gdLst>
                  <a:gd name="T0" fmla="*/ 0 w 5"/>
                  <a:gd name="T1" fmla="*/ 0 h 21"/>
                  <a:gd name="T2" fmla="*/ 0 w 5"/>
                  <a:gd name="T3" fmla="*/ 21 h 21"/>
                  <a:gd name="T4" fmla="*/ 0 w 5"/>
                  <a:gd name="T5" fmla="*/ 16 h 21"/>
                  <a:gd name="T6" fmla="*/ 5 w 5"/>
                  <a:gd name="T7" fmla="*/ 16 h 21"/>
                  <a:gd name="T8" fmla="*/ 5 w 5"/>
                  <a:gd name="T9" fmla="*/ 0 h 21"/>
                  <a:gd name="T10" fmla="*/ 0 w 5"/>
                  <a:gd name="T11" fmla="*/ 0 h 21"/>
                  <a:gd name="T12" fmla="*/ 0 w 5"/>
                  <a:gd name="T13" fmla="*/ 0 h 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21"/>
                  <a:gd name="T23" fmla="*/ 5 w 5"/>
                  <a:gd name="T24" fmla="*/ 21 h 2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21">
                    <a:moveTo>
                      <a:pt x="0" y="0"/>
                    </a:moveTo>
                    <a:lnTo>
                      <a:pt x="0" y="21"/>
                    </a:lnTo>
                    <a:lnTo>
                      <a:pt x="0" y="16"/>
                    </a:lnTo>
                    <a:lnTo>
                      <a:pt x="5" y="16"/>
                    </a:lnTo>
                    <a:lnTo>
                      <a:pt x="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48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24" name="Freeform 443"/>
              <p:cNvSpPr>
                <a:spLocks/>
              </p:cNvSpPr>
              <p:nvPr/>
            </p:nvSpPr>
            <p:spPr bwMode="auto">
              <a:xfrm>
                <a:off x="3347" y="2284"/>
                <a:ext cx="11" cy="22"/>
              </a:xfrm>
              <a:custGeom>
                <a:avLst/>
                <a:gdLst>
                  <a:gd name="T0" fmla="*/ 0 w 11"/>
                  <a:gd name="T1" fmla="*/ 22 h 22"/>
                  <a:gd name="T2" fmla="*/ 6 w 11"/>
                  <a:gd name="T3" fmla="*/ 6 h 22"/>
                  <a:gd name="T4" fmla="*/ 11 w 11"/>
                  <a:gd name="T5" fmla="*/ 0 h 22"/>
                  <a:gd name="T6" fmla="*/ 11 w 11"/>
                  <a:gd name="T7" fmla="*/ 22 h 22"/>
                  <a:gd name="T8" fmla="*/ 0 w 11"/>
                  <a:gd name="T9" fmla="*/ 22 h 2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22"/>
                  <a:gd name="T17" fmla="*/ 11 w 11"/>
                  <a:gd name="T18" fmla="*/ 22 h 2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22">
                    <a:moveTo>
                      <a:pt x="0" y="22"/>
                    </a:moveTo>
                    <a:lnTo>
                      <a:pt x="6" y="6"/>
                    </a:lnTo>
                    <a:lnTo>
                      <a:pt x="11" y="0"/>
                    </a:lnTo>
                    <a:lnTo>
                      <a:pt x="11" y="22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25" name="Freeform 444"/>
              <p:cNvSpPr>
                <a:spLocks/>
              </p:cNvSpPr>
              <p:nvPr/>
            </p:nvSpPr>
            <p:spPr bwMode="auto">
              <a:xfrm>
                <a:off x="3326" y="2295"/>
                <a:ext cx="11" cy="16"/>
              </a:xfrm>
              <a:custGeom>
                <a:avLst/>
                <a:gdLst>
                  <a:gd name="T0" fmla="*/ 0 w 11"/>
                  <a:gd name="T1" fmla="*/ 5 h 16"/>
                  <a:gd name="T2" fmla="*/ 0 w 11"/>
                  <a:gd name="T3" fmla="*/ 16 h 16"/>
                  <a:gd name="T4" fmla="*/ 11 w 11"/>
                  <a:gd name="T5" fmla="*/ 16 h 16"/>
                  <a:gd name="T6" fmla="*/ 11 w 11"/>
                  <a:gd name="T7" fmla="*/ 0 h 16"/>
                  <a:gd name="T8" fmla="*/ 0 w 11"/>
                  <a:gd name="T9" fmla="*/ 5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16"/>
                  <a:gd name="T17" fmla="*/ 11 w 11"/>
                  <a:gd name="T18" fmla="*/ 16 h 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16">
                    <a:moveTo>
                      <a:pt x="0" y="5"/>
                    </a:moveTo>
                    <a:lnTo>
                      <a:pt x="0" y="16"/>
                    </a:lnTo>
                    <a:lnTo>
                      <a:pt x="11" y="16"/>
                    </a:lnTo>
                    <a:lnTo>
                      <a:pt x="11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615E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26" name="Freeform 445"/>
              <p:cNvSpPr>
                <a:spLocks/>
              </p:cNvSpPr>
              <p:nvPr/>
            </p:nvSpPr>
            <p:spPr bwMode="auto">
              <a:xfrm>
                <a:off x="3240" y="2311"/>
                <a:ext cx="11" cy="21"/>
              </a:xfrm>
              <a:custGeom>
                <a:avLst/>
                <a:gdLst>
                  <a:gd name="T0" fmla="*/ 0 w 11"/>
                  <a:gd name="T1" fmla="*/ 21 h 21"/>
                  <a:gd name="T2" fmla="*/ 0 w 11"/>
                  <a:gd name="T3" fmla="*/ 5 h 21"/>
                  <a:gd name="T4" fmla="*/ 6 w 11"/>
                  <a:gd name="T5" fmla="*/ 0 h 21"/>
                  <a:gd name="T6" fmla="*/ 11 w 11"/>
                  <a:gd name="T7" fmla="*/ 21 h 21"/>
                  <a:gd name="T8" fmla="*/ 0 w 11"/>
                  <a:gd name="T9" fmla="*/ 21 h 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21"/>
                  <a:gd name="T17" fmla="*/ 11 w 11"/>
                  <a:gd name="T18" fmla="*/ 21 h 2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21">
                    <a:moveTo>
                      <a:pt x="0" y="21"/>
                    </a:moveTo>
                    <a:lnTo>
                      <a:pt x="0" y="5"/>
                    </a:lnTo>
                    <a:lnTo>
                      <a:pt x="6" y="0"/>
                    </a:lnTo>
                    <a:lnTo>
                      <a:pt x="11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27" name="Freeform 446"/>
              <p:cNvSpPr>
                <a:spLocks/>
              </p:cNvSpPr>
              <p:nvPr/>
            </p:nvSpPr>
            <p:spPr bwMode="auto">
              <a:xfrm>
                <a:off x="3197" y="2316"/>
                <a:ext cx="33" cy="27"/>
              </a:xfrm>
              <a:custGeom>
                <a:avLst/>
                <a:gdLst>
                  <a:gd name="T0" fmla="*/ 27 w 33"/>
                  <a:gd name="T1" fmla="*/ 0 h 27"/>
                  <a:gd name="T2" fmla="*/ 11 w 33"/>
                  <a:gd name="T3" fmla="*/ 0 h 27"/>
                  <a:gd name="T4" fmla="*/ 0 w 33"/>
                  <a:gd name="T5" fmla="*/ 6 h 27"/>
                  <a:gd name="T6" fmla="*/ 0 w 33"/>
                  <a:gd name="T7" fmla="*/ 27 h 27"/>
                  <a:gd name="T8" fmla="*/ 33 w 33"/>
                  <a:gd name="T9" fmla="*/ 22 h 27"/>
                  <a:gd name="T10" fmla="*/ 27 w 33"/>
                  <a:gd name="T11" fmla="*/ 0 h 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3"/>
                  <a:gd name="T19" fmla="*/ 0 h 27"/>
                  <a:gd name="T20" fmla="*/ 33 w 33"/>
                  <a:gd name="T21" fmla="*/ 27 h 2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3" h="27">
                    <a:moveTo>
                      <a:pt x="27" y="0"/>
                    </a:moveTo>
                    <a:lnTo>
                      <a:pt x="11" y="0"/>
                    </a:lnTo>
                    <a:lnTo>
                      <a:pt x="0" y="6"/>
                    </a:lnTo>
                    <a:lnTo>
                      <a:pt x="0" y="27"/>
                    </a:lnTo>
                    <a:lnTo>
                      <a:pt x="33" y="22"/>
                    </a:lnTo>
                    <a:lnTo>
                      <a:pt x="27" y="0"/>
                    </a:lnTo>
                    <a:close/>
                  </a:path>
                </a:pathLst>
              </a:custGeom>
              <a:solidFill>
                <a:srgbClr val="DEDED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28" name="Freeform 447"/>
              <p:cNvSpPr>
                <a:spLocks/>
              </p:cNvSpPr>
              <p:nvPr/>
            </p:nvSpPr>
            <p:spPr bwMode="auto">
              <a:xfrm>
                <a:off x="3181" y="2322"/>
                <a:ext cx="16" cy="21"/>
              </a:xfrm>
              <a:custGeom>
                <a:avLst/>
                <a:gdLst>
                  <a:gd name="T0" fmla="*/ 16 w 16"/>
                  <a:gd name="T1" fmla="*/ 0 h 21"/>
                  <a:gd name="T2" fmla="*/ 0 w 16"/>
                  <a:gd name="T3" fmla="*/ 0 h 21"/>
                  <a:gd name="T4" fmla="*/ 0 w 16"/>
                  <a:gd name="T5" fmla="*/ 16 h 21"/>
                  <a:gd name="T6" fmla="*/ 6 w 16"/>
                  <a:gd name="T7" fmla="*/ 16 h 21"/>
                  <a:gd name="T8" fmla="*/ 16 w 16"/>
                  <a:gd name="T9" fmla="*/ 21 h 21"/>
                  <a:gd name="T10" fmla="*/ 16 w 16"/>
                  <a:gd name="T11" fmla="*/ 0 h 2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21"/>
                  <a:gd name="T20" fmla="*/ 16 w 16"/>
                  <a:gd name="T21" fmla="*/ 21 h 2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21">
                    <a:moveTo>
                      <a:pt x="16" y="0"/>
                    </a:moveTo>
                    <a:lnTo>
                      <a:pt x="0" y="0"/>
                    </a:lnTo>
                    <a:lnTo>
                      <a:pt x="0" y="16"/>
                    </a:lnTo>
                    <a:lnTo>
                      <a:pt x="6" y="16"/>
                    </a:lnTo>
                    <a:lnTo>
                      <a:pt x="16" y="21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F48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29" name="Freeform 448"/>
              <p:cNvSpPr>
                <a:spLocks/>
              </p:cNvSpPr>
              <p:nvPr/>
            </p:nvSpPr>
            <p:spPr bwMode="auto">
              <a:xfrm>
                <a:off x="3155" y="2348"/>
                <a:ext cx="21" cy="22"/>
              </a:xfrm>
              <a:custGeom>
                <a:avLst/>
                <a:gdLst>
                  <a:gd name="T0" fmla="*/ 0 w 21"/>
                  <a:gd name="T1" fmla="*/ 0 h 22"/>
                  <a:gd name="T2" fmla="*/ 10 w 21"/>
                  <a:gd name="T3" fmla="*/ 16 h 22"/>
                  <a:gd name="T4" fmla="*/ 16 w 21"/>
                  <a:gd name="T5" fmla="*/ 16 h 22"/>
                  <a:gd name="T6" fmla="*/ 21 w 21"/>
                  <a:gd name="T7" fmla="*/ 22 h 22"/>
                  <a:gd name="T8" fmla="*/ 21 w 21"/>
                  <a:gd name="T9" fmla="*/ 11 h 22"/>
                  <a:gd name="T10" fmla="*/ 0 w 21"/>
                  <a:gd name="T11" fmla="*/ 0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1"/>
                  <a:gd name="T19" fmla="*/ 0 h 22"/>
                  <a:gd name="T20" fmla="*/ 21 w 21"/>
                  <a:gd name="T21" fmla="*/ 22 h 2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1" h="22">
                    <a:moveTo>
                      <a:pt x="0" y="0"/>
                    </a:moveTo>
                    <a:lnTo>
                      <a:pt x="10" y="16"/>
                    </a:lnTo>
                    <a:lnTo>
                      <a:pt x="16" y="16"/>
                    </a:lnTo>
                    <a:lnTo>
                      <a:pt x="21" y="22"/>
                    </a:lnTo>
                    <a:lnTo>
                      <a:pt x="21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5F9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30" name="Freeform 449"/>
              <p:cNvSpPr>
                <a:spLocks/>
              </p:cNvSpPr>
              <p:nvPr/>
            </p:nvSpPr>
            <p:spPr bwMode="auto">
              <a:xfrm>
                <a:off x="3149" y="2364"/>
                <a:ext cx="27" cy="16"/>
              </a:xfrm>
              <a:custGeom>
                <a:avLst/>
                <a:gdLst>
                  <a:gd name="T0" fmla="*/ 22 w 27"/>
                  <a:gd name="T1" fmla="*/ 0 h 16"/>
                  <a:gd name="T2" fmla="*/ 0 w 27"/>
                  <a:gd name="T3" fmla="*/ 6 h 16"/>
                  <a:gd name="T4" fmla="*/ 22 w 27"/>
                  <a:gd name="T5" fmla="*/ 16 h 16"/>
                  <a:gd name="T6" fmla="*/ 22 w 27"/>
                  <a:gd name="T7" fmla="*/ 11 h 16"/>
                  <a:gd name="T8" fmla="*/ 27 w 27"/>
                  <a:gd name="T9" fmla="*/ 11 h 16"/>
                  <a:gd name="T10" fmla="*/ 27 w 27"/>
                  <a:gd name="T11" fmla="*/ 6 h 16"/>
                  <a:gd name="T12" fmla="*/ 22 w 27"/>
                  <a:gd name="T13" fmla="*/ 0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7"/>
                  <a:gd name="T22" fmla="*/ 0 h 16"/>
                  <a:gd name="T23" fmla="*/ 27 w 27"/>
                  <a:gd name="T24" fmla="*/ 16 h 1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7" h="16">
                    <a:moveTo>
                      <a:pt x="22" y="0"/>
                    </a:moveTo>
                    <a:lnTo>
                      <a:pt x="0" y="6"/>
                    </a:lnTo>
                    <a:lnTo>
                      <a:pt x="22" y="16"/>
                    </a:lnTo>
                    <a:lnTo>
                      <a:pt x="22" y="11"/>
                    </a:lnTo>
                    <a:lnTo>
                      <a:pt x="27" y="11"/>
                    </a:lnTo>
                    <a:lnTo>
                      <a:pt x="27" y="6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A9A8A7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31" name="Freeform 450"/>
              <p:cNvSpPr>
                <a:spLocks/>
              </p:cNvSpPr>
              <p:nvPr/>
            </p:nvSpPr>
            <p:spPr bwMode="auto">
              <a:xfrm>
                <a:off x="3165" y="2364"/>
                <a:ext cx="11" cy="11"/>
              </a:xfrm>
              <a:custGeom>
                <a:avLst/>
                <a:gdLst>
                  <a:gd name="T0" fmla="*/ 0 w 11"/>
                  <a:gd name="T1" fmla="*/ 0 h 11"/>
                  <a:gd name="T2" fmla="*/ 11 w 11"/>
                  <a:gd name="T3" fmla="*/ 11 h 11"/>
                  <a:gd name="T4" fmla="*/ 11 w 11"/>
                  <a:gd name="T5" fmla="*/ 6 h 11"/>
                  <a:gd name="T6" fmla="*/ 6 w 11"/>
                  <a:gd name="T7" fmla="*/ 0 h 11"/>
                  <a:gd name="T8" fmla="*/ 0 w 11"/>
                  <a:gd name="T9" fmla="*/ 0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11"/>
                  <a:gd name="T17" fmla="*/ 11 w 11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11">
                    <a:moveTo>
                      <a:pt x="0" y="0"/>
                    </a:moveTo>
                    <a:lnTo>
                      <a:pt x="11" y="11"/>
                    </a:lnTo>
                    <a:lnTo>
                      <a:pt x="11" y="6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3818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32" name="Freeform 451"/>
              <p:cNvSpPr>
                <a:spLocks/>
              </p:cNvSpPr>
              <p:nvPr/>
            </p:nvSpPr>
            <p:spPr bwMode="auto">
              <a:xfrm>
                <a:off x="3197" y="2306"/>
                <a:ext cx="11" cy="16"/>
              </a:xfrm>
              <a:custGeom>
                <a:avLst/>
                <a:gdLst>
                  <a:gd name="T0" fmla="*/ 0 w 11"/>
                  <a:gd name="T1" fmla="*/ 10 h 16"/>
                  <a:gd name="T2" fmla="*/ 0 w 11"/>
                  <a:gd name="T3" fmla="*/ 16 h 16"/>
                  <a:gd name="T4" fmla="*/ 11 w 11"/>
                  <a:gd name="T5" fmla="*/ 16 h 16"/>
                  <a:gd name="T6" fmla="*/ 11 w 11"/>
                  <a:gd name="T7" fmla="*/ 10 h 16"/>
                  <a:gd name="T8" fmla="*/ 6 w 11"/>
                  <a:gd name="T9" fmla="*/ 5 h 16"/>
                  <a:gd name="T10" fmla="*/ 11 w 11"/>
                  <a:gd name="T11" fmla="*/ 0 h 16"/>
                  <a:gd name="T12" fmla="*/ 0 w 11"/>
                  <a:gd name="T13" fmla="*/ 0 h 16"/>
                  <a:gd name="T14" fmla="*/ 0 w 11"/>
                  <a:gd name="T15" fmla="*/ 5 h 16"/>
                  <a:gd name="T16" fmla="*/ 0 w 11"/>
                  <a:gd name="T17" fmla="*/ 10 h 1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16"/>
                  <a:gd name="T29" fmla="*/ 11 w 11"/>
                  <a:gd name="T30" fmla="*/ 16 h 1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16">
                    <a:moveTo>
                      <a:pt x="0" y="10"/>
                    </a:moveTo>
                    <a:lnTo>
                      <a:pt x="0" y="16"/>
                    </a:lnTo>
                    <a:lnTo>
                      <a:pt x="11" y="16"/>
                    </a:lnTo>
                    <a:lnTo>
                      <a:pt x="11" y="10"/>
                    </a:lnTo>
                    <a:lnTo>
                      <a:pt x="6" y="5"/>
                    </a:lnTo>
                    <a:lnTo>
                      <a:pt x="11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95949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33" name="Freeform 452"/>
              <p:cNvSpPr>
                <a:spLocks/>
              </p:cNvSpPr>
              <p:nvPr/>
            </p:nvSpPr>
            <p:spPr bwMode="auto">
              <a:xfrm>
                <a:off x="3192" y="2343"/>
                <a:ext cx="16" cy="11"/>
              </a:xfrm>
              <a:custGeom>
                <a:avLst/>
                <a:gdLst>
                  <a:gd name="T0" fmla="*/ 5 w 16"/>
                  <a:gd name="T1" fmla="*/ 0 h 11"/>
                  <a:gd name="T2" fmla="*/ 0 w 16"/>
                  <a:gd name="T3" fmla="*/ 5 h 11"/>
                  <a:gd name="T4" fmla="*/ 0 w 16"/>
                  <a:gd name="T5" fmla="*/ 11 h 11"/>
                  <a:gd name="T6" fmla="*/ 5 w 16"/>
                  <a:gd name="T7" fmla="*/ 11 h 11"/>
                  <a:gd name="T8" fmla="*/ 16 w 16"/>
                  <a:gd name="T9" fmla="*/ 11 h 11"/>
                  <a:gd name="T10" fmla="*/ 16 w 16"/>
                  <a:gd name="T11" fmla="*/ 0 h 11"/>
                  <a:gd name="T12" fmla="*/ 5 w 16"/>
                  <a:gd name="T13" fmla="*/ 0 h 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6"/>
                  <a:gd name="T22" fmla="*/ 0 h 11"/>
                  <a:gd name="T23" fmla="*/ 16 w 16"/>
                  <a:gd name="T24" fmla="*/ 11 h 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6" h="11">
                    <a:moveTo>
                      <a:pt x="5" y="0"/>
                    </a:moveTo>
                    <a:lnTo>
                      <a:pt x="0" y="5"/>
                    </a:lnTo>
                    <a:lnTo>
                      <a:pt x="0" y="11"/>
                    </a:lnTo>
                    <a:lnTo>
                      <a:pt x="5" y="11"/>
                    </a:lnTo>
                    <a:lnTo>
                      <a:pt x="16" y="11"/>
                    </a:lnTo>
                    <a:lnTo>
                      <a:pt x="16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83818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34" name="Freeform 453"/>
              <p:cNvSpPr>
                <a:spLocks/>
              </p:cNvSpPr>
              <p:nvPr/>
            </p:nvSpPr>
            <p:spPr bwMode="auto">
              <a:xfrm>
                <a:off x="3197" y="2220"/>
                <a:ext cx="11" cy="86"/>
              </a:xfrm>
              <a:custGeom>
                <a:avLst/>
                <a:gdLst>
                  <a:gd name="T0" fmla="*/ 0 w 11"/>
                  <a:gd name="T1" fmla="*/ 0 h 86"/>
                  <a:gd name="T2" fmla="*/ 6 w 11"/>
                  <a:gd name="T3" fmla="*/ 38 h 86"/>
                  <a:gd name="T4" fmla="*/ 11 w 11"/>
                  <a:gd name="T5" fmla="*/ 86 h 86"/>
                  <a:gd name="T6" fmla="*/ 0 w 11"/>
                  <a:gd name="T7" fmla="*/ 86 h 86"/>
                  <a:gd name="T8" fmla="*/ 0 w 11"/>
                  <a:gd name="T9" fmla="*/ 43 h 86"/>
                  <a:gd name="T10" fmla="*/ 0 w 11"/>
                  <a:gd name="T11" fmla="*/ 0 h 86"/>
                  <a:gd name="T12" fmla="*/ 0 w 11"/>
                  <a:gd name="T13" fmla="*/ 0 h 8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"/>
                  <a:gd name="T22" fmla="*/ 0 h 86"/>
                  <a:gd name="T23" fmla="*/ 11 w 11"/>
                  <a:gd name="T24" fmla="*/ 86 h 8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" h="86">
                    <a:moveTo>
                      <a:pt x="0" y="0"/>
                    </a:moveTo>
                    <a:lnTo>
                      <a:pt x="6" y="38"/>
                    </a:lnTo>
                    <a:lnTo>
                      <a:pt x="11" y="86"/>
                    </a:lnTo>
                    <a:lnTo>
                      <a:pt x="0" y="86"/>
                    </a:ln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7BC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35" name="Freeform 454"/>
              <p:cNvSpPr>
                <a:spLocks/>
              </p:cNvSpPr>
              <p:nvPr/>
            </p:nvSpPr>
            <p:spPr bwMode="auto">
              <a:xfrm>
                <a:off x="3042" y="2033"/>
                <a:ext cx="155" cy="273"/>
              </a:xfrm>
              <a:custGeom>
                <a:avLst/>
                <a:gdLst>
                  <a:gd name="T0" fmla="*/ 150 w 155"/>
                  <a:gd name="T1" fmla="*/ 38 h 273"/>
                  <a:gd name="T2" fmla="*/ 11 w 155"/>
                  <a:gd name="T3" fmla="*/ 0 h 273"/>
                  <a:gd name="T4" fmla="*/ 11 w 155"/>
                  <a:gd name="T5" fmla="*/ 11 h 273"/>
                  <a:gd name="T6" fmla="*/ 0 w 155"/>
                  <a:gd name="T7" fmla="*/ 102 h 273"/>
                  <a:gd name="T8" fmla="*/ 5 w 155"/>
                  <a:gd name="T9" fmla="*/ 198 h 273"/>
                  <a:gd name="T10" fmla="*/ 70 w 155"/>
                  <a:gd name="T11" fmla="*/ 225 h 273"/>
                  <a:gd name="T12" fmla="*/ 75 w 155"/>
                  <a:gd name="T13" fmla="*/ 225 h 273"/>
                  <a:gd name="T14" fmla="*/ 86 w 155"/>
                  <a:gd name="T15" fmla="*/ 235 h 273"/>
                  <a:gd name="T16" fmla="*/ 102 w 155"/>
                  <a:gd name="T17" fmla="*/ 251 h 273"/>
                  <a:gd name="T18" fmla="*/ 139 w 155"/>
                  <a:gd name="T19" fmla="*/ 267 h 273"/>
                  <a:gd name="T20" fmla="*/ 139 w 155"/>
                  <a:gd name="T21" fmla="*/ 267 h 273"/>
                  <a:gd name="T22" fmla="*/ 155 w 155"/>
                  <a:gd name="T23" fmla="*/ 273 h 273"/>
                  <a:gd name="T24" fmla="*/ 155 w 155"/>
                  <a:gd name="T25" fmla="*/ 230 h 273"/>
                  <a:gd name="T26" fmla="*/ 155 w 155"/>
                  <a:gd name="T27" fmla="*/ 187 h 273"/>
                  <a:gd name="T28" fmla="*/ 139 w 155"/>
                  <a:gd name="T29" fmla="*/ 182 h 273"/>
                  <a:gd name="T30" fmla="*/ 145 w 155"/>
                  <a:gd name="T31" fmla="*/ 182 h 273"/>
                  <a:gd name="T32" fmla="*/ 150 w 155"/>
                  <a:gd name="T33" fmla="*/ 182 h 273"/>
                  <a:gd name="T34" fmla="*/ 145 w 155"/>
                  <a:gd name="T35" fmla="*/ 91 h 273"/>
                  <a:gd name="T36" fmla="*/ 145 w 155"/>
                  <a:gd name="T37" fmla="*/ 80 h 273"/>
                  <a:gd name="T38" fmla="*/ 155 w 155"/>
                  <a:gd name="T39" fmla="*/ 80 h 273"/>
                  <a:gd name="T40" fmla="*/ 155 w 155"/>
                  <a:gd name="T41" fmla="*/ 75 h 273"/>
                  <a:gd name="T42" fmla="*/ 150 w 155"/>
                  <a:gd name="T43" fmla="*/ 38 h 273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55"/>
                  <a:gd name="T67" fmla="*/ 0 h 273"/>
                  <a:gd name="T68" fmla="*/ 155 w 155"/>
                  <a:gd name="T69" fmla="*/ 273 h 273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55" h="273">
                    <a:moveTo>
                      <a:pt x="150" y="38"/>
                    </a:moveTo>
                    <a:lnTo>
                      <a:pt x="11" y="0"/>
                    </a:lnTo>
                    <a:lnTo>
                      <a:pt x="11" y="11"/>
                    </a:lnTo>
                    <a:lnTo>
                      <a:pt x="0" y="102"/>
                    </a:lnTo>
                    <a:lnTo>
                      <a:pt x="5" y="198"/>
                    </a:lnTo>
                    <a:lnTo>
                      <a:pt x="70" y="225"/>
                    </a:lnTo>
                    <a:lnTo>
                      <a:pt x="75" y="225"/>
                    </a:lnTo>
                    <a:lnTo>
                      <a:pt x="86" y="235"/>
                    </a:lnTo>
                    <a:lnTo>
                      <a:pt x="102" y="251"/>
                    </a:lnTo>
                    <a:lnTo>
                      <a:pt x="139" y="267"/>
                    </a:lnTo>
                    <a:lnTo>
                      <a:pt x="155" y="273"/>
                    </a:lnTo>
                    <a:lnTo>
                      <a:pt x="155" y="230"/>
                    </a:lnTo>
                    <a:lnTo>
                      <a:pt x="155" y="187"/>
                    </a:lnTo>
                    <a:lnTo>
                      <a:pt x="139" y="182"/>
                    </a:lnTo>
                    <a:lnTo>
                      <a:pt x="145" y="182"/>
                    </a:lnTo>
                    <a:lnTo>
                      <a:pt x="150" y="182"/>
                    </a:lnTo>
                    <a:lnTo>
                      <a:pt x="145" y="91"/>
                    </a:lnTo>
                    <a:lnTo>
                      <a:pt x="145" y="80"/>
                    </a:lnTo>
                    <a:lnTo>
                      <a:pt x="155" y="80"/>
                    </a:lnTo>
                    <a:lnTo>
                      <a:pt x="155" y="75"/>
                    </a:lnTo>
                    <a:lnTo>
                      <a:pt x="150" y="38"/>
                    </a:lnTo>
                    <a:close/>
                  </a:path>
                </a:pathLst>
              </a:custGeom>
              <a:solidFill>
                <a:srgbClr val="006CB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36" name="Freeform 455"/>
              <p:cNvSpPr>
                <a:spLocks/>
              </p:cNvSpPr>
              <p:nvPr/>
            </p:nvSpPr>
            <p:spPr bwMode="auto">
              <a:xfrm>
                <a:off x="3053" y="2023"/>
                <a:ext cx="310" cy="90"/>
              </a:xfrm>
              <a:custGeom>
                <a:avLst/>
                <a:gdLst>
                  <a:gd name="T0" fmla="*/ 305 w 310"/>
                  <a:gd name="T1" fmla="*/ 16 h 90"/>
                  <a:gd name="T2" fmla="*/ 155 w 310"/>
                  <a:gd name="T3" fmla="*/ 42 h 90"/>
                  <a:gd name="T4" fmla="*/ 144 w 310"/>
                  <a:gd name="T5" fmla="*/ 42 h 90"/>
                  <a:gd name="T6" fmla="*/ 134 w 310"/>
                  <a:gd name="T7" fmla="*/ 42 h 90"/>
                  <a:gd name="T8" fmla="*/ 10 w 310"/>
                  <a:gd name="T9" fmla="*/ 0 h 90"/>
                  <a:gd name="T10" fmla="*/ 0 w 310"/>
                  <a:gd name="T11" fmla="*/ 10 h 90"/>
                  <a:gd name="T12" fmla="*/ 134 w 310"/>
                  <a:gd name="T13" fmla="*/ 48 h 90"/>
                  <a:gd name="T14" fmla="*/ 134 w 310"/>
                  <a:gd name="T15" fmla="*/ 53 h 90"/>
                  <a:gd name="T16" fmla="*/ 139 w 310"/>
                  <a:gd name="T17" fmla="*/ 58 h 90"/>
                  <a:gd name="T18" fmla="*/ 139 w 310"/>
                  <a:gd name="T19" fmla="*/ 90 h 90"/>
                  <a:gd name="T20" fmla="*/ 155 w 310"/>
                  <a:gd name="T21" fmla="*/ 90 h 90"/>
                  <a:gd name="T22" fmla="*/ 150 w 310"/>
                  <a:gd name="T23" fmla="*/ 53 h 90"/>
                  <a:gd name="T24" fmla="*/ 150 w 310"/>
                  <a:gd name="T25" fmla="*/ 48 h 90"/>
                  <a:gd name="T26" fmla="*/ 155 w 310"/>
                  <a:gd name="T27" fmla="*/ 48 h 90"/>
                  <a:gd name="T28" fmla="*/ 305 w 310"/>
                  <a:gd name="T29" fmla="*/ 26 h 90"/>
                  <a:gd name="T30" fmla="*/ 310 w 310"/>
                  <a:gd name="T31" fmla="*/ 26 h 90"/>
                  <a:gd name="T32" fmla="*/ 305 w 310"/>
                  <a:gd name="T33" fmla="*/ 16 h 90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10"/>
                  <a:gd name="T52" fmla="*/ 0 h 90"/>
                  <a:gd name="T53" fmla="*/ 310 w 310"/>
                  <a:gd name="T54" fmla="*/ 90 h 90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10" h="90">
                    <a:moveTo>
                      <a:pt x="305" y="16"/>
                    </a:moveTo>
                    <a:lnTo>
                      <a:pt x="155" y="42"/>
                    </a:lnTo>
                    <a:lnTo>
                      <a:pt x="144" y="42"/>
                    </a:lnTo>
                    <a:lnTo>
                      <a:pt x="134" y="42"/>
                    </a:lnTo>
                    <a:lnTo>
                      <a:pt x="10" y="0"/>
                    </a:lnTo>
                    <a:lnTo>
                      <a:pt x="0" y="10"/>
                    </a:lnTo>
                    <a:lnTo>
                      <a:pt x="134" y="48"/>
                    </a:lnTo>
                    <a:lnTo>
                      <a:pt x="134" y="53"/>
                    </a:lnTo>
                    <a:lnTo>
                      <a:pt x="139" y="58"/>
                    </a:lnTo>
                    <a:lnTo>
                      <a:pt x="139" y="90"/>
                    </a:lnTo>
                    <a:lnTo>
                      <a:pt x="155" y="90"/>
                    </a:lnTo>
                    <a:lnTo>
                      <a:pt x="150" y="53"/>
                    </a:lnTo>
                    <a:lnTo>
                      <a:pt x="150" y="48"/>
                    </a:lnTo>
                    <a:lnTo>
                      <a:pt x="155" y="48"/>
                    </a:lnTo>
                    <a:lnTo>
                      <a:pt x="305" y="26"/>
                    </a:lnTo>
                    <a:lnTo>
                      <a:pt x="310" y="26"/>
                    </a:lnTo>
                    <a:lnTo>
                      <a:pt x="305" y="16"/>
                    </a:lnTo>
                    <a:close/>
                  </a:path>
                </a:pathLst>
              </a:custGeom>
              <a:solidFill>
                <a:srgbClr val="007BC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37" name="Freeform 456"/>
              <p:cNvSpPr>
                <a:spLocks/>
              </p:cNvSpPr>
              <p:nvPr/>
            </p:nvSpPr>
            <p:spPr bwMode="auto">
              <a:xfrm>
                <a:off x="3047" y="2071"/>
                <a:ext cx="22" cy="10"/>
              </a:xfrm>
              <a:custGeom>
                <a:avLst/>
                <a:gdLst>
                  <a:gd name="T0" fmla="*/ 22 w 22"/>
                  <a:gd name="T1" fmla="*/ 5 h 10"/>
                  <a:gd name="T2" fmla="*/ 0 w 22"/>
                  <a:gd name="T3" fmla="*/ 0 h 10"/>
                  <a:gd name="T4" fmla="*/ 0 w 22"/>
                  <a:gd name="T5" fmla="*/ 5 h 10"/>
                  <a:gd name="T6" fmla="*/ 22 w 22"/>
                  <a:gd name="T7" fmla="*/ 10 h 10"/>
                  <a:gd name="T8" fmla="*/ 22 w 22"/>
                  <a:gd name="T9" fmla="*/ 5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2"/>
                  <a:gd name="T16" fmla="*/ 0 h 10"/>
                  <a:gd name="T17" fmla="*/ 22 w 22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2" h="10">
                    <a:moveTo>
                      <a:pt x="22" y="5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22" y="10"/>
                    </a:lnTo>
                    <a:lnTo>
                      <a:pt x="22" y="5"/>
                    </a:lnTo>
                    <a:close/>
                  </a:path>
                </a:pathLst>
              </a:custGeom>
              <a:solidFill>
                <a:srgbClr val="005F98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38" name="Freeform 457"/>
              <p:cNvSpPr>
                <a:spLocks/>
              </p:cNvSpPr>
              <p:nvPr/>
            </p:nvSpPr>
            <p:spPr bwMode="auto">
              <a:xfrm>
                <a:off x="3069" y="2076"/>
                <a:ext cx="112" cy="37"/>
              </a:xfrm>
              <a:custGeom>
                <a:avLst/>
                <a:gdLst>
                  <a:gd name="T0" fmla="*/ 5 w 112"/>
                  <a:gd name="T1" fmla="*/ 0 h 37"/>
                  <a:gd name="T2" fmla="*/ 112 w 112"/>
                  <a:gd name="T3" fmla="*/ 37 h 37"/>
                  <a:gd name="T4" fmla="*/ 107 w 112"/>
                  <a:gd name="T5" fmla="*/ 37 h 37"/>
                  <a:gd name="T6" fmla="*/ 0 w 112"/>
                  <a:gd name="T7" fmla="*/ 5 h 37"/>
                  <a:gd name="T8" fmla="*/ 5 w 112"/>
                  <a:gd name="T9" fmla="*/ 0 h 3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2"/>
                  <a:gd name="T16" fmla="*/ 0 h 37"/>
                  <a:gd name="T17" fmla="*/ 112 w 112"/>
                  <a:gd name="T18" fmla="*/ 37 h 3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2" h="37">
                    <a:moveTo>
                      <a:pt x="5" y="0"/>
                    </a:moveTo>
                    <a:lnTo>
                      <a:pt x="112" y="37"/>
                    </a:lnTo>
                    <a:lnTo>
                      <a:pt x="107" y="37"/>
                    </a:lnTo>
                    <a:lnTo>
                      <a:pt x="0" y="5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005F9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39" name="Freeform 458"/>
              <p:cNvSpPr>
                <a:spLocks/>
              </p:cNvSpPr>
              <p:nvPr/>
            </p:nvSpPr>
            <p:spPr bwMode="auto">
              <a:xfrm>
                <a:off x="3079" y="2092"/>
                <a:ext cx="33" cy="75"/>
              </a:xfrm>
              <a:custGeom>
                <a:avLst/>
                <a:gdLst>
                  <a:gd name="T0" fmla="*/ 0 w 33"/>
                  <a:gd name="T1" fmla="*/ 0 h 75"/>
                  <a:gd name="T2" fmla="*/ 27 w 33"/>
                  <a:gd name="T3" fmla="*/ 5 h 75"/>
                  <a:gd name="T4" fmla="*/ 33 w 33"/>
                  <a:gd name="T5" fmla="*/ 16 h 75"/>
                  <a:gd name="T6" fmla="*/ 27 w 33"/>
                  <a:gd name="T7" fmla="*/ 75 h 75"/>
                  <a:gd name="T8" fmla="*/ 22 w 33"/>
                  <a:gd name="T9" fmla="*/ 75 h 75"/>
                  <a:gd name="T10" fmla="*/ 0 w 33"/>
                  <a:gd name="T11" fmla="*/ 69 h 75"/>
                  <a:gd name="T12" fmla="*/ 0 w 33"/>
                  <a:gd name="T13" fmla="*/ 59 h 75"/>
                  <a:gd name="T14" fmla="*/ 0 w 33"/>
                  <a:gd name="T15" fmla="*/ 5 h 75"/>
                  <a:gd name="T16" fmla="*/ 0 w 33"/>
                  <a:gd name="T17" fmla="*/ 0 h 7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3"/>
                  <a:gd name="T28" fmla="*/ 0 h 75"/>
                  <a:gd name="T29" fmla="*/ 33 w 33"/>
                  <a:gd name="T30" fmla="*/ 75 h 7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3" h="75">
                    <a:moveTo>
                      <a:pt x="0" y="0"/>
                    </a:moveTo>
                    <a:lnTo>
                      <a:pt x="27" y="5"/>
                    </a:lnTo>
                    <a:lnTo>
                      <a:pt x="33" y="16"/>
                    </a:lnTo>
                    <a:lnTo>
                      <a:pt x="27" y="75"/>
                    </a:lnTo>
                    <a:lnTo>
                      <a:pt x="22" y="75"/>
                    </a:lnTo>
                    <a:lnTo>
                      <a:pt x="0" y="69"/>
                    </a:lnTo>
                    <a:lnTo>
                      <a:pt x="0" y="59"/>
                    </a:lnTo>
                    <a:lnTo>
                      <a:pt x="0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15E5D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40" name="Freeform 459"/>
              <p:cNvSpPr>
                <a:spLocks/>
              </p:cNvSpPr>
              <p:nvPr/>
            </p:nvSpPr>
            <p:spPr bwMode="auto">
              <a:xfrm>
                <a:off x="3117" y="2108"/>
                <a:ext cx="59" cy="91"/>
              </a:xfrm>
              <a:custGeom>
                <a:avLst/>
                <a:gdLst>
                  <a:gd name="T0" fmla="*/ 54 w 59"/>
                  <a:gd name="T1" fmla="*/ 11 h 91"/>
                  <a:gd name="T2" fmla="*/ 59 w 59"/>
                  <a:gd name="T3" fmla="*/ 16 h 91"/>
                  <a:gd name="T4" fmla="*/ 59 w 59"/>
                  <a:gd name="T5" fmla="*/ 85 h 91"/>
                  <a:gd name="T6" fmla="*/ 59 w 59"/>
                  <a:gd name="T7" fmla="*/ 91 h 91"/>
                  <a:gd name="T8" fmla="*/ 16 w 59"/>
                  <a:gd name="T9" fmla="*/ 75 h 91"/>
                  <a:gd name="T10" fmla="*/ 0 w 59"/>
                  <a:gd name="T11" fmla="*/ 69 h 91"/>
                  <a:gd name="T12" fmla="*/ 0 w 59"/>
                  <a:gd name="T13" fmla="*/ 64 h 91"/>
                  <a:gd name="T14" fmla="*/ 0 w 59"/>
                  <a:gd name="T15" fmla="*/ 0 h 91"/>
                  <a:gd name="T16" fmla="*/ 5 w 59"/>
                  <a:gd name="T17" fmla="*/ 0 h 91"/>
                  <a:gd name="T18" fmla="*/ 54 w 59"/>
                  <a:gd name="T19" fmla="*/ 11 h 9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9"/>
                  <a:gd name="T31" fmla="*/ 0 h 91"/>
                  <a:gd name="T32" fmla="*/ 59 w 59"/>
                  <a:gd name="T33" fmla="*/ 91 h 9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9" h="91">
                    <a:moveTo>
                      <a:pt x="54" y="11"/>
                    </a:moveTo>
                    <a:lnTo>
                      <a:pt x="59" y="16"/>
                    </a:lnTo>
                    <a:lnTo>
                      <a:pt x="59" y="85"/>
                    </a:lnTo>
                    <a:lnTo>
                      <a:pt x="59" y="91"/>
                    </a:lnTo>
                    <a:lnTo>
                      <a:pt x="16" y="75"/>
                    </a:lnTo>
                    <a:lnTo>
                      <a:pt x="0" y="69"/>
                    </a:lnTo>
                    <a:lnTo>
                      <a:pt x="0" y="64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4" y="11"/>
                    </a:lnTo>
                    <a:close/>
                  </a:path>
                </a:pathLst>
              </a:custGeom>
              <a:solidFill>
                <a:srgbClr val="615E5D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41" name="Freeform 460"/>
              <p:cNvSpPr>
                <a:spLocks/>
              </p:cNvSpPr>
              <p:nvPr/>
            </p:nvSpPr>
            <p:spPr bwMode="auto">
              <a:xfrm>
                <a:off x="3122" y="2108"/>
                <a:ext cx="54" cy="85"/>
              </a:xfrm>
              <a:custGeom>
                <a:avLst/>
                <a:gdLst>
                  <a:gd name="T0" fmla="*/ 0 w 54"/>
                  <a:gd name="T1" fmla="*/ 5 h 85"/>
                  <a:gd name="T2" fmla="*/ 0 w 54"/>
                  <a:gd name="T3" fmla="*/ 0 h 85"/>
                  <a:gd name="T4" fmla="*/ 49 w 54"/>
                  <a:gd name="T5" fmla="*/ 16 h 85"/>
                  <a:gd name="T6" fmla="*/ 54 w 54"/>
                  <a:gd name="T7" fmla="*/ 85 h 85"/>
                  <a:gd name="T8" fmla="*/ 49 w 54"/>
                  <a:gd name="T9" fmla="*/ 85 h 85"/>
                  <a:gd name="T10" fmla="*/ 0 w 54"/>
                  <a:gd name="T11" fmla="*/ 64 h 85"/>
                  <a:gd name="T12" fmla="*/ 0 w 54"/>
                  <a:gd name="T13" fmla="*/ 64 h 85"/>
                  <a:gd name="T14" fmla="*/ 0 w 54"/>
                  <a:gd name="T15" fmla="*/ 5 h 8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4"/>
                  <a:gd name="T25" fmla="*/ 0 h 85"/>
                  <a:gd name="T26" fmla="*/ 54 w 54"/>
                  <a:gd name="T27" fmla="*/ 85 h 8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4" h="85">
                    <a:moveTo>
                      <a:pt x="0" y="5"/>
                    </a:moveTo>
                    <a:lnTo>
                      <a:pt x="0" y="0"/>
                    </a:lnTo>
                    <a:lnTo>
                      <a:pt x="49" y="16"/>
                    </a:lnTo>
                    <a:lnTo>
                      <a:pt x="54" y="85"/>
                    </a:lnTo>
                    <a:lnTo>
                      <a:pt x="49" y="85"/>
                    </a:lnTo>
                    <a:lnTo>
                      <a:pt x="0" y="64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959493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42" name="Freeform 461"/>
              <p:cNvSpPr>
                <a:spLocks/>
              </p:cNvSpPr>
              <p:nvPr/>
            </p:nvSpPr>
            <p:spPr bwMode="auto">
              <a:xfrm>
                <a:off x="3138" y="2113"/>
                <a:ext cx="38" cy="102"/>
              </a:xfrm>
              <a:custGeom>
                <a:avLst/>
                <a:gdLst>
                  <a:gd name="T0" fmla="*/ 38 w 38"/>
                  <a:gd name="T1" fmla="*/ 0 h 102"/>
                  <a:gd name="T2" fmla="*/ 17 w 38"/>
                  <a:gd name="T3" fmla="*/ 6 h 102"/>
                  <a:gd name="T4" fmla="*/ 11 w 38"/>
                  <a:gd name="T5" fmla="*/ 11 h 102"/>
                  <a:gd name="T6" fmla="*/ 11 w 38"/>
                  <a:gd name="T7" fmla="*/ 16 h 102"/>
                  <a:gd name="T8" fmla="*/ 11 w 38"/>
                  <a:gd name="T9" fmla="*/ 38 h 102"/>
                  <a:gd name="T10" fmla="*/ 0 w 38"/>
                  <a:gd name="T11" fmla="*/ 43 h 102"/>
                  <a:gd name="T12" fmla="*/ 0 w 38"/>
                  <a:gd name="T13" fmla="*/ 43 h 102"/>
                  <a:gd name="T14" fmla="*/ 0 w 38"/>
                  <a:gd name="T15" fmla="*/ 80 h 102"/>
                  <a:gd name="T16" fmla="*/ 0 w 38"/>
                  <a:gd name="T17" fmla="*/ 80 h 102"/>
                  <a:gd name="T18" fmla="*/ 0 w 38"/>
                  <a:gd name="T19" fmla="*/ 86 h 102"/>
                  <a:gd name="T20" fmla="*/ 11 w 38"/>
                  <a:gd name="T21" fmla="*/ 86 h 102"/>
                  <a:gd name="T22" fmla="*/ 11 w 38"/>
                  <a:gd name="T23" fmla="*/ 96 h 102"/>
                  <a:gd name="T24" fmla="*/ 11 w 38"/>
                  <a:gd name="T25" fmla="*/ 96 h 102"/>
                  <a:gd name="T26" fmla="*/ 17 w 38"/>
                  <a:gd name="T27" fmla="*/ 96 h 102"/>
                  <a:gd name="T28" fmla="*/ 22 w 38"/>
                  <a:gd name="T29" fmla="*/ 96 h 102"/>
                  <a:gd name="T30" fmla="*/ 33 w 38"/>
                  <a:gd name="T31" fmla="*/ 102 h 102"/>
                  <a:gd name="T32" fmla="*/ 38 w 38"/>
                  <a:gd name="T33" fmla="*/ 102 h 102"/>
                  <a:gd name="T34" fmla="*/ 38 w 38"/>
                  <a:gd name="T35" fmla="*/ 91 h 102"/>
                  <a:gd name="T36" fmla="*/ 22 w 38"/>
                  <a:gd name="T37" fmla="*/ 86 h 102"/>
                  <a:gd name="T38" fmla="*/ 22 w 38"/>
                  <a:gd name="T39" fmla="*/ 86 h 102"/>
                  <a:gd name="T40" fmla="*/ 22 w 38"/>
                  <a:gd name="T41" fmla="*/ 91 h 102"/>
                  <a:gd name="T42" fmla="*/ 17 w 38"/>
                  <a:gd name="T43" fmla="*/ 96 h 102"/>
                  <a:gd name="T44" fmla="*/ 17 w 38"/>
                  <a:gd name="T45" fmla="*/ 91 h 102"/>
                  <a:gd name="T46" fmla="*/ 17 w 38"/>
                  <a:gd name="T47" fmla="*/ 91 h 102"/>
                  <a:gd name="T48" fmla="*/ 17 w 38"/>
                  <a:gd name="T49" fmla="*/ 80 h 102"/>
                  <a:gd name="T50" fmla="*/ 22 w 38"/>
                  <a:gd name="T51" fmla="*/ 80 h 102"/>
                  <a:gd name="T52" fmla="*/ 22 w 38"/>
                  <a:gd name="T53" fmla="*/ 80 h 102"/>
                  <a:gd name="T54" fmla="*/ 22 w 38"/>
                  <a:gd name="T55" fmla="*/ 43 h 102"/>
                  <a:gd name="T56" fmla="*/ 22 w 38"/>
                  <a:gd name="T57" fmla="*/ 38 h 102"/>
                  <a:gd name="T58" fmla="*/ 22 w 38"/>
                  <a:gd name="T59" fmla="*/ 38 h 102"/>
                  <a:gd name="T60" fmla="*/ 17 w 38"/>
                  <a:gd name="T61" fmla="*/ 38 h 102"/>
                  <a:gd name="T62" fmla="*/ 17 w 38"/>
                  <a:gd name="T63" fmla="*/ 16 h 102"/>
                  <a:gd name="T64" fmla="*/ 17 w 38"/>
                  <a:gd name="T65" fmla="*/ 11 h 102"/>
                  <a:gd name="T66" fmla="*/ 22 w 38"/>
                  <a:gd name="T67" fmla="*/ 11 h 102"/>
                  <a:gd name="T68" fmla="*/ 38 w 38"/>
                  <a:gd name="T69" fmla="*/ 6 h 102"/>
                  <a:gd name="T70" fmla="*/ 38 w 38"/>
                  <a:gd name="T71" fmla="*/ 0 h 102"/>
                  <a:gd name="T72" fmla="*/ 38 w 38"/>
                  <a:gd name="T73" fmla="*/ 0 h 10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38"/>
                  <a:gd name="T112" fmla="*/ 0 h 102"/>
                  <a:gd name="T113" fmla="*/ 38 w 38"/>
                  <a:gd name="T114" fmla="*/ 102 h 102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38" h="102">
                    <a:moveTo>
                      <a:pt x="38" y="0"/>
                    </a:moveTo>
                    <a:lnTo>
                      <a:pt x="17" y="6"/>
                    </a:lnTo>
                    <a:lnTo>
                      <a:pt x="11" y="11"/>
                    </a:lnTo>
                    <a:lnTo>
                      <a:pt x="11" y="16"/>
                    </a:lnTo>
                    <a:lnTo>
                      <a:pt x="11" y="38"/>
                    </a:lnTo>
                    <a:lnTo>
                      <a:pt x="0" y="43"/>
                    </a:lnTo>
                    <a:lnTo>
                      <a:pt x="0" y="80"/>
                    </a:lnTo>
                    <a:lnTo>
                      <a:pt x="0" y="86"/>
                    </a:lnTo>
                    <a:lnTo>
                      <a:pt x="11" y="86"/>
                    </a:lnTo>
                    <a:lnTo>
                      <a:pt x="11" y="96"/>
                    </a:lnTo>
                    <a:lnTo>
                      <a:pt x="17" y="96"/>
                    </a:lnTo>
                    <a:lnTo>
                      <a:pt x="22" y="96"/>
                    </a:lnTo>
                    <a:lnTo>
                      <a:pt x="33" y="102"/>
                    </a:lnTo>
                    <a:lnTo>
                      <a:pt x="38" y="102"/>
                    </a:lnTo>
                    <a:lnTo>
                      <a:pt x="38" y="91"/>
                    </a:lnTo>
                    <a:lnTo>
                      <a:pt x="22" y="86"/>
                    </a:lnTo>
                    <a:lnTo>
                      <a:pt x="22" y="91"/>
                    </a:lnTo>
                    <a:lnTo>
                      <a:pt x="17" y="96"/>
                    </a:lnTo>
                    <a:lnTo>
                      <a:pt x="17" y="91"/>
                    </a:lnTo>
                    <a:lnTo>
                      <a:pt x="17" y="80"/>
                    </a:lnTo>
                    <a:lnTo>
                      <a:pt x="22" y="80"/>
                    </a:lnTo>
                    <a:lnTo>
                      <a:pt x="22" y="43"/>
                    </a:lnTo>
                    <a:lnTo>
                      <a:pt x="22" y="38"/>
                    </a:lnTo>
                    <a:lnTo>
                      <a:pt x="17" y="38"/>
                    </a:lnTo>
                    <a:lnTo>
                      <a:pt x="17" y="16"/>
                    </a:lnTo>
                    <a:lnTo>
                      <a:pt x="17" y="11"/>
                    </a:lnTo>
                    <a:lnTo>
                      <a:pt x="22" y="11"/>
                    </a:lnTo>
                    <a:lnTo>
                      <a:pt x="38" y="6"/>
                    </a:lnTo>
                    <a:lnTo>
                      <a:pt x="38" y="0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43" name="Rectangle 462"/>
              <p:cNvSpPr>
                <a:spLocks noChangeArrowheads="1"/>
              </p:cNvSpPr>
              <p:nvPr/>
            </p:nvSpPr>
            <p:spPr bwMode="auto">
              <a:xfrm>
                <a:off x="3144" y="2167"/>
                <a:ext cx="5" cy="16"/>
              </a:xfrm>
              <a:prstGeom prst="rect">
                <a:avLst/>
              </a:prstGeom>
              <a:solidFill>
                <a:srgbClr val="83818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44" name="Freeform 463"/>
              <p:cNvSpPr>
                <a:spLocks/>
              </p:cNvSpPr>
              <p:nvPr/>
            </p:nvSpPr>
            <p:spPr bwMode="auto">
              <a:xfrm>
                <a:off x="3138" y="2151"/>
                <a:ext cx="11" cy="48"/>
              </a:xfrm>
              <a:custGeom>
                <a:avLst/>
                <a:gdLst>
                  <a:gd name="T0" fmla="*/ 11 w 11"/>
                  <a:gd name="T1" fmla="*/ 0 h 48"/>
                  <a:gd name="T2" fmla="*/ 0 w 11"/>
                  <a:gd name="T3" fmla="*/ 5 h 48"/>
                  <a:gd name="T4" fmla="*/ 0 w 11"/>
                  <a:gd name="T5" fmla="*/ 5 h 48"/>
                  <a:gd name="T6" fmla="*/ 0 w 11"/>
                  <a:gd name="T7" fmla="*/ 48 h 48"/>
                  <a:gd name="T8" fmla="*/ 0 w 11"/>
                  <a:gd name="T9" fmla="*/ 48 h 48"/>
                  <a:gd name="T10" fmla="*/ 0 w 11"/>
                  <a:gd name="T11" fmla="*/ 5 h 48"/>
                  <a:gd name="T12" fmla="*/ 0 w 11"/>
                  <a:gd name="T13" fmla="*/ 5 h 48"/>
                  <a:gd name="T14" fmla="*/ 11 w 11"/>
                  <a:gd name="T15" fmla="*/ 5 h 48"/>
                  <a:gd name="T16" fmla="*/ 11 w 11"/>
                  <a:gd name="T17" fmla="*/ 0 h 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48"/>
                  <a:gd name="T29" fmla="*/ 11 w 11"/>
                  <a:gd name="T30" fmla="*/ 48 h 4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48">
                    <a:moveTo>
                      <a:pt x="11" y="0"/>
                    </a:moveTo>
                    <a:lnTo>
                      <a:pt x="0" y="5"/>
                    </a:lnTo>
                    <a:lnTo>
                      <a:pt x="0" y="48"/>
                    </a:lnTo>
                    <a:lnTo>
                      <a:pt x="0" y="5"/>
                    </a:lnTo>
                    <a:lnTo>
                      <a:pt x="11" y="5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83818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45" name="Freeform 464"/>
              <p:cNvSpPr>
                <a:spLocks/>
              </p:cNvSpPr>
              <p:nvPr/>
            </p:nvSpPr>
            <p:spPr bwMode="auto">
              <a:xfrm>
                <a:off x="3160" y="2199"/>
                <a:ext cx="16" cy="16"/>
              </a:xfrm>
              <a:custGeom>
                <a:avLst/>
                <a:gdLst>
                  <a:gd name="T0" fmla="*/ 16 w 16"/>
                  <a:gd name="T1" fmla="*/ 5 h 16"/>
                  <a:gd name="T2" fmla="*/ 0 w 16"/>
                  <a:gd name="T3" fmla="*/ 0 h 16"/>
                  <a:gd name="T4" fmla="*/ 0 w 16"/>
                  <a:gd name="T5" fmla="*/ 0 h 16"/>
                  <a:gd name="T6" fmla="*/ 11 w 16"/>
                  <a:gd name="T7" fmla="*/ 5 h 16"/>
                  <a:gd name="T8" fmla="*/ 11 w 16"/>
                  <a:gd name="T9" fmla="*/ 16 h 16"/>
                  <a:gd name="T10" fmla="*/ 16 w 16"/>
                  <a:gd name="T11" fmla="*/ 16 h 16"/>
                  <a:gd name="T12" fmla="*/ 16 w 16"/>
                  <a:gd name="T13" fmla="*/ 5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6"/>
                  <a:gd name="T22" fmla="*/ 0 h 16"/>
                  <a:gd name="T23" fmla="*/ 16 w 16"/>
                  <a:gd name="T24" fmla="*/ 16 h 1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6" h="16">
                    <a:moveTo>
                      <a:pt x="16" y="5"/>
                    </a:moveTo>
                    <a:lnTo>
                      <a:pt x="0" y="0"/>
                    </a:lnTo>
                    <a:lnTo>
                      <a:pt x="11" y="5"/>
                    </a:lnTo>
                    <a:lnTo>
                      <a:pt x="11" y="16"/>
                    </a:lnTo>
                    <a:lnTo>
                      <a:pt x="16" y="16"/>
                    </a:lnTo>
                    <a:lnTo>
                      <a:pt x="16" y="5"/>
                    </a:lnTo>
                    <a:close/>
                  </a:path>
                </a:pathLst>
              </a:custGeom>
              <a:solidFill>
                <a:srgbClr val="95949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46" name="Freeform 465"/>
              <p:cNvSpPr>
                <a:spLocks/>
              </p:cNvSpPr>
              <p:nvPr/>
            </p:nvSpPr>
            <p:spPr bwMode="auto">
              <a:xfrm>
                <a:off x="3079" y="2097"/>
                <a:ext cx="27" cy="70"/>
              </a:xfrm>
              <a:custGeom>
                <a:avLst/>
                <a:gdLst>
                  <a:gd name="T0" fmla="*/ 27 w 27"/>
                  <a:gd name="T1" fmla="*/ 6 h 70"/>
                  <a:gd name="T2" fmla="*/ 27 w 27"/>
                  <a:gd name="T3" fmla="*/ 11 h 70"/>
                  <a:gd name="T4" fmla="*/ 27 w 27"/>
                  <a:gd name="T5" fmla="*/ 64 h 70"/>
                  <a:gd name="T6" fmla="*/ 22 w 27"/>
                  <a:gd name="T7" fmla="*/ 70 h 70"/>
                  <a:gd name="T8" fmla="*/ 6 w 27"/>
                  <a:gd name="T9" fmla="*/ 59 h 70"/>
                  <a:gd name="T10" fmla="*/ 0 w 27"/>
                  <a:gd name="T11" fmla="*/ 54 h 70"/>
                  <a:gd name="T12" fmla="*/ 0 w 27"/>
                  <a:gd name="T13" fmla="*/ 0 h 70"/>
                  <a:gd name="T14" fmla="*/ 6 w 27"/>
                  <a:gd name="T15" fmla="*/ 0 h 70"/>
                  <a:gd name="T16" fmla="*/ 27 w 27"/>
                  <a:gd name="T17" fmla="*/ 6 h 7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7"/>
                  <a:gd name="T28" fmla="*/ 0 h 70"/>
                  <a:gd name="T29" fmla="*/ 27 w 27"/>
                  <a:gd name="T30" fmla="*/ 70 h 7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7" h="70">
                    <a:moveTo>
                      <a:pt x="27" y="6"/>
                    </a:moveTo>
                    <a:lnTo>
                      <a:pt x="27" y="11"/>
                    </a:lnTo>
                    <a:lnTo>
                      <a:pt x="27" y="64"/>
                    </a:lnTo>
                    <a:lnTo>
                      <a:pt x="22" y="70"/>
                    </a:lnTo>
                    <a:lnTo>
                      <a:pt x="6" y="59"/>
                    </a:lnTo>
                    <a:lnTo>
                      <a:pt x="0" y="54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27" y="6"/>
                    </a:lnTo>
                    <a:close/>
                  </a:path>
                </a:pathLst>
              </a:custGeom>
              <a:solidFill>
                <a:srgbClr val="959493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47" name="Freeform 466"/>
              <p:cNvSpPr>
                <a:spLocks/>
              </p:cNvSpPr>
              <p:nvPr/>
            </p:nvSpPr>
            <p:spPr bwMode="auto">
              <a:xfrm>
                <a:off x="3117" y="2241"/>
                <a:ext cx="16" cy="17"/>
              </a:xfrm>
              <a:custGeom>
                <a:avLst/>
                <a:gdLst>
                  <a:gd name="T0" fmla="*/ 0 w 16"/>
                  <a:gd name="T1" fmla="*/ 0 h 17"/>
                  <a:gd name="T2" fmla="*/ 16 w 16"/>
                  <a:gd name="T3" fmla="*/ 6 h 17"/>
                  <a:gd name="T4" fmla="*/ 16 w 16"/>
                  <a:gd name="T5" fmla="*/ 17 h 17"/>
                  <a:gd name="T6" fmla="*/ 0 w 16"/>
                  <a:gd name="T7" fmla="*/ 11 h 17"/>
                  <a:gd name="T8" fmla="*/ 0 w 16"/>
                  <a:gd name="T9" fmla="*/ 0 h 1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17"/>
                  <a:gd name="T17" fmla="*/ 16 w 16"/>
                  <a:gd name="T18" fmla="*/ 17 h 1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17">
                    <a:moveTo>
                      <a:pt x="0" y="0"/>
                    </a:moveTo>
                    <a:lnTo>
                      <a:pt x="16" y="6"/>
                    </a:lnTo>
                    <a:lnTo>
                      <a:pt x="16" y="17"/>
                    </a:lnTo>
                    <a:lnTo>
                      <a:pt x="0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2706F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48" name="Freeform 467"/>
              <p:cNvSpPr>
                <a:spLocks/>
              </p:cNvSpPr>
              <p:nvPr/>
            </p:nvSpPr>
            <p:spPr bwMode="auto">
              <a:xfrm>
                <a:off x="3117" y="2241"/>
                <a:ext cx="16" cy="11"/>
              </a:xfrm>
              <a:custGeom>
                <a:avLst/>
                <a:gdLst>
                  <a:gd name="T0" fmla="*/ 0 w 16"/>
                  <a:gd name="T1" fmla="*/ 0 h 11"/>
                  <a:gd name="T2" fmla="*/ 5 w 16"/>
                  <a:gd name="T3" fmla="*/ 11 h 11"/>
                  <a:gd name="T4" fmla="*/ 16 w 16"/>
                  <a:gd name="T5" fmla="*/ 11 h 11"/>
                  <a:gd name="T6" fmla="*/ 16 w 16"/>
                  <a:gd name="T7" fmla="*/ 6 h 11"/>
                  <a:gd name="T8" fmla="*/ 0 w 16"/>
                  <a:gd name="T9" fmla="*/ 0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11"/>
                  <a:gd name="T17" fmla="*/ 16 w 16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11">
                    <a:moveTo>
                      <a:pt x="0" y="0"/>
                    </a:moveTo>
                    <a:lnTo>
                      <a:pt x="5" y="11"/>
                    </a:lnTo>
                    <a:lnTo>
                      <a:pt x="16" y="11"/>
                    </a:lnTo>
                    <a:lnTo>
                      <a:pt x="16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D3937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49" name="Freeform 468"/>
              <p:cNvSpPr>
                <a:spLocks/>
              </p:cNvSpPr>
              <p:nvPr/>
            </p:nvSpPr>
            <p:spPr bwMode="auto">
              <a:xfrm>
                <a:off x="3047" y="2172"/>
                <a:ext cx="134" cy="64"/>
              </a:xfrm>
              <a:custGeom>
                <a:avLst/>
                <a:gdLst>
                  <a:gd name="T0" fmla="*/ 0 w 134"/>
                  <a:gd name="T1" fmla="*/ 0 h 64"/>
                  <a:gd name="T2" fmla="*/ 0 w 134"/>
                  <a:gd name="T3" fmla="*/ 5 h 64"/>
                  <a:gd name="T4" fmla="*/ 134 w 134"/>
                  <a:gd name="T5" fmla="*/ 59 h 64"/>
                  <a:gd name="T6" fmla="*/ 134 w 134"/>
                  <a:gd name="T7" fmla="*/ 64 h 64"/>
                  <a:gd name="T8" fmla="*/ 0 w 134"/>
                  <a:gd name="T9" fmla="*/ 11 h 64"/>
                  <a:gd name="T10" fmla="*/ 0 w 134"/>
                  <a:gd name="T11" fmla="*/ 5 h 64"/>
                  <a:gd name="T12" fmla="*/ 0 w 134"/>
                  <a:gd name="T13" fmla="*/ 0 h 6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4"/>
                  <a:gd name="T22" fmla="*/ 0 h 64"/>
                  <a:gd name="T23" fmla="*/ 134 w 134"/>
                  <a:gd name="T24" fmla="*/ 64 h 6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4" h="64">
                    <a:moveTo>
                      <a:pt x="0" y="0"/>
                    </a:moveTo>
                    <a:lnTo>
                      <a:pt x="0" y="5"/>
                    </a:lnTo>
                    <a:lnTo>
                      <a:pt x="134" y="59"/>
                    </a:lnTo>
                    <a:lnTo>
                      <a:pt x="134" y="64"/>
                    </a:lnTo>
                    <a:lnTo>
                      <a:pt x="0" y="11"/>
                    </a:lnTo>
                    <a:lnTo>
                      <a:pt x="0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5F9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50" name="Freeform 469"/>
              <p:cNvSpPr>
                <a:spLocks/>
              </p:cNvSpPr>
              <p:nvPr/>
            </p:nvSpPr>
            <p:spPr bwMode="auto">
              <a:xfrm>
                <a:off x="3112" y="2258"/>
                <a:ext cx="69" cy="26"/>
              </a:xfrm>
              <a:custGeom>
                <a:avLst/>
                <a:gdLst>
                  <a:gd name="T0" fmla="*/ 0 w 69"/>
                  <a:gd name="T1" fmla="*/ 0 h 26"/>
                  <a:gd name="T2" fmla="*/ 69 w 69"/>
                  <a:gd name="T3" fmla="*/ 26 h 26"/>
                  <a:gd name="T4" fmla="*/ 69 w 69"/>
                  <a:gd name="T5" fmla="*/ 26 h 26"/>
                  <a:gd name="T6" fmla="*/ 5 w 69"/>
                  <a:gd name="T7" fmla="*/ 5 h 26"/>
                  <a:gd name="T8" fmla="*/ 0 w 69"/>
                  <a:gd name="T9" fmla="*/ 0 h 2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9"/>
                  <a:gd name="T16" fmla="*/ 0 h 26"/>
                  <a:gd name="T17" fmla="*/ 69 w 69"/>
                  <a:gd name="T18" fmla="*/ 26 h 2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9" h="26">
                    <a:moveTo>
                      <a:pt x="0" y="0"/>
                    </a:moveTo>
                    <a:lnTo>
                      <a:pt x="69" y="26"/>
                    </a:lnTo>
                    <a:lnTo>
                      <a:pt x="5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5F98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51" name="Freeform 470"/>
              <p:cNvSpPr>
                <a:spLocks/>
              </p:cNvSpPr>
              <p:nvPr/>
            </p:nvSpPr>
            <p:spPr bwMode="auto">
              <a:xfrm>
                <a:off x="3047" y="2231"/>
                <a:ext cx="134" cy="117"/>
              </a:xfrm>
              <a:custGeom>
                <a:avLst/>
                <a:gdLst>
                  <a:gd name="T0" fmla="*/ 134 w 134"/>
                  <a:gd name="T1" fmla="*/ 69 h 117"/>
                  <a:gd name="T2" fmla="*/ 97 w 134"/>
                  <a:gd name="T3" fmla="*/ 53 h 117"/>
                  <a:gd name="T4" fmla="*/ 81 w 134"/>
                  <a:gd name="T5" fmla="*/ 37 h 117"/>
                  <a:gd name="T6" fmla="*/ 70 w 134"/>
                  <a:gd name="T7" fmla="*/ 32 h 117"/>
                  <a:gd name="T8" fmla="*/ 65 w 134"/>
                  <a:gd name="T9" fmla="*/ 27 h 117"/>
                  <a:gd name="T10" fmla="*/ 0 w 134"/>
                  <a:gd name="T11" fmla="*/ 0 h 117"/>
                  <a:gd name="T12" fmla="*/ 0 w 134"/>
                  <a:gd name="T13" fmla="*/ 0 h 117"/>
                  <a:gd name="T14" fmla="*/ 0 w 134"/>
                  <a:gd name="T15" fmla="*/ 32 h 117"/>
                  <a:gd name="T16" fmla="*/ 0 w 134"/>
                  <a:gd name="T17" fmla="*/ 37 h 117"/>
                  <a:gd name="T18" fmla="*/ 22 w 134"/>
                  <a:gd name="T19" fmla="*/ 48 h 117"/>
                  <a:gd name="T20" fmla="*/ 22 w 134"/>
                  <a:gd name="T21" fmla="*/ 64 h 117"/>
                  <a:gd name="T22" fmla="*/ 16 w 134"/>
                  <a:gd name="T23" fmla="*/ 101 h 117"/>
                  <a:gd name="T24" fmla="*/ 16 w 134"/>
                  <a:gd name="T25" fmla="*/ 101 h 117"/>
                  <a:gd name="T26" fmla="*/ 38 w 134"/>
                  <a:gd name="T27" fmla="*/ 101 h 117"/>
                  <a:gd name="T28" fmla="*/ 97 w 134"/>
                  <a:gd name="T29" fmla="*/ 112 h 117"/>
                  <a:gd name="T30" fmla="*/ 102 w 134"/>
                  <a:gd name="T31" fmla="*/ 112 h 117"/>
                  <a:gd name="T32" fmla="*/ 108 w 134"/>
                  <a:gd name="T33" fmla="*/ 112 h 117"/>
                  <a:gd name="T34" fmla="*/ 129 w 134"/>
                  <a:gd name="T35" fmla="*/ 117 h 117"/>
                  <a:gd name="T36" fmla="*/ 134 w 134"/>
                  <a:gd name="T37" fmla="*/ 80 h 117"/>
                  <a:gd name="T38" fmla="*/ 134 w 134"/>
                  <a:gd name="T39" fmla="*/ 75 h 117"/>
                  <a:gd name="T40" fmla="*/ 134 w 134"/>
                  <a:gd name="T41" fmla="*/ 75 h 117"/>
                  <a:gd name="T42" fmla="*/ 134 w 134"/>
                  <a:gd name="T43" fmla="*/ 69 h 117"/>
                  <a:gd name="T44" fmla="*/ 134 w 134"/>
                  <a:gd name="T45" fmla="*/ 69 h 117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34"/>
                  <a:gd name="T70" fmla="*/ 0 h 117"/>
                  <a:gd name="T71" fmla="*/ 134 w 134"/>
                  <a:gd name="T72" fmla="*/ 117 h 117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34" h="117">
                    <a:moveTo>
                      <a:pt x="134" y="69"/>
                    </a:moveTo>
                    <a:lnTo>
                      <a:pt x="97" y="53"/>
                    </a:lnTo>
                    <a:lnTo>
                      <a:pt x="81" y="37"/>
                    </a:lnTo>
                    <a:lnTo>
                      <a:pt x="70" y="32"/>
                    </a:lnTo>
                    <a:lnTo>
                      <a:pt x="65" y="27"/>
                    </a:lnTo>
                    <a:lnTo>
                      <a:pt x="0" y="0"/>
                    </a:lnTo>
                    <a:lnTo>
                      <a:pt x="0" y="32"/>
                    </a:lnTo>
                    <a:lnTo>
                      <a:pt x="0" y="37"/>
                    </a:lnTo>
                    <a:lnTo>
                      <a:pt x="22" y="48"/>
                    </a:lnTo>
                    <a:lnTo>
                      <a:pt x="22" y="64"/>
                    </a:lnTo>
                    <a:lnTo>
                      <a:pt x="16" y="101"/>
                    </a:lnTo>
                    <a:lnTo>
                      <a:pt x="38" y="101"/>
                    </a:lnTo>
                    <a:lnTo>
                      <a:pt x="97" y="112"/>
                    </a:lnTo>
                    <a:lnTo>
                      <a:pt x="102" y="112"/>
                    </a:lnTo>
                    <a:lnTo>
                      <a:pt x="108" y="112"/>
                    </a:lnTo>
                    <a:lnTo>
                      <a:pt x="129" y="117"/>
                    </a:lnTo>
                    <a:lnTo>
                      <a:pt x="134" y="80"/>
                    </a:lnTo>
                    <a:lnTo>
                      <a:pt x="134" y="75"/>
                    </a:lnTo>
                    <a:lnTo>
                      <a:pt x="134" y="69"/>
                    </a:lnTo>
                    <a:close/>
                  </a:path>
                </a:pathLst>
              </a:custGeom>
              <a:solidFill>
                <a:srgbClr val="72706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52" name="Freeform 471"/>
              <p:cNvSpPr>
                <a:spLocks/>
              </p:cNvSpPr>
              <p:nvPr/>
            </p:nvSpPr>
            <p:spPr bwMode="auto">
              <a:xfrm>
                <a:off x="3069" y="2279"/>
                <a:ext cx="37" cy="53"/>
              </a:xfrm>
              <a:custGeom>
                <a:avLst/>
                <a:gdLst>
                  <a:gd name="T0" fmla="*/ 0 w 37"/>
                  <a:gd name="T1" fmla="*/ 53 h 53"/>
                  <a:gd name="T2" fmla="*/ 0 w 37"/>
                  <a:gd name="T3" fmla="*/ 16 h 53"/>
                  <a:gd name="T4" fmla="*/ 5 w 37"/>
                  <a:gd name="T5" fmla="*/ 16 h 53"/>
                  <a:gd name="T6" fmla="*/ 10 w 37"/>
                  <a:gd name="T7" fmla="*/ 0 h 53"/>
                  <a:gd name="T8" fmla="*/ 21 w 37"/>
                  <a:gd name="T9" fmla="*/ 0 h 53"/>
                  <a:gd name="T10" fmla="*/ 37 w 37"/>
                  <a:gd name="T11" fmla="*/ 5 h 53"/>
                  <a:gd name="T12" fmla="*/ 21 w 37"/>
                  <a:gd name="T13" fmla="*/ 21 h 53"/>
                  <a:gd name="T14" fmla="*/ 16 w 37"/>
                  <a:gd name="T15" fmla="*/ 53 h 53"/>
                  <a:gd name="T16" fmla="*/ 0 w 37"/>
                  <a:gd name="T17" fmla="*/ 53 h 5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7"/>
                  <a:gd name="T28" fmla="*/ 0 h 53"/>
                  <a:gd name="T29" fmla="*/ 37 w 37"/>
                  <a:gd name="T30" fmla="*/ 53 h 5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7" h="53">
                    <a:moveTo>
                      <a:pt x="0" y="53"/>
                    </a:moveTo>
                    <a:lnTo>
                      <a:pt x="0" y="16"/>
                    </a:lnTo>
                    <a:lnTo>
                      <a:pt x="5" y="16"/>
                    </a:lnTo>
                    <a:lnTo>
                      <a:pt x="10" y="0"/>
                    </a:lnTo>
                    <a:lnTo>
                      <a:pt x="21" y="0"/>
                    </a:lnTo>
                    <a:lnTo>
                      <a:pt x="37" y="5"/>
                    </a:lnTo>
                    <a:lnTo>
                      <a:pt x="21" y="21"/>
                    </a:lnTo>
                    <a:lnTo>
                      <a:pt x="16" y="53"/>
                    </a:lnTo>
                    <a:lnTo>
                      <a:pt x="0" y="53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53" name="Freeform 472"/>
              <p:cNvSpPr>
                <a:spLocks/>
              </p:cNvSpPr>
              <p:nvPr/>
            </p:nvSpPr>
            <p:spPr bwMode="auto">
              <a:xfrm>
                <a:off x="3155" y="2311"/>
                <a:ext cx="26" cy="21"/>
              </a:xfrm>
              <a:custGeom>
                <a:avLst/>
                <a:gdLst>
                  <a:gd name="T0" fmla="*/ 0 w 26"/>
                  <a:gd name="T1" fmla="*/ 0 h 21"/>
                  <a:gd name="T2" fmla="*/ 16 w 26"/>
                  <a:gd name="T3" fmla="*/ 21 h 21"/>
                  <a:gd name="T4" fmla="*/ 26 w 26"/>
                  <a:gd name="T5" fmla="*/ 16 h 21"/>
                  <a:gd name="T6" fmla="*/ 26 w 26"/>
                  <a:gd name="T7" fmla="*/ 11 h 21"/>
                  <a:gd name="T8" fmla="*/ 0 w 26"/>
                  <a:gd name="T9" fmla="*/ 0 h 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6"/>
                  <a:gd name="T16" fmla="*/ 0 h 21"/>
                  <a:gd name="T17" fmla="*/ 26 w 26"/>
                  <a:gd name="T18" fmla="*/ 21 h 2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6" h="21">
                    <a:moveTo>
                      <a:pt x="0" y="0"/>
                    </a:moveTo>
                    <a:lnTo>
                      <a:pt x="16" y="21"/>
                    </a:lnTo>
                    <a:lnTo>
                      <a:pt x="26" y="16"/>
                    </a:lnTo>
                    <a:lnTo>
                      <a:pt x="26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15E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54" name="Freeform 473"/>
              <p:cNvSpPr>
                <a:spLocks/>
              </p:cNvSpPr>
              <p:nvPr/>
            </p:nvSpPr>
            <p:spPr bwMode="auto">
              <a:xfrm>
                <a:off x="3144" y="2284"/>
                <a:ext cx="32" cy="16"/>
              </a:xfrm>
              <a:custGeom>
                <a:avLst/>
                <a:gdLst>
                  <a:gd name="T0" fmla="*/ 0 w 32"/>
                  <a:gd name="T1" fmla="*/ 0 h 16"/>
                  <a:gd name="T2" fmla="*/ 21 w 32"/>
                  <a:gd name="T3" fmla="*/ 16 h 16"/>
                  <a:gd name="T4" fmla="*/ 32 w 32"/>
                  <a:gd name="T5" fmla="*/ 16 h 16"/>
                  <a:gd name="T6" fmla="*/ 0 w 32"/>
                  <a:gd name="T7" fmla="*/ 0 h 1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2"/>
                  <a:gd name="T13" fmla="*/ 0 h 16"/>
                  <a:gd name="T14" fmla="*/ 32 w 32"/>
                  <a:gd name="T15" fmla="*/ 16 h 1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2" h="16">
                    <a:moveTo>
                      <a:pt x="0" y="0"/>
                    </a:moveTo>
                    <a:lnTo>
                      <a:pt x="21" y="16"/>
                    </a:lnTo>
                    <a:lnTo>
                      <a:pt x="32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15E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55" name="Freeform 474"/>
              <p:cNvSpPr>
                <a:spLocks/>
              </p:cNvSpPr>
              <p:nvPr/>
            </p:nvSpPr>
            <p:spPr bwMode="auto">
              <a:xfrm>
                <a:off x="3149" y="2300"/>
                <a:ext cx="32" cy="16"/>
              </a:xfrm>
              <a:custGeom>
                <a:avLst/>
                <a:gdLst>
                  <a:gd name="T0" fmla="*/ 0 w 32"/>
                  <a:gd name="T1" fmla="*/ 6 h 16"/>
                  <a:gd name="T2" fmla="*/ 32 w 32"/>
                  <a:gd name="T3" fmla="*/ 16 h 16"/>
                  <a:gd name="T4" fmla="*/ 32 w 32"/>
                  <a:gd name="T5" fmla="*/ 11 h 16"/>
                  <a:gd name="T6" fmla="*/ 32 w 32"/>
                  <a:gd name="T7" fmla="*/ 6 h 16"/>
                  <a:gd name="T8" fmla="*/ 32 w 32"/>
                  <a:gd name="T9" fmla="*/ 0 h 16"/>
                  <a:gd name="T10" fmla="*/ 32 w 32"/>
                  <a:gd name="T11" fmla="*/ 0 h 16"/>
                  <a:gd name="T12" fmla="*/ 32 w 32"/>
                  <a:gd name="T13" fmla="*/ 0 h 16"/>
                  <a:gd name="T14" fmla="*/ 27 w 32"/>
                  <a:gd name="T15" fmla="*/ 0 h 16"/>
                  <a:gd name="T16" fmla="*/ 0 w 32"/>
                  <a:gd name="T17" fmla="*/ 6 h 16"/>
                  <a:gd name="T18" fmla="*/ 0 w 32"/>
                  <a:gd name="T19" fmla="*/ 6 h 1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2"/>
                  <a:gd name="T31" fmla="*/ 0 h 16"/>
                  <a:gd name="T32" fmla="*/ 32 w 32"/>
                  <a:gd name="T33" fmla="*/ 16 h 1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2" h="16">
                    <a:moveTo>
                      <a:pt x="0" y="6"/>
                    </a:moveTo>
                    <a:lnTo>
                      <a:pt x="32" y="16"/>
                    </a:lnTo>
                    <a:lnTo>
                      <a:pt x="32" y="11"/>
                    </a:lnTo>
                    <a:lnTo>
                      <a:pt x="32" y="6"/>
                    </a:lnTo>
                    <a:lnTo>
                      <a:pt x="32" y="0"/>
                    </a:lnTo>
                    <a:lnTo>
                      <a:pt x="27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A9A8A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56" name="Freeform 475"/>
              <p:cNvSpPr>
                <a:spLocks/>
              </p:cNvSpPr>
              <p:nvPr/>
            </p:nvSpPr>
            <p:spPr bwMode="auto">
              <a:xfrm>
                <a:off x="3165" y="2300"/>
                <a:ext cx="16" cy="6"/>
              </a:xfrm>
              <a:custGeom>
                <a:avLst/>
                <a:gdLst>
                  <a:gd name="T0" fmla="*/ 0 w 16"/>
                  <a:gd name="T1" fmla="*/ 0 h 6"/>
                  <a:gd name="T2" fmla="*/ 16 w 16"/>
                  <a:gd name="T3" fmla="*/ 6 h 6"/>
                  <a:gd name="T4" fmla="*/ 16 w 16"/>
                  <a:gd name="T5" fmla="*/ 0 h 6"/>
                  <a:gd name="T6" fmla="*/ 16 w 16"/>
                  <a:gd name="T7" fmla="*/ 0 h 6"/>
                  <a:gd name="T8" fmla="*/ 11 w 16"/>
                  <a:gd name="T9" fmla="*/ 0 h 6"/>
                  <a:gd name="T10" fmla="*/ 0 w 16"/>
                  <a:gd name="T11" fmla="*/ 0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6"/>
                  <a:gd name="T20" fmla="*/ 16 w 16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6">
                    <a:moveTo>
                      <a:pt x="0" y="0"/>
                    </a:moveTo>
                    <a:lnTo>
                      <a:pt x="16" y="6"/>
                    </a:lnTo>
                    <a:lnTo>
                      <a:pt x="16" y="0"/>
                    </a:lnTo>
                    <a:lnTo>
                      <a:pt x="1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5949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57" name="Freeform 476"/>
              <p:cNvSpPr>
                <a:spLocks/>
              </p:cNvSpPr>
              <p:nvPr/>
            </p:nvSpPr>
            <p:spPr bwMode="auto">
              <a:xfrm>
                <a:off x="3155" y="2327"/>
                <a:ext cx="26" cy="21"/>
              </a:xfrm>
              <a:custGeom>
                <a:avLst/>
                <a:gdLst>
                  <a:gd name="T0" fmla="*/ 26 w 26"/>
                  <a:gd name="T1" fmla="*/ 0 h 21"/>
                  <a:gd name="T2" fmla="*/ 0 w 26"/>
                  <a:gd name="T3" fmla="*/ 5 h 21"/>
                  <a:gd name="T4" fmla="*/ 0 w 26"/>
                  <a:gd name="T5" fmla="*/ 11 h 21"/>
                  <a:gd name="T6" fmla="*/ 26 w 26"/>
                  <a:gd name="T7" fmla="*/ 21 h 21"/>
                  <a:gd name="T8" fmla="*/ 26 w 26"/>
                  <a:gd name="T9" fmla="*/ 0 h 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6"/>
                  <a:gd name="T16" fmla="*/ 0 h 21"/>
                  <a:gd name="T17" fmla="*/ 26 w 26"/>
                  <a:gd name="T18" fmla="*/ 21 h 2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6" h="21">
                    <a:moveTo>
                      <a:pt x="26" y="0"/>
                    </a:moveTo>
                    <a:lnTo>
                      <a:pt x="0" y="5"/>
                    </a:lnTo>
                    <a:lnTo>
                      <a:pt x="0" y="11"/>
                    </a:lnTo>
                    <a:lnTo>
                      <a:pt x="26" y="21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A9A8A7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58" name="Freeform 477"/>
              <p:cNvSpPr>
                <a:spLocks/>
              </p:cNvSpPr>
              <p:nvPr/>
            </p:nvSpPr>
            <p:spPr bwMode="auto">
              <a:xfrm>
                <a:off x="3171" y="2327"/>
                <a:ext cx="10" cy="5"/>
              </a:xfrm>
              <a:custGeom>
                <a:avLst/>
                <a:gdLst>
                  <a:gd name="T0" fmla="*/ 0 w 10"/>
                  <a:gd name="T1" fmla="*/ 5 h 5"/>
                  <a:gd name="T2" fmla="*/ 10 w 10"/>
                  <a:gd name="T3" fmla="*/ 5 h 5"/>
                  <a:gd name="T4" fmla="*/ 10 w 10"/>
                  <a:gd name="T5" fmla="*/ 0 h 5"/>
                  <a:gd name="T6" fmla="*/ 0 w 10"/>
                  <a:gd name="T7" fmla="*/ 5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"/>
                  <a:gd name="T13" fmla="*/ 0 h 5"/>
                  <a:gd name="T14" fmla="*/ 10 w 10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" h="5">
                    <a:moveTo>
                      <a:pt x="0" y="5"/>
                    </a:moveTo>
                    <a:lnTo>
                      <a:pt x="10" y="5"/>
                    </a:lnTo>
                    <a:lnTo>
                      <a:pt x="10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95949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59" name="Freeform 478"/>
              <p:cNvSpPr>
                <a:spLocks/>
              </p:cNvSpPr>
              <p:nvPr/>
            </p:nvSpPr>
            <p:spPr bwMode="auto">
              <a:xfrm>
                <a:off x="2962" y="2209"/>
                <a:ext cx="107" cy="118"/>
              </a:xfrm>
              <a:custGeom>
                <a:avLst/>
                <a:gdLst>
                  <a:gd name="T0" fmla="*/ 42 w 107"/>
                  <a:gd name="T1" fmla="*/ 22 h 118"/>
                  <a:gd name="T2" fmla="*/ 16 w 107"/>
                  <a:gd name="T3" fmla="*/ 32 h 118"/>
                  <a:gd name="T4" fmla="*/ 16 w 107"/>
                  <a:gd name="T5" fmla="*/ 32 h 118"/>
                  <a:gd name="T6" fmla="*/ 16 w 107"/>
                  <a:gd name="T7" fmla="*/ 70 h 118"/>
                  <a:gd name="T8" fmla="*/ 16 w 107"/>
                  <a:gd name="T9" fmla="*/ 75 h 118"/>
                  <a:gd name="T10" fmla="*/ 101 w 107"/>
                  <a:gd name="T11" fmla="*/ 118 h 118"/>
                  <a:gd name="T12" fmla="*/ 107 w 107"/>
                  <a:gd name="T13" fmla="*/ 86 h 118"/>
                  <a:gd name="T14" fmla="*/ 107 w 107"/>
                  <a:gd name="T15" fmla="*/ 81 h 118"/>
                  <a:gd name="T16" fmla="*/ 107 w 107"/>
                  <a:gd name="T17" fmla="*/ 70 h 118"/>
                  <a:gd name="T18" fmla="*/ 85 w 107"/>
                  <a:gd name="T19" fmla="*/ 59 h 118"/>
                  <a:gd name="T20" fmla="*/ 85 w 107"/>
                  <a:gd name="T21" fmla="*/ 54 h 118"/>
                  <a:gd name="T22" fmla="*/ 85 w 107"/>
                  <a:gd name="T23" fmla="*/ 38 h 118"/>
                  <a:gd name="T24" fmla="*/ 85 w 107"/>
                  <a:gd name="T25" fmla="*/ 27 h 118"/>
                  <a:gd name="T26" fmla="*/ 85 w 107"/>
                  <a:gd name="T27" fmla="*/ 22 h 118"/>
                  <a:gd name="T28" fmla="*/ 85 w 107"/>
                  <a:gd name="T29" fmla="*/ 22 h 118"/>
                  <a:gd name="T30" fmla="*/ 80 w 107"/>
                  <a:gd name="T31" fmla="*/ 6 h 118"/>
                  <a:gd name="T32" fmla="*/ 48 w 107"/>
                  <a:gd name="T33" fmla="*/ 16 h 118"/>
                  <a:gd name="T34" fmla="*/ 0 w 107"/>
                  <a:gd name="T35" fmla="*/ 0 h 118"/>
                  <a:gd name="T36" fmla="*/ 0 w 107"/>
                  <a:gd name="T37" fmla="*/ 6 h 118"/>
                  <a:gd name="T38" fmla="*/ 42 w 107"/>
                  <a:gd name="T39" fmla="*/ 22 h 11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07"/>
                  <a:gd name="T61" fmla="*/ 0 h 118"/>
                  <a:gd name="T62" fmla="*/ 107 w 107"/>
                  <a:gd name="T63" fmla="*/ 118 h 118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07" h="118">
                    <a:moveTo>
                      <a:pt x="42" y="22"/>
                    </a:moveTo>
                    <a:lnTo>
                      <a:pt x="16" y="32"/>
                    </a:lnTo>
                    <a:lnTo>
                      <a:pt x="16" y="70"/>
                    </a:lnTo>
                    <a:lnTo>
                      <a:pt x="16" y="75"/>
                    </a:lnTo>
                    <a:lnTo>
                      <a:pt x="101" y="118"/>
                    </a:lnTo>
                    <a:lnTo>
                      <a:pt x="107" y="86"/>
                    </a:lnTo>
                    <a:lnTo>
                      <a:pt x="107" y="81"/>
                    </a:lnTo>
                    <a:lnTo>
                      <a:pt x="107" y="70"/>
                    </a:lnTo>
                    <a:lnTo>
                      <a:pt x="85" y="59"/>
                    </a:lnTo>
                    <a:lnTo>
                      <a:pt x="85" y="54"/>
                    </a:lnTo>
                    <a:lnTo>
                      <a:pt x="85" y="38"/>
                    </a:lnTo>
                    <a:lnTo>
                      <a:pt x="85" y="27"/>
                    </a:lnTo>
                    <a:lnTo>
                      <a:pt x="85" y="22"/>
                    </a:lnTo>
                    <a:lnTo>
                      <a:pt x="80" y="6"/>
                    </a:lnTo>
                    <a:lnTo>
                      <a:pt x="48" y="16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42" y="22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60" name="Freeform 479"/>
              <p:cNvSpPr>
                <a:spLocks/>
              </p:cNvSpPr>
              <p:nvPr/>
            </p:nvSpPr>
            <p:spPr bwMode="auto">
              <a:xfrm>
                <a:off x="2978" y="2231"/>
                <a:ext cx="91" cy="53"/>
              </a:xfrm>
              <a:custGeom>
                <a:avLst/>
                <a:gdLst>
                  <a:gd name="T0" fmla="*/ 26 w 91"/>
                  <a:gd name="T1" fmla="*/ 0 h 53"/>
                  <a:gd name="T2" fmla="*/ 0 w 91"/>
                  <a:gd name="T3" fmla="*/ 10 h 53"/>
                  <a:gd name="T4" fmla="*/ 0 w 91"/>
                  <a:gd name="T5" fmla="*/ 10 h 53"/>
                  <a:gd name="T6" fmla="*/ 91 w 91"/>
                  <a:gd name="T7" fmla="*/ 53 h 53"/>
                  <a:gd name="T8" fmla="*/ 91 w 91"/>
                  <a:gd name="T9" fmla="*/ 48 h 53"/>
                  <a:gd name="T10" fmla="*/ 69 w 91"/>
                  <a:gd name="T11" fmla="*/ 37 h 53"/>
                  <a:gd name="T12" fmla="*/ 69 w 91"/>
                  <a:gd name="T13" fmla="*/ 32 h 53"/>
                  <a:gd name="T14" fmla="*/ 69 w 91"/>
                  <a:gd name="T15" fmla="*/ 16 h 53"/>
                  <a:gd name="T16" fmla="*/ 26 w 91"/>
                  <a:gd name="T17" fmla="*/ 0 h 5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91"/>
                  <a:gd name="T28" fmla="*/ 0 h 53"/>
                  <a:gd name="T29" fmla="*/ 91 w 91"/>
                  <a:gd name="T30" fmla="*/ 53 h 5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91" h="53">
                    <a:moveTo>
                      <a:pt x="26" y="0"/>
                    </a:moveTo>
                    <a:lnTo>
                      <a:pt x="0" y="10"/>
                    </a:lnTo>
                    <a:lnTo>
                      <a:pt x="91" y="53"/>
                    </a:lnTo>
                    <a:lnTo>
                      <a:pt x="91" y="48"/>
                    </a:lnTo>
                    <a:lnTo>
                      <a:pt x="69" y="37"/>
                    </a:lnTo>
                    <a:lnTo>
                      <a:pt x="69" y="32"/>
                    </a:lnTo>
                    <a:lnTo>
                      <a:pt x="69" y="16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615E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61" name="Freeform 480"/>
              <p:cNvSpPr>
                <a:spLocks/>
              </p:cNvSpPr>
              <p:nvPr/>
            </p:nvSpPr>
            <p:spPr bwMode="auto">
              <a:xfrm>
                <a:off x="3037" y="2215"/>
                <a:ext cx="10" cy="10"/>
              </a:xfrm>
              <a:custGeom>
                <a:avLst/>
                <a:gdLst>
                  <a:gd name="T0" fmla="*/ 10 w 10"/>
                  <a:gd name="T1" fmla="*/ 0 h 10"/>
                  <a:gd name="T2" fmla="*/ 0 w 10"/>
                  <a:gd name="T3" fmla="*/ 5 h 10"/>
                  <a:gd name="T4" fmla="*/ 10 w 10"/>
                  <a:gd name="T5" fmla="*/ 10 h 10"/>
                  <a:gd name="T6" fmla="*/ 10 w 10"/>
                  <a:gd name="T7" fmla="*/ 0 h 1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"/>
                  <a:gd name="T13" fmla="*/ 0 h 10"/>
                  <a:gd name="T14" fmla="*/ 10 w 10"/>
                  <a:gd name="T15" fmla="*/ 10 h 1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" h="10">
                    <a:moveTo>
                      <a:pt x="10" y="0"/>
                    </a:moveTo>
                    <a:lnTo>
                      <a:pt x="0" y="5"/>
                    </a:lnTo>
                    <a:lnTo>
                      <a:pt x="10" y="10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3D3937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62" name="Rectangle 481"/>
              <p:cNvSpPr>
                <a:spLocks noChangeArrowheads="1"/>
              </p:cNvSpPr>
              <p:nvPr/>
            </p:nvSpPr>
            <p:spPr bwMode="auto">
              <a:xfrm>
                <a:off x="3021" y="2252"/>
                <a:ext cx="5" cy="6"/>
              </a:xfrm>
              <a:prstGeom prst="rect">
                <a:avLst/>
              </a:prstGeom>
              <a:solidFill>
                <a:srgbClr val="504C4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63" name="Freeform 482"/>
              <p:cNvSpPr>
                <a:spLocks/>
              </p:cNvSpPr>
              <p:nvPr/>
            </p:nvSpPr>
            <p:spPr bwMode="auto">
              <a:xfrm>
                <a:off x="2887" y="2193"/>
                <a:ext cx="117" cy="86"/>
              </a:xfrm>
              <a:custGeom>
                <a:avLst/>
                <a:gdLst>
                  <a:gd name="T0" fmla="*/ 117 w 117"/>
                  <a:gd name="T1" fmla="*/ 38 h 86"/>
                  <a:gd name="T2" fmla="*/ 75 w 117"/>
                  <a:gd name="T3" fmla="*/ 22 h 86"/>
                  <a:gd name="T4" fmla="*/ 75 w 117"/>
                  <a:gd name="T5" fmla="*/ 11 h 86"/>
                  <a:gd name="T6" fmla="*/ 32 w 117"/>
                  <a:gd name="T7" fmla="*/ 0 h 86"/>
                  <a:gd name="T8" fmla="*/ 10 w 117"/>
                  <a:gd name="T9" fmla="*/ 6 h 86"/>
                  <a:gd name="T10" fmla="*/ 5 w 117"/>
                  <a:gd name="T11" fmla="*/ 11 h 86"/>
                  <a:gd name="T12" fmla="*/ 5 w 117"/>
                  <a:gd name="T13" fmla="*/ 22 h 86"/>
                  <a:gd name="T14" fmla="*/ 0 w 117"/>
                  <a:gd name="T15" fmla="*/ 59 h 86"/>
                  <a:gd name="T16" fmla="*/ 5 w 117"/>
                  <a:gd name="T17" fmla="*/ 59 h 86"/>
                  <a:gd name="T18" fmla="*/ 5 w 117"/>
                  <a:gd name="T19" fmla="*/ 59 h 86"/>
                  <a:gd name="T20" fmla="*/ 5 w 117"/>
                  <a:gd name="T21" fmla="*/ 65 h 86"/>
                  <a:gd name="T22" fmla="*/ 0 w 117"/>
                  <a:gd name="T23" fmla="*/ 86 h 86"/>
                  <a:gd name="T24" fmla="*/ 10 w 117"/>
                  <a:gd name="T25" fmla="*/ 81 h 86"/>
                  <a:gd name="T26" fmla="*/ 69 w 117"/>
                  <a:gd name="T27" fmla="*/ 81 h 86"/>
                  <a:gd name="T28" fmla="*/ 85 w 117"/>
                  <a:gd name="T29" fmla="*/ 75 h 86"/>
                  <a:gd name="T30" fmla="*/ 91 w 117"/>
                  <a:gd name="T31" fmla="*/ 48 h 86"/>
                  <a:gd name="T32" fmla="*/ 91 w 117"/>
                  <a:gd name="T33" fmla="*/ 48 h 86"/>
                  <a:gd name="T34" fmla="*/ 117 w 117"/>
                  <a:gd name="T35" fmla="*/ 38 h 8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17"/>
                  <a:gd name="T55" fmla="*/ 0 h 86"/>
                  <a:gd name="T56" fmla="*/ 117 w 117"/>
                  <a:gd name="T57" fmla="*/ 86 h 8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17" h="86">
                    <a:moveTo>
                      <a:pt x="117" y="38"/>
                    </a:moveTo>
                    <a:lnTo>
                      <a:pt x="75" y="22"/>
                    </a:lnTo>
                    <a:lnTo>
                      <a:pt x="75" y="11"/>
                    </a:lnTo>
                    <a:lnTo>
                      <a:pt x="32" y="0"/>
                    </a:lnTo>
                    <a:lnTo>
                      <a:pt x="10" y="6"/>
                    </a:lnTo>
                    <a:lnTo>
                      <a:pt x="5" y="11"/>
                    </a:lnTo>
                    <a:lnTo>
                      <a:pt x="5" y="22"/>
                    </a:lnTo>
                    <a:lnTo>
                      <a:pt x="0" y="59"/>
                    </a:lnTo>
                    <a:lnTo>
                      <a:pt x="5" y="59"/>
                    </a:lnTo>
                    <a:lnTo>
                      <a:pt x="5" y="65"/>
                    </a:lnTo>
                    <a:lnTo>
                      <a:pt x="0" y="86"/>
                    </a:lnTo>
                    <a:lnTo>
                      <a:pt x="10" y="81"/>
                    </a:lnTo>
                    <a:lnTo>
                      <a:pt x="69" y="81"/>
                    </a:lnTo>
                    <a:lnTo>
                      <a:pt x="85" y="75"/>
                    </a:lnTo>
                    <a:lnTo>
                      <a:pt x="91" y="48"/>
                    </a:lnTo>
                    <a:lnTo>
                      <a:pt x="117" y="38"/>
                    </a:lnTo>
                    <a:close/>
                  </a:path>
                </a:pathLst>
              </a:custGeom>
              <a:solidFill>
                <a:srgbClr val="72706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64" name="Freeform 483"/>
              <p:cNvSpPr>
                <a:spLocks/>
              </p:cNvSpPr>
              <p:nvPr/>
            </p:nvSpPr>
            <p:spPr bwMode="auto">
              <a:xfrm>
                <a:off x="2908" y="2193"/>
                <a:ext cx="96" cy="81"/>
              </a:xfrm>
              <a:custGeom>
                <a:avLst/>
                <a:gdLst>
                  <a:gd name="T0" fmla="*/ 11 w 96"/>
                  <a:gd name="T1" fmla="*/ 0 h 81"/>
                  <a:gd name="T2" fmla="*/ 54 w 96"/>
                  <a:gd name="T3" fmla="*/ 16 h 81"/>
                  <a:gd name="T4" fmla="*/ 54 w 96"/>
                  <a:gd name="T5" fmla="*/ 22 h 81"/>
                  <a:gd name="T6" fmla="*/ 96 w 96"/>
                  <a:gd name="T7" fmla="*/ 38 h 81"/>
                  <a:gd name="T8" fmla="*/ 70 w 96"/>
                  <a:gd name="T9" fmla="*/ 43 h 81"/>
                  <a:gd name="T10" fmla="*/ 64 w 96"/>
                  <a:gd name="T11" fmla="*/ 48 h 81"/>
                  <a:gd name="T12" fmla="*/ 64 w 96"/>
                  <a:gd name="T13" fmla="*/ 75 h 81"/>
                  <a:gd name="T14" fmla="*/ 48 w 96"/>
                  <a:gd name="T15" fmla="*/ 81 h 81"/>
                  <a:gd name="T16" fmla="*/ 43 w 96"/>
                  <a:gd name="T17" fmla="*/ 65 h 81"/>
                  <a:gd name="T18" fmla="*/ 43 w 96"/>
                  <a:gd name="T19" fmla="*/ 43 h 81"/>
                  <a:gd name="T20" fmla="*/ 32 w 96"/>
                  <a:gd name="T21" fmla="*/ 27 h 81"/>
                  <a:gd name="T22" fmla="*/ 21 w 96"/>
                  <a:gd name="T23" fmla="*/ 11 h 81"/>
                  <a:gd name="T24" fmla="*/ 0 w 96"/>
                  <a:gd name="T25" fmla="*/ 0 h 81"/>
                  <a:gd name="T26" fmla="*/ 11 w 96"/>
                  <a:gd name="T27" fmla="*/ 0 h 8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96"/>
                  <a:gd name="T43" fmla="*/ 0 h 81"/>
                  <a:gd name="T44" fmla="*/ 96 w 96"/>
                  <a:gd name="T45" fmla="*/ 81 h 8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96" h="81">
                    <a:moveTo>
                      <a:pt x="11" y="0"/>
                    </a:moveTo>
                    <a:lnTo>
                      <a:pt x="54" y="16"/>
                    </a:lnTo>
                    <a:lnTo>
                      <a:pt x="54" y="22"/>
                    </a:lnTo>
                    <a:lnTo>
                      <a:pt x="96" y="38"/>
                    </a:lnTo>
                    <a:lnTo>
                      <a:pt x="70" y="43"/>
                    </a:lnTo>
                    <a:lnTo>
                      <a:pt x="64" y="48"/>
                    </a:lnTo>
                    <a:lnTo>
                      <a:pt x="64" y="75"/>
                    </a:lnTo>
                    <a:lnTo>
                      <a:pt x="48" y="81"/>
                    </a:lnTo>
                    <a:lnTo>
                      <a:pt x="43" y="65"/>
                    </a:lnTo>
                    <a:lnTo>
                      <a:pt x="43" y="43"/>
                    </a:lnTo>
                    <a:lnTo>
                      <a:pt x="32" y="27"/>
                    </a:lnTo>
                    <a:lnTo>
                      <a:pt x="21" y="11"/>
                    </a:lnTo>
                    <a:lnTo>
                      <a:pt x="0" y="0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65" name="Freeform 484"/>
              <p:cNvSpPr>
                <a:spLocks/>
              </p:cNvSpPr>
              <p:nvPr/>
            </p:nvSpPr>
            <p:spPr bwMode="auto">
              <a:xfrm>
                <a:off x="2828" y="2156"/>
                <a:ext cx="80" cy="69"/>
              </a:xfrm>
              <a:custGeom>
                <a:avLst/>
                <a:gdLst>
                  <a:gd name="T0" fmla="*/ 75 w 80"/>
                  <a:gd name="T1" fmla="*/ 27 h 69"/>
                  <a:gd name="T2" fmla="*/ 43 w 80"/>
                  <a:gd name="T3" fmla="*/ 37 h 69"/>
                  <a:gd name="T4" fmla="*/ 59 w 80"/>
                  <a:gd name="T5" fmla="*/ 21 h 69"/>
                  <a:gd name="T6" fmla="*/ 53 w 80"/>
                  <a:gd name="T7" fmla="*/ 21 h 69"/>
                  <a:gd name="T8" fmla="*/ 37 w 80"/>
                  <a:gd name="T9" fmla="*/ 37 h 69"/>
                  <a:gd name="T10" fmla="*/ 32 w 80"/>
                  <a:gd name="T11" fmla="*/ 37 h 69"/>
                  <a:gd name="T12" fmla="*/ 32 w 80"/>
                  <a:gd name="T13" fmla="*/ 16 h 69"/>
                  <a:gd name="T14" fmla="*/ 16 w 80"/>
                  <a:gd name="T15" fmla="*/ 5 h 69"/>
                  <a:gd name="T16" fmla="*/ 16 w 80"/>
                  <a:gd name="T17" fmla="*/ 21 h 69"/>
                  <a:gd name="T18" fmla="*/ 5 w 80"/>
                  <a:gd name="T19" fmla="*/ 5 h 69"/>
                  <a:gd name="T20" fmla="*/ 0 w 80"/>
                  <a:gd name="T21" fmla="*/ 0 h 69"/>
                  <a:gd name="T22" fmla="*/ 16 w 80"/>
                  <a:gd name="T23" fmla="*/ 37 h 69"/>
                  <a:gd name="T24" fmla="*/ 16 w 80"/>
                  <a:gd name="T25" fmla="*/ 53 h 69"/>
                  <a:gd name="T26" fmla="*/ 21 w 80"/>
                  <a:gd name="T27" fmla="*/ 59 h 69"/>
                  <a:gd name="T28" fmla="*/ 26 w 80"/>
                  <a:gd name="T29" fmla="*/ 69 h 69"/>
                  <a:gd name="T30" fmla="*/ 32 w 80"/>
                  <a:gd name="T31" fmla="*/ 69 h 69"/>
                  <a:gd name="T32" fmla="*/ 32 w 80"/>
                  <a:gd name="T33" fmla="*/ 48 h 69"/>
                  <a:gd name="T34" fmla="*/ 37 w 80"/>
                  <a:gd name="T35" fmla="*/ 43 h 69"/>
                  <a:gd name="T36" fmla="*/ 80 w 80"/>
                  <a:gd name="T37" fmla="*/ 32 h 69"/>
                  <a:gd name="T38" fmla="*/ 75 w 80"/>
                  <a:gd name="T39" fmla="*/ 27 h 69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80"/>
                  <a:gd name="T61" fmla="*/ 0 h 69"/>
                  <a:gd name="T62" fmla="*/ 80 w 80"/>
                  <a:gd name="T63" fmla="*/ 69 h 69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80" h="69">
                    <a:moveTo>
                      <a:pt x="75" y="27"/>
                    </a:moveTo>
                    <a:lnTo>
                      <a:pt x="43" y="37"/>
                    </a:lnTo>
                    <a:lnTo>
                      <a:pt x="59" y="21"/>
                    </a:lnTo>
                    <a:lnTo>
                      <a:pt x="53" y="21"/>
                    </a:lnTo>
                    <a:lnTo>
                      <a:pt x="37" y="37"/>
                    </a:lnTo>
                    <a:lnTo>
                      <a:pt x="32" y="37"/>
                    </a:lnTo>
                    <a:lnTo>
                      <a:pt x="32" y="16"/>
                    </a:lnTo>
                    <a:lnTo>
                      <a:pt x="16" y="5"/>
                    </a:lnTo>
                    <a:lnTo>
                      <a:pt x="16" y="21"/>
                    </a:lnTo>
                    <a:lnTo>
                      <a:pt x="5" y="5"/>
                    </a:lnTo>
                    <a:lnTo>
                      <a:pt x="0" y="0"/>
                    </a:lnTo>
                    <a:lnTo>
                      <a:pt x="16" y="37"/>
                    </a:lnTo>
                    <a:lnTo>
                      <a:pt x="16" y="53"/>
                    </a:lnTo>
                    <a:lnTo>
                      <a:pt x="21" y="59"/>
                    </a:lnTo>
                    <a:lnTo>
                      <a:pt x="26" y="69"/>
                    </a:lnTo>
                    <a:lnTo>
                      <a:pt x="32" y="69"/>
                    </a:lnTo>
                    <a:lnTo>
                      <a:pt x="32" y="48"/>
                    </a:lnTo>
                    <a:lnTo>
                      <a:pt x="37" y="43"/>
                    </a:lnTo>
                    <a:lnTo>
                      <a:pt x="80" y="32"/>
                    </a:lnTo>
                    <a:lnTo>
                      <a:pt x="75" y="27"/>
                    </a:lnTo>
                    <a:close/>
                  </a:path>
                </a:pathLst>
              </a:custGeom>
              <a:solidFill>
                <a:srgbClr val="72706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66" name="Freeform 485"/>
              <p:cNvSpPr>
                <a:spLocks/>
              </p:cNvSpPr>
              <p:nvPr/>
            </p:nvSpPr>
            <p:spPr bwMode="auto">
              <a:xfrm>
                <a:off x="2844" y="2167"/>
                <a:ext cx="5" cy="48"/>
              </a:xfrm>
              <a:custGeom>
                <a:avLst/>
                <a:gdLst>
                  <a:gd name="T0" fmla="*/ 0 w 5"/>
                  <a:gd name="T1" fmla="*/ 0 h 48"/>
                  <a:gd name="T2" fmla="*/ 0 w 5"/>
                  <a:gd name="T3" fmla="*/ 42 h 48"/>
                  <a:gd name="T4" fmla="*/ 5 w 5"/>
                  <a:gd name="T5" fmla="*/ 48 h 48"/>
                  <a:gd name="T6" fmla="*/ 5 w 5"/>
                  <a:gd name="T7" fmla="*/ 0 h 48"/>
                  <a:gd name="T8" fmla="*/ 0 w 5"/>
                  <a:gd name="T9" fmla="*/ 0 h 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48"/>
                  <a:gd name="T17" fmla="*/ 5 w 5"/>
                  <a:gd name="T18" fmla="*/ 48 h 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48">
                    <a:moveTo>
                      <a:pt x="0" y="0"/>
                    </a:moveTo>
                    <a:lnTo>
                      <a:pt x="0" y="42"/>
                    </a:lnTo>
                    <a:lnTo>
                      <a:pt x="5" y="48"/>
                    </a:lnTo>
                    <a:lnTo>
                      <a:pt x="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9A8A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67" name="Freeform 486"/>
              <p:cNvSpPr>
                <a:spLocks/>
              </p:cNvSpPr>
              <p:nvPr/>
            </p:nvSpPr>
            <p:spPr bwMode="auto">
              <a:xfrm>
                <a:off x="2828" y="2209"/>
                <a:ext cx="21" cy="27"/>
              </a:xfrm>
              <a:custGeom>
                <a:avLst/>
                <a:gdLst>
                  <a:gd name="T0" fmla="*/ 16 w 21"/>
                  <a:gd name="T1" fmla="*/ 0 h 27"/>
                  <a:gd name="T2" fmla="*/ 5 w 21"/>
                  <a:gd name="T3" fmla="*/ 0 h 27"/>
                  <a:gd name="T4" fmla="*/ 0 w 21"/>
                  <a:gd name="T5" fmla="*/ 16 h 27"/>
                  <a:gd name="T6" fmla="*/ 0 w 21"/>
                  <a:gd name="T7" fmla="*/ 22 h 27"/>
                  <a:gd name="T8" fmla="*/ 10 w 21"/>
                  <a:gd name="T9" fmla="*/ 27 h 27"/>
                  <a:gd name="T10" fmla="*/ 21 w 21"/>
                  <a:gd name="T11" fmla="*/ 27 h 27"/>
                  <a:gd name="T12" fmla="*/ 21 w 21"/>
                  <a:gd name="T13" fmla="*/ 6 h 27"/>
                  <a:gd name="T14" fmla="*/ 16 w 21"/>
                  <a:gd name="T15" fmla="*/ 0 h 2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"/>
                  <a:gd name="T25" fmla="*/ 0 h 27"/>
                  <a:gd name="T26" fmla="*/ 21 w 21"/>
                  <a:gd name="T27" fmla="*/ 27 h 2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" h="27">
                    <a:moveTo>
                      <a:pt x="16" y="0"/>
                    </a:moveTo>
                    <a:lnTo>
                      <a:pt x="5" y="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10" y="27"/>
                    </a:lnTo>
                    <a:lnTo>
                      <a:pt x="21" y="27"/>
                    </a:lnTo>
                    <a:lnTo>
                      <a:pt x="21" y="6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C2C1C1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68" name="Freeform 487"/>
              <p:cNvSpPr>
                <a:spLocks/>
              </p:cNvSpPr>
              <p:nvPr/>
            </p:nvSpPr>
            <p:spPr bwMode="auto">
              <a:xfrm>
                <a:off x="2854" y="2204"/>
                <a:ext cx="17" cy="27"/>
              </a:xfrm>
              <a:custGeom>
                <a:avLst/>
                <a:gdLst>
                  <a:gd name="T0" fmla="*/ 11 w 17"/>
                  <a:gd name="T1" fmla="*/ 0 h 27"/>
                  <a:gd name="T2" fmla="*/ 11 w 17"/>
                  <a:gd name="T3" fmla="*/ 0 h 27"/>
                  <a:gd name="T4" fmla="*/ 17 w 17"/>
                  <a:gd name="T5" fmla="*/ 5 h 27"/>
                  <a:gd name="T6" fmla="*/ 17 w 17"/>
                  <a:gd name="T7" fmla="*/ 27 h 27"/>
                  <a:gd name="T8" fmla="*/ 6 w 17"/>
                  <a:gd name="T9" fmla="*/ 27 h 27"/>
                  <a:gd name="T10" fmla="*/ 0 w 17"/>
                  <a:gd name="T11" fmla="*/ 21 h 27"/>
                  <a:gd name="T12" fmla="*/ 6 w 17"/>
                  <a:gd name="T13" fmla="*/ 21 h 27"/>
                  <a:gd name="T14" fmla="*/ 6 w 17"/>
                  <a:gd name="T15" fmla="*/ 0 h 27"/>
                  <a:gd name="T16" fmla="*/ 11 w 17"/>
                  <a:gd name="T17" fmla="*/ 0 h 2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7"/>
                  <a:gd name="T28" fmla="*/ 0 h 27"/>
                  <a:gd name="T29" fmla="*/ 17 w 17"/>
                  <a:gd name="T30" fmla="*/ 27 h 2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7" h="27">
                    <a:moveTo>
                      <a:pt x="11" y="0"/>
                    </a:moveTo>
                    <a:lnTo>
                      <a:pt x="11" y="0"/>
                    </a:lnTo>
                    <a:lnTo>
                      <a:pt x="17" y="5"/>
                    </a:lnTo>
                    <a:lnTo>
                      <a:pt x="17" y="27"/>
                    </a:lnTo>
                    <a:lnTo>
                      <a:pt x="6" y="27"/>
                    </a:lnTo>
                    <a:lnTo>
                      <a:pt x="0" y="21"/>
                    </a:lnTo>
                    <a:lnTo>
                      <a:pt x="6" y="21"/>
                    </a:lnTo>
                    <a:lnTo>
                      <a:pt x="6" y="0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2C1C1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69" name="Freeform 488"/>
              <p:cNvSpPr>
                <a:spLocks/>
              </p:cNvSpPr>
              <p:nvPr/>
            </p:nvSpPr>
            <p:spPr bwMode="auto">
              <a:xfrm>
                <a:off x="2833" y="2215"/>
                <a:ext cx="5" cy="10"/>
              </a:xfrm>
              <a:custGeom>
                <a:avLst/>
                <a:gdLst>
                  <a:gd name="T0" fmla="*/ 0 w 5"/>
                  <a:gd name="T1" fmla="*/ 10 h 10"/>
                  <a:gd name="T2" fmla="*/ 5 w 5"/>
                  <a:gd name="T3" fmla="*/ 10 h 10"/>
                  <a:gd name="T4" fmla="*/ 5 w 5"/>
                  <a:gd name="T5" fmla="*/ 5 h 10"/>
                  <a:gd name="T6" fmla="*/ 5 w 5"/>
                  <a:gd name="T7" fmla="*/ 5 h 10"/>
                  <a:gd name="T8" fmla="*/ 5 w 5"/>
                  <a:gd name="T9" fmla="*/ 0 h 10"/>
                  <a:gd name="T10" fmla="*/ 0 w 5"/>
                  <a:gd name="T11" fmla="*/ 0 h 10"/>
                  <a:gd name="T12" fmla="*/ 0 w 5"/>
                  <a:gd name="T13" fmla="*/ 10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10"/>
                  <a:gd name="T23" fmla="*/ 5 w 5"/>
                  <a:gd name="T24" fmla="*/ 10 h 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10">
                    <a:moveTo>
                      <a:pt x="0" y="10"/>
                    </a:moveTo>
                    <a:lnTo>
                      <a:pt x="5" y="10"/>
                    </a:lnTo>
                    <a:lnTo>
                      <a:pt x="5" y="5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95949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70" name="Line 489"/>
              <p:cNvSpPr>
                <a:spLocks noChangeShapeType="1"/>
              </p:cNvSpPr>
              <p:nvPr/>
            </p:nvSpPr>
            <p:spPr bwMode="auto">
              <a:xfrm flipH="1" flipV="1">
                <a:off x="2753" y="2129"/>
                <a:ext cx="91" cy="32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71" name="Line 490"/>
              <p:cNvSpPr>
                <a:spLocks noChangeShapeType="1"/>
              </p:cNvSpPr>
              <p:nvPr/>
            </p:nvSpPr>
            <p:spPr bwMode="auto">
              <a:xfrm>
                <a:off x="2753" y="2161"/>
                <a:ext cx="1" cy="1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72" name="Freeform 491"/>
              <p:cNvSpPr>
                <a:spLocks/>
              </p:cNvSpPr>
              <p:nvPr/>
            </p:nvSpPr>
            <p:spPr bwMode="auto">
              <a:xfrm>
                <a:off x="2576" y="2071"/>
                <a:ext cx="177" cy="85"/>
              </a:xfrm>
              <a:custGeom>
                <a:avLst/>
                <a:gdLst>
                  <a:gd name="T0" fmla="*/ 27 w 177"/>
                  <a:gd name="T1" fmla="*/ 0 h 85"/>
                  <a:gd name="T2" fmla="*/ 177 w 177"/>
                  <a:gd name="T3" fmla="*/ 58 h 85"/>
                  <a:gd name="T4" fmla="*/ 177 w 177"/>
                  <a:gd name="T5" fmla="*/ 74 h 85"/>
                  <a:gd name="T6" fmla="*/ 128 w 177"/>
                  <a:gd name="T7" fmla="*/ 85 h 85"/>
                  <a:gd name="T8" fmla="*/ 123 w 177"/>
                  <a:gd name="T9" fmla="*/ 85 h 85"/>
                  <a:gd name="T10" fmla="*/ 86 w 177"/>
                  <a:gd name="T11" fmla="*/ 58 h 85"/>
                  <a:gd name="T12" fmla="*/ 80 w 177"/>
                  <a:gd name="T13" fmla="*/ 53 h 85"/>
                  <a:gd name="T14" fmla="*/ 43 w 177"/>
                  <a:gd name="T15" fmla="*/ 42 h 85"/>
                  <a:gd name="T16" fmla="*/ 37 w 177"/>
                  <a:gd name="T17" fmla="*/ 42 h 85"/>
                  <a:gd name="T18" fmla="*/ 0 w 177"/>
                  <a:gd name="T19" fmla="*/ 26 h 85"/>
                  <a:gd name="T20" fmla="*/ 5 w 177"/>
                  <a:gd name="T21" fmla="*/ 5 h 85"/>
                  <a:gd name="T22" fmla="*/ 27 w 177"/>
                  <a:gd name="T23" fmla="*/ 0 h 8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77"/>
                  <a:gd name="T37" fmla="*/ 0 h 85"/>
                  <a:gd name="T38" fmla="*/ 177 w 177"/>
                  <a:gd name="T39" fmla="*/ 85 h 8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77" h="85">
                    <a:moveTo>
                      <a:pt x="27" y="0"/>
                    </a:moveTo>
                    <a:lnTo>
                      <a:pt x="177" y="58"/>
                    </a:lnTo>
                    <a:lnTo>
                      <a:pt x="177" y="74"/>
                    </a:lnTo>
                    <a:lnTo>
                      <a:pt x="128" y="85"/>
                    </a:lnTo>
                    <a:lnTo>
                      <a:pt x="123" y="85"/>
                    </a:lnTo>
                    <a:lnTo>
                      <a:pt x="86" y="58"/>
                    </a:lnTo>
                    <a:lnTo>
                      <a:pt x="80" y="53"/>
                    </a:lnTo>
                    <a:lnTo>
                      <a:pt x="43" y="42"/>
                    </a:lnTo>
                    <a:lnTo>
                      <a:pt x="37" y="42"/>
                    </a:lnTo>
                    <a:lnTo>
                      <a:pt x="0" y="26"/>
                    </a:lnTo>
                    <a:lnTo>
                      <a:pt x="5" y="5"/>
                    </a:lnTo>
                    <a:lnTo>
                      <a:pt x="27" y="0"/>
                    </a:lnTo>
                    <a:close/>
                  </a:path>
                </a:pathLst>
              </a:custGeom>
              <a:solidFill>
                <a:srgbClr val="72706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73" name="Freeform 492"/>
              <p:cNvSpPr>
                <a:spLocks/>
              </p:cNvSpPr>
              <p:nvPr/>
            </p:nvSpPr>
            <p:spPr bwMode="auto">
              <a:xfrm>
                <a:off x="2576" y="2097"/>
                <a:ext cx="11" cy="32"/>
              </a:xfrm>
              <a:custGeom>
                <a:avLst/>
                <a:gdLst>
                  <a:gd name="T0" fmla="*/ 5 w 11"/>
                  <a:gd name="T1" fmla="*/ 0 h 32"/>
                  <a:gd name="T2" fmla="*/ 0 w 11"/>
                  <a:gd name="T3" fmla="*/ 16 h 32"/>
                  <a:gd name="T4" fmla="*/ 0 w 11"/>
                  <a:gd name="T5" fmla="*/ 32 h 32"/>
                  <a:gd name="T6" fmla="*/ 11 w 11"/>
                  <a:gd name="T7" fmla="*/ 32 h 32"/>
                  <a:gd name="T8" fmla="*/ 5 w 11"/>
                  <a:gd name="T9" fmla="*/ 0 h 32"/>
                  <a:gd name="T10" fmla="*/ 5 w 11"/>
                  <a:gd name="T11" fmla="*/ 0 h 3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"/>
                  <a:gd name="T19" fmla="*/ 0 h 32"/>
                  <a:gd name="T20" fmla="*/ 11 w 11"/>
                  <a:gd name="T21" fmla="*/ 32 h 3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" h="32">
                    <a:moveTo>
                      <a:pt x="5" y="0"/>
                    </a:moveTo>
                    <a:lnTo>
                      <a:pt x="0" y="16"/>
                    </a:lnTo>
                    <a:lnTo>
                      <a:pt x="0" y="32"/>
                    </a:lnTo>
                    <a:lnTo>
                      <a:pt x="11" y="32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72706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74" name="Freeform 493"/>
              <p:cNvSpPr>
                <a:spLocks/>
              </p:cNvSpPr>
              <p:nvPr/>
            </p:nvSpPr>
            <p:spPr bwMode="auto">
              <a:xfrm>
                <a:off x="2678" y="2103"/>
                <a:ext cx="75" cy="53"/>
              </a:xfrm>
              <a:custGeom>
                <a:avLst/>
                <a:gdLst>
                  <a:gd name="T0" fmla="*/ 5 w 75"/>
                  <a:gd name="T1" fmla="*/ 0 h 53"/>
                  <a:gd name="T2" fmla="*/ 75 w 75"/>
                  <a:gd name="T3" fmla="*/ 26 h 53"/>
                  <a:gd name="T4" fmla="*/ 75 w 75"/>
                  <a:gd name="T5" fmla="*/ 42 h 53"/>
                  <a:gd name="T6" fmla="*/ 26 w 75"/>
                  <a:gd name="T7" fmla="*/ 53 h 53"/>
                  <a:gd name="T8" fmla="*/ 21 w 75"/>
                  <a:gd name="T9" fmla="*/ 32 h 53"/>
                  <a:gd name="T10" fmla="*/ 16 w 75"/>
                  <a:gd name="T11" fmla="*/ 16 h 53"/>
                  <a:gd name="T12" fmla="*/ 0 w 75"/>
                  <a:gd name="T13" fmla="*/ 0 h 53"/>
                  <a:gd name="T14" fmla="*/ 5 w 75"/>
                  <a:gd name="T15" fmla="*/ 0 h 5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5"/>
                  <a:gd name="T25" fmla="*/ 0 h 53"/>
                  <a:gd name="T26" fmla="*/ 75 w 75"/>
                  <a:gd name="T27" fmla="*/ 53 h 5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5" h="53">
                    <a:moveTo>
                      <a:pt x="5" y="0"/>
                    </a:moveTo>
                    <a:lnTo>
                      <a:pt x="75" y="26"/>
                    </a:lnTo>
                    <a:lnTo>
                      <a:pt x="75" y="42"/>
                    </a:lnTo>
                    <a:lnTo>
                      <a:pt x="26" y="53"/>
                    </a:lnTo>
                    <a:lnTo>
                      <a:pt x="21" y="32"/>
                    </a:lnTo>
                    <a:lnTo>
                      <a:pt x="16" y="16"/>
                    </a:lnTo>
                    <a:lnTo>
                      <a:pt x="0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75" name="Freeform 494"/>
              <p:cNvSpPr>
                <a:spLocks/>
              </p:cNvSpPr>
              <p:nvPr/>
            </p:nvSpPr>
            <p:spPr bwMode="auto">
              <a:xfrm>
                <a:off x="2592" y="2071"/>
                <a:ext cx="91" cy="53"/>
              </a:xfrm>
              <a:custGeom>
                <a:avLst/>
                <a:gdLst>
                  <a:gd name="T0" fmla="*/ 91 w 91"/>
                  <a:gd name="T1" fmla="*/ 32 h 53"/>
                  <a:gd name="T2" fmla="*/ 5 w 91"/>
                  <a:gd name="T3" fmla="*/ 0 h 53"/>
                  <a:gd name="T4" fmla="*/ 0 w 91"/>
                  <a:gd name="T5" fmla="*/ 0 h 53"/>
                  <a:gd name="T6" fmla="*/ 16 w 91"/>
                  <a:gd name="T7" fmla="*/ 10 h 53"/>
                  <a:gd name="T8" fmla="*/ 27 w 91"/>
                  <a:gd name="T9" fmla="*/ 37 h 53"/>
                  <a:gd name="T10" fmla="*/ 32 w 91"/>
                  <a:gd name="T11" fmla="*/ 21 h 53"/>
                  <a:gd name="T12" fmla="*/ 48 w 91"/>
                  <a:gd name="T13" fmla="*/ 21 h 53"/>
                  <a:gd name="T14" fmla="*/ 59 w 91"/>
                  <a:gd name="T15" fmla="*/ 26 h 53"/>
                  <a:gd name="T16" fmla="*/ 70 w 91"/>
                  <a:gd name="T17" fmla="*/ 53 h 53"/>
                  <a:gd name="T18" fmla="*/ 75 w 91"/>
                  <a:gd name="T19" fmla="*/ 32 h 53"/>
                  <a:gd name="T20" fmla="*/ 91 w 91"/>
                  <a:gd name="T21" fmla="*/ 32 h 5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91"/>
                  <a:gd name="T34" fmla="*/ 0 h 53"/>
                  <a:gd name="T35" fmla="*/ 91 w 91"/>
                  <a:gd name="T36" fmla="*/ 53 h 53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91" h="53">
                    <a:moveTo>
                      <a:pt x="91" y="32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16" y="10"/>
                    </a:lnTo>
                    <a:lnTo>
                      <a:pt x="27" y="37"/>
                    </a:lnTo>
                    <a:lnTo>
                      <a:pt x="32" y="21"/>
                    </a:lnTo>
                    <a:lnTo>
                      <a:pt x="48" y="21"/>
                    </a:lnTo>
                    <a:lnTo>
                      <a:pt x="59" y="26"/>
                    </a:lnTo>
                    <a:lnTo>
                      <a:pt x="70" y="53"/>
                    </a:lnTo>
                    <a:lnTo>
                      <a:pt x="75" y="32"/>
                    </a:lnTo>
                    <a:lnTo>
                      <a:pt x="91" y="32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76" name="Freeform 495"/>
              <p:cNvSpPr>
                <a:spLocks/>
              </p:cNvSpPr>
              <p:nvPr/>
            </p:nvSpPr>
            <p:spPr bwMode="auto">
              <a:xfrm>
                <a:off x="2581" y="2081"/>
                <a:ext cx="156" cy="112"/>
              </a:xfrm>
              <a:custGeom>
                <a:avLst/>
                <a:gdLst>
                  <a:gd name="T0" fmla="*/ 156 w 156"/>
                  <a:gd name="T1" fmla="*/ 70 h 112"/>
                  <a:gd name="T2" fmla="*/ 123 w 156"/>
                  <a:gd name="T3" fmla="*/ 75 h 112"/>
                  <a:gd name="T4" fmla="*/ 123 w 156"/>
                  <a:gd name="T5" fmla="*/ 75 h 112"/>
                  <a:gd name="T6" fmla="*/ 113 w 156"/>
                  <a:gd name="T7" fmla="*/ 43 h 112"/>
                  <a:gd name="T8" fmla="*/ 102 w 156"/>
                  <a:gd name="T9" fmla="*/ 27 h 112"/>
                  <a:gd name="T10" fmla="*/ 91 w 156"/>
                  <a:gd name="T11" fmla="*/ 27 h 112"/>
                  <a:gd name="T12" fmla="*/ 86 w 156"/>
                  <a:gd name="T13" fmla="*/ 32 h 112"/>
                  <a:gd name="T14" fmla="*/ 81 w 156"/>
                  <a:gd name="T15" fmla="*/ 48 h 112"/>
                  <a:gd name="T16" fmla="*/ 75 w 156"/>
                  <a:gd name="T17" fmla="*/ 48 h 112"/>
                  <a:gd name="T18" fmla="*/ 64 w 156"/>
                  <a:gd name="T19" fmla="*/ 22 h 112"/>
                  <a:gd name="T20" fmla="*/ 54 w 156"/>
                  <a:gd name="T21" fmla="*/ 11 h 112"/>
                  <a:gd name="T22" fmla="*/ 43 w 156"/>
                  <a:gd name="T23" fmla="*/ 11 h 112"/>
                  <a:gd name="T24" fmla="*/ 38 w 156"/>
                  <a:gd name="T25" fmla="*/ 32 h 112"/>
                  <a:gd name="T26" fmla="*/ 32 w 156"/>
                  <a:gd name="T27" fmla="*/ 32 h 112"/>
                  <a:gd name="T28" fmla="*/ 27 w 156"/>
                  <a:gd name="T29" fmla="*/ 11 h 112"/>
                  <a:gd name="T30" fmla="*/ 16 w 156"/>
                  <a:gd name="T31" fmla="*/ 0 h 112"/>
                  <a:gd name="T32" fmla="*/ 6 w 156"/>
                  <a:gd name="T33" fmla="*/ 0 h 112"/>
                  <a:gd name="T34" fmla="*/ 0 w 156"/>
                  <a:gd name="T35" fmla="*/ 16 h 112"/>
                  <a:gd name="T36" fmla="*/ 0 w 156"/>
                  <a:gd name="T37" fmla="*/ 48 h 112"/>
                  <a:gd name="T38" fmla="*/ 22 w 156"/>
                  <a:gd name="T39" fmla="*/ 75 h 112"/>
                  <a:gd name="T40" fmla="*/ 32 w 156"/>
                  <a:gd name="T41" fmla="*/ 70 h 112"/>
                  <a:gd name="T42" fmla="*/ 43 w 156"/>
                  <a:gd name="T43" fmla="*/ 70 h 112"/>
                  <a:gd name="T44" fmla="*/ 48 w 156"/>
                  <a:gd name="T45" fmla="*/ 86 h 112"/>
                  <a:gd name="T46" fmla="*/ 64 w 156"/>
                  <a:gd name="T47" fmla="*/ 96 h 112"/>
                  <a:gd name="T48" fmla="*/ 70 w 156"/>
                  <a:gd name="T49" fmla="*/ 91 h 112"/>
                  <a:gd name="T50" fmla="*/ 86 w 156"/>
                  <a:gd name="T51" fmla="*/ 91 h 112"/>
                  <a:gd name="T52" fmla="*/ 86 w 156"/>
                  <a:gd name="T53" fmla="*/ 86 h 112"/>
                  <a:gd name="T54" fmla="*/ 91 w 156"/>
                  <a:gd name="T55" fmla="*/ 102 h 112"/>
                  <a:gd name="T56" fmla="*/ 107 w 156"/>
                  <a:gd name="T57" fmla="*/ 112 h 112"/>
                  <a:gd name="T58" fmla="*/ 118 w 156"/>
                  <a:gd name="T59" fmla="*/ 112 h 112"/>
                  <a:gd name="T60" fmla="*/ 129 w 156"/>
                  <a:gd name="T61" fmla="*/ 112 h 112"/>
                  <a:gd name="T62" fmla="*/ 150 w 156"/>
                  <a:gd name="T63" fmla="*/ 107 h 112"/>
                  <a:gd name="T64" fmla="*/ 156 w 156"/>
                  <a:gd name="T65" fmla="*/ 86 h 112"/>
                  <a:gd name="T66" fmla="*/ 156 w 156"/>
                  <a:gd name="T67" fmla="*/ 70 h 112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56"/>
                  <a:gd name="T103" fmla="*/ 0 h 112"/>
                  <a:gd name="T104" fmla="*/ 156 w 156"/>
                  <a:gd name="T105" fmla="*/ 112 h 112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56" h="112">
                    <a:moveTo>
                      <a:pt x="156" y="70"/>
                    </a:moveTo>
                    <a:lnTo>
                      <a:pt x="123" y="75"/>
                    </a:lnTo>
                    <a:lnTo>
                      <a:pt x="113" y="43"/>
                    </a:lnTo>
                    <a:lnTo>
                      <a:pt x="102" y="27"/>
                    </a:lnTo>
                    <a:lnTo>
                      <a:pt x="91" y="27"/>
                    </a:lnTo>
                    <a:lnTo>
                      <a:pt x="86" y="32"/>
                    </a:lnTo>
                    <a:lnTo>
                      <a:pt x="81" y="48"/>
                    </a:lnTo>
                    <a:lnTo>
                      <a:pt x="75" y="48"/>
                    </a:lnTo>
                    <a:lnTo>
                      <a:pt x="64" y="22"/>
                    </a:lnTo>
                    <a:lnTo>
                      <a:pt x="54" y="11"/>
                    </a:lnTo>
                    <a:lnTo>
                      <a:pt x="43" y="11"/>
                    </a:lnTo>
                    <a:lnTo>
                      <a:pt x="38" y="32"/>
                    </a:lnTo>
                    <a:lnTo>
                      <a:pt x="32" y="32"/>
                    </a:lnTo>
                    <a:lnTo>
                      <a:pt x="27" y="11"/>
                    </a:lnTo>
                    <a:lnTo>
                      <a:pt x="16" y="0"/>
                    </a:lnTo>
                    <a:lnTo>
                      <a:pt x="6" y="0"/>
                    </a:lnTo>
                    <a:lnTo>
                      <a:pt x="0" y="16"/>
                    </a:lnTo>
                    <a:lnTo>
                      <a:pt x="0" y="48"/>
                    </a:lnTo>
                    <a:lnTo>
                      <a:pt x="22" y="75"/>
                    </a:lnTo>
                    <a:lnTo>
                      <a:pt x="32" y="70"/>
                    </a:lnTo>
                    <a:lnTo>
                      <a:pt x="43" y="70"/>
                    </a:lnTo>
                    <a:lnTo>
                      <a:pt x="48" y="86"/>
                    </a:lnTo>
                    <a:lnTo>
                      <a:pt x="64" y="96"/>
                    </a:lnTo>
                    <a:lnTo>
                      <a:pt x="70" y="91"/>
                    </a:lnTo>
                    <a:lnTo>
                      <a:pt x="86" y="91"/>
                    </a:lnTo>
                    <a:lnTo>
                      <a:pt x="86" y="86"/>
                    </a:lnTo>
                    <a:lnTo>
                      <a:pt x="91" y="102"/>
                    </a:lnTo>
                    <a:lnTo>
                      <a:pt x="107" y="112"/>
                    </a:lnTo>
                    <a:lnTo>
                      <a:pt x="118" y="112"/>
                    </a:lnTo>
                    <a:lnTo>
                      <a:pt x="129" y="112"/>
                    </a:lnTo>
                    <a:lnTo>
                      <a:pt x="150" y="107"/>
                    </a:lnTo>
                    <a:lnTo>
                      <a:pt x="156" y="86"/>
                    </a:lnTo>
                    <a:lnTo>
                      <a:pt x="156" y="70"/>
                    </a:lnTo>
                    <a:close/>
                  </a:path>
                </a:pathLst>
              </a:custGeom>
              <a:solidFill>
                <a:srgbClr val="838181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77" name="Freeform 496"/>
              <p:cNvSpPr>
                <a:spLocks/>
              </p:cNvSpPr>
              <p:nvPr/>
            </p:nvSpPr>
            <p:spPr bwMode="auto">
              <a:xfrm>
                <a:off x="2667" y="2129"/>
                <a:ext cx="21" cy="48"/>
              </a:xfrm>
              <a:custGeom>
                <a:avLst/>
                <a:gdLst>
                  <a:gd name="T0" fmla="*/ 16 w 21"/>
                  <a:gd name="T1" fmla="*/ 48 h 48"/>
                  <a:gd name="T2" fmla="*/ 5 w 21"/>
                  <a:gd name="T3" fmla="*/ 38 h 48"/>
                  <a:gd name="T4" fmla="*/ 5 w 21"/>
                  <a:gd name="T5" fmla="*/ 27 h 48"/>
                  <a:gd name="T6" fmla="*/ 0 w 21"/>
                  <a:gd name="T7" fmla="*/ 11 h 48"/>
                  <a:gd name="T8" fmla="*/ 11 w 21"/>
                  <a:gd name="T9" fmla="*/ 6 h 48"/>
                  <a:gd name="T10" fmla="*/ 11 w 21"/>
                  <a:gd name="T11" fmla="*/ 0 h 48"/>
                  <a:gd name="T12" fmla="*/ 16 w 21"/>
                  <a:gd name="T13" fmla="*/ 6 h 48"/>
                  <a:gd name="T14" fmla="*/ 21 w 21"/>
                  <a:gd name="T15" fmla="*/ 22 h 48"/>
                  <a:gd name="T16" fmla="*/ 21 w 21"/>
                  <a:gd name="T17" fmla="*/ 38 h 48"/>
                  <a:gd name="T18" fmla="*/ 16 w 21"/>
                  <a:gd name="T19" fmla="*/ 48 h 4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1"/>
                  <a:gd name="T31" fmla="*/ 0 h 48"/>
                  <a:gd name="T32" fmla="*/ 21 w 21"/>
                  <a:gd name="T33" fmla="*/ 48 h 4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1" h="48">
                    <a:moveTo>
                      <a:pt x="16" y="48"/>
                    </a:moveTo>
                    <a:lnTo>
                      <a:pt x="5" y="38"/>
                    </a:lnTo>
                    <a:lnTo>
                      <a:pt x="5" y="27"/>
                    </a:lnTo>
                    <a:lnTo>
                      <a:pt x="0" y="11"/>
                    </a:lnTo>
                    <a:lnTo>
                      <a:pt x="11" y="6"/>
                    </a:lnTo>
                    <a:lnTo>
                      <a:pt x="11" y="0"/>
                    </a:lnTo>
                    <a:lnTo>
                      <a:pt x="16" y="6"/>
                    </a:lnTo>
                    <a:lnTo>
                      <a:pt x="21" y="22"/>
                    </a:lnTo>
                    <a:lnTo>
                      <a:pt x="21" y="38"/>
                    </a:lnTo>
                    <a:lnTo>
                      <a:pt x="16" y="48"/>
                    </a:lnTo>
                    <a:close/>
                  </a:path>
                </a:pathLst>
              </a:custGeom>
              <a:solidFill>
                <a:srgbClr val="DEDED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78" name="Freeform 497"/>
              <p:cNvSpPr>
                <a:spLocks/>
              </p:cNvSpPr>
              <p:nvPr/>
            </p:nvSpPr>
            <p:spPr bwMode="auto">
              <a:xfrm>
                <a:off x="2629" y="2113"/>
                <a:ext cx="16" cy="43"/>
              </a:xfrm>
              <a:custGeom>
                <a:avLst/>
                <a:gdLst>
                  <a:gd name="T0" fmla="*/ 11 w 16"/>
                  <a:gd name="T1" fmla="*/ 43 h 43"/>
                  <a:gd name="T2" fmla="*/ 6 w 16"/>
                  <a:gd name="T3" fmla="*/ 43 h 43"/>
                  <a:gd name="T4" fmla="*/ 0 w 16"/>
                  <a:gd name="T5" fmla="*/ 38 h 43"/>
                  <a:gd name="T6" fmla="*/ 0 w 16"/>
                  <a:gd name="T7" fmla="*/ 27 h 43"/>
                  <a:gd name="T8" fmla="*/ 0 w 16"/>
                  <a:gd name="T9" fmla="*/ 11 h 43"/>
                  <a:gd name="T10" fmla="*/ 6 w 16"/>
                  <a:gd name="T11" fmla="*/ 0 h 43"/>
                  <a:gd name="T12" fmla="*/ 11 w 16"/>
                  <a:gd name="T13" fmla="*/ 6 h 43"/>
                  <a:gd name="T14" fmla="*/ 16 w 16"/>
                  <a:gd name="T15" fmla="*/ 22 h 43"/>
                  <a:gd name="T16" fmla="*/ 16 w 16"/>
                  <a:gd name="T17" fmla="*/ 32 h 43"/>
                  <a:gd name="T18" fmla="*/ 11 w 16"/>
                  <a:gd name="T19" fmla="*/ 43 h 4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6"/>
                  <a:gd name="T31" fmla="*/ 0 h 43"/>
                  <a:gd name="T32" fmla="*/ 16 w 16"/>
                  <a:gd name="T33" fmla="*/ 43 h 4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6" h="43">
                    <a:moveTo>
                      <a:pt x="11" y="43"/>
                    </a:moveTo>
                    <a:lnTo>
                      <a:pt x="6" y="43"/>
                    </a:lnTo>
                    <a:lnTo>
                      <a:pt x="0" y="38"/>
                    </a:lnTo>
                    <a:lnTo>
                      <a:pt x="0" y="27"/>
                    </a:lnTo>
                    <a:lnTo>
                      <a:pt x="0" y="11"/>
                    </a:lnTo>
                    <a:lnTo>
                      <a:pt x="6" y="0"/>
                    </a:lnTo>
                    <a:lnTo>
                      <a:pt x="11" y="6"/>
                    </a:lnTo>
                    <a:lnTo>
                      <a:pt x="16" y="22"/>
                    </a:lnTo>
                    <a:lnTo>
                      <a:pt x="16" y="32"/>
                    </a:lnTo>
                    <a:lnTo>
                      <a:pt x="11" y="43"/>
                    </a:lnTo>
                    <a:close/>
                  </a:path>
                </a:pathLst>
              </a:custGeom>
              <a:solidFill>
                <a:srgbClr val="DEDED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79" name="Freeform 498"/>
              <p:cNvSpPr>
                <a:spLocks/>
              </p:cNvSpPr>
              <p:nvPr/>
            </p:nvSpPr>
            <p:spPr bwMode="auto">
              <a:xfrm>
                <a:off x="2587" y="2097"/>
                <a:ext cx="21" cy="43"/>
              </a:xfrm>
              <a:custGeom>
                <a:avLst/>
                <a:gdLst>
                  <a:gd name="T0" fmla="*/ 16 w 21"/>
                  <a:gd name="T1" fmla="*/ 43 h 43"/>
                  <a:gd name="T2" fmla="*/ 5 w 21"/>
                  <a:gd name="T3" fmla="*/ 32 h 43"/>
                  <a:gd name="T4" fmla="*/ 0 w 21"/>
                  <a:gd name="T5" fmla="*/ 22 h 43"/>
                  <a:gd name="T6" fmla="*/ 0 w 21"/>
                  <a:gd name="T7" fmla="*/ 6 h 43"/>
                  <a:gd name="T8" fmla="*/ 5 w 21"/>
                  <a:gd name="T9" fmla="*/ 0 h 43"/>
                  <a:gd name="T10" fmla="*/ 10 w 21"/>
                  <a:gd name="T11" fmla="*/ 6 h 43"/>
                  <a:gd name="T12" fmla="*/ 21 w 21"/>
                  <a:gd name="T13" fmla="*/ 22 h 43"/>
                  <a:gd name="T14" fmla="*/ 16 w 21"/>
                  <a:gd name="T15" fmla="*/ 32 h 43"/>
                  <a:gd name="T16" fmla="*/ 16 w 21"/>
                  <a:gd name="T17" fmla="*/ 43 h 4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1"/>
                  <a:gd name="T28" fmla="*/ 0 h 43"/>
                  <a:gd name="T29" fmla="*/ 21 w 21"/>
                  <a:gd name="T30" fmla="*/ 43 h 4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1" h="43">
                    <a:moveTo>
                      <a:pt x="16" y="43"/>
                    </a:moveTo>
                    <a:lnTo>
                      <a:pt x="5" y="32"/>
                    </a:lnTo>
                    <a:lnTo>
                      <a:pt x="0" y="22"/>
                    </a:lnTo>
                    <a:lnTo>
                      <a:pt x="0" y="6"/>
                    </a:lnTo>
                    <a:lnTo>
                      <a:pt x="5" y="0"/>
                    </a:lnTo>
                    <a:lnTo>
                      <a:pt x="10" y="6"/>
                    </a:lnTo>
                    <a:lnTo>
                      <a:pt x="21" y="22"/>
                    </a:lnTo>
                    <a:lnTo>
                      <a:pt x="16" y="32"/>
                    </a:lnTo>
                    <a:lnTo>
                      <a:pt x="16" y="43"/>
                    </a:lnTo>
                    <a:close/>
                  </a:path>
                </a:pathLst>
              </a:custGeom>
              <a:solidFill>
                <a:srgbClr val="DEDED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80" name="Freeform 499"/>
              <p:cNvSpPr>
                <a:spLocks/>
              </p:cNvSpPr>
              <p:nvPr/>
            </p:nvSpPr>
            <p:spPr bwMode="auto">
              <a:xfrm>
                <a:off x="2678" y="2140"/>
                <a:ext cx="10" cy="27"/>
              </a:xfrm>
              <a:custGeom>
                <a:avLst/>
                <a:gdLst>
                  <a:gd name="T0" fmla="*/ 5 w 10"/>
                  <a:gd name="T1" fmla="*/ 0 h 27"/>
                  <a:gd name="T2" fmla="*/ 0 w 10"/>
                  <a:gd name="T3" fmla="*/ 5 h 27"/>
                  <a:gd name="T4" fmla="*/ 0 w 10"/>
                  <a:gd name="T5" fmla="*/ 16 h 27"/>
                  <a:gd name="T6" fmla="*/ 5 w 10"/>
                  <a:gd name="T7" fmla="*/ 27 h 27"/>
                  <a:gd name="T8" fmla="*/ 10 w 10"/>
                  <a:gd name="T9" fmla="*/ 21 h 27"/>
                  <a:gd name="T10" fmla="*/ 5 w 10"/>
                  <a:gd name="T11" fmla="*/ 11 h 27"/>
                  <a:gd name="T12" fmla="*/ 5 w 10"/>
                  <a:gd name="T13" fmla="*/ 0 h 2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27"/>
                  <a:gd name="T23" fmla="*/ 10 w 10"/>
                  <a:gd name="T24" fmla="*/ 27 h 2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27">
                    <a:moveTo>
                      <a:pt x="5" y="0"/>
                    </a:moveTo>
                    <a:lnTo>
                      <a:pt x="0" y="5"/>
                    </a:lnTo>
                    <a:lnTo>
                      <a:pt x="0" y="16"/>
                    </a:lnTo>
                    <a:lnTo>
                      <a:pt x="5" y="27"/>
                    </a:lnTo>
                    <a:lnTo>
                      <a:pt x="10" y="21"/>
                    </a:lnTo>
                    <a:lnTo>
                      <a:pt x="5" y="11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006CB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81" name="Freeform 500"/>
              <p:cNvSpPr>
                <a:spLocks/>
              </p:cNvSpPr>
              <p:nvPr/>
            </p:nvSpPr>
            <p:spPr bwMode="auto">
              <a:xfrm>
                <a:off x="2635" y="2124"/>
                <a:ext cx="10" cy="21"/>
              </a:xfrm>
              <a:custGeom>
                <a:avLst/>
                <a:gdLst>
                  <a:gd name="T0" fmla="*/ 10 w 10"/>
                  <a:gd name="T1" fmla="*/ 0 h 21"/>
                  <a:gd name="T2" fmla="*/ 0 w 10"/>
                  <a:gd name="T3" fmla="*/ 0 h 21"/>
                  <a:gd name="T4" fmla="*/ 0 w 10"/>
                  <a:gd name="T5" fmla="*/ 11 h 21"/>
                  <a:gd name="T6" fmla="*/ 5 w 10"/>
                  <a:gd name="T7" fmla="*/ 21 h 21"/>
                  <a:gd name="T8" fmla="*/ 10 w 10"/>
                  <a:gd name="T9" fmla="*/ 21 h 21"/>
                  <a:gd name="T10" fmla="*/ 10 w 10"/>
                  <a:gd name="T11" fmla="*/ 11 h 21"/>
                  <a:gd name="T12" fmla="*/ 10 w 10"/>
                  <a:gd name="T13" fmla="*/ 0 h 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21"/>
                  <a:gd name="T23" fmla="*/ 10 w 10"/>
                  <a:gd name="T24" fmla="*/ 21 h 2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21">
                    <a:moveTo>
                      <a:pt x="10" y="0"/>
                    </a:moveTo>
                    <a:lnTo>
                      <a:pt x="0" y="0"/>
                    </a:lnTo>
                    <a:lnTo>
                      <a:pt x="0" y="11"/>
                    </a:lnTo>
                    <a:lnTo>
                      <a:pt x="5" y="21"/>
                    </a:lnTo>
                    <a:lnTo>
                      <a:pt x="10" y="21"/>
                    </a:lnTo>
                    <a:lnTo>
                      <a:pt x="10" y="11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006CB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82" name="Freeform 501"/>
              <p:cNvSpPr>
                <a:spLocks/>
              </p:cNvSpPr>
              <p:nvPr/>
            </p:nvSpPr>
            <p:spPr bwMode="auto">
              <a:xfrm>
                <a:off x="2592" y="2108"/>
                <a:ext cx="16" cy="21"/>
              </a:xfrm>
              <a:custGeom>
                <a:avLst/>
                <a:gdLst>
                  <a:gd name="T0" fmla="*/ 11 w 16"/>
                  <a:gd name="T1" fmla="*/ 0 h 21"/>
                  <a:gd name="T2" fmla="*/ 5 w 16"/>
                  <a:gd name="T3" fmla="*/ 0 h 21"/>
                  <a:gd name="T4" fmla="*/ 0 w 16"/>
                  <a:gd name="T5" fmla="*/ 11 h 21"/>
                  <a:gd name="T6" fmla="*/ 11 w 16"/>
                  <a:gd name="T7" fmla="*/ 21 h 21"/>
                  <a:gd name="T8" fmla="*/ 16 w 16"/>
                  <a:gd name="T9" fmla="*/ 21 h 21"/>
                  <a:gd name="T10" fmla="*/ 11 w 16"/>
                  <a:gd name="T11" fmla="*/ 5 h 21"/>
                  <a:gd name="T12" fmla="*/ 11 w 16"/>
                  <a:gd name="T13" fmla="*/ 0 h 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6"/>
                  <a:gd name="T22" fmla="*/ 0 h 21"/>
                  <a:gd name="T23" fmla="*/ 16 w 16"/>
                  <a:gd name="T24" fmla="*/ 21 h 2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6" h="21">
                    <a:moveTo>
                      <a:pt x="11" y="0"/>
                    </a:moveTo>
                    <a:lnTo>
                      <a:pt x="5" y="0"/>
                    </a:lnTo>
                    <a:lnTo>
                      <a:pt x="0" y="11"/>
                    </a:lnTo>
                    <a:lnTo>
                      <a:pt x="11" y="21"/>
                    </a:lnTo>
                    <a:lnTo>
                      <a:pt x="16" y="21"/>
                    </a:lnTo>
                    <a:lnTo>
                      <a:pt x="11" y="5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006CB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83" name="Freeform 502"/>
              <p:cNvSpPr>
                <a:spLocks/>
              </p:cNvSpPr>
              <p:nvPr/>
            </p:nvSpPr>
            <p:spPr bwMode="auto">
              <a:xfrm>
                <a:off x="2592" y="2097"/>
                <a:ext cx="11" cy="11"/>
              </a:xfrm>
              <a:custGeom>
                <a:avLst/>
                <a:gdLst>
                  <a:gd name="T0" fmla="*/ 0 w 11"/>
                  <a:gd name="T1" fmla="*/ 6 h 11"/>
                  <a:gd name="T2" fmla="*/ 5 w 11"/>
                  <a:gd name="T3" fmla="*/ 11 h 11"/>
                  <a:gd name="T4" fmla="*/ 5 w 11"/>
                  <a:gd name="T5" fmla="*/ 11 h 11"/>
                  <a:gd name="T6" fmla="*/ 11 w 11"/>
                  <a:gd name="T7" fmla="*/ 11 h 11"/>
                  <a:gd name="T8" fmla="*/ 0 w 11"/>
                  <a:gd name="T9" fmla="*/ 0 h 11"/>
                  <a:gd name="T10" fmla="*/ 0 w 11"/>
                  <a:gd name="T11" fmla="*/ 6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"/>
                  <a:gd name="T19" fmla="*/ 0 h 11"/>
                  <a:gd name="T20" fmla="*/ 11 w 11"/>
                  <a:gd name="T21" fmla="*/ 11 h 1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" h="11">
                    <a:moveTo>
                      <a:pt x="0" y="6"/>
                    </a:moveTo>
                    <a:lnTo>
                      <a:pt x="5" y="11"/>
                    </a:lnTo>
                    <a:lnTo>
                      <a:pt x="11" y="11"/>
                    </a:lnTo>
                    <a:lnTo>
                      <a:pt x="0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C2C1C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84" name="Freeform 503"/>
              <p:cNvSpPr>
                <a:spLocks/>
              </p:cNvSpPr>
              <p:nvPr/>
            </p:nvSpPr>
            <p:spPr bwMode="auto">
              <a:xfrm>
                <a:off x="2629" y="2113"/>
                <a:ext cx="16" cy="11"/>
              </a:xfrm>
              <a:custGeom>
                <a:avLst/>
                <a:gdLst>
                  <a:gd name="T0" fmla="*/ 0 w 16"/>
                  <a:gd name="T1" fmla="*/ 11 h 11"/>
                  <a:gd name="T2" fmla="*/ 6 w 16"/>
                  <a:gd name="T3" fmla="*/ 11 h 11"/>
                  <a:gd name="T4" fmla="*/ 6 w 16"/>
                  <a:gd name="T5" fmla="*/ 11 h 11"/>
                  <a:gd name="T6" fmla="*/ 11 w 16"/>
                  <a:gd name="T7" fmla="*/ 11 h 11"/>
                  <a:gd name="T8" fmla="*/ 16 w 16"/>
                  <a:gd name="T9" fmla="*/ 11 h 11"/>
                  <a:gd name="T10" fmla="*/ 6 w 16"/>
                  <a:gd name="T11" fmla="*/ 0 h 11"/>
                  <a:gd name="T12" fmla="*/ 0 w 16"/>
                  <a:gd name="T13" fmla="*/ 11 h 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6"/>
                  <a:gd name="T22" fmla="*/ 0 h 11"/>
                  <a:gd name="T23" fmla="*/ 16 w 16"/>
                  <a:gd name="T24" fmla="*/ 11 h 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6" h="11">
                    <a:moveTo>
                      <a:pt x="0" y="11"/>
                    </a:moveTo>
                    <a:lnTo>
                      <a:pt x="6" y="11"/>
                    </a:lnTo>
                    <a:lnTo>
                      <a:pt x="11" y="11"/>
                    </a:lnTo>
                    <a:lnTo>
                      <a:pt x="16" y="11"/>
                    </a:lnTo>
                    <a:lnTo>
                      <a:pt x="6" y="0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C2C1C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85" name="Freeform 504"/>
              <p:cNvSpPr>
                <a:spLocks/>
              </p:cNvSpPr>
              <p:nvPr/>
            </p:nvSpPr>
            <p:spPr bwMode="auto">
              <a:xfrm>
                <a:off x="2672" y="2129"/>
                <a:ext cx="11" cy="16"/>
              </a:xfrm>
              <a:custGeom>
                <a:avLst/>
                <a:gdLst>
                  <a:gd name="T0" fmla="*/ 0 w 11"/>
                  <a:gd name="T1" fmla="*/ 11 h 16"/>
                  <a:gd name="T2" fmla="*/ 6 w 11"/>
                  <a:gd name="T3" fmla="*/ 16 h 16"/>
                  <a:gd name="T4" fmla="*/ 6 w 11"/>
                  <a:gd name="T5" fmla="*/ 11 h 16"/>
                  <a:gd name="T6" fmla="*/ 11 w 11"/>
                  <a:gd name="T7" fmla="*/ 11 h 16"/>
                  <a:gd name="T8" fmla="*/ 11 w 11"/>
                  <a:gd name="T9" fmla="*/ 11 h 16"/>
                  <a:gd name="T10" fmla="*/ 6 w 11"/>
                  <a:gd name="T11" fmla="*/ 0 h 16"/>
                  <a:gd name="T12" fmla="*/ 0 w 11"/>
                  <a:gd name="T13" fmla="*/ 11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1"/>
                  <a:gd name="T22" fmla="*/ 0 h 16"/>
                  <a:gd name="T23" fmla="*/ 11 w 11"/>
                  <a:gd name="T24" fmla="*/ 16 h 1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1" h="16">
                    <a:moveTo>
                      <a:pt x="0" y="11"/>
                    </a:moveTo>
                    <a:lnTo>
                      <a:pt x="6" y="16"/>
                    </a:lnTo>
                    <a:lnTo>
                      <a:pt x="6" y="11"/>
                    </a:lnTo>
                    <a:lnTo>
                      <a:pt x="11" y="11"/>
                    </a:lnTo>
                    <a:lnTo>
                      <a:pt x="6" y="0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C2C1C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86" name="Freeform 505"/>
              <p:cNvSpPr>
                <a:spLocks/>
              </p:cNvSpPr>
              <p:nvPr/>
            </p:nvSpPr>
            <p:spPr bwMode="auto">
              <a:xfrm>
                <a:off x="2501" y="2039"/>
                <a:ext cx="48" cy="21"/>
              </a:xfrm>
              <a:custGeom>
                <a:avLst/>
                <a:gdLst>
                  <a:gd name="T0" fmla="*/ 0 w 48"/>
                  <a:gd name="T1" fmla="*/ 0 h 21"/>
                  <a:gd name="T2" fmla="*/ 0 w 48"/>
                  <a:gd name="T3" fmla="*/ 21 h 21"/>
                  <a:gd name="T4" fmla="*/ 5 w 48"/>
                  <a:gd name="T5" fmla="*/ 21 h 21"/>
                  <a:gd name="T6" fmla="*/ 48 w 48"/>
                  <a:gd name="T7" fmla="*/ 16 h 21"/>
                  <a:gd name="T8" fmla="*/ 0 w 48"/>
                  <a:gd name="T9" fmla="*/ 0 h 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8"/>
                  <a:gd name="T16" fmla="*/ 0 h 21"/>
                  <a:gd name="T17" fmla="*/ 48 w 48"/>
                  <a:gd name="T18" fmla="*/ 21 h 2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8" h="21">
                    <a:moveTo>
                      <a:pt x="0" y="0"/>
                    </a:moveTo>
                    <a:lnTo>
                      <a:pt x="0" y="21"/>
                    </a:lnTo>
                    <a:lnTo>
                      <a:pt x="5" y="21"/>
                    </a:lnTo>
                    <a:lnTo>
                      <a:pt x="48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6CB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87" name="Freeform 506"/>
              <p:cNvSpPr>
                <a:spLocks/>
              </p:cNvSpPr>
              <p:nvPr/>
            </p:nvSpPr>
            <p:spPr bwMode="auto">
              <a:xfrm>
                <a:off x="2517" y="2055"/>
                <a:ext cx="70" cy="26"/>
              </a:xfrm>
              <a:custGeom>
                <a:avLst/>
                <a:gdLst>
                  <a:gd name="T0" fmla="*/ 37 w 70"/>
                  <a:gd name="T1" fmla="*/ 0 h 26"/>
                  <a:gd name="T2" fmla="*/ 5 w 70"/>
                  <a:gd name="T3" fmla="*/ 5 h 26"/>
                  <a:gd name="T4" fmla="*/ 5 w 70"/>
                  <a:gd name="T5" fmla="*/ 16 h 26"/>
                  <a:gd name="T6" fmla="*/ 0 w 70"/>
                  <a:gd name="T7" fmla="*/ 16 h 26"/>
                  <a:gd name="T8" fmla="*/ 0 w 70"/>
                  <a:gd name="T9" fmla="*/ 26 h 26"/>
                  <a:gd name="T10" fmla="*/ 5 w 70"/>
                  <a:gd name="T11" fmla="*/ 26 h 26"/>
                  <a:gd name="T12" fmla="*/ 70 w 70"/>
                  <a:gd name="T13" fmla="*/ 16 h 26"/>
                  <a:gd name="T14" fmla="*/ 37 w 70"/>
                  <a:gd name="T15" fmla="*/ 0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0"/>
                  <a:gd name="T25" fmla="*/ 0 h 26"/>
                  <a:gd name="T26" fmla="*/ 70 w 70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0" h="26">
                    <a:moveTo>
                      <a:pt x="37" y="0"/>
                    </a:moveTo>
                    <a:lnTo>
                      <a:pt x="5" y="5"/>
                    </a:lnTo>
                    <a:lnTo>
                      <a:pt x="5" y="16"/>
                    </a:lnTo>
                    <a:lnTo>
                      <a:pt x="0" y="16"/>
                    </a:lnTo>
                    <a:lnTo>
                      <a:pt x="0" y="26"/>
                    </a:lnTo>
                    <a:lnTo>
                      <a:pt x="5" y="26"/>
                    </a:lnTo>
                    <a:lnTo>
                      <a:pt x="70" y="16"/>
                    </a:ln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615E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88" name="Freeform 507"/>
              <p:cNvSpPr>
                <a:spLocks/>
              </p:cNvSpPr>
              <p:nvPr/>
            </p:nvSpPr>
            <p:spPr bwMode="auto">
              <a:xfrm>
                <a:off x="2554" y="2055"/>
                <a:ext cx="38" cy="21"/>
              </a:xfrm>
              <a:custGeom>
                <a:avLst/>
                <a:gdLst>
                  <a:gd name="T0" fmla="*/ 0 w 38"/>
                  <a:gd name="T1" fmla="*/ 0 h 21"/>
                  <a:gd name="T2" fmla="*/ 11 w 38"/>
                  <a:gd name="T3" fmla="*/ 21 h 21"/>
                  <a:gd name="T4" fmla="*/ 38 w 38"/>
                  <a:gd name="T5" fmla="*/ 16 h 21"/>
                  <a:gd name="T6" fmla="*/ 0 w 38"/>
                  <a:gd name="T7" fmla="*/ 0 h 2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8"/>
                  <a:gd name="T13" fmla="*/ 0 h 21"/>
                  <a:gd name="T14" fmla="*/ 38 w 38"/>
                  <a:gd name="T15" fmla="*/ 21 h 2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8" h="21">
                    <a:moveTo>
                      <a:pt x="0" y="0"/>
                    </a:moveTo>
                    <a:lnTo>
                      <a:pt x="11" y="21"/>
                    </a:lnTo>
                    <a:lnTo>
                      <a:pt x="38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D393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89" name="Freeform 508"/>
              <p:cNvSpPr>
                <a:spLocks/>
              </p:cNvSpPr>
              <p:nvPr/>
            </p:nvSpPr>
            <p:spPr bwMode="auto">
              <a:xfrm>
                <a:off x="2522" y="2044"/>
                <a:ext cx="11" cy="11"/>
              </a:xfrm>
              <a:custGeom>
                <a:avLst/>
                <a:gdLst>
                  <a:gd name="T0" fmla="*/ 0 w 11"/>
                  <a:gd name="T1" fmla="*/ 0 h 11"/>
                  <a:gd name="T2" fmla="*/ 0 w 11"/>
                  <a:gd name="T3" fmla="*/ 11 h 11"/>
                  <a:gd name="T4" fmla="*/ 6 w 11"/>
                  <a:gd name="T5" fmla="*/ 11 h 11"/>
                  <a:gd name="T6" fmla="*/ 11 w 11"/>
                  <a:gd name="T7" fmla="*/ 5 h 11"/>
                  <a:gd name="T8" fmla="*/ 6 w 11"/>
                  <a:gd name="T9" fmla="*/ 5 h 11"/>
                  <a:gd name="T10" fmla="*/ 0 w 11"/>
                  <a:gd name="T11" fmla="*/ 0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"/>
                  <a:gd name="T19" fmla="*/ 0 h 11"/>
                  <a:gd name="T20" fmla="*/ 11 w 11"/>
                  <a:gd name="T21" fmla="*/ 11 h 1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" h="11">
                    <a:moveTo>
                      <a:pt x="0" y="0"/>
                    </a:moveTo>
                    <a:lnTo>
                      <a:pt x="0" y="11"/>
                    </a:lnTo>
                    <a:lnTo>
                      <a:pt x="6" y="11"/>
                    </a:lnTo>
                    <a:lnTo>
                      <a:pt x="11" y="5"/>
                    </a:lnTo>
                    <a:lnTo>
                      <a:pt x="6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15E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90" name="Freeform 509"/>
              <p:cNvSpPr>
                <a:spLocks/>
              </p:cNvSpPr>
              <p:nvPr/>
            </p:nvSpPr>
            <p:spPr bwMode="auto">
              <a:xfrm>
                <a:off x="2495" y="1846"/>
                <a:ext cx="515" cy="379"/>
              </a:xfrm>
              <a:custGeom>
                <a:avLst/>
                <a:gdLst>
                  <a:gd name="T0" fmla="*/ 0 w 515"/>
                  <a:gd name="T1" fmla="*/ 0 h 379"/>
                  <a:gd name="T2" fmla="*/ 6 w 515"/>
                  <a:gd name="T3" fmla="*/ 187 h 379"/>
                  <a:gd name="T4" fmla="*/ 515 w 515"/>
                  <a:gd name="T5" fmla="*/ 379 h 379"/>
                  <a:gd name="T6" fmla="*/ 515 w 515"/>
                  <a:gd name="T7" fmla="*/ 107 h 379"/>
                  <a:gd name="T8" fmla="*/ 504 w 515"/>
                  <a:gd name="T9" fmla="*/ 107 h 379"/>
                  <a:gd name="T10" fmla="*/ 0 w 515"/>
                  <a:gd name="T11" fmla="*/ 0 h 37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15"/>
                  <a:gd name="T19" fmla="*/ 0 h 379"/>
                  <a:gd name="T20" fmla="*/ 515 w 515"/>
                  <a:gd name="T21" fmla="*/ 379 h 37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15" h="379">
                    <a:moveTo>
                      <a:pt x="0" y="0"/>
                    </a:moveTo>
                    <a:lnTo>
                      <a:pt x="6" y="187"/>
                    </a:lnTo>
                    <a:lnTo>
                      <a:pt x="515" y="379"/>
                    </a:lnTo>
                    <a:lnTo>
                      <a:pt x="515" y="107"/>
                    </a:lnTo>
                    <a:lnTo>
                      <a:pt x="504" y="10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6CB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91" name="Freeform 510"/>
              <p:cNvSpPr>
                <a:spLocks/>
              </p:cNvSpPr>
              <p:nvPr/>
            </p:nvSpPr>
            <p:spPr bwMode="auto">
              <a:xfrm>
                <a:off x="2892" y="2204"/>
                <a:ext cx="27" cy="48"/>
              </a:xfrm>
              <a:custGeom>
                <a:avLst/>
                <a:gdLst>
                  <a:gd name="T0" fmla="*/ 27 w 27"/>
                  <a:gd name="T1" fmla="*/ 5 h 48"/>
                  <a:gd name="T2" fmla="*/ 11 w 27"/>
                  <a:gd name="T3" fmla="*/ 5 h 48"/>
                  <a:gd name="T4" fmla="*/ 5 w 27"/>
                  <a:gd name="T5" fmla="*/ 16 h 48"/>
                  <a:gd name="T6" fmla="*/ 5 w 27"/>
                  <a:gd name="T7" fmla="*/ 48 h 48"/>
                  <a:gd name="T8" fmla="*/ 0 w 27"/>
                  <a:gd name="T9" fmla="*/ 48 h 48"/>
                  <a:gd name="T10" fmla="*/ 0 w 27"/>
                  <a:gd name="T11" fmla="*/ 27 h 48"/>
                  <a:gd name="T12" fmla="*/ 5 w 27"/>
                  <a:gd name="T13" fmla="*/ 11 h 48"/>
                  <a:gd name="T14" fmla="*/ 11 w 27"/>
                  <a:gd name="T15" fmla="*/ 0 h 48"/>
                  <a:gd name="T16" fmla="*/ 27 w 27"/>
                  <a:gd name="T17" fmla="*/ 5 h 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7"/>
                  <a:gd name="T28" fmla="*/ 0 h 48"/>
                  <a:gd name="T29" fmla="*/ 27 w 27"/>
                  <a:gd name="T30" fmla="*/ 48 h 4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7" h="48">
                    <a:moveTo>
                      <a:pt x="27" y="5"/>
                    </a:moveTo>
                    <a:lnTo>
                      <a:pt x="11" y="5"/>
                    </a:lnTo>
                    <a:lnTo>
                      <a:pt x="5" y="16"/>
                    </a:lnTo>
                    <a:lnTo>
                      <a:pt x="5" y="48"/>
                    </a:lnTo>
                    <a:lnTo>
                      <a:pt x="0" y="48"/>
                    </a:lnTo>
                    <a:lnTo>
                      <a:pt x="0" y="27"/>
                    </a:lnTo>
                    <a:lnTo>
                      <a:pt x="5" y="11"/>
                    </a:lnTo>
                    <a:lnTo>
                      <a:pt x="11" y="0"/>
                    </a:lnTo>
                    <a:lnTo>
                      <a:pt x="27" y="5"/>
                    </a:lnTo>
                    <a:close/>
                  </a:path>
                </a:pathLst>
              </a:custGeom>
              <a:solidFill>
                <a:srgbClr val="3D393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92" name="Freeform 511"/>
              <p:cNvSpPr>
                <a:spLocks/>
              </p:cNvSpPr>
              <p:nvPr/>
            </p:nvSpPr>
            <p:spPr bwMode="auto">
              <a:xfrm>
                <a:off x="3058" y="1969"/>
                <a:ext cx="166" cy="80"/>
              </a:xfrm>
              <a:custGeom>
                <a:avLst/>
                <a:gdLst>
                  <a:gd name="T0" fmla="*/ 5 w 166"/>
                  <a:gd name="T1" fmla="*/ 0 h 80"/>
                  <a:gd name="T2" fmla="*/ 86 w 166"/>
                  <a:gd name="T3" fmla="*/ 32 h 80"/>
                  <a:gd name="T4" fmla="*/ 166 w 166"/>
                  <a:gd name="T5" fmla="*/ 80 h 80"/>
                  <a:gd name="T6" fmla="*/ 155 w 166"/>
                  <a:gd name="T7" fmla="*/ 80 h 80"/>
                  <a:gd name="T8" fmla="*/ 16 w 166"/>
                  <a:gd name="T9" fmla="*/ 48 h 80"/>
                  <a:gd name="T10" fmla="*/ 16 w 166"/>
                  <a:gd name="T11" fmla="*/ 43 h 80"/>
                  <a:gd name="T12" fmla="*/ 0 w 166"/>
                  <a:gd name="T13" fmla="*/ 38 h 80"/>
                  <a:gd name="T14" fmla="*/ 0 w 166"/>
                  <a:gd name="T15" fmla="*/ 32 h 80"/>
                  <a:gd name="T16" fmla="*/ 5 w 166"/>
                  <a:gd name="T17" fmla="*/ 0 h 8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6"/>
                  <a:gd name="T28" fmla="*/ 0 h 80"/>
                  <a:gd name="T29" fmla="*/ 166 w 166"/>
                  <a:gd name="T30" fmla="*/ 80 h 8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6" h="80">
                    <a:moveTo>
                      <a:pt x="5" y="0"/>
                    </a:moveTo>
                    <a:lnTo>
                      <a:pt x="86" y="32"/>
                    </a:lnTo>
                    <a:lnTo>
                      <a:pt x="166" y="80"/>
                    </a:lnTo>
                    <a:lnTo>
                      <a:pt x="155" y="80"/>
                    </a:lnTo>
                    <a:lnTo>
                      <a:pt x="16" y="48"/>
                    </a:lnTo>
                    <a:lnTo>
                      <a:pt x="16" y="43"/>
                    </a:lnTo>
                    <a:lnTo>
                      <a:pt x="0" y="38"/>
                    </a:lnTo>
                    <a:lnTo>
                      <a:pt x="0" y="32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006CB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93" name="Freeform 512"/>
              <p:cNvSpPr>
                <a:spLocks/>
              </p:cNvSpPr>
              <p:nvPr/>
            </p:nvSpPr>
            <p:spPr bwMode="auto">
              <a:xfrm>
                <a:off x="3063" y="1964"/>
                <a:ext cx="167" cy="85"/>
              </a:xfrm>
              <a:custGeom>
                <a:avLst/>
                <a:gdLst>
                  <a:gd name="T0" fmla="*/ 156 w 167"/>
                  <a:gd name="T1" fmla="*/ 85 h 85"/>
                  <a:gd name="T2" fmla="*/ 75 w 167"/>
                  <a:gd name="T3" fmla="*/ 37 h 85"/>
                  <a:gd name="T4" fmla="*/ 0 w 167"/>
                  <a:gd name="T5" fmla="*/ 5 h 85"/>
                  <a:gd name="T6" fmla="*/ 6 w 167"/>
                  <a:gd name="T7" fmla="*/ 0 h 85"/>
                  <a:gd name="T8" fmla="*/ 11 w 167"/>
                  <a:gd name="T9" fmla="*/ 0 h 85"/>
                  <a:gd name="T10" fmla="*/ 86 w 167"/>
                  <a:gd name="T11" fmla="*/ 37 h 85"/>
                  <a:gd name="T12" fmla="*/ 167 w 167"/>
                  <a:gd name="T13" fmla="*/ 85 h 85"/>
                  <a:gd name="T14" fmla="*/ 156 w 167"/>
                  <a:gd name="T15" fmla="*/ 85 h 8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67"/>
                  <a:gd name="T25" fmla="*/ 0 h 85"/>
                  <a:gd name="T26" fmla="*/ 167 w 167"/>
                  <a:gd name="T27" fmla="*/ 85 h 8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67" h="85">
                    <a:moveTo>
                      <a:pt x="156" y="85"/>
                    </a:moveTo>
                    <a:lnTo>
                      <a:pt x="75" y="37"/>
                    </a:lnTo>
                    <a:lnTo>
                      <a:pt x="0" y="5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86" y="37"/>
                    </a:lnTo>
                    <a:lnTo>
                      <a:pt x="167" y="85"/>
                    </a:lnTo>
                    <a:lnTo>
                      <a:pt x="156" y="85"/>
                    </a:lnTo>
                    <a:close/>
                  </a:path>
                </a:pathLst>
              </a:custGeom>
              <a:solidFill>
                <a:srgbClr val="007BC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94" name="Freeform 513"/>
              <p:cNvSpPr>
                <a:spLocks/>
              </p:cNvSpPr>
              <p:nvPr/>
            </p:nvSpPr>
            <p:spPr bwMode="auto">
              <a:xfrm>
                <a:off x="3224" y="1937"/>
                <a:ext cx="16" cy="16"/>
              </a:xfrm>
              <a:custGeom>
                <a:avLst/>
                <a:gdLst>
                  <a:gd name="T0" fmla="*/ 16 w 16"/>
                  <a:gd name="T1" fmla="*/ 16 h 16"/>
                  <a:gd name="T2" fmla="*/ 0 w 16"/>
                  <a:gd name="T3" fmla="*/ 0 h 16"/>
                  <a:gd name="T4" fmla="*/ 0 w 16"/>
                  <a:gd name="T5" fmla="*/ 16 h 16"/>
                  <a:gd name="T6" fmla="*/ 16 w 16"/>
                  <a:gd name="T7" fmla="*/ 16 h 1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"/>
                  <a:gd name="T13" fmla="*/ 0 h 16"/>
                  <a:gd name="T14" fmla="*/ 16 w 16"/>
                  <a:gd name="T15" fmla="*/ 16 h 1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" h="16">
                    <a:moveTo>
                      <a:pt x="16" y="16"/>
                    </a:moveTo>
                    <a:lnTo>
                      <a:pt x="0" y="0"/>
                    </a:lnTo>
                    <a:lnTo>
                      <a:pt x="0" y="16"/>
                    </a:lnTo>
                    <a:lnTo>
                      <a:pt x="16" y="16"/>
                    </a:lnTo>
                    <a:close/>
                  </a:path>
                </a:pathLst>
              </a:custGeom>
              <a:solidFill>
                <a:srgbClr val="006CB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95" name="Freeform 514"/>
              <p:cNvSpPr>
                <a:spLocks/>
              </p:cNvSpPr>
              <p:nvPr/>
            </p:nvSpPr>
            <p:spPr bwMode="auto">
              <a:xfrm>
                <a:off x="3085" y="2284"/>
                <a:ext cx="75" cy="112"/>
              </a:xfrm>
              <a:custGeom>
                <a:avLst/>
                <a:gdLst>
                  <a:gd name="T0" fmla="*/ 21 w 75"/>
                  <a:gd name="T1" fmla="*/ 0 h 112"/>
                  <a:gd name="T2" fmla="*/ 5 w 75"/>
                  <a:gd name="T3" fmla="*/ 6 h 112"/>
                  <a:gd name="T4" fmla="*/ 0 w 75"/>
                  <a:gd name="T5" fmla="*/ 22 h 112"/>
                  <a:gd name="T6" fmla="*/ 0 w 75"/>
                  <a:gd name="T7" fmla="*/ 43 h 112"/>
                  <a:gd name="T8" fmla="*/ 5 w 75"/>
                  <a:gd name="T9" fmla="*/ 70 h 112"/>
                  <a:gd name="T10" fmla="*/ 16 w 75"/>
                  <a:gd name="T11" fmla="*/ 96 h 112"/>
                  <a:gd name="T12" fmla="*/ 27 w 75"/>
                  <a:gd name="T13" fmla="*/ 107 h 112"/>
                  <a:gd name="T14" fmla="*/ 43 w 75"/>
                  <a:gd name="T15" fmla="*/ 112 h 112"/>
                  <a:gd name="T16" fmla="*/ 59 w 75"/>
                  <a:gd name="T17" fmla="*/ 107 h 112"/>
                  <a:gd name="T18" fmla="*/ 75 w 75"/>
                  <a:gd name="T19" fmla="*/ 102 h 112"/>
                  <a:gd name="T20" fmla="*/ 59 w 75"/>
                  <a:gd name="T21" fmla="*/ 91 h 112"/>
                  <a:gd name="T22" fmla="*/ 59 w 75"/>
                  <a:gd name="T23" fmla="*/ 54 h 112"/>
                  <a:gd name="T24" fmla="*/ 53 w 75"/>
                  <a:gd name="T25" fmla="*/ 27 h 112"/>
                  <a:gd name="T26" fmla="*/ 43 w 75"/>
                  <a:gd name="T27" fmla="*/ 11 h 112"/>
                  <a:gd name="T28" fmla="*/ 21 w 75"/>
                  <a:gd name="T29" fmla="*/ 0 h 11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75"/>
                  <a:gd name="T46" fmla="*/ 0 h 112"/>
                  <a:gd name="T47" fmla="*/ 75 w 75"/>
                  <a:gd name="T48" fmla="*/ 112 h 11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75" h="112">
                    <a:moveTo>
                      <a:pt x="21" y="0"/>
                    </a:moveTo>
                    <a:lnTo>
                      <a:pt x="5" y="6"/>
                    </a:lnTo>
                    <a:lnTo>
                      <a:pt x="0" y="22"/>
                    </a:lnTo>
                    <a:lnTo>
                      <a:pt x="0" y="43"/>
                    </a:lnTo>
                    <a:lnTo>
                      <a:pt x="5" y="70"/>
                    </a:lnTo>
                    <a:lnTo>
                      <a:pt x="16" y="96"/>
                    </a:lnTo>
                    <a:lnTo>
                      <a:pt x="27" y="107"/>
                    </a:lnTo>
                    <a:lnTo>
                      <a:pt x="43" y="112"/>
                    </a:lnTo>
                    <a:lnTo>
                      <a:pt x="59" y="107"/>
                    </a:lnTo>
                    <a:lnTo>
                      <a:pt x="75" y="102"/>
                    </a:lnTo>
                    <a:lnTo>
                      <a:pt x="59" y="91"/>
                    </a:lnTo>
                    <a:lnTo>
                      <a:pt x="59" y="54"/>
                    </a:lnTo>
                    <a:lnTo>
                      <a:pt x="53" y="27"/>
                    </a:lnTo>
                    <a:lnTo>
                      <a:pt x="43" y="11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83818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96" name="Freeform 515"/>
              <p:cNvSpPr>
                <a:spLocks/>
              </p:cNvSpPr>
              <p:nvPr/>
            </p:nvSpPr>
            <p:spPr bwMode="auto">
              <a:xfrm>
                <a:off x="2892" y="2209"/>
                <a:ext cx="86" cy="97"/>
              </a:xfrm>
              <a:custGeom>
                <a:avLst/>
                <a:gdLst>
                  <a:gd name="T0" fmla="*/ 27 w 86"/>
                  <a:gd name="T1" fmla="*/ 0 h 97"/>
                  <a:gd name="T2" fmla="*/ 37 w 86"/>
                  <a:gd name="T3" fmla="*/ 6 h 97"/>
                  <a:gd name="T4" fmla="*/ 43 w 86"/>
                  <a:gd name="T5" fmla="*/ 16 h 97"/>
                  <a:gd name="T6" fmla="*/ 54 w 86"/>
                  <a:gd name="T7" fmla="*/ 38 h 97"/>
                  <a:gd name="T8" fmla="*/ 59 w 86"/>
                  <a:gd name="T9" fmla="*/ 65 h 97"/>
                  <a:gd name="T10" fmla="*/ 64 w 86"/>
                  <a:gd name="T11" fmla="*/ 65 h 97"/>
                  <a:gd name="T12" fmla="*/ 86 w 86"/>
                  <a:gd name="T13" fmla="*/ 59 h 97"/>
                  <a:gd name="T14" fmla="*/ 86 w 86"/>
                  <a:gd name="T15" fmla="*/ 70 h 97"/>
                  <a:gd name="T16" fmla="*/ 86 w 86"/>
                  <a:gd name="T17" fmla="*/ 81 h 97"/>
                  <a:gd name="T18" fmla="*/ 75 w 86"/>
                  <a:gd name="T19" fmla="*/ 81 h 97"/>
                  <a:gd name="T20" fmla="*/ 64 w 86"/>
                  <a:gd name="T21" fmla="*/ 86 h 97"/>
                  <a:gd name="T22" fmla="*/ 48 w 86"/>
                  <a:gd name="T23" fmla="*/ 91 h 97"/>
                  <a:gd name="T24" fmla="*/ 37 w 86"/>
                  <a:gd name="T25" fmla="*/ 97 h 97"/>
                  <a:gd name="T26" fmla="*/ 21 w 86"/>
                  <a:gd name="T27" fmla="*/ 86 h 97"/>
                  <a:gd name="T28" fmla="*/ 11 w 86"/>
                  <a:gd name="T29" fmla="*/ 81 h 97"/>
                  <a:gd name="T30" fmla="*/ 5 w 86"/>
                  <a:gd name="T31" fmla="*/ 54 h 97"/>
                  <a:gd name="T32" fmla="*/ 0 w 86"/>
                  <a:gd name="T33" fmla="*/ 27 h 97"/>
                  <a:gd name="T34" fmla="*/ 5 w 86"/>
                  <a:gd name="T35" fmla="*/ 11 h 97"/>
                  <a:gd name="T36" fmla="*/ 16 w 86"/>
                  <a:gd name="T37" fmla="*/ 0 h 97"/>
                  <a:gd name="T38" fmla="*/ 27 w 86"/>
                  <a:gd name="T39" fmla="*/ 0 h 97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86"/>
                  <a:gd name="T61" fmla="*/ 0 h 97"/>
                  <a:gd name="T62" fmla="*/ 86 w 86"/>
                  <a:gd name="T63" fmla="*/ 97 h 97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86" h="97">
                    <a:moveTo>
                      <a:pt x="27" y="0"/>
                    </a:moveTo>
                    <a:lnTo>
                      <a:pt x="37" y="6"/>
                    </a:lnTo>
                    <a:lnTo>
                      <a:pt x="43" y="16"/>
                    </a:lnTo>
                    <a:lnTo>
                      <a:pt x="54" y="38"/>
                    </a:lnTo>
                    <a:lnTo>
                      <a:pt x="59" y="65"/>
                    </a:lnTo>
                    <a:lnTo>
                      <a:pt x="64" y="65"/>
                    </a:lnTo>
                    <a:lnTo>
                      <a:pt x="86" y="59"/>
                    </a:lnTo>
                    <a:lnTo>
                      <a:pt x="86" y="70"/>
                    </a:lnTo>
                    <a:lnTo>
                      <a:pt x="86" y="81"/>
                    </a:lnTo>
                    <a:lnTo>
                      <a:pt x="75" y="81"/>
                    </a:lnTo>
                    <a:lnTo>
                      <a:pt x="64" y="86"/>
                    </a:lnTo>
                    <a:lnTo>
                      <a:pt x="48" y="91"/>
                    </a:lnTo>
                    <a:lnTo>
                      <a:pt x="37" y="97"/>
                    </a:lnTo>
                    <a:lnTo>
                      <a:pt x="21" y="86"/>
                    </a:lnTo>
                    <a:lnTo>
                      <a:pt x="11" y="81"/>
                    </a:lnTo>
                    <a:lnTo>
                      <a:pt x="5" y="54"/>
                    </a:lnTo>
                    <a:lnTo>
                      <a:pt x="0" y="27"/>
                    </a:lnTo>
                    <a:lnTo>
                      <a:pt x="5" y="11"/>
                    </a:lnTo>
                    <a:lnTo>
                      <a:pt x="16" y="0"/>
                    </a:lnTo>
                    <a:lnTo>
                      <a:pt x="27" y="0"/>
                    </a:lnTo>
                    <a:close/>
                  </a:path>
                </a:pathLst>
              </a:custGeom>
              <a:solidFill>
                <a:srgbClr val="838181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97" name="Freeform 516"/>
              <p:cNvSpPr>
                <a:spLocks/>
              </p:cNvSpPr>
              <p:nvPr/>
            </p:nvSpPr>
            <p:spPr bwMode="auto">
              <a:xfrm>
                <a:off x="2903" y="2225"/>
                <a:ext cx="32" cy="59"/>
              </a:xfrm>
              <a:custGeom>
                <a:avLst/>
                <a:gdLst>
                  <a:gd name="T0" fmla="*/ 21 w 32"/>
                  <a:gd name="T1" fmla="*/ 59 h 59"/>
                  <a:gd name="T2" fmla="*/ 16 w 32"/>
                  <a:gd name="T3" fmla="*/ 59 h 59"/>
                  <a:gd name="T4" fmla="*/ 10 w 32"/>
                  <a:gd name="T5" fmla="*/ 54 h 59"/>
                  <a:gd name="T6" fmla="*/ 0 w 32"/>
                  <a:gd name="T7" fmla="*/ 33 h 59"/>
                  <a:gd name="T8" fmla="*/ 0 w 32"/>
                  <a:gd name="T9" fmla="*/ 11 h 59"/>
                  <a:gd name="T10" fmla="*/ 10 w 32"/>
                  <a:gd name="T11" fmla="*/ 0 h 59"/>
                  <a:gd name="T12" fmla="*/ 21 w 32"/>
                  <a:gd name="T13" fmla="*/ 6 h 59"/>
                  <a:gd name="T14" fmla="*/ 32 w 32"/>
                  <a:gd name="T15" fmla="*/ 27 h 59"/>
                  <a:gd name="T16" fmla="*/ 26 w 32"/>
                  <a:gd name="T17" fmla="*/ 49 h 59"/>
                  <a:gd name="T18" fmla="*/ 26 w 32"/>
                  <a:gd name="T19" fmla="*/ 54 h 59"/>
                  <a:gd name="T20" fmla="*/ 21 w 32"/>
                  <a:gd name="T21" fmla="*/ 59 h 5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2"/>
                  <a:gd name="T34" fmla="*/ 0 h 59"/>
                  <a:gd name="T35" fmla="*/ 32 w 32"/>
                  <a:gd name="T36" fmla="*/ 59 h 5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2" h="59">
                    <a:moveTo>
                      <a:pt x="21" y="59"/>
                    </a:moveTo>
                    <a:lnTo>
                      <a:pt x="16" y="59"/>
                    </a:lnTo>
                    <a:lnTo>
                      <a:pt x="10" y="54"/>
                    </a:lnTo>
                    <a:lnTo>
                      <a:pt x="0" y="33"/>
                    </a:lnTo>
                    <a:lnTo>
                      <a:pt x="0" y="11"/>
                    </a:lnTo>
                    <a:lnTo>
                      <a:pt x="10" y="0"/>
                    </a:lnTo>
                    <a:lnTo>
                      <a:pt x="21" y="6"/>
                    </a:lnTo>
                    <a:lnTo>
                      <a:pt x="32" y="27"/>
                    </a:lnTo>
                    <a:lnTo>
                      <a:pt x="26" y="49"/>
                    </a:lnTo>
                    <a:lnTo>
                      <a:pt x="26" y="54"/>
                    </a:lnTo>
                    <a:lnTo>
                      <a:pt x="21" y="59"/>
                    </a:lnTo>
                    <a:close/>
                  </a:path>
                </a:pathLst>
              </a:custGeom>
              <a:solidFill>
                <a:srgbClr val="DEDED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98" name="Freeform 517"/>
              <p:cNvSpPr>
                <a:spLocks/>
              </p:cNvSpPr>
              <p:nvPr/>
            </p:nvSpPr>
            <p:spPr bwMode="auto">
              <a:xfrm>
                <a:off x="3096" y="2311"/>
                <a:ext cx="32" cy="64"/>
              </a:xfrm>
              <a:custGeom>
                <a:avLst/>
                <a:gdLst>
                  <a:gd name="T0" fmla="*/ 0 w 32"/>
                  <a:gd name="T1" fmla="*/ 27 h 64"/>
                  <a:gd name="T2" fmla="*/ 0 w 32"/>
                  <a:gd name="T3" fmla="*/ 5 h 64"/>
                  <a:gd name="T4" fmla="*/ 10 w 32"/>
                  <a:gd name="T5" fmla="*/ 0 h 64"/>
                  <a:gd name="T6" fmla="*/ 21 w 32"/>
                  <a:gd name="T7" fmla="*/ 5 h 64"/>
                  <a:gd name="T8" fmla="*/ 32 w 32"/>
                  <a:gd name="T9" fmla="*/ 27 h 64"/>
                  <a:gd name="T10" fmla="*/ 32 w 32"/>
                  <a:gd name="T11" fmla="*/ 48 h 64"/>
                  <a:gd name="T12" fmla="*/ 21 w 32"/>
                  <a:gd name="T13" fmla="*/ 64 h 64"/>
                  <a:gd name="T14" fmla="*/ 10 w 32"/>
                  <a:gd name="T15" fmla="*/ 53 h 64"/>
                  <a:gd name="T16" fmla="*/ 0 w 32"/>
                  <a:gd name="T17" fmla="*/ 37 h 64"/>
                  <a:gd name="T18" fmla="*/ 0 w 32"/>
                  <a:gd name="T19" fmla="*/ 32 h 64"/>
                  <a:gd name="T20" fmla="*/ 0 w 32"/>
                  <a:gd name="T21" fmla="*/ 27 h 6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2"/>
                  <a:gd name="T34" fmla="*/ 0 h 64"/>
                  <a:gd name="T35" fmla="*/ 32 w 32"/>
                  <a:gd name="T36" fmla="*/ 64 h 6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2" h="64">
                    <a:moveTo>
                      <a:pt x="0" y="27"/>
                    </a:moveTo>
                    <a:lnTo>
                      <a:pt x="0" y="5"/>
                    </a:lnTo>
                    <a:lnTo>
                      <a:pt x="10" y="0"/>
                    </a:lnTo>
                    <a:lnTo>
                      <a:pt x="21" y="5"/>
                    </a:lnTo>
                    <a:lnTo>
                      <a:pt x="32" y="27"/>
                    </a:lnTo>
                    <a:lnTo>
                      <a:pt x="32" y="48"/>
                    </a:lnTo>
                    <a:lnTo>
                      <a:pt x="21" y="64"/>
                    </a:lnTo>
                    <a:lnTo>
                      <a:pt x="10" y="53"/>
                    </a:lnTo>
                    <a:lnTo>
                      <a:pt x="0" y="37"/>
                    </a:lnTo>
                    <a:lnTo>
                      <a:pt x="0" y="32"/>
                    </a:lnTo>
                    <a:lnTo>
                      <a:pt x="0" y="27"/>
                    </a:lnTo>
                    <a:close/>
                  </a:path>
                </a:pathLst>
              </a:custGeom>
              <a:solidFill>
                <a:srgbClr val="DEDED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399" name="Freeform 518"/>
              <p:cNvSpPr>
                <a:spLocks/>
              </p:cNvSpPr>
              <p:nvPr/>
            </p:nvSpPr>
            <p:spPr bwMode="auto">
              <a:xfrm>
                <a:off x="2619" y="2097"/>
                <a:ext cx="10" cy="16"/>
              </a:xfrm>
              <a:custGeom>
                <a:avLst/>
                <a:gdLst>
                  <a:gd name="T0" fmla="*/ 0 w 10"/>
                  <a:gd name="T1" fmla="*/ 16 h 16"/>
                  <a:gd name="T2" fmla="*/ 5 w 10"/>
                  <a:gd name="T3" fmla="*/ 16 h 16"/>
                  <a:gd name="T4" fmla="*/ 5 w 10"/>
                  <a:gd name="T5" fmla="*/ 6 h 16"/>
                  <a:gd name="T6" fmla="*/ 10 w 10"/>
                  <a:gd name="T7" fmla="*/ 0 h 16"/>
                  <a:gd name="T8" fmla="*/ 5 w 10"/>
                  <a:gd name="T9" fmla="*/ 6 h 16"/>
                  <a:gd name="T10" fmla="*/ 0 w 10"/>
                  <a:gd name="T11" fmla="*/ 16 h 1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"/>
                  <a:gd name="T19" fmla="*/ 0 h 16"/>
                  <a:gd name="T20" fmla="*/ 10 w 10"/>
                  <a:gd name="T21" fmla="*/ 16 h 1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" h="16">
                    <a:moveTo>
                      <a:pt x="0" y="16"/>
                    </a:moveTo>
                    <a:lnTo>
                      <a:pt x="5" y="16"/>
                    </a:lnTo>
                    <a:lnTo>
                      <a:pt x="5" y="6"/>
                    </a:lnTo>
                    <a:lnTo>
                      <a:pt x="10" y="0"/>
                    </a:lnTo>
                    <a:lnTo>
                      <a:pt x="5" y="6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3D3937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00" name="Freeform 519"/>
              <p:cNvSpPr>
                <a:spLocks/>
              </p:cNvSpPr>
              <p:nvPr/>
            </p:nvSpPr>
            <p:spPr bwMode="auto">
              <a:xfrm>
                <a:off x="2581" y="2081"/>
                <a:ext cx="11" cy="16"/>
              </a:xfrm>
              <a:custGeom>
                <a:avLst/>
                <a:gdLst>
                  <a:gd name="T0" fmla="*/ 0 w 11"/>
                  <a:gd name="T1" fmla="*/ 16 h 16"/>
                  <a:gd name="T2" fmla="*/ 0 w 11"/>
                  <a:gd name="T3" fmla="*/ 16 h 16"/>
                  <a:gd name="T4" fmla="*/ 6 w 11"/>
                  <a:gd name="T5" fmla="*/ 6 h 16"/>
                  <a:gd name="T6" fmla="*/ 11 w 11"/>
                  <a:gd name="T7" fmla="*/ 0 h 16"/>
                  <a:gd name="T8" fmla="*/ 0 w 11"/>
                  <a:gd name="T9" fmla="*/ 0 h 16"/>
                  <a:gd name="T10" fmla="*/ 0 w 11"/>
                  <a:gd name="T11" fmla="*/ 16 h 1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"/>
                  <a:gd name="T19" fmla="*/ 0 h 16"/>
                  <a:gd name="T20" fmla="*/ 11 w 11"/>
                  <a:gd name="T21" fmla="*/ 16 h 1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" h="16">
                    <a:moveTo>
                      <a:pt x="0" y="16"/>
                    </a:moveTo>
                    <a:lnTo>
                      <a:pt x="0" y="16"/>
                    </a:lnTo>
                    <a:lnTo>
                      <a:pt x="6" y="6"/>
                    </a:lnTo>
                    <a:lnTo>
                      <a:pt x="11" y="0"/>
                    </a:lnTo>
                    <a:lnTo>
                      <a:pt x="0" y="0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3D3937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01" name="Freeform 520"/>
              <p:cNvSpPr>
                <a:spLocks/>
              </p:cNvSpPr>
              <p:nvPr/>
            </p:nvSpPr>
            <p:spPr bwMode="auto">
              <a:xfrm>
                <a:off x="2629" y="2092"/>
                <a:ext cx="11" cy="5"/>
              </a:xfrm>
              <a:custGeom>
                <a:avLst/>
                <a:gdLst>
                  <a:gd name="T0" fmla="*/ 11 w 11"/>
                  <a:gd name="T1" fmla="*/ 0 h 5"/>
                  <a:gd name="T2" fmla="*/ 0 w 11"/>
                  <a:gd name="T3" fmla="*/ 0 h 5"/>
                  <a:gd name="T4" fmla="*/ 0 w 11"/>
                  <a:gd name="T5" fmla="*/ 5 h 5"/>
                  <a:gd name="T6" fmla="*/ 11 w 11"/>
                  <a:gd name="T7" fmla="*/ 0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"/>
                  <a:gd name="T13" fmla="*/ 0 h 5"/>
                  <a:gd name="T14" fmla="*/ 11 w 11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" h="5">
                    <a:moveTo>
                      <a:pt x="11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3D3937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02" name="Freeform 521"/>
              <p:cNvSpPr>
                <a:spLocks/>
              </p:cNvSpPr>
              <p:nvPr/>
            </p:nvSpPr>
            <p:spPr bwMode="auto">
              <a:xfrm>
                <a:off x="2662" y="2113"/>
                <a:ext cx="10" cy="16"/>
              </a:xfrm>
              <a:custGeom>
                <a:avLst/>
                <a:gdLst>
                  <a:gd name="T0" fmla="*/ 0 w 10"/>
                  <a:gd name="T1" fmla="*/ 16 h 16"/>
                  <a:gd name="T2" fmla="*/ 5 w 10"/>
                  <a:gd name="T3" fmla="*/ 16 h 16"/>
                  <a:gd name="T4" fmla="*/ 5 w 10"/>
                  <a:gd name="T5" fmla="*/ 6 h 16"/>
                  <a:gd name="T6" fmla="*/ 10 w 10"/>
                  <a:gd name="T7" fmla="*/ 0 h 16"/>
                  <a:gd name="T8" fmla="*/ 0 w 10"/>
                  <a:gd name="T9" fmla="*/ 6 h 16"/>
                  <a:gd name="T10" fmla="*/ 0 w 10"/>
                  <a:gd name="T11" fmla="*/ 16 h 1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"/>
                  <a:gd name="T19" fmla="*/ 0 h 16"/>
                  <a:gd name="T20" fmla="*/ 10 w 10"/>
                  <a:gd name="T21" fmla="*/ 16 h 1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" h="16">
                    <a:moveTo>
                      <a:pt x="0" y="16"/>
                    </a:moveTo>
                    <a:lnTo>
                      <a:pt x="5" y="16"/>
                    </a:lnTo>
                    <a:lnTo>
                      <a:pt x="5" y="6"/>
                    </a:lnTo>
                    <a:lnTo>
                      <a:pt x="10" y="0"/>
                    </a:lnTo>
                    <a:lnTo>
                      <a:pt x="0" y="6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3D3937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32" name="Freeform 551"/>
              <p:cNvSpPr>
                <a:spLocks/>
              </p:cNvSpPr>
              <p:nvPr/>
            </p:nvSpPr>
            <p:spPr bwMode="auto">
              <a:xfrm>
                <a:off x="2469" y="1558"/>
                <a:ext cx="182" cy="288"/>
              </a:xfrm>
              <a:custGeom>
                <a:avLst/>
                <a:gdLst>
                  <a:gd name="T0" fmla="*/ 182 w 182"/>
                  <a:gd name="T1" fmla="*/ 27 h 288"/>
                  <a:gd name="T2" fmla="*/ 32 w 182"/>
                  <a:gd name="T3" fmla="*/ 288 h 288"/>
                  <a:gd name="T4" fmla="*/ 0 w 182"/>
                  <a:gd name="T5" fmla="*/ 262 h 288"/>
                  <a:gd name="T6" fmla="*/ 144 w 182"/>
                  <a:gd name="T7" fmla="*/ 0 h 288"/>
                  <a:gd name="T8" fmla="*/ 182 w 182"/>
                  <a:gd name="T9" fmla="*/ 27 h 2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2"/>
                  <a:gd name="T16" fmla="*/ 0 h 288"/>
                  <a:gd name="T17" fmla="*/ 182 w 182"/>
                  <a:gd name="T18" fmla="*/ 288 h 2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2" h="288">
                    <a:moveTo>
                      <a:pt x="182" y="27"/>
                    </a:moveTo>
                    <a:lnTo>
                      <a:pt x="32" y="288"/>
                    </a:lnTo>
                    <a:lnTo>
                      <a:pt x="0" y="262"/>
                    </a:lnTo>
                    <a:lnTo>
                      <a:pt x="144" y="0"/>
                    </a:lnTo>
                    <a:lnTo>
                      <a:pt x="182" y="2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33" name="Freeform 552"/>
              <p:cNvSpPr>
                <a:spLocks/>
              </p:cNvSpPr>
              <p:nvPr/>
            </p:nvSpPr>
            <p:spPr bwMode="auto">
              <a:xfrm>
                <a:off x="3369" y="2076"/>
                <a:ext cx="27" cy="85"/>
              </a:xfrm>
              <a:custGeom>
                <a:avLst/>
                <a:gdLst>
                  <a:gd name="T0" fmla="*/ 0 w 27"/>
                  <a:gd name="T1" fmla="*/ 0 h 85"/>
                  <a:gd name="T2" fmla="*/ 11 w 27"/>
                  <a:gd name="T3" fmla="*/ 0 h 85"/>
                  <a:gd name="T4" fmla="*/ 11 w 27"/>
                  <a:gd name="T5" fmla="*/ 0 h 85"/>
                  <a:gd name="T6" fmla="*/ 16 w 27"/>
                  <a:gd name="T7" fmla="*/ 5 h 85"/>
                  <a:gd name="T8" fmla="*/ 21 w 27"/>
                  <a:gd name="T9" fmla="*/ 32 h 85"/>
                  <a:gd name="T10" fmla="*/ 27 w 27"/>
                  <a:gd name="T11" fmla="*/ 27 h 85"/>
                  <a:gd name="T12" fmla="*/ 27 w 27"/>
                  <a:gd name="T13" fmla="*/ 59 h 85"/>
                  <a:gd name="T14" fmla="*/ 27 w 27"/>
                  <a:gd name="T15" fmla="*/ 59 h 85"/>
                  <a:gd name="T16" fmla="*/ 21 w 27"/>
                  <a:gd name="T17" fmla="*/ 64 h 85"/>
                  <a:gd name="T18" fmla="*/ 21 w 27"/>
                  <a:gd name="T19" fmla="*/ 80 h 85"/>
                  <a:gd name="T20" fmla="*/ 16 w 27"/>
                  <a:gd name="T21" fmla="*/ 80 h 85"/>
                  <a:gd name="T22" fmla="*/ 16 w 27"/>
                  <a:gd name="T23" fmla="*/ 85 h 85"/>
                  <a:gd name="T24" fmla="*/ 11 w 27"/>
                  <a:gd name="T25" fmla="*/ 85 h 85"/>
                  <a:gd name="T26" fmla="*/ 11 w 27"/>
                  <a:gd name="T27" fmla="*/ 85 h 85"/>
                  <a:gd name="T28" fmla="*/ 16 w 27"/>
                  <a:gd name="T29" fmla="*/ 80 h 85"/>
                  <a:gd name="T30" fmla="*/ 16 w 27"/>
                  <a:gd name="T31" fmla="*/ 80 h 85"/>
                  <a:gd name="T32" fmla="*/ 16 w 27"/>
                  <a:gd name="T33" fmla="*/ 64 h 85"/>
                  <a:gd name="T34" fmla="*/ 11 w 27"/>
                  <a:gd name="T35" fmla="*/ 69 h 85"/>
                  <a:gd name="T36" fmla="*/ 11 w 27"/>
                  <a:gd name="T37" fmla="*/ 37 h 85"/>
                  <a:gd name="T38" fmla="*/ 11 w 27"/>
                  <a:gd name="T39" fmla="*/ 32 h 85"/>
                  <a:gd name="T40" fmla="*/ 16 w 27"/>
                  <a:gd name="T41" fmla="*/ 32 h 85"/>
                  <a:gd name="T42" fmla="*/ 16 w 27"/>
                  <a:gd name="T43" fmla="*/ 5 h 85"/>
                  <a:gd name="T44" fmla="*/ 11 w 27"/>
                  <a:gd name="T45" fmla="*/ 0 h 85"/>
                  <a:gd name="T46" fmla="*/ 11 w 27"/>
                  <a:gd name="T47" fmla="*/ 0 h 85"/>
                  <a:gd name="T48" fmla="*/ 0 w 27"/>
                  <a:gd name="T49" fmla="*/ 5 h 85"/>
                  <a:gd name="T50" fmla="*/ 0 w 27"/>
                  <a:gd name="T51" fmla="*/ 0 h 8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27"/>
                  <a:gd name="T79" fmla="*/ 0 h 85"/>
                  <a:gd name="T80" fmla="*/ 27 w 27"/>
                  <a:gd name="T81" fmla="*/ 85 h 85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27" h="85">
                    <a:moveTo>
                      <a:pt x="0" y="0"/>
                    </a:moveTo>
                    <a:lnTo>
                      <a:pt x="11" y="0"/>
                    </a:lnTo>
                    <a:lnTo>
                      <a:pt x="16" y="5"/>
                    </a:lnTo>
                    <a:lnTo>
                      <a:pt x="21" y="32"/>
                    </a:lnTo>
                    <a:lnTo>
                      <a:pt x="27" y="27"/>
                    </a:lnTo>
                    <a:lnTo>
                      <a:pt x="27" y="59"/>
                    </a:lnTo>
                    <a:lnTo>
                      <a:pt x="21" y="64"/>
                    </a:lnTo>
                    <a:lnTo>
                      <a:pt x="21" y="80"/>
                    </a:lnTo>
                    <a:lnTo>
                      <a:pt x="16" y="80"/>
                    </a:lnTo>
                    <a:lnTo>
                      <a:pt x="16" y="85"/>
                    </a:lnTo>
                    <a:lnTo>
                      <a:pt x="11" y="85"/>
                    </a:lnTo>
                    <a:lnTo>
                      <a:pt x="16" y="80"/>
                    </a:lnTo>
                    <a:lnTo>
                      <a:pt x="16" y="64"/>
                    </a:lnTo>
                    <a:lnTo>
                      <a:pt x="11" y="69"/>
                    </a:lnTo>
                    <a:lnTo>
                      <a:pt x="11" y="37"/>
                    </a:lnTo>
                    <a:lnTo>
                      <a:pt x="11" y="32"/>
                    </a:lnTo>
                    <a:lnTo>
                      <a:pt x="16" y="32"/>
                    </a:lnTo>
                    <a:lnTo>
                      <a:pt x="16" y="5"/>
                    </a:lnTo>
                    <a:lnTo>
                      <a:pt x="11" y="0"/>
                    </a:lnTo>
                    <a:lnTo>
                      <a:pt x="0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34" name="Freeform 553"/>
              <p:cNvSpPr>
                <a:spLocks/>
              </p:cNvSpPr>
              <p:nvPr/>
            </p:nvSpPr>
            <p:spPr bwMode="auto">
              <a:xfrm>
                <a:off x="3380" y="2119"/>
                <a:ext cx="5" cy="10"/>
              </a:xfrm>
              <a:custGeom>
                <a:avLst/>
                <a:gdLst>
                  <a:gd name="T0" fmla="*/ 5 w 5"/>
                  <a:gd name="T1" fmla="*/ 0 h 10"/>
                  <a:gd name="T2" fmla="*/ 5 w 5"/>
                  <a:gd name="T3" fmla="*/ 10 h 10"/>
                  <a:gd name="T4" fmla="*/ 0 w 5"/>
                  <a:gd name="T5" fmla="*/ 5 h 10"/>
                  <a:gd name="T6" fmla="*/ 0 w 5"/>
                  <a:gd name="T7" fmla="*/ 0 h 10"/>
                  <a:gd name="T8" fmla="*/ 5 w 5"/>
                  <a:gd name="T9" fmla="*/ 0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10"/>
                  <a:gd name="T17" fmla="*/ 5 w 5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10">
                    <a:moveTo>
                      <a:pt x="5" y="0"/>
                    </a:moveTo>
                    <a:lnTo>
                      <a:pt x="5" y="10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83818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35" name="Freeform 554"/>
              <p:cNvSpPr>
                <a:spLocks/>
              </p:cNvSpPr>
              <p:nvPr/>
            </p:nvSpPr>
            <p:spPr bwMode="auto">
              <a:xfrm>
                <a:off x="3380" y="2108"/>
                <a:ext cx="5" cy="32"/>
              </a:xfrm>
              <a:custGeom>
                <a:avLst/>
                <a:gdLst>
                  <a:gd name="T0" fmla="*/ 5 w 5"/>
                  <a:gd name="T1" fmla="*/ 0 h 32"/>
                  <a:gd name="T2" fmla="*/ 0 w 5"/>
                  <a:gd name="T3" fmla="*/ 5 h 32"/>
                  <a:gd name="T4" fmla="*/ 0 w 5"/>
                  <a:gd name="T5" fmla="*/ 5 h 32"/>
                  <a:gd name="T6" fmla="*/ 0 w 5"/>
                  <a:gd name="T7" fmla="*/ 32 h 3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32"/>
                  <a:gd name="T14" fmla="*/ 5 w 5"/>
                  <a:gd name="T15" fmla="*/ 32 h 3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32">
                    <a:moveTo>
                      <a:pt x="5" y="0"/>
                    </a:moveTo>
                    <a:lnTo>
                      <a:pt x="0" y="5"/>
                    </a:lnTo>
                    <a:lnTo>
                      <a:pt x="0" y="32"/>
                    </a:lnTo>
                  </a:path>
                </a:pathLst>
              </a:custGeom>
              <a:noFill/>
              <a:ln w="0">
                <a:solidFill>
                  <a:srgbClr val="A9A8A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36" name="Line 555"/>
              <p:cNvSpPr>
                <a:spLocks noChangeShapeType="1"/>
              </p:cNvSpPr>
              <p:nvPr/>
            </p:nvSpPr>
            <p:spPr bwMode="auto">
              <a:xfrm flipV="1">
                <a:off x="3390" y="2103"/>
                <a:ext cx="6" cy="5"/>
              </a:xfrm>
              <a:prstGeom prst="line">
                <a:avLst/>
              </a:prstGeom>
              <a:noFill/>
              <a:ln w="0">
                <a:solidFill>
                  <a:srgbClr val="A9A8A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37" name="Freeform 556"/>
              <p:cNvSpPr>
                <a:spLocks/>
              </p:cNvSpPr>
              <p:nvPr/>
            </p:nvSpPr>
            <p:spPr bwMode="auto">
              <a:xfrm>
                <a:off x="3090" y="2290"/>
                <a:ext cx="48" cy="101"/>
              </a:xfrm>
              <a:custGeom>
                <a:avLst/>
                <a:gdLst>
                  <a:gd name="T0" fmla="*/ 32 w 48"/>
                  <a:gd name="T1" fmla="*/ 101 h 101"/>
                  <a:gd name="T2" fmla="*/ 22 w 48"/>
                  <a:gd name="T3" fmla="*/ 101 h 101"/>
                  <a:gd name="T4" fmla="*/ 11 w 48"/>
                  <a:gd name="T5" fmla="*/ 90 h 101"/>
                  <a:gd name="T6" fmla="*/ 6 w 48"/>
                  <a:gd name="T7" fmla="*/ 74 h 101"/>
                  <a:gd name="T8" fmla="*/ 0 w 48"/>
                  <a:gd name="T9" fmla="*/ 58 h 101"/>
                  <a:gd name="T10" fmla="*/ 0 w 48"/>
                  <a:gd name="T11" fmla="*/ 21 h 101"/>
                  <a:gd name="T12" fmla="*/ 6 w 48"/>
                  <a:gd name="T13" fmla="*/ 5 h 101"/>
                  <a:gd name="T14" fmla="*/ 16 w 48"/>
                  <a:gd name="T15" fmla="*/ 0 h 101"/>
                  <a:gd name="T16" fmla="*/ 22 w 48"/>
                  <a:gd name="T17" fmla="*/ 0 h 101"/>
                  <a:gd name="T18" fmla="*/ 32 w 48"/>
                  <a:gd name="T19" fmla="*/ 5 h 101"/>
                  <a:gd name="T20" fmla="*/ 38 w 48"/>
                  <a:gd name="T21" fmla="*/ 21 h 101"/>
                  <a:gd name="T22" fmla="*/ 48 w 48"/>
                  <a:gd name="T23" fmla="*/ 42 h 101"/>
                  <a:gd name="T24" fmla="*/ 48 w 48"/>
                  <a:gd name="T25" fmla="*/ 64 h 101"/>
                  <a:gd name="T26" fmla="*/ 48 w 48"/>
                  <a:gd name="T27" fmla="*/ 80 h 101"/>
                  <a:gd name="T28" fmla="*/ 43 w 48"/>
                  <a:gd name="T29" fmla="*/ 96 h 101"/>
                  <a:gd name="T30" fmla="*/ 32 w 48"/>
                  <a:gd name="T31" fmla="*/ 101 h 10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48"/>
                  <a:gd name="T49" fmla="*/ 0 h 101"/>
                  <a:gd name="T50" fmla="*/ 48 w 48"/>
                  <a:gd name="T51" fmla="*/ 101 h 10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48" h="101">
                    <a:moveTo>
                      <a:pt x="32" y="101"/>
                    </a:moveTo>
                    <a:lnTo>
                      <a:pt x="22" y="101"/>
                    </a:lnTo>
                    <a:lnTo>
                      <a:pt x="11" y="90"/>
                    </a:lnTo>
                    <a:lnTo>
                      <a:pt x="6" y="74"/>
                    </a:lnTo>
                    <a:lnTo>
                      <a:pt x="0" y="58"/>
                    </a:lnTo>
                    <a:lnTo>
                      <a:pt x="0" y="21"/>
                    </a:lnTo>
                    <a:lnTo>
                      <a:pt x="6" y="5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32" y="5"/>
                    </a:lnTo>
                    <a:lnTo>
                      <a:pt x="38" y="21"/>
                    </a:lnTo>
                    <a:lnTo>
                      <a:pt x="48" y="42"/>
                    </a:lnTo>
                    <a:lnTo>
                      <a:pt x="48" y="64"/>
                    </a:lnTo>
                    <a:lnTo>
                      <a:pt x="48" y="80"/>
                    </a:lnTo>
                    <a:lnTo>
                      <a:pt x="43" y="96"/>
                    </a:lnTo>
                    <a:lnTo>
                      <a:pt x="32" y="101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38" name="Freeform 557"/>
              <p:cNvSpPr>
                <a:spLocks/>
              </p:cNvSpPr>
              <p:nvPr/>
            </p:nvSpPr>
            <p:spPr bwMode="auto">
              <a:xfrm>
                <a:off x="3090" y="2284"/>
                <a:ext cx="32" cy="112"/>
              </a:xfrm>
              <a:custGeom>
                <a:avLst/>
                <a:gdLst>
                  <a:gd name="T0" fmla="*/ 32 w 32"/>
                  <a:gd name="T1" fmla="*/ 112 h 112"/>
                  <a:gd name="T2" fmla="*/ 22 w 32"/>
                  <a:gd name="T3" fmla="*/ 107 h 112"/>
                  <a:gd name="T4" fmla="*/ 11 w 32"/>
                  <a:gd name="T5" fmla="*/ 96 h 112"/>
                  <a:gd name="T6" fmla="*/ 0 w 32"/>
                  <a:gd name="T7" fmla="*/ 64 h 112"/>
                  <a:gd name="T8" fmla="*/ 0 w 32"/>
                  <a:gd name="T9" fmla="*/ 22 h 112"/>
                  <a:gd name="T10" fmla="*/ 6 w 32"/>
                  <a:gd name="T11" fmla="*/ 6 h 112"/>
                  <a:gd name="T12" fmla="*/ 16 w 32"/>
                  <a:gd name="T13" fmla="*/ 0 h 1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2"/>
                  <a:gd name="T22" fmla="*/ 0 h 112"/>
                  <a:gd name="T23" fmla="*/ 32 w 32"/>
                  <a:gd name="T24" fmla="*/ 112 h 11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2" h="112">
                    <a:moveTo>
                      <a:pt x="32" y="112"/>
                    </a:moveTo>
                    <a:lnTo>
                      <a:pt x="22" y="107"/>
                    </a:lnTo>
                    <a:lnTo>
                      <a:pt x="11" y="96"/>
                    </a:lnTo>
                    <a:lnTo>
                      <a:pt x="0" y="64"/>
                    </a:lnTo>
                    <a:lnTo>
                      <a:pt x="0" y="22"/>
                    </a:lnTo>
                    <a:lnTo>
                      <a:pt x="6" y="6"/>
                    </a:lnTo>
                    <a:lnTo>
                      <a:pt x="16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39" name="Freeform 558"/>
              <p:cNvSpPr>
                <a:spLocks/>
              </p:cNvSpPr>
              <p:nvPr/>
            </p:nvSpPr>
            <p:spPr bwMode="auto">
              <a:xfrm>
                <a:off x="3133" y="2380"/>
                <a:ext cx="11" cy="16"/>
              </a:xfrm>
              <a:custGeom>
                <a:avLst/>
                <a:gdLst>
                  <a:gd name="T0" fmla="*/ 11 w 11"/>
                  <a:gd name="T1" fmla="*/ 0 h 16"/>
                  <a:gd name="T2" fmla="*/ 5 w 11"/>
                  <a:gd name="T3" fmla="*/ 6 h 16"/>
                  <a:gd name="T4" fmla="*/ 0 w 11"/>
                  <a:gd name="T5" fmla="*/ 16 h 16"/>
                  <a:gd name="T6" fmla="*/ 0 60000 65536"/>
                  <a:gd name="T7" fmla="*/ 0 60000 65536"/>
                  <a:gd name="T8" fmla="*/ 0 60000 65536"/>
                  <a:gd name="T9" fmla="*/ 0 w 11"/>
                  <a:gd name="T10" fmla="*/ 0 h 16"/>
                  <a:gd name="T11" fmla="*/ 11 w 11"/>
                  <a:gd name="T12" fmla="*/ 16 h 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1" h="16">
                    <a:moveTo>
                      <a:pt x="11" y="0"/>
                    </a:moveTo>
                    <a:lnTo>
                      <a:pt x="5" y="6"/>
                    </a:lnTo>
                    <a:lnTo>
                      <a:pt x="0" y="16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40" name="Freeform 559"/>
              <p:cNvSpPr>
                <a:spLocks/>
              </p:cNvSpPr>
              <p:nvPr/>
            </p:nvSpPr>
            <p:spPr bwMode="auto">
              <a:xfrm>
                <a:off x="3138" y="2380"/>
                <a:ext cx="11" cy="16"/>
              </a:xfrm>
              <a:custGeom>
                <a:avLst/>
                <a:gdLst>
                  <a:gd name="T0" fmla="*/ 11 w 11"/>
                  <a:gd name="T1" fmla="*/ 0 h 16"/>
                  <a:gd name="T2" fmla="*/ 6 w 11"/>
                  <a:gd name="T3" fmla="*/ 6 h 16"/>
                  <a:gd name="T4" fmla="*/ 0 w 11"/>
                  <a:gd name="T5" fmla="*/ 16 h 16"/>
                  <a:gd name="T6" fmla="*/ 0 60000 65536"/>
                  <a:gd name="T7" fmla="*/ 0 60000 65536"/>
                  <a:gd name="T8" fmla="*/ 0 60000 65536"/>
                  <a:gd name="T9" fmla="*/ 0 w 11"/>
                  <a:gd name="T10" fmla="*/ 0 h 16"/>
                  <a:gd name="T11" fmla="*/ 11 w 11"/>
                  <a:gd name="T12" fmla="*/ 16 h 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1" h="16">
                    <a:moveTo>
                      <a:pt x="11" y="0"/>
                    </a:moveTo>
                    <a:lnTo>
                      <a:pt x="6" y="6"/>
                    </a:lnTo>
                    <a:lnTo>
                      <a:pt x="0" y="16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41" name="Freeform 560"/>
              <p:cNvSpPr>
                <a:spLocks/>
              </p:cNvSpPr>
              <p:nvPr/>
            </p:nvSpPr>
            <p:spPr bwMode="auto">
              <a:xfrm>
                <a:off x="3144" y="2380"/>
                <a:ext cx="11" cy="11"/>
              </a:xfrm>
              <a:custGeom>
                <a:avLst/>
                <a:gdLst>
                  <a:gd name="T0" fmla="*/ 11 w 11"/>
                  <a:gd name="T1" fmla="*/ 0 h 11"/>
                  <a:gd name="T2" fmla="*/ 0 w 11"/>
                  <a:gd name="T3" fmla="*/ 6 h 11"/>
                  <a:gd name="T4" fmla="*/ 0 w 11"/>
                  <a:gd name="T5" fmla="*/ 11 h 11"/>
                  <a:gd name="T6" fmla="*/ 0 60000 65536"/>
                  <a:gd name="T7" fmla="*/ 0 60000 65536"/>
                  <a:gd name="T8" fmla="*/ 0 60000 65536"/>
                  <a:gd name="T9" fmla="*/ 0 w 11"/>
                  <a:gd name="T10" fmla="*/ 0 h 11"/>
                  <a:gd name="T11" fmla="*/ 11 w 11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1" h="11">
                    <a:moveTo>
                      <a:pt x="11" y="0"/>
                    </a:moveTo>
                    <a:lnTo>
                      <a:pt x="0" y="6"/>
                    </a:lnTo>
                    <a:lnTo>
                      <a:pt x="0" y="11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42" name="Freeform 561"/>
              <p:cNvSpPr>
                <a:spLocks/>
              </p:cNvSpPr>
              <p:nvPr/>
            </p:nvSpPr>
            <p:spPr bwMode="auto">
              <a:xfrm>
                <a:off x="3144" y="2386"/>
                <a:ext cx="11" cy="5"/>
              </a:xfrm>
              <a:custGeom>
                <a:avLst/>
                <a:gdLst>
                  <a:gd name="T0" fmla="*/ 11 w 11"/>
                  <a:gd name="T1" fmla="*/ 0 h 5"/>
                  <a:gd name="T2" fmla="*/ 5 w 11"/>
                  <a:gd name="T3" fmla="*/ 0 h 5"/>
                  <a:gd name="T4" fmla="*/ 0 w 11"/>
                  <a:gd name="T5" fmla="*/ 5 h 5"/>
                  <a:gd name="T6" fmla="*/ 0 60000 65536"/>
                  <a:gd name="T7" fmla="*/ 0 60000 65536"/>
                  <a:gd name="T8" fmla="*/ 0 60000 65536"/>
                  <a:gd name="T9" fmla="*/ 0 w 11"/>
                  <a:gd name="T10" fmla="*/ 0 h 5"/>
                  <a:gd name="T11" fmla="*/ 11 w 11"/>
                  <a:gd name="T12" fmla="*/ 5 h 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1" h="5">
                    <a:moveTo>
                      <a:pt x="11" y="0"/>
                    </a:moveTo>
                    <a:lnTo>
                      <a:pt x="5" y="0"/>
                    </a:lnTo>
                    <a:lnTo>
                      <a:pt x="0" y="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43" name="Freeform 562"/>
              <p:cNvSpPr>
                <a:spLocks/>
              </p:cNvSpPr>
              <p:nvPr/>
            </p:nvSpPr>
            <p:spPr bwMode="auto">
              <a:xfrm>
                <a:off x="3155" y="2386"/>
                <a:ext cx="5" cy="1"/>
              </a:xfrm>
              <a:custGeom>
                <a:avLst/>
                <a:gdLst>
                  <a:gd name="T0" fmla="*/ 5 w 5"/>
                  <a:gd name="T1" fmla="*/ 0 h 1"/>
                  <a:gd name="T2" fmla="*/ 0 w 5"/>
                  <a:gd name="T3" fmla="*/ 0 h 1"/>
                  <a:gd name="T4" fmla="*/ 0 w 5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1"/>
                  <a:gd name="T11" fmla="*/ 5 w 5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1">
                    <a:moveTo>
                      <a:pt x="5" y="0"/>
                    </a:move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44" name="Freeform 563"/>
              <p:cNvSpPr>
                <a:spLocks/>
              </p:cNvSpPr>
              <p:nvPr/>
            </p:nvSpPr>
            <p:spPr bwMode="auto">
              <a:xfrm>
                <a:off x="3096" y="2311"/>
                <a:ext cx="32" cy="64"/>
              </a:xfrm>
              <a:custGeom>
                <a:avLst/>
                <a:gdLst>
                  <a:gd name="T0" fmla="*/ 0 w 32"/>
                  <a:gd name="T1" fmla="*/ 27 h 64"/>
                  <a:gd name="T2" fmla="*/ 0 w 32"/>
                  <a:gd name="T3" fmla="*/ 5 h 64"/>
                  <a:gd name="T4" fmla="*/ 10 w 32"/>
                  <a:gd name="T5" fmla="*/ 0 h 64"/>
                  <a:gd name="T6" fmla="*/ 21 w 32"/>
                  <a:gd name="T7" fmla="*/ 5 h 64"/>
                  <a:gd name="T8" fmla="*/ 32 w 32"/>
                  <a:gd name="T9" fmla="*/ 27 h 64"/>
                  <a:gd name="T10" fmla="*/ 32 w 32"/>
                  <a:gd name="T11" fmla="*/ 48 h 64"/>
                  <a:gd name="T12" fmla="*/ 21 w 32"/>
                  <a:gd name="T13" fmla="*/ 64 h 64"/>
                  <a:gd name="T14" fmla="*/ 10 w 32"/>
                  <a:gd name="T15" fmla="*/ 59 h 64"/>
                  <a:gd name="T16" fmla="*/ 5 w 32"/>
                  <a:gd name="T17" fmla="*/ 48 h 6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2"/>
                  <a:gd name="T28" fmla="*/ 0 h 64"/>
                  <a:gd name="T29" fmla="*/ 32 w 32"/>
                  <a:gd name="T30" fmla="*/ 64 h 6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2" h="64">
                    <a:moveTo>
                      <a:pt x="0" y="27"/>
                    </a:moveTo>
                    <a:lnTo>
                      <a:pt x="0" y="5"/>
                    </a:lnTo>
                    <a:lnTo>
                      <a:pt x="10" y="0"/>
                    </a:lnTo>
                    <a:lnTo>
                      <a:pt x="21" y="5"/>
                    </a:lnTo>
                    <a:lnTo>
                      <a:pt x="32" y="27"/>
                    </a:lnTo>
                    <a:lnTo>
                      <a:pt x="32" y="48"/>
                    </a:lnTo>
                    <a:lnTo>
                      <a:pt x="21" y="64"/>
                    </a:lnTo>
                    <a:lnTo>
                      <a:pt x="10" y="59"/>
                    </a:lnTo>
                    <a:lnTo>
                      <a:pt x="5" y="48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45" name="Freeform 564"/>
              <p:cNvSpPr>
                <a:spLocks/>
              </p:cNvSpPr>
              <p:nvPr/>
            </p:nvSpPr>
            <p:spPr bwMode="auto">
              <a:xfrm>
                <a:off x="3096" y="2316"/>
                <a:ext cx="10" cy="16"/>
              </a:xfrm>
              <a:custGeom>
                <a:avLst/>
                <a:gdLst>
                  <a:gd name="T0" fmla="*/ 0 w 10"/>
                  <a:gd name="T1" fmla="*/ 11 h 16"/>
                  <a:gd name="T2" fmla="*/ 0 w 10"/>
                  <a:gd name="T3" fmla="*/ 11 h 16"/>
                  <a:gd name="T4" fmla="*/ 0 w 10"/>
                  <a:gd name="T5" fmla="*/ 11 h 16"/>
                  <a:gd name="T6" fmla="*/ 0 w 10"/>
                  <a:gd name="T7" fmla="*/ 11 h 16"/>
                  <a:gd name="T8" fmla="*/ 5 w 10"/>
                  <a:gd name="T9" fmla="*/ 11 h 16"/>
                  <a:gd name="T10" fmla="*/ 5 w 10"/>
                  <a:gd name="T11" fmla="*/ 6 h 16"/>
                  <a:gd name="T12" fmla="*/ 5 w 10"/>
                  <a:gd name="T13" fmla="*/ 6 h 16"/>
                  <a:gd name="T14" fmla="*/ 5 w 10"/>
                  <a:gd name="T15" fmla="*/ 6 h 16"/>
                  <a:gd name="T16" fmla="*/ 5 w 10"/>
                  <a:gd name="T17" fmla="*/ 6 h 16"/>
                  <a:gd name="T18" fmla="*/ 5 w 10"/>
                  <a:gd name="T19" fmla="*/ 6 h 16"/>
                  <a:gd name="T20" fmla="*/ 5 w 10"/>
                  <a:gd name="T21" fmla="*/ 6 h 16"/>
                  <a:gd name="T22" fmla="*/ 5 w 10"/>
                  <a:gd name="T23" fmla="*/ 6 h 16"/>
                  <a:gd name="T24" fmla="*/ 5 w 10"/>
                  <a:gd name="T25" fmla="*/ 0 h 16"/>
                  <a:gd name="T26" fmla="*/ 5 w 10"/>
                  <a:gd name="T27" fmla="*/ 0 h 16"/>
                  <a:gd name="T28" fmla="*/ 5 w 10"/>
                  <a:gd name="T29" fmla="*/ 0 h 16"/>
                  <a:gd name="T30" fmla="*/ 5 w 10"/>
                  <a:gd name="T31" fmla="*/ 0 h 16"/>
                  <a:gd name="T32" fmla="*/ 5 w 10"/>
                  <a:gd name="T33" fmla="*/ 0 h 16"/>
                  <a:gd name="T34" fmla="*/ 10 w 10"/>
                  <a:gd name="T35" fmla="*/ 0 h 16"/>
                  <a:gd name="T36" fmla="*/ 10 w 10"/>
                  <a:gd name="T37" fmla="*/ 0 h 16"/>
                  <a:gd name="T38" fmla="*/ 10 w 10"/>
                  <a:gd name="T39" fmla="*/ 0 h 16"/>
                  <a:gd name="T40" fmla="*/ 10 w 10"/>
                  <a:gd name="T41" fmla="*/ 0 h 16"/>
                  <a:gd name="T42" fmla="*/ 10 w 10"/>
                  <a:gd name="T43" fmla="*/ 0 h 16"/>
                  <a:gd name="T44" fmla="*/ 10 w 10"/>
                  <a:gd name="T45" fmla="*/ 0 h 16"/>
                  <a:gd name="T46" fmla="*/ 10 w 10"/>
                  <a:gd name="T47" fmla="*/ 0 h 16"/>
                  <a:gd name="T48" fmla="*/ 10 w 10"/>
                  <a:gd name="T49" fmla="*/ 0 h 16"/>
                  <a:gd name="T50" fmla="*/ 10 w 10"/>
                  <a:gd name="T51" fmla="*/ 0 h 16"/>
                  <a:gd name="T52" fmla="*/ 10 w 10"/>
                  <a:gd name="T53" fmla="*/ 0 h 16"/>
                  <a:gd name="T54" fmla="*/ 10 w 10"/>
                  <a:gd name="T55" fmla="*/ 0 h 16"/>
                  <a:gd name="T56" fmla="*/ 10 w 10"/>
                  <a:gd name="T57" fmla="*/ 0 h 16"/>
                  <a:gd name="T58" fmla="*/ 5 w 10"/>
                  <a:gd name="T59" fmla="*/ 0 h 16"/>
                  <a:gd name="T60" fmla="*/ 5 w 10"/>
                  <a:gd name="T61" fmla="*/ 0 h 16"/>
                  <a:gd name="T62" fmla="*/ 5 w 10"/>
                  <a:gd name="T63" fmla="*/ 0 h 16"/>
                  <a:gd name="T64" fmla="*/ 5 w 10"/>
                  <a:gd name="T65" fmla="*/ 6 h 16"/>
                  <a:gd name="T66" fmla="*/ 5 w 10"/>
                  <a:gd name="T67" fmla="*/ 6 h 16"/>
                  <a:gd name="T68" fmla="*/ 5 w 10"/>
                  <a:gd name="T69" fmla="*/ 6 h 16"/>
                  <a:gd name="T70" fmla="*/ 5 w 10"/>
                  <a:gd name="T71" fmla="*/ 6 h 16"/>
                  <a:gd name="T72" fmla="*/ 5 w 10"/>
                  <a:gd name="T73" fmla="*/ 6 h 16"/>
                  <a:gd name="T74" fmla="*/ 5 w 10"/>
                  <a:gd name="T75" fmla="*/ 6 h 16"/>
                  <a:gd name="T76" fmla="*/ 5 w 10"/>
                  <a:gd name="T77" fmla="*/ 11 h 16"/>
                  <a:gd name="T78" fmla="*/ 5 w 10"/>
                  <a:gd name="T79" fmla="*/ 11 h 16"/>
                  <a:gd name="T80" fmla="*/ 5 w 10"/>
                  <a:gd name="T81" fmla="*/ 11 h 16"/>
                  <a:gd name="T82" fmla="*/ 5 w 10"/>
                  <a:gd name="T83" fmla="*/ 11 h 16"/>
                  <a:gd name="T84" fmla="*/ 0 w 10"/>
                  <a:gd name="T85" fmla="*/ 11 h 16"/>
                  <a:gd name="T86" fmla="*/ 0 w 10"/>
                  <a:gd name="T87" fmla="*/ 11 h 1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0"/>
                  <a:gd name="T133" fmla="*/ 0 h 16"/>
                  <a:gd name="T134" fmla="*/ 10 w 10"/>
                  <a:gd name="T135" fmla="*/ 16 h 1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0" h="16">
                    <a:moveTo>
                      <a:pt x="0" y="16"/>
                    </a:moveTo>
                    <a:lnTo>
                      <a:pt x="0" y="11"/>
                    </a:lnTo>
                    <a:lnTo>
                      <a:pt x="5" y="11"/>
                    </a:lnTo>
                    <a:lnTo>
                      <a:pt x="5" y="6"/>
                    </a:lnTo>
                    <a:lnTo>
                      <a:pt x="5" y="0"/>
                    </a:lnTo>
                    <a:lnTo>
                      <a:pt x="10" y="0"/>
                    </a:lnTo>
                    <a:lnTo>
                      <a:pt x="5" y="0"/>
                    </a:lnTo>
                    <a:lnTo>
                      <a:pt x="5" y="6"/>
                    </a:lnTo>
                    <a:lnTo>
                      <a:pt x="5" y="11"/>
                    </a:lnTo>
                    <a:lnTo>
                      <a:pt x="0" y="11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46" name="Freeform 565"/>
              <p:cNvSpPr>
                <a:spLocks/>
              </p:cNvSpPr>
              <p:nvPr/>
            </p:nvSpPr>
            <p:spPr bwMode="auto">
              <a:xfrm>
                <a:off x="3106" y="2316"/>
                <a:ext cx="22" cy="22"/>
              </a:xfrm>
              <a:custGeom>
                <a:avLst/>
                <a:gdLst>
                  <a:gd name="T0" fmla="*/ 0 w 22"/>
                  <a:gd name="T1" fmla="*/ 0 h 22"/>
                  <a:gd name="T2" fmla="*/ 0 w 22"/>
                  <a:gd name="T3" fmla="*/ 0 h 22"/>
                  <a:gd name="T4" fmla="*/ 6 w 22"/>
                  <a:gd name="T5" fmla="*/ 0 h 22"/>
                  <a:gd name="T6" fmla="*/ 6 w 22"/>
                  <a:gd name="T7" fmla="*/ 0 h 22"/>
                  <a:gd name="T8" fmla="*/ 6 w 22"/>
                  <a:gd name="T9" fmla="*/ 0 h 22"/>
                  <a:gd name="T10" fmla="*/ 6 w 22"/>
                  <a:gd name="T11" fmla="*/ 0 h 22"/>
                  <a:gd name="T12" fmla="*/ 6 w 22"/>
                  <a:gd name="T13" fmla="*/ 0 h 22"/>
                  <a:gd name="T14" fmla="*/ 11 w 22"/>
                  <a:gd name="T15" fmla="*/ 0 h 22"/>
                  <a:gd name="T16" fmla="*/ 11 w 22"/>
                  <a:gd name="T17" fmla="*/ 0 h 22"/>
                  <a:gd name="T18" fmla="*/ 11 w 22"/>
                  <a:gd name="T19" fmla="*/ 0 h 22"/>
                  <a:gd name="T20" fmla="*/ 11 w 22"/>
                  <a:gd name="T21" fmla="*/ 0 h 22"/>
                  <a:gd name="T22" fmla="*/ 11 w 22"/>
                  <a:gd name="T23" fmla="*/ 6 h 22"/>
                  <a:gd name="T24" fmla="*/ 16 w 22"/>
                  <a:gd name="T25" fmla="*/ 6 h 22"/>
                  <a:gd name="T26" fmla="*/ 16 w 22"/>
                  <a:gd name="T27" fmla="*/ 6 h 22"/>
                  <a:gd name="T28" fmla="*/ 16 w 22"/>
                  <a:gd name="T29" fmla="*/ 6 h 22"/>
                  <a:gd name="T30" fmla="*/ 16 w 22"/>
                  <a:gd name="T31" fmla="*/ 6 h 22"/>
                  <a:gd name="T32" fmla="*/ 16 w 22"/>
                  <a:gd name="T33" fmla="*/ 11 h 22"/>
                  <a:gd name="T34" fmla="*/ 16 w 22"/>
                  <a:gd name="T35" fmla="*/ 11 h 22"/>
                  <a:gd name="T36" fmla="*/ 22 w 22"/>
                  <a:gd name="T37" fmla="*/ 16 h 22"/>
                  <a:gd name="T38" fmla="*/ 22 w 22"/>
                  <a:gd name="T39" fmla="*/ 16 h 22"/>
                  <a:gd name="T40" fmla="*/ 22 w 22"/>
                  <a:gd name="T41" fmla="*/ 16 h 22"/>
                  <a:gd name="T42" fmla="*/ 22 w 22"/>
                  <a:gd name="T43" fmla="*/ 16 h 22"/>
                  <a:gd name="T44" fmla="*/ 22 w 22"/>
                  <a:gd name="T45" fmla="*/ 22 h 22"/>
                  <a:gd name="T46" fmla="*/ 22 w 22"/>
                  <a:gd name="T47" fmla="*/ 22 h 22"/>
                  <a:gd name="T48" fmla="*/ 22 w 22"/>
                  <a:gd name="T49" fmla="*/ 22 h 22"/>
                  <a:gd name="T50" fmla="*/ 22 w 22"/>
                  <a:gd name="T51" fmla="*/ 22 h 22"/>
                  <a:gd name="T52" fmla="*/ 22 w 22"/>
                  <a:gd name="T53" fmla="*/ 16 h 22"/>
                  <a:gd name="T54" fmla="*/ 16 w 22"/>
                  <a:gd name="T55" fmla="*/ 16 h 22"/>
                  <a:gd name="T56" fmla="*/ 16 w 22"/>
                  <a:gd name="T57" fmla="*/ 16 h 22"/>
                  <a:gd name="T58" fmla="*/ 16 w 22"/>
                  <a:gd name="T59" fmla="*/ 16 h 22"/>
                  <a:gd name="T60" fmla="*/ 16 w 22"/>
                  <a:gd name="T61" fmla="*/ 11 h 22"/>
                  <a:gd name="T62" fmla="*/ 16 w 22"/>
                  <a:gd name="T63" fmla="*/ 11 h 22"/>
                  <a:gd name="T64" fmla="*/ 16 w 22"/>
                  <a:gd name="T65" fmla="*/ 11 h 22"/>
                  <a:gd name="T66" fmla="*/ 16 w 22"/>
                  <a:gd name="T67" fmla="*/ 6 h 22"/>
                  <a:gd name="T68" fmla="*/ 16 w 22"/>
                  <a:gd name="T69" fmla="*/ 6 h 22"/>
                  <a:gd name="T70" fmla="*/ 11 w 22"/>
                  <a:gd name="T71" fmla="*/ 6 h 22"/>
                  <a:gd name="T72" fmla="*/ 11 w 22"/>
                  <a:gd name="T73" fmla="*/ 6 h 22"/>
                  <a:gd name="T74" fmla="*/ 11 w 22"/>
                  <a:gd name="T75" fmla="*/ 6 h 22"/>
                  <a:gd name="T76" fmla="*/ 11 w 22"/>
                  <a:gd name="T77" fmla="*/ 0 h 22"/>
                  <a:gd name="T78" fmla="*/ 11 w 22"/>
                  <a:gd name="T79" fmla="*/ 0 h 22"/>
                  <a:gd name="T80" fmla="*/ 11 w 22"/>
                  <a:gd name="T81" fmla="*/ 0 h 22"/>
                  <a:gd name="T82" fmla="*/ 6 w 22"/>
                  <a:gd name="T83" fmla="*/ 0 h 22"/>
                  <a:gd name="T84" fmla="*/ 6 w 22"/>
                  <a:gd name="T85" fmla="*/ 0 h 22"/>
                  <a:gd name="T86" fmla="*/ 6 w 22"/>
                  <a:gd name="T87" fmla="*/ 0 h 22"/>
                  <a:gd name="T88" fmla="*/ 6 w 22"/>
                  <a:gd name="T89" fmla="*/ 0 h 22"/>
                  <a:gd name="T90" fmla="*/ 0 w 22"/>
                  <a:gd name="T91" fmla="*/ 0 h 22"/>
                  <a:gd name="T92" fmla="*/ 0 w 22"/>
                  <a:gd name="T93" fmla="*/ 0 h 22"/>
                  <a:gd name="T94" fmla="*/ 0 w 22"/>
                  <a:gd name="T95" fmla="*/ 0 h 22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2"/>
                  <a:gd name="T145" fmla="*/ 0 h 22"/>
                  <a:gd name="T146" fmla="*/ 22 w 22"/>
                  <a:gd name="T147" fmla="*/ 22 h 22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2" h="22">
                    <a:moveTo>
                      <a:pt x="0" y="0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11" y="6"/>
                    </a:lnTo>
                    <a:lnTo>
                      <a:pt x="16" y="6"/>
                    </a:lnTo>
                    <a:lnTo>
                      <a:pt x="16" y="11"/>
                    </a:lnTo>
                    <a:lnTo>
                      <a:pt x="22" y="11"/>
                    </a:lnTo>
                    <a:lnTo>
                      <a:pt x="22" y="16"/>
                    </a:lnTo>
                    <a:lnTo>
                      <a:pt x="22" y="22"/>
                    </a:lnTo>
                    <a:lnTo>
                      <a:pt x="22" y="16"/>
                    </a:lnTo>
                    <a:lnTo>
                      <a:pt x="16" y="16"/>
                    </a:lnTo>
                    <a:lnTo>
                      <a:pt x="16" y="11"/>
                    </a:lnTo>
                    <a:lnTo>
                      <a:pt x="16" y="6"/>
                    </a:lnTo>
                    <a:lnTo>
                      <a:pt x="11" y="6"/>
                    </a:lnTo>
                    <a:lnTo>
                      <a:pt x="11" y="0"/>
                    </a:lnTo>
                    <a:lnTo>
                      <a:pt x="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47" name="Freeform 566"/>
              <p:cNvSpPr>
                <a:spLocks/>
              </p:cNvSpPr>
              <p:nvPr/>
            </p:nvSpPr>
            <p:spPr bwMode="auto">
              <a:xfrm>
                <a:off x="3117" y="2338"/>
                <a:ext cx="11" cy="37"/>
              </a:xfrm>
              <a:custGeom>
                <a:avLst/>
                <a:gdLst>
                  <a:gd name="T0" fmla="*/ 11 w 11"/>
                  <a:gd name="T1" fmla="*/ 0 h 37"/>
                  <a:gd name="T2" fmla="*/ 11 w 11"/>
                  <a:gd name="T3" fmla="*/ 5 h 37"/>
                  <a:gd name="T4" fmla="*/ 11 w 11"/>
                  <a:gd name="T5" fmla="*/ 5 h 37"/>
                  <a:gd name="T6" fmla="*/ 11 w 11"/>
                  <a:gd name="T7" fmla="*/ 5 h 37"/>
                  <a:gd name="T8" fmla="*/ 11 w 11"/>
                  <a:gd name="T9" fmla="*/ 10 h 37"/>
                  <a:gd name="T10" fmla="*/ 11 w 11"/>
                  <a:gd name="T11" fmla="*/ 10 h 37"/>
                  <a:gd name="T12" fmla="*/ 11 w 11"/>
                  <a:gd name="T13" fmla="*/ 10 h 37"/>
                  <a:gd name="T14" fmla="*/ 11 w 11"/>
                  <a:gd name="T15" fmla="*/ 16 h 37"/>
                  <a:gd name="T16" fmla="*/ 11 w 11"/>
                  <a:gd name="T17" fmla="*/ 16 h 37"/>
                  <a:gd name="T18" fmla="*/ 11 w 11"/>
                  <a:gd name="T19" fmla="*/ 16 h 37"/>
                  <a:gd name="T20" fmla="*/ 11 w 11"/>
                  <a:gd name="T21" fmla="*/ 21 h 37"/>
                  <a:gd name="T22" fmla="*/ 11 w 11"/>
                  <a:gd name="T23" fmla="*/ 21 h 37"/>
                  <a:gd name="T24" fmla="*/ 11 w 11"/>
                  <a:gd name="T25" fmla="*/ 21 h 37"/>
                  <a:gd name="T26" fmla="*/ 11 w 11"/>
                  <a:gd name="T27" fmla="*/ 26 h 37"/>
                  <a:gd name="T28" fmla="*/ 11 w 11"/>
                  <a:gd name="T29" fmla="*/ 26 h 37"/>
                  <a:gd name="T30" fmla="*/ 11 w 11"/>
                  <a:gd name="T31" fmla="*/ 26 h 37"/>
                  <a:gd name="T32" fmla="*/ 5 w 11"/>
                  <a:gd name="T33" fmla="*/ 32 h 37"/>
                  <a:gd name="T34" fmla="*/ 5 w 11"/>
                  <a:gd name="T35" fmla="*/ 32 h 37"/>
                  <a:gd name="T36" fmla="*/ 5 w 11"/>
                  <a:gd name="T37" fmla="*/ 32 h 37"/>
                  <a:gd name="T38" fmla="*/ 5 w 11"/>
                  <a:gd name="T39" fmla="*/ 32 h 37"/>
                  <a:gd name="T40" fmla="*/ 5 w 11"/>
                  <a:gd name="T41" fmla="*/ 32 h 37"/>
                  <a:gd name="T42" fmla="*/ 5 w 11"/>
                  <a:gd name="T43" fmla="*/ 32 h 37"/>
                  <a:gd name="T44" fmla="*/ 5 w 11"/>
                  <a:gd name="T45" fmla="*/ 32 h 37"/>
                  <a:gd name="T46" fmla="*/ 0 w 11"/>
                  <a:gd name="T47" fmla="*/ 32 h 37"/>
                  <a:gd name="T48" fmla="*/ 0 w 11"/>
                  <a:gd name="T49" fmla="*/ 32 h 37"/>
                  <a:gd name="T50" fmla="*/ 0 w 11"/>
                  <a:gd name="T51" fmla="*/ 32 h 37"/>
                  <a:gd name="T52" fmla="*/ 5 w 11"/>
                  <a:gd name="T53" fmla="*/ 32 h 37"/>
                  <a:gd name="T54" fmla="*/ 5 w 11"/>
                  <a:gd name="T55" fmla="*/ 32 h 37"/>
                  <a:gd name="T56" fmla="*/ 5 w 11"/>
                  <a:gd name="T57" fmla="*/ 32 h 37"/>
                  <a:gd name="T58" fmla="*/ 5 w 11"/>
                  <a:gd name="T59" fmla="*/ 32 h 37"/>
                  <a:gd name="T60" fmla="*/ 5 w 11"/>
                  <a:gd name="T61" fmla="*/ 32 h 37"/>
                  <a:gd name="T62" fmla="*/ 5 w 11"/>
                  <a:gd name="T63" fmla="*/ 26 h 37"/>
                  <a:gd name="T64" fmla="*/ 5 w 11"/>
                  <a:gd name="T65" fmla="*/ 26 h 37"/>
                  <a:gd name="T66" fmla="*/ 5 w 11"/>
                  <a:gd name="T67" fmla="*/ 26 h 37"/>
                  <a:gd name="T68" fmla="*/ 11 w 11"/>
                  <a:gd name="T69" fmla="*/ 26 h 37"/>
                  <a:gd name="T70" fmla="*/ 11 w 11"/>
                  <a:gd name="T71" fmla="*/ 21 h 37"/>
                  <a:gd name="T72" fmla="*/ 11 w 11"/>
                  <a:gd name="T73" fmla="*/ 21 h 37"/>
                  <a:gd name="T74" fmla="*/ 11 w 11"/>
                  <a:gd name="T75" fmla="*/ 21 h 37"/>
                  <a:gd name="T76" fmla="*/ 11 w 11"/>
                  <a:gd name="T77" fmla="*/ 16 h 37"/>
                  <a:gd name="T78" fmla="*/ 11 w 11"/>
                  <a:gd name="T79" fmla="*/ 16 h 37"/>
                  <a:gd name="T80" fmla="*/ 11 w 11"/>
                  <a:gd name="T81" fmla="*/ 16 h 37"/>
                  <a:gd name="T82" fmla="*/ 11 w 11"/>
                  <a:gd name="T83" fmla="*/ 10 h 37"/>
                  <a:gd name="T84" fmla="*/ 11 w 11"/>
                  <a:gd name="T85" fmla="*/ 10 h 37"/>
                  <a:gd name="T86" fmla="*/ 11 w 11"/>
                  <a:gd name="T87" fmla="*/ 10 h 37"/>
                  <a:gd name="T88" fmla="*/ 11 w 11"/>
                  <a:gd name="T89" fmla="*/ 10 h 37"/>
                  <a:gd name="T90" fmla="*/ 11 w 11"/>
                  <a:gd name="T91" fmla="*/ 5 h 37"/>
                  <a:gd name="T92" fmla="*/ 11 w 11"/>
                  <a:gd name="T93" fmla="*/ 5 h 37"/>
                  <a:gd name="T94" fmla="*/ 11 w 11"/>
                  <a:gd name="T95" fmla="*/ 5 h 37"/>
                  <a:gd name="T96" fmla="*/ 11 w 11"/>
                  <a:gd name="T97" fmla="*/ 0 h 37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1"/>
                  <a:gd name="T148" fmla="*/ 0 h 37"/>
                  <a:gd name="T149" fmla="*/ 11 w 11"/>
                  <a:gd name="T150" fmla="*/ 37 h 37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1" h="37">
                    <a:moveTo>
                      <a:pt x="11" y="0"/>
                    </a:moveTo>
                    <a:lnTo>
                      <a:pt x="11" y="0"/>
                    </a:lnTo>
                    <a:lnTo>
                      <a:pt x="11" y="5"/>
                    </a:lnTo>
                    <a:lnTo>
                      <a:pt x="11" y="10"/>
                    </a:lnTo>
                    <a:lnTo>
                      <a:pt x="11" y="16"/>
                    </a:lnTo>
                    <a:lnTo>
                      <a:pt x="11" y="21"/>
                    </a:lnTo>
                    <a:lnTo>
                      <a:pt x="11" y="26"/>
                    </a:lnTo>
                    <a:lnTo>
                      <a:pt x="5" y="32"/>
                    </a:lnTo>
                    <a:lnTo>
                      <a:pt x="0" y="32"/>
                    </a:lnTo>
                    <a:lnTo>
                      <a:pt x="0" y="37"/>
                    </a:lnTo>
                    <a:lnTo>
                      <a:pt x="0" y="32"/>
                    </a:lnTo>
                    <a:lnTo>
                      <a:pt x="5" y="32"/>
                    </a:lnTo>
                    <a:lnTo>
                      <a:pt x="5" y="26"/>
                    </a:lnTo>
                    <a:lnTo>
                      <a:pt x="11" y="26"/>
                    </a:lnTo>
                    <a:lnTo>
                      <a:pt x="11" y="21"/>
                    </a:lnTo>
                    <a:lnTo>
                      <a:pt x="11" y="16"/>
                    </a:lnTo>
                    <a:lnTo>
                      <a:pt x="11" y="10"/>
                    </a:lnTo>
                    <a:lnTo>
                      <a:pt x="11" y="5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48" name="Freeform 567"/>
              <p:cNvSpPr>
                <a:spLocks/>
              </p:cNvSpPr>
              <p:nvPr/>
            </p:nvSpPr>
            <p:spPr bwMode="auto">
              <a:xfrm>
                <a:off x="3101" y="2364"/>
                <a:ext cx="16" cy="11"/>
              </a:xfrm>
              <a:custGeom>
                <a:avLst/>
                <a:gdLst>
                  <a:gd name="T0" fmla="*/ 16 w 16"/>
                  <a:gd name="T1" fmla="*/ 11 h 11"/>
                  <a:gd name="T2" fmla="*/ 16 w 16"/>
                  <a:gd name="T3" fmla="*/ 11 h 11"/>
                  <a:gd name="T4" fmla="*/ 16 w 16"/>
                  <a:gd name="T5" fmla="*/ 11 h 11"/>
                  <a:gd name="T6" fmla="*/ 16 w 16"/>
                  <a:gd name="T7" fmla="*/ 11 h 11"/>
                  <a:gd name="T8" fmla="*/ 16 w 16"/>
                  <a:gd name="T9" fmla="*/ 11 h 11"/>
                  <a:gd name="T10" fmla="*/ 16 w 16"/>
                  <a:gd name="T11" fmla="*/ 11 h 11"/>
                  <a:gd name="T12" fmla="*/ 11 w 16"/>
                  <a:gd name="T13" fmla="*/ 11 h 11"/>
                  <a:gd name="T14" fmla="*/ 11 w 16"/>
                  <a:gd name="T15" fmla="*/ 6 h 11"/>
                  <a:gd name="T16" fmla="*/ 11 w 16"/>
                  <a:gd name="T17" fmla="*/ 6 h 11"/>
                  <a:gd name="T18" fmla="*/ 11 w 16"/>
                  <a:gd name="T19" fmla="*/ 6 h 11"/>
                  <a:gd name="T20" fmla="*/ 11 w 16"/>
                  <a:gd name="T21" fmla="*/ 6 h 11"/>
                  <a:gd name="T22" fmla="*/ 11 w 16"/>
                  <a:gd name="T23" fmla="*/ 6 h 11"/>
                  <a:gd name="T24" fmla="*/ 11 w 16"/>
                  <a:gd name="T25" fmla="*/ 6 h 11"/>
                  <a:gd name="T26" fmla="*/ 5 w 16"/>
                  <a:gd name="T27" fmla="*/ 6 h 11"/>
                  <a:gd name="T28" fmla="*/ 5 w 16"/>
                  <a:gd name="T29" fmla="*/ 6 h 11"/>
                  <a:gd name="T30" fmla="*/ 5 w 16"/>
                  <a:gd name="T31" fmla="*/ 6 h 11"/>
                  <a:gd name="T32" fmla="*/ 5 w 16"/>
                  <a:gd name="T33" fmla="*/ 6 h 11"/>
                  <a:gd name="T34" fmla="*/ 5 w 16"/>
                  <a:gd name="T35" fmla="*/ 0 h 11"/>
                  <a:gd name="T36" fmla="*/ 5 w 16"/>
                  <a:gd name="T37" fmla="*/ 0 h 11"/>
                  <a:gd name="T38" fmla="*/ 5 w 16"/>
                  <a:gd name="T39" fmla="*/ 0 h 11"/>
                  <a:gd name="T40" fmla="*/ 5 w 16"/>
                  <a:gd name="T41" fmla="*/ 0 h 11"/>
                  <a:gd name="T42" fmla="*/ 5 w 16"/>
                  <a:gd name="T43" fmla="*/ 0 h 11"/>
                  <a:gd name="T44" fmla="*/ 5 w 16"/>
                  <a:gd name="T45" fmla="*/ 0 h 11"/>
                  <a:gd name="T46" fmla="*/ 5 w 16"/>
                  <a:gd name="T47" fmla="*/ 0 h 11"/>
                  <a:gd name="T48" fmla="*/ 5 w 16"/>
                  <a:gd name="T49" fmla="*/ 0 h 11"/>
                  <a:gd name="T50" fmla="*/ 5 w 16"/>
                  <a:gd name="T51" fmla="*/ 0 h 11"/>
                  <a:gd name="T52" fmla="*/ 5 w 16"/>
                  <a:gd name="T53" fmla="*/ 0 h 11"/>
                  <a:gd name="T54" fmla="*/ 5 w 16"/>
                  <a:gd name="T55" fmla="*/ 0 h 11"/>
                  <a:gd name="T56" fmla="*/ 5 w 16"/>
                  <a:gd name="T57" fmla="*/ 6 h 11"/>
                  <a:gd name="T58" fmla="*/ 5 w 16"/>
                  <a:gd name="T59" fmla="*/ 6 h 11"/>
                  <a:gd name="T60" fmla="*/ 5 w 16"/>
                  <a:gd name="T61" fmla="*/ 6 h 11"/>
                  <a:gd name="T62" fmla="*/ 11 w 16"/>
                  <a:gd name="T63" fmla="*/ 6 h 11"/>
                  <a:gd name="T64" fmla="*/ 11 w 16"/>
                  <a:gd name="T65" fmla="*/ 6 h 11"/>
                  <a:gd name="T66" fmla="*/ 11 w 16"/>
                  <a:gd name="T67" fmla="*/ 6 h 11"/>
                  <a:gd name="T68" fmla="*/ 11 w 16"/>
                  <a:gd name="T69" fmla="*/ 6 h 11"/>
                  <a:gd name="T70" fmla="*/ 11 w 16"/>
                  <a:gd name="T71" fmla="*/ 6 h 11"/>
                  <a:gd name="T72" fmla="*/ 11 w 16"/>
                  <a:gd name="T73" fmla="*/ 6 h 11"/>
                  <a:gd name="T74" fmla="*/ 11 w 16"/>
                  <a:gd name="T75" fmla="*/ 6 h 11"/>
                  <a:gd name="T76" fmla="*/ 16 w 16"/>
                  <a:gd name="T77" fmla="*/ 6 h 11"/>
                  <a:gd name="T78" fmla="*/ 16 w 16"/>
                  <a:gd name="T79" fmla="*/ 6 h 11"/>
                  <a:gd name="T80" fmla="*/ 16 w 16"/>
                  <a:gd name="T81" fmla="*/ 6 h 11"/>
                  <a:gd name="T82" fmla="*/ 16 w 16"/>
                  <a:gd name="T83" fmla="*/ 6 h 11"/>
                  <a:gd name="T84" fmla="*/ 16 w 16"/>
                  <a:gd name="T85" fmla="*/ 6 h 11"/>
                  <a:gd name="T86" fmla="*/ 16 w 16"/>
                  <a:gd name="T87" fmla="*/ 6 h 11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6"/>
                  <a:gd name="T133" fmla="*/ 0 h 11"/>
                  <a:gd name="T134" fmla="*/ 16 w 16"/>
                  <a:gd name="T135" fmla="*/ 11 h 11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6" h="11">
                    <a:moveTo>
                      <a:pt x="16" y="6"/>
                    </a:moveTo>
                    <a:lnTo>
                      <a:pt x="16" y="11"/>
                    </a:lnTo>
                    <a:lnTo>
                      <a:pt x="11" y="11"/>
                    </a:lnTo>
                    <a:lnTo>
                      <a:pt x="11" y="6"/>
                    </a:lnTo>
                    <a:lnTo>
                      <a:pt x="5" y="6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6"/>
                    </a:lnTo>
                    <a:lnTo>
                      <a:pt x="11" y="6"/>
                    </a:lnTo>
                    <a:lnTo>
                      <a:pt x="16" y="6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49" name="Freeform 568"/>
              <p:cNvSpPr>
                <a:spLocks/>
              </p:cNvSpPr>
              <p:nvPr/>
            </p:nvSpPr>
            <p:spPr bwMode="auto">
              <a:xfrm>
                <a:off x="3101" y="2316"/>
                <a:ext cx="27" cy="54"/>
              </a:xfrm>
              <a:custGeom>
                <a:avLst/>
                <a:gdLst>
                  <a:gd name="T0" fmla="*/ 0 w 27"/>
                  <a:gd name="T1" fmla="*/ 6 h 54"/>
                  <a:gd name="T2" fmla="*/ 0 w 27"/>
                  <a:gd name="T3" fmla="*/ 0 h 54"/>
                  <a:gd name="T4" fmla="*/ 5 w 27"/>
                  <a:gd name="T5" fmla="*/ 0 h 54"/>
                  <a:gd name="T6" fmla="*/ 16 w 27"/>
                  <a:gd name="T7" fmla="*/ 6 h 54"/>
                  <a:gd name="T8" fmla="*/ 27 w 27"/>
                  <a:gd name="T9" fmla="*/ 22 h 54"/>
                  <a:gd name="T10" fmla="*/ 21 w 27"/>
                  <a:gd name="T11" fmla="*/ 43 h 54"/>
                  <a:gd name="T12" fmla="*/ 21 w 27"/>
                  <a:gd name="T13" fmla="*/ 48 h 54"/>
                  <a:gd name="T14" fmla="*/ 16 w 27"/>
                  <a:gd name="T15" fmla="*/ 54 h 54"/>
                  <a:gd name="T16" fmla="*/ 11 w 27"/>
                  <a:gd name="T17" fmla="*/ 54 h 54"/>
                  <a:gd name="T18" fmla="*/ 11 w 27"/>
                  <a:gd name="T19" fmla="*/ 54 h 5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7"/>
                  <a:gd name="T31" fmla="*/ 0 h 54"/>
                  <a:gd name="T32" fmla="*/ 27 w 27"/>
                  <a:gd name="T33" fmla="*/ 54 h 5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7" h="54">
                    <a:moveTo>
                      <a:pt x="0" y="6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16" y="6"/>
                    </a:lnTo>
                    <a:lnTo>
                      <a:pt x="27" y="22"/>
                    </a:lnTo>
                    <a:lnTo>
                      <a:pt x="21" y="43"/>
                    </a:lnTo>
                    <a:lnTo>
                      <a:pt x="21" y="48"/>
                    </a:lnTo>
                    <a:lnTo>
                      <a:pt x="16" y="54"/>
                    </a:lnTo>
                    <a:lnTo>
                      <a:pt x="11" y="54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50" name="Freeform 569"/>
              <p:cNvSpPr>
                <a:spLocks/>
              </p:cNvSpPr>
              <p:nvPr/>
            </p:nvSpPr>
            <p:spPr bwMode="auto">
              <a:xfrm>
                <a:off x="3096" y="2327"/>
                <a:ext cx="16" cy="37"/>
              </a:xfrm>
              <a:custGeom>
                <a:avLst/>
                <a:gdLst>
                  <a:gd name="T0" fmla="*/ 10 w 16"/>
                  <a:gd name="T1" fmla="*/ 37 h 37"/>
                  <a:gd name="T2" fmla="*/ 0 w 16"/>
                  <a:gd name="T3" fmla="*/ 32 h 37"/>
                  <a:gd name="T4" fmla="*/ 0 w 16"/>
                  <a:gd name="T5" fmla="*/ 21 h 37"/>
                  <a:gd name="T6" fmla="*/ 0 w 16"/>
                  <a:gd name="T7" fmla="*/ 5 h 37"/>
                  <a:gd name="T8" fmla="*/ 5 w 16"/>
                  <a:gd name="T9" fmla="*/ 0 h 37"/>
                  <a:gd name="T10" fmla="*/ 10 w 16"/>
                  <a:gd name="T11" fmla="*/ 0 h 37"/>
                  <a:gd name="T12" fmla="*/ 16 w 16"/>
                  <a:gd name="T13" fmla="*/ 16 h 37"/>
                  <a:gd name="T14" fmla="*/ 16 w 16"/>
                  <a:gd name="T15" fmla="*/ 27 h 37"/>
                  <a:gd name="T16" fmla="*/ 10 w 16"/>
                  <a:gd name="T17" fmla="*/ 37 h 3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"/>
                  <a:gd name="T28" fmla="*/ 0 h 37"/>
                  <a:gd name="T29" fmla="*/ 16 w 16"/>
                  <a:gd name="T30" fmla="*/ 37 h 3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" h="37">
                    <a:moveTo>
                      <a:pt x="10" y="37"/>
                    </a:moveTo>
                    <a:lnTo>
                      <a:pt x="0" y="32"/>
                    </a:lnTo>
                    <a:lnTo>
                      <a:pt x="0" y="21"/>
                    </a:lnTo>
                    <a:lnTo>
                      <a:pt x="0" y="5"/>
                    </a:lnTo>
                    <a:lnTo>
                      <a:pt x="5" y="0"/>
                    </a:lnTo>
                    <a:lnTo>
                      <a:pt x="10" y="0"/>
                    </a:lnTo>
                    <a:lnTo>
                      <a:pt x="16" y="16"/>
                    </a:lnTo>
                    <a:lnTo>
                      <a:pt x="16" y="27"/>
                    </a:lnTo>
                    <a:lnTo>
                      <a:pt x="10" y="37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51" name="Freeform 570"/>
              <p:cNvSpPr>
                <a:spLocks/>
              </p:cNvSpPr>
              <p:nvPr/>
            </p:nvSpPr>
            <p:spPr bwMode="auto">
              <a:xfrm>
                <a:off x="3106" y="2359"/>
                <a:ext cx="6" cy="5"/>
              </a:xfrm>
              <a:custGeom>
                <a:avLst/>
                <a:gdLst>
                  <a:gd name="T0" fmla="*/ 6 w 6"/>
                  <a:gd name="T1" fmla="*/ 0 h 5"/>
                  <a:gd name="T2" fmla="*/ 6 w 6"/>
                  <a:gd name="T3" fmla="*/ 0 h 5"/>
                  <a:gd name="T4" fmla="*/ 6 w 6"/>
                  <a:gd name="T5" fmla="*/ 0 h 5"/>
                  <a:gd name="T6" fmla="*/ 6 w 6"/>
                  <a:gd name="T7" fmla="*/ 0 h 5"/>
                  <a:gd name="T8" fmla="*/ 6 w 6"/>
                  <a:gd name="T9" fmla="*/ 0 h 5"/>
                  <a:gd name="T10" fmla="*/ 6 w 6"/>
                  <a:gd name="T11" fmla="*/ 0 h 5"/>
                  <a:gd name="T12" fmla="*/ 6 w 6"/>
                  <a:gd name="T13" fmla="*/ 0 h 5"/>
                  <a:gd name="T14" fmla="*/ 6 w 6"/>
                  <a:gd name="T15" fmla="*/ 0 h 5"/>
                  <a:gd name="T16" fmla="*/ 6 w 6"/>
                  <a:gd name="T17" fmla="*/ 0 h 5"/>
                  <a:gd name="T18" fmla="*/ 6 w 6"/>
                  <a:gd name="T19" fmla="*/ 0 h 5"/>
                  <a:gd name="T20" fmla="*/ 6 w 6"/>
                  <a:gd name="T21" fmla="*/ 5 h 5"/>
                  <a:gd name="T22" fmla="*/ 6 w 6"/>
                  <a:gd name="T23" fmla="*/ 5 h 5"/>
                  <a:gd name="T24" fmla="*/ 6 w 6"/>
                  <a:gd name="T25" fmla="*/ 5 h 5"/>
                  <a:gd name="T26" fmla="*/ 6 w 6"/>
                  <a:gd name="T27" fmla="*/ 5 h 5"/>
                  <a:gd name="T28" fmla="*/ 6 w 6"/>
                  <a:gd name="T29" fmla="*/ 5 h 5"/>
                  <a:gd name="T30" fmla="*/ 6 w 6"/>
                  <a:gd name="T31" fmla="*/ 5 h 5"/>
                  <a:gd name="T32" fmla="*/ 6 w 6"/>
                  <a:gd name="T33" fmla="*/ 5 h 5"/>
                  <a:gd name="T34" fmla="*/ 6 w 6"/>
                  <a:gd name="T35" fmla="*/ 5 h 5"/>
                  <a:gd name="T36" fmla="*/ 0 w 6"/>
                  <a:gd name="T37" fmla="*/ 5 h 5"/>
                  <a:gd name="T38" fmla="*/ 0 w 6"/>
                  <a:gd name="T39" fmla="*/ 5 h 5"/>
                  <a:gd name="T40" fmla="*/ 0 w 6"/>
                  <a:gd name="T41" fmla="*/ 5 h 5"/>
                  <a:gd name="T42" fmla="*/ 0 w 6"/>
                  <a:gd name="T43" fmla="*/ 5 h 5"/>
                  <a:gd name="T44" fmla="*/ 0 w 6"/>
                  <a:gd name="T45" fmla="*/ 5 h 5"/>
                  <a:gd name="T46" fmla="*/ 0 w 6"/>
                  <a:gd name="T47" fmla="*/ 5 h 5"/>
                  <a:gd name="T48" fmla="*/ 0 w 6"/>
                  <a:gd name="T49" fmla="*/ 5 h 5"/>
                  <a:gd name="T50" fmla="*/ 0 w 6"/>
                  <a:gd name="T51" fmla="*/ 5 h 5"/>
                  <a:gd name="T52" fmla="*/ 6 w 6"/>
                  <a:gd name="T53" fmla="*/ 5 h 5"/>
                  <a:gd name="T54" fmla="*/ 6 w 6"/>
                  <a:gd name="T55" fmla="*/ 5 h 5"/>
                  <a:gd name="T56" fmla="*/ 6 w 6"/>
                  <a:gd name="T57" fmla="*/ 0 h 5"/>
                  <a:gd name="T58" fmla="*/ 6 w 6"/>
                  <a:gd name="T59" fmla="*/ 0 h 5"/>
                  <a:gd name="T60" fmla="*/ 6 w 6"/>
                  <a:gd name="T61" fmla="*/ 0 h 5"/>
                  <a:gd name="T62" fmla="*/ 6 w 6"/>
                  <a:gd name="T63" fmla="*/ 0 h 5"/>
                  <a:gd name="T64" fmla="*/ 6 w 6"/>
                  <a:gd name="T65" fmla="*/ 0 h 5"/>
                  <a:gd name="T66" fmla="*/ 6 w 6"/>
                  <a:gd name="T67" fmla="*/ 0 h 5"/>
                  <a:gd name="T68" fmla="*/ 6 w 6"/>
                  <a:gd name="T69" fmla="*/ 0 h 5"/>
                  <a:gd name="T70" fmla="*/ 6 w 6"/>
                  <a:gd name="T71" fmla="*/ 0 h 5"/>
                  <a:gd name="T72" fmla="*/ 6 w 6"/>
                  <a:gd name="T73" fmla="*/ 0 h 5"/>
                  <a:gd name="T74" fmla="*/ 6 w 6"/>
                  <a:gd name="T75" fmla="*/ 0 h 5"/>
                  <a:gd name="T76" fmla="*/ 6 w 6"/>
                  <a:gd name="T77" fmla="*/ 0 h 5"/>
                  <a:gd name="T78" fmla="*/ 6 w 6"/>
                  <a:gd name="T79" fmla="*/ 0 h 5"/>
                  <a:gd name="T80" fmla="*/ 6 w 6"/>
                  <a:gd name="T81" fmla="*/ 0 h 5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6"/>
                  <a:gd name="T124" fmla="*/ 0 h 5"/>
                  <a:gd name="T125" fmla="*/ 6 w 6"/>
                  <a:gd name="T126" fmla="*/ 5 h 5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6" h="5">
                    <a:moveTo>
                      <a:pt x="6" y="0"/>
                    </a:moveTo>
                    <a:lnTo>
                      <a:pt x="6" y="0"/>
                    </a:lnTo>
                    <a:lnTo>
                      <a:pt x="6" y="5"/>
                    </a:lnTo>
                    <a:lnTo>
                      <a:pt x="0" y="5"/>
                    </a:lnTo>
                    <a:lnTo>
                      <a:pt x="6" y="5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52" name="Freeform 571"/>
              <p:cNvSpPr>
                <a:spLocks/>
              </p:cNvSpPr>
              <p:nvPr/>
            </p:nvSpPr>
            <p:spPr bwMode="auto">
              <a:xfrm>
                <a:off x="3096" y="2348"/>
                <a:ext cx="10" cy="16"/>
              </a:xfrm>
              <a:custGeom>
                <a:avLst/>
                <a:gdLst>
                  <a:gd name="T0" fmla="*/ 10 w 10"/>
                  <a:gd name="T1" fmla="*/ 16 h 16"/>
                  <a:gd name="T2" fmla="*/ 10 w 10"/>
                  <a:gd name="T3" fmla="*/ 16 h 16"/>
                  <a:gd name="T4" fmla="*/ 10 w 10"/>
                  <a:gd name="T5" fmla="*/ 16 h 16"/>
                  <a:gd name="T6" fmla="*/ 10 w 10"/>
                  <a:gd name="T7" fmla="*/ 16 h 16"/>
                  <a:gd name="T8" fmla="*/ 10 w 10"/>
                  <a:gd name="T9" fmla="*/ 16 h 16"/>
                  <a:gd name="T10" fmla="*/ 10 w 10"/>
                  <a:gd name="T11" fmla="*/ 16 h 16"/>
                  <a:gd name="T12" fmla="*/ 10 w 10"/>
                  <a:gd name="T13" fmla="*/ 16 h 16"/>
                  <a:gd name="T14" fmla="*/ 5 w 10"/>
                  <a:gd name="T15" fmla="*/ 16 h 16"/>
                  <a:gd name="T16" fmla="*/ 5 w 10"/>
                  <a:gd name="T17" fmla="*/ 16 h 16"/>
                  <a:gd name="T18" fmla="*/ 5 w 10"/>
                  <a:gd name="T19" fmla="*/ 11 h 16"/>
                  <a:gd name="T20" fmla="*/ 5 w 10"/>
                  <a:gd name="T21" fmla="*/ 11 h 16"/>
                  <a:gd name="T22" fmla="*/ 5 w 10"/>
                  <a:gd name="T23" fmla="*/ 11 h 16"/>
                  <a:gd name="T24" fmla="*/ 5 w 10"/>
                  <a:gd name="T25" fmla="*/ 11 h 16"/>
                  <a:gd name="T26" fmla="*/ 5 w 10"/>
                  <a:gd name="T27" fmla="*/ 11 h 16"/>
                  <a:gd name="T28" fmla="*/ 5 w 10"/>
                  <a:gd name="T29" fmla="*/ 11 h 16"/>
                  <a:gd name="T30" fmla="*/ 0 w 10"/>
                  <a:gd name="T31" fmla="*/ 11 h 16"/>
                  <a:gd name="T32" fmla="*/ 0 w 10"/>
                  <a:gd name="T33" fmla="*/ 11 h 16"/>
                  <a:gd name="T34" fmla="*/ 0 w 10"/>
                  <a:gd name="T35" fmla="*/ 6 h 16"/>
                  <a:gd name="T36" fmla="*/ 0 w 10"/>
                  <a:gd name="T37" fmla="*/ 6 h 16"/>
                  <a:gd name="T38" fmla="*/ 0 w 10"/>
                  <a:gd name="T39" fmla="*/ 6 h 16"/>
                  <a:gd name="T40" fmla="*/ 0 w 10"/>
                  <a:gd name="T41" fmla="*/ 6 h 16"/>
                  <a:gd name="T42" fmla="*/ 0 w 10"/>
                  <a:gd name="T43" fmla="*/ 6 h 16"/>
                  <a:gd name="T44" fmla="*/ 0 w 10"/>
                  <a:gd name="T45" fmla="*/ 0 h 16"/>
                  <a:gd name="T46" fmla="*/ 0 w 10"/>
                  <a:gd name="T47" fmla="*/ 0 h 16"/>
                  <a:gd name="T48" fmla="*/ 0 w 10"/>
                  <a:gd name="T49" fmla="*/ 0 h 16"/>
                  <a:gd name="T50" fmla="*/ 0 w 10"/>
                  <a:gd name="T51" fmla="*/ 0 h 16"/>
                  <a:gd name="T52" fmla="*/ 0 w 10"/>
                  <a:gd name="T53" fmla="*/ 0 h 16"/>
                  <a:gd name="T54" fmla="*/ 0 w 10"/>
                  <a:gd name="T55" fmla="*/ 0 h 16"/>
                  <a:gd name="T56" fmla="*/ 0 w 10"/>
                  <a:gd name="T57" fmla="*/ 0 h 16"/>
                  <a:gd name="T58" fmla="*/ 0 w 10"/>
                  <a:gd name="T59" fmla="*/ 6 h 16"/>
                  <a:gd name="T60" fmla="*/ 0 w 10"/>
                  <a:gd name="T61" fmla="*/ 6 h 16"/>
                  <a:gd name="T62" fmla="*/ 5 w 10"/>
                  <a:gd name="T63" fmla="*/ 6 h 16"/>
                  <a:gd name="T64" fmla="*/ 5 w 10"/>
                  <a:gd name="T65" fmla="*/ 6 h 16"/>
                  <a:gd name="T66" fmla="*/ 5 w 10"/>
                  <a:gd name="T67" fmla="*/ 6 h 16"/>
                  <a:gd name="T68" fmla="*/ 5 w 10"/>
                  <a:gd name="T69" fmla="*/ 6 h 16"/>
                  <a:gd name="T70" fmla="*/ 5 w 10"/>
                  <a:gd name="T71" fmla="*/ 11 h 16"/>
                  <a:gd name="T72" fmla="*/ 5 w 10"/>
                  <a:gd name="T73" fmla="*/ 11 h 16"/>
                  <a:gd name="T74" fmla="*/ 5 w 10"/>
                  <a:gd name="T75" fmla="*/ 11 h 16"/>
                  <a:gd name="T76" fmla="*/ 5 w 10"/>
                  <a:gd name="T77" fmla="*/ 11 h 16"/>
                  <a:gd name="T78" fmla="*/ 5 w 10"/>
                  <a:gd name="T79" fmla="*/ 11 h 16"/>
                  <a:gd name="T80" fmla="*/ 5 w 10"/>
                  <a:gd name="T81" fmla="*/ 11 h 16"/>
                  <a:gd name="T82" fmla="*/ 5 w 10"/>
                  <a:gd name="T83" fmla="*/ 11 h 16"/>
                  <a:gd name="T84" fmla="*/ 5 w 10"/>
                  <a:gd name="T85" fmla="*/ 11 h 16"/>
                  <a:gd name="T86" fmla="*/ 10 w 10"/>
                  <a:gd name="T87" fmla="*/ 11 h 16"/>
                  <a:gd name="T88" fmla="*/ 10 w 10"/>
                  <a:gd name="T89" fmla="*/ 16 h 16"/>
                  <a:gd name="T90" fmla="*/ 10 w 10"/>
                  <a:gd name="T91" fmla="*/ 16 h 16"/>
                  <a:gd name="T92" fmla="*/ 10 w 10"/>
                  <a:gd name="T93" fmla="*/ 16 h 16"/>
                  <a:gd name="T94" fmla="*/ 10 w 10"/>
                  <a:gd name="T95" fmla="*/ 16 h 16"/>
                  <a:gd name="T96" fmla="*/ 10 w 10"/>
                  <a:gd name="T97" fmla="*/ 16 h 16"/>
                  <a:gd name="T98" fmla="*/ 10 w 10"/>
                  <a:gd name="T99" fmla="*/ 16 h 1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0"/>
                  <a:gd name="T151" fmla="*/ 0 h 16"/>
                  <a:gd name="T152" fmla="*/ 10 w 10"/>
                  <a:gd name="T153" fmla="*/ 16 h 1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0" h="16">
                    <a:moveTo>
                      <a:pt x="10" y="16"/>
                    </a:moveTo>
                    <a:lnTo>
                      <a:pt x="10" y="16"/>
                    </a:lnTo>
                    <a:lnTo>
                      <a:pt x="5" y="16"/>
                    </a:lnTo>
                    <a:lnTo>
                      <a:pt x="5" y="11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0" y="6"/>
                    </a:lnTo>
                    <a:lnTo>
                      <a:pt x="5" y="6"/>
                    </a:lnTo>
                    <a:lnTo>
                      <a:pt x="5" y="11"/>
                    </a:lnTo>
                    <a:lnTo>
                      <a:pt x="10" y="11"/>
                    </a:lnTo>
                    <a:lnTo>
                      <a:pt x="10" y="16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53" name="Freeform 572"/>
              <p:cNvSpPr>
                <a:spLocks/>
              </p:cNvSpPr>
              <p:nvPr/>
            </p:nvSpPr>
            <p:spPr bwMode="auto">
              <a:xfrm>
                <a:off x="3096" y="2327"/>
                <a:ext cx="5" cy="21"/>
              </a:xfrm>
              <a:custGeom>
                <a:avLst/>
                <a:gdLst>
                  <a:gd name="T0" fmla="*/ 0 w 5"/>
                  <a:gd name="T1" fmla="*/ 21 h 21"/>
                  <a:gd name="T2" fmla="*/ 0 w 5"/>
                  <a:gd name="T3" fmla="*/ 21 h 21"/>
                  <a:gd name="T4" fmla="*/ 0 w 5"/>
                  <a:gd name="T5" fmla="*/ 21 h 21"/>
                  <a:gd name="T6" fmla="*/ 0 w 5"/>
                  <a:gd name="T7" fmla="*/ 16 h 21"/>
                  <a:gd name="T8" fmla="*/ 0 w 5"/>
                  <a:gd name="T9" fmla="*/ 16 h 21"/>
                  <a:gd name="T10" fmla="*/ 0 w 5"/>
                  <a:gd name="T11" fmla="*/ 16 h 21"/>
                  <a:gd name="T12" fmla="*/ 0 w 5"/>
                  <a:gd name="T13" fmla="*/ 16 h 21"/>
                  <a:gd name="T14" fmla="*/ 0 w 5"/>
                  <a:gd name="T15" fmla="*/ 16 h 21"/>
                  <a:gd name="T16" fmla="*/ 0 w 5"/>
                  <a:gd name="T17" fmla="*/ 11 h 21"/>
                  <a:gd name="T18" fmla="*/ 0 w 5"/>
                  <a:gd name="T19" fmla="*/ 11 h 21"/>
                  <a:gd name="T20" fmla="*/ 0 w 5"/>
                  <a:gd name="T21" fmla="*/ 11 h 21"/>
                  <a:gd name="T22" fmla="*/ 0 w 5"/>
                  <a:gd name="T23" fmla="*/ 11 h 21"/>
                  <a:gd name="T24" fmla="*/ 0 w 5"/>
                  <a:gd name="T25" fmla="*/ 11 h 21"/>
                  <a:gd name="T26" fmla="*/ 0 w 5"/>
                  <a:gd name="T27" fmla="*/ 5 h 21"/>
                  <a:gd name="T28" fmla="*/ 0 w 5"/>
                  <a:gd name="T29" fmla="*/ 5 h 21"/>
                  <a:gd name="T30" fmla="*/ 0 w 5"/>
                  <a:gd name="T31" fmla="*/ 5 h 21"/>
                  <a:gd name="T32" fmla="*/ 0 w 5"/>
                  <a:gd name="T33" fmla="*/ 5 h 21"/>
                  <a:gd name="T34" fmla="*/ 0 w 5"/>
                  <a:gd name="T35" fmla="*/ 5 h 21"/>
                  <a:gd name="T36" fmla="*/ 0 w 5"/>
                  <a:gd name="T37" fmla="*/ 5 h 21"/>
                  <a:gd name="T38" fmla="*/ 0 w 5"/>
                  <a:gd name="T39" fmla="*/ 5 h 21"/>
                  <a:gd name="T40" fmla="*/ 0 w 5"/>
                  <a:gd name="T41" fmla="*/ 0 h 21"/>
                  <a:gd name="T42" fmla="*/ 5 w 5"/>
                  <a:gd name="T43" fmla="*/ 0 h 21"/>
                  <a:gd name="T44" fmla="*/ 5 w 5"/>
                  <a:gd name="T45" fmla="*/ 0 h 21"/>
                  <a:gd name="T46" fmla="*/ 5 w 5"/>
                  <a:gd name="T47" fmla="*/ 0 h 21"/>
                  <a:gd name="T48" fmla="*/ 5 w 5"/>
                  <a:gd name="T49" fmla="*/ 0 h 21"/>
                  <a:gd name="T50" fmla="*/ 5 w 5"/>
                  <a:gd name="T51" fmla="*/ 0 h 21"/>
                  <a:gd name="T52" fmla="*/ 5 w 5"/>
                  <a:gd name="T53" fmla="*/ 0 h 21"/>
                  <a:gd name="T54" fmla="*/ 5 w 5"/>
                  <a:gd name="T55" fmla="*/ 0 h 21"/>
                  <a:gd name="T56" fmla="*/ 5 w 5"/>
                  <a:gd name="T57" fmla="*/ 5 h 21"/>
                  <a:gd name="T58" fmla="*/ 5 w 5"/>
                  <a:gd name="T59" fmla="*/ 5 h 21"/>
                  <a:gd name="T60" fmla="*/ 5 w 5"/>
                  <a:gd name="T61" fmla="*/ 5 h 21"/>
                  <a:gd name="T62" fmla="*/ 0 w 5"/>
                  <a:gd name="T63" fmla="*/ 5 h 21"/>
                  <a:gd name="T64" fmla="*/ 0 w 5"/>
                  <a:gd name="T65" fmla="*/ 5 h 21"/>
                  <a:gd name="T66" fmla="*/ 0 w 5"/>
                  <a:gd name="T67" fmla="*/ 5 h 21"/>
                  <a:gd name="T68" fmla="*/ 0 w 5"/>
                  <a:gd name="T69" fmla="*/ 5 h 21"/>
                  <a:gd name="T70" fmla="*/ 0 w 5"/>
                  <a:gd name="T71" fmla="*/ 5 h 21"/>
                  <a:gd name="T72" fmla="*/ 0 w 5"/>
                  <a:gd name="T73" fmla="*/ 11 h 21"/>
                  <a:gd name="T74" fmla="*/ 0 w 5"/>
                  <a:gd name="T75" fmla="*/ 11 h 21"/>
                  <a:gd name="T76" fmla="*/ 0 w 5"/>
                  <a:gd name="T77" fmla="*/ 11 h 21"/>
                  <a:gd name="T78" fmla="*/ 0 w 5"/>
                  <a:gd name="T79" fmla="*/ 11 h 21"/>
                  <a:gd name="T80" fmla="*/ 0 w 5"/>
                  <a:gd name="T81" fmla="*/ 11 h 21"/>
                  <a:gd name="T82" fmla="*/ 0 w 5"/>
                  <a:gd name="T83" fmla="*/ 16 h 21"/>
                  <a:gd name="T84" fmla="*/ 0 w 5"/>
                  <a:gd name="T85" fmla="*/ 16 h 21"/>
                  <a:gd name="T86" fmla="*/ 0 w 5"/>
                  <a:gd name="T87" fmla="*/ 16 h 21"/>
                  <a:gd name="T88" fmla="*/ 0 w 5"/>
                  <a:gd name="T89" fmla="*/ 16 h 21"/>
                  <a:gd name="T90" fmla="*/ 0 w 5"/>
                  <a:gd name="T91" fmla="*/ 16 h 21"/>
                  <a:gd name="T92" fmla="*/ 0 w 5"/>
                  <a:gd name="T93" fmla="*/ 16 h 21"/>
                  <a:gd name="T94" fmla="*/ 0 w 5"/>
                  <a:gd name="T95" fmla="*/ 21 h 21"/>
                  <a:gd name="T96" fmla="*/ 0 w 5"/>
                  <a:gd name="T97" fmla="*/ 21 h 2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"/>
                  <a:gd name="T148" fmla="*/ 0 h 21"/>
                  <a:gd name="T149" fmla="*/ 5 w 5"/>
                  <a:gd name="T150" fmla="*/ 21 h 21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" h="21">
                    <a:moveTo>
                      <a:pt x="0" y="21"/>
                    </a:moveTo>
                    <a:lnTo>
                      <a:pt x="0" y="21"/>
                    </a:lnTo>
                    <a:lnTo>
                      <a:pt x="0" y="16"/>
                    </a:lnTo>
                    <a:lnTo>
                      <a:pt x="0" y="11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5"/>
                    </a:lnTo>
                    <a:lnTo>
                      <a:pt x="0" y="5"/>
                    </a:lnTo>
                    <a:lnTo>
                      <a:pt x="0" y="11"/>
                    </a:lnTo>
                    <a:lnTo>
                      <a:pt x="0" y="16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54" name="Freeform 573"/>
              <p:cNvSpPr>
                <a:spLocks/>
              </p:cNvSpPr>
              <p:nvPr/>
            </p:nvSpPr>
            <p:spPr bwMode="auto">
              <a:xfrm>
                <a:off x="3101" y="2327"/>
                <a:ext cx="5" cy="1"/>
              </a:xfrm>
              <a:custGeom>
                <a:avLst/>
                <a:gdLst>
                  <a:gd name="T0" fmla="*/ 0 w 5"/>
                  <a:gd name="T1" fmla="*/ 0 h 1"/>
                  <a:gd name="T2" fmla="*/ 0 w 5"/>
                  <a:gd name="T3" fmla="*/ 0 h 1"/>
                  <a:gd name="T4" fmla="*/ 0 w 5"/>
                  <a:gd name="T5" fmla="*/ 0 h 1"/>
                  <a:gd name="T6" fmla="*/ 0 w 5"/>
                  <a:gd name="T7" fmla="*/ 0 h 1"/>
                  <a:gd name="T8" fmla="*/ 0 w 5"/>
                  <a:gd name="T9" fmla="*/ 0 h 1"/>
                  <a:gd name="T10" fmla="*/ 0 w 5"/>
                  <a:gd name="T11" fmla="*/ 0 h 1"/>
                  <a:gd name="T12" fmla="*/ 0 w 5"/>
                  <a:gd name="T13" fmla="*/ 0 h 1"/>
                  <a:gd name="T14" fmla="*/ 0 w 5"/>
                  <a:gd name="T15" fmla="*/ 0 h 1"/>
                  <a:gd name="T16" fmla="*/ 0 w 5"/>
                  <a:gd name="T17" fmla="*/ 0 h 1"/>
                  <a:gd name="T18" fmla="*/ 0 w 5"/>
                  <a:gd name="T19" fmla="*/ 0 h 1"/>
                  <a:gd name="T20" fmla="*/ 0 w 5"/>
                  <a:gd name="T21" fmla="*/ 0 h 1"/>
                  <a:gd name="T22" fmla="*/ 0 w 5"/>
                  <a:gd name="T23" fmla="*/ 0 h 1"/>
                  <a:gd name="T24" fmla="*/ 0 w 5"/>
                  <a:gd name="T25" fmla="*/ 0 h 1"/>
                  <a:gd name="T26" fmla="*/ 0 w 5"/>
                  <a:gd name="T27" fmla="*/ 0 h 1"/>
                  <a:gd name="T28" fmla="*/ 0 w 5"/>
                  <a:gd name="T29" fmla="*/ 0 h 1"/>
                  <a:gd name="T30" fmla="*/ 0 w 5"/>
                  <a:gd name="T31" fmla="*/ 0 h 1"/>
                  <a:gd name="T32" fmla="*/ 0 w 5"/>
                  <a:gd name="T33" fmla="*/ 0 h 1"/>
                  <a:gd name="T34" fmla="*/ 0 w 5"/>
                  <a:gd name="T35" fmla="*/ 0 h 1"/>
                  <a:gd name="T36" fmla="*/ 0 w 5"/>
                  <a:gd name="T37" fmla="*/ 0 h 1"/>
                  <a:gd name="T38" fmla="*/ 5 w 5"/>
                  <a:gd name="T39" fmla="*/ 0 h 1"/>
                  <a:gd name="T40" fmla="*/ 5 w 5"/>
                  <a:gd name="T41" fmla="*/ 0 h 1"/>
                  <a:gd name="T42" fmla="*/ 5 w 5"/>
                  <a:gd name="T43" fmla="*/ 0 h 1"/>
                  <a:gd name="T44" fmla="*/ 5 w 5"/>
                  <a:gd name="T45" fmla="*/ 0 h 1"/>
                  <a:gd name="T46" fmla="*/ 5 w 5"/>
                  <a:gd name="T47" fmla="*/ 0 h 1"/>
                  <a:gd name="T48" fmla="*/ 5 w 5"/>
                  <a:gd name="T49" fmla="*/ 0 h 1"/>
                  <a:gd name="T50" fmla="*/ 5 w 5"/>
                  <a:gd name="T51" fmla="*/ 0 h 1"/>
                  <a:gd name="T52" fmla="*/ 5 w 5"/>
                  <a:gd name="T53" fmla="*/ 0 h 1"/>
                  <a:gd name="T54" fmla="*/ 5 w 5"/>
                  <a:gd name="T55" fmla="*/ 0 h 1"/>
                  <a:gd name="T56" fmla="*/ 5 w 5"/>
                  <a:gd name="T57" fmla="*/ 0 h 1"/>
                  <a:gd name="T58" fmla="*/ 5 w 5"/>
                  <a:gd name="T59" fmla="*/ 0 h 1"/>
                  <a:gd name="T60" fmla="*/ 0 w 5"/>
                  <a:gd name="T61" fmla="*/ 0 h 1"/>
                  <a:gd name="T62" fmla="*/ 0 w 5"/>
                  <a:gd name="T63" fmla="*/ 0 h 1"/>
                  <a:gd name="T64" fmla="*/ 0 w 5"/>
                  <a:gd name="T65" fmla="*/ 0 h 1"/>
                  <a:gd name="T66" fmla="*/ 0 w 5"/>
                  <a:gd name="T67" fmla="*/ 0 h 1"/>
                  <a:gd name="T68" fmla="*/ 0 w 5"/>
                  <a:gd name="T69" fmla="*/ 0 h 1"/>
                  <a:gd name="T70" fmla="*/ 0 w 5"/>
                  <a:gd name="T71" fmla="*/ 0 h 1"/>
                  <a:gd name="T72" fmla="*/ 0 w 5"/>
                  <a:gd name="T73" fmla="*/ 0 h 1"/>
                  <a:gd name="T74" fmla="*/ 0 w 5"/>
                  <a:gd name="T75" fmla="*/ 0 h 1"/>
                  <a:gd name="T76" fmla="*/ 0 w 5"/>
                  <a:gd name="T77" fmla="*/ 0 h 1"/>
                  <a:gd name="T78" fmla="*/ 0 w 5"/>
                  <a:gd name="T79" fmla="*/ 0 h 1"/>
                  <a:gd name="T80" fmla="*/ 0 w 5"/>
                  <a:gd name="T81" fmla="*/ 0 h 1"/>
                  <a:gd name="T82" fmla="*/ 0 w 5"/>
                  <a:gd name="T83" fmla="*/ 0 h 1"/>
                  <a:gd name="T84" fmla="*/ 0 w 5"/>
                  <a:gd name="T85" fmla="*/ 0 h 1"/>
                  <a:gd name="T86" fmla="*/ 0 w 5"/>
                  <a:gd name="T87" fmla="*/ 0 h 1"/>
                  <a:gd name="T88" fmla="*/ 0 w 5"/>
                  <a:gd name="T89" fmla="*/ 0 h 1"/>
                  <a:gd name="T90" fmla="*/ 0 w 5"/>
                  <a:gd name="T91" fmla="*/ 0 h 1"/>
                  <a:gd name="T92" fmla="*/ 0 w 5"/>
                  <a:gd name="T93" fmla="*/ 0 h 1"/>
                  <a:gd name="T94" fmla="*/ 0 w 5"/>
                  <a:gd name="T95" fmla="*/ 0 h 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5"/>
                  <a:gd name="T145" fmla="*/ 0 h 1"/>
                  <a:gd name="T146" fmla="*/ 5 w 5"/>
                  <a:gd name="T147" fmla="*/ 1 h 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5" h="1">
                    <a:moveTo>
                      <a:pt x="0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55" name="Freeform 574"/>
              <p:cNvSpPr>
                <a:spLocks/>
              </p:cNvSpPr>
              <p:nvPr/>
            </p:nvSpPr>
            <p:spPr bwMode="auto">
              <a:xfrm>
                <a:off x="3096" y="2332"/>
                <a:ext cx="16" cy="27"/>
              </a:xfrm>
              <a:custGeom>
                <a:avLst/>
                <a:gdLst>
                  <a:gd name="T0" fmla="*/ 10 w 16"/>
                  <a:gd name="T1" fmla="*/ 27 h 27"/>
                  <a:gd name="T2" fmla="*/ 5 w 16"/>
                  <a:gd name="T3" fmla="*/ 22 h 27"/>
                  <a:gd name="T4" fmla="*/ 0 w 16"/>
                  <a:gd name="T5" fmla="*/ 16 h 27"/>
                  <a:gd name="T6" fmla="*/ 0 w 16"/>
                  <a:gd name="T7" fmla="*/ 0 h 27"/>
                  <a:gd name="T8" fmla="*/ 5 w 16"/>
                  <a:gd name="T9" fmla="*/ 0 h 27"/>
                  <a:gd name="T10" fmla="*/ 10 w 16"/>
                  <a:gd name="T11" fmla="*/ 0 h 27"/>
                  <a:gd name="T12" fmla="*/ 16 w 16"/>
                  <a:gd name="T13" fmla="*/ 11 h 27"/>
                  <a:gd name="T14" fmla="*/ 10 w 16"/>
                  <a:gd name="T15" fmla="*/ 16 h 27"/>
                  <a:gd name="T16" fmla="*/ 10 w 16"/>
                  <a:gd name="T17" fmla="*/ 27 h 2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"/>
                  <a:gd name="T28" fmla="*/ 0 h 27"/>
                  <a:gd name="T29" fmla="*/ 16 w 16"/>
                  <a:gd name="T30" fmla="*/ 27 h 2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" h="27">
                    <a:moveTo>
                      <a:pt x="10" y="27"/>
                    </a:moveTo>
                    <a:lnTo>
                      <a:pt x="5" y="22"/>
                    </a:lnTo>
                    <a:lnTo>
                      <a:pt x="0" y="16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10" y="0"/>
                    </a:lnTo>
                    <a:lnTo>
                      <a:pt x="16" y="11"/>
                    </a:lnTo>
                    <a:lnTo>
                      <a:pt x="10" y="16"/>
                    </a:lnTo>
                    <a:lnTo>
                      <a:pt x="10" y="27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56" name="Line 575"/>
              <p:cNvSpPr>
                <a:spLocks noChangeShapeType="1"/>
              </p:cNvSpPr>
              <p:nvPr/>
            </p:nvSpPr>
            <p:spPr bwMode="auto">
              <a:xfrm flipV="1">
                <a:off x="3096" y="2322"/>
                <a:ext cx="5" cy="10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57" name="Line 576"/>
              <p:cNvSpPr>
                <a:spLocks noChangeShapeType="1"/>
              </p:cNvSpPr>
              <p:nvPr/>
            </p:nvSpPr>
            <p:spPr bwMode="auto">
              <a:xfrm>
                <a:off x="3101" y="2359"/>
                <a:ext cx="11" cy="11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58" name="Freeform 577"/>
              <p:cNvSpPr>
                <a:spLocks/>
              </p:cNvSpPr>
              <p:nvPr/>
            </p:nvSpPr>
            <p:spPr bwMode="auto">
              <a:xfrm>
                <a:off x="3122" y="2391"/>
                <a:ext cx="33" cy="5"/>
              </a:xfrm>
              <a:custGeom>
                <a:avLst/>
                <a:gdLst>
                  <a:gd name="T0" fmla="*/ 0 w 33"/>
                  <a:gd name="T1" fmla="*/ 5 h 5"/>
                  <a:gd name="T2" fmla="*/ 16 w 33"/>
                  <a:gd name="T3" fmla="*/ 0 h 5"/>
                  <a:gd name="T4" fmla="*/ 33 w 33"/>
                  <a:gd name="T5" fmla="*/ 0 h 5"/>
                  <a:gd name="T6" fmla="*/ 0 60000 65536"/>
                  <a:gd name="T7" fmla="*/ 0 60000 65536"/>
                  <a:gd name="T8" fmla="*/ 0 60000 65536"/>
                  <a:gd name="T9" fmla="*/ 0 w 33"/>
                  <a:gd name="T10" fmla="*/ 0 h 5"/>
                  <a:gd name="T11" fmla="*/ 33 w 33"/>
                  <a:gd name="T12" fmla="*/ 5 h 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3" h="5">
                    <a:moveTo>
                      <a:pt x="0" y="5"/>
                    </a:moveTo>
                    <a:lnTo>
                      <a:pt x="16" y="0"/>
                    </a:lnTo>
                    <a:lnTo>
                      <a:pt x="33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59" name="Freeform 578"/>
              <p:cNvSpPr>
                <a:spLocks/>
              </p:cNvSpPr>
              <p:nvPr/>
            </p:nvSpPr>
            <p:spPr bwMode="auto">
              <a:xfrm>
                <a:off x="3117" y="2338"/>
                <a:ext cx="5" cy="5"/>
              </a:xfrm>
              <a:custGeom>
                <a:avLst/>
                <a:gdLst>
                  <a:gd name="T0" fmla="*/ 0 w 5"/>
                  <a:gd name="T1" fmla="*/ 0 h 5"/>
                  <a:gd name="T2" fmla="*/ 0 w 5"/>
                  <a:gd name="T3" fmla="*/ 0 h 5"/>
                  <a:gd name="T4" fmla="*/ 0 w 5"/>
                  <a:gd name="T5" fmla="*/ 0 h 5"/>
                  <a:gd name="T6" fmla="*/ 0 w 5"/>
                  <a:gd name="T7" fmla="*/ 5 h 5"/>
                  <a:gd name="T8" fmla="*/ 0 w 5"/>
                  <a:gd name="T9" fmla="*/ 0 h 5"/>
                  <a:gd name="T10" fmla="*/ 5 w 5"/>
                  <a:gd name="T11" fmla="*/ 0 h 5"/>
                  <a:gd name="T12" fmla="*/ 0 w 5"/>
                  <a:gd name="T13" fmla="*/ 0 h 5"/>
                  <a:gd name="T14" fmla="*/ 0 w 5"/>
                  <a:gd name="T15" fmla="*/ 0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5"/>
                  <a:gd name="T26" fmla="*/ 5 w 5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38181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60" name="Freeform 579"/>
              <p:cNvSpPr>
                <a:spLocks/>
              </p:cNvSpPr>
              <p:nvPr/>
            </p:nvSpPr>
            <p:spPr bwMode="auto">
              <a:xfrm>
                <a:off x="3117" y="2348"/>
                <a:ext cx="5" cy="1"/>
              </a:xfrm>
              <a:custGeom>
                <a:avLst/>
                <a:gdLst>
                  <a:gd name="T0" fmla="*/ 5 w 5"/>
                  <a:gd name="T1" fmla="*/ 0 h 1"/>
                  <a:gd name="T2" fmla="*/ 0 w 5"/>
                  <a:gd name="T3" fmla="*/ 0 h 1"/>
                  <a:gd name="T4" fmla="*/ 0 w 5"/>
                  <a:gd name="T5" fmla="*/ 0 h 1"/>
                  <a:gd name="T6" fmla="*/ 0 w 5"/>
                  <a:gd name="T7" fmla="*/ 0 h 1"/>
                  <a:gd name="T8" fmla="*/ 5 w 5"/>
                  <a:gd name="T9" fmla="*/ 0 h 1"/>
                  <a:gd name="T10" fmla="*/ 5 w 5"/>
                  <a:gd name="T11" fmla="*/ 0 h 1"/>
                  <a:gd name="T12" fmla="*/ 5 w 5"/>
                  <a:gd name="T13" fmla="*/ 0 h 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1"/>
                  <a:gd name="T23" fmla="*/ 5 w 5"/>
                  <a:gd name="T24" fmla="*/ 1 h 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1">
                    <a:moveTo>
                      <a:pt x="5" y="0"/>
                    </a:moveTo>
                    <a:lnTo>
                      <a:pt x="0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838181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61" name="Freeform 580"/>
              <p:cNvSpPr>
                <a:spLocks/>
              </p:cNvSpPr>
              <p:nvPr/>
            </p:nvSpPr>
            <p:spPr bwMode="auto">
              <a:xfrm>
                <a:off x="3112" y="2327"/>
                <a:ext cx="5" cy="5"/>
              </a:xfrm>
              <a:custGeom>
                <a:avLst/>
                <a:gdLst>
                  <a:gd name="T0" fmla="*/ 5 w 5"/>
                  <a:gd name="T1" fmla="*/ 5 h 5"/>
                  <a:gd name="T2" fmla="*/ 0 w 5"/>
                  <a:gd name="T3" fmla="*/ 5 h 5"/>
                  <a:gd name="T4" fmla="*/ 0 w 5"/>
                  <a:gd name="T5" fmla="*/ 5 h 5"/>
                  <a:gd name="T6" fmla="*/ 0 w 5"/>
                  <a:gd name="T7" fmla="*/ 0 h 5"/>
                  <a:gd name="T8" fmla="*/ 5 w 5"/>
                  <a:gd name="T9" fmla="*/ 0 h 5"/>
                  <a:gd name="T10" fmla="*/ 5 w 5"/>
                  <a:gd name="T11" fmla="*/ 0 h 5"/>
                  <a:gd name="T12" fmla="*/ 5 w 5"/>
                  <a:gd name="T13" fmla="*/ 0 h 5"/>
                  <a:gd name="T14" fmla="*/ 5 w 5"/>
                  <a:gd name="T15" fmla="*/ 5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5"/>
                  <a:gd name="T26" fmla="*/ 5 w 5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5">
                    <a:moveTo>
                      <a:pt x="5" y="5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838181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62" name="Freeform 581"/>
              <p:cNvSpPr>
                <a:spLocks/>
              </p:cNvSpPr>
              <p:nvPr/>
            </p:nvSpPr>
            <p:spPr bwMode="auto">
              <a:xfrm>
                <a:off x="3106" y="2322"/>
                <a:ext cx="6" cy="5"/>
              </a:xfrm>
              <a:custGeom>
                <a:avLst/>
                <a:gdLst>
                  <a:gd name="T0" fmla="*/ 6 w 6"/>
                  <a:gd name="T1" fmla="*/ 5 h 5"/>
                  <a:gd name="T2" fmla="*/ 0 w 6"/>
                  <a:gd name="T3" fmla="*/ 5 h 5"/>
                  <a:gd name="T4" fmla="*/ 0 w 6"/>
                  <a:gd name="T5" fmla="*/ 5 h 5"/>
                  <a:gd name="T6" fmla="*/ 0 w 6"/>
                  <a:gd name="T7" fmla="*/ 0 h 5"/>
                  <a:gd name="T8" fmla="*/ 0 w 6"/>
                  <a:gd name="T9" fmla="*/ 0 h 5"/>
                  <a:gd name="T10" fmla="*/ 0 w 6"/>
                  <a:gd name="T11" fmla="*/ 0 h 5"/>
                  <a:gd name="T12" fmla="*/ 6 w 6"/>
                  <a:gd name="T13" fmla="*/ 0 h 5"/>
                  <a:gd name="T14" fmla="*/ 6 w 6"/>
                  <a:gd name="T15" fmla="*/ 0 h 5"/>
                  <a:gd name="T16" fmla="*/ 6 w 6"/>
                  <a:gd name="T17" fmla="*/ 5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5"/>
                  <a:gd name="T29" fmla="*/ 6 w 6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5">
                    <a:moveTo>
                      <a:pt x="6" y="5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6" y="5"/>
                    </a:lnTo>
                    <a:close/>
                  </a:path>
                </a:pathLst>
              </a:custGeom>
              <a:solidFill>
                <a:srgbClr val="838181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63" name="Freeform 582"/>
              <p:cNvSpPr>
                <a:spLocks/>
              </p:cNvSpPr>
              <p:nvPr/>
            </p:nvSpPr>
            <p:spPr bwMode="auto">
              <a:xfrm>
                <a:off x="3117" y="2354"/>
                <a:ext cx="5" cy="5"/>
              </a:xfrm>
              <a:custGeom>
                <a:avLst/>
                <a:gdLst>
                  <a:gd name="T0" fmla="*/ 0 w 5"/>
                  <a:gd name="T1" fmla="*/ 0 h 5"/>
                  <a:gd name="T2" fmla="*/ 0 w 5"/>
                  <a:gd name="T3" fmla="*/ 0 h 5"/>
                  <a:gd name="T4" fmla="*/ 0 w 5"/>
                  <a:gd name="T5" fmla="*/ 0 h 5"/>
                  <a:gd name="T6" fmla="*/ 0 w 5"/>
                  <a:gd name="T7" fmla="*/ 5 h 5"/>
                  <a:gd name="T8" fmla="*/ 0 w 5"/>
                  <a:gd name="T9" fmla="*/ 5 h 5"/>
                  <a:gd name="T10" fmla="*/ 5 w 5"/>
                  <a:gd name="T11" fmla="*/ 5 h 5"/>
                  <a:gd name="T12" fmla="*/ 0 w 5"/>
                  <a:gd name="T13" fmla="*/ 0 h 5"/>
                  <a:gd name="T14" fmla="*/ 0 w 5"/>
                  <a:gd name="T15" fmla="*/ 0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5"/>
                  <a:gd name="T26" fmla="*/ 5 w 5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5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38181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64" name="Freeform 583"/>
              <p:cNvSpPr>
                <a:spLocks/>
              </p:cNvSpPr>
              <p:nvPr/>
            </p:nvSpPr>
            <p:spPr bwMode="auto">
              <a:xfrm>
                <a:off x="3112" y="2364"/>
                <a:ext cx="5" cy="1"/>
              </a:xfrm>
              <a:custGeom>
                <a:avLst/>
                <a:gdLst>
                  <a:gd name="T0" fmla="*/ 5 w 5"/>
                  <a:gd name="T1" fmla="*/ 0 h 1"/>
                  <a:gd name="T2" fmla="*/ 0 w 5"/>
                  <a:gd name="T3" fmla="*/ 0 h 1"/>
                  <a:gd name="T4" fmla="*/ 0 w 5"/>
                  <a:gd name="T5" fmla="*/ 0 h 1"/>
                  <a:gd name="T6" fmla="*/ 0 w 5"/>
                  <a:gd name="T7" fmla="*/ 0 h 1"/>
                  <a:gd name="T8" fmla="*/ 0 w 5"/>
                  <a:gd name="T9" fmla="*/ 0 h 1"/>
                  <a:gd name="T10" fmla="*/ 5 w 5"/>
                  <a:gd name="T11" fmla="*/ 0 h 1"/>
                  <a:gd name="T12" fmla="*/ 5 w 5"/>
                  <a:gd name="T13" fmla="*/ 0 h 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1"/>
                  <a:gd name="T23" fmla="*/ 5 w 5"/>
                  <a:gd name="T24" fmla="*/ 1 h 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1">
                    <a:moveTo>
                      <a:pt x="5" y="0"/>
                    </a:moveTo>
                    <a:lnTo>
                      <a:pt x="0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838181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65" name="Freeform 584"/>
              <p:cNvSpPr>
                <a:spLocks/>
              </p:cNvSpPr>
              <p:nvPr/>
            </p:nvSpPr>
            <p:spPr bwMode="auto">
              <a:xfrm>
                <a:off x="3101" y="2322"/>
                <a:ext cx="5" cy="5"/>
              </a:xfrm>
              <a:custGeom>
                <a:avLst/>
                <a:gdLst>
                  <a:gd name="T0" fmla="*/ 5 w 5"/>
                  <a:gd name="T1" fmla="*/ 0 h 5"/>
                  <a:gd name="T2" fmla="*/ 0 w 5"/>
                  <a:gd name="T3" fmla="*/ 0 h 5"/>
                  <a:gd name="T4" fmla="*/ 0 w 5"/>
                  <a:gd name="T5" fmla="*/ 5 h 5"/>
                  <a:gd name="T6" fmla="*/ 0 w 5"/>
                  <a:gd name="T7" fmla="*/ 0 h 5"/>
                  <a:gd name="T8" fmla="*/ 0 w 5"/>
                  <a:gd name="T9" fmla="*/ 0 h 5"/>
                  <a:gd name="T10" fmla="*/ 0 w 5"/>
                  <a:gd name="T11" fmla="*/ 0 h 5"/>
                  <a:gd name="T12" fmla="*/ 5 w 5"/>
                  <a:gd name="T13" fmla="*/ 0 h 5"/>
                  <a:gd name="T14" fmla="*/ 5 w 5"/>
                  <a:gd name="T15" fmla="*/ 0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5"/>
                  <a:gd name="T26" fmla="*/ 5 w 5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5">
                    <a:moveTo>
                      <a:pt x="5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838181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66" name="Freeform 585"/>
              <p:cNvSpPr>
                <a:spLocks/>
              </p:cNvSpPr>
              <p:nvPr/>
            </p:nvSpPr>
            <p:spPr bwMode="auto">
              <a:xfrm>
                <a:off x="3112" y="2274"/>
                <a:ext cx="32" cy="53"/>
              </a:xfrm>
              <a:custGeom>
                <a:avLst/>
                <a:gdLst>
                  <a:gd name="T0" fmla="*/ 32 w 32"/>
                  <a:gd name="T1" fmla="*/ 53 h 53"/>
                  <a:gd name="T2" fmla="*/ 32 w 32"/>
                  <a:gd name="T3" fmla="*/ 48 h 53"/>
                  <a:gd name="T4" fmla="*/ 32 w 32"/>
                  <a:gd name="T5" fmla="*/ 42 h 53"/>
                  <a:gd name="T6" fmla="*/ 26 w 32"/>
                  <a:gd name="T7" fmla="*/ 42 h 53"/>
                  <a:gd name="T8" fmla="*/ 26 w 32"/>
                  <a:gd name="T9" fmla="*/ 37 h 53"/>
                  <a:gd name="T10" fmla="*/ 26 w 32"/>
                  <a:gd name="T11" fmla="*/ 32 h 53"/>
                  <a:gd name="T12" fmla="*/ 26 w 32"/>
                  <a:gd name="T13" fmla="*/ 32 h 53"/>
                  <a:gd name="T14" fmla="*/ 26 w 32"/>
                  <a:gd name="T15" fmla="*/ 26 h 53"/>
                  <a:gd name="T16" fmla="*/ 21 w 32"/>
                  <a:gd name="T17" fmla="*/ 26 h 53"/>
                  <a:gd name="T18" fmla="*/ 21 w 32"/>
                  <a:gd name="T19" fmla="*/ 21 h 53"/>
                  <a:gd name="T20" fmla="*/ 21 w 32"/>
                  <a:gd name="T21" fmla="*/ 21 h 53"/>
                  <a:gd name="T22" fmla="*/ 16 w 32"/>
                  <a:gd name="T23" fmla="*/ 16 h 53"/>
                  <a:gd name="T24" fmla="*/ 16 w 32"/>
                  <a:gd name="T25" fmla="*/ 16 h 53"/>
                  <a:gd name="T26" fmla="*/ 16 w 32"/>
                  <a:gd name="T27" fmla="*/ 10 h 53"/>
                  <a:gd name="T28" fmla="*/ 10 w 32"/>
                  <a:gd name="T29" fmla="*/ 10 h 53"/>
                  <a:gd name="T30" fmla="*/ 10 w 32"/>
                  <a:gd name="T31" fmla="*/ 10 h 53"/>
                  <a:gd name="T32" fmla="*/ 10 w 32"/>
                  <a:gd name="T33" fmla="*/ 5 h 53"/>
                  <a:gd name="T34" fmla="*/ 5 w 32"/>
                  <a:gd name="T35" fmla="*/ 5 h 53"/>
                  <a:gd name="T36" fmla="*/ 5 w 32"/>
                  <a:gd name="T37" fmla="*/ 5 h 53"/>
                  <a:gd name="T38" fmla="*/ 0 w 32"/>
                  <a:gd name="T39" fmla="*/ 5 h 53"/>
                  <a:gd name="T40" fmla="*/ 0 w 32"/>
                  <a:gd name="T41" fmla="*/ 0 h 53"/>
                  <a:gd name="T42" fmla="*/ 0 w 32"/>
                  <a:gd name="T43" fmla="*/ 0 h 53"/>
                  <a:gd name="T44" fmla="*/ 0 w 32"/>
                  <a:gd name="T45" fmla="*/ 0 h 53"/>
                  <a:gd name="T46" fmla="*/ 5 w 32"/>
                  <a:gd name="T47" fmla="*/ 0 h 53"/>
                  <a:gd name="T48" fmla="*/ 5 w 32"/>
                  <a:gd name="T49" fmla="*/ 5 h 53"/>
                  <a:gd name="T50" fmla="*/ 5 w 32"/>
                  <a:gd name="T51" fmla="*/ 5 h 53"/>
                  <a:gd name="T52" fmla="*/ 10 w 32"/>
                  <a:gd name="T53" fmla="*/ 5 h 53"/>
                  <a:gd name="T54" fmla="*/ 10 w 32"/>
                  <a:gd name="T55" fmla="*/ 10 h 53"/>
                  <a:gd name="T56" fmla="*/ 10 w 32"/>
                  <a:gd name="T57" fmla="*/ 10 h 53"/>
                  <a:gd name="T58" fmla="*/ 16 w 32"/>
                  <a:gd name="T59" fmla="*/ 10 h 53"/>
                  <a:gd name="T60" fmla="*/ 16 w 32"/>
                  <a:gd name="T61" fmla="*/ 16 h 53"/>
                  <a:gd name="T62" fmla="*/ 21 w 32"/>
                  <a:gd name="T63" fmla="*/ 16 h 53"/>
                  <a:gd name="T64" fmla="*/ 21 w 32"/>
                  <a:gd name="T65" fmla="*/ 21 h 53"/>
                  <a:gd name="T66" fmla="*/ 21 w 32"/>
                  <a:gd name="T67" fmla="*/ 21 h 53"/>
                  <a:gd name="T68" fmla="*/ 21 w 32"/>
                  <a:gd name="T69" fmla="*/ 26 h 53"/>
                  <a:gd name="T70" fmla="*/ 26 w 32"/>
                  <a:gd name="T71" fmla="*/ 26 h 53"/>
                  <a:gd name="T72" fmla="*/ 26 w 32"/>
                  <a:gd name="T73" fmla="*/ 32 h 53"/>
                  <a:gd name="T74" fmla="*/ 26 w 32"/>
                  <a:gd name="T75" fmla="*/ 32 h 53"/>
                  <a:gd name="T76" fmla="*/ 26 w 32"/>
                  <a:gd name="T77" fmla="*/ 37 h 53"/>
                  <a:gd name="T78" fmla="*/ 32 w 32"/>
                  <a:gd name="T79" fmla="*/ 42 h 53"/>
                  <a:gd name="T80" fmla="*/ 32 w 32"/>
                  <a:gd name="T81" fmla="*/ 42 h 53"/>
                  <a:gd name="T82" fmla="*/ 32 w 32"/>
                  <a:gd name="T83" fmla="*/ 48 h 53"/>
                  <a:gd name="T84" fmla="*/ 32 w 32"/>
                  <a:gd name="T85" fmla="*/ 53 h 5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2"/>
                  <a:gd name="T130" fmla="*/ 0 h 53"/>
                  <a:gd name="T131" fmla="*/ 32 w 32"/>
                  <a:gd name="T132" fmla="*/ 53 h 5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2" h="53">
                    <a:moveTo>
                      <a:pt x="32" y="53"/>
                    </a:moveTo>
                    <a:lnTo>
                      <a:pt x="32" y="53"/>
                    </a:lnTo>
                    <a:lnTo>
                      <a:pt x="32" y="48"/>
                    </a:lnTo>
                    <a:lnTo>
                      <a:pt x="32" y="42"/>
                    </a:lnTo>
                    <a:lnTo>
                      <a:pt x="26" y="42"/>
                    </a:lnTo>
                    <a:lnTo>
                      <a:pt x="26" y="37"/>
                    </a:lnTo>
                    <a:lnTo>
                      <a:pt x="26" y="32"/>
                    </a:lnTo>
                    <a:lnTo>
                      <a:pt x="26" y="26"/>
                    </a:lnTo>
                    <a:lnTo>
                      <a:pt x="21" y="26"/>
                    </a:lnTo>
                    <a:lnTo>
                      <a:pt x="21" y="21"/>
                    </a:lnTo>
                    <a:lnTo>
                      <a:pt x="21" y="16"/>
                    </a:lnTo>
                    <a:lnTo>
                      <a:pt x="16" y="16"/>
                    </a:lnTo>
                    <a:lnTo>
                      <a:pt x="16" y="10"/>
                    </a:lnTo>
                    <a:lnTo>
                      <a:pt x="10" y="10"/>
                    </a:lnTo>
                    <a:lnTo>
                      <a:pt x="10" y="5"/>
                    </a:lnTo>
                    <a:lnTo>
                      <a:pt x="5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5"/>
                    </a:lnTo>
                    <a:lnTo>
                      <a:pt x="10" y="5"/>
                    </a:lnTo>
                    <a:lnTo>
                      <a:pt x="10" y="10"/>
                    </a:lnTo>
                    <a:lnTo>
                      <a:pt x="16" y="10"/>
                    </a:lnTo>
                    <a:lnTo>
                      <a:pt x="16" y="16"/>
                    </a:lnTo>
                    <a:lnTo>
                      <a:pt x="21" y="16"/>
                    </a:lnTo>
                    <a:lnTo>
                      <a:pt x="21" y="21"/>
                    </a:lnTo>
                    <a:lnTo>
                      <a:pt x="21" y="26"/>
                    </a:lnTo>
                    <a:lnTo>
                      <a:pt x="26" y="26"/>
                    </a:lnTo>
                    <a:lnTo>
                      <a:pt x="26" y="32"/>
                    </a:lnTo>
                    <a:lnTo>
                      <a:pt x="26" y="37"/>
                    </a:lnTo>
                    <a:lnTo>
                      <a:pt x="32" y="42"/>
                    </a:lnTo>
                    <a:lnTo>
                      <a:pt x="32" y="48"/>
                    </a:lnTo>
                    <a:lnTo>
                      <a:pt x="32" y="53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67" name="Freeform 586"/>
              <p:cNvSpPr>
                <a:spLocks/>
              </p:cNvSpPr>
              <p:nvPr/>
            </p:nvSpPr>
            <p:spPr bwMode="auto">
              <a:xfrm>
                <a:off x="3096" y="2268"/>
                <a:ext cx="16" cy="6"/>
              </a:xfrm>
              <a:custGeom>
                <a:avLst/>
                <a:gdLst>
                  <a:gd name="T0" fmla="*/ 16 w 16"/>
                  <a:gd name="T1" fmla="*/ 6 h 6"/>
                  <a:gd name="T2" fmla="*/ 10 w 16"/>
                  <a:gd name="T3" fmla="*/ 6 h 6"/>
                  <a:gd name="T4" fmla="*/ 10 w 16"/>
                  <a:gd name="T5" fmla="*/ 6 h 6"/>
                  <a:gd name="T6" fmla="*/ 10 w 16"/>
                  <a:gd name="T7" fmla="*/ 6 h 6"/>
                  <a:gd name="T8" fmla="*/ 10 w 16"/>
                  <a:gd name="T9" fmla="*/ 6 h 6"/>
                  <a:gd name="T10" fmla="*/ 10 w 16"/>
                  <a:gd name="T11" fmla="*/ 6 h 6"/>
                  <a:gd name="T12" fmla="*/ 10 w 16"/>
                  <a:gd name="T13" fmla="*/ 6 h 6"/>
                  <a:gd name="T14" fmla="*/ 5 w 16"/>
                  <a:gd name="T15" fmla="*/ 6 h 6"/>
                  <a:gd name="T16" fmla="*/ 5 w 16"/>
                  <a:gd name="T17" fmla="*/ 6 h 6"/>
                  <a:gd name="T18" fmla="*/ 5 w 16"/>
                  <a:gd name="T19" fmla="*/ 0 h 6"/>
                  <a:gd name="T20" fmla="*/ 5 w 16"/>
                  <a:gd name="T21" fmla="*/ 0 h 6"/>
                  <a:gd name="T22" fmla="*/ 5 w 16"/>
                  <a:gd name="T23" fmla="*/ 0 h 6"/>
                  <a:gd name="T24" fmla="*/ 0 w 16"/>
                  <a:gd name="T25" fmla="*/ 0 h 6"/>
                  <a:gd name="T26" fmla="*/ 0 w 16"/>
                  <a:gd name="T27" fmla="*/ 0 h 6"/>
                  <a:gd name="T28" fmla="*/ 0 w 16"/>
                  <a:gd name="T29" fmla="*/ 0 h 6"/>
                  <a:gd name="T30" fmla="*/ 0 w 16"/>
                  <a:gd name="T31" fmla="*/ 0 h 6"/>
                  <a:gd name="T32" fmla="*/ 0 w 16"/>
                  <a:gd name="T33" fmla="*/ 0 h 6"/>
                  <a:gd name="T34" fmla="*/ 0 w 16"/>
                  <a:gd name="T35" fmla="*/ 0 h 6"/>
                  <a:gd name="T36" fmla="*/ 0 w 16"/>
                  <a:gd name="T37" fmla="*/ 0 h 6"/>
                  <a:gd name="T38" fmla="*/ 0 w 16"/>
                  <a:gd name="T39" fmla="*/ 0 h 6"/>
                  <a:gd name="T40" fmla="*/ 0 w 16"/>
                  <a:gd name="T41" fmla="*/ 0 h 6"/>
                  <a:gd name="T42" fmla="*/ 0 w 16"/>
                  <a:gd name="T43" fmla="*/ 0 h 6"/>
                  <a:gd name="T44" fmla="*/ 0 w 16"/>
                  <a:gd name="T45" fmla="*/ 0 h 6"/>
                  <a:gd name="T46" fmla="*/ 5 w 16"/>
                  <a:gd name="T47" fmla="*/ 0 h 6"/>
                  <a:gd name="T48" fmla="*/ 5 w 16"/>
                  <a:gd name="T49" fmla="*/ 0 h 6"/>
                  <a:gd name="T50" fmla="*/ 5 w 16"/>
                  <a:gd name="T51" fmla="*/ 0 h 6"/>
                  <a:gd name="T52" fmla="*/ 5 w 16"/>
                  <a:gd name="T53" fmla="*/ 0 h 6"/>
                  <a:gd name="T54" fmla="*/ 5 w 16"/>
                  <a:gd name="T55" fmla="*/ 0 h 6"/>
                  <a:gd name="T56" fmla="*/ 10 w 16"/>
                  <a:gd name="T57" fmla="*/ 6 h 6"/>
                  <a:gd name="T58" fmla="*/ 10 w 16"/>
                  <a:gd name="T59" fmla="*/ 6 h 6"/>
                  <a:gd name="T60" fmla="*/ 10 w 16"/>
                  <a:gd name="T61" fmla="*/ 6 h 6"/>
                  <a:gd name="T62" fmla="*/ 10 w 16"/>
                  <a:gd name="T63" fmla="*/ 6 h 6"/>
                  <a:gd name="T64" fmla="*/ 10 w 16"/>
                  <a:gd name="T65" fmla="*/ 6 h 6"/>
                  <a:gd name="T66" fmla="*/ 16 w 16"/>
                  <a:gd name="T67" fmla="*/ 6 h 6"/>
                  <a:gd name="T68" fmla="*/ 16 w 16"/>
                  <a:gd name="T69" fmla="*/ 6 h 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6"/>
                  <a:gd name="T106" fmla="*/ 0 h 6"/>
                  <a:gd name="T107" fmla="*/ 16 w 16"/>
                  <a:gd name="T108" fmla="*/ 6 h 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6" h="6">
                    <a:moveTo>
                      <a:pt x="16" y="6"/>
                    </a:moveTo>
                    <a:lnTo>
                      <a:pt x="16" y="6"/>
                    </a:lnTo>
                    <a:lnTo>
                      <a:pt x="10" y="6"/>
                    </a:lnTo>
                    <a:lnTo>
                      <a:pt x="5" y="6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10" y="0"/>
                    </a:lnTo>
                    <a:lnTo>
                      <a:pt x="10" y="6"/>
                    </a:lnTo>
                    <a:lnTo>
                      <a:pt x="16" y="6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68" name="Freeform 587"/>
              <p:cNvSpPr>
                <a:spLocks/>
              </p:cNvSpPr>
              <p:nvPr/>
            </p:nvSpPr>
            <p:spPr bwMode="auto">
              <a:xfrm>
                <a:off x="3063" y="2268"/>
                <a:ext cx="33" cy="27"/>
              </a:xfrm>
              <a:custGeom>
                <a:avLst/>
                <a:gdLst>
                  <a:gd name="T0" fmla="*/ 27 w 33"/>
                  <a:gd name="T1" fmla="*/ 0 h 27"/>
                  <a:gd name="T2" fmla="*/ 27 w 33"/>
                  <a:gd name="T3" fmla="*/ 0 h 27"/>
                  <a:gd name="T4" fmla="*/ 27 w 33"/>
                  <a:gd name="T5" fmla="*/ 0 h 27"/>
                  <a:gd name="T6" fmla="*/ 27 w 33"/>
                  <a:gd name="T7" fmla="*/ 0 h 27"/>
                  <a:gd name="T8" fmla="*/ 22 w 33"/>
                  <a:gd name="T9" fmla="*/ 0 h 27"/>
                  <a:gd name="T10" fmla="*/ 22 w 33"/>
                  <a:gd name="T11" fmla="*/ 0 h 27"/>
                  <a:gd name="T12" fmla="*/ 22 w 33"/>
                  <a:gd name="T13" fmla="*/ 0 h 27"/>
                  <a:gd name="T14" fmla="*/ 22 w 33"/>
                  <a:gd name="T15" fmla="*/ 0 h 27"/>
                  <a:gd name="T16" fmla="*/ 16 w 33"/>
                  <a:gd name="T17" fmla="*/ 0 h 27"/>
                  <a:gd name="T18" fmla="*/ 16 w 33"/>
                  <a:gd name="T19" fmla="*/ 0 h 27"/>
                  <a:gd name="T20" fmla="*/ 16 w 33"/>
                  <a:gd name="T21" fmla="*/ 6 h 27"/>
                  <a:gd name="T22" fmla="*/ 16 w 33"/>
                  <a:gd name="T23" fmla="*/ 6 h 27"/>
                  <a:gd name="T24" fmla="*/ 11 w 33"/>
                  <a:gd name="T25" fmla="*/ 6 h 27"/>
                  <a:gd name="T26" fmla="*/ 11 w 33"/>
                  <a:gd name="T27" fmla="*/ 6 h 27"/>
                  <a:gd name="T28" fmla="*/ 11 w 33"/>
                  <a:gd name="T29" fmla="*/ 11 h 27"/>
                  <a:gd name="T30" fmla="*/ 11 w 33"/>
                  <a:gd name="T31" fmla="*/ 11 h 27"/>
                  <a:gd name="T32" fmla="*/ 11 w 33"/>
                  <a:gd name="T33" fmla="*/ 11 h 27"/>
                  <a:gd name="T34" fmla="*/ 6 w 33"/>
                  <a:gd name="T35" fmla="*/ 16 h 27"/>
                  <a:gd name="T36" fmla="*/ 6 w 33"/>
                  <a:gd name="T37" fmla="*/ 16 h 27"/>
                  <a:gd name="T38" fmla="*/ 6 w 33"/>
                  <a:gd name="T39" fmla="*/ 22 h 27"/>
                  <a:gd name="T40" fmla="*/ 6 w 33"/>
                  <a:gd name="T41" fmla="*/ 22 h 27"/>
                  <a:gd name="T42" fmla="*/ 6 w 33"/>
                  <a:gd name="T43" fmla="*/ 27 h 27"/>
                  <a:gd name="T44" fmla="*/ 0 w 33"/>
                  <a:gd name="T45" fmla="*/ 22 h 27"/>
                  <a:gd name="T46" fmla="*/ 6 w 33"/>
                  <a:gd name="T47" fmla="*/ 22 h 27"/>
                  <a:gd name="T48" fmla="*/ 6 w 33"/>
                  <a:gd name="T49" fmla="*/ 16 h 27"/>
                  <a:gd name="T50" fmla="*/ 6 w 33"/>
                  <a:gd name="T51" fmla="*/ 16 h 27"/>
                  <a:gd name="T52" fmla="*/ 6 w 33"/>
                  <a:gd name="T53" fmla="*/ 16 h 27"/>
                  <a:gd name="T54" fmla="*/ 6 w 33"/>
                  <a:gd name="T55" fmla="*/ 11 h 27"/>
                  <a:gd name="T56" fmla="*/ 6 w 33"/>
                  <a:gd name="T57" fmla="*/ 11 h 27"/>
                  <a:gd name="T58" fmla="*/ 11 w 33"/>
                  <a:gd name="T59" fmla="*/ 6 h 27"/>
                  <a:gd name="T60" fmla="*/ 11 w 33"/>
                  <a:gd name="T61" fmla="*/ 6 h 27"/>
                  <a:gd name="T62" fmla="*/ 11 w 33"/>
                  <a:gd name="T63" fmla="*/ 6 h 27"/>
                  <a:gd name="T64" fmla="*/ 11 w 33"/>
                  <a:gd name="T65" fmla="*/ 6 h 27"/>
                  <a:gd name="T66" fmla="*/ 16 w 33"/>
                  <a:gd name="T67" fmla="*/ 0 h 27"/>
                  <a:gd name="T68" fmla="*/ 16 w 33"/>
                  <a:gd name="T69" fmla="*/ 0 h 27"/>
                  <a:gd name="T70" fmla="*/ 16 w 33"/>
                  <a:gd name="T71" fmla="*/ 0 h 27"/>
                  <a:gd name="T72" fmla="*/ 16 w 33"/>
                  <a:gd name="T73" fmla="*/ 0 h 27"/>
                  <a:gd name="T74" fmla="*/ 22 w 33"/>
                  <a:gd name="T75" fmla="*/ 0 h 27"/>
                  <a:gd name="T76" fmla="*/ 22 w 33"/>
                  <a:gd name="T77" fmla="*/ 0 h 27"/>
                  <a:gd name="T78" fmla="*/ 22 w 33"/>
                  <a:gd name="T79" fmla="*/ 0 h 27"/>
                  <a:gd name="T80" fmla="*/ 27 w 33"/>
                  <a:gd name="T81" fmla="*/ 0 h 27"/>
                  <a:gd name="T82" fmla="*/ 27 w 33"/>
                  <a:gd name="T83" fmla="*/ 0 h 27"/>
                  <a:gd name="T84" fmla="*/ 27 w 33"/>
                  <a:gd name="T85" fmla="*/ 0 h 27"/>
                  <a:gd name="T86" fmla="*/ 33 w 33"/>
                  <a:gd name="T87" fmla="*/ 0 h 27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33"/>
                  <a:gd name="T133" fmla="*/ 0 h 27"/>
                  <a:gd name="T134" fmla="*/ 33 w 33"/>
                  <a:gd name="T135" fmla="*/ 27 h 27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33" h="27">
                    <a:moveTo>
                      <a:pt x="33" y="0"/>
                    </a:moveTo>
                    <a:lnTo>
                      <a:pt x="33" y="0"/>
                    </a:lnTo>
                    <a:lnTo>
                      <a:pt x="27" y="0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16" y="6"/>
                    </a:lnTo>
                    <a:lnTo>
                      <a:pt x="11" y="6"/>
                    </a:lnTo>
                    <a:lnTo>
                      <a:pt x="11" y="11"/>
                    </a:lnTo>
                    <a:lnTo>
                      <a:pt x="6" y="11"/>
                    </a:lnTo>
                    <a:lnTo>
                      <a:pt x="6" y="16"/>
                    </a:lnTo>
                    <a:lnTo>
                      <a:pt x="6" y="22"/>
                    </a:lnTo>
                    <a:lnTo>
                      <a:pt x="6" y="27"/>
                    </a:lnTo>
                    <a:lnTo>
                      <a:pt x="0" y="27"/>
                    </a:lnTo>
                    <a:lnTo>
                      <a:pt x="0" y="22"/>
                    </a:lnTo>
                    <a:lnTo>
                      <a:pt x="6" y="22"/>
                    </a:lnTo>
                    <a:lnTo>
                      <a:pt x="6" y="16"/>
                    </a:lnTo>
                    <a:lnTo>
                      <a:pt x="6" y="11"/>
                    </a:lnTo>
                    <a:lnTo>
                      <a:pt x="11" y="11"/>
                    </a:lnTo>
                    <a:lnTo>
                      <a:pt x="11" y="6"/>
                    </a:lnTo>
                    <a:lnTo>
                      <a:pt x="11" y="0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27" y="0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69" name="Freeform 588"/>
              <p:cNvSpPr>
                <a:spLocks/>
              </p:cNvSpPr>
              <p:nvPr/>
            </p:nvSpPr>
            <p:spPr bwMode="auto">
              <a:xfrm>
                <a:off x="3063" y="2290"/>
                <a:ext cx="11" cy="5"/>
              </a:xfrm>
              <a:custGeom>
                <a:avLst/>
                <a:gdLst>
                  <a:gd name="T0" fmla="*/ 6 w 11"/>
                  <a:gd name="T1" fmla="*/ 0 h 5"/>
                  <a:gd name="T2" fmla="*/ 6 w 11"/>
                  <a:gd name="T3" fmla="*/ 0 h 5"/>
                  <a:gd name="T4" fmla="*/ 6 w 11"/>
                  <a:gd name="T5" fmla="*/ 0 h 5"/>
                  <a:gd name="T6" fmla="*/ 6 w 11"/>
                  <a:gd name="T7" fmla="*/ 5 h 5"/>
                  <a:gd name="T8" fmla="*/ 6 w 11"/>
                  <a:gd name="T9" fmla="*/ 5 h 5"/>
                  <a:gd name="T10" fmla="*/ 6 w 11"/>
                  <a:gd name="T11" fmla="*/ 5 h 5"/>
                  <a:gd name="T12" fmla="*/ 6 w 11"/>
                  <a:gd name="T13" fmla="*/ 5 h 5"/>
                  <a:gd name="T14" fmla="*/ 6 w 11"/>
                  <a:gd name="T15" fmla="*/ 5 h 5"/>
                  <a:gd name="T16" fmla="*/ 6 w 11"/>
                  <a:gd name="T17" fmla="*/ 5 h 5"/>
                  <a:gd name="T18" fmla="*/ 6 w 11"/>
                  <a:gd name="T19" fmla="*/ 5 h 5"/>
                  <a:gd name="T20" fmla="*/ 6 w 11"/>
                  <a:gd name="T21" fmla="*/ 5 h 5"/>
                  <a:gd name="T22" fmla="*/ 11 w 11"/>
                  <a:gd name="T23" fmla="*/ 5 h 5"/>
                  <a:gd name="T24" fmla="*/ 11 w 11"/>
                  <a:gd name="T25" fmla="*/ 5 h 5"/>
                  <a:gd name="T26" fmla="*/ 11 w 11"/>
                  <a:gd name="T27" fmla="*/ 5 h 5"/>
                  <a:gd name="T28" fmla="*/ 11 w 11"/>
                  <a:gd name="T29" fmla="*/ 5 h 5"/>
                  <a:gd name="T30" fmla="*/ 11 w 11"/>
                  <a:gd name="T31" fmla="*/ 5 h 5"/>
                  <a:gd name="T32" fmla="*/ 11 w 11"/>
                  <a:gd name="T33" fmla="*/ 5 h 5"/>
                  <a:gd name="T34" fmla="*/ 11 w 11"/>
                  <a:gd name="T35" fmla="*/ 5 h 5"/>
                  <a:gd name="T36" fmla="*/ 6 w 11"/>
                  <a:gd name="T37" fmla="*/ 5 h 5"/>
                  <a:gd name="T38" fmla="*/ 6 w 11"/>
                  <a:gd name="T39" fmla="*/ 5 h 5"/>
                  <a:gd name="T40" fmla="*/ 6 w 11"/>
                  <a:gd name="T41" fmla="*/ 5 h 5"/>
                  <a:gd name="T42" fmla="*/ 6 w 11"/>
                  <a:gd name="T43" fmla="*/ 5 h 5"/>
                  <a:gd name="T44" fmla="*/ 6 w 11"/>
                  <a:gd name="T45" fmla="*/ 5 h 5"/>
                  <a:gd name="T46" fmla="*/ 6 w 11"/>
                  <a:gd name="T47" fmla="*/ 5 h 5"/>
                  <a:gd name="T48" fmla="*/ 6 w 11"/>
                  <a:gd name="T49" fmla="*/ 5 h 5"/>
                  <a:gd name="T50" fmla="*/ 6 w 11"/>
                  <a:gd name="T51" fmla="*/ 5 h 5"/>
                  <a:gd name="T52" fmla="*/ 6 w 11"/>
                  <a:gd name="T53" fmla="*/ 5 h 5"/>
                  <a:gd name="T54" fmla="*/ 6 w 11"/>
                  <a:gd name="T55" fmla="*/ 5 h 5"/>
                  <a:gd name="T56" fmla="*/ 6 w 11"/>
                  <a:gd name="T57" fmla="*/ 5 h 5"/>
                  <a:gd name="T58" fmla="*/ 6 w 11"/>
                  <a:gd name="T59" fmla="*/ 5 h 5"/>
                  <a:gd name="T60" fmla="*/ 6 w 11"/>
                  <a:gd name="T61" fmla="*/ 5 h 5"/>
                  <a:gd name="T62" fmla="*/ 0 w 11"/>
                  <a:gd name="T63" fmla="*/ 5 h 5"/>
                  <a:gd name="T64" fmla="*/ 6 w 11"/>
                  <a:gd name="T65" fmla="*/ 5 h 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1"/>
                  <a:gd name="T100" fmla="*/ 0 h 5"/>
                  <a:gd name="T101" fmla="*/ 11 w 11"/>
                  <a:gd name="T102" fmla="*/ 5 h 5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1" h="5">
                    <a:moveTo>
                      <a:pt x="6" y="5"/>
                    </a:moveTo>
                    <a:lnTo>
                      <a:pt x="6" y="0"/>
                    </a:lnTo>
                    <a:lnTo>
                      <a:pt x="6" y="5"/>
                    </a:lnTo>
                    <a:lnTo>
                      <a:pt x="11" y="5"/>
                    </a:lnTo>
                    <a:lnTo>
                      <a:pt x="6" y="5"/>
                    </a:lnTo>
                    <a:lnTo>
                      <a:pt x="0" y="5"/>
                    </a:lnTo>
                    <a:lnTo>
                      <a:pt x="6" y="5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70" name="Freeform 589"/>
              <p:cNvSpPr>
                <a:spLocks/>
              </p:cNvSpPr>
              <p:nvPr/>
            </p:nvSpPr>
            <p:spPr bwMode="auto">
              <a:xfrm>
                <a:off x="3144" y="2311"/>
                <a:ext cx="241" cy="75"/>
              </a:xfrm>
              <a:custGeom>
                <a:avLst/>
                <a:gdLst>
                  <a:gd name="T0" fmla="*/ 241 w 241"/>
                  <a:gd name="T1" fmla="*/ 0 h 75"/>
                  <a:gd name="T2" fmla="*/ 236 w 241"/>
                  <a:gd name="T3" fmla="*/ 11 h 75"/>
                  <a:gd name="T4" fmla="*/ 230 w 241"/>
                  <a:gd name="T5" fmla="*/ 21 h 75"/>
                  <a:gd name="T6" fmla="*/ 139 w 241"/>
                  <a:gd name="T7" fmla="*/ 43 h 75"/>
                  <a:gd name="T8" fmla="*/ 53 w 241"/>
                  <a:gd name="T9" fmla="*/ 64 h 75"/>
                  <a:gd name="T10" fmla="*/ 43 w 241"/>
                  <a:gd name="T11" fmla="*/ 69 h 75"/>
                  <a:gd name="T12" fmla="*/ 32 w 241"/>
                  <a:gd name="T13" fmla="*/ 75 h 75"/>
                  <a:gd name="T14" fmla="*/ 27 w 241"/>
                  <a:gd name="T15" fmla="*/ 75 h 75"/>
                  <a:gd name="T16" fmla="*/ 21 w 241"/>
                  <a:gd name="T17" fmla="*/ 75 h 75"/>
                  <a:gd name="T18" fmla="*/ 11 w 241"/>
                  <a:gd name="T19" fmla="*/ 69 h 75"/>
                  <a:gd name="T20" fmla="*/ 0 w 241"/>
                  <a:gd name="T21" fmla="*/ 64 h 75"/>
                  <a:gd name="T22" fmla="*/ 0 w 241"/>
                  <a:gd name="T23" fmla="*/ 32 h 75"/>
                  <a:gd name="T24" fmla="*/ 0 w 241"/>
                  <a:gd name="T25" fmla="*/ 16 h 7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41"/>
                  <a:gd name="T40" fmla="*/ 0 h 75"/>
                  <a:gd name="T41" fmla="*/ 241 w 241"/>
                  <a:gd name="T42" fmla="*/ 75 h 7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41" h="75">
                    <a:moveTo>
                      <a:pt x="241" y="0"/>
                    </a:moveTo>
                    <a:lnTo>
                      <a:pt x="236" y="11"/>
                    </a:lnTo>
                    <a:lnTo>
                      <a:pt x="230" y="21"/>
                    </a:lnTo>
                    <a:lnTo>
                      <a:pt x="139" y="43"/>
                    </a:lnTo>
                    <a:lnTo>
                      <a:pt x="53" y="64"/>
                    </a:lnTo>
                    <a:lnTo>
                      <a:pt x="43" y="69"/>
                    </a:lnTo>
                    <a:lnTo>
                      <a:pt x="32" y="75"/>
                    </a:lnTo>
                    <a:lnTo>
                      <a:pt x="27" y="75"/>
                    </a:lnTo>
                    <a:lnTo>
                      <a:pt x="21" y="75"/>
                    </a:lnTo>
                    <a:lnTo>
                      <a:pt x="11" y="69"/>
                    </a:lnTo>
                    <a:lnTo>
                      <a:pt x="0" y="64"/>
                    </a:lnTo>
                    <a:lnTo>
                      <a:pt x="0" y="32"/>
                    </a:lnTo>
                    <a:lnTo>
                      <a:pt x="0" y="16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71" name="Freeform 590"/>
              <p:cNvSpPr>
                <a:spLocks/>
              </p:cNvSpPr>
              <p:nvPr/>
            </p:nvSpPr>
            <p:spPr bwMode="auto">
              <a:xfrm>
                <a:off x="3090" y="2279"/>
                <a:ext cx="54" cy="48"/>
              </a:xfrm>
              <a:custGeom>
                <a:avLst/>
                <a:gdLst>
                  <a:gd name="T0" fmla="*/ 54 w 54"/>
                  <a:gd name="T1" fmla="*/ 48 h 48"/>
                  <a:gd name="T2" fmla="*/ 43 w 54"/>
                  <a:gd name="T3" fmla="*/ 21 h 48"/>
                  <a:gd name="T4" fmla="*/ 27 w 54"/>
                  <a:gd name="T5" fmla="*/ 11 h 48"/>
                  <a:gd name="T6" fmla="*/ 0 w 54"/>
                  <a:gd name="T7" fmla="*/ 0 h 4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4"/>
                  <a:gd name="T13" fmla="*/ 0 h 48"/>
                  <a:gd name="T14" fmla="*/ 54 w 54"/>
                  <a:gd name="T15" fmla="*/ 48 h 4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4" h="48">
                    <a:moveTo>
                      <a:pt x="54" y="48"/>
                    </a:moveTo>
                    <a:lnTo>
                      <a:pt x="43" y="21"/>
                    </a:lnTo>
                    <a:lnTo>
                      <a:pt x="27" y="11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72" name="Freeform 591"/>
              <p:cNvSpPr>
                <a:spLocks/>
              </p:cNvSpPr>
              <p:nvPr/>
            </p:nvSpPr>
            <p:spPr bwMode="auto">
              <a:xfrm>
                <a:off x="3074" y="2279"/>
                <a:ext cx="16" cy="16"/>
              </a:xfrm>
              <a:custGeom>
                <a:avLst/>
                <a:gdLst>
                  <a:gd name="T0" fmla="*/ 16 w 16"/>
                  <a:gd name="T1" fmla="*/ 0 h 16"/>
                  <a:gd name="T2" fmla="*/ 16 w 16"/>
                  <a:gd name="T3" fmla="*/ 0 h 16"/>
                  <a:gd name="T4" fmla="*/ 16 w 16"/>
                  <a:gd name="T5" fmla="*/ 0 h 16"/>
                  <a:gd name="T6" fmla="*/ 16 w 16"/>
                  <a:gd name="T7" fmla="*/ 0 h 16"/>
                  <a:gd name="T8" fmla="*/ 11 w 16"/>
                  <a:gd name="T9" fmla="*/ 0 h 16"/>
                  <a:gd name="T10" fmla="*/ 11 w 16"/>
                  <a:gd name="T11" fmla="*/ 0 h 16"/>
                  <a:gd name="T12" fmla="*/ 11 w 16"/>
                  <a:gd name="T13" fmla="*/ 0 h 16"/>
                  <a:gd name="T14" fmla="*/ 11 w 16"/>
                  <a:gd name="T15" fmla="*/ 0 h 16"/>
                  <a:gd name="T16" fmla="*/ 11 w 16"/>
                  <a:gd name="T17" fmla="*/ 0 h 16"/>
                  <a:gd name="T18" fmla="*/ 11 w 16"/>
                  <a:gd name="T19" fmla="*/ 0 h 16"/>
                  <a:gd name="T20" fmla="*/ 11 w 16"/>
                  <a:gd name="T21" fmla="*/ 5 h 16"/>
                  <a:gd name="T22" fmla="*/ 5 w 16"/>
                  <a:gd name="T23" fmla="*/ 5 h 16"/>
                  <a:gd name="T24" fmla="*/ 5 w 16"/>
                  <a:gd name="T25" fmla="*/ 5 h 16"/>
                  <a:gd name="T26" fmla="*/ 5 w 16"/>
                  <a:gd name="T27" fmla="*/ 5 h 16"/>
                  <a:gd name="T28" fmla="*/ 5 w 16"/>
                  <a:gd name="T29" fmla="*/ 5 h 16"/>
                  <a:gd name="T30" fmla="*/ 5 w 16"/>
                  <a:gd name="T31" fmla="*/ 5 h 16"/>
                  <a:gd name="T32" fmla="*/ 5 w 16"/>
                  <a:gd name="T33" fmla="*/ 11 h 16"/>
                  <a:gd name="T34" fmla="*/ 0 w 16"/>
                  <a:gd name="T35" fmla="*/ 11 h 16"/>
                  <a:gd name="T36" fmla="*/ 0 w 16"/>
                  <a:gd name="T37" fmla="*/ 11 h 16"/>
                  <a:gd name="T38" fmla="*/ 0 w 16"/>
                  <a:gd name="T39" fmla="*/ 11 h 16"/>
                  <a:gd name="T40" fmla="*/ 0 w 16"/>
                  <a:gd name="T41" fmla="*/ 16 h 16"/>
                  <a:gd name="T42" fmla="*/ 0 w 16"/>
                  <a:gd name="T43" fmla="*/ 16 h 16"/>
                  <a:gd name="T44" fmla="*/ 0 w 16"/>
                  <a:gd name="T45" fmla="*/ 16 h 16"/>
                  <a:gd name="T46" fmla="*/ 0 w 16"/>
                  <a:gd name="T47" fmla="*/ 16 h 16"/>
                  <a:gd name="T48" fmla="*/ 0 w 16"/>
                  <a:gd name="T49" fmla="*/ 11 h 16"/>
                  <a:gd name="T50" fmla="*/ 0 w 16"/>
                  <a:gd name="T51" fmla="*/ 11 h 16"/>
                  <a:gd name="T52" fmla="*/ 0 w 16"/>
                  <a:gd name="T53" fmla="*/ 11 h 16"/>
                  <a:gd name="T54" fmla="*/ 5 w 16"/>
                  <a:gd name="T55" fmla="*/ 5 h 16"/>
                  <a:gd name="T56" fmla="*/ 5 w 16"/>
                  <a:gd name="T57" fmla="*/ 5 h 16"/>
                  <a:gd name="T58" fmla="*/ 5 w 16"/>
                  <a:gd name="T59" fmla="*/ 5 h 16"/>
                  <a:gd name="T60" fmla="*/ 5 w 16"/>
                  <a:gd name="T61" fmla="*/ 5 h 16"/>
                  <a:gd name="T62" fmla="*/ 5 w 16"/>
                  <a:gd name="T63" fmla="*/ 5 h 16"/>
                  <a:gd name="T64" fmla="*/ 5 w 16"/>
                  <a:gd name="T65" fmla="*/ 0 h 16"/>
                  <a:gd name="T66" fmla="*/ 11 w 16"/>
                  <a:gd name="T67" fmla="*/ 0 h 16"/>
                  <a:gd name="T68" fmla="*/ 11 w 16"/>
                  <a:gd name="T69" fmla="*/ 0 h 16"/>
                  <a:gd name="T70" fmla="*/ 11 w 16"/>
                  <a:gd name="T71" fmla="*/ 0 h 16"/>
                  <a:gd name="T72" fmla="*/ 11 w 16"/>
                  <a:gd name="T73" fmla="*/ 0 h 16"/>
                  <a:gd name="T74" fmla="*/ 11 w 16"/>
                  <a:gd name="T75" fmla="*/ 0 h 16"/>
                  <a:gd name="T76" fmla="*/ 11 w 16"/>
                  <a:gd name="T77" fmla="*/ 0 h 16"/>
                  <a:gd name="T78" fmla="*/ 16 w 16"/>
                  <a:gd name="T79" fmla="*/ 0 h 16"/>
                  <a:gd name="T80" fmla="*/ 16 w 16"/>
                  <a:gd name="T81" fmla="*/ 0 h 16"/>
                  <a:gd name="T82" fmla="*/ 16 w 16"/>
                  <a:gd name="T83" fmla="*/ 0 h 16"/>
                  <a:gd name="T84" fmla="*/ 16 w 16"/>
                  <a:gd name="T85" fmla="*/ 0 h 16"/>
                  <a:gd name="T86" fmla="*/ 16 w 16"/>
                  <a:gd name="T87" fmla="*/ 0 h 1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6"/>
                  <a:gd name="T133" fmla="*/ 0 h 16"/>
                  <a:gd name="T134" fmla="*/ 16 w 16"/>
                  <a:gd name="T135" fmla="*/ 16 h 1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6" h="16">
                    <a:moveTo>
                      <a:pt x="16" y="0"/>
                    </a:moveTo>
                    <a:lnTo>
                      <a:pt x="16" y="0"/>
                    </a:lnTo>
                    <a:lnTo>
                      <a:pt x="11" y="0"/>
                    </a:lnTo>
                    <a:lnTo>
                      <a:pt x="11" y="5"/>
                    </a:lnTo>
                    <a:lnTo>
                      <a:pt x="5" y="5"/>
                    </a:lnTo>
                    <a:lnTo>
                      <a:pt x="5" y="11"/>
                    </a:lnTo>
                    <a:lnTo>
                      <a:pt x="0" y="11"/>
                    </a:lnTo>
                    <a:lnTo>
                      <a:pt x="0" y="16"/>
                    </a:lnTo>
                    <a:lnTo>
                      <a:pt x="0" y="11"/>
                    </a:lnTo>
                    <a:lnTo>
                      <a:pt x="5" y="5"/>
                    </a:lnTo>
                    <a:lnTo>
                      <a:pt x="5" y="0"/>
                    </a:lnTo>
                    <a:lnTo>
                      <a:pt x="11" y="0"/>
                    </a:lnTo>
                    <a:lnTo>
                      <a:pt x="16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73" name="Line 592"/>
              <p:cNvSpPr>
                <a:spLocks noChangeShapeType="1"/>
              </p:cNvSpPr>
              <p:nvPr/>
            </p:nvSpPr>
            <p:spPr bwMode="auto">
              <a:xfrm>
                <a:off x="3069" y="2295"/>
                <a:ext cx="1" cy="37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74" name="Freeform 593"/>
              <p:cNvSpPr>
                <a:spLocks/>
              </p:cNvSpPr>
              <p:nvPr/>
            </p:nvSpPr>
            <p:spPr bwMode="auto">
              <a:xfrm>
                <a:off x="3063" y="2295"/>
                <a:ext cx="22" cy="37"/>
              </a:xfrm>
              <a:custGeom>
                <a:avLst/>
                <a:gdLst>
                  <a:gd name="T0" fmla="*/ 6 w 22"/>
                  <a:gd name="T1" fmla="*/ 0 h 37"/>
                  <a:gd name="T2" fmla="*/ 0 w 22"/>
                  <a:gd name="T3" fmla="*/ 37 h 37"/>
                  <a:gd name="T4" fmla="*/ 6 w 22"/>
                  <a:gd name="T5" fmla="*/ 37 h 37"/>
                  <a:gd name="T6" fmla="*/ 22 w 22"/>
                  <a:gd name="T7" fmla="*/ 37 h 3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2"/>
                  <a:gd name="T13" fmla="*/ 0 h 37"/>
                  <a:gd name="T14" fmla="*/ 22 w 22"/>
                  <a:gd name="T15" fmla="*/ 37 h 3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2" h="37">
                    <a:moveTo>
                      <a:pt x="6" y="0"/>
                    </a:moveTo>
                    <a:lnTo>
                      <a:pt x="0" y="37"/>
                    </a:lnTo>
                    <a:lnTo>
                      <a:pt x="6" y="37"/>
                    </a:lnTo>
                    <a:lnTo>
                      <a:pt x="22" y="37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75" name="Line 594"/>
              <p:cNvSpPr>
                <a:spLocks noChangeShapeType="1"/>
              </p:cNvSpPr>
              <p:nvPr/>
            </p:nvSpPr>
            <p:spPr bwMode="auto">
              <a:xfrm flipV="1">
                <a:off x="3074" y="2290"/>
                <a:ext cx="27" cy="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76" name="Line 595"/>
              <p:cNvSpPr>
                <a:spLocks noChangeShapeType="1"/>
              </p:cNvSpPr>
              <p:nvPr/>
            </p:nvSpPr>
            <p:spPr bwMode="auto">
              <a:xfrm>
                <a:off x="3069" y="2241"/>
                <a:ext cx="1" cy="43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77" name="Freeform 596"/>
              <p:cNvSpPr>
                <a:spLocks/>
              </p:cNvSpPr>
              <p:nvPr/>
            </p:nvSpPr>
            <p:spPr bwMode="auto">
              <a:xfrm>
                <a:off x="3047" y="2236"/>
                <a:ext cx="22" cy="54"/>
              </a:xfrm>
              <a:custGeom>
                <a:avLst/>
                <a:gdLst>
                  <a:gd name="T0" fmla="*/ 22 w 22"/>
                  <a:gd name="T1" fmla="*/ 54 h 54"/>
                  <a:gd name="T2" fmla="*/ 22 w 22"/>
                  <a:gd name="T3" fmla="*/ 43 h 54"/>
                  <a:gd name="T4" fmla="*/ 0 w 22"/>
                  <a:gd name="T5" fmla="*/ 32 h 54"/>
                  <a:gd name="T6" fmla="*/ 0 w 22"/>
                  <a:gd name="T7" fmla="*/ 27 h 54"/>
                  <a:gd name="T8" fmla="*/ 0 w 22"/>
                  <a:gd name="T9" fmla="*/ 0 h 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2"/>
                  <a:gd name="T16" fmla="*/ 0 h 54"/>
                  <a:gd name="T17" fmla="*/ 22 w 22"/>
                  <a:gd name="T18" fmla="*/ 54 h 5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2" h="54">
                    <a:moveTo>
                      <a:pt x="22" y="54"/>
                    </a:moveTo>
                    <a:lnTo>
                      <a:pt x="22" y="43"/>
                    </a:lnTo>
                    <a:lnTo>
                      <a:pt x="0" y="32"/>
                    </a:lnTo>
                    <a:lnTo>
                      <a:pt x="0" y="27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78" name="Freeform 597"/>
              <p:cNvSpPr>
                <a:spLocks/>
              </p:cNvSpPr>
              <p:nvPr/>
            </p:nvSpPr>
            <p:spPr bwMode="auto">
              <a:xfrm>
                <a:off x="3042" y="2012"/>
                <a:ext cx="32" cy="219"/>
              </a:xfrm>
              <a:custGeom>
                <a:avLst/>
                <a:gdLst>
                  <a:gd name="T0" fmla="*/ 5 w 32"/>
                  <a:gd name="T1" fmla="*/ 219 h 219"/>
                  <a:gd name="T2" fmla="*/ 0 w 32"/>
                  <a:gd name="T3" fmla="*/ 123 h 219"/>
                  <a:gd name="T4" fmla="*/ 11 w 32"/>
                  <a:gd name="T5" fmla="*/ 32 h 219"/>
                  <a:gd name="T6" fmla="*/ 11 w 32"/>
                  <a:gd name="T7" fmla="*/ 16 h 219"/>
                  <a:gd name="T8" fmla="*/ 21 w 32"/>
                  <a:gd name="T9" fmla="*/ 11 h 219"/>
                  <a:gd name="T10" fmla="*/ 32 w 32"/>
                  <a:gd name="T11" fmla="*/ 11 h 219"/>
                  <a:gd name="T12" fmla="*/ 32 w 32"/>
                  <a:gd name="T13" fmla="*/ 0 h 2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2"/>
                  <a:gd name="T22" fmla="*/ 0 h 219"/>
                  <a:gd name="T23" fmla="*/ 32 w 32"/>
                  <a:gd name="T24" fmla="*/ 219 h 2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2" h="219">
                    <a:moveTo>
                      <a:pt x="5" y="219"/>
                    </a:moveTo>
                    <a:lnTo>
                      <a:pt x="0" y="123"/>
                    </a:lnTo>
                    <a:lnTo>
                      <a:pt x="11" y="32"/>
                    </a:lnTo>
                    <a:lnTo>
                      <a:pt x="11" y="16"/>
                    </a:lnTo>
                    <a:lnTo>
                      <a:pt x="21" y="11"/>
                    </a:lnTo>
                    <a:lnTo>
                      <a:pt x="32" y="11"/>
                    </a:lnTo>
                    <a:lnTo>
                      <a:pt x="32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79" name="Freeform 598"/>
              <p:cNvSpPr>
                <a:spLocks/>
              </p:cNvSpPr>
              <p:nvPr/>
            </p:nvSpPr>
            <p:spPr bwMode="auto">
              <a:xfrm>
                <a:off x="3047" y="2231"/>
                <a:ext cx="108" cy="101"/>
              </a:xfrm>
              <a:custGeom>
                <a:avLst/>
                <a:gdLst>
                  <a:gd name="T0" fmla="*/ 108 w 108"/>
                  <a:gd name="T1" fmla="*/ 101 h 101"/>
                  <a:gd name="T2" fmla="*/ 97 w 108"/>
                  <a:gd name="T3" fmla="*/ 69 h 101"/>
                  <a:gd name="T4" fmla="*/ 91 w 108"/>
                  <a:gd name="T5" fmla="*/ 48 h 101"/>
                  <a:gd name="T6" fmla="*/ 75 w 108"/>
                  <a:gd name="T7" fmla="*/ 32 h 101"/>
                  <a:gd name="T8" fmla="*/ 59 w 108"/>
                  <a:gd name="T9" fmla="*/ 27 h 101"/>
                  <a:gd name="T10" fmla="*/ 0 w 108"/>
                  <a:gd name="T11" fmla="*/ 0 h 10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8"/>
                  <a:gd name="T19" fmla="*/ 0 h 101"/>
                  <a:gd name="T20" fmla="*/ 108 w 108"/>
                  <a:gd name="T21" fmla="*/ 101 h 10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8" h="101">
                    <a:moveTo>
                      <a:pt x="108" y="101"/>
                    </a:moveTo>
                    <a:lnTo>
                      <a:pt x="97" y="69"/>
                    </a:lnTo>
                    <a:lnTo>
                      <a:pt x="91" y="48"/>
                    </a:lnTo>
                    <a:lnTo>
                      <a:pt x="75" y="32"/>
                    </a:lnTo>
                    <a:lnTo>
                      <a:pt x="59" y="27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80" name="Line 599"/>
              <p:cNvSpPr>
                <a:spLocks noChangeShapeType="1"/>
              </p:cNvSpPr>
              <p:nvPr/>
            </p:nvSpPr>
            <p:spPr bwMode="auto">
              <a:xfrm>
                <a:off x="3117" y="2258"/>
                <a:ext cx="64" cy="26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81" name="Line 600"/>
              <p:cNvSpPr>
                <a:spLocks noChangeShapeType="1"/>
              </p:cNvSpPr>
              <p:nvPr/>
            </p:nvSpPr>
            <p:spPr bwMode="auto">
              <a:xfrm>
                <a:off x="3047" y="2231"/>
                <a:ext cx="134" cy="4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82" name="Freeform 601"/>
              <p:cNvSpPr>
                <a:spLocks/>
              </p:cNvSpPr>
              <p:nvPr/>
            </p:nvSpPr>
            <p:spPr bwMode="auto">
              <a:xfrm>
                <a:off x="3047" y="2231"/>
                <a:ext cx="1" cy="5"/>
              </a:xfrm>
              <a:custGeom>
                <a:avLst/>
                <a:gdLst>
                  <a:gd name="T0" fmla="*/ 0 w 1"/>
                  <a:gd name="T1" fmla="*/ 5 h 5"/>
                  <a:gd name="T2" fmla="*/ 0 w 1"/>
                  <a:gd name="T3" fmla="*/ 0 h 5"/>
                  <a:gd name="T4" fmla="*/ 0 w 1"/>
                  <a:gd name="T5" fmla="*/ 0 h 5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5"/>
                  <a:gd name="T11" fmla="*/ 1 w 1"/>
                  <a:gd name="T12" fmla="*/ 5 h 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5">
                    <a:moveTo>
                      <a:pt x="0" y="5"/>
                    </a:move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83" name="Line 602"/>
              <p:cNvSpPr>
                <a:spLocks noChangeShapeType="1"/>
              </p:cNvSpPr>
              <p:nvPr/>
            </p:nvSpPr>
            <p:spPr bwMode="auto">
              <a:xfrm>
                <a:off x="3047" y="2177"/>
                <a:ext cx="134" cy="54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84" name="Line 603"/>
              <p:cNvSpPr>
                <a:spLocks noChangeShapeType="1"/>
              </p:cNvSpPr>
              <p:nvPr/>
            </p:nvSpPr>
            <p:spPr bwMode="auto">
              <a:xfrm>
                <a:off x="3047" y="2183"/>
                <a:ext cx="134" cy="53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85" name="Line 604"/>
              <p:cNvSpPr>
                <a:spLocks noChangeShapeType="1"/>
              </p:cNvSpPr>
              <p:nvPr/>
            </p:nvSpPr>
            <p:spPr bwMode="auto">
              <a:xfrm>
                <a:off x="3047" y="2172"/>
                <a:ext cx="1" cy="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86" name="Line 605"/>
              <p:cNvSpPr>
                <a:spLocks noChangeShapeType="1"/>
              </p:cNvSpPr>
              <p:nvPr/>
            </p:nvSpPr>
            <p:spPr bwMode="auto">
              <a:xfrm flipV="1">
                <a:off x="3047" y="2177"/>
                <a:ext cx="1" cy="6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87" name="Freeform 606"/>
              <p:cNvSpPr>
                <a:spLocks/>
              </p:cNvSpPr>
              <p:nvPr/>
            </p:nvSpPr>
            <p:spPr bwMode="auto">
              <a:xfrm>
                <a:off x="3112" y="2204"/>
                <a:ext cx="1" cy="48"/>
              </a:xfrm>
              <a:custGeom>
                <a:avLst/>
                <a:gdLst>
                  <a:gd name="T0" fmla="*/ 0 w 1"/>
                  <a:gd name="T1" fmla="*/ 48 h 48"/>
                  <a:gd name="T2" fmla="*/ 0 w 1"/>
                  <a:gd name="T3" fmla="*/ 0 h 48"/>
                  <a:gd name="T4" fmla="*/ 0 w 1"/>
                  <a:gd name="T5" fmla="*/ 0 h 48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48"/>
                  <a:gd name="T11" fmla="*/ 1 w 1"/>
                  <a:gd name="T12" fmla="*/ 48 h 4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48">
                    <a:moveTo>
                      <a:pt x="0" y="48"/>
                    </a:move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88" name="Line 607"/>
              <p:cNvSpPr>
                <a:spLocks noChangeShapeType="1"/>
              </p:cNvSpPr>
              <p:nvPr/>
            </p:nvSpPr>
            <p:spPr bwMode="auto">
              <a:xfrm flipV="1">
                <a:off x="3112" y="2097"/>
                <a:ext cx="5" cy="107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89" name="Line 608"/>
              <p:cNvSpPr>
                <a:spLocks noChangeShapeType="1"/>
              </p:cNvSpPr>
              <p:nvPr/>
            </p:nvSpPr>
            <p:spPr bwMode="auto">
              <a:xfrm flipH="1">
                <a:off x="3069" y="2049"/>
                <a:ext cx="5" cy="134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90" name="Freeform 609"/>
              <p:cNvSpPr>
                <a:spLocks/>
              </p:cNvSpPr>
              <p:nvPr/>
            </p:nvSpPr>
            <p:spPr bwMode="auto">
              <a:xfrm>
                <a:off x="3069" y="2188"/>
                <a:ext cx="1" cy="48"/>
              </a:xfrm>
              <a:custGeom>
                <a:avLst/>
                <a:gdLst>
                  <a:gd name="T0" fmla="*/ 0 w 1"/>
                  <a:gd name="T1" fmla="*/ 0 h 48"/>
                  <a:gd name="T2" fmla="*/ 0 w 1"/>
                  <a:gd name="T3" fmla="*/ 0 h 48"/>
                  <a:gd name="T4" fmla="*/ 0 w 1"/>
                  <a:gd name="T5" fmla="*/ 48 h 48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48"/>
                  <a:gd name="T11" fmla="*/ 1 w 1"/>
                  <a:gd name="T12" fmla="*/ 48 h 4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48">
                    <a:moveTo>
                      <a:pt x="0" y="0"/>
                    </a:moveTo>
                    <a:lnTo>
                      <a:pt x="0" y="0"/>
                    </a:lnTo>
                    <a:lnTo>
                      <a:pt x="0" y="48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91" name="Freeform 610"/>
              <p:cNvSpPr>
                <a:spLocks/>
              </p:cNvSpPr>
              <p:nvPr/>
            </p:nvSpPr>
            <p:spPr bwMode="auto">
              <a:xfrm>
                <a:off x="3117" y="2241"/>
                <a:ext cx="16" cy="17"/>
              </a:xfrm>
              <a:custGeom>
                <a:avLst/>
                <a:gdLst>
                  <a:gd name="T0" fmla="*/ 16 w 16"/>
                  <a:gd name="T1" fmla="*/ 17 h 17"/>
                  <a:gd name="T2" fmla="*/ 16 w 16"/>
                  <a:gd name="T3" fmla="*/ 6 h 17"/>
                  <a:gd name="T4" fmla="*/ 0 w 16"/>
                  <a:gd name="T5" fmla="*/ 0 h 17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17"/>
                  <a:gd name="T11" fmla="*/ 16 w 16"/>
                  <a:gd name="T12" fmla="*/ 17 h 1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17">
                    <a:moveTo>
                      <a:pt x="16" y="17"/>
                    </a:moveTo>
                    <a:lnTo>
                      <a:pt x="16" y="6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92" name="Freeform 611"/>
              <p:cNvSpPr>
                <a:spLocks/>
              </p:cNvSpPr>
              <p:nvPr/>
            </p:nvSpPr>
            <p:spPr bwMode="auto">
              <a:xfrm>
                <a:off x="3117" y="2252"/>
                <a:ext cx="16" cy="6"/>
              </a:xfrm>
              <a:custGeom>
                <a:avLst/>
                <a:gdLst>
                  <a:gd name="T0" fmla="*/ 16 w 16"/>
                  <a:gd name="T1" fmla="*/ 6 h 6"/>
                  <a:gd name="T2" fmla="*/ 0 w 16"/>
                  <a:gd name="T3" fmla="*/ 0 h 6"/>
                  <a:gd name="T4" fmla="*/ 5 w 16"/>
                  <a:gd name="T5" fmla="*/ 0 h 6"/>
                  <a:gd name="T6" fmla="*/ 16 w 16"/>
                  <a:gd name="T7" fmla="*/ 0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"/>
                  <a:gd name="T13" fmla="*/ 0 h 6"/>
                  <a:gd name="T14" fmla="*/ 16 w 16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" h="6">
                    <a:moveTo>
                      <a:pt x="16" y="6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16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93" name="Line 612"/>
              <p:cNvSpPr>
                <a:spLocks noChangeShapeType="1"/>
              </p:cNvSpPr>
              <p:nvPr/>
            </p:nvSpPr>
            <p:spPr bwMode="auto">
              <a:xfrm flipV="1">
                <a:off x="3117" y="2241"/>
                <a:ext cx="1" cy="11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94" name="Freeform 613"/>
              <p:cNvSpPr>
                <a:spLocks/>
              </p:cNvSpPr>
              <p:nvPr/>
            </p:nvSpPr>
            <p:spPr bwMode="auto">
              <a:xfrm>
                <a:off x="3181" y="2215"/>
                <a:ext cx="32" cy="91"/>
              </a:xfrm>
              <a:custGeom>
                <a:avLst/>
                <a:gdLst>
                  <a:gd name="T0" fmla="*/ 0 w 32"/>
                  <a:gd name="T1" fmla="*/ 85 h 91"/>
                  <a:gd name="T2" fmla="*/ 0 w 32"/>
                  <a:gd name="T3" fmla="*/ 10 h 91"/>
                  <a:gd name="T4" fmla="*/ 0 w 32"/>
                  <a:gd name="T5" fmla="*/ 0 h 91"/>
                  <a:gd name="T6" fmla="*/ 6 w 32"/>
                  <a:gd name="T7" fmla="*/ 0 h 91"/>
                  <a:gd name="T8" fmla="*/ 11 w 32"/>
                  <a:gd name="T9" fmla="*/ 0 h 91"/>
                  <a:gd name="T10" fmla="*/ 16 w 32"/>
                  <a:gd name="T11" fmla="*/ 0 h 91"/>
                  <a:gd name="T12" fmla="*/ 22 w 32"/>
                  <a:gd name="T13" fmla="*/ 0 h 91"/>
                  <a:gd name="T14" fmla="*/ 27 w 32"/>
                  <a:gd name="T15" fmla="*/ 5 h 91"/>
                  <a:gd name="T16" fmla="*/ 32 w 32"/>
                  <a:gd name="T17" fmla="*/ 10 h 91"/>
                  <a:gd name="T18" fmla="*/ 32 w 32"/>
                  <a:gd name="T19" fmla="*/ 91 h 9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2"/>
                  <a:gd name="T31" fmla="*/ 0 h 91"/>
                  <a:gd name="T32" fmla="*/ 32 w 32"/>
                  <a:gd name="T33" fmla="*/ 91 h 9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2" h="91">
                    <a:moveTo>
                      <a:pt x="0" y="85"/>
                    </a:moveTo>
                    <a:lnTo>
                      <a:pt x="0" y="1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27" y="5"/>
                    </a:lnTo>
                    <a:lnTo>
                      <a:pt x="32" y="10"/>
                    </a:lnTo>
                    <a:lnTo>
                      <a:pt x="32" y="91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495" name="Freeform 614"/>
              <p:cNvSpPr>
                <a:spLocks/>
              </p:cNvSpPr>
              <p:nvPr/>
            </p:nvSpPr>
            <p:spPr bwMode="auto">
              <a:xfrm>
                <a:off x="3112" y="2258"/>
                <a:ext cx="101" cy="48"/>
              </a:xfrm>
              <a:custGeom>
                <a:avLst/>
                <a:gdLst>
                  <a:gd name="T0" fmla="*/ 101 w 101"/>
                  <a:gd name="T1" fmla="*/ 48 h 48"/>
                  <a:gd name="T2" fmla="*/ 96 w 101"/>
                  <a:gd name="T3" fmla="*/ 48 h 48"/>
                  <a:gd name="T4" fmla="*/ 91 w 101"/>
                  <a:gd name="T5" fmla="*/ 48 h 48"/>
                  <a:gd name="T6" fmla="*/ 75 w 101"/>
                  <a:gd name="T7" fmla="*/ 48 h 48"/>
                  <a:gd name="T8" fmla="*/ 69 w 101"/>
                  <a:gd name="T9" fmla="*/ 48 h 48"/>
                  <a:gd name="T10" fmla="*/ 69 w 101"/>
                  <a:gd name="T11" fmla="*/ 42 h 48"/>
                  <a:gd name="T12" fmla="*/ 69 w 101"/>
                  <a:gd name="T13" fmla="*/ 42 h 48"/>
                  <a:gd name="T14" fmla="*/ 32 w 101"/>
                  <a:gd name="T15" fmla="*/ 26 h 48"/>
                  <a:gd name="T16" fmla="*/ 16 w 101"/>
                  <a:gd name="T17" fmla="*/ 10 h 48"/>
                  <a:gd name="T18" fmla="*/ 5 w 101"/>
                  <a:gd name="T19" fmla="*/ 0 h 48"/>
                  <a:gd name="T20" fmla="*/ 5 w 101"/>
                  <a:gd name="T21" fmla="*/ 0 h 48"/>
                  <a:gd name="T22" fmla="*/ 0 w 101"/>
                  <a:gd name="T23" fmla="*/ 0 h 4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01"/>
                  <a:gd name="T37" fmla="*/ 0 h 48"/>
                  <a:gd name="T38" fmla="*/ 101 w 101"/>
                  <a:gd name="T39" fmla="*/ 48 h 4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01" h="48">
                    <a:moveTo>
                      <a:pt x="101" y="48"/>
                    </a:moveTo>
                    <a:lnTo>
                      <a:pt x="96" y="48"/>
                    </a:lnTo>
                    <a:lnTo>
                      <a:pt x="91" y="48"/>
                    </a:lnTo>
                    <a:lnTo>
                      <a:pt x="75" y="48"/>
                    </a:lnTo>
                    <a:lnTo>
                      <a:pt x="69" y="48"/>
                    </a:lnTo>
                    <a:lnTo>
                      <a:pt x="69" y="42"/>
                    </a:lnTo>
                    <a:lnTo>
                      <a:pt x="32" y="26"/>
                    </a:lnTo>
                    <a:lnTo>
                      <a:pt x="16" y="10"/>
                    </a:lnTo>
                    <a:lnTo>
                      <a:pt x="5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4078" name="Group 4077"/>
            <p:cNvGrpSpPr/>
            <p:nvPr/>
          </p:nvGrpSpPr>
          <p:grpSpPr>
            <a:xfrm>
              <a:off x="3125754" y="2844751"/>
              <a:ext cx="1549285" cy="881063"/>
              <a:chOff x="3125754" y="2844751"/>
              <a:chExt cx="1549285" cy="881063"/>
            </a:xfrm>
          </p:grpSpPr>
          <p:grpSp>
            <p:nvGrpSpPr>
              <p:cNvPr id="38590" name="Group 615"/>
              <p:cNvGrpSpPr>
                <a:grpSpLocks/>
              </p:cNvGrpSpPr>
              <p:nvPr/>
            </p:nvGrpSpPr>
            <p:grpSpPr bwMode="auto">
              <a:xfrm>
                <a:off x="3125754" y="2844751"/>
                <a:ext cx="1539214" cy="881063"/>
                <a:chOff x="2490" y="1825"/>
                <a:chExt cx="895" cy="555"/>
              </a:xfrm>
            </p:grpSpPr>
            <p:sp>
              <p:nvSpPr>
                <p:cNvPr id="38096" name="Freeform 616"/>
                <p:cNvSpPr>
                  <a:spLocks/>
                </p:cNvSpPr>
                <p:nvPr/>
              </p:nvSpPr>
              <p:spPr bwMode="auto">
                <a:xfrm>
                  <a:off x="3197" y="2220"/>
                  <a:ext cx="11" cy="86"/>
                </a:xfrm>
                <a:custGeom>
                  <a:avLst/>
                  <a:gdLst>
                    <a:gd name="T0" fmla="*/ 11 w 11"/>
                    <a:gd name="T1" fmla="*/ 86 h 86"/>
                    <a:gd name="T2" fmla="*/ 6 w 11"/>
                    <a:gd name="T3" fmla="*/ 38 h 86"/>
                    <a:gd name="T4" fmla="*/ 0 w 11"/>
                    <a:gd name="T5" fmla="*/ 0 h 86"/>
                    <a:gd name="T6" fmla="*/ 0 w 11"/>
                    <a:gd name="T7" fmla="*/ 0 h 86"/>
                    <a:gd name="T8" fmla="*/ 0 w 11"/>
                    <a:gd name="T9" fmla="*/ 43 h 86"/>
                    <a:gd name="T10" fmla="*/ 0 w 11"/>
                    <a:gd name="T11" fmla="*/ 86 h 8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1"/>
                    <a:gd name="T19" fmla="*/ 0 h 86"/>
                    <a:gd name="T20" fmla="*/ 11 w 11"/>
                    <a:gd name="T21" fmla="*/ 86 h 8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1" h="86">
                      <a:moveTo>
                        <a:pt x="11" y="86"/>
                      </a:moveTo>
                      <a:lnTo>
                        <a:pt x="6" y="38"/>
                      </a:lnTo>
                      <a:lnTo>
                        <a:pt x="0" y="0"/>
                      </a:lnTo>
                      <a:lnTo>
                        <a:pt x="0" y="43"/>
                      </a:lnTo>
                      <a:lnTo>
                        <a:pt x="0" y="86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097" name="Freeform 617"/>
                <p:cNvSpPr>
                  <a:spLocks/>
                </p:cNvSpPr>
                <p:nvPr/>
              </p:nvSpPr>
              <p:spPr bwMode="auto">
                <a:xfrm>
                  <a:off x="3208" y="2183"/>
                  <a:ext cx="172" cy="37"/>
                </a:xfrm>
                <a:custGeom>
                  <a:avLst/>
                  <a:gdLst>
                    <a:gd name="T0" fmla="*/ 0 w 172"/>
                    <a:gd name="T1" fmla="*/ 37 h 37"/>
                    <a:gd name="T2" fmla="*/ 86 w 172"/>
                    <a:gd name="T3" fmla="*/ 16 h 37"/>
                    <a:gd name="T4" fmla="*/ 172 w 172"/>
                    <a:gd name="T5" fmla="*/ 0 h 37"/>
                    <a:gd name="T6" fmla="*/ 0 60000 65536"/>
                    <a:gd name="T7" fmla="*/ 0 60000 65536"/>
                    <a:gd name="T8" fmla="*/ 0 60000 65536"/>
                    <a:gd name="T9" fmla="*/ 0 w 172"/>
                    <a:gd name="T10" fmla="*/ 0 h 37"/>
                    <a:gd name="T11" fmla="*/ 172 w 172"/>
                    <a:gd name="T12" fmla="*/ 37 h 3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72" h="37">
                      <a:moveTo>
                        <a:pt x="0" y="37"/>
                      </a:moveTo>
                      <a:lnTo>
                        <a:pt x="86" y="16"/>
                      </a:lnTo>
                      <a:lnTo>
                        <a:pt x="172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098" name="Freeform 618"/>
                <p:cNvSpPr>
                  <a:spLocks/>
                </p:cNvSpPr>
                <p:nvPr/>
              </p:nvSpPr>
              <p:spPr bwMode="auto">
                <a:xfrm>
                  <a:off x="3203" y="2017"/>
                  <a:ext cx="177" cy="198"/>
                </a:xfrm>
                <a:custGeom>
                  <a:avLst/>
                  <a:gdLst>
                    <a:gd name="T0" fmla="*/ 0 w 177"/>
                    <a:gd name="T1" fmla="*/ 198 h 198"/>
                    <a:gd name="T2" fmla="*/ 85 w 177"/>
                    <a:gd name="T3" fmla="*/ 182 h 198"/>
                    <a:gd name="T4" fmla="*/ 171 w 177"/>
                    <a:gd name="T5" fmla="*/ 160 h 198"/>
                    <a:gd name="T6" fmla="*/ 171 w 177"/>
                    <a:gd name="T7" fmla="*/ 155 h 198"/>
                    <a:gd name="T8" fmla="*/ 177 w 177"/>
                    <a:gd name="T9" fmla="*/ 155 h 198"/>
                    <a:gd name="T10" fmla="*/ 171 w 177"/>
                    <a:gd name="T11" fmla="*/ 96 h 198"/>
                    <a:gd name="T12" fmla="*/ 166 w 177"/>
                    <a:gd name="T13" fmla="*/ 43 h 198"/>
                    <a:gd name="T14" fmla="*/ 160 w 177"/>
                    <a:gd name="T15" fmla="*/ 27 h 198"/>
                    <a:gd name="T16" fmla="*/ 155 w 177"/>
                    <a:gd name="T17" fmla="*/ 22 h 198"/>
                    <a:gd name="T18" fmla="*/ 155 w 177"/>
                    <a:gd name="T19" fmla="*/ 22 h 198"/>
                    <a:gd name="T20" fmla="*/ 128 w 177"/>
                    <a:gd name="T21" fmla="*/ 6 h 198"/>
                    <a:gd name="T22" fmla="*/ 107 w 177"/>
                    <a:gd name="T23" fmla="*/ 0 h 198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177"/>
                    <a:gd name="T37" fmla="*/ 0 h 198"/>
                    <a:gd name="T38" fmla="*/ 177 w 177"/>
                    <a:gd name="T39" fmla="*/ 198 h 198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177" h="198">
                      <a:moveTo>
                        <a:pt x="0" y="198"/>
                      </a:moveTo>
                      <a:lnTo>
                        <a:pt x="85" y="182"/>
                      </a:lnTo>
                      <a:lnTo>
                        <a:pt x="171" y="160"/>
                      </a:lnTo>
                      <a:lnTo>
                        <a:pt x="171" y="155"/>
                      </a:lnTo>
                      <a:lnTo>
                        <a:pt x="177" y="155"/>
                      </a:lnTo>
                      <a:lnTo>
                        <a:pt x="171" y="96"/>
                      </a:lnTo>
                      <a:lnTo>
                        <a:pt x="166" y="43"/>
                      </a:lnTo>
                      <a:lnTo>
                        <a:pt x="160" y="27"/>
                      </a:lnTo>
                      <a:lnTo>
                        <a:pt x="155" y="22"/>
                      </a:lnTo>
                      <a:lnTo>
                        <a:pt x="128" y="6"/>
                      </a:lnTo>
                      <a:lnTo>
                        <a:pt x="107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099" name="Freeform 619"/>
                <p:cNvSpPr>
                  <a:spLocks/>
                </p:cNvSpPr>
                <p:nvPr/>
              </p:nvSpPr>
              <p:spPr bwMode="auto">
                <a:xfrm>
                  <a:off x="3219" y="2204"/>
                  <a:ext cx="155" cy="59"/>
                </a:xfrm>
                <a:custGeom>
                  <a:avLst/>
                  <a:gdLst>
                    <a:gd name="T0" fmla="*/ 0 w 155"/>
                    <a:gd name="T1" fmla="*/ 59 h 59"/>
                    <a:gd name="T2" fmla="*/ 0 w 155"/>
                    <a:gd name="T3" fmla="*/ 32 h 59"/>
                    <a:gd name="T4" fmla="*/ 75 w 155"/>
                    <a:gd name="T5" fmla="*/ 16 h 59"/>
                    <a:gd name="T6" fmla="*/ 155 w 155"/>
                    <a:gd name="T7" fmla="*/ 0 h 5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55"/>
                    <a:gd name="T13" fmla="*/ 0 h 59"/>
                    <a:gd name="T14" fmla="*/ 155 w 155"/>
                    <a:gd name="T15" fmla="*/ 59 h 5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55" h="59">
                      <a:moveTo>
                        <a:pt x="0" y="59"/>
                      </a:moveTo>
                      <a:lnTo>
                        <a:pt x="0" y="32"/>
                      </a:lnTo>
                      <a:lnTo>
                        <a:pt x="75" y="16"/>
                      </a:lnTo>
                      <a:lnTo>
                        <a:pt x="155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00" name="Freeform 620"/>
                <p:cNvSpPr>
                  <a:spLocks/>
                </p:cNvSpPr>
                <p:nvPr/>
              </p:nvSpPr>
              <p:spPr bwMode="auto">
                <a:xfrm>
                  <a:off x="3219" y="2204"/>
                  <a:ext cx="155" cy="59"/>
                </a:xfrm>
                <a:custGeom>
                  <a:avLst/>
                  <a:gdLst>
                    <a:gd name="T0" fmla="*/ 0 w 155"/>
                    <a:gd name="T1" fmla="*/ 59 h 59"/>
                    <a:gd name="T2" fmla="*/ 75 w 155"/>
                    <a:gd name="T3" fmla="*/ 37 h 59"/>
                    <a:gd name="T4" fmla="*/ 155 w 155"/>
                    <a:gd name="T5" fmla="*/ 21 h 59"/>
                    <a:gd name="T6" fmla="*/ 155 w 155"/>
                    <a:gd name="T7" fmla="*/ 0 h 5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55"/>
                    <a:gd name="T13" fmla="*/ 0 h 59"/>
                    <a:gd name="T14" fmla="*/ 155 w 155"/>
                    <a:gd name="T15" fmla="*/ 59 h 5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55" h="59">
                      <a:moveTo>
                        <a:pt x="0" y="59"/>
                      </a:moveTo>
                      <a:lnTo>
                        <a:pt x="75" y="37"/>
                      </a:lnTo>
                      <a:lnTo>
                        <a:pt x="155" y="21"/>
                      </a:lnTo>
                      <a:lnTo>
                        <a:pt x="155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01" name="Rectangle 621"/>
                <p:cNvSpPr>
                  <a:spLocks noChangeArrowheads="1"/>
                </p:cNvSpPr>
                <p:nvPr/>
              </p:nvSpPr>
              <p:spPr bwMode="auto">
                <a:xfrm>
                  <a:off x="3224" y="2241"/>
                  <a:ext cx="16" cy="11"/>
                </a:xfrm>
                <a:prstGeom prst="rect">
                  <a:avLst/>
                </a:prstGeom>
                <a:noFill/>
                <a:ln w="0">
                  <a:solidFill>
                    <a:srgbClr val="25221E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02" name="Freeform 622"/>
                <p:cNvSpPr>
                  <a:spLocks/>
                </p:cNvSpPr>
                <p:nvPr/>
              </p:nvSpPr>
              <p:spPr bwMode="auto">
                <a:xfrm>
                  <a:off x="3337" y="2209"/>
                  <a:ext cx="32" cy="22"/>
                </a:xfrm>
                <a:custGeom>
                  <a:avLst/>
                  <a:gdLst>
                    <a:gd name="T0" fmla="*/ 0 w 32"/>
                    <a:gd name="T1" fmla="*/ 6 h 22"/>
                    <a:gd name="T2" fmla="*/ 26 w 32"/>
                    <a:gd name="T3" fmla="*/ 0 h 22"/>
                    <a:gd name="T4" fmla="*/ 32 w 32"/>
                    <a:gd name="T5" fmla="*/ 11 h 22"/>
                    <a:gd name="T6" fmla="*/ 0 w 32"/>
                    <a:gd name="T7" fmla="*/ 22 h 22"/>
                    <a:gd name="T8" fmla="*/ 0 w 32"/>
                    <a:gd name="T9" fmla="*/ 6 h 2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2"/>
                    <a:gd name="T16" fmla="*/ 0 h 22"/>
                    <a:gd name="T17" fmla="*/ 32 w 32"/>
                    <a:gd name="T18" fmla="*/ 22 h 2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2" h="22">
                      <a:moveTo>
                        <a:pt x="0" y="6"/>
                      </a:moveTo>
                      <a:lnTo>
                        <a:pt x="26" y="0"/>
                      </a:lnTo>
                      <a:lnTo>
                        <a:pt x="32" y="11"/>
                      </a:lnTo>
                      <a:lnTo>
                        <a:pt x="0" y="22"/>
                      </a:lnTo>
                      <a:lnTo>
                        <a:pt x="0" y="6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03" name="Line 623"/>
                <p:cNvSpPr>
                  <a:spLocks noChangeShapeType="1"/>
                </p:cNvSpPr>
                <p:nvPr/>
              </p:nvSpPr>
              <p:spPr bwMode="auto">
                <a:xfrm>
                  <a:off x="3262" y="2231"/>
                  <a:ext cx="1" cy="16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04" name="Line 624"/>
                <p:cNvSpPr>
                  <a:spLocks noChangeShapeType="1"/>
                </p:cNvSpPr>
                <p:nvPr/>
              </p:nvSpPr>
              <p:spPr bwMode="auto">
                <a:xfrm>
                  <a:off x="3326" y="2215"/>
                  <a:ext cx="1" cy="21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05" name="Line 625"/>
                <p:cNvSpPr>
                  <a:spLocks noChangeShapeType="1"/>
                </p:cNvSpPr>
                <p:nvPr/>
              </p:nvSpPr>
              <p:spPr bwMode="auto">
                <a:xfrm flipH="1">
                  <a:off x="3262" y="2220"/>
                  <a:ext cx="64" cy="16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06" name="Freeform 626"/>
                <p:cNvSpPr>
                  <a:spLocks/>
                </p:cNvSpPr>
                <p:nvPr/>
              </p:nvSpPr>
              <p:spPr bwMode="auto">
                <a:xfrm>
                  <a:off x="3262" y="2225"/>
                  <a:ext cx="64" cy="11"/>
                </a:xfrm>
                <a:custGeom>
                  <a:avLst/>
                  <a:gdLst>
                    <a:gd name="T0" fmla="*/ 64 w 64"/>
                    <a:gd name="T1" fmla="*/ 0 h 11"/>
                    <a:gd name="T2" fmla="*/ 32 w 64"/>
                    <a:gd name="T3" fmla="*/ 6 h 11"/>
                    <a:gd name="T4" fmla="*/ 0 w 64"/>
                    <a:gd name="T5" fmla="*/ 11 h 11"/>
                    <a:gd name="T6" fmla="*/ 0 60000 65536"/>
                    <a:gd name="T7" fmla="*/ 0 60000 65536"/>
                    <a:gd name="T8" fmla="*/ 0 60000 65536"/>
                    <a:gd name="T9" fmla="*/ 0 w 64"/>
                    <a:gd name="T10" fmla="*/ 0 h 11"/>
                    <a:gd name="T11" fmla="*/ 64 w 64"/>
                    <a:gd name="T12" fmla="*/ 11 h 1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64" h="11">
                      <a:moveTo>
                        <a:pt x="64" y="0"/>
                      </a:moveTo>
                      <a:lnTo>
                        <a:pt x="32" y="6"/>
                      </a:lnTo>
                      <a:lnTo>
                        <a:pt x="0" y="11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07" name="Freeform 627"/>
                <p:cNvSpPr>
                  <a:spLocks/>
                </p:cNvSpPr>
                <p:nvPr/>
              </p:nvSpPr>
              <p:spPr bwMode="auto">
                <a:xfrm>
                  <a:off x="3262" y="2225"/>
                  <a:ext cx="64" cy="16"/>
                </a:xfrm>
                <a:custGeom>
                  <a:avLst/>
                  <a:gdLst>
                    <a:gd name="T0" fmla="*/ 64 w 64"/>
                    <a:gd name="T1" fmla="*/ 0 h 16"/>
                    <a:gd name="T2" fmla="*/ 32 w 64"/>
                    <a:gd name="T3" fmla="*/ 6 h 16"/>
                    <a:gd name="T4" fmla="*/ 0 w 64"/>
                    <a:gd name="T5" fmla="*/ 16 h 16"/>
                    <a:gd name="T6" fmla="*/ 0 60000 65536"/>
                    <a:gd name="T7" fmla="*/ 0 60000 65536"/>
                    <a:gd name="T8" fmla="*/ 0 60000 65536"/>
                    <a:gd name="T9" fmla="*/ 0 w 64"/>
                    <a:gd name="T10" fmla="*/ 0 h 16"/>
                    <a:gd name="T11" fmla="*/ 64 w 64"/>
                    <a:gd name="T12" fmla="*/ 16 h 1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64" h="16">
                      <a:moveTo>
                        <a:pt x="64" y="0"/>
                      </a:moveTo>
                      <a:lnTo>
                        <a:pt x="32" y="6"/>
                      </a:lnTo>
                      <a:lnTo>
                        <a:pt x="0" y="16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08" name="Line 628"/>
                <p:cNvSpPr>
                  <a:spLocks noChangeShapeType="1"/>
                </p:cNvSpPr>
                <p:nvPr/>
              </p:nvSpPr>
              <p:spPr bwMode="auto">
                <a:xfrm flipH="1">
                  <a:off x="3262" y="2231"/>
                  <a:ext cx="64" cy="16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09" name="Freeform 629"/>
                <p:cNvSpPr>
                  <a:spLocks/>
                </p:cNvSpPr>
                <p:nvPr/>
              </p:nvSpPr>
              <p:spPr bwMode="auto">
                <a:xfrm>
                  <a:off x="3262" y="2236"/>
                  <a:ext cx="64" cy="11"/>
                </a:xfrm>
                <a:custGeom>
                  <a:avLst/>
                  <a:gdLst>
                    <a:gd name="T0" fmla="*/ 64 w 64"/>
                    <a:gd name="T1" fmla="*/ 0 h 11"/>
                    <a:gd name="T2" fmla="*/ 32 w 64"/>
                    <a:gd name="T3" fmla="*/ 5 h 11"/>
                    <a:gd name="T4" fmla="*/ 0 w 64"/>
                    <a:gd name="T5" fmla="*/ 11 h 11"/>
                    <a:gd name="T6" fmla="*/ 0 60000 65536"/>
                    <a:gd name="T7" fmla="*/ 0 60000 65536"/>
                    <a:gd name="T8" fmla="*/ 0 60000 65536"/>
                    <a:gd name="T9" fmla="*/ 0 w 64"/>
                    <a:gd name="T10" fmla="*/ 0 h 11"/>
                    <a:gd name="T11" fmla="*/ 64 w 64"/>
                    <a:gd name="T12" fmla="*/ 11 h 1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64" h="11">
                      <a:moveTo>
                        <a:pt x="64" y="0"/>
                      </a:moveTo>
                      <a:lnTo>
                        <a:pt x="32" y="5"/>
                      </a:lnTo>
                      <a:lnTo>
                        <a:pt x="0" y="11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10" name="Freeform 630"/>
                <p:cNvSpPr>
                  <a:spLocks/>
                </p:cNvSpPr>
                <p:nvPr/>
              </p:nvSpPr>
              <p:spPr bwMode="auto">
                <a:xfrm>
                  <a:off x="3262" y="2220"/>
                  <a:ext cx="64" cy="11"/>
                </a:xfrm>
                <a:custGeom>
                  <a:avLst/>
                  <a:gdLst>
                    <a:gd name="T0" fmla="*/ 0 w 64"/>
                    <a:gd name="T1" fmla="*/ 11 h 11"/>
                    <a:gd name="T2" fmla="*/ 32 w 64"/>
                    <a:gd name="T3" fmla="*/ 5 h 11"/>
                    <a:gd name="T4" fmla="*/ 64 w 64"/>
                    <a:gd name="T5" fmla="*/ 0 h 11"/>
                    <a:gd name="T6" fmla="*/ 0 60000 65536"/>
                    <a:gd name="T7" fmla="*/ 0 60000 65536"/>
                    <a:gd name="T8" fmla="*/ 0 60000 65536"/>
                    <a:gd name="T9" fmla="*/ 0 w 64"/>
                    <a:gd name="T10" fmla="*/ 0 h 11"/>
                    <a:gd name="T11" fmla="*/ 64 w 64"/>
                    <a:gd name="T12" fmla="*/ 11 h 1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64" h="11">
                      <a:moveTo>
                        <a:pt x="0" y="11"/>
                      </a:moveTo>
                      <a:lnTo>
                        <a:pt x="32" y="5"/>
                      </a:lnTo>
                      <a:lnTo>
                        <a:pt x="64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11" name="Line 631"/>
                <p:cNvSpPr>
                  <a:spLocks noChangeShapeType="1"/>
                </p:cNvSpPr>
                <p:nvPr/>
              </p:nvSpPr>
              <p:spPr bwMode="auto">
                <a:xfrm>
                  <a:off x="3299" y="2225"/>
                  <a:ext cx="1" cy="1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12" name="Line 632"/>
                <p:cNvSpPr>
                  <a:spLocks noChangeShapeType="1"/>
                </p:cNvSpPr>
                <p:nvPr/>
              </p:nvSpPr>
              <p:spPr bwMode="auto">
                <a:xfrm>
                  <a:off x="3299" y="2225"/>
                  <a:ext cx="1" cy="1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13" name="Line 633"/>
                <p:cNvSpPr>
                  <a:spLocks noChangeShapeType="1"/>
                </p:cNvSpPr>
                <p:nvPr/>
              </p:nvSpPr>
              <p:spPr bwMode="auto">
                <a:xfrm>
                  <a:off x="3299" y="2231"/>
                  <a:ext cx="1" cy="5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14" name="Line 634"/>
                <p:cNvSpPr>
                  <a:spLocks noChangeShapeType="1"/>
                </p:cNvSpPr>
                <p:nvPr/>
              </p:nvSpPr>
              <p:spPr bwMode="auto">
                <a:xfrm>
                  <a:off x="3299" y="2231"/>
                  <a:ext cx="1" cy="5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15" name="Line 635"/>
                <p:cNvSpPr>
                  <a:spLocks noChangeShapeType="1"/>
                </p:cNvSpPr>
                <p:nvPr/>
              </p:nvSpPr>
              <p:spPr bwMode="auto">
                <a:xfrm>
                  <a:off x="3299" y="2236"/>
                  <a:ext cx="1" cy="5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16" name="Line 636"/>
                <p:cNvSpPr>
                  <a:spLocks noChangeShapeType="1"/>
                </p:cNvSpPr>
                <p:nvPr/>
              </p:nvSpPr>
              <p:spPr bwMode="auto">
                <a:xfrm>
                  <a:off x="3299" y="2236"/>
                  <a:ext cx="1" cy="5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17" name="Freeform 637"/>
                <p:cNvSpPr>
                  <a:spLocks/>
                </p:cNvSpPr>
                <p:nvPr/>
              </p:nvSpPr>
              <p:spPr bwMode="auto">
                <a:xfrm>
                  <a:off x="3224" y="2231"/>
                  <a:ext cx="145" cy="48"/>
                </a:xfrm>
                <a:custGeom>
                  <a:avLst/>
                  <a:gdLst>
                    <a:gd name="T0" fmla="*/ 0 w 145"/>
                    <a:gd name="T1" fmla="*/ 37 h 48"/>
                    <a:gd name="T2" fmla="*/ 70 w 145"/>
                    <a:gd name="T3" fmla="*/ 21 h 48"/>
                    <a:gd name="T4" fmla="*/ 145 w 145"/>
                    <a:gd name="T5" fmla="*/ 0 h 48"/>
                    <a:gd name="T6" fmla="*/ 145 w 145"/>
                    <a:gd name="T7" fmla="*/ 16 h 48"/>
                    <a:gd name="T8" fmla="*/ 70 w 145"/>
                    <a:gd name="T9" fmla="*/ 32 h 48"/>
                    <a:gd name="T10" fmla="*/ 0 w 145"/>
                    <a:gd name="T11" fmla="*/ 48 h 48"/>
                    <a:gd name="T12" fmla="*/ 0 w 145"/>
                    <a:gd name="T13" fmla="*/ 37 h 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45"/>
                    <a:gd name="T22" fmla="*/ 0 h 48"/>
                    <a:gd name="T23" fmla="*/ 145 w 145"/>
                    <a:gd name="T24" fmla="*/ 48 h 4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45" h="48">
                      <a:moveTo>
                        <a:pt x="0" y="37"/>
                      </a:moveTo>
                      <a:lnTo>
                        <a:pt x="70" y="21"/>
                      </a:lnTo>
                      <a:lnTo>
                        <a:pt x="145" y="0"/>
                      </a:lnTo>
                      <a:lnTo>
                        <a:pt x="145" y="16"/>
                      </a:lnTo>
                      <a:lnTo>
                        <a:pt x="70" y="32"/>
                      </a:lnTo>
                      <a:lnTo>
                        <a:pt x="0" y="48"/>
                      </a:lnTo>
                      <a:lnTo>
                        <a:pt x="0" y="37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18" name="Freeform 638"/>
                <p:cNvSpPr>
                  <a:spLocks/>
                </p:cNvSpPr>
                <p:nvPr/>
              </p:nvSpPr>
              <p:spPr bwMode="auto">
                <a:xfrm>
                  <a:off x="3224" y="2252"/>
                  <a:ext cx="145" cy="43"/>
                </a:xfrm>
                <a:custGeom>
                  <a:avLst/>
                  <a:gdLst>
                    <a:gd name="T0" fmla="*/ 0 w 145"/>
                    <a:gd name="T1" fmla="*/ 32 h 43"/>
                    <a:gd name="T2" fmla="*/ 70 w 145"/>
                    <a:gd name="T3" fmla="*/ 16 h 43"/>
                    <a:gd name="T4" fmla="*/ 145 w 145"/>
                    <a:gd name="T5" fmla="*/ 0 h 43"/>
                    <a:gd name="T6" fmla="*/ 145 w 145"/>
                    <a:gd name="T7" fmla="*/ 6 h 43"/>
                    <a:gd name="T8" fmla="*/ 70 w 145"/>
                    <a:gd name="T9" fmla="*/ 22 h 43"/>
                    <a:gd name="T10" fmla="*/ 0 w 145"/>
                    <a:gd name="T11" fmla="*/ 43 h 43"/>
                    <a:gd name="T12" fmla="*/ 0 w 145"/>
                    <a:gd name="T13" fmla="*/ 32 h 4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45"/>
                    <a:gd name="T22" fmla="*/ 0 h 43"/>
                    <a:gd name="T23" fmla="*/ 145 w 145"/>
                    <a:gd name="T24" fmla="*/ 43 h 4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45" h="43">
                      <a:moveTo>
                        <a:pt x="0" y="32"/>
                      </a:moveTo>
                      <a:lnTo>
                        <a:pt x="70" y="16"/>
                      </a:lnTo>
                      <a:lnTo>
                        <a:pt x="145" y="0"/>
                      </a:lnTo>
                      <a:lnTo>
                        <a:pt x="145" y="6"/>
                      </a:lnTo>
                      <a:lnTo>
                        <a:pt x="70" y="22"/>
                      </a:lnTo>
                      <a:lnTo>
                        <a:pt x="0" y="43"/>
                      </a:lnTo>
                      <a:lnTo>
                        <a:pt x="0" y="32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19" name="Freeform 639"/>
                <p:cNvSpPr>
                  <a:spLocks/>
                </p:cNvSpPr>
                <p:nvPr/>
              </p:nvSpPr>
              <p:spPr bwMode="auto">
                <a:xfrm>
                  <a:off x="3213" y="2177"/>
                  <a:ext cx="172" cy="123"/>
                </a:xfrm>
                <a:custGeom>
                  <a:avLst/>
                  <a:gdLst>
                    <a:gd name="T0" fmla="*/ 167 w 172"/>
                    <a:gd name="T1" fmla="*/ 0 h 123"/>
                    <a:gd name="T2" fmla="*/ 167 w 172"/>
                    <a:gd name="T3" fmla="*/ 0 h 123"/>
                    <a:gd name="T4" fmla="*/ 167 w 172"/>
                    <a:gd name="T5" fmla="*/ 38 h 123"/>
                    <a:gd name="T6" fmla="*/ 172 w 172"/>
                    <a:gd name="T7" fmla="*/ 86 h 123"/>
                    <a:gd name="T8" fmla="*/ 167 w 172"/>
                    <a:gd name="T9" fmla="*/ 86 h 123"/>
                    <a:gd name="T10" fmla="*/ 81 w 172"/>
                    <a:gd name="T11" fmla="*/ 107 h 123"/>
                    <a:gd name="T12" fmla="*/ 0 w 172"/>
                    <a:gd name="T13" fmla="*/ 123 h 12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72"/>
                    <a:gd name="T22" fmla="*/ 0 h 123"/>
                    <a:gd name="T23" fmla="*/ 172 w 172"/>
                    <a:gd name="T24" fmla="*/ 123 h 12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72" h="123">
                      <a:moveTo>
                        <a:pt x="167" y="0"/>
                      </a:moveTo>
                      <a:lnTo>
                        <a:pt x="167" y="0"/>
                      </a:lnTo>
                      <a:lnTo>
                        <a:pt x="167" y="38"/>
                      </a:lnTo>
                      <a:lnTo>
                        <a:pt x="172" y="86"/>
                      </a:lnTo>
                      <a:lnTo>
                        <a:pt x="167" y="86"/>
                      </a:lnTo>
                      <a:lnTo>
                        <a:pt x="81" y="107"/>
                      </a:lnTo>
                      <a:lnTo>
                        <a:pt x="0" y="123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20" name="Freeform 640"/>
                <p:cNvSpPr>
                  <a:spLocks/>
                </p:cNvSpPr>
                <p:nvPr/>
              </p:nvSpPr>
              <p:spPr bwMode="auto">
                <a:xfrm>
                  <a:off x="3380" y="2183"/>
                  <a:ext cx="1" cy="80"/>
                </a:xfrm>
                <a:custGeom>
                  <a:avLst/>
                  <a:gdLst>
                    <a:gd name="T0" fmla="*/ 0 w 1"/>
                    <a:gd name="T1" fmla="*/ 0 h 80"/>
                    <a:gd name="T2" fmla="*/ 0 w 1"/>
                    <a:gd name="T3" fmla="*/ 37 h 80"/>
                    <a:gd name="T4" fmla="*/ 0 w 1"/>
                    <a:gd name="T5" fmla="*/ 80 h 80"/>
                    <a:gd name="T6" fmla="*/ 0 60000 65536"/>
                    <a:gd name="T7" fmla="*/ 0 60000 65536"/>
                    <a:gd name="T8" fmla="*/ 0 60000 65536"/>
                    <a:gd name="T9" fmla="*/ 0 w 1"/>
                    <a:gd name="T10" fmla="*/ 0 h 80"/>
                    <a:gd name="T11" fmla="*/ 1 w 1"/>
                    <a:gd name="T12" fmla="*/ 80 h 80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" h="80">
                      <a:moveTo>
                        <a:pt x="0" y="0"/>
                      </a:moveTo>
                      <a:lnTo>
                        <a:pt x="0" y="37"/>
                      </a:lnTo>
                      <a:lnTo>
                        <a:pt x="0" y="8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21" name="Freeform 641"/>
                <p:cNvSpPr>
                  <a:spLocks/>
                </p:cNvSpPr>
                <p:nvPr/>
              </p:nvSpPr>
              <p:spPr bwMode="auto">
                <a:xfrm>
                  <a:off x="3181" y="2263"/>
                  <a:ext cx="204" cy="48"/>
                </a:xfrm>
                <a:custGeom>
                  <a:avLst/>
                  <a:gdLst>
                    <a:gd name="T0" fmla="*/ 0 w 204"/>
                    <a:gd name="T1" fmla="*/ 43 h 48"/>
                    <a:gd name="T2" fmla="*/ 0 w 204"/>
                    <a:gd name="T3" fmla="*/ 43 h 48"/>
                    <a:gd name="T4" fmla="*/ 0 w 204"/>
                    <a:gd name="T5" fmla="*/ 48 h 48"/>
                    <a:gd name="T6" fmla="*/ 11 w 204"/>
                    <a:gd name="T7" fmla="*/ 48 h 48"/>
                    <a:gd name="T8" fmla="*/ 27 w 204"/>
                    <a:gd name="T9" fmla="*/ 48 h 48"/>
                    <a:gd name="T10" fmla="*/ 113 w 204"/>
                    <a:gd name="T11" fmla="*/ 27 h 48"/>
                    <a:gd name="T12" fmla="*/ 199 w 204"/>
                    <a:gd name="T13" fmla="*/ 11 h 48"/>
                    <a:gd name="T14" fmla="*/ 199 w 204"/>
                    <a:gd name="T15" fmla="*/ 5 h 48"/>
                    <a:gd name="T16" fmla="*/ 204 w 204"/>
                    <a:gd name="T17" fmla="*/ 5 h 48"/>
                    <a:gd name="T18" fmla="*/ 199 w 204"/>
                    <a:gd name="T19" fmla="*/ 0 h 48"/>
                    <a:gd name="T20" fmla="*/ 199 w 204"/>
                    <a:gd name="T21" fmla="*/ 0 h 4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204"/>
                    <a:gd name="T34" fmla="*/ 0 h 48"/>
                    <a:gd name="T35" fmla="*/ 204 w 204"/>
                    <a:gd name="T36" fmla="*/ 48 h 4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204" h="48">
                      <a:moveTo>
                        <a:pt x="0" y="43"/>
                      </a:moveTo>
                      <a:lnTo>
                        <a:pt x="0" y="43"/>
                      </a:lnTo>
                      <a:lnTo>
                        <a:pt x="0" y="48"/>
                      </a:lnTo>
                      <a:lnTo>
                        <a:pt x="11" y="48"/>
                      </a:lnTo>
                      <a:lnTo>
                        <a:pt x="27" y="48"/>
                      </a:lnTo>
                      <a:lnTo>
                        <a:pt x="113" y="27"/>
                      </a:lnTo>
                      <a:lnTo>
                        <a:pt x="199" y="11"/>
                      </a:lnTo>
                      <a:lnTo>
                        <a:pt x="199" y="5"/>
                      </a:lnTo>
                      <a:lnTo>
                        <a:pt x="204" y="5"/>
                      </a:lnTo>
                      <a:lnTo>
                        <a:pt x="199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22" name="Freeform 642"/>
                <p:cNvSpPr>
                  <a:spLocks/>
                </p:cNvSpPr>
                <p:nvPr/>
              </p:nvSpPr>
              <p:spPr bwMode="auto">
                <a:xfrm>
                  <a:off x="3219" y="2274"/>
                  <a:ext cx="150" cy="37"/>
                </a:xfrm>
                <a:custGeom>
                  <a:avLst/>
                  <a:gdLst>
                    <a:gd name="T0" fmla="*/ 150 w 150"/>
                    <a:gd name="T1" fmla="*/ 0 h 37"/>
                    <a:gd name="T2" fmla="*/ 128 w 150"/>
                    <a:gd name="T3" fmla="*/ 5 h 37"/>
                    <a:gd name="T4" fmla="*/ 128 w 150"/>
                    <a:gd name="T5" fmla="*/ 5 h 37"/>
                    <a:gd name="T6" fmla="*/ 107 w 150"/>
                    <a:gd name="T7" fmla="*/ 10 h 37"/>
                    <a:gd name="T8" fmla="*/ 107 w 150"/>
                    <a:gd name="T9" fmla="*/ 10 h 37"/>
                    <a:gd name="T10" fmla="*/ 48 w 150"/>
                    <a:gd name="T11" fmla="*/ 26 h 37"/>
                    <a:gd name="T12" fmla="*/ 48 w 150"/>
                    <a:gd name="T13" fmla="*/ 21 h 37"/>
                    <a:gd name="T14" fmla="*/ 27 w 150"/>
                    <a:gd name="T15" fmla="*/ 26 h 37"/>
                    <a:gd name="T16" fmla="*/ 27 w 150"/>
                    <a:gd name="T17" fmla="*/ 32 h 37"/>
                    <a:gd name="T18" fmla="*/ 0 w 150"/>
                    <a:gd name="T19" fmla="*/ 37 h 37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50"/>
                    <a:gd name="T31" fmla="*/ 0 h 37"/>
                    <a:gd name="T32" fmla="*/ 150 w 150"/>
                    <a:gd name="T33" fmla="*/ 37 h 37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50" h="37">
                      <a:moveTo>
                        <a:pt x="150" y="0"/>
                      </a:moveTo>
                      <a:lnTo>
                        <a:pt x="128" y="5"/>
                      </a:lnTo>
                      <a:lnTo>
                        <a:pt x="107" y="10"/>
                      </a:lnTo>
                      <a:lnTo>
                        <a:pt x="48" y="26"/>
                      </a:lnTo>
                      <a:lnTo>
                        <a:pt x="48" y="21"/>
                      </a:lnTo>
                      <a:lnTo>
                        <a:pt x="27" y="26"/>
                      </a:lnTo>
                      <a:lnTo>
                        <a:pt x="27" y="32"/>
                      </a:lnTo>
                      <a:lnTo>
                        <a:pt x="0" y="37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23" name="Freeform 643"/>
                <p:cNvSpPr>
                  <a:spLocks/>
                </p:cNvSpPr>
                <p:nvPr/>
              </p:nvSpPr>
              <p:spPr bwMode="auto">
                <a:xfrm>
                  <a:off x="3203" y="2268"/>
                  <a:ext cx="182" cy="86"/>
                </a:xfrm>
                <a:custGeom>
                  <a:avLst/>
                  <a:gdLst>
                    <a:gd name="T0" fmla="*/ 182 w 182"/>
                    <a:gd name="T1" fmla="*/ 0 h 86"/>
                    <a:gd name="T2" fmla="*/ 182 w 182"/>
                    <a:gd name="T3" fmla="*/ 32 h 86"/>
                    <a:gd name="T4" fmla="*/ 182 w 182"/>
                    <a:gd name="T5" fmla="*/ 38 h 86"/>
                    <a:gd name="T6" fmla="*/ 182 w 182"/>
                    <a:gd name="T7" fmla="*/ 43 h 86"/>
                    <a:gd name="T8" fmla="*/ 91 w 182"/>
                    <a:gd name="T9" fmla="*/ 64 h 86"/>
                    <a:gd name="T10" fmla="*/ 0 w 182"/>
                    <a:gd name="T11" fmla="*/ 86 h 8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82"/>
                    <a:gd name="T19" fmla="*/ 0 h 86"/>
                    <a:gd name="T20" fmla="*/ 182 w 182"/>
                    <a:gd name="T21" fmla="*/ 86 h 8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82" h="86">
                      <a:moveTo>
                        <a:pt x="182" y="0"/>
                      </a:moveTo>
                      <a:lnTo>
                        <a:pt x="182" y="32"/>
                      </a:lnTo>
                      <a:lnTo>
                        <a:pt x="182" y="38"/>
                      </a:lnTo>
                      <a:lnTo>
                        <a:pt x="182" y="43"/>
                      </a:lnTo>
                      <a:lnTo>
                        <a:pt x="91" y="64"/>
                      </a:lnTo>
                      <a:lnTo>
                        <a:pt x="0" y="86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24" name="Freeform 644"/>
                <p:cNvSpPr>
                  <a:spLocks/>
                </p:cNvSpPr>
                <p:nvPr/>
              </p:nvSpPr>
              <p:spPr bwMode="auto">
                <a:xfrm>
                  <a:off x="3181" y="2311"/>
                  <a:ext cx="22" cy="43"/>
                </a:xfrm>
                <a:custGeom>
                  <a:avLst/>
                  <a:gdLst>
                    <a:gd name="T0" fmla="*/ 0 w 22"/>
                    <a:gd name="T1" fmla="*/ 0 h 43"/>
                    <a:gd name="T2" fmla="*/ 0 w 22"/>
                    <a:gd name="T3" fmla="*/ 43 h 43"/>
                    <a:gd name="T4" fmla="*/ 6 w 22"/>
                    <a:gd name="T5" fmla="*/ 43 h 43"/>
                    <a:gd name="T6" fmla="*/ 22 w 22"/>
                    <a:gd name="T7" fmla="*/ 43 h 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2"/>
                    <a:gd name="T13" fmla="*/ 0 h 43"/>
                    <a:gd name="T14" fmla="*/ 22 w 22"/>
                    <a:gd name="T15" fmla="*/ 43 h 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2" h="43">
                      <a:moveTo>
                        <a:pt x="0" y="0"/>
                      </a:moveTo>
                      <a:lnTo>
                        <a:pt x="0" y="43"/>
                      </a:lnTo>
                      <a:lnTo>
                        <a:pt x="6" y="43"/>
                      </a:lnTo>
                      <a:lnTo>
                        <a:pt x="22" y="43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25" name="Freeform 645"/>
                <p:cNvSpPr>
                  <a:spLocks/>
                </p:cNvSpPr>
                <p:nvPr/>
              </p:nvSpPr>
              <p:spPr bwMode="auto">
                <a:xfrm>
                  <a:off x="3181" y="2300"/>
                  <a:ext cx="204" cy="48"/>
                </a:xfrm>
                <a:custGeom>
                  <a:avLst/>
                  <a:gdLst>
                    <a:gd name="T0" fmla="*/ 0 w 204"/>
                    <a:gd name="T1" fmla="*/ 43 h 48"/>
                    <a:gd name="T2" fmla="*/ 11 w 204"/>
                    <a:gd name="T3" fmla="*/ 43 h 48"/>
                    <a:gd name="T4" fmla="*/ 22 w 204"/>
                    <a:gd name="T5" fmla="*/ 48 h 48"/>
                    <a:gd name="T6" fmla="*/ 113 w 204"/>
                    <a:gd name="T7" fmla="*/ 27 h 48"/>
                    <a:gd name="T8" fmla="*/ 204 w 204"/>
                    <a:gd name="T9" fmla="*/ 6 h 48"/>
                    <a:gd name="T10" fmla="*/ 204 w 204"/>
                    <a:gd name="T11" fmla="*/ 0 h 48"/>
                    <a:gd name="T12" fmla="*/ 204 w 204"/>
                    <a:gd name="T13" fmla="*/ 0 h 4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04"/>
                    <a:gd name="T22" fmla="*/ 0 h 48"/>
                    <a:gd name="T23" fmla="*/ 204 w 204"/>
                    <a:gd name="T24" fmla="*/ 48 h 4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04" h="48">
                      <a:moveTo>
                        <a:pt x="0" y="43"/>
                      </a:moveTo>
                      <a:lnTo>
                        <a:pt x="11" y="43"/>
                      </a:lnTo>
                      <a:lnTo>
                        <a:pt x="22" y="48"/>
                      </a:lnTo>
                      <a:lnTo>
                        <a:pt x="113" y="27"/>
                      </a:lnTo>
                      <a:lnTo>
                        <a:pt x="204" y="6"/>
                      </a:lnTo>
                      <a:lnTo>
                        <a:pt x="204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26" name="Freeform 646"/>
                <p:cNvSpPr>
                  <a:spLocks/>
                </p:cNvSpPr>
                <p:nvPr/>
              </p:nvSpPr>
              <p:spPr bwMode="auto">
                <a:xfrm>
                  <a:off x="3353" y="2316"/>
                  <a:ext cx="27" cy="22"/>
                </a:xfrm>
                <a:custGeom>
                  <a:avLst/>
                  <a:gdLst>
                    <a:gd name="T0" fmla="*/ 27 w 27"/>
                    <a:gd name="T1" fmla="*/ 0 h 22"/>
                    <a:gd name="T2" fmla="*/ 0 w 27"/>
                    <a:gd name="T3" fmla="*/ 6 h 22"/>
                    <a:gd name="T4" fmla="*/ 0 w 27"/>
                    <a:gd name="T5" fmla="*/ 22 h 22"/>
                    <a:gd name="T6" fmla="*/ 0 60000 65536"/>
                    <a:gd name="T7" fmla="*/ 0 60000 65536"/>
                    <a:gd name="T8" fmla="*/ 0 60000 65536"/>
                    <a:gd name="T9" fmla="*/ 0 w 27"/>
                    <a:gd name="T10" fmla="*/ 0 h 22"/>
                    <a:gd name="T11" fmla="*/ 27 w 27"/>
                    <a:gd name="T12" fmla="*/ 22 h 22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7" h="22">
                      <a:moveTo>
                        <a:pt x="27" y="0"/>
                      </a:moveTo>
                      <a:lnTo>
                        <a:pt x="0" y="6"/>
                      </a:lnTo>
                      <a:lnTo>
                        <a:pt x="0" y="22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27" name="Freeform 647"/>
                <p:cNvSpPr>
                  <a:spLocks/>
                </p:cNvSpPr>
                <p:nvPr/>
              </p:nvSpPr>
              <p:spPr bwMode="auto">
                <a:xfrm>
                  <a:off x="3353" y="2316"/>
                  <a:ext cx="27" cy="22"/>
                </a:xfrm>
                <a:custGeom>
                  <a:avLst/>
                  <a:gdLst>
                    <a:gd name="T0" fmla="*/ 27 w 27"/>
                    <a:gd name="T1" fmla="*/ 0 h 22"/>
                    <a:gd name="T2" fmla="*/ 21 w 27"/>
                    <a:gd name="T3" fmla="*/ 6 h 22"/>
                    <a:gd name="T4" fmla="*/ 21 w 27"/>
                    <a:gd name="T5" fmla="*/ 11 h 22"/>
                    <a:gd name="T6" fmla="*/ 10 w 27"/>
                    <a:gd name="T7" fmla="*/ 16 h 22"/>
                    <a:gd name="T8" fmla="*/ 0 w 27"/>
                    <a:gd name="T9" fmla="*/ 22 h 2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22"/>
                    <a:gd name="T17" fmla="*/ 27 w 27"/>
                    <a:gd name="T18" fmla="*/ 22 h 2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22">
                      <a:moveTo>
                        <a:pt x="27" y="0"/>
                      </a:moveTo>
                      <a:lnTo>
                        <a:pt x="21" y="6"/>
                      </a:lnTo>
                      <a:lnTo>
                        <a:pt x="21" y="11"/>
                      </a:lnTo>
                      <a:lnTo>
                        <a:pt x="10" y="16"/>
                      </a:lnTo>
                      <a:lnTo>
                        <a:pt x="0" y="22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28" name="Freeform 648"/>
                <p:cNvSpPr>
                  <a:spLocks/>
                </p:cNvSpPr>
                <p:nvPr/>
              </p:nvSpPr>
              <p:spPr bwMode="auto">
                <a:xfrm>
                  <a:off x="3353" y="2316"/>
                  <a:ext cx="21" cy="16"/>
                </a:xfrm>
                <a:custGeom>
                  <a:avLst/>
                  <a:gdLst>
                    <a:gd name="T0" fmla="*/ 21 w 21"/>
                    <a:gd name="T1" fmla="*/ 0 h 16"/>
                    <a:gd name="T2" fmla="*/ 21 w 21"/>
                    <a:gd name="T3" fmla="*/ 11 h 16"/>
                    <a:gd name="T4" fmla="*/ 0 w 21"/>
                    <a:gd name="T5" fmla="*/ 16 h 16"/>
                    <a:gd name="T6" fmla="*/ 0 60000 65536"/>
                    <a:gd name="T7" fmla="*/ 0 60000 65536"/>
                    <a:gd name="T8" fmla="*/ 0 60000 65536"/>
                    <a:gd name="T9" fmla="*/ 0 w 21"/>
                    <a:gd name="T10" fmla="*/ 0 h 16"/>
                    <a:gd name="T11" fmla="*/ 21 w 21"/>
                    <a:gd name="T12" fmla="*/ 16 h 1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1" h="16">
                      <a:moveTo>
                        <a:pt x="21" y="0"/>
                      </a:moveTo>
                      <a:lnTo>
                        <a:pt x="21" y="11"/>
                      </a:lnTo>
                      <a:lnTo>
                        <a:pt x="0" y="16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29" name="Freeform 649"/>
                <p:cNvSpPr>
                  <a:spLocks/>
                </p:cNvSpPr>
                <p:nvPr/>
              </p:nvSpPr>
              <p:spPr bwMode="auto">
                <a:xfrm>
                  <a:off x="3203" y="2354"/>
                  <a:ext cx="27" cy="16"/>
                </a:xfrm>
                <a:custGeom>
                  <a:avLst/>
                  <a:gdLst>
                    <a:gd name="T0" fmla="*/ 0 w 27"/>
                    <a:gd name="T1" fmla="*/ 16 h 16"/>
                    <a:gd name="T2" fmla="*/ 0 w 27"/>
                    <a:gd name="T3" fmla="*/ 10 h 16"/>
                    <a:gd name="T4" fmla="*/ 0 w 27"/>
                    <a:gd name="T5" fmla="*/ 5 h 16"/>
                    <a:gd name="T6" fmla="*/ 27 w 27"/>
                    <a:gd name="T7" fmla="*/ 0 h 1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7"/>
                    <a:gd name="T13" fmla="*/ 0 h 16"/>
                    <a:gd name="T14" fmla="*/ 27 w 27"/>
                    <a:gd name="T15" fmla="*/ 16 h 1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7" h="16">
                      <a:moveTo>
                        <a:pt x="0" y="16"/>
                      </a:moveTo>
                      <a:lnTo>
                        <a:pt x="0" y="10"/>
                      </a:lnTo>
                      <a:lnTo>
                        <a:pt x="0" y="5"/>
                      </a:lnTo>
                      <a:lnTo>
                        <a:pt x="27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30" name="Freeform 650"/>
                <p:cNvSpPr>
                  <a:spLocks/>
                </p:cNvSpPr>
                <p:nvPr/>
              </p:nvSpPr>
              <p:spPr bwMode="auto">
                <a:xfrm>
                  <a:off x="3208" y="2354"/>
                  <a:ext cx="22" cy="16"/>
                </a:xfrm>
                <a:custGeom>
                  <a:avLst/>
                  <a:gdLst>
                    <a:gd name="T0" fmla="*/ 22 w 22"/>
                    <a:gd name="T1" fmla="*/ 0 h 16"/>
                    <a:gd name="T2" fmla="*/ 22 w 22"/>
                    <a:gd name="T3" fmla="*/ 10 h 16"/>
                    <a:gd name="T4" fmla="*/ 0 w 22"/>
                    <a:gd name="T5" fmla="*/ 16 h 16"/>
                    <a:gd name="T6" fmla="*/ 0 60000 65536"/>
                    <a:gd name="T7" fmla="*/ 0 60000 65536"/>
                    <a:gd name="T8" fmla="*/ 0 60000 65536"/>
                    <a:gd name="T9" fmla="*/ 0 w 22"/>
                    <a:gd name="T10" fmla="*/ 0 h 16"/>
                    <a:gd name="T11" fmla="*/ 22 w 22"/>
                    <a:gd name="T12" fmla="*/ 16 h 1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2" h="16">
                      <a:moveTo>
                        <a:pt x="22" y="0"/>
                      </a:moveTo>
                      <a:lnTo>
                        <a:pt x="22" y="10"/>
                      </a:lnTo>
                      <a:lnTo>
                        <a:pt x="0" y="16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31" name="Freeform 651"/>
                <p:cNvSpPr>
                  <a:spLocks/>
                </p:cNvSpPr>
                <p:nvPr/>
              </p:nvSpPr>
              <p:spPr bwMode="auto">
                <a:xfrm>
                  <a:off x="3203" y="2354"/>
                  <a:ext cx="27" cy="16"/>
                </a:xfrm>
                <a:custGeom>
                  <a:avLst/>
                  <a:gdLst>
                    <a:gd name="T0" fmla="*/ 27 w 27"/>
                    <a:gd name="T1" fmla="*/ 0 h 16"/>
                    <a:gd name="T2" fmla="*/ 27 w 27"/>
                    <a:gd name="T3" fmla="*/ 10 h 16"/>
                    <a:gd name="T4" fmla="*/ 0 w 27"/>
                    <a:gd name="T5" fmla="*/ 16 h 16"/>
                    <a:gd name="T6" fmla="*/ 0 60000 65536"/>
                    <a:gd name="T7" fmla="*/ 0 60000 65536"/>
                    <a:gd name="T8" fmla="*/ 0 60000 65536"/>
                    <a:gd name="T9" fmla="*/ 0 w 27"/>
                    <a:gd name="T10" fmla="*/ 0 h 16"/>
                    <a:gd name="T11" fmla="*/ 27 w 27"/>
                    <a:gd name="T12" fmla="*/ 16 h 1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7" h="16">
                      <a:moveTo>
                        <a:pt x="27" y="0"/>
                      </a:moveTo>
                      <a:lnTo>
                        <a:pt x="27" y="10"/>
                      </a:lnTo>
                      <a:lnTo>
                        <a:pt x="0" y="16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32" name="Freeform 652"/>
                <p:cNvSpPr>
                  <a:spLocks/>
                </p:cNvSpPr>
                <p:nvPr/>
              </p:nvSpPr>
              <p:spPr bwMode="auto">
                <a:xfrm>
                  <a:off x="3149" y="2300"/>
                  <a:ext cx="27" cy="11"/>
                </a:xfrm>
                <a:custGeom>
                  <a:avLst/>
                  <a:gdLst>
                    <a:gd name="T0" fmla="*/ 27 w 27"/>
                    <a:gd name="T1" fmla="*/ 11 h 11"/>
                    <a:gd name="T2" fmla="*/ 0 w 27"/>
                    <a:gd name="T3" fmla="*/ 6 h 11"/>
                    <a:gd name="T4" fmla="*/ 27 w 27"/>
                    <a:gd name="T5" fmla="*/ 0 h 11"/>
                    <a:gd name="T6" fmla="*/ 0 60000 65536"/>
                    <a:gd name="T7" fmla="*/ 0 60000 65536"/>
                    <a:gd name="T8" fmla="*/ 0 60000 65536"/>
                    <a:gd name="T9" fmla="*/ 0 w 27"/>
                    <a:gd name="T10" fmla="*/ 0 h 11"/>
                    <a:gd name="T11" fmla="*/ 27 w 27"/>
                    <a:gd name="T12" fmla="*/ 11 h 1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7" h="11">
                      <a:moveTo>
                        <a:pt x="27" y="11"/>
                      </a:moveTo>
                      <a:lnTo>
                        <a:pt x="0" y="6"/>
                      </a:lnTo>
                      <a:lnTo>
                        <a:pt x="27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33" name="Line 653"/>
                <p:cNvSpPr>
                  <a:spLocks noChangeShapeType="1"/>
                </p:cNvSpPr>
                <p:nvPr/>
              </p:nvSpPr>
              <p:spPr bwMode="auto">
                <a:xfrm>
                  <a:off x="3149" y="2306"/>
                  <a:ext cx="6" cy="5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34" name="Line 654"/>
                <p:cNvSpPr>
                  <a:spLocks noChangeShapeType="1"/>
                </p:cNvSpPr>
                <p:nvPr/>
              </p:nvSpPr>
              <p:spPr bwMode="auto">
                <a:xfrm>
                  <a:off x="3155" y="2311"/>
                  <a:ext cx="26" cy="11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35" name="Freeform 655"/>
                <p:cNvSpPr>
                  <a:spLocks/>
                </p:cNvSpPr>
                <p:nvPr/>
              </p:nvSpPr>
              <p:spPr bwMode="auto">
                <a:xfrm>
                  <a:off x="3155" y="2327"/>
                  <a:ext cx="21" cy="16"/>
                </a:xfrm>
                <a:custGeom>
                  <a:avLst/>
                  <a:gdLst>
                    <a:gd name="T0" fmla="*/ 21 w 21"/>
                    <a:gd name="T1" fmla="*/ 16 h 16"/>
                    <a:gd name="T2" fmla="*/ 0 w 21"/>
                    <a:gd name="T3" fmla="*/ 5 h 16"/>
                    <a:gd name="T4" fmla="*/ 21 w 21"/>
                    <a:gd name="T5" fmla="*/ 0 h 16"/>
                    <a:gd name="T6" fmla="*/ 0 60000 65536"/>
                    <a:gd name="T7" fmla="*/ 0 60000 65536"/>
                    <a:gd name="T8" fmla="*/ 0 60000 65536"/>
                    <a:gd name="T9" fmla="*/ 0 w 21"/>
                    <a:gd name="T10" fmla="*/ 0 h 16"/>
                    <a:gd name="T11" fmla="*/ 21 w 21"/>
                    <a:gd name="T12" fmla="*/ 16 h 1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1" h="16">
                      <a:moveTo>
                        <a:pt x="21" y="16"/>
                      </a:moveTo>
                      <a:lnTo>
                        <a:pt x="0" y="5"/>
                      </a:lnTo>
                      <a:lnTo>
                        <a:pt x="21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36" name="Freeform 656"/>
                <p:cNvSpPr>
                  <a:spLocks/>
                </p:cNvSpPr>
                <p:nvPr/>
              </p:nvSpPr>
              <p:spPr bwMode="auto">
                <a:xfrm>
                  <a:off x="3144" y="2343"/>
                  <a:ext cx="37" cy="5"/>
                </a:xfrm>
                <a:custGeom>
                  <a:avLst/>
                  <a:gdLst>
                    <a:gd name="T0" fmla="*/ 37 w 37"/>
                    <a:gd name="T1" fmla="*/ 5 h 5"/>
                    <a:gd name="T2" fmla="*/ 11 w 37"/>
                    <a:gd name="T3" fmla="*/ 0 h 5"/>
                    <a:gd name="T4" fmla="*/ 5 w 37"/>
                    <a:gd name="T5" fmla="*/ 0 h 5"/>
                    <a:gd name="T6" fmla="*/ 0 w 37"/>
                    <a:gd name="T7" fmla="*/ 0 h 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7"/>
                    <a:gd name="T13" fmla="*/ 0 h 5"/>
                    <a:gd name="T14" fmla="*/ 37 w 37"/>
                    <a:gd name="T15" fmla="*/ 5 h 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7" h="5">
                      <a:moveTo>
                        <a:pt x="37" y="5"/>
                      </a:moveTo>
                      <a:lnTo>
                        <a:pt x="11" y="0"/>
                      </a:lnTo>
                      <a:lnTo>
                        <a:pt x="5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37" name="Freeform 657"/>
                <p:cNvSpPr>
                  <a:spLocks/>
                </p:cNvSpPr>
                <p:nvPr/>
              </p:nvSpPr>
              <p:spPr bwMode="auto">
                <a:xfrm>
                  <a:off x="3144" y="2348"/>
                  <a:ext cx="37" cy="6"/>
                </a:xfrm>
                <a:custGeom>
                  <a:avLst/>
                  <a:gdLst>
                    <a:gd name="T0" fmla="*/ 37 w 37"/>
                    <a:gd name="T1" fmla="*/ 6 h 6"/>
                    <a:gd name="T2" fmla="*/ 11 w 37"/>
                    <a:gd name="T3" fmla="*/ 0 h 6"/>
                    <a:gd name="T4" fmla="*/ 5 w 37"/>
                    <a:gd name="T5" fmla="*/ 0 h 6"/>
                    <a:gd name="T6" fmla="*/ 0 w 37"/>
                    <a:gd name="T7" fmla="*/ 0 h 6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7"/>
                    <a:gd name="T13" fmla="*/ 0 h 6"/>
                    <a:gd name="T14" fmla="*/ 37 w 37"/>
                    <a:gd name="T15" fmla="*/ 6 h 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7" h="6">
                      <a:moveTo>
                        <a:pt x="37" y="6"/>
                      </a:moveTo>
                      <a:lnTo>
                        <a:pt x="11" y="0"/>
                      </a:lnTo>
                      <a:lnTo>
                        <a:pt x="5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38" name="Line 658"/>
                <p:cNvSpPr>
                  <a:spLocks noChangeShapeType="1"/>
                </p:cNvSpPr>
                <p:nvPr/>
              </p:nvSpPr>
              <p:spPr bwMode="auto">
                <a:xfrm>
                  <a:off x="3155" y="2348"/>
                  <a:ext cx="1" cy="1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39" name="Freeform 659"/>
                <p:cNvSpPr>
                  <a:spLocks/>
                </p:cNvSpPr>
                <p:nvPr/>
              </p:nvSpPr>
              <p:spPr bwMode="auto">
                <a:xfrm>
                  <a:off x="3155" y="2348"/>
                  <a:ext cx="21" cy="27"/>
                </a:xfrm>
                <a:custGeom>
                  <a:avLst/>
                  <a:gdLst>
                    <a:gd name="T0" fmla="*/ 0 w 21"/>
                    <a:gd name="T1" fmla="*/ 0 h 27"/>
                    <a:gd name="T2" fmla="*/ 21 w 21"/>
                    <a:gd name="T3" fmla="*/ 11 h 27"/>
                    <a:gd name="T4" fmla="*/ 21 w 21"/>
                    <a:gd name="T5" fmla="*/ 27 h 27"/>
                    <a:gd name="T6" fmla="*/ 0 60000 65536"/>
                    <a:gd name="T7" fmla="*/ 0 60000 65536"/>
                    <a:gd name="T8" fmla="*/ 0 60000 65536"/>
                    <a:gd name="T9" fmla="*/ 0 w 21"/>
                    <a:gd name="T10" fmla="*/ 0 h 27"/>
                    <a:gd name="T11" fmla="*/ 21 w 21"/>
                    <a:gd name="T12" fmla="*/ 27 h 2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1" h="27">
                      <a:moveTo>
                        <a:pt x="0" y="0"/>
                      </a:moveTo>
                      <a:lnTo>
                        <a:pt x="21" y="11"/>
                      </a:lnTo>
                      <a:lnTo>
                        <a:pt x="21" y="27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40" name="Freeform 660"/>
                <p:cNvSpPr>
                  <a:spLocks/>
                </p:cNvSpPr>
                <p:nvPr/>
              </p:nvSpPr>
              <p:spPr bwMode="auto">
                <a:xfrm>
                  <a:off x="3149" y="2354"/>
                  <a:ext cx="27" cy="26"/>
                </a:xfrm>
                <a:custGeom>
                  <a:avLst/>
                  <a:gdLst>
                    <a:gd name="T0" fmla="*/ 27 w 27"/>
                    <a:gd name="T1" fmla="*/ 21 h 26"/>
                    <a:gd name="T2" fmla="*/ 22 w 27"/>
                    <a:gd name="T3" fmla="*/ 21 h 26"/>
                    <a:gd name="T4" fmla="*/ 22 w 27"/>
                    <a:gd name="T5" fmla="*/ 26 h 26"/>
                    <a:gd name="T6" fmla="*/ 0 w 27"/>
                    <a:gd name="T7" fmla="*/ 16 h 26"/>
                    <a:gd name="T8" fmla="*/ 0 w 27"/>
                    <a:gd name="T9" fmla="*/ 0 h 2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27"/>
                    <a:gd name="T16" fmla="*/ 0 h 26"/>
                    <a:gd name="T17" fmla="*/ 27 w 27"/>
                    <a:gd name="T18" fmla="*/ 26 h 2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27" h="26">
                      <a:moveTo>
                        <a:pt x="27" y="21"/>
                      </a:moveTo>
                      <a:lnTo>
                        <a:pt x="22" y="21"/>
                      </a:lnTo>
                      <a:lnTo>
                        <a:pt x="22" y="26"/>
                      </a:lnTo>
                      <a:lnTo>
                        <a:pt x="0" y="16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41" name="Freeform 661"/>
                <p:cNvSpPr>
                  <a:spLocks/>
                </p:cNvSpPr>
                <p:nvPr/>
              </p:nvSpPr>
              <p:spPr bwMode="auto">
                <a:xfrm>
                  <a:off x="3149" y="2364"/>
                  <a:ext cx="27" cy="6"/>
                </a:xfrm>
                <a:custGeom>
                  <a:avLst/>
                  <a:gdLst>
                    <a:gd name="T0" fmla="*/ 0 w 27"/>
                    <a:gd name="T1" fmla="*/ 6 h 6"/>
                    <a:gd name="T2" fmla="*/ 22 w 27"/>
                    <a:gd name="T3" fmla="*/ 0 h 6"/>
                    <a:gd name="T4" fmla="*/ 27 w 27"/>
                    <a:gd name="T5" fmla="*/ 6 h 6"/>
                    <a:gd name="T6" fmla="*/ 0 60000 65536"/>
                    <a:gd name="T7" fmla="*/ 0 60000 65536"/>
                    <a:gd name="T8" fmla="*/ 0 60000 65536"/>
                    <a:gd name="T9" fmla="*/ 0 w 27"/>
                    <a:gd name="T10" fmla="*/ 0 h 6"/>
                    <a:gd name="T11" fmla="*/ 27 w 27"/>
                    <a:gd name="T12" fmla="*/ 6 h 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7" h="6">
                      <a:moveTo>
                        <a:pt x="0" y="6"/>
                      </a:moveTo>
                      <a:lnTo>
                        <a:pt x="22" y="0"/>
                      </a:lnTo>
                      <a:lnTo>
                        <a:pt x="27" y="6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42" name="Line 662"/>
                <p:cNvSpPr>
                  <a:spLocks noChangeShapeType="1"/>
                </p:cNvSpPr>
                <p:nvPr/>
              </p:nvSpPr>
              <p:spPr bwMode="auto">
                <a:xfrm flipV="1">
                  <a:off x="3171" y="2354"/>
                  <a:ext cx="1" cy="10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43" name="Line 663"/>
                <p:cNvSpPr>
                  <a:spLocks noChangeShapeType="1"/>
                </p:cNvSpPr>
                <p:nvPr/>
              </p:nvSpPr>
              <p:spPr bwMode="auto">
                <a:xfrm flipH="1">
                  <a:off x="3176" y="2354"/>
                  <a:ext cx="5" cy="5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44" name="Freeform 664"/>
                <p:cNvSpPr>
                  <a:spLocks/>
                </p:cNvSpPr>
                <p:nvPr/>
              </p:nvSpPr>
              <p:spPr bwMode="auto">
                <a:xfrm>
                  <a:off x="3181" y="2316"/>
                  <a:ext cx="49" cy="27"/>
                </a:xfrm>
                <a:custGeom>
                  <a:avLst/>
                  <a:gdLst>
                    <a:gd name="T0" fmla="*/ 0 w 49"/>
                    <a:gd name="T1" fmla="*/ 27 h 27"/>
                    <a:gd name="T2" fmla="*/ 0 w 49"/>
                    <a:gd name="T3" fmla="*/ 0 h 27"/>
                    <a:gd name="T4" fmla="*/ 11 w 49"/>
                    <a:gd name="T5" fmla="*/ 0 h 27"/>
                    <a:gd name="T6" fmla="*/ 22 w 49"/>
                    <a:gd name="T7" fmla="*/ 6 h 27"/>
                    <a:gd name="T8" fmla="*/ 49 w 49"/>
                    <a:gd name="T9" fmla="*/ 0 h 27"/>
                    <a:gd name="T10" fmla="*/ 49 w 49"/>
                    <a:gd name="T11" fmla="*/ 22 h 27"/>
                    <a:gd name="T12" fmla="*/ 22 w 49"/>
                    <a:gd name="T13" fmla="*/ 27 h 27"/>
                    <a:gd name="T14" fmla="*/ 11 w 49"/>
                    <a:gd name="T15" fmla="*/ 27 h 27"/>
                    <a:gd name="T16" fmla="*/ 0 w 49"/>
                    <a:gd name="T17" fmla="*/ 27 h 2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49"/>
                    <a:gd name="T28" fmla="*/ 0 h 27"/>
                    <a:gd name="T29" fmla="*/ 49 w 49"/>
                    <a:gd name="T30" fmla="*/ 27 h 2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49" h="27">
                      <a:moveTo>
                        <a:pt x="0" y="27"/>
                      </a:moveTo>
                      <a:lnTo>
                        <a:pt x="0" y="0"/>
                      </a:lnTo>
                      <a:lnTo>
                        <a:pt x="11" y="0"/>
                      </a:lnTo>
                      <a:lnTo>
                        <a:pt x="22" y="6"/>
                      </a:lnTo>
                      <a:lnTo>
                        <a:pt x="49" y="0"/>
                      </a:lnTo>
                      <a:lnTo>
                        <a:pt x="49" y="22"/>
                      </a:lnTo>
                      <a:lnTo>
                        <a:pt x="22" y="27"/>
                      </a:lnTo>
                      <a:lnTo>
                        <a:pt x="11" y="27"/>
                      </a:lnTo>
                      <a:lnTo>
                        <a:pt x="0" y="27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45" name="Freeform 665"/>
                <p:cNvSpPr>
                  <a:spLocks/>
                </p:cNvSpPr>
                <p:nvPr/>
              </p:nvSpPr>
              <p:spPr bwMode="auto">
                <a:xfrm>
                  <a:off x="3181" y="2316"/>
                  <a:ext cx="49" cy="22"/>
                </a:xfrm>
                <a:custGeom>
                  <a:avLst/>
                  <a:gdLst>
                    <a:gd name="T0" fmla="*/ 49 w 49"/>
                    <a:gd name="T1" fmla="*/ 22 h 22"/>
                    <a:gd name="T2" fmla="*/ 49 w 49"/>
                    <a:gd name="T3" fmla="*/ 0 h 22"/>
                    <a:gd name="T4" fmla="*/ 22 w 49"/>
                    <a:gd name="T5" fmla="*/ 6 h 22"/>
                    <a:gd name="T6" fmla="*/ 11 w 49"/>
                    <a:gd name="T7" fmla="*/ 6 h 22"/>
                    <a:gd name="T8" fmla="*/ 0 w 49"/>
                    <a:gd name="T9" fmla="*/ 6 h 22"/>
                    <a:gd name="T10" fmla="*/ 0 w 49"/>
                    <a:gd name="T11" fmla="*/ 22 h 22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49"/>
                    <a:gd name="T19" fmla="*/ 0 h 22"/>
                    <a:gd name="T20" fmla="*/ 49 w 49"/>
                    <a:gd name="T21" fmla="*/ 22 h 22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49" h="22">
                      <a:moveTo>
                        <a:pt x="49" y="22"/>
                      </a:moveTo>
                      <a:lnTo>
                        <a:pt x="49" y="0"/>
                      </a:lnTo>
                      <a:lnTo>
                        <a:pt x="22" y="6"/>
                      </a:lnTo>
                      <a:lnTo>
                        <a:pt x="11" y="6"/>
                      </a:lnTo>
                      <a:lnTo>
                        <a:pt x="0" y="6"/>
                      </a:lnTo>
                      <a:lnTo>
                        <a:pt x="0" y="22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46" name="Freeform 666"/>
                <p:cNvSpPr>
                  <a:spLocks/>
                </p:cNvSpPr>
                <p:nvPr/>
              </p:nvSpPr>
              <p:spPr bwMode="auto">
                <a:xfrm>
                  <a:off x="3181" y="2338"/>
                  <a:ext cx="49" cy="5"/>
                </a:xfrm>
                <a:custGeom>
                  <a:avLst/>
                  <a:gdLst>
                    <a:gd name="T0" fmla="*/ 49 w 49"/>
                    <a:gd name="T1" fmla="*/ 0 h 5"/>
                    <a:gd name="T2" fmla="*/ 22 w 49"/>
                    <a:gd name="T3" fmla="*/ 5 h 5"/>
                    <a:gd name="T4" fmla="*/ 11 w 49"/>
                    <a:gd name="T5" fmla="*/ 0 h 5"/>
                    <a:gd name="T6" fmla="*/ 0 w 49"/>
                    <a:gd name="T7" fmla="*/ 0 h 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49"/>
                    <a:gd name="T13" fmla="*/ 0 h 5"/>
                    <a:gd name="T14" fmla="*/ 49 w 49"/>
                    <a:gd name="T15" fmla="*/ 5 h 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49" h="5">
                      <a:moveTo>
                        <a:pt x="49" y="0"/>
                      </a:moveTo>
                      <a:lnTo>
                        <a:pt x="22" y="5"/>
                      </a:lnTo>
                      <a:lnTo>
                        <a:pt x="11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47" name="Line 667"/>
                <p:cNvSpPr>
                  <a:spLocks noChangeShapeType="1"/>
                </p:cNvSpPr>
                <p:nvPr/>
              </p:nvSpPr>
              <p:spPr bwMode="auto">
                <a:xfrm>
                  <a:off x="3197" y="2322"/>
                  <a:ext cx="1" cy="21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48" name="Freeform 668"/>
                <p:cNvSpPr>
                  <a:spLocks/>
                </p:cNvSpPr>
                <p:nvPr/>
              </p:nvSpPr>
              <p:spPr bwMode="auto">
                <a:xfrm>
                  <a:off x="3235" y="2311"/>
                  <a:ext cx="11" cy="27"/>
                </a:xfrm>
                <a:custGeom>
                  <a:avLst/>
                  <a:gdLst>
                    <a:gd name="T0" fmla="*/ 11 w 11"/>
                    <a:gd name="T1" fmla="*/ 0 h 27"/>
                    <a:gd name="T2" fmla="*/ 0 w 11"/>
                    <a:gd name="T3" fmla="*/ 5 h 27"/>
                    <a:gd name="T4" fmla="*/ 0 w 11"/>
                    <a:gd name="T5" fmla="*/ 27 h 27"/>
                    <a:gd name="T6" fmla="*/ 0 60000 65536"/>
                    <a:gd name="T7" fmla="*/ 0 60000 65536"/>
                    <a:gd name="T8" fmla="*/ 0 60000 65536"/>
                    <a:gd name="T9" fmla="*/ 0 w 11"/>
                    <a:gd name="T10" fmla="*/ 0 h 27"/>
                    <a:gd name="T11" fmla="*/ 11 w 11"/>
                    <a:gd name="T12" fmla="*/ 27 h 2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1" h="27">
                      <a:moveTo>
                        <a:pt x="11" y="0"/>
                      </a:moveTo>
                      <a:lnTo>
                        <a:pt x="0" y="5"/>
                      </a:lnTo>
                      <a:lnTo>
                        <a:pt x="0" y="27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49" name="Freeform 669"/>
                <p:cNvSpPr>
                  <a:spLocks/>
                </p:cNvSpPr>
                <p:nvPr/>
              </p:nvSpPr>
              <p:spPr bwMode="auto">
                <a:xfrm>
                  <a:off x="3235" y="2311"/>
                  <a:ext cx="16" cy="27"/>
                </a:xfrm>
                <a:custGeom>
                  <a:avLst/>
                  <a:gdLst>
                    <a:gd name="T0" fmla="*/ 0 w 16"/>
                    <a:gd name="T1" fmla="*/ 27 h 27"/>
                    <a:gd name="T2" fmla="*/ 16 w 16"/>
                    <a:gd name="T3" fmla="*/ 21 h 27"/>
                    <a:gd name="T4" fmla="*/ 11 w 16"/>
                    <a:gd name="T5" fmla="*/ 0 h 27"/>
                    <a:gd name="T6" fmla="*/ 0 60000 65536"/>
                    <a:gd name="T7" fmla="*/ 0 60000 65536"/>
                    <a:gd name="T8" fmla="*/ 0 60000 65536"/>
                    <a:gd name="T9" fmla="*/ 0 w 16"/>
                    <a:gd name="T10" fmla="*/ 0 h 27"/>
                    <a:gd name="T11" fmla="*/ 16 w 16"/>
                    <a:gd name="T12" fmla="*/ 27 h 2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6" h="27">
                      <a:moveTo>
                        <a:pt x="0" y="27"/>
                      </a:moveTo>
                      <a:lnTo>
                        <a:pt x="16" y="21"/>
                      </a:lnTo>
                      <a:lnTo>
                        <a:pt x="11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50" name="Line 670"/>
                <p:cNvSpPr>
                  <a:spLocks noChangeShapeType="1"/>
                </p:cNvSpPr>
                <p:nvPr/>
              </p:nvSpPr>
              <p:spPr bwMode="auto">
                <a:xfrm flipH="1">
                  <a:off x="3240" y="2332"/>
                  <a:ext cx="11" cy="1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51" name="Freeform 671"/>
                <p:cNvSpPr>
                  <a:spLocks/>
                </p:cNvSpPr>
                <p:nvPr/>
              </p:nvSpPr>
              <p:spPr bwMode="auto">
                <a:xfrm>
                  <a:off x="3342" y="2284"/>
                  <a:ext cx="16" cy="27"/>
                </a:xfrm>
                <a:custGeom>
                  <a:avLst/>
                  <a:gdLst>
                    <a:gd name="T0" fmla="*/ 16 w 16"/>
                    <a:gd name="T1" fmla="*/ 0 h 27"/>
                    <a:gd name="T2" fmla="*/ 5 w 16"/>
                    <a:gd name="T3" fmla="*/ 6 h 27"/>
                    <a:gd name="T4" fmla="*/ 0 w 16"/>
                    <a:gd name="T5" fmla="*/ 27 h 27"/>
                    <a:gd name="T6" fmla="*/ 0 60000 65536"/>
                    <a:gd name="T7" fmla="*/ 0 60000 65536"/>
                    <a:gd name="T8" fmla="*/ 0 60000 65536"/>
                    <a:gd name="T9" fmla="*/ 0 w 16"/>
                    <a:gd name="T10" fmla="*/ 0 h 27"/>
                    <a:gd name="T11" fmla="*/ 16 w 16"/>
                    <a:gd name="T12" fmla="*/ 27 h 2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6" h="27">
                      <a:moveTo>
                        <a:pt x="16" y="0"/>
                      </a:moveTo>
                      <a:lnTo>
                        <a:pt x="5" y="6"/>
                      </a:lnTo>
                      <a:lnTo>
                        <a:pt x="0" y="27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52" name="Freeform 672"/>
                <p:cNvSpPr>
                  <a:spLocks/>
                </p:cNvSpPr>
                <p:nvPr/>
              </p:nvSpPr>
              <p:spPr bwMode="auto">
                <a:xfrm>
                  <a:off x="3342" y="2284"/>
                  <a:ext cx="16" cy="27"/>
                </a:xfrm>
                <a:custGeom>
                  <a:avLst/>
                  <a:gdLst>
                    <a:gd name="T0" fmla="*/ 0 w 16"/>
                    <a:gd name="T1" fmla="*/ 27 h 27"/>
                    <a:gd name="T2" fmla="*/ 16 w 16"/>
                    <a:gd name="T3" fmla="*/ 22 h 27"/>
                    <a:gd name="T4" fmla="*/ 16 w 16"/>
                    <a:gd name="T5" fmla="*/ 0 h 27"/>
                    <a:gd name="T6" fmla="*/ 0 60000 65536"/>
                    <a:gd name="T7" fmla="*/ 0 60000 65536"/>
                    <a:gd name="T8" fmla="*/ 0 60000 65536"/>
                    <a:gd name="T9" fmla="*/ 0 w 16"/>
                    <a:gd name="T10" fmla="*/ 0 h 27"/>
                    <a:gd name="T11" fmla="*/ 16 w 16"/>
                    <a:gd name="T12" fmla="*/ 27 h 2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6" h="27">
                      <a:moveTo>
                        <a:pt x="0" y="27"/>
                      </a:moveTo>
                      <a:lnTo>
                        <a:pt x="16" y="22"/>
                      </a:lnTo>
                      <a:lnTo>
                        <a:pt x="16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53" name="Freeform 673"/>
                <p:cNvSpPr>
                  <a:spLocks/>
                </p:cNvSpPr>
                <p:nvPr/>
              </p:nvSpPr>
              <p:spPr bwMode="auto">
                <a:xfrm>
                  <a:off x="3246" y="2290"/>
                  <a:ext cx="101" cy="21"/>
                </a:xfrm>
                <a:custGeom>
                  <a:avLst/>
                  <a:gdLst>
                    <a:gd name="T0" fmla="*/ 101 w 101"/>
                    <a:gd name="T1" fmla="*/ 0 h 21"/>
                    <a:gd name="T2" fmla="*/ 48 w 101"/>
                    <a:gd name="T3" fmla="*/ 10 h 21"/>
                    <a:gd name="T4" fmla="*/ 0 w 101"/>
                    <a:gd name="T5" fmla="*/ 21 h 21"/>
                    <a:gd name="T6" fmla="*/ 0 60000 65536"/>
                    <a:gd name="T7" fmla="*/ 0 60000 65536"/>
                    <a:gd name="T8" fmla="*/ 0 60000 65536"/>
                    <a:gd name="T9" fmla="*/ 0 w 101"/>
                    <a:gd name="T10" fmla="*/ 0 h 21"/>
                    <a:gd name="T11" fmla="*/ 101 w 101"/>
                    <a:gd name="T12" fmla="*/ 21 h 2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01" h="21">
                      <a:moveTo>
                        <a:pt x="101" y="0"/>
                      </a:moveTo>
                      <a:lnTo>
                        <a:pt x="48" y="10"/>
                      </a:lnTo>
                      <a:lnTo>
                        <a:pt x="0" y="21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54" name="Freeform 674"/>
                <p:cNvSpPr>
                  <a:spLocks/>
                </p:cNvSpPr>
                <p:nvPr/>
              </p:nvSpPr>
              <p:spPr bwMode="auto">
                <a:xfrm>
                  <a:off x="3256" y="2295"/>
                  <a:ext cx="81" cy="37"/>
                </a:xfrm>
                <a:custGeom>
                  <a:avLst/>
                  <a:gdLst>
                    <a:gd name="T0" fmla="*/ 81 w 81"/>
                    <a:gd name="T1" fmla="*/ 0 h 37"/>
                    <a:gd name="T2" fmla="*/ 38 w 81"/>
                    <a:gd name="T3" fmla="*/ 11 h 37"/>
                    <a:gd name="T4" fmla="*/ 0 w 81"/>
                    <a:gd name="T5" fmla="*/ 21 h 37"/>
                    <a:gd name="T6" fmla="*/ 0 w 81"/>
                    <a:gd name="T7" fmla="*/ 37 h 3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1"/>
                    <a:gd name="T13" fmla="*/ 0 h 37"/>
                    <a:gd name="T14" fmla="*/ 81 w 81"/>
                    <a:gd name="T15" fmla="*/ 37 h 3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1" h="37">
                      <a:moveTo>
                        <a:pt x="81" y="0"/>
                      </a:moveTo>
                      <a:lnTo>
                        <a:pt x="38" y="11"/>
                      </a:lnTo>
                      <a:lnTo>
                        <a:pt x="0" y="21"/>
                      </a:lnTo>
                      <a:lnTo>
                        <a:pt x="0" y="37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55" name="Freeform 675"/>
                <p:cNvSpPr>
                  <a:spLocks/>
                </p:cNvSpPr>
                <p:nvPr/>
              </p:nvSpPr>
              <p:spPr bwMode="auto">
                <a:xfrm>
                  <a:off x="3256" y="2295"/>
                  <a:ext cx="81" cy="37"/>
                </a:xfrm>
                <a:custGeom>
                  <a:avLst/>
                  <a:gdLst>
                    <a:gd name="T0" fmla="*/ 81 w 81"/>
                    <a:gd name="T1" fmla="*/ 0 h 37"/>
                    <a:gd name="T2" fmla="*/ 81 w 81"/>
                    <a:gd name="T3" fmla="*/ 16 h 37"/>
                    <a:gd name="T4" fmla="*/ 38 w 81"/>
                    <a:gd name="T5" fmla="*/ 27 h 37"/>
                    <a:gd name="T6" fmla="*/ 0 w 81"/>
                    <a:gd name="T7" fmla="*/ 37 h 3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81"/>
                    <a:gd name="T13" fmla="*/ 0 h 37"/>
                    <a:gd name="T14" fmla="*/ 81 w 81"/>
                    <a:gd name="T15" fmla="*/ 37 h 3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81" h="37">
                      <a:moveTo>
                        <a:pt x="81" y="0"/>
                      </a:moveTo>
                      <a:lnTo>
                        <a:pt x="81" y="16"/>
                      </a:lnTo>
                      <a:lnTo>
                        <a:pt x="38" y="27"/>
                      </a:lnTo>
                      <a:lnTo>
                        <a:pt x="0" y="37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56" name="Freeform 676"/>
                <p:cNvSpPr>
                  <a:spLocks/>
                </p:cNvSpPr>
                <p:nvPr/>
              </p:nvSpPr>
              <p:spPr bwMode="auto">
                <a:xfrm>
                  <a:off x="3256" y="2316"/>
                  <a:ext cx="6" cy="16"/>
                </a:xfrm>
                <a:custGeom>
                  <a:avLst/>
                  <a:gdLst>
                    <a:gd name="T0" fmla="*/ 6 w 6"/>
                    <a:gd name="T1" fmla="*/ 0 h 16"/>
                    <a:gd name="T2" fmla="*/ 6 w 6"/>
                    <a:gd name="T3" fmla="*/ 11 h 16"/>
                    <a:gd name="T4" fmla="*/ 0 w 6"/>
                    <a:gd name="T5" fmla="*/ 16 h 16"/>
                    <a:gd name="T6" fmla="*/ 0 60000 65536"/>
                    <a:gd name="T7" fmla="*/ 0 60000 65536"/>
                    <a:gd name="T8" fmla="*/ 0 60000 65536"/>
                    <a:gd name="T9" fmla="*/ 0 w 6"/>
                    <a:gd name="T10" fmla="*/ 0 h 16"/>
                    <a:gd name="T11" fmla="*/ 6 w 6"/>
                    <a:gd name="T12" fmla="*/ 16 h 1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6" h="16">
                      <a:moveTo>
                        <a:pt x="6" y="0"/>
                      </a:moveTo>
                      <a:lnTo>
                        <a:pt x="6" y="11"/>
                      </a:lnTo>
                      <a:lnTo>
                        <a:pt x="0" y="16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57" name="Freeform 677"/>
                <p:cNvSpPr>
                  <a:spLocks/>
                </p:cNvSpPr>
                <p:nvPr/>
              </p:nvSpPr>
              <p:spPr bwMode="auto">
                <a:xfrm>
                  <a:off x="3326" y="2300"/>
                  <a:ext cx="11" cy="11"/>
                </a:xfrm>
                <a:custGeom>
                  <a:avLst/>
                  <a:gdLst>
                    <a:gd name="T0" fmla="*/ 11 w 11"/>
                    <a:gd name="T1" fmla="*/ 11 h 11"/>
                    <a:gd name="T2" fmla="*/ 0 w 11"/>
                    <a:gd name="T3" fmla="*/ 11 h 11"/>
                    <a:gd name="T4" fmla="*/ 0 w 11"/>
                    <a:gd name="T5" fmla="*/ 0 h 11"/>
                    <a:gd name="T6" fmla="*/ 0 60000 65536"/>
                    <a:gd name="T7" fmla="*/ 0 60000 65536"/>
                    <a:gd name="T8" fmla="*/ 0 60000 65536"/>
                    <a:gd name="T9" fmla="*/ 0 w 11"/>
                    <a:gd name="T10" fmla="*/ 0 h 11"/>
                    <a:gd name="T11" fmla="*/ 11 w 11"/>
                    <a:gd name="T12" fmla="*/ 11 h 1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1" h="11">
                      <a:moveTo>
                        <a:pt x="11" y="11"/>
                      </a:moveTo>
                      <a:lnTo>
                        <a:pt x="0" y="11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58" name="Freeform 678"/>
                <p:cNvSpPr>
                  <a:spLocks/>
                </p:cNvSpPr>
                <p:nvPr/>
              </p:nvSpPr>
              <p:spPr bwMode="auto">
                <a:xfrm>
                  <a:off x="3262" y="2343"/>
                  <a:ext cx="26" cy="16"/>
                </a:xfrm>
                <a:custGeom>
                  <a:avLst/>
                  <a:gdLst>
                    <a:gd name="T0" fmla="*/ 26 w 26"/>
                    <a:gd name="T1" fmla="*/ 0 h 16"/>
                    <a:gd name="T2" fmla="*/ 0 w 26"/>
                    <a:gd name="T3" fmla="*/ 5 h 16"/>
                    <a:gd name="T4" fmla="*/ 5 w 26"/>
                    <a:gd name="T5" fmla="*/ 16 h 16"/>
                    <a:gd name="T6" fmla="*/ 0 60000 65536"/>
                    <a:gd name="T7" fmla="*/ 0 60000 65536"/>
                    <a:gd name="T8" fmla="*/ 0 60000 65536"/>
                    <a:gd name="T9" fmla="*/ 0 w 26"/>
                    <a:gd name="T10" fmla="*/ 0 h 16"/>
                    <a:gd name="T11" fmla="*/ 26 w 26"/>
                    <a:gd name="T12" fmla="*/ 16 h 1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6" h="16">
                      <a:moveTo>
                        <a:pt x="26" y="0"/>
                      </a:moveTo>
                      <a:lnTo>
                        <a:pt x="0" y="5"/>
                      </a:lnTo>
                      <a:lnTo>
                        <a:pt x="5" y="16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59" name="Freeform 679"/>
                <p:cNvSpPr>
                  <a:spLocks/>
                </p:cNvSpPr>
                <p:nvPr/>
              </p:nvSpPr>
              <p:spPr bwMode="auto">
                <a:xfrm>
                  <a:off x="3305" y="2332"/>
                  <a:ext cx="26" cy="16"/>
                </a:xfrm>
                <a:custGeom>
                  <a:avLst/>
                  <a:gdLst>
                    <a:gd name="T0" fmla="*/ 26 w 26"/>
                    <a:gd name="T1" fmla="*/ 0 h 16"/>
                    <a:gd name="T2" fmla="*/ 0 w 26"/>
                    <a:gd name="T3" fmla="*/ 6 h 16"/>
                    <a:gd name="T4" fmla="*/ 0 w 26"/>
                    <a:gd name="T5" fmla="*/ 16 h 16"/>
                    <a:gd name="T6" fmla="*/ 0 60000 65536"/>
                    <a:gd name="T7" fmla="*/ 0 60000 65536"/>
                    <a:gd name="T8" fmla="*/ 0 60000 65536"/>
                    <a:gd name="T9" fmla="*/ 0 w 26"/>
                    <a:gd name="T10" fmla="*/ 0 h 16"/>
                    <a:gd name="T11" fmla="*/ 26 w 26"/>
                    <a:gd name="T12" fmla="*/ 16 h 1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6" h="16">
                      <a:moveTo>
                        <a:pt x="26" y="0"/>
                      </a:moveTo>
                      <a:lnTo>
                        <a:pt x="0" y="6"/>
                      </a:lnTo>
                      <a:lnTo>
                        <a:pt x="0" y="16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60" name="Freeform 680"/>
                <p:cNvSpPr>
                  <a:spLocks/>
                </p:cNvSpPr>
                <p:nvPr/>
              </p:nvSpPr>
              <p:spPr bwMode="auto">
                <a:xfrm>
                  <a:off x="3278" y="2343"/>
                  <a:ext cx="10" cy="11"/>
                </a:xfrm>
                <a:custGeom>
                  <a:avLst/>
                  <a:gdLst>
                    <a:gd name="T0" fmla="*/ 10 w 10"/>
                    <a:gd name="T1" fmla="*/ 0 h 11"/>
                    <a:gd name="T2" fmla="*/ 10 w 10"/>
                    <a:gd name="T3" fmla="*/ 11 h 11"/>
                    <a:gd name="T4" fmla="*/ 0 w 10"/>
                    <a:gd name="T5" fmla="*/ 11 h 11"/>
                    <a:gd name="T6" fmla="*/ 0 60000 65536"/>
                    <a:gd name="T7" fmla="*/ 0 60000 65536"/>
                    <a:gd name="T8" fmla="*/ 0 60000 65536"/>
                    <a:gd name="T9" fmla="*/ 0 w 10"/>
                    <a:gd name="T10" fmla="*/ 0 h 11"/>
                    <a:gd name="T11" fmla="*/ 10 w 10"/>
                    <a:gd name="T12" fmla="*/ 11 h 1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0" h="11">
                      <a:moveTo>
                        <a:pt x="10" y="0"/>
                      </a:moveTo>
                      <a:lnTo>
                        <a:pt x="10" y="11"/>
                      </a:lnTo>
                      <a:lnTo>
                        <a:pt x="0" y="11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61" name="Freeform 681"/>
                <p:cNvSpPr>
                  <a:spLocks/>
                </p:cNvSpPr>
                <p:nvPr/>
              </p:nvSpPr>
              <p:spPr bwMode="auto">
                <a:xfrm>
                  <a:off x="3305" y="2332"/>
                  <a:ext cx="26" cy="16"/>
                </a:xfrm>
                <a:custGeom>
                  <a:avLst/>
                  <a:gdLst>
                    <a:gd name="T0" fmla="*/ 26 w 26"/>
                    <a:gd name="T1" fmla="*/ 0 h 16"/>
                    <a:gd name="T2" fmla="*/ 21 w 26"/>
                    <a:gd name="T3" fmla="*/ 11 h 16"/>
                    <a:gd name="T4" fmla="*/ 0 w 26"/>
                    <a:gd name="T5" fmla="*/ 16 h 16"/>
                    <a:gd name="T6" fmla="*/ 0 60000 65536"/>
                    <a:gd name="T7" fmla="*/ 0 60000 65536"/>
                    <a:gd name="T8" fmla="*/ 0 60000 65536"/>
                    <a:gd name="T9" fmla="*/ 0 w 26"/>
                    <a:gd name="T10" fmla="*/ 0 h 16"/>
                    <a:gd name="T11" fmla="*/ 26 w 26"/>
                    <a:gd name="T12" fmla="*/ 16 h 1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6" h="16">
                      <a:moveTo>
                        <a:pt x="26" y="0"/>
                      </a:moveTo>
                      <a:lnTo>
                        <a:pt x="21" y="11"/>
                      </a:lnTo>
                      <a:lnTo>
                        <a:pt x="0" y="16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62" name="Freeform 682"/>
                <p:cNvSpPr>
                  <a:spLocks/>
                </p:cNvSpPr>
                <p:nvPr/>
              </p:nvSpPr>
              <p:spPr bwMode="auto">
                <a:xfrm>
                  <a:off x="3272" y="2348"/>
                  <a:ext cx="54" cy="27"/>
                </a:xfrm>
                <a:custGeom>
                  <a:avLst/>
                  <a:gdLst>
                    <a:gd name="T0" fmla="*/ 54 w 54"/>
                    <a:gd name="T1" fmla="*/ 0 h 27"/>
                    <a:gd name="T2" fmla="*/ 54 w 54"/>
                    <a:gd name="T3" fmla="*/ 11 h 27"/>
                    <a:gd name="T4" fmla="*/ 0 w 54"/>
                    <a:gd name="T5" fmla="*/ 27 h 27"/>
                    <a:gd name="T6" fmla="*/ 0 w 54"/>
                    <a:gd name="T7" fmla="*/ 11 h 2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54"/>
                    <a:gd name="T13" fmla="*/ 0 h 27"/>
                    <a:gd name="T14" fmla="*/ 54 w 54"/>
                    <a:gd name="T15" fmla="*/ 27 h 2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54" h="27">
                      <a:moveTo>
                        <a:pt x="54" y="0"/>
                      </a:moveTo>
                      <a:lnTo>
                        <a:pt x="54" y="11"/>
                      </a:lnTo>
                      <a:lnTo>
                        <a:pt x="0" y="27"/>
                      </a:lnTo>
                      <a:lnTo>
                        <a:pt x="0" y="11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63" name="Freeform 683"/>
                <p:cNvSpPr>
                  <a:spLocks/>
                </p:cNvSpPr>
                <p:nvPr/>
              </p:nvSpPr>
              <p:spPr bwMode="auto">
                <a:xfrm>
                  <a:off x="3363" y="2274"/>
                  <a:ext cx="22" cy="32"/>
                </a:xfrm>
                <a:custGeom>
                  <a:avLst/>
                  <a:gdLst>
                    <a:gd name="T0" fmla="*/ 22 w 22"/>
                    <a:gd name="T1" fmla="*/ 21 h 32"/>
                    <a:gd name="T2" fmla="*/ 17 w 22"/>
                    <a:gd name="T3" fmla="*/ 21 h 32"/>
                    <a:gd name="T4" fmla="*/ 17 w 22"/>
                    <a:gd name="T5" fmla="*/ 26 h 32"/>
                    <a:gd name="T6" fmla="*/ 0 w 22"/>
                    <a:gd name="T7" fmla="*/ 32 h 32"/>
                    <a:gd name="T8" fmla="*/ 0 w 22"/>
                    <a:gd name="T9" fmla="*/ 10 h 32"/>
                    <a:gd name="T10" fmla="*/ 17 w 22"/>
                    <a:gd name="T11" fmla="*/ 5 h 32"/>
                    <a:gd name="T12" fmla="*/ 17 w 22"/>
                    <a:gd name="T13" fmla="*/ 0 h 32"/>
                    <a:gd name="T14" fmla="*/ 22 w 22"/>
                    <a:gd name="T15" fmla="*/ 0 h 3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2"/>
                    <a:gd name="T25" fmla="*/ 0 h 32"/>
                    <a:gd name="T26" fmla="*/ 22 w 22"/>
                    <a:gd name="T27" fmla="*/ 32 h 32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2" h="32">
                      <a:moveTo>
                        <a:pt x="22" y="21"/>
                      </a:moveTo>
                      <a:lnTo>
                        <a:pt x="17" y="21"/>
                      </a:lnTo>
                      <a:lnTo>
                        <a:pt x="17" y="26"/>
                      </a:lnTo>
                      <a:lnTo>
                        <a:pt x="0" y="32"/>
                      </a:lnTo>
                      <a:lnTo>
                        <a:pt x="0" y="10"/>
                      </a:lnTo>
                      <a:lnTo>
                        <a:pt x="17" y="5"/>
                      </a:lnTo>
                      <a:lnTo>
                        <a:pt x="17" y="0"/>
                      </a:lnTo>
                      <a:lnTo>
                        <a:pt x="22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64" name="Freeform 684"/>
                <p:cNvSpPr>
                  <a:spLocks/>
                </p:cNvSpPr>
                <p:nvPr/>
              </p:nvSpPr>
              <p:spPr bwMode="auto">
                <a:xfrm>
                  <a:off x="3363" y="2274"/>
                  <a:ext cx="22" cy="26"/>
                </a:xfrm>
                <a:custGeom>
                  <a:avLst/>
                  <a:gdLst>
                    <a:gd name="T0" fmla="*/ 22 w 22"/>
                    <a:gd name="T1" fmla="*/ 21 h 26"/>
                    <a:gd name="T2" fmla="*/ 17 w 22"/>
                    <a:gd name="T3" fmla="*/ 21 h 26"/>
                    <a:gd name="T4" fmla="*/ 17 w 22"/>
                    <a:gd name="T5" fmla="*/ 26 h 26"/>
                    <a:gd name="T6" fmla="*/ 0 w 22"/>
                    <a:gd name="T7" fmla="*/ 26 h 26"/>
                    <a:gd name="T8" fmla="*/ 0 w 22"/>
                    <a:gd name="T9" fmla="*/ 10 h 26"/>
                    <a:gd name="T10" fmla="*/ 17 w 22"/>
                    <a:gd name="T11" fmla="*/ 10 h 26"/>
                    <a:gd name="T12" fmla="*/ 17 w 22"/>
                    <a:gd name="T13" fmla="*/ 5 h 26"/>
                    <a:gd name="T14" fmla="*/ 22 w 22"/>
                    <a:gd name="T15" fmla="*/ 0 h 2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2"/>
                    <a:gd name="T25" fmla="*/ 0 h 26"/>
                    <a:gd name="T26" fmla="*/ 22 w 22"/>
                    <a:gd name="T27" fmla="*/ 26 h 2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2" h="26">
                      <a:moveTo>
                        <a:pt x="22" y="21"/>
                      </a:moveTo>
                      <a:lnTo>
                        <a:pt x="17" y="21"/>
                      </a:lnTo>
                      <a:lnTo>
                        <a:pt x="17" y="26"/>
                      </a:lnTo>
                      <a:lnTo>
                        <a:pt x="0" y="26"/>
                      </a:lnTo>
                      <a:lnTo>
                        <a:pt x="0" y="10"/>
                      </a:lnTo>
                      <a:lnTo>
                        <a:pt x="17" y="10"/>
                      </a:lnTo>
                      <a:lnTo>
                        <a:pt x="17" y="5"/>
                      </a:lnTo>
                      <a:lnTo>
                        <a:pt x="22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65" name="Line 685"/>
                <p:cNvSpPr>
                  <a:spLocks noChangeShapeType="1"/>
                </p:cNvSpPr>
                <p:nvPr/>
              </p:nvSpPr>
              <p:spPr bwMode="auto">
                <a:xfrm>
                  <a:off x="3380" y="2284"/>
                  <a:ext cx="1" cy="16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66" name="Line 686"/>
                <p:cNvSpPr>
                  <a:spLocks noChangeShapeType="1"/>
                </p:cNvSpPr>
                <p:nvPr/>
              </p:nvSpPr>
              <p:spPr bwMode="auto">
                <a:xfrm flipH="1" flipV="1">
                  <a:off x="3321" y="2338"/>
                  <a:ext cx="5" cy="5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67" name="Line 687"/>
                <p:cNvSpPr>
                  <a:spLocks noChangeShapeType="1"/>
                </p:cNvSpPr>
                <p:nvPr/>
              </p:nvSpPr>
              <p:spPr bwMode="auto">
                <a:xfrm flipH="1" flipV="1">
                  <a:off x="3283" y="2348"/>
                  <a:ext cx="5" cy="6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68" name="Freeform 688"/>
                <p:cNvSpPr>
                  <a:spLocks/>
                </p:cNvSpPr>
                <p:nvPr/>
              </p:nvSpPr>
              <p:spPr bwMode="auto">
                <a:xfrm>
                  <a:off x="3053" y="2049"/>
                  <a:ext cx="316" cy="38"/>
                </a:xfrm>
                <a:custGeom>
                  <a:avLst/>
                  <a:gdLst>
                    <a:gd name="T0" fmla="*/ 316 w 316"/>
                    <a:gd name="T1" fmla="*/ 11 h 38"/>
                    <a:gd name="T2" fmla="*/ 230 w 316"/>
                    <a:gd name="T3" fmla="*/ 22 h 38"/>
                    <a:gd name="T4" fmla="*/ 150 w 316"/>
                    <a:gd name="T5" fmla="*/ 38 h 38"/>
                    <a:gd name="T6" fmla="*/ 134 w 316"/>
                    <a:gd name="T7" fmla="*/ 38 h 38"/>
                    <a:gd name="T8" fmla="*/ 21 w 316"/>
                    <a:gd name="T9" fmla="*/ 0 h 38"/>
                    <a:gd name="T10" fmla="*/ 0 w 316"/>
                    <a:gd name="T11" fmla="*/ 0 h 3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316"/>
                    <a:gd name="T19" fmla="*/ 0 h 38"/>
                    <a:gd name="T20" fmla="*/ 316 w 316"/>
                    <a:gd name="T21" fmla="*/ 38 h 38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316" h="38">
                      <a:moveTo>
                        <a:pt x="316" y="11"/>
                      </a:moveTo>
                      <a:lnTo>
                        <a:pt x="230" y="22"/>
                      </a:lnTo>
                      <a:lnTo>
                        <a:pt x="150" y="38"/>
                      </a:lnTo>
                      <a:lnTo>
                        <a:pt x="134" y="38"/>
                      </a:lnTo>
                      <a:lnTo>
                        <a:pt x="21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69" name="Freeform 689"/>
                <p:cNvSpPr>
                  <a:spLocks/>
                </p:cNvSpPr>
                <p:nvPr/>
              </p:nvSpPr>
              <p:spPr bwMode="auto">
                <a:xfrm>
                  <a:off x="3053" y="2060"/>
                  <a:ext cx="123" cy="43"/>
                </a:xfrm>
                <a:custGeom>
                  <a:avLst/>
                  <a:gdLst>
                    <a:gd name="T0" fmla="*/ 123 w 123"/>
                    <a:gd name="T1" fmla="*/ 37 h 43"/>
                    <a:gd name="T2" fmla="*/ 21 w 123"/>
                    <a:gd name="T3" fmla="*/ 5 h 43"/>
                    <a:gd name="T4" fmla="*/ 0 w 123"/>
                    <a:gd name="T5" fmla="*/ 0 h 43"/>
                    <a:gd name="T6" fmla="*/ 0 w 123"/>
                    <a:gd name="T7" fmla="*/ 5 h 43"/>
                    <a:gd name="T8" fmla="*/ 21 w 123"/>
                    <a:gd name="T9" fmla="*/ 5 h 43"/>
                    <a:gd name="T10" fmla="*/ 123 w 123"/>
                    <a:gd name="T11" fmla="*/ 43 h 43"/>
                    <a:gd name="T12" fmla="*/ 123 w 123"/>
                    <a:gd name="T13" fmla="*/ 37 h 4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23"/>
                    <a:gd name="T22" fmla="*/ 0 h 43"/>
                    <a:gd name="T23" fmla="*/ 123 w 123"/>
                    <a:gd name="T24" fmla="*/ 43 h 43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23" h="43">
                      <a:moveTo>
                        <a:pt x="123" y="37"/>
                      </a:moveTo>
                      <a:lnTo>
                        <a:pt x="21" y="5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21" y="5"/>
                      </a:lnTo>
                      <a:lnTo>
                        <a:pt x="123" y="43"/>
                      </a:lnTo>
                      <a:lnTo>
                        <a:pt x="123" y="37"/>
                      </a:lnTo>
                      <a:close/>
                    </a:path>
                  </a:pathLst>
                </a:custGeom>
                <a:solidFill>
                  <a:srgbClr val="005F98"/>
                </a:solidFill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70" name="Freeform 690"/>
                <p:cNvSpPr>
                  <a:spLocks/>
                </p:cNvSpPr>
                <p:nvPr/>
              </p:nvSpPr>
              <p:spPr bwMode="auto">
                <a:xfrm>
                  <a:off x="3187" y="2081"/>
                  <a:ext cx="193" cy="123"/>
                </a:xfrm>
                <a:custGeom>
                  <a:avLst/>
                  <a:gdLst>
                    <a:gd name="T0" fmla="*/ 176 w 193"/>
                    <a:gd name="T1" fmla="*/ 0 h 123"/>
                    <a:gd name="T2" fmla="*/ 91 w 193"/>
                    <a:gd name="T3" fmla="*/ 16 h 123"/>
                    <a:gd name="T4" fmla="*/ 10 w 193"/>
                    <a:gd name="T5" fmla="*/ 32 h 123"/>
                    <a:gd name="T6" fmla="*/ 0 w 193"/>
                    <a:gd name="T7" fmla="*/ 32 h 123"/>
                    <a:gd name="T8" fmla="*/ 0 w 193"/>
                    <a:gd name="T9" fmla="*/ 48 h 123"/>
                    <a:gd name="T10" fmla="*/ 5 w 193"/>
                    <a:gd name="T11" fmla="*/ 112 h 123"/>
                    <a:gd name="T12" fmla="*/ 5 w 193"/>
                    <a:gd name="T13" fmla="*/ 118 h 123"/>
                    <a:gd name="T14" fmla="*/ 16 w 193"/>
                    <a:gd name="T15" fmla="*/ 123 h 123"/>
                    <a:gd name="T16" fmla="*/ 101 w 193"/>
                    <a:gd name="T17" fmla="*/ 102 h 123"/>
                    <a:gd name="T18" fmla="*/ 182 w 193"/>
                    <a:gd name="T19" fmla="*/ 86 h 123"/>
                    <a:gd name="T20" fmla="*/ 187 w 193"/>
                    <a:gd name="T21" fmla="*/ 80 h 123"/>
                    <a:gd name="T22" fmla="*/ 193 w 193"/>
                    <a:gd name="T23" fmla="*/ 75 h 123"/>
                    <a:gd name="T24" fmla="*/ 187 w 193"/>
                    <a:gd name="T25" fmla="*/ 43 h 123"/>
                    <a:gd name="T26" fmla="*/ 182 w 193"/>
                    <a:gd name="T27" fmla="*/ 11 h 123"/>
                    <a:gd name="T28" fmla="*/ 176 w 193"/>
                    <a:gd name="T29" fmla="*/ 0 h 123"/>
                    <a:gd name="T30" fmla="*/ 176 w 193"/>
                    <a:gd name="T31" fmla="*/ 0 h 123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93"/>
                    <a:gd name="T49" fmla="*/ 0 h 123"/>
                    <a:gd name="T50" fmla="*/ 193 w 193"/>
                    <a:gd name="T51" fmla="*/ 123 h 123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93" h="123">
                      <a:moveTo>
                        <a:pt x="176" y="0"/>
                      </a:moveTo>
                      <a:lnTo>
                        <a:pt x="91" y="16"/>
                      </a:lnTo>
                      <a:lnTo>
                        <a:pt x="10" y="32"/>
                      </a:lnTo>
                      <a:lnTo>
                        <a:pt x="0" y="32"/>
                      </a:lnTo>
                      <a:lnTo>
                        <a:pt x="0" y="48"/>
                      </a:lnTo>
                      <a:lnTo>
                        <a:pt x="5" y="112"/>
                      </a:lnTo>
                      <a:lnTo>
                        <a:pt x="5" y="118"/>
                      </a:lnTo>
                      <a:lnTo>
                        <a:pt x="16" y="123"/>
                      </a:lnTo>
                      <a:lnTo>
                        <a:pt x="101" y="102"/>
                      </a:lnTo>
                      <a:lnTo>
                        <a:pt x="182" y="86"/>
                      </a:lnTo>
                      <a:lnTo>
                        <a:pt x="187" y="80"/>
                      </a:lnTo>
                      <a:lnTo>
                        <a:pt x="193" y="75"/>
                      </a:lnTo>
                      <a:lnTo>
                        <a:pt x="187" y="43"/>
                      </a:lnTo>
                      <a:lnTo>
                        <a:pt x="182" y="11"/>
                      </a:lnTo>
                      <a:lnTo>
                        <a:pt x="176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71" name="Freeform 691"/>
                <p:cNvSpPr>
                  <a:spLocks/>
                </p:cNvSpPr>
                <p:nvPr/>
              </p:nvSpPr>
              <p:spPr bwMode="auto">
                <a:xfrm>
                  <a:off x="3187" y="2087"/>
                  <a:ext cx="187" cy="112"/>
                </a:xfrm>
                <a:custGeom>
                  <a:avLst/>
                  <a:gdLst>
                    <a:gd name="T0" fmla="*/ 176 w 187"/>
                    <a:gd name="T1" fmla="*/ 0 h 112"/>
                    <a:gd name="T2" fmla="*/ 91 w 187"/>
                    <a:gd name="T3" fmla="*/ 10 h 112"/>
                    <a:gd name="T4" fmla="*/ 10 w 187"/>
                    <a:gd name="T5" fmla="*/ 26 h 112"/>
                    <a:gd name="T6" fmla="*/ 0 w 187"/>
                    <a:gd name="T7" fmla="*/ 32 h 112"/>
                    <a:gd name="T8" fmla="*/ 0 w 187"/>
                    <a:gd name="T9" fmla="*/ 42 h 112"/>
                    <a:gd name="T10" fmla="*/ 5 w 187"/>
                    <a:gd name="T11" fmla="*/ 106 h 112"/>
                    <a:gd name="T12" fmla="*/ 10 w 187"/>
                    <a:gd name="T13" fmla="*/ 106 h 112"/>
                    <a:gd name="T14" fmla="*/ 21 w 187"/>
                    <a:gd name="T15" fmla="*/ 112 h 112"/>
                    <a:gd name="T16" fmla="*/ 96 w 187"/>
                    <a:gd name="T17" fmla="*/ 90 h 112"/>
                    <a:gd name="T18" fmla="*/ 176 w 187"/>
                    <a:gd name="T19" fmla="*/ 74 h 112"/>
                    <a:gd name="T20" fmla="*/ 182 w 187"/>
                    <a:gd name="T21" fmla="*/ 69 h 112"/>
                    <a:gd name="T22" fmla="*/ 187 w 187"/>
                    <a:gd name="T23" fmla="*/ 69 h 112"/>
                    <a:gd name="T24" fmla="*/ 182 w 187"/>
                    <a:gd name="T25" fmla="*/ 37 h 112"/>
                    <a:gd name="T26" fmla="*/ 182 w 187"/>
                    <a:gd name="T27" fmla="*/ 10 h 112"/>
                    <a:gd name="T28" fmla="*/ 176 w 187"/>
                    <a:gd name="T29" fmla="*/ 0 h 112"/>
                    <a:gd name="T30" fmla="*/ 176 w 187"/>
                    <a:gd name="T31" fmla="*/ 0 h 112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187"/>
                    <a:gd name="T49" fmla="*/ 0 h 112"/>
                    <a:gd name="T50" fmla="*/ 187 w 187"/>
                    <a:gd name="T51" fmla="*/ 112 h 112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187" h="112">
                      <a:moveTo>
                        <a:pt x="176" y="0"/>
                      </a:moveTo>
                      <a:lnTo>
                        <a:pt x="91" y="10"/>
                      </a:lnTo>
                      <a:lnTo>
                        <a:pt x="10" y="26"/>
                      </a:lnTo>
                      <a:lnTo>
                        <a:pt x="0" y="32"/>
                      </a:lnTo>
                      <a:lnTo>
                        <a:pt x="0" y="42"/>
                      </a:lnTo>
                      <a:lnTo>
                        <a:pt x="5" y="106"/>
                      </a:lnTo>
                      <a:lnTo>
                        <a:pt x="10" y="106"/>
                      </a:lnTo>
                      <a:lnTo>
                        <a:pt x="21" y="112"/>
                      </a:lnTo>
                      <a:lnTo>
                        <a:pt x="96" y="90"/>
                      </a:lnTo>
                      <a:lnTo>
                        <a:pt x="176" y="74"/>
                      </a:lnTo>
                      <a:lnTo>
                        <a:pt x="182" y="69"/>
                      </a:lnTo>
                      <a:lnTo>
                        <a:pt x="187" y="69"/>
                      </a:lnTo>
                      <a:lnTo>
                        <a:pt x="182" y="37"/>
                      </a:lnTo>
                      <a:lnTo>
                        <a:pt x="182" y="10"/>
                      </a:lnTo>
                      <a:lnTo>
                        <a:pt x="176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72" name="Freeform 692"/>
                <p:cNvSpPr>
                  <a:spLocks/>
                </p:cNvSpPr>
                <p:nvPr/>
              </p:nvSpPr>
              <p:spPr bwMode="auto">
                <a:xfrm>
                  <a:off x="3192" y="2161"/>
                  <a:ext cx="188" cy="43"/>
                </a:xfrm>
                <a:custGeom>
                  <a:avLst/>
                  <a:gdLst>
                    <a:gd name="T0" fmla="*/ 0 w 188"/>
                    <a:gd name="T1" fmla="*/ 43 h 43"/>
                    <a:gd name="T2" fmla="*/ 0 w 188"/>
                    <a:gd name="T3" fmla="*/ 43 h 43"/>
                    <a:gd name="T4" fmla="*/ 11 w 188"/>
                    <a:gd name="T5" fmla="*/ 43 h 43"/>
                    <a:gd name="T6" fmla="*/ 96 w 188"/>
                    <a:gd name="T7" fmla="*/ 22 h 43"/>
                    <a:gd name="T8" fmla="*/ 182 w 188"/>
                    <a:gd name="T9" fmla="*/ 0 h 43"/>
                    <a:gd name="T10" fmla="*/ 188 w 188"/>
                    <a:gd name="T11" fmla="*/ 0 h 43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88"/>
                    <a:gd name="T19" fmla="*/ 0 h 43"/>
                    <a:gd name="T20" fmla="*/ 188 w 188"/>
                    <a:gd name="T21" fmla="*/ 43 h 43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88" h="43">
                      <a:moveTo>
                        <a:pt x="0" y="43"/>
                      </a:moveTo>
                      <a:lnTo>
                        <a:pt x="0" y="43"/>
                      </a:lnTo>
                      <a:lnTo>
                        <a:pt x="11" y="43"/>
                      </a:lnTo>
                      <a:lnTo>
                        <a:pt x="96" y="22"/>
                      </a:lnTo>
                      <a:lnTo>
                        <a:pt x="182" y="0"/>
                      </a:lnTo>
                      <a:lnTo>
                        <a:pt x="188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73" name="Line 693"/>
                <p:cNvSpPr>
                  <a:spLocks noChangeShapeType="1"/>
                </p:cNvSpPr>
                <p:nvPr/>
              </p:nvSpPr>
              <p:spPr bwMode="auto">
                <a:xfrm>
                  <a:off x="3192" y="2193"/>
                  <a:ext cx="1" cy="22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74" name="Line 694"/>
                <p:cNvSpPr>
                  <a:spLocks noChangeShapeType="1"/>
                </p:cNvSpPr>
                <p:nvPr/>
              </p:nvSpPr>
              <p:spPr bwMode="auto">
                <a:xfrm>
                  <a:off x="3203" y="2204"/>
                  <a:ext cx="1" cy="16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75" name="Line 695"/>
                <p:cNvSpPr>
                  <a:spLocks noChangeShapeType="1"/>
                </p:cNvSpPr>
                <p:nvPr/>
              </p:nvSpPr>
              <p:spPr bwMode="auto">
                <a:xfrm>
                  <a:off x="3374" y="2161"/>
                  <a:ext cx="1" cy="16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76" name="Freeform 696"/>
                <p:cNvSpPr>
                  <a:spLocks/>
                </p:cNvSpPr>
                <p:nvPr/>
              </p:nvSpPr>
              <p:spPr bwMode="auto">
                <a:xfrm>
                  <a:off x="3192" y="2151"/>
                  <a:ext cx="166" cy="32"/>
                </a:xfrm>
                <a:custGeom>
                  <a:avLst/>
                  <a:gdLst>
                    <a:gd name="T0" fmla="*/ 166 w 166"/>
                    <a:gd name="T1" fmla="*/ 10 h 32"/>
                    <a:gd name="T2" fmla="*/ 139 w 166"/>
                    <a:gd name="T3" fmla="*/ 0 h 32"/>
                    <a:gd name="T4" fmla="*/ 64 w 166"/>
                    <a:gd name="T5" fmla="*/ 10 h 32"/>
                    <a:gd name="T6" fmla="*/ 0 w 166"/>
                    <a:gd name="T7" fmla="*/ 32 h 32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66"/>
                    <a:gd name="T13" fmla="*/ 0 h 32"/>
                    <a:gd name="T14" fmla="*/ 166 w 166"/>
                    <a:gd name="T15" fmla="*/ 32 h 32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66" h="32">
                      <a:moveTo>
                        <a:pt x="166" y="10"/>
                      </a:moveTo>
                      <a:lnTo>
                        <a:pt x="139" y="0"/>
                      </a:lnTo>
                      <a:lnTo>
                        <a:pt x="64" y="10"/>
                      </a:lnTo>
                      <a:lnTo>
                        <a:pt x="0" y="32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77" name="Freeform 697"/>
                <p:cNvSpPr>
                  <a:spLocks/>
                </p:cNvSpPr>
                <p:nvPr/>
              </p:nvSpPr>
              <p:spPr bwMode="auto">
                <a:xfrm>
                  <a:off x="3058" y="2033"/>
                  <a:ext cx="300" cy="43"/>
                </a:xfrm>
                <a:custGeom>
                  <a:avLst/>
                  <a:gdLst>
                    <a:gd name="T0" fmla="*/ 300 w 300"/>
                    <a:gd name="T1" fmla="*/ 11 h 43"/>
                    <a:gd name="T2" fmla="*/ 145 w 300"/>
                    <a:gd name="T3" fmla="*/ 43 h 43"/>
                    <a:gd name="T4" fmla="*/ 129 w 300"/>
                    <a:gd name="T5" fmla="*/ 38 h 43"/>
                    <a:gd name="T6" fmla="*/ 0 w 300"/>
                    <a:gd name="T7" fmla="*/ 0 h 43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00"/>
                    <a:gd name="T13" fmla="*/ 0 h 43"/>
                    <a:gd name="T14" fmla="*/ 300 w 300"/>
                    <a:gd name="T15" fmla="*/ 43 h 43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00" h="43">
                      <a:moveTo>
                        <a:pt x="300" y="11"/>
                      </a:moveTo>
                      <a:lnTo>
                        <a:pt x="145" y="43"/>
                      </a:lnTo>
                      <a:lnTo>
                        <a:pt x="129" y="38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78" name="Freeform 698"/>
                <p:cNvSpPr>
                  <a:spLocks/>
                </p:cNvSpPr>
                <p:nvPr/>
              </p:nvSpPr>
              <p:spPr bwMode="auto">
                <a:xfrm>
                  <a:off x="3069" y="2028"/>
                  <a:ext cx="284" cy="37"/>
                </a:xfrm>
                <a:custGeom>
                  <a:avLst/>
                  <a:gdLst>
                    <a:gd name="T0" fmla="*/ 284 w 284"/>
                    <a:gd name="T1" fmla="*/ 11 h 37"/>
                    <a:gd name="T2" fmla="*/ 134 w 284"/>
                    <a:gd name="T3" fmla="*/ 37 h 37"/>
                    <a:gd name="T4" fmla="*/ 118 w 284"/>
                    <a:gd name="T5" fmla="*/ 37 h 37"/>
                    <a:gd name="T6" fmla="*/ 0 w 284"/>
                    <a:gd name="T7" fmla="*/ 0 h 3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84"/>
                    <a:gd name="T13" fmla="*/ 0 h 37"/>
                    <a:gd name="T14" fmla="*/ 284 w 284"/>
                    <a:gd name="T15" fmla="*/ 37 h 3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84" h="37">
                      <a:moveTo>
                        <a:pt x="284" y="11"/>
                      </a:moveTo>
                      <a:lnTo>
                        <a:pt x="134" y="37"/>
                      </a:lnTo>
                      <a:lnTo>
                        <a:pt x="118" y="37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79" name="Freeform 699"/>
                <p:cNvSpPr>
                  <a:spLocks/>
                </p:cNvSpPr>
                <p:nvPr/>
              </p:nvSpPr>
              <p:spPr bwMode="auto">
                <a:xfrm>
                  <a:off x="3224" y="1937"/>
                  <a:ext cx="22" cy="16"/>
                </a:xfrm>
                <a:custGeom>
                  <a:avLst/>
                  <a:gdLst>
                    <a:gd name="T0" fmla="*/ 22 w 22"/>
                    <a:gd name="T1" fmla="*/ 0 h 16"/>
                    <a:gd name="T2" fmla="*/ 0 w 22"/>
                    <a:gd name="T3" fmla="*/ 5 h 16"/>
                    <a:gd name="T4" fmla="*/ 0 w 22"/>
                    <a:gd name="T5" fmla="*/ 16 h 16"/>
                    <a:gd name="T6" fmla="*/ 0 60000 65536"/>
                    <a:gd name="T7" fmla="*/ 0 60000 65536"/>
                    <a:gd name="T8" fmla="*/ 0 60000 65536"/>
                    <a:gd name="T9" fmla="*/ 0 w 22"/>
                    <a:gd name="T10" fmla="*/ 0 h 16"/>
                    <a:gd name="T11" fmla="*/ 22 w 22"/>
                    <a:gd name="T12" fmla="*/ 16 h 1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2" h="16">
                      <a:moveTo>
                        <a:pt x="22" y="0"/>
                      </a:moveTo>
                      <a:lnTo>
                        <a:pt x="0" y="5"/>
                      </a:lnTo>
                      <a:lnTo>
                        <a:pt x="0" y="16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80" name="Freeform 700"/>
                <p:cNvSpPr>
                  <a:spLocks/>
                </p:cNvSpPr>
                <p:nvPr/>
              </p:nvSpPr>
              <p:spPr bwMode="auto">
                <a:xfrm>
                  <a:off x="3058" y="1937"/>
                  <a:ext cx="257" cy="112"/>
                </a:xfrm>
                <a:custGeom>
                  <a:avLst/>
                  <a:gdLst>
                    <a:gd name="T0" fmla="*/ 182 w 257"/>
                    <a:gd name="T1" fmla="*/ 16 h 112"/>
                    <a:gd name="T2" fmla="*/ 59 w 257"/>
                    <a:gd name="T3" fmla="*/ 32 h 112"/>
                    <a:gd name="T4" fmla="*/ 32 w 257"/>
                    <a:gd name="T5" fmla="*/ 22 h 112"/>
                    <a:gd name="T6" fmla="*/ 11 w 257"/>
                    <a:gd name="T7" fmla="*/ 27 h 112"/>
                    <a:gd name="T8" fmla="*/ 11 w 257"/>
                    <a:gd name="T9" fmla="*/ 32 h 112"/>
                    <a:gd name="T10" fmla="*/ 0 w 257"/>
                    <a:gd name="T11" fmla="*/ 64 h 112"/>
                    <a:gd name="T12" fmla="*/ 0 w 257"/>
                    <a:gd name="T13" fmla="*/ 70 h 112"/>
                    <a:gd name="T14" fmla="*/ 155 w 257"/>
                    <a:gd name="T15" fmla="*/ 112 h 112"/>
                    <a:gd name="T16" fmla="*/ 166 w 257"/>
                    <a:gd name="T17" fmla="*/ 112 h 112"/>
                    <a:gd name="T18" fmla="*/ 209 w 257"/>
                    <a:gd name="T19" fmla="*/ 107 h 112"/>
                    <a:gd name="T20" fmla="*/ 252 w 257"/>
                    <a:gd name="T21" fmla="*/ 102 h 112"/>
                    <a:gd name="T22" fmla="*/ 252 w 257"/>
                    <a:gd name="T23" fmla="*/ 96 h 112"/>
                    <a:gd name="T24" fmla="*/ 257 w 257"/>
                    <a:gd name="T25" fmla="*/ 91 h 112"/>
                    <a:gd name="T26" fmla="*/ 220 w 257"/>
                    <a:gd name="T27" fmla="*/ 38 h 112"/>
                    <a:gd name="T28" fmla="*/ 188 w 257"/>
                    <a:gd name="T29" fmla="*/ 0 h 112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w 257"/>
                    <a:gd name="T46" fmla="*/ 0 h 112"/>
                    <a:gd name="T47" fmla="*/ 257 w 257"/>
                    <a:gd name="T48" fmla="*/ 112 h 112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T45" t="T46" r="T47" b="T48"/>
                  <a:pathLst>
                    <a:path w="257" h="112">
                      <a:moveTo>
                        <a:pt x="182" y="16"/>
                      </a:moveTo>
                      <a:lnTo>
                        <a:pt x="59" y="32"/>
                      </a:lnTo>
                      <a:lnTo>
                        <a:pt x="32" y="22"/>
                      </a:lnTo>
                      <a:lnTo>
                        <a:pt x="11" y="27"/>
                      </a:lnTo>
                      <a:lnTo>
                        <a:pt x="11" y="32"/>
                      </a:lnTo>
                      <a:lnTo>
                        <a:pt x="0" y="64"/>
                      </a:lnTo>
                      <a:lnTo>
                        <a:pt x="0" y="70"/>
                      </a:lnTo>
                      <a:lnTo>
                        <a:pt x="155" y="112"/>
                      </a:lnTo>
                      <a:lnTo>
                        <a:pt x="166" y="112"/>
                      </a:lnTo>
                      <a:lnTo>
                        <a:pt x="209" y="107"/>
                      </a:lnTo>
                      <a:lnTo>
                        <a:pt x="252" y="102"/>
                      </a:lnTo>
                      <a:lnTo>
                        <a:pt x="252" y="96"/>
                      </a:lnTo>
                      <a:lnTo>
                        <a:pt x="257" y="91"/>
                      </a:lnTo>
                      <a:lnTo>
                        <a:pt x="220" y="38"/>
                      </a:lnTo>
                      <a:lnTo>
                        <a:pt x="188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81" name="Freeform 701"/>
                <p:cNvSpPr>
                  <a:spLocks/>
                </p:cNvSpPr>
                <p:nvPr/>
              </p:nvSpPr>
              <p:spPr bwMode="auto">
                <a:xfrm>
                  <a:off x="3069" y="1969"/>
                  <a:ext cx="150" cy="80"/>
                </a:xfrm>
                <a:custGeom>
                  <a:avLst/>
                  <a:gdLst>
                    <a:gd name="T0" fmla="*/ 150 w 150"/>
                    <a:gd name="T1" fmla="*/ 80 h 80"/>
                    <a:gd name="T2" fmla="*/ 75 w 150"/>
                    <a:gd name="T3" fmla="*/ 32 h 80"/>
                    <a:gd name="T4" fmla="*/ 0 w 150"/>
                    <a:gd name="T5" fmla="*/ 0 h 80"/>
                    <a:gd name="T6" fmla="*/ 0 60000 65536"/>
                    <a:gd name="T7" fmla="*/ 0 60000 65536"/>
                    <a:gd name="T8" fmla="*/ 0 60000 65536"/>
                    <a:gd name="T9" fmla="*/ 0 w 150"/>
                    <a:gd name="T10" fmla="*/ 0 h 80"/>
                    <a:gd name="T11" fmla="*/ 150 w 150"/>
                    <a:gd name="T12" fmla="*/ 80 h 80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50" h="80">
                      <a:moveTo>
                        <a:pt x="150" y="80"/>
                      </a:moveTo>
                      <a:lnTo>
                        <a:pt x="75" y="32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82" name="Freeform 702"/>
                <p:cNvSpPr>
                  <a:spLocks/>
                </p:cNvSpPr>
                <p:nvPr/>
              </p:nvSpPr>
              <p:spPr bwMode="auto">
                <a:xfrm>
                  <a:off x="3074" y="1964"/>
                  <a:ext cx="145" cy="80"/>
                </a:xfrm>
                <a:custGeom>
                  <a:avLst/>
                  <a:gdLst>
                    <a:gd name="T0" fmla="*/ 145 w 145"/>
                    <a:gd name="T1" fmla="*/ 80 h 80"/>
                    <a:gd name="T2" fmla="*/ 75 w 145"/>
                    <a:gd name="T3" fmla="*/ 37 h 80"/>
                    <a:gd name="T4" fmla="*/ 0 w 145"/>
                    <a:gd name="T5" fmla="*/ 0 h 80"/>
                    <a:gd name="T6" fmla="*/ 0 60000 65536"/>
                    <a:gd name="T7" fmla="*/ 0 60000 65536"/>
                    <a:gd name="T8" fmla="*/ 0 60000 65536"/>
                    <a:gd name="T9" fmla="*/ 0 w 145"/>
                    <a:gd name="T10" fmla="*/ 0 h 80"/>
                    <a:gd name="T11" fmla="*/ 145 w 145"/>
                    <a:gd name="T12" fmla="*/ 80 h 80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45" h="80">
                      <a:moveTo>
                        <a:pt x="145" y="80"/>
                      </a:moveTo>
                      <a:lnTo>
                        <a:pt x="75" y="37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83" name="Line 703"/>
                <p:cNvSpPr>
                  <a:spLocks noChangeShapeType="1"/>
                </p:cNvSpPr>
                <p:nvPr/>
              </p:nvSpPr>
              <p:spPr bwMode="auto">
                <a:xfrm flipH="1" flipV="1">
                  <a:off x="3230" y="1942"/>
                  <a:ext cx="10" cy="11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84" name="Line 704"/>
                <p:cNvSpPr>
                  <a:spLocks noChangeShapeType="1"/>
                </p:cNvSpPr>
                <p:nvPr/>
              </p:nvSpPr>
              <p:spPr bwMode="auto">
                <a:xfrm>
                  <a:off x="3074" y="2023"/>
                  <a:ext cx="113" cy="21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85" name="Line 705"/>
                <p:cNvSpPr>
                  <a:spLocks noChangeShapeType="1"/>
                </p:cNvSpPr>
                <p:nvPr/>
              </p:nvSpPr>
              <p:spPr bwMode="auto">
                <a:xfrm flipV="1">
                  <a:off x="3192" y="1932"/>
                  <a:ext cx="1" cy="27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86" name="Freeform 706"/>
                <p:cNvSpPr>
                  <a:spLocks/>
                </p:cNvSpPr>
                <p:nvPr/>
              </p:nvSpPr>
              <p:spPr bwMode="auto">
                <a:xfrm>
                  <a:off x="2490" y="1825"/>
                  <a:ext cx="707" cy="134"/>
                </a:xfrm>
                <a:custGeom>
                  <a:avLst/>
                  <a:gdLst>
                    <a:gd name="T0" fmla="*/ 702 w 707"/>
                    <a:gd name="T1" fmla="*/ 91 h 134"/>
                    <a:gd name="T2" fmla="*/ 707 w 707"/>
                    <a:gd name="T3" fmla="*/ 96 h 134"/>
                    <a:gd name="T4" fmla="*/ 707 w 707"/>
                    <a:gd name="T5" fmla="*/ 107 h 134"/>
                    <a:gd name="T6" fmla="*/ 531 w 707"/>
                    <a:gd name="T7" fmla="*/ 134 h 134"/>
                    <a:gd name="T8" fmla="*/ 514 w 707"/>
                    <a:gd name="T9" fmla="*/ 128 h 134"/>
                    <a:gd name="T10" fmla="*/ 0 w 707"/>
                    <a:gd name="T11" fmla="*/ 21 h 134"/>
                    <a:gd name="T12" fmla="*/ 0 w 707"/>
                    <a:gd name="T13" fmla="*/ 16 h 134"/>
                    <a:gd name="T14" fmla="*/ 161 w 707"/>
                    <a:gd name="T15" fmla="*/ 0 h 134"/>
                    <a:gd name="T16" fmla="*/ 702 w 707"/>
                    <a:gd name="T17" fmla="*/ 91 h 13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707"/>
                    <a:gd name="T28" fmla="*/ 0 h 134"/>
                    <a:gd name="T29" fmla="*/ 707 w 707"/>
                    <a:gd name="T30" fmla="*/ 134 h 134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707" h="134">
                      <a:moveTo>
                        <a:pt x="702" y="91"/>
                      </a:moveTo>
                      <a:lnTo>
                        <a:pt x="707" y="96"/>
                      </a:lnTo>
                      <a:lnTo>
                        <a:pt x="707" y="107"/>
                      </a:lnTo>
                      <a:lnTo>
                        <a:pt x="531" y="134"/>
                      </a:lnTo>
                      <a:lnTo>
                        <a:pt x="514" y="128"/>
                      </a:lnTo>
                      <a:lnTo>
                        <a:pt x="0" y="21"/>
                      </a:lnTo>
                      <a:lnTo>
                        <a:pt x="0" y="16"/>
                      </a:lnTo>
                      <a:lnTo>
                        <a:pt x="161" y="0"/>
                      </a:lnTo>
                      <a:lnTo>
                        <a:pt x="702" y="91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87" name="Freeform 707"/>
                <p:cNvSpPr>
                  <a:spLocks/>
                </p:cNvSpPr>
                <p:nvPr/>
              </p:nvSpPr>
              <p:spPr bwMode="auto">
                <a:xfrm>
                  <a:off x="3021" y="1921"/>
                  <a:ext cx="176" cy="32"/>
                </a:xfrm>
                <a:custGeom>
                  <a:avLst/>
                  <a:gdLst>
                    <a:gd name="T0" fmla="*/ 176 w 176"/>
                    <a:gd name="T1" fmla="*/ 0 h 32"/>
                    <a:gd name="T2" fmla="*/ 0 w 176"/>
                    <a:gd name="T3" fmla="*/ 21 h 32"/>
                    <a:gd name="T4" fmla="*/ 0 w 176"/>
                    <a:gd name="T5" fmla="*/ 32 h 32"/>
                    <a:gd name="T6" fmla="*/ 0 60000 65536"/>
                    <a:gd name="T7" fmla="*/ 0 60000 65536"/>
                    <a:gd name="T8" fmla="*/ 0 60000 65536"/>
                    <a:gd name="T9" fmla="*/ 0 w 176"/>
                    <a:gd name="T10" fmla="*/ 0 h 32"/>
                    <a:gd name="T11" fmla="*/ 176 w 176"/>
                    <a:gd name="T12" fmla="*/ 32 h 32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76" h="32">
                      <a:moveTo>
                        <a:pt x="176" y="0"/>
                      </a:moveTo>
                      <a:lnTo>
                        <a:pt x="0" y="21"/>
                      </a:lnTo>
                      <a:lnTo>
                        <a:pt x="0" y="32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88" name="Freeform 708"/>
                <p:cNvSpPr>
                  <a:spLocks/>
                </p:cNvSpPr>
                <p:nvPr/>
              </p:nvSpPr>
              <p:spPr bwMode="auto">
                <a:xfrm>
                  <a:off x="2999" y="1937"/>
                  <a:ext cx="22" cy="16"/>
                </a:xfrm>
                <a:custGeom>
                  <a:avLst/>
                  <a:gdLst>
                    <a:gd name="T0" fmla="*/ 22 w 22"/>
                    <a:gd name="T1" fmla="*/ 5 h 16"/>
                    <a:gd name="T2" fmla="*/ 0 w 22"/>
                    <a:gd name="T3" fmla="*/ 0 h 16"/>
                    <a:gd name="T4" fmla="*/ 0 w 22"/>
                    <a:gd name="T5" fmla="*/ 16 h 16"/>
                    <a:gd name="T6" fmla="*/ 0 60000 65536"/>
                    <a:gd name="T7" fmla="*/ 0 60000 65536"/>
                    <a:gd name="T8" fmla="*/ 0 60000 65536"/>
                    <a:gd name="T9" fmla="*/ 0 w 22"/>
                    <a:gd name="T10" fmla="*/ 0 h 16"/>
                    <a:gd name="T11" fmla="*/ 22 w 22"/>
                    <a:gd name="T12" fmla="*/ 16 h 1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2" h="16">
                      <a:moveTo>
                        <a:pt x="22" y="5"/>
                      </a:moveTo>
                      <a:lnTo>
                        <a:pt x="0" y="0"/>
                      </a:lnTo>
                      <a:lnTo>
                        <a:pt x="0" y="16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89" name="Line 709"/>
                <p:cNvSpPr>
                  <a:spLocks noChangeShapeType="1"/>
                </p:cNvSpPr>
                <p:nvPr/>
              </p:nvSpPr>
              <p:spPr bwMode="auto">
                <a:xfrm flipH="1" flipV="1">
                  <a:off x="2490" y="1836"/>
                  <a:ext cx="509" cy="101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90" name="Freeform 710"/>
                <p:cNvSpPr>
                  <a:spLocks/>
                </p:cNvSpPr>
                <p:nvPr/>
              </p:nvSpPr>
              <p:spPr bwMode="auto">
                <a:xfrm>
                  <a:off x="2495" y="1846"/>
                  <a:ext cx="547" cy="379"/>
                </a:xfrm>
                <a:custGeom>
                  <a:avLst/>
                  <a:gdLst>
                    <a:gd name="T0" fmla="*/ 0 w 547"/>
                    <a:gd name="T1" fmla="*/ 0 h 379"/>
                    <a:gd name="T2" fmla="*/ 6 w 547"/>
                    <a:gd name="T3" fmla="*/ 193 h 379"/>
                    <a:gd name="T4" fmla="*/ 515 w 547"/>
                    <a:gd name="T5" fmla="*/ 379 h 379"/>
                    <a:gd name="T6" fmla="*/ 547 w 547"/>
                    <a:gd name="T7" fmla="*/ 369 h 379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547"/>
                    <a:gd name="T13" fmla="*/ 0 h 379"/>
                    <a:gd name="T14" fmla="*/ 547 w 547"/>
                    <a:gd name="T15" fmla="*/ 379 h 379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547" h="379">
                      <a:moveTo>
                        <a:pt x="0" y="0"/>
                      </a:moveTo>
                      <a:lnTo>
                        <a:pt x="6" y="193"/>
                      </a:lnTo>
                      <a:lnTo>
                        <a:pt x="515" y="379"/>
                      </a:lnTo>
                      <a:lnTo>
                        <a:pt x="547" y="369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91" name="Line 711"/>
                <p:cNvSpPr>
                  <a:spLocks noChangeShapeType="1"/>
                </p:cNvSpPr>
                <p:nvPr/>
              </p:nvSpPr>
              <p:spPr bwMode="auto">
                <a:xfrm flipV="1">
                  <a:off x="3010" y="1959"/>
                  <a:ext cx="1" cy="261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92" name="Freeform 712"/>
                <p:cNvSpPr>
                  <a:spLocks/>
                </p:cNvSpPr>
                <p:nvPr/>
              </p:nvSpPr>
              <p:spPr bwMode="auto">
                <a:xfrm>
                  <a:off x="2501" y="2017"/>
                  <a:ext cx="541" cy="182"/>
                </a:xfrm>
                <a:custGeom>
                  <a:avLst/>
                  <a:gdLst>
                    <a:gd name="T0" fmla="*/ 541 w 541"/>
                    <a:gd name="T1" fmla="*/ 176 h 182"/>
                    <a:gd name="T2" fmla="*/ 509 w 541"/>
                    <a:gd name="T3" fmla="*/ 182 h 182"/>
                    <a:gd name="T4" fmla="*/ 0 w 541"/>
                    <a:gd name="T5" fmla="*/ 0 h 182"/>
                    <a:gd name="T6" fmla="*/ 0 60000 65536"/>
                    <a:gd name="T7" fmla="*/ 0 60000 65536"/>
                    <a:gd name="T8" fmla="*/ 0 60000 65536"/>
                    <a:gd name="T9" fmla="*/ 0 w 541"/>
                    <a:gd name="T10" fmla="*/ 0 h 182"/>
                    <a:gd name="T11" fmla="*/ 541 w 541"/>
                    <a:gd name="T12" fmla="*/ 182 h 182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541" h="182">
                      <a:moveTo>
                        <a:pt x="541" y="176"/>
                      </a:moveTo>
                      <a:lnTo>
                        <a:pt x="509" y="182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93" name="Line 713"/>
                <p:cNvSpPr>
                  <a:spLocks noChangeShapeType="1"/>
                </p:cNvSpPr>
                <p:nvPr/>
              </p:nvSpPr>
              <p:spPr bwMode="auto">
                <a:xfrm flipV="1">
                  <a:off x="2999" y="1953"/>
                  <a:ext cx="1" cy="246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94" name="Line 714"/>
                <p:cNvSpPr>
                  <a:spLocks noChangeShapeType="1"/>
                </p:cNvSpPr>
                <p:nvPr/>
              </p:nvSpPr>
              <p:spPr bwMode="auto">
                <a:xfrm flipV="1">
                  <a:off x="3015" y="1959"/>
                  <a:ext cx="1" cy="240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95" name="Line 715"/>
                <p:cNvSpPr>
                  <a:spLocks noChangeShapeType="1"/>
                </p:cNvSpPr>
                <p:nvPr/>
              </p:nvSpPr>
              <p:spPr bwMode="auto">
                <a:xfrm flipV="1">
                  <a:off x="2854" y="1926"/>
                  <a:ext cx="1" cy="219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96" name="Line 716"/>
                <p:cNvSpPr>
                  <a:spLocks noChangeShapeType="1"/>
                </p:cNvSpPr>
                <p:nvPr/>
              </p:nvSpPr>
              <p:spPr bwMode="auto">
                <a:xfrm flipH="1" flipV="1">
                  <a:off x="2704" y="1894"/>
                  <a:ext cx="6" cy="198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97" name="Line 717"/>
                <p:cNvSpPr>
                  <a:spLocks noChangeShapeType="1"/>
                </p:cNvSpPr>
                <p:nvPr/>
              </p:nvSpPr>
              <p:spPr bwMode="auto">
                <a:xfrm flipH="1" flipV="1">
                  <a:off x="2587" y="1868"/>
                  <a:ext cx="5" cy="187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98" name="Line 718"/>
                <p:cNvSpPr>
                  <a:spLocks noChangeShapeType="1"/>
                </p:cNvSpPr>
                <p:nvPr/>
              </p:nvSpPr>
              <p:spPr bwMode="auto">
                <a:xfrm flipV="1">
                  <a:off x="2854" y="1889"/>
                  <a:ext cx="167" cy="21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199" name="Line 719"/>
                <p:cNvSpPr>
                  <a:spLocks noChangeShapeType="1"/>
                </p:cNvSpPr>
                <p:nvPr/>
              </p:nvSpPr>
              <p:spPr bwMode="auto">
                <a:xfrm flipV="1">
                  <a:off x="2710" y="1862"/>
                  <a:ext cx="161" cy="22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00" name="Line 720"/>
                <p:cNvSpPr>
                  <a:spLocks noChangeShapeType="1"/>
                </p:cNvSpPr>
                <p:nvPr/>
              </p:nvSpPr>
              <p:spPr bwMode="auto">
                <a:xfrm flipV="1">
                  <a:off x="2587" y="1841"/>
                  <a:ext cx="155" cy="16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01" name="Freeform 721"/>
                <p:cNvSpPr>
                  <a:spLocks/>
                </p:cNvSpPr>
                <p:nvPr/>
              </p:nvSpPr>
              <p:spPr bwMode="auto">
                <a:xfrm>
                  <a:off x="2978" y="2231"/>
                  <a:ext cx="85" cy="96"/>
                </a:xfrm>
                <a:custGeom>
                  <a:avLst/>
                  <a:gdLst>
                    <a:gd name="T0" fmla="*/ 26 w 85"/>
                    <a:gd name="T1" fmla="*/ 0 h 96"/>
                    <a:gd name="T2" fmla="*/ 0 w 85"/>
                    <a:gd name="T3" fmla="*/ 10 h 96"/>
                    <a:gd name="T4" fmla="*/ 0 w 85"/>
                    <a:gd name="T5" fmla="*/ 10 h 96"/>
                    <a:gd name="T6" fmla="*/ 0 w 85"/>
                    <a:gd name="T7" fmla="*/ 48 h 96"/>
                    <a:gd name="T8" fmla="*/ 0 w 85"/>
                    <a:gd name="T9" fmla="*/ 53 h 96"/>
                    <a:gd name="T10" fmla="*/ 85 w 85"/>
                    <a:gd name="T11" fmla="*/ 96 h 9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85"/>
                    <a:gd name="T19" fmla="*/ 0 h 96"/>
                    <a:gd name="T20" fmla="*/ 85 w 85"/>
                    <a:gd name="T21" fmla="*/ 96 h 9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85" h="96">
                      <a:moveTo>
                        <a:pt x="26" y="0"/>
                      </a:moveTo>
                      <a:lnTo>
                        <a:pt x="0" y="10"/>
                      </a:lnTo>
                      <a:lnTo>
                        <a:pt x="0" y="48"/>
                      </a:lnTo>
                      <a:lnTo>
                        <a:pt x="0" y="53"/>
                      </a:lnTo>
                      <a:lnTo>
                        <a:pt x="85" y="96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02" name="Line 722"/>
                <p:cNvSpPr>
                  <a:spLocks noChangeShapeType="1"/>
                </p:cNvSpPr>
                <p:nvPr/>
              </p:nvSpPr>
              <p:spPr bwMode="auto">
                <a:xfrm>
                  <a:off x="2978" y="2241"/>
                  <a:ext cx="91" cy="43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03" name="Freeform 723"/>
                <p:cNvSpPr>
                  <a:spLocks/>
                </p:cNvSpPr>
                <p:nvPr/>
              </p:nvSpPr>
              <p:spPr bwMode="auto">
                <a:xfrm>
                  <a:off x="2999" y="2241"/>
                  <a:ext cx="38" cy="54"/>
                </a:xfrm>
                <a:custGeom>
                  <a:avLst/>
                  <a:gdLst>
                    <a:gd name="T0" fmla="*/ 0 w 38"/>
                    <a:gd name="T1" fmla="*/ 54 h 54"/>
                    <a:gd name="T2" fmla="*/ 0 w 38"/>
                    <a:gd name="T3" fmla="*/ 11 h 54"/>
                    <a:gd name="T4" fmla="*/ 38 w 38"/>
                    <a:gd name="T5" fmla="*/ 0 h 54"/>
                    <a:gd name="T6" fmla="*/ 0 60000 65536"/>
                    <a:gd name="T7" fmla="*/ 0 60000 65536"/>
                    <a:gd name="T8" fmla="*/ 0 60000 65536"/>
                    <a:gd name="T9" fmla="*/ 0 w 38"/>
                    <a:gd name="T10" fmla="*/ 0 h 54"/>
                    <a:gd name="T11" fmla="*/ 38 w 38"/>
                    <a:gd name="T12" fmla="*/ 54 h 54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38" h="54">
                      <a:moveTo>
                        <a:pt x="0" y="54"/>
                      </a:moveTo>
                      <a:lnTo>
                        <a:pt x="0" y="11"/>
                      </a:lnTo>
                      <a:lnTo>
                        <a:pt x="38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04" name="Freeform 724"/>
                <p:cNvSpPr>
                  <a:spLocks/>
                </p:cNvSpPr>
                <p:nvPr/>
              </p:nvSpPr>
              <p:spPr bwMode="auto">
                <a:xfrm>
                  <a:off x="2994" y="2241"/>
                  <a:ext cx="37" cy="54"/>
                </a:xfrm>
                <a:custGeom>
                  <a:avLst/>
                  <a:gdLst>
                    <a:gd name="T0" fmla="*/ 0 w 37"/>
                    <a:gd name="T1" fmla="*/ 54 h 54"/>
                    <a:gd name="T2" fmla="*/ 0 w 37"/>
                    <a:gd name="T3" fmla="*/ 11 h 54"/>
                    <a:gd name="T4" fmla="*/ 37 w 37"/>
                    <a:gd name="T5" fmla="*/ 0 h 54"/>
                    <a:gd name="T6" fmla="*/ 0 60000 65536"/>
                    <a:gd name="T7" fmla="*/ 0 60000 65536"/>
                    <a:gd name="T8" fmla="*/ 0 60000 65536"/>
                    <a:gd name="T9" fmla="*/ 0 w 37"/>
                    <a:gd name="T10" fmla="*/ 0 h 54"/>
                    <a:gd name="T11" fmla="*/ 37 w 37"/>
                    <a:gd name="T12" fmla="*/ 54 h 54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37" h="54">
                      <a:moveTo>
                        <a:pt x="0" y="54"/>
                      </a:moveTo>
                      <a:lnTo>
                        <a:pt x="0" y="11"/>
                      </a:lnTo>
                      <a:lnTo>
                        <a:pt x="37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05" name="Freeform 725"/>
                <p:cNvSpPr>
                  <a:spLocks/>
                </p:cNvSpPr>
                <p:nvPr/>
              </p:nvSpPr>
              <p:spPr bwMode="auto">
                <a:xfrm>
                  <a:off x="3042" y="2268"/>
                  <a:ext cx="5" cy="48"/>
                </a:xfrm>
                <a:custGeom>
                  <a:avLst/>
                  <a:gdLst>
                    <a:gd name="T0" fmla="*/ 0 w 5"/>
                    <a:gd name="T1" fmla="*/ 48 h 48"/>
                    <a:gd name="T2" fmla="*/ 0 w 5"/>
                    <a:gd name="T3" fmla="*/ 6 h 48"/>
                    <a:gd name="T4" fmla="*/ 5 w 5"/>
                    <a:gd name="T5" fmla="*/ 0 h 48"/>
                    <a:gd name="T6" fmla="*/ 0 60000 65536"/>
                    <a:gd name="T7" fmla="*/ 0 60000 65536"/>
                    <a:gd name="T8" fmla="*/ 0 60000 65536"/>
                    <a:gd name="T9" fmla="*/ 0 w 5"/>
                    <a:gd name="T10" fmla="*/ 0 h 48"/>
                    <a:gd name="T11" fmla="*/ 5 w 5"/>
                    <a:gd name="T12" fmla="*/ 48 h 4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5" h="48">
                      <a:moveTo>
                        <a:pt x="0" y="48"/>
                      </a:moveTo>
                      <a:lnTo>
                        <a:pt x="0" y="6"/>
                      </a:lnTo>
                      <a:lnTo>
                        <a:pt x="5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06" name="Freeform 726"/>
                <p:cNvSpPr>
                  <a:spLocks/>
                </p:cNvSpPr>
                <p:nvPr/>
              </p:nvSpPr>
              <p:spPr bwMode="auto">
                <a:xfrm>
                  <a:off x="3037" y="2263"/>
                  <a:ext cx="5" cy="53"/>
                </a:xfrm>
                <a:custGeom>
                  <a:avLst/>
                  <a:gdLst>
                    <a:gd name="T0" fmla="*/ 0 w 5"/>
                    <a:gd name="T1" fmla="*/ 53 h 53"/>
                    <a:gd name="T2" fmla="*/ 0 w 5"/>
                    <a:gd name="T3" fmla="*/ 5 h 53"/>
                    <a:gd name="T4" fmla="*/ 5 w 5"/>
                    <a:gd name="T5" fmla="*/ 0 h 53"/>
                    <a:gd name="T6" fmla="*/ 0 60000 65536"/>
                    <a:gd name="T7" fmla="*/ 0 60000 65536"/>
                    <a:gd name="T8" fmla="*/ 0 60000 65536"/>
                    <a:gd name="T9" fmla="*/ 0 w 5"/>
                    <a:gd name="T10" fmla="*/ 0 h 53"/>
                    <a:gd name="T11" fmla="*/ 5 w 5"/>
                    <a:gd name="T12" fmla="*/ 53 h 53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5" h="53">
                      <a:moveTo>
                        <a:pt x="0" y="53"/>
                      </a:moveTo>
                      <a:lnTo>
                        <a:pt x="0" y="5"/>
                      </a:lnTo>
                      <a:lnTo>
                        <a:pt x="5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07" name="Line 727"/>
                <p:cNvSpPr>
                  <a:spLocks noChangeShapeType="1"/>
                </p:cNvSpPr>
                <p:nvPr/>
              </p:nvSpPr>
              <p:spPr bwMode="auto">
                <a:xfrm>
                  <a:off x="2978" y="2241"/>
                  <a:ext cx="16" cy="11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08" name="Line 728"/>
                <p:cNvSpPr>
                  <a:spLocks noChangeShapeType="1"/>
                </p:cNvSpPr>
                <p:nvPr/>
              </p:nvSpPr>
              <p:spPr bwMode="auto">
                <a:xfrm>
                  <a:off x="2999" y="2252"/>
                  <a:ext cx="32" cy="16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09" name="Line 729"/>
                <p:cNvSpPr>
                  <a:spLocks noChangeShapeType="1"/>
                </p:cNvSpPr>
                <p:nvPr/>
              </p:nvSpPr>
              <p:spPr bwMode="auto">
                <a:xfrm>
                  <a:off x="3042" y="2274"/>
                  <a:ext cx="21" cy="10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10" name="Freeform 730"/>
                <p:cNvSpPr>
                  <a:spLocks/>
                </p:cNvSpPr>
                <p:nvPr/>
              </p:nvSpPr>
              <p:spPr bwMode="auto">
                <a:xfrm>
                  <a:off x="2962" y="2209"/>
                  <a:ext cx="85" cy="38"/>
                </a:xfrm>
                <a:custGeom>
                  <a:avLst/>
                  <a:gdLst>
                    <a:gd name="T0" fmla="*/ 85 w 85"/>
                    <a:gd name="T1" fmla="*/ 38 h 38"/>
                    <a:gd name="T2" fmla="*/ 0 w 85"/>
                    <a:gd name="T3" fmla="*/ 6 h 38"/>
                    <a:gd name="T4" fmla="*/ 0 w 85"/>
                    <a:gd name="T5" fmla="*/ 0 h 38"/>
                    <a:gd name="T6" fmla="*/ 0 60000 65536"/>
                    <a:gd name="T7" fmla="*/ 0 60000 65536"/>
                    <a:gd name="T8" fmla="*/ 0 60000 65536"/>
                    <a:gd name="T9" fmla="*/ 0 w 85"/>
                    <a:gd name="T10" fmla="*/ 0 h 38"/>
                    <a:gd name="T11" fmla="*/ 85 w 85"/>
                    <a:gd name="T12" fmla="*/ 38 h 38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85" h="38">
                      <a:moveTo>
                        <a:pt x="85" y="38"/>
                      </a:moveTo>
                      <a:lnTo>
                        <a:pt x="0" y="6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11" name="Line 731"/>
                <p:cNvSpPr>
                  <a:spLocks noChangeShapeType="1"/>
                </p:cNvSpPr>
                <p:nvPr/>
              </p:nvSpPr>
              <p:spPr bwMode="auto">
                <a:xfrm flipH="1" flipV="1">
                  <a:off x="3015" y="2225"/>
                  <a:ext cx="32" cy="11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12" name="Line 732"/>
                <p:cNvSpPr>
                  <a:spLocks noChangeShapeType="1"/>
                </p:cNvSpPr>
                <p:nvPr/>
              </p:nvSpPr>
              <p:spPr bwMode="auto">
                <a:xfrm flipH="1" flipV="1">
                  <a:off x="3021" y="2220"/>
                  <a:ext cx="21" cy="5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13" name="Freeform 733"/>
                <p:cNvSpPr>
                  <a:spLocks/>
                </p:cNvSpPr>
                <p:nvPr/>
              </p:nvSpPr>
              <p:spPr bwMode="auto">
                <a:xfrm>
                  <a:off x="3021" y="2258"/>
                  <a:ext cx="10" cy="1"/>
                </a:xfrm>
                <a:custGeom>
                  <a:avLst/>
                  <a:gdLst>
                    <a:gd name="T0" fmla="*/ 10 w 10"/>
                    <a:gd name="T1" fmla="*/ 0 h 1"/>
                    <a:gd name="T2" fmla="*/ 5 w 10"/>
                    <a:gd name="T3" fmla="*/ 0 h 1"/>
                    <a:gd name="T4" fmla="*/ 5 w 10"/>
                    <a:gd name="T5" fmla="*/ 0 h 1"/>
                    <a:gd name="T6" fmla="*/ 0 w 10"/>
                    <a:gd name="T7" fmla="*/ 0 h 1"/>
                    <a:gd name="T8" fmla="*/ 0 w 10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0"/>
                    <a:gd name="T16" fmla="*/ 0 h 1"/>
                    <a:gd name="T17" fmla="*/ 10 w 10"/>
                    <a:gd name="T18" fmla="*/ 1 h 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0" h="1">
                      <a:moveTo>
                        <a:pt x="10" y="0"/>
                      </a:moveTo>
                      <a:lnTo>
                        <a:pt x="5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14" name="Freeform 734"/>
                <p:cNvSpPr>
                  <a:spLocks/>
                </p:cNvSpPr>
                <p:nvPr/>
              </p:nvSpPr>
              <p:spPr bwMode="auto">
                <a:xfrm>
                  <a:off x="3021" y="2247"/>
                  <a:ext cx="10" cy="5"/>
                </a:xfrm>
                <a:custGeom>
                  <a:avLst/>
                  <a:gdLst>
                    <a:gd name="T0" fmla="*/ 5 w 10"/>
                    <a:gd name="T1" fmla="*/ 5 h 5"/>
                    <a:gd name="T2" fmla="*/ 0 w 10"/>
                    <a:gd name="T3" fmla="*/ 0 h 5"/>
                    <a:gd name="T4" fmla="*/ 0 w 10"/>
                    <a:gd name="T5" fmla="*/ 0 h 5"/>
                    <a:gd name="T6" fmla="*/ 0 w 10"/>
                    <a:gd name="T7" fmla="*/ 0 h 5"/>
                    <a:gd name="T8" fmla="*/ 5 w 10"/>
                    <a:gd name="T9" fmla="*/ 0 h 5"/>
                    <a:gd name="T10" fmla="*/ 5 w 10"/>
                    <a:gd name="T11" fmla="*/ 0 h 5"/>
                    <a:gd name="T12" fmla="*/ 10 w 10"/>
                    <a:gd name="T13" fmla="*/ 0 h 5"/>
                    <a:gd name="T14" fmla="*/ 5 w 10"/>
                    <a:gd name="T15" fmla="*/ 0 h 5"/>
                    <a:gd name="T16" fmla="*/ 5 w 10"/>
                    <a:gd name="T17" fmla="*/ 5 h 5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0"/>
                    <a:gd name="T28" fmla="*/ 0 h 5"/>
                    <a:gd name="T29" fmla="*/ 10 w 10"/>
                    <a:gd name="T30" fmla="*/ 5 h 5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0" h="5">
                      <a:moveTo>
                        <a:pt x="5" y="5"/>
                      </a:move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10" y="0"/>
                      </a:lnTo>
                      <a:lnTo>
                        <a:pt x="5" y="0"/>
                      </a:lnTo>
                      <a:lnTo>
                        <a:pt x="5" y="5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15" name="Line 735"/>
                <p:cNvSpPr>
                  <a:spLocks noChangeShapeType="1"/>
                </p:cNvSpPr>
                <p:nvPr/>
              </p:nvSpPr>
              <p:spPr bwMode="auto">
                <a:xfrm flipV="1">
                  <a:off x="3021" y="2252"/>
                  <a:ext cx="1" cy="6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16" name="Line 736"/>
                <p:cNvSpPr>
                  <a:spLocks noChangeShapeType="1"/>
                </p:cNvSpPr>
                <p:nvPr/>
              </p:nvSpPr>
              <p:spPr bwMode="auto">
                <a:xfrm flipV="1">
                  <a:off x="3031" y="2252"/>
                  <a:ext cx="1" cy="6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17" name="Freeform 737"/>
                <p:cNvSpPr>
                  <a:spLocks/>
                </p:cNvSpPr>
                <p:nvPr/>
              </p:nvSpPr>
              <p:spPr bwMode="auto">
                <a:xfrm>
                  <a:off x="3037" y="2220"/>
                  <a:ext cx="5" cy="5"/>
                </a:xfrm>
                <a:custGeom>
                  <a:avLst/>
                  <a:gdLst>
                    <a:gd name="T0" fmla="*/ 5 w 5"/>
                    <a:gd name="T1" fmla="*/ 0 h 5"/>
                    <a:gd name="T2" fmla="*/ 0 w 5"/>
                    <a:gd name="T3" fmla="*/ 0 h 5"/>
                    <a:gd name="T4" fmla="*/ 5 w 5"/>
                    <a:gd name="T5" fmla="*/ 5 h 5"/>
                    <a:gd name="T6" fmla="*/ 0 60000 65536"/>
                    <a:gd name="T7" fmla="*/ 0 60000 65536"/>
                    <a:gd name="T8" fmla="*/ 0 60000 65536"/>
                    <a:gd name="T9" fmla="*/ 0 w 5"/>
                    <a:gd name="T10" fmla="*/ 0 h 5"/>
                    <a:gd name="T11" fmla="*/ 5 w 5"/>
                    <a:gd name="T12" fmla="*/ 5 h 5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5" h="5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5" y="5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18" name="Freeform 738"/>
                <p:cNvSpPr>
                  <a:spLocks/>
                </p:cNvSpPr>
                <p:nvPr/>
              </p:nvSpPr>
              <p:spPr bwMode="auto">
                <a:xfrm>
                  <a:off x="2897" y="2215"/>
                  <a:ext cx="43" cy="85"/>
                </a:xfrm>
                <a:custGeom>
                  <a:avLst/>
                  <a:gdLst>
                    <a:gd name="T0" fmla="*/ 32 w 43"/>
                    <a:gd name="T1" fmla="*/ 85 h 85"/>
                    <a:gd name="T2" fmla="*/ 16 w 43"/>
                    <a:gd name="T3" fmla="*/ 80 h 85"/>
                    <a:gd name="T4" fmla="*/ 11 w 43"/>
                    <a:gd name="T5" fmla="*/ 75 h 85"/>
                    <a:gd name="T6" fmla="*/ 0 w 43"/>
                    <a:gd name="T7" fmla="*/ 48 h 85"/>
                    <a:gd name="T8" fmla="*/ 0 w 43"/>
                    <a:gd name="T9" fmla="*/ 10 h 85"/>
                    <a:gd name="T10" fmla="*/ 6 w 43"/>
                    <a:gd name="T11" fmla="*/ 0 h 85"/>
                    <a:gd name="T12" fmla="*/ 16 w 43"/>
                    <a:gd name="T13" fmla="*/ 0 h 85"/>
                    <a:gd name="T14" fmla="*/ 22 w 43"/>
                    <a:gd name="T15" fmla="*/ 0 h 85"/>
                    <a:gd name="T16" fmla="*/ 27 w 43"/>
                    <a:gd name="T17" fmla="*/ 5 h 85"/>
                    <a:gd name="T18" fmla="*/ 38 w 43"/>
                    <a:gd name="T19" fmla="*/ 16 h 85"/>
                    <a:gd name="T20" fmla="*/ 43 w 43"/>
                    <a:gd name="T21" fmla="*/ 37 h 85"/>
                    <a:gd name="T22" fmla="*/ 43 w 43"/>
                    <a:gd name="T23" fmla="*/ 64 h 85"/>
                    <a:gd name="T24" fmla="*/ 38 w 43"/>
                    <a:gd name="T25" fmla="*/ 75 h 85"/>
                    <a:gd name="T26" fmla="*/ 32 w 43"/>
                    <a:gd name="T27" fmla="*/ 85 h 85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43"/>
                    <a:gd name="T43" fmla="*/ 0 h 85"/>
                    <a:gd name="T44" fmla="*/ 43 w 43"/>
                    <a:gd name="T45" fmla="*/ 85 h 85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43" h="85">
                      <a:moveTo>
                        <a:pt x="32" y="85"/>
                      </a:moveTo>
                      <a:lnTo>
                        <a:pt x="16" y="80"/>
                      </a:lnTo>
                      <a:lnTo>
                        <a:pt x="11" y="75"/>
                      </a:lnTo>
                      <a:lnTo>
                        <a:pt x="0" y="48"/>
                      </a:lnTo>
                      <a:lnTo>
                        <a:pt x="0" y="10"/>
                      </a:lnTo>
                      <a:lnTo>
                        <a:pt x="6" y="0"/>
                      </a:lnTo>
                      <a:lnTo>
                        <a:pt x="16" y="0"/>
                      </a:lnTo>
                      <a:lnTo>
                        <a:pt x="22" y="0"/>
                      </a:lnTo>
                      <a:lnTo>
                        <a:pt x="27" y="5"/>
                      </a:lnTo>
                      <a:lnTo>
                        <a:pt x="38" y="16"/>
                      </a:lnTo>
                      <a:lnTo>
                        <a:pt x="43" y="37"/>
                      </a:lnTo>
                      <a:lnTo>
                        <a:pt x="43" y="64"/>
                      </a:lnTo>
                      <a:lnTo>
                        <a:pt x="38" y="75"/>
                      </a:lnTo>
                      <a:lnTo>
                        <a:pt x="32" y="85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19" name="Freeform 739"/>
                <p:cNvSpPr>
                  <a:spLocks/>
                </p:cNvSpPr>
                <p:nvPr/>
              </p:nvSpPr>
              <p:spPr bwMode="auto">
                <a:xfrm>
                  <a:off x="2903" y="2225"/>
                  <a:ext cx="32" cy="59"/>
                </a:xfrm>
                <a:custGeom>
                  <a:avLst/>
                  <a:gdLst>
                    <a:gd name="T0" fmla="*/ 0 w 32"/>
                    <a:gd name="T1" fmla="*/ 27 h 59"/>
                    <a:gd name="T2" fmla="*/ 0 w 32"/>
                    <a:gd name="T3" fmla="*/ 11 h 59"/>
                    <a:gd name="T4" fmla="*/ 10 w 32"/>
                    <a:gd name="T5" fmla="*/ 6 h 59"/>
                    <a:gd name="T6" fmla="*/ 16 w 32"/>
                    <a:gd name="T7" fmla="*/ 0 h 59"/>
                    <a:gd name="T8" fmla="*/ 21 w 32"/>
                    <a:gd name="T9" fmla="*/ 6 h 59"/>
                    <a:gd name="T10" fmla="*/ 32 w 32"/>
                    <a:gd name="T11" fmla="*/ 27 h 59"/>
                    <a:gd name="T12" fmla="*/ 26 w 32"/>
                    <a:gd name="T13" fmla="*/ 49 h 59"/>
                    <a:gd name="T14" fmla="*/ 21 w 32"/>
                    <a:gd name="T15" fmla="*/ 54 h 59"/>
                    <a:gd name="T16" fmla="*/ 21 w 32"/>
                    <a:gd name="T17" fmla="*/ 59 h 59"/>
                    <a:gd name="T18" fmla="*/ 16 w 32"/>
                    <a:gd name="T19" fmla="*/ 54 h 59"/>
                    <a:gd name="T20" fmla="*/ 10 w 32"/>
                    <a:gd name="T21" fmla="*/ 54 h 59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32"/>
                    <a:gd name="T34" fmla="*/ 0 h 59"/>
                    <a:gd name="T35" fmla="*/ 32 w 32"/>
                    <a:gd name="T36" fmla="*/ 59 h 59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32" h="59">
                      <a:moveTo>
                        <a:pt x="0" y="27"/>
                      </a:moveTo>
                      <a:lnTo>
                        <a:pt x="0" y="11"/>
                      </a:lnTo>
                      <a:lnTo>
                        <a:pt x="10" y="6"/>
                      </a:lnTo>
                      <a:lnTo>
                        <a:pt x="16" y="0"/>
                      </a:lnTo>
                      <a:lnTo>
                        <a:pt x="21" y="6"/>
                      </a:lnTo>
                      <a:lnTo>
                        <a:pt x="32" y="27"/>
                      </a:lnTo>
                      <a:lnTo>
                        <a:pt x="26" y="49"/>
                      </a:lnTo>
                      <a:lnTo>
                        <a:pt x="21" y="54"/>
                      </a:lnTo>
                      <a:lnTo>
                        <a:pt x="21" y="59"/>
                      </a:lnTo>
                      <a:lnTo>
                        <a:pt x="16" y="54"/>
                      </a:lnTo>
                      <a:lnTo>
                        <a:pt x="10" y="54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20" name="Freeform 740"/>
                <p:cNvSpPr>
                  <a:spLocks/>
                </p:cNvSpPr>
                <p:nvPr/>
              </p:nvSpPr>
              <p:spPr bwMode="auto">
                <a:xfrm>
                  <a:off x="2903" y="2225"/>
                  <a:ext cx="32" cy="59"/>
                </a:xfrm>
                <a:custGeom>
                  <a:avLst/>
                  <a:gdLst>
                    <a:gd name="T0" fmla="*/ 21 w 32"/>
                    <a:gd name="T1" fmla="*/ 59 h 59"/>
                    <a:gd name="T2" fmla="*/ 16 w 32"/>
                    <a:gd name="T3" fmla="*/ 59 h 59"/>
                    <a:gd name="T4" fmla="*/ 10 w 32"/>
                    <a:gd name="T5" fmla="*/ 54 h 59"/>
                    <a:gd name="T6" fmla="*/ 0 w 32"/>
                    <a:gd name="T7" fmla="*/ 33 h 59"/>
                    <a:gd name="T8" fmla="*/ 0 w 32"/>
                    <a:gd name="T9" fmla="*/ 11 h 59"/>
                    <a:gd name="T10" fmla="*/ 10 w 32"/>
                    <a:gd name="T11" fmla="*/ 0 h 59"/>
                    <a:gd name="T12" fmla="*/ 21 w 32"/>
                    <a:gd name="T13" fmla="*/ 6 h 59"/>
                    <a:gd name="T14" fmla="*/ 32 w 32"/>
                    <a:gd name="T15" fmla="*/ 27 h 59"/>
                    <a:gd name="T16" fmla="*/ 26 w 32"/>
                    <a:gd name="T17" fmla="*/ 49 h 59"/>
                    <a:gd name="T18" fmla="*/ 26 w 32"/>
                    <a:gd name="T19" fmla="*/ 54 h 59"/>
                    <a:gd name="T20" fmla="*/ 21 w 32"/>
                    <a:gd name="T21" fmla="*/ 59 h 59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32"/>
                    <a:gd name="T34" fmla="*/ 0 h 59"/>
                    <a:gd name="T35" fmla="*/ 32 w 32"/>
                    <a:gd name="T36" fmla="*/ 59 h 59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32" h="59">
                      <a:moveTo>
                        <a:pt x="21" y="59"/>
                      </a:moveTo>
                      <a:lnTo>
                        <a:pt x="16" y="59"/>
                      </a:lnTo>
                      <a:lnTo>
                        <a:pt x="10" y="54"/>
                      </a:lnTo>
                      <a:lnTo>
                        <a:pt x="0" y="33"/>
                      </a:lnTo>
                      <a:lnTo>
                        <a:pt x="0" y="11"/>
                      </a:lnTo>
                      <a:lnTo>
                        <a:pt x="10" y="0"/>
                      </a:lnTo>
                      <a:lnTo>
                        <a:pt x="21" y="6"/>
                      </a:lnTo>
                      <a:lnTo>
                        <a:pt x="32" y="27"/>
                      </a:lnTo>
                      <a:lnTo>
                        <a:pt x="26" y="49"/>
                      </a:lnTo>
                      <a:lnTo>
                        <a:pt x="26" y="54"/>
                      </a:lnTo>
                      <a:lnTo>
                        <a:pt x="21" y="59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21" name="Freeform 741"/>
                <p:cNvSpPr>
                  <a:spLocks/>
                </p:cNvSpPr>
                <p:nvPr/>
              </p:nvSpPr>
              <p:spPr bwMode="auto">
                <a:xfrm>
                  <a:off x="2903" y="2231"/>
                  <a:ext cx="21" cy="53"/>
                </a:xfrm>
                <a:custGeom>
                  <a:avLst/>
                  <a:gdLst>
                    <a:gd name="T0" fmla="*/ 21 w 21"/>
                    <a:gd name="T1" fmla="*/ 53 h 53"/>
                    <a:gd name="T2" fmla="*/ 10 w 21"/>
                    <a:gd name="T3" fmla="*/ 43 h 53"/>
                    <a:gd name="T4" fmla="*/ 5 w 21"/>
                    <a:gd name="T5" fmla="*/ 27 h 53"/>
                    <a:gd name="T6" fmla="*/ 0 w 21"/>
                    <a:gd name="T7" fmla="*/ 5 h 53"/>
                    <a:gd name="T8" fmla="*/ 5 w 21"/>
                    <a:gd name="T9" fmla="*/ 0 h 53"/>
                    <a:gd name="T10" fmla="*/ 10 w 21"/>
                    <a:gd name="T11" fmla="*/ 0 h 53"/>
                    <a:gd name="T12" fmla="*/ 10 w 21"/>
                    <a:gd name="T13" fmla="*/ 0 h 53"/>
                    <a:gd name="T14" fmla="*/ 16 w 21"/>
                    <a:gd name="T15" fmla="*/ 0 h 5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21"/>
                    <a:gd name="T25" fmla="*/ 0 h 53"/>
                    <a:gd name="T26" fmla="*/ 21 w 21"/>
                    <a:gd name="T27" fmla="*/ 53 h 53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21" h="53">
                      <a:moveTo>
                        <a:pt x="21" y="53"/>
                      </a:moveTo>
                      <a:lnTo>
                        <a:pt x="10" y="43"/>
                      </a:lnTo>
                      <a:lnTo>
                        <a:pt x="5" y="27"/>
                      </a:lnTo>
                      <a:lnTo>
                        <a:pt x="0" y="5"/>
                      </a:lnTo>
                      <a:lnTo>
                        <a:pt x="5" y="0"/>
                      </a:lnTo>
                      <a:lnTo>
                        <a:pt x="10" y="0"/>
                      </a:lnTo>
                      <a:lnTo>
                        <a:pt x="16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22" name="Freeform 742"/>
                <p:cNvSpPr>
                  <a:spLocks/>
                </p:cNvSpPr>
                <p:nvPr/>
              </p:nvSpPr>
              <p:spPr bwMode="auto">
                <a:xfrm>
                  <a:off x="2919" y="2241"/>
                  <a:ext cx="5" cy="27"/>
                </a:xfrm>
                <a:custGeom>
                  <a:avLst/>
                  <a:gdLst>
                    <a:gd name="T0" fmla="*/ 0 w 5"/>
                    <a:gd name="T1" fmla="*/ 0 h 27"/>
                    <a:gd name="T2" fmla="*/ 0 w 5"/>
                    <a:gd name="T3" fmla="*/ 0 h 27"/>
                    <a:gd name="T4" fmla="*/ 0 w 5"/>
                    <a:gd name="T5" fmla="*/ 0 h 27"/>
                    <a:gd name="T6" fmla="*/ 5 w 5"/>
                    <a:gd name="T7" fmla="*/ 17 h 27"/>
                    <a:gd name="T8" fmla="*/ 5 w 5"/>
                    <a:gd name="T9" fmla="*/ 22 h 27"/>
                    <a:gd name="T10" fmla="*/ 5 w 5"/>
                    <a:gd name="T11" fmla="*/ 27 h 2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5"/>
                    <a:gd name="T19" fmla="*/ 0 h 27"/>
                    <a:gd name="T20" fmla="*/ 5 w 5"/>
                    <a:gd name="T21" fmla="*/ 27 h 27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5" h="2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5" y="17"/>
                      </a:lnTo>
                      <a:lnTo>
                        <a:pt x="5" y="22"/>
                      </a:lnTo>
                      <a:lnTo>
                        <a:pt x="5" y="27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23" name="Freeform 743"/>
                <p:cNvSpPr>
                  <a:spLocks/>
                </p:cNvSpPr>
                <p:nvPr/>
              </p:nvSpPr>
              <p:spPr bwMode="auto">
                <a:xfrm>
                  <a:off x="2908" y="2241"/>
                  <a:ext cx="16" cy="27"/>
                </a:xfrm>
                <a:custGeom>
                  <a:avLst/>
                  <a:gdLst>
                    <a:gd name="T0" fmla="*/ 11 w 16"/>
                    <a:gd name="T1" fmla="*/ 27 h 27"/>
                    <a:gd name="T2" fmla="*/ 5 w 16"/>
                    <a:gd name="T3" fmla="*/ 27 h 27"/>
                    <a:gd name="T4" fmla="*/ 0 w 16"/>
                    <a:gd name="T5" fmla="*/ 17 h 27"/>
                    <a:gd name="T6" fmla="*/ 0 w 16"/>
                    <a:gd name="T7" fmla="*/ 6 h 27"/>
                    <a:gd name="T8" fmla="*/ 5 w 16"/>
                    <a:gd name="T9" fmla="*/ 0 h 27"/>
                    <a:gd name="T10" fmla="*/ 11 w 16"/>
                    <a:gd name="T11" fmla="*/ 0 h 27"/>
                    <a:gd name="T12" fmla="*/ 16 w 16"/>
                    <a:gd name="T13" fmla="*/ 17 h 27"/>
                    <a:gd name="T14" fmla="*/ 11 w 16"/>
                    <a:gd name="T15" fmla="*/ 22 h 27"/>
                    <a:gd name="T16" fmla="*/ 11 w 16"/>
                    <a:gd name="T17" fmla="*/ 27 h 27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6"/>
                    <a:gd name="T28" fmla="*/ 0 h 27"/>
                    <a:gd name="T29" fmla="*/ 16 w 16"/>
                    <a:gd name="T30" fmla="*/ 27 h 27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6" h="27">
                      <a:moveTo>
                        <a:pt x="11" y="27"/>
                      </a:moveTo>
                      <a:lnTo>
                        <a:pt x="5" y="27"/>
                      </a:lnTo>
                      <a:lnTo>
                        <a:pt x="0" y="17"/>
                      </a:lnTo>
                      <a:lnTo>
                        <a:pt x="0" y="6"/>
                      </a:lnTo>
                      <a:lnTo>
                        <a:pt x="5" y="0"/>
                      </a:lnTo>
                      <a:lnTo>
                        <a:pt x="11" y="0"/>
                      </a:lnTo>
                      <a:lnTo>
                        <a:pt x="16" y="17"/>
                      </a:lnTo>
                      <a:lnTo>
                        <a:pt x="11" y="22"/>
                      </a:lnTo>
                      <a:lnTo>
                        <a:pt x="11" y="27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24" name="Freeform 744"/>
                <p:cNvSpPr>
                  <a:spLocks/>
                </p:cNvSpPr>
                <p:nvPr/>
              </p:nvSpPr>
              <p:spPr bwMode="auto">
                <a:xfrm>
                  <a:off x="2913" y="2236"/>
                  <a:ext cx="6" cy="5"/>
                </a:xfrm>
                <a:custGeom>
                  <a:avLst/>
                  <a:gdLst>
                    <a:gd name="T0" fmla="*/ 0 w 6"/>
                    <a:gd name="T1" fmla="*/ 5 h 5"/>
                    <a:gd name="T2" fmla="*/ 0 w 6"/>
                    <a:gd name="T3" fmla="*/ 0 h 5"/>
                    <a:gd name="T4" fmla="*/ 0 w 6"/>
                    <a:gd name="T5" fmla="*/ 0 h 5"/>
                    <a:gd name="T6" fmla="*/ 0 w 6"/>
                    <a:gd name="T7" fmla="*/ 0 h 5"/>
                    <a:gd name="T8" fmla="*/ 0 w 6"/>
                    <a:gd name="T9" fmla="*/ 0 h 5"/>
                    <a:gd name="T10" fmla="*/ 6 w 6"/>
                    <a:gd name="T11" fmla="*/ 0 h 5"/>
                    <a:gd name="T12" fmla="*/ 0 w 6"/>
                    <a:gd name="T13" fmla="*/ 0 h 5"/>
                    <a:gd name="T14" fmla="*/ 0 w 6"/>
                    <a:gd name="T15" fmla="*/ 5 h 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6"/>
                    <a:gd name="T25" fmla="*/ 0 h 5"/>
                    <a:gd name="T26" fmla="*/ 6 w 6"/>
                    <a:gd name="T27" fmla="*/ 5 h 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6" h="5">
                      <a:moveTo>
                        <a:pt x="0" y="5"/>
                      </a:moveTo>
                      <a:lnTo>
                        <a:pt x="0" y="0"/>
                      </a:lnTo>
                      <a:lnTo>
                        <a:pt x="6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25" name="Freeform 745"/>
                <p:cNvSpPr>
                  <a:spLocks/>
                </p:cNvSpPr>
                <p:nvPr/>
              </p:nvSpPr>
              <p:spPr bwMode="auto">
                <a:xfrm>
                  <a:off x="2924" y="2274"/>
                  <a:ext cx="1" cy="5"/>
                </a:xfrm>
                <a:custGeom>
                  <a:avLst/>
                  <a:gdLst>
                    <a:gd name="T0" fmla="*/ 0 w 1"/>
                    <a:gd name="T1" fmla="*/ 5 h 5"/>
                    <a:gd name="T2" fmla="*/ 0 w 1"/>
                    <a:gd name="T3" fmla="*/ 5 h 5"/>
                    <a:gd name="T4" fmla="*/ 0 w 1"/>
                    <a:gd name="T5" fmla="*/ 0 h 5"/>
                    <a:gd name="T6" fmla="*/ 0 w 1"/>
                    <a:gd name="T7" fmla="*/ 0 h 5"/>
                    <a:gd name="T8" fmla="*/ 0 w 1"/>
                    <a:gd name="T9" fmla="*/ 0 h 5"/>
                    <a:gd name="T10" fmla="*/ 0 w 1"/>
                    <a:gd name="T11" fmla="*/ 0 h 5"/>
                    <a:gd name="T12" fmla="*/ 0 w 1"/>
                    <a:gd name="T13" fmla="*/ 5 h 5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"/>
                    <a:gd name="T22" fmla="*/ 0 h 5"/>
                    <a:gd name="T23" fmla="*/ 1 w 1"/>
                    <a:gd name="T24" fmla="*/ 5 h 5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" h="5">
                      <a:moveTo>
                        <a:pt x="0" y="5"/>
                      </a:move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26" name="Freeform 746"/>
                <p:cNvSpPr>
                  <a:spLocks/>
                </p:cNvSpPr>
                <p:nvPr/>
              </p:nvSpPr>
              <p:spPr bwMode="auto">
                <a:xfrm>
                  <a:off x="2929" y="2247"/>
                  <a:ext cx="1" cy="11"/>
                </a:xfrm>
                <a:custGeom>
                  <a:avLst/>
                  <a:gdLst>
                    <a:gd name="T0" fmla="*/ 0 w 1"/>
                    <a:gd name="T1" fmla="*/ 11 h 11"/>
                    <a:gd name="T2" fmla="*/ 0 w 1"/>
                    <a:gd name="T3" fmla="*/ 5 h 11"/>
                    <a:gd name="T4" fmla="*/ 0 w 1"/>
                    <a:gd name="T5" fmla="*/ 5 h 11"/>
                    <a:gd name="T6" fmla="*/ 0 w 1"/>
                    <a:gd name="T7" fmla="*/ 0 h 11"/>
                    <a:gd name="T8" fmla="*/ 0 w 1"/>
                    <a:gd name="T9" fmla="*/ 0 h 11"/>
                    <a:gd name="T10" fmla="*/ 0 w 1"/>
                    <a:gd name="T11" fmla="*/ 0 h 11"/>
                    <a:gd name="T12" fmla="*/ 0 w 1"/>
                    <a:gd name="T13" fmla="*/ 5 h 11"/>
                    <a:gd name="T14" fmla="*/ 0 w 1"/>
                    <a:gd name="T15" fmla="*/ 5 h 11"/>
                    <a:gd name="T16" fmla="*/ 0 w 1"/>
                    <a:gd name="T17" fmla="*/ 11 h 1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"/>
                    <a:gd name="T28" fmla="*/ 0 h 11"/>
                    <a:gd name="T29" fmla="*/ 1 w 1"/>
                    <a:gd name="T30" fmla="*/ 11 h 1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" h="11">
                      <a:moveTo>
                        <a:pt x="0" y="11"/>
                      </a:move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27" name="Freeform 747"/>
                <p:cNvSpPr>
                  <a:spLocks/>
                </p:cNvSpPr>
                <p:nvPr/>
              </p:nvSpPr>
              <p:spPr bwMode="auto">
                <a:xfrm>
                  <a:off x="2924" y="2236"/>
                  <a:ext cx="1" cy="11"/>
                </a:xfrm>
                <a:custGeom>
                  <a:avLst/>
                  <a:gdLst>
                    <a:gd name="T0" fmla="*/ 0 w 1"/>
                    <a:gd name="T1" fmla="*/ 11 h 11"/>
                    <a:gd name="T2" fmla="*/ 0 w 1"/>
                    <a:gd name="T3" fmla="*/ 5 h 11"/>
                    <a:gd name="T4" fmla="*/ 0 w 1"/>
                    <a:gd name="T5" fmla="*/ 5 h 11"/>
                    <a:gd name="T6" fmla="*/ 0 w 1"/>
                    <a:gd name="T7" fmla="*/ 0 h 11"/>
                    <a:gd name="T8" fmla="*/ 0 w 1"/>
                    <a:gd name="T9" fmla="*/ 0 h 11"/>
                    <a:gd name="T10" fmla="*/ 0 w 1"/>
                    <a:gd name="T11" fmla="*/ 0 h 11"/>
                    <a:gd name="T12" fmla="*/ 0 w 1"/>
                    <a:gd name="T13" fmla="*/ 5 h 11"/>
                    <a:gd name="T14" fmla="*/ 0 w 1"/>
                    <a:gd name="T15" fmla="*/ 5 h 11"/>
                    <a:gd name="T16" fmla="*/ 0 w 1"/>
                    <a:gd name="T17" fmla="*/ 11 h 1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1"/>
                    <a:gd name="T28" fmla="*/ 0 h 11"/>
                    <a:gd name="T29" fmla="*/ 1 w 1"/>
                    <a:gd name="T30" fmla="*/ 11 h 1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1" h="11">
                      <a:moveTo>
                        <a:pt x="0" y="11"/>
                      </a:move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28" name="Freeform 748"/>
                <p:cNvSpPr>
                  <a:spLocks/>
                </p:cNvSpPr>
                <p:nvPr/>
              </p:nvSpPr>
              <p:spPr bwMode="auto">
                <a:xfrm>
                  <a:off x="2924" y="2263"/>
                  <a:ext cx="5" cy="11"/>
                </a:xfrm>
                <a:custGeom>
                  <a:avLst/>
                  <a:gdLst>
                    <a:gd name="T0" fmla="*/ 5 w 5"/>
                    <a:gd name="T1" fmla="*/ 11 h 11"/>
                    <a:gd name="T2" fmla="*/ 5 w 5"/>
                    <a:gd name="T3" fmla="*/ 5 h 11"/>
                    <a:gd name="T4" fmla="*/ 5 w 5"/>
                    <a:gd name="T5" fmla="*/ 5 h 11"/>
                    <a:gd name="T6" fmla="*/ 0 w 5"/>
                    <a:gd name="T7" fmla="*/ 0 h 11"/>
                    <a:gd name="T8" fmla="*/ 5 w 5"/>
                    <a:gd name="T9" fmla="*/ 0 h 11"/>
                    <a:gd name="T10" fmla="*/ 5 w 5"/>
                    <a:gd name="T11" fmla="*/ 0 h 11"/>
                    <a:gd name="T12" fmla="*/ 5 w 5"/>
                    <a:gd name="T13" fmla="*/ 5 h 11"/>
                    <a:gd name="T14" fmla="*/ 5 w 5"/>
                    <a:gd name="T15" fmla="*/ 5 h 11"/>
                    <a:gd name="T16" fmla="*/ 5 w 5"/>
                    <a:gd name="T17" fmla="*/ 11 h 1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"/>
                    <a:gd name="T28" fmla="*/ 0 h 11"/>
                    <a:gd name="T29" fmla="*/ 5 w 5"/>
                    <a:gd name="T30" fmla="*/ 11 h 1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" h="11">
                      <a:moveTo>
                        <a:pt x="5" y="11"/>
                      </a:moveTo>
                      <a:lnTo>
                        <a:pt x="5" y="5"/>
                      </a:ln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5" y="5"/>
                      </a:lnTo>
                      <a:lnTo>
                        <a:pt x="5" y="11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29" name="Freeform 749"/>
                <p:cNvSpPr>
                  <a:spLocks/>
                </p:cNvSpPr>
                <p:nvPr/>
              </p:nvSpPr>
              <p:spPr bwMode="auto">
                <a:xfrm>
                  <a:off x="2913" y="2268"/>
                  <a:ext cx="6" cy="6"/>
                </a:xfrm>
                <a:custGeom>
                  <a:avLst/>
                  <a:gdLst>
                    <a:gd name="T0" fmla="*/ 0 w 6"/>
                    <a:gd name="T1" fmla="*/ 6 h 6"/>
                    <a:gd name="T2" fmla="*/ 0 w 6"/>
                    <a:gd name="T3" fmla="*/ 6 h 6"/>
                    <a:gd name="T4" fmla="*/ 0 w 6"/>
                    <a:gd name="T5" fmla="*/ 0 h 6"/>
                    <a:gd name="T6" fmla="*/ 0 w 6"/>
                    <a:gd name="T7" fmla="*/ 0 h 6"/>
                    <a:gd name="T8" fmla="*/ 0 w 6"/>
                    <a:gd name="T9" fmla="*/ 0 h 6"/>
                    <a:gd name="T10" fmla="*/ 6 w 6"/>
                    <a:gd name="T11" fmla="*/ 6 h 6"/>
                    <a:gd name="T12" fmla="*/ 0 w 6"/>
                    <a:gd name="T13" fmla="*/ 6 h 6"/>
                    <a:gd name="T14" fmla="*/ 0 w 6"/>
                    <a:gd name="T15" fmla="*/ 6 h 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6"/>
                    <a:gd name="T25" fmla="*/ 0 h 6"/>
                    <a:gd name="T26" fmla="*/ 6 w 6"/>
                    <a:gd name="T27" fmla="*/ 6 h 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6" h="6"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6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30" name="Freeform 750"/>
                <p:cNvSpPr>
                  <a:spLocks/>
                </p:cNvSpPr>
                <p:nvPr/>
              </p:nvSpPr>
              <p:spPr bwMode="auto">
                <a:xfrm>
                  <a:off x="2908" y="2241"/>
                  <a:ext cx="5" cy="11"/>
                </a:xfrm>
                <a:custGeom>
                  <a:avLst/>
                  <a:gdLst>
                    <a:gd name="T0" fmla="*/ 0 w 5"/>
                    <a:gd name="T1" fmla="*/ 11 h 11"/>
                    <a:gd name="T2" fmla="*/ 0 w 5"/>
                    <a:gd name="T3" fmla="*/ 6 h 11"/>
                    <a:gd name="T4" fmla="*/ 0 w 5"/>
                    <a:gd name="T5" fmla="*/ 6 h 11"/>
                    <a:gd name="T6" fmla="*/ 0 w 5"/>
                    <a:gd name="T7" fmla="*/ 0 h 11"/>
                    <a:gd name="T8" fmla="*/ 0 w 5"/>
                    <a:gd name="T9" fmla="*/ 0 h 11"/>
                    <a:gd name="T10" fmla="*/ 0 w 5"/>
                    <a:gd name="T11" fmla="*/ 0 h 11"/>
                    <a:gd name="T12" fmla="*/ 5 w 5"/>
                    <a:gd name="T13" fmla="*/ 6 h 11"/>
                    <a:gd name="T14" fmla="*/ 0 w 5"/>
                    <a:gd name="T15" fmla="*/ 6 h 11"/>
                    <a:gd name="T16" fmla="*/ 0 w 5"/>
                    <a:gd name="T17" fmla="*/ 11 h 11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"/>
                    <a:gd name="T28" fmla="*/ 0 h 11"/>
                    <a:gd name="T29" fmla="*/ 5 w 5"/>
                    <a:gd name="T30" fmla="*/ 11 h 11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" h="11">
                      <a:moveTo>
                        <a:pt x="0" y="11"/>
                      </a:moveTo>
                      <a:lnTo>
                        <a:pt x="0" y="6"/>
                      </a:lnTo>
                      <a:lnTo>
                        <a:pt x="0" y="0"/>
                      </a:lnTo>
                      <a:lnTo>
                        <a:pt x="5" y="6"/>
                      </a:lnTo>
                      <a:lnTo>
                        <a:pt x="0" y="6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31" name="Freeform 751"/>
                <p:cNvSpPr>
                  <a:spLocks/>
                </p:cNvSpPr>
                <p:nvPr/>
              </p:nvSpPr>
              <p:spPr bwMode="auto">
                <a:xfrm>
                  <a:off x="2908" y="2258"/>
                  <a:ext cx="5" cy="5"/>
                </a:xfrm>
                <a:custGeom>
                  <a:avLst/>
                  <a:gdLst>
                    <a:gd name="T0" fmla="*/ 0 w 5"/>
                    <a:gd name="T1" fmla="*/ 5 h 5"/>
                    <a:gd name="T2" fmla="*/ 0 w 5"/>
                    <a:gd name="T3" fmla="*/ 0 h 5"/>
                    <a:gd name="T4" fmla="*/ 0 w 5"/>
                    <a:gd name="T5" fmla="*/ 0 h 5"/>
                    <a:gd name="T6" fmla="*/ 0 w 5"/>
                    <a:gd name="T7" fmla="*/ 0 h 5"/>
                    <a:gd name="T8" fmla="*/ 0 w 5"/>
                    <a:gd name="T9" fmla="*/ 0 h 5"/>
                    <a:gd name="T10" fmla="*/ 5 w 5"/>
                    <a:gd name="T11" fmla="*/ 0 h 5"/>
                    <a:gd name="T12" fmla="*/ 0 w 5"/>
                    <a:gd name="T13" fmla="*/ 0 h 5"/>
                    <a:gd name="T14" fmla="*/ 0 w 5"/>
                    <a:gd name="T15" fmla="*/ 5 h 5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"/>
                    <a:gd name="T25" fmla="*/ 0 h 5"/>
                    <a:gd name="T26" fmla="*/ 5 w 5"/>
                    <a:gd name="T27" fmla="*/ 5 h 5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" h="5">
                      <a:moveTo>
                        <a:pt x="0" y="5"/>
                      </a:move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0" y="5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32" name="Freeform 752"/>
                <p:cNvSpPr>
                  <a:spLocks/>
                </p:cNvSpPr>
                <p:nvPr/>
              </p:nvSpPr>
              <p:spPr bwMode="auto">
                <a:xfrm>
                  <a:off x="2908" y="2241"/>
                  <a:ext cx="11" cy="27"/>
                </a:xfrm>
                <a:custGeom>
                  <a:avLst/>
                  <a:gdLst>
                    <a:gd name="T0" fmla="*/ 11 w 11"/>
                    <a:gd name="T1" fmla="*/ 27 h 27"/>
                    <a:gd name="T2" fmla="*/ 5 w 11"/>
                    <a:gd name="T3" fmla="*/ 27 h 27"/>
                    <a:gd name="T4" fmla="*/ 0 w 11"/>
                    <a:gd name="T5" fmla="*/ 17 h 27"/>
                    <a:gd name="T6" fmla="*/ 0 w 11"/>
                    <a:gd name="T7" fmla="*/ 6 h 27"/>
                    <a:gd name="T8" fmla="*/ 5 w 11"/>
                    <a:gd name="T9" fmla="*/ 0 h 2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1"/>
                    <a:gd name="T16" fmla="*/ 0 h 27"/>
                    <a:gd name="T17" fmla="*/ 11 w 11"/>
                    <a:gd name="T18" fmla="*/ 27 h 2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1" h="27">
                      <a:moveTo>
                        <a:pt x="11" y="27"/>
                      </a:moveTo>
                      <a:lnTo>
                        <a:pt x="5" y="27"/>
                      </a:lnTo>
                      <a:lnTo>
                        <a:pt x="0" y="17"/>
                      </a:lnTo>
                      <a:lnTo>
                        <a:pt x="0" y="6"/>
                      </a:lnTo>
                      <a:lnTo>
                        <a:pt x="5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33" name="Freeform 753"/>
                <p:cNvSpPr>
                  <a:spLocks/>
                </p:cNvSpPr>
                <p:nvPr/>
              </p:nvSpPr>
              <p:spPr bwMode="auto">
                <a:xfrm>
                  <a:off x="2897" y="2209"/>
                  <a:ext cx="49" cy="97"/>
                </a:xfrm>
                <a:custGeom>
                  <a:avLst/>
                  <a:gdLst>
                    <a:gd name="T0" fmla="*/ 32 w 49"/>
                    <a:gd name="T1" fmla="*/ 97 h 97"/>
                    <a:gd name="T2" fmla="*/ 16 w 49"/>
                    <a:gd name="T3" fmla="*/ 91 h 97"/>
                    <a:gd name="T4" fmla="*/ 11 w 49"/>
                    <a:gd name="T5" fmla="*/ 81 h 97"/>
                    <a:gd name="T6" fmla="*/ 0 w 49"/>
                    <a:gd name="T7" fmla="*/ 54 h 97"/>
                    <a:gd name="T8" fmla="*/ 0 w 49"/>
                    <a:gd name="T9" fmla="*/ 16 h 97"/>
                    <a:gd name="T10" fmla="*/ 6 w 49"/>
                    <a:gd name="T11" fmla="*/ 6 h 97"/>
                    <a:gd name="T12" fmla="*/ 16 w 49"/>
                    <a:gd name="T13" fmla="*/ 0 h 97"/>
                    <a:gd name="T14" fmla="*/ 22 w 49"/>
                    <a:gd name="T15" fmla="*/ 0 h 97"/>
                    <a:gd name="T16" fmla="*/ 32 w 49"/>
                    <a:gd name="T17" fmla="*/ 11 h 97"/>
                    <a:gd name="T18" fmla="*/ 49 w 49"/>
                    <a:gd name="T19" fmla="*/ 43 h 97"/>
                    <a:gd name="T20" fmla="*/ 49 w 49"/>
                    <a:gd name="T21" fmla="*/ 59 h 97"/>
                    <a:gd name="T22" fmla="*/ 43 w 49"/>
                    <a:gd name="T23" fmla="*/ 75 h 97"/>
                    <a:gd name="T24" fmla="*/ 38 w 49"/>
                    <a:gd name="T25" fmla="*/ 86 h 97"/>
                    <a:gd name="T26" fmla="*/ 32 w 49"/>
                    <a:gd name="T27" fmla="*/ 97 h 9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w 49"/>
                    <a:gd name="T43" fmla="*/ 0 h 97"/>
                    <a:gd name="T44" fmla="*/ 49 w 49"/>
                    <a:gd name="T45" fmla="*/ 97 h 97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T42" t="T43" r="T44" b="T45"/>
                  <a:pathLst>
                    <a:path w="49" h="97">
                      <a:moveTo>
                        <a:pt x="32" y="97"/>
                      </a:moveTo>
                      <a:lnTo>
                        <a:pt x="16" y="91"/>
                      </a:lnTo>
                      <a:lnTo>
                        <a:pt x="11" y="81"/>
                      </a:lnTo>
                      <a:lnTo>
                        <a:pt x="0" y="54"/>
                      </a:lnTo>
                      <a:lnTo>
                        <a:pt x="0" y="16"/>
                      </a:lnTo>
                      <a:lnTo>
                        <a:pt x="6" y="6"/>
                      </a:lnTo>
                      <a:lnTo>
                        <a:pt x="16" y="0"/>
                      </a:lnTo>
                      <a:lnTo>
                        <a:pt x="22" y="0"/>
                      </a:lnTo>
                      <a:lnTo>
                        <a:pt x="32" y="11"/>
                      </a:lnTo>
                      <a:lnTo>
                        <a:pt x="49" y="43"/>
                      </a:lnTo>
                      <a:lnTo>
                        <a:pt x="49" y="59"/>
                      </a:lnTo>
                      <a:lnTo>
                        <a:pt x="43" y="75"/>
                      </a:lnTo>
                      <a:lnTo>
                        <a:pt x="38" y="86"/>
                      </a:lnTo>
                      <a:lnTo>
                        <a:pt x="32" y="97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34" name="Freeform 754"/>
                <p:cNvSpPr>
                  <a:spLocks/>
                </p:cNvSpPr>
                <p:nvPr/>
              </p:nvSpPr>
              <p:spPr bwMode="auto">
                <a:xfrm>
                  <a:off x="2951" y="2274"/>
                  <a:ext cx="16" cy="26"/>
                </a:xfrm>
                <a:custGeom>
                  <a:avLst/>
                  <a:gdLst>
                    <a:gd name="T0" fmla="*/ 16 w 16"/>
                    <a:gd name="T1" fmla="*/ 0 h 26"/>
                    <a:gd name="T2" fmla="*/ 5 w 16"/>
                    <a:gd name="T3" fmla="*/ 10 h 26"/>
                    <a:gd name="T4" fmla="*/ 0 w 16"/>
                    <a:gd name="T5" fmla="*/ 26 h 26"/>
                    <a:gd name="T6" fmla="*/ 0 60000 65536"/>
                    <a:gd name="T7" fmla="*/ 0 60000 65536"/>
                    <a:gd name="T8" fmla="*/ 0 60000 65536"/>
                    <a:gd name="T9" fmla="*/ 0 w 16"/>
                    <a:gd name="T10" fmla="*/ 0 h 26"/>
                    <a:gd name="T11" fmla="*/ 16 w 16"/>
                    <a:gd name="T12" fmla="*/ 26 h 2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6" h="26">
                      <a:moveTo>
                        <a:pt x="16" y="0"/>
                      </a:moveTo>
                      <a:lnTo>
                        <a:pt x="5" y="10"/>
                      </a:lnTo>
                      <a:lnTo>
                        <a:pt x="0" y="26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35" name="Freeform 755"/>
                <p:cNvSpPr>
                  <a:spLocks/>
                </p:cNvSpPr>
                <p:nvPr/>
              </p:nvSpPr>
              <p:spPr bwMode="auto">
                <a:xfrm>
                  <a:off x="2935" y="2274"/>
                  <a:ext cx="16" cy="26"/>
                </a:xfrm>
                <a:custGeom>
                  <a:avLst/>
                  <a:gdLst>
                    <a:gd name="T0" fmla="*/ 16 w 16"/>
                    <a:gd name="T1" fmla="*/ 0 h 26"/>
                    <a:gd name="T2" fmla="*/ 5 w 16"/>
                    <a:gd name="T3" fmla="*/ 16 h 26"/>
                    <a:gd name="T4" fmla="*/ 0 w 16"/>
                    <a:gd name="T5" fmla="*/ 26 h 26"/>
                    <a:gd name="T6" fmla="*/ 0 60000 65536"/>
                    <a:gd name="T7" fmla="*/ 0 60000 65536"/>
                    <a:gd name="T8" fmla="*/ 0 60000 65536"/>
                    <a:gd name="T9" fmla="*/ 0 w 16"/>
                    <a:gd name="T10" fmla="*/ 0 h 26"/>
                    <a:gd name="T11" fmla="*/ 16 w 16"/>
                    <a:gd name="T12" fmla="*/ 26 h 2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6" h="26">
                      <a:moveTo>
                        <a:pt x="16" y="0"/>
                      </a:moveTo>
                      <a:lnTo>
                        <a:pt x="5" y="16"/>
                      </a:lnTo>
                      <a:lnTo>
                        <a:pt x="0" y="26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36" name="Freeform 756"/>
                <p:cNvSpPr>
                  <a:spLocks/>
                </p:cNvSpPr>
                <p:nvPr/>
              </p:nvSpPr>
              <p:spPr bwMode="auto">
                <a:xfrm>
                  <a:off x="2940" y="2274"/>
                  <a:ext cx="16" cy="26"/>
                </a:xfrm>
                <a:custGeom>
                  <a:avLst/>
                  <a:gdLst>
                    <a:gd name="T0" fmla="*/ 16 w 16"/>
                    <a:gd name="T1" fmla="*/ 0 h 26"/>
                    <a:gd name="T2" fmla="*/ 6 w 16"/>
                    <a:gd name="T3" fmla="*/ 16 h 26"/>
                    <a:gd name="T4" fmla="*/ 0 w 16"/>
                    <a:gd name="T5" fmla="*/ 26 h 26"/>
                    <a:gd name="T6" fmla="*/ 0 60000 65536"/>
                    <a:gd name="T7" fmla="*/ 0 60000 65536"/>
                    <a:gd name="T8" fmla="*/ 0 60000 65536"/>
                    <a:gd name="T9" fmla="*/ 0 w 16"/>
                    <a:gd name="T10" fmla="*/ 0 h 26"/>
                    <a:gd name="T11" fmla="*/ 16 w 16"/>
                    <a:gd name="T12" fmla="*/ 26 h 2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6" h="26">
                      <a:moveTo>
                        <a:pt x="16" y="0"/>
                      </a:moveTo>
                      <a:lnTo>
                        <a:pt x="6" y="16"/>
                      </a:lnTo>
                      <a:lnTo>
                        <a:pt x="0" y="26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37" name="Freeform 757"/>
                <p:cNvSpPr>
                  <a:spLocks/>
                </p:cNvSpPr>
                <p:nvPr/>
              </p:nvSpPr>
              <p:spPr bwMode="auto">
                <a:xfrm>
                  <a:off x="2946" y="2274"/>
                  <a:ext cx="16" cy="26"/>
                </a:xfrm>
                <a:custGeom>
                  <a:avLst/>
                  <a:gdLst>
                    <a:gd name="T0" fmla="*/ 16 w 16"/>
                    <a:gd name="T1" fmla="*/ 0 h 26"/>
                    <a:gd name="T2" fmla="*/ 5 w 16"/>
                    <a:gd name="T3" fmla="*/ 16 h 26"/>
                    <a:gd name="T4" fmla="*/ 0 w 16"/>
                    <a:gd name="T5" fmla="*/ 26 h 26"/>
                    <a:gd name="T6" fmla="*/ 0 60000 65536"/>
                    <a:gd name="T7" fmla="*/ 0 60000 65536"/>
                    <a:gd name="T8" fmla="*/ 0 60000 65536"/>
                    <a:gd name="T9" fmla="*/ 0 w 16"/>
                    <a:gd name="T10" fmla="*/ 0 h 26"/>
                    <a:gd name="T11" fmla="*/ 16 w 16"/>
                    <a:gd name="T12" fmla="*/ 26 h 2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6" h="26">
                      <a:moveTo>
                        <a:pt x="16" y="0"/>
                      </a:moveTo>
                      <a:lnTo>
                        <a:pt x="5" y="16"/>
                      </a:lnTo>
                      <a:lnTo>
                        <a:pt x="0" y="26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38" name="Freeform 758"/>
                <p:cNvSpPr>
                  <a:spLocks/>
                </p:cNvSpPr>
                <p:nvPr/>
              </p:nvSpPr>
              <p:spPr bwMode="auto">
                <a:xfrm>
                  <a:off x="2956" y="2268"/>
                  <a:ext cx="16" cy="27"/>
                </a:xfrm>
                <a:custGeom>
                  <a:avLst/>
                  <a:gdLst>
                    <a:gd name="T0" fmla="*/ 16 w 16"/>
                    <a:gd name="T1" fmla="*/ 0 h 27"/>
                    <a:gd name="T2" fmla="*/ 11 w 16"/>
                    <a:gd name="T3" fmla="*/ 16 h 27"/>
                    <a:gd name="T4" fmla="*/ 0 w 16"/>
                    <a:gd name="T5" fmla="*/ 27 h 27"/>
                    <a:gd name="T6" fmla="*/ 0 60000 65536"/>
                    <a:gd name="T7" fmla="*/ 0 60000 65536"/>
                    <a:gd name="T8" fmla="*/ 0 60000 65536"/>
                    <a:gd name="T9" fmla="*/ 0 w 16"/>
                    <a:gd name="T10" fmla="*/ 0 h 27"/>
                    <a:gd name="T11" fmla="*/ 16 w 16"/>
                    <a:gd name="T12" fmla="*/ 27 h 27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6" h="27">
                      <a:moveTo>
                        <a:pt x="16" y="0"/>
                      </a:moveTo>
                      <a:lnTo>
                        <a:pt x="11" y="16"/>
                      </a:lnTo>
                      <a:lnTo>
                        <a:pt x="0" y="27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39" name="Freeform 759"/>
                <p:cNvSpPr>
                  <a:spLocks/>
                </p:cNvSpPr>
                <p:nvPr/>
              </p:nvSpPr>
              <p:spPr bwMode="auto">
                <a:xfrm>
                  <a:off x="2897" y="2209"/>
                  <a:ext cx="32" cy="97"/>
                </a:xfrm>
                <a:custGeom>
                  <a:avLst/>
                  <a:gdLst>
                    <a:gd name="T0" fmla="*/ 32 w 32"/>
                    <a:gd name="T1" fmla="*/ 97 h 97"/>
                    <a:gd name="T2" fmla="*/ 16 w 32"/>
                    <a:gd name="T3" fmla="*/ 91 h 97"/>
                    <a:gd name="T4" fmla="*/ 11 w 32"/>
                    <a:gd name="T5" fmla="*/ 81 h 97"/>
                    <a:gd name="T6" fmla="*/ 0 w 32"/>
                    <a:gd name="T7" fmla="*/ 54 h 97"/>
                    <a:gd name="T8" fmla="*/ 0 w 32"/>
                    <a:gd name="T9" fmla="*/ 16 h 97"/>
                    <a:gd name="T10" fmla="*/ 6 w 32"/>
                    <a:gd name="T11" fmla="*/ 6 h 97"/>
                    <a:gd name="T12" fmla="*/ 16 w 32"/>
                    <a:gd name="T13" fmla="*/ 0 h 9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97"/>
                    <a:gd name="T23" fmla="*/ 32 w 32"/>
                    <a:gd name="T24" fmla="*/ 97 h 97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97">
                      <a:moveTo>
                        <a:pt x="32" y="97"/>
                      </a:moveTo>
                      <a:lnTo>
                        <a:pt x="16" y="91"/>
                      </a:lnTo>
                      <a:lnTo>
                        <a:pt x="11" y="81"/>
                      </a:lnTo>
                      <a:lnTo>
                        <a:pt x="0" y="54"/>
                      </a:lnTo>
                      <a:lnTo>
                        <a:pt x="0" y="16"/>
                      </a:lnTo>
                      <a:lnTo>
                        <a:pt x="6" y="6"/>
                      </a:lnTo>
                      <a:lnTo>
                        <a:pt x="16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40" name="Freeform 760"/>
                <p:cNvSpPr>
                  <a:spLocks/>
                </p:cNvSpPr>
                <p:nvPr/>
              </p:nvSpPr>
              <p:spPr bwMode="auto">
                <a:xfrm>
                  <a:off x="2929" y="2300"/>
                  <a:ext cx="22" cy="6"/>
                </a:xfrm>
                <a:custGeom>
                  <a:avLst/>
                  <a:gdLst>
                    <a:gd name="T0" fmla="*/ 22 w 22"/>
                    <a:gd name="T1" fmla="*/ 0 h 6"/>
                    <a:gd name="T2" fmla="*/ 11 w 22"/>
                    <a:gd name="T3" fmla="*/ 0 h 6"/>
                    <a:gd name="T4" fmla="*/ 0 w 22"/>
                    <a:gd name="T5" fmla="*/ 6 h 6"/>
                    <a:gd name="T6" fmla="*/ 0 60000 65536"/>
                    <a:gd name="T7" fmla="*/ 0 60000 65536"/>
                    <a:gd name="T8" fmla="*/ 0 60000 65536"/>
                    <a:gd name="T9" fmla="*/ 0 w 22"/>
                    <a:gd name="T10" fmla="*/ 0 h 6"/>
                    <a:gd name="T11" fmla="*/ 22 w 22"/>
                    <a:gd name="T12" fmla="*/ 6 h 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2" h="6">
                      <a:moveTo>
                        <a:pt x="22" y="0"/>
                      </a:moveTo>
                      <a:lnTo>
                        <a:pt x="11" y="0"/>
                      </a:lnTo>
                      <a:lnTo>
                        <a:pt x="0" y="6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41" name="Freeform 761"/>
                <p:cNvSpPr>
                  <a:spLocks/>
                </p:cNvSpPr>
                <p:nvPr/>
              </p:nvSpPr>
              <p:spPr bwMode="auto">
                <a:xfrm>
                  <a:off x="2956" y="2290"/>
                  <a:ext cx="27" cy="5"/>
                </a:xfrm>
                <a:custGeom>
                  <a:avLst/>
                  <a:gdLst>
                    <a:gd name="T0" fmla="*/ 0 w 27"/>
                    <a:gd name="T1" fmla="*/ 5 h 5"/>
                    <a:gd name="T2" fmla="*/ 11 w 27"/>
                    <a:gd name="T3" fmla="*/ 0 h 5"/>
                    <a:gd name="T4" fmla="*/ 27 w 27"/>
                    <a:gd name="T5" fmla="*/ 0 h 5"/>
                    <a:gd name="T6" fmla="*/ 0 60000 65536"/>
                    <a:gd name="T7" fmla="*/ 0 60000 65536"/>
                    <a:gd name="T8" fmla="*/ 0 60000 65536"/>
                    <a:gd name="T9" fmla="*/ 0 w 27"/>
                    <a:gd name="T10" fmla="*/ 0 h 5"/>
                    <a:gd name="T11" fmla="*/ 27 w 27"/>
                    <a:gd name="T12" fmla="*/ 5 h 5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27" h="5">
                      <a:moveTo>
                        <a:pt x="0" y="5"/>
                      </a:moveTo>
                      <a:lnTo>
                        <a:pt x="11" y="0"/>
                      </a:lnTo>
                      <a:lnTo>
                        <a:pt x="27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42" name="Freeform 762"/>
                <p:cNvSpPr>
                  <a:spLocks/>
                </p:cNvSpPr>
                <p:nvPr/>
              </p:nvSpPr>
              <p:spPr bwMode="auto">
                <a:xfrm>
                  <a:off x="2913" y="2204"/>
                  <a:ext cx="43" cy="70"/>
                </a:xfrm>
                <a:custGeom>
                  <a:avLst/>
                  <a:gdLst>
                    <a:gd name="T0" fmla="*/ 43 w 43"/>
                    <a:gd name="T1" fmla="*/ 70 h 70"/>
                    <a:gd name="T2" fmla="*/ 38 w 43"/>
                    <a:gd name="T3" fmla="*/ 64 h 70"/>
                    <a:gd name="T4" fmla="*/ 38 w 43"/>
                    <a:gd name="T5" fmla="*/ 64 h 70"/>
                    <a:gd name="T6" fmla="*/ 27 w 43"/>
                    <a:gd name="T7" fmla="*/ 27 h 70"/>
                    <a:gd name="T8" fmla="*/ 16 w 43"/>
                    <a:gd name="T9" fmla="*/ 11 h 70"/>
                    <a:gd name="T10" fmla="*/ 11 w 43"/>
                    <a:gd name="T11" fmla="*/ 5 h 70"/>
                    <a:gd name="T12" fmla="*/ 0 w 43"/>
                    <a:gd name="T13" fmla="*/ 0 h 7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43"/>
                    <a:gd name="T22" fmla="*/ 0 h 70"/>
                    <a:gd name="T23" fmla="*/ 43 w 43"/>
                    <a:gd name="T24" fmla="*/ 70 h 7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43" h="70">
                      <a:moveTo>
                        <a:pt x="43" y="70"/>
                      </a:moveTo>
                      <a:lnTo>
                        <a:pt x="38" y="64"/>
                      </a:lnTo>
                      <a:lnTo>
                        <a:pt x="27" y="27"/>
                      </a:lnTo>
                      <a:lnTo>
                        <a:pt x="16" y="11"/>
                      </a:lnTo>
                      <a:lnTo>
                        <a:pt x="11" y="5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43" name="Freeform 763"/>
                <p:cNvSpPr>
                  <a:spLocks/>
                </p:cNvSpPr>
                <p:nvPr/>
              </p:nvSpPr>
              <p:spPr bwMode="auto">
                <a:xfrm>
                  <a:off x="2892" y="2204"/>
                  <a:ext cx="21" cy="37"/>
                </a:xfrm>
                <a:custGeom>
                  <a:avLst/>
                  <a:gdLst>
                    <a:gd name="T0" fmla="*/ 21 w 21"/>
                    <a:gd name="T1" fmla="*/ 5 h 37"/>
                    <a:gd name="T2" fmla="*/ 16 w 21"/>
                    <a:gd name="T3" fmla="*/ 0 h 37"/>
                    <a:gd name="T4" fmla="*/ 16 w 21"/>
                    <a:gd name="T5" fmla="*/ 0 h 37"/>
                    <a:gd name="T6" fmla="*/ 16 w 21"/>
                    <a:gd name="T7" fmla="*/ 0 h 37"/>
                    <a:gd name="T8" fmla="*/ 16 w 21"/>
                    <a:gd name="T9" fmla="*/ 0 h 37"/>
                    <a:gd name="T10" fmla="*/ 11 w 21"/>
                    <a:gd name="T11" fmla="*/ 5 h 37"/>
                    <a:gd name="T12" fmla="*/ 11 w 21"/>
                    <a:gd name="T13" fmla="*/ 5 h 37"/>
                    <a:gd name="T14" fmla="*/ 11 w 21"/>
                    <a:gd name="T15" fmla="*/ 5 h 37"/>
                    <a:gd name="T16" fmla="*/ 11 w 21"/>
                    <a:gd name="T17" fmla="*/ 5 h 37"/>
                    <a:gd name="T18" fmla="*/ 11 w 21"/>
                    <a:gd name="T19" fmla="*/ 5 h 37"/>
                    <a:gd name="T20" fmla="*/ 5 w 21"/>
                    <a:gd name="T21" fmla="*/ 5 h 37"/>
                    <a:gd name="T22" fmla="*/ 5 w 21"/>
                    <a:gd name="T23" fmla="*/ 11 h 37"/>
                    <a:gd name="T24" fmla="*/ 5 w 21"/>
                    <a:gd name="T25" fmla="*/ 11 h 37"/>
                    <a:gd name="T26" fmla="*/ 5 w 21"/>
                    <a:gd name="T27" fmla="*/ 11 h 37"/>
                    <a:gd name="T28" fmla="*/ 5 w 21"/>
                    <a:gd name="T29" fmla="*/ 16 h 37"/>
                    <a:gd name="T30" fmla="*/ 5 w 21"/>
                    <a:gd name="T31" fmla="*/ 16 h 37"/>
                    <a:gd name="T32" fmla="*/ 5 w 21"/>
                    <a:gd name="T33" fmla="*/ 21 h 37"/>
                    <a:gd name="T34" fmla="*/ 5 w 21"/>
                    <a:gd name="T35" fmla="*/ 21 h 37"/>
                    <a:gd name="T36" fmla="*/ 0 w 21"/>
                    <a:gd name="T37" fmla="*/ 27 h 37"/>
                    <a:gd name="T38" fmla="*/ 0 w 21"/>
                    <a:gd name="T39" fmla="*/ 32 h 37"/>
                    <a:gd name="T40" fmla="*/ 0 w 21"/>
                    <a:gd name="T41" fmla="*/ 32 h 37"/>
                    <a:gd name="T42" fmla="*/ 0 w 21"/>
                    <a:gd name="T43" fmla="*/ 37 h 37"/>
                    <a:gd name="T44" fmla="*/ 0 w 21"/>
                    <a:gd name="T45" fmla="*/ 32 h 37"/>
                    <a:gd name="T46" fmla="*/ 0 w 21"/>
                    <a:gd name="T47" fmla="*/ 32 h 37"/>
                    <a:gd name="T48" fmla="*/ 0 w 21"/>
                    <a:gd name="T49" fmla="*/ 27 h 37"/>
                    <a:gd name="T50" fmla="*/ 0 w 21"/>
                    <a:gd name="T51" fmla="*/ 27 h 37"/>
                    <a:gd name="T52" fmla="*/ 0 w 21"/>
                    <a:gd name="T53" fmla="*/ 21 h 37"/>
                    <a:gd name="T54" fmla="*/ 5 w 21"/>
                    <a:gd name="T55" fmla="*/ 21 h 37"/>
                    <a:gd name="T56" fmla="*/ 5 w 21"/>
                    <a:gd name="T57" fmla="*/ 16 h 37"/>
                    <a:gd name="T58" fmla="*/ 5 w 21"/>
                    <a:gd name="T59" fmla="*/ 16 h 37"/>
                    <a:gd name="T60" fmla="*/ 5 w 21"/>
                    <a:gd name="T61" fmla="*/ 11 h 37"/>
                    <a:gd name="T62" fmla="*/ 5 w 21"/>
                    <a:gd name="T63" fmla="*/ 11 h 37"/>
                    <a:gd name="T64" fmla="*/ 5 w 21"/>
                    <a:gd name="T65" fmla="*/ 5 h 37"/>
                    <a:gd name="T66" fmla="*/ 5 w 21"/>
                    <a:gd name="T67" fmla="*/ 5 h 37"/>
                    <a:gd name="T68" fmla="*/ 11 w 21"/>
                    <a:gd name="T69" fmla="*/ 5 h 37"/>
                    <a:gd name="T70" fmla="*/ 11 w 21"/>
                    <a:gd name="T71" fmla="*/ 5 h 37"/>
                    <a:gd name="T72" fmla="*/ 11 w 21"/>
                    <a:gd name="T73" fmla="*/ 0 h 37"/>
                    <a:gd name="T74" fmla="*/ 11 w 21"/>
                    <a:gd name="T75" fmla="*/ 0 h 37"/>
                    <a:gd name="T76" fmla="*/ 11 w 21"/>
                    <a:gd name="T77" fmla="*/ 0 h 37"/>
                    <a:gd name="T78" fmla="*/ 16 w 21"/>
                    <a:gd name="T79" fmla="*/ 0 h 37"/>
                    <a:gd name="T80" fmla="*/ 16 w 21"/>
                    <a:gd name="T81" fmla="*/ 0 h 37"/>
                    <a:gd name="T82" fmla="*/ 16 w 21"/>
                    <a:gd name="T83" fmla="*/ 0 h 37"/>
                    <a:gd name="T84" fmla="*/ 21 w 21"/>
                    <a:gd name="T85" fmla="*/ 0 h 37"/>
                    <a:gd name="T86" fmla="*/ 21 w 21"/>
                    <a:gd name="T87" fmla="*/ 0 h 37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21"/>
                    <a:gd name="T133" fmla="*/ 0 h 37"/>
                    <a:gd name="T134" fmla="*/ 21 w 21"/>
                    <a:gd name="T135" fmla="*/ 37 h 37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21" h="37">
                      <a:moveTo>
                        <a:pt x="21" y="0"/>
                      </a:moveTo>
                      <a:lnTo>
                        <a:pt x="21" y="5"/>
                      </a:lnTo>
                      <a:lnTo>
                        <a:pt x="21" y="0"/>
                      </a:lnTo>
                      <a:lnTo>
                        <a:pt x="16" y="0"/>
                      </a:lnTo>
                      <a:lnTo>
                        <a:pt x="16" y="5"/>
                      </a:lnTo>
                      <a:lnTo>
                        <a:pt x="11" y="5"/>
                      </a:lnTo>
                      <a:lnTo>
                        <a:pt x="5" y="5"/>
                      </a:lnTo>
                      <a:lnTo>
                        <a:pt x="5" y="11"/>
                      </a:lnTo>
                      <a:lnTo>
                        <a:pt x="5" y="16"/>
                      </a:lnTo>
                      <a:lnTo>
                        <a:pt x="5" y="21"/>
                      </a:lnTo>
                      <a:lnTo>
                        <a:pt x="0" y="27"/>
                      </a:lnTo>
                      <a:lnTo>
                        <a:pt x="0" y="32"/>
                      </a:lnTo>
                      <a:lnTo>
                        <a:pt x="0" y="37"/>
                      </a:lnTo>
                      <a:lnTo>
                        <a:pt x="0" y="32"/>
                      </a:lnTo>
                      <a:lnTo>
                        <a:pt x="0" y="27"/>
                      </a:lnTo>
                      <a:lnTo>
                        <a:pt x="0" y="21"/>
                      </a:lnTo>
                      <a:lnTo>
                        <a:pt x="5" y="21"/>
                      </a:lnTo>
                      <a:lnTo>
                        <a:pt x="5" y="16"/>
                      </a:lnTo>
                      <a:lnTo>
                        <a:pt x="5" y="11"/>
                      </a:lnTo>
                      <a:lnTo>
                        <a:pt x="5" y="5"/>
                      </a:lnTo>
                      <a:lnTo>
                        <a:pt x="11" y="5"/>
                      </a:lnTo>
                      <a:lnTo>
                        <a:pt x="11" y="0"/>
                      </a:lnTo>
                      <a:lnTo>
                        <a:pt x="16" y="0"/>
                      </a:lnTo>
                      <a:lnTo>
                        <a:pt x="21" y="0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44" name="Freeform 764"/>
                <p:cNvSpPr>
                  <a:spLocks/>
                </p:cNvSpPr>
                <p:nvPr/>
              </p:nvSpPr>
              <p:spPr bwMode="auto">
                <a:xfrm>
                  <a:off x="2892" y="2204"/>
                  <a:ext cx="21" cy="37"/>
                </a:xfrm>
                <a:custGeom>
                  <a:avLst/>
                  <a:gdLst>
                    <a:gd name="T0" fmla="*/ 21 w 21"/>
                    <a:gd name="T1" fmla="*/ 5 h 37"/>
                    <a:gd name="T2" fmla="*/ 16 w 21"/>
                    <a:gd name="T3" fmla="*/ 0 h 37"/>
                    <a:gd name="T4" fmla="*/ 16 w 21"/>
                    <a:gd name="T5" fmla="*/ 0 h 37"/>
                    <a:gd name="T6" fmla="*/ 16 w 21"/>
                    <a:gd name="T7" fmla="*/ 0 h 37"/>
                    <a:gd name="T8" fmla="*/ 16 w 21"/>
                    <a:gd name="T9" fmla="*/ 0 h 37"/>
                    <a:gd name="T10" fmla="*/ 11 w 21"/>
                    <a:gd name="T11" fmla="*/ 5 h 37"/>
                    <a:gd name="T12" fmla="*/ 11 w 21"/>
                    <a:gd name="T13" fmla="*/ 5 h 37"/>
                    <a:gd name="T14" fmla="*/ 11 w 21"/>
                    <a:gd name="T15" fmla="*/ 5 h 37"/>
                    <a:gd name="T16" fmla="*/ 11 w 21"/>
                    <a:gd name="T17" fmla="*/ 5 h 37"/>
                    <a:gd name="T18" fmla="*/ 11 w 21"/>
                    <a:gd name="T19" fmla="*/ 5 h 37"/>
                    <a:gd name="T20" fmla="*/ 5 w 21"/>
                    <a:gd name="T21" fmla="*/ 5 h 37"/>
                    <a:gd name="T22" fmla="*/ 5 w 21"/>
                    <a:gd name="T23" fmla="*/ 11 h 37"/>
                    <a:gd name="T24" fmla="*/ 5 w 21"/>
                    <a:gd name="T25" fmla="*/ 11 h 37"/>
                    <a:gd name="T26" fmla="*/ 5 w 21"/>
                    <a:gd name="T27" fmla="*/ 11 h 37"/>
                    <a:gd name="T28" fmla="*/ 5 w 21"/>
                    <a:gd name="T29" fmla="*/ 16 h 37"/>
                    <a:gd name="T30" fmla="*/ 5 w 21"/>
                    <a:gd name="T31" fmla="*/ 16 h 37"/>
                    <a:gd name="T32" fmla="*/ 5 w 21"/>
                    <a:gd name="T33" fmla="*/ 21 h 37"/>
                    <a:gd name="T34" fmla="*/ 5 w 21"/>
                    <a:gd name="T35" fmla="*/ 21 h 37"/>
                    <a:gd name="T36" fmla="*/ 0 w 21"/>
                    <a:gd name="T37" fmla="*/ 27 h 37"/>
                    <a:gd name="T38" fmla="*/ 0 w 21"/>
                    <a:gd name="T39" fmla="*/ 32 h 37"/>
                    <a:gd name="T40" fmla="*/ 0 w 21"/>
                    <a:gd name="T41" fmla="*/ 32 h 37"/>
                    <a:gd name="T42" fmla="*/ 0 w 21"/>
                    <a:gd name="T43" fmla="*/ 37 h 37"/>
                    <a:gd name="T44" fmla="*/ 0 w 21"/>
                    <a:gd name="T45" fmla="*/ 32 h 37"/>
                    <a:gd name="T46" fmla="*/ 0 w 21"/>
                    <a:gd name="T47" fmla="*/ 32 h 37"/>
                    <a:gd name="T48" fmla="*/ 0 w 21"/>
                    <a:gd name="T49" fmla="*/ 27 h 37"/>
                    <a:gd name="T50" fmla="*/ 0 w 21"/>
                    <a:gd name="T51" fmla="*/ 27 h 37"/>
                    <a:gd name="T52" fmla="*/ 0 w 21"/>
                    <a:gd name="T53" fmla="*/ 21 h 37"/>
                    <a:gd name="T54" fmla="*/ 5 w 21"/>
                    <a:gd name="T55" fmla="*/ 21 h 37"/>
                    <a:gd name="T56" fmla="*/ 5 w 21"/>
                    <a:gd name="T57" fmla="*/ 16 h 37"/>
                    <a:gd name="T58" fmla="*/ 5 w 21"/>
                    <a:gd name="T59" fmla="*/ 16 h 37"/>
                    <a:gd name="T60" fmla="*/ 5 w 21"/>
                    <a:gd name="T61" fmla="*/ 11 h 37"/>
                    <a:gd name="T62" fmla="*/ 5 w 21"/>
                    <a:gd name="T63" fmla="*/ 11 h 37"/>
                    <a:gd name="T64" fmla="*/ 5 w 21"/>
                    <a:gd name="T65" fmla="*/ 5 h 37"/>
                    <a:gd name="T66" fmla="*/ 5 w 21"/>
                    <a:gd name="T67" fmla="*/ 5 h 37"/>
                    <a:gd name="T68" fmla="*/ 11 w 21"/>
                    <a:gd name="T69" fmla="*/ 5 h 37"/>
                    <a:gd name="T70" fmla="*/ 11 w 21"/>
                    <a:gd name="T71" fmla="*/ 5 h 37"/>
                    <a:gd name="T72" fmla="*/ 11 w 21"/>
                    <a:gd name="T73" fmla="*/ 0 h 37"/>
                    <a:gd name="T74" fmla="*/ 11 w 21"/>
                    <a:gd name="T75" fmla="*/ 0 h 37"/>
                    <a:gd name="T76" fmla="*/ 11 w 21"/>
                    <a:gd name="T77" fmla="*/ 0 h 37"/>
                    <a:gd name="T78" fmla="*/ 16 w 21"/>
                    <a:gd name="T79" fmla="*/ 0 h 37"/>
                    <a:gd name="T80" fmla="*/ 16 w 21"/>
                    <a:gd name="T81" fmla="*/ 0 h 37"/>
                    <a:gd name="T82" fmla="*/ 16 w 21"/>
                    <a:gd name="T83" fmla="*/ 0 h 37"/>
                    <a:gd name="T84" fmla="*/ 21 w 21"/>
                    <a:gd name="T85" fmla="*/ 0 h 37"/>
                    <a:gd name="T86" fmla="*/ 21 w 21"/>
                    <a:gd name="T87" fmla="*/ 0 h 37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w 21"/>
                    <a:gd name="T133" fmla="*/ 0 h 37"/>
                    <a:gd name="T134" fmla="*/ 21 w 21"/>
                    <a:gd name="T135" fmla="*/ 37 h 37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T132" t="T133" r="T134" b="T135"/>
                  <a:pathLst>
                    <a:path w="21" h="37">
                      <a:moveTo>
                        <a:pt x="21" y="0"/>
                      </a:moveTo>
                      <a:lnTo>
                        <a:pt x="21" y="5"/>
                      </a:lnTo>
                      <a:lnTo>
                        <a:pt x="21" y="0"/>
                      </a:lnTo>
                      <a:lnTo>
                        <a:pt x="16" y="0"/>
                      </a:lnTo>
                      <a:lnTo>
                        <a:pt x="16" y="5"/>
                      </a:lnTo>
                      <a:lnTo>
                        <a:pt x="11" y="5"/>
                      </a:lnTo>
                      <a:lnTo>
                        <a:pt x="5" y="5"/>
                      </a:lnTo>
                      <a:lnTo>
                        <a:pt x="5" y="11"/>
                      </a:lnTo>
                      <a:lnTo>
                        <a:pt x="5" y="16"/>
                      </a:lnTo>
                      <a:lnTo>
                        <a:pt x="5" y="21"/>
                      </a:lnTo>
                      <a:lnTo>
                        <a:pt x="0" y="27"/>
                      </a:lnTo>
                      <a:lnTo>
                        <a:pt x="0" y="32"/>
                      </a:lnTo>
                      <a:lnTo>
                        <a:pt x="0" y="37"/>
                      </a:lnTo>
                      <a:lnTo>
                        <a:pt x="0" y="32"/>
                      </a:lnTo>
                      <a:lnTo>
                        <a:pt x="0" y="27"/>
                      </a:lnTo>
                      <a:lnTo>
                        <a:pt x="0" y="21"/>
                      </a:lnTo>
                      <a:lnTo>
                        <a:pt x="5" y="21"/>
                      </a:lnTo>
                      <a:lnTo>
                        <a:pt x="5" y="16"/>
                      </a:lnTo>
                      <a:lnTo>
                        <a:pt x="5" y="11"/>
                      </a:lnTo>
                      <a:lnTo>
                        <a:pt x="5" y="5"/>
                      </a:lnTo>
                      <a:lnTo>
                        <a:pt x="11" y="5"/>
                      </a:lnTo>
                      <a:lnTo>
                        <a:pt x="11" y="0"/>
                      </a:lnTo>
                      <a:lnTo>
                        <a:pt x="16" y="0"/>
                      </a:lnTo>
                      <a:lnTo>
                        <a:pt x="21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45" name="Freeform 765"/>
                <p:cNvSpPr>
                  <a:spLocks/>
                </p:cNvSpPr>
                <p:nvPr/>
              </p:nvSpPr>
              <p:spPr bwMode="auto">
                <a:xfrm>
                  <a:off x="2887" y="2199"/>
                  <a:ext cx="69" cy="75"/>
                </a:xfrm>
                <a:custGeom>
                  <a:avLst/>
                  <a:gdLst>
                    <a:gd name="T0" fmla="*/ 5 w 69"/>
                    <a:gd name="T1" fmla="*/ 42 h 75"/>
                    <a:gd name="T2" fmla="*/ 5 w 69"/>
                    <a:gd name="T3" fmla="*/ 53 h 75"/>
                    <a:gd name="T4" fmla="*/ 0 w 69"/>
                    <a:gd name="T5" fmla="*/ 53 h 75"/>
                    <a:gd name="T6" fmla="*/ 5 w 69"/>
                    <a:gd name="T7" fmla="*/ 21 h 75"/>
                    <a:gd name="T8" fmla="*/ 5 w 69"/>
                    <a:gd name="T9" fmla="*/ 5 h 75"/>
                    <a:gd name="T10" fmla="*/ 10 w 69"/>
                    <a:gd name="T11" fmla="*/ 0 h 75"/>
                    <a:gd name="T12" fmla="*/ 26 w 69"/>
                    <a:gd name="T13" fmla="*/ 0 h 75"/>
                    <a:gd name="T14" fmla="*/ 42 w 69"/>
                    <a:gd name="T15" fmla="*/ 5 h 75"/>
                    <a:gd name="T16" fmla="*/ 59 w 69"/>
                    <a:gd name="T17" fmla="*/ 32 h 75"/>
                    <a:gd name="T18" fmla="*/ 69 w 69"/>
                    <a:gd name="T19" fmla="*/ 75 h 75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69"/>
                    <a:gd name="T31" fmla="*/ 0 h 75"/>
                    <a:gd name="T32" fmla="*/ 69 w 69"/>
                    <a:gd name="T33" fmla="*/ 75 h 75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69" h="75">
                      <a:moveTo>
                        <a:pt x="5" y="42"/>
                      </a:moveTo>
                      <a:lnTo>
                        <a:pt x="5" y="53"/>
                      </a:lnTo>
                      <a:lnTo>
                        <a:pt x="0" y="53"/>
                      </a:lnTo>
                      <a:lnTo>
                        <a:pt x="5" y="21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26" y="0"/>
                      </a:lnTo>
                      <a:lnTo>
                        <a:pt x="42" y="5"/>
                      </a:lnTo>
                      <a:lnTo>
                        <a:pt x="59" y="32"/>
                      </a:lnTo>
                      <a:lnTo>
                        <a:pt x="69" y="75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46" name="Freeform 766"/>
                <p:cNvSpPr>
                  <a:spLocks/>
                </p:cNvSpPr>
                <p:nvPr/>
              </p:nvSpPr>
              <p:spPr bwMode="auto">
                <a:xfrm>
                  <a:off x="2887" y="2193"/>
                  <a:ext cx="32" cy="59"/>
                </a:xfrm>
                <a:custGeom>
                  <a:avLst/>
                  <a:gdLst>
                    <a:gd name="T0" fmla="*/ 5 w 32"/>
                    <a:gd name="T1" fmla="*/ 59 h 59"/>
                    <a:gd name="T2" fmla="*/ 5 w 32"/>
                    <a:gd name="T3" fmla="*/ 59 h 59"/>
                    <a:gd name="T4" fmla="*/ 0 w 32"/>
                    <a:gd name="T5" fmla="*/ 59 h 59"/>
                    <a:gd name="T6" fmla="*/ 5 w 32"/>
                    <a:gd name="T7" fmla="*/ 27 h 59"/>
                    <a:gd name="T8" fmla="*/ 5 w 32"/>
                    <a:gd name="T9" fmla="*/ 11 h 59"/>
                    <a:gd name="T10" fmla="*/ 16 w 32"/>
                    <a:gd name="T11" fmla="*/ 6 h 59"/>
                    <a:gd name="T12" fmla="*/ 32 w 32"/>
                    <a:gd name="T13" fmla="*/ 0 h 5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2"/>
                    <a:gd name="T22" fmla="*/ 0 h 59"/>
                    <a:gd name="T23" fmla="*/ 32 w 32"/>
                    <a:gd name="T24" fmla="*/ 59 h 59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2" h="59">
                      <a:moveTo>
                        <a:pt x="5" y="59"/>
                      </a:moveTo>
                      <a:lnTo>
                        <a:pt x="5" y="59"/>
                      </a:lnTo>
                      <a:lnTo>
                        <a:pt x="0" y="59"/>
                      </a:lnTo>
                      <a:lnTo>
                        <a:pt x="5" y="27"/>
                      </a:lnTo>
                      <a:lnTo>
                        <a:pt x="5" y="11"/>
                      </a:lnTo>
                      <a:lnTo>
                        <a:pt x="16" y="6"/>
                      </a:lnTo>
                      <a:lnTo>
                        <a:pt x="32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47" name="Freeform 767"/>
                <p:cNvSpPr>
                  <a:spLocks/>
                </p:cNvSpPr>
                <p:nvPr/>
              </p:nvSpPr>
              <p:spPr bwMode="auto">
                <a:xfrm>
                  <a:off x="2887" y="2258"/>
                  <a:ext cx="10" cy="21"/>
                </a:xfrm>
                <a:custGeom>
                  <a:avLst/>
                  <a:gdLst>
                    <a:gd name="T0" fmla="*/ 5 w 10"/>
                    <a:gd name="T1" fmla="*/ 0 h 21"/>
                    <a:gd name="T2" fmla="*/ 0 w 10"/>
                    <a:gd name="T3" fmla="*/ 21 h 21"/>
                    <a:gd name="T4" fmla="*/ 10 w 10"/>
                    <a:gd name="T5" fmla="*/ 16 h 21"/>
                    <a:gd name="T6" fmla="*/ 0 60000 65536"/>
                    <a:gd name="T7" fmla="*/ 0 60000 65536"/>
                    <a:gd name="T8" fmla="*/ 0 60000 65536"/>
                    <a:gd name="T9" fmla="*/ 0 w 10"/>
                    <a:gd name="T10" fmla="*/ 0 h 21"/>
                    <a:gd name="T11" fmla="*/ 10 w 10"/>
                    <a:gd name="T12" fmla="*/ 21 h 2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0" h="21">
                      <a:moveTo>
                        <a:pt x="5" y="0"/>
                      </a:moveTo>
                      <a:lnTo>
                        <a:pt x="0" y="21"/>
                      </a:lnTo>
                      <a:lnTo>
                        <a:pt x="10" y="16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48" name="Line 768"/>
                <p:cNvSpPr>
                  <a:spLocks noChangeShapeType="1"/>
                </p:cNvSpPr>
                <p:nvPr/>
              </p:nvSpPr>
              <p:spPr bwMode="auto">
                <a:xfrm flipV="1">
                  <a:off x="2956" y="2268"/>
                  <a:ext cx="16" cy="6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49" name="Line 769"/>
                <p:cNvSpPr>
                  <a:spLocks noChangeShapeType="1"/>
                </p:cNvSpPr>
                <p:nvPr/>
              </p:nvSpPr>
              <p:spPr bwMode="auto">
                <a:xfrm>
                  <a:off x="2913" y="2241"/>
                  <a:ext cx="1" cy="1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50" name="Line 770"/>
                <p:cNvSpPr>
                  <a:spLocks noChangeShapeType="1"/>
                </p:cNvSpPr>
                <p:nvPr/>
              </p:nvSpPr>
              <p:spPr bwMode="auto">
                <a:xfrm flipH="1">
                  <a:off x="2919" y="2268"/>
                  <a:ext cx="5" cy="1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51" name="Line 771"/>
                <p:cNvSpPr>
                  <a:spLocks noChangeShapeType="1"/>
                </p:cNvSpPr>
                <p:nvPr/>
              </p:nvSpPr>
              <p:spPr bwMode="auto">
                <a:xfrm>
                  <a:off x="2913" y="2209"/>
                  <a:ext cx="6" cy="1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52" name="Freeform 772"/>
                <p:cNvSpPr>
                  <a:spLocks/>
                </p:cNvSpPr>
                <p:nvPr/>
              </p:nvSpPr>
              <p:spPr bwMode="auto">
                <a:xfrm>
                  <a:off x="2662" y="2113"/>
                  <a:ext cx="37" cy="80"/>
                </a:xfrm>
                <a:custGeom>
                  <a:avLst/>
                  <a:gdLst>
                    <a:gd name="T0" fmla="*/ 26 w 37"/>
                    <a:gd name="T1" fmla="*/ 80 h 80"/>
                    <a:gd name="T2" fmla="*/ 16 w 37"/>
                    <a:gd name="T3" fmla="*/ 75 h 80"/>
                    <a:gd name="T4" fmla="*/ 10 w 37"/>
                    <a:gd name="T5" fmla="*/ 70 h 80"/>
                    <a:gd name="T6" fmla="*/ 5 w 37"/>
                    <a:gd name="T7" fmla="*/ 43 h 80"/>
                    <a:gd name="T8" fmla="*/ 0 w 37"/>
                    <a:gd name="T9" fmla="*/ 11 h 80"/>
                    <a:gd name="T10" fmla="*/ 5 w 37"/>
                    <a:gd name="T11" fmla="*/ 0 h 80"/>
                    <a:gd name="T12" fmla="*/ 16 w 37"/>
                    <a:gd name="T13" fmla="*/ 0 h 80"/>
                    <a:gd name="T14" fmla="*/ 16 w 37"/>
                    <a:gd name="T15" fmla="*/ 0 h 80"/>
                    <a:gd name="T16" fmla="*/ 26 w 37"/>
                    <a:gd name="T17" fmla="*/ 11 h 80"/>
                    <a:gd name="T18" fmla="*/ 37 w 37"/>
                    <a:gd name="T19" fmla="*/ 38 h 80"/>
                    <a:gd name="T20" fmla="*/ 37 w 37"/>
                    <a:gd name="T21" fmla="*/ 64 h 80"/>
                    <a:gd name="T22" fmla="*/ 32 w 37"/>
                    <a:gd name="T23" fmla="*/ 75 h 80"/>
                    <a:gd name="T24" fmla="*/ 26 w 37"/>
                    <a:gd name="T25" fmla="*/ 80 h 80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37"/>
                    <a:gd name="T40" fmla="*/ 0 h 80"/>
                    <a:gd name="T41" fmla="*/ 37 w 37"/>
                    <a:gd name="T42" fmla="*/ 80 h 80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37" h="80">
                      <a:moveTo>
                        <a:pt x="26" y="80"/>
                      </a:moveTo>
                      <a:lnTo>
                        <a:pt x="16" y="75"/>
                      </a:lnTo>
                      <a:lnTo>
                        <a:pt x="10" y="70"/>
                      </a:lnTo>
                      <a:lnTo>
                        <a:pt x="5" y="43"/>
                      </a:lnTo>
                      <a:lnTo>
                        <a:pt x="0" y="11"/>
                      </a:lnTo>
                      <a:lnTo>
                        <a:pt x="5" y="0"/>
                      </a:lnTo>
                      <a:lnTo>
                        <a:pt x="16" y="0"/>
                      </a:lnTo>
                      <a:lnTo>
                        <a:pt x="26" y="11"/>
                      </a:lnTo>
                      <a:lnTo>
                        <a:pt x="37" y="38"/>
                      </a:lnTo>
                      <a:lnTo>
                        <a:pt x="37" y="64"/>
                      </a:lnTo>
                      <a:lnTo>
                        <a:pt x="32" y="75"/>
                      </a:lnTo>
                      <a:lnTo>
                        <a:pt x="26" y="8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53" name="Freeform 773"/>
                <p:cNvSpPr>
                  <a:spLocks/>
                </p:cNvSpPr>
                <p:nvPr/>
              </p:nvSpPr>
              <p:spPr bwMode="auto">
                <a:xfrm>
                  <a:off x="2694" y="2156"/>
                  <a:ext cx="10" cy="37"/>
                </a:xfrm>
                <a:custGeom>
                  <a:avLst/>
                  <a:gdLst>
                    <a:gd name="T0" fmla="*/ 10 w 10"/>
                    <a:gd name="T1" fmla="*/ 0 h 37"/>
                    <a:gd name="T2" fmla="*/ 5 w 10"/>
                    <a:gd name="T3" fmla="*/ 27 h 37"/>
                    <a:gd name="T4" fmla="*/ 0 w 10"/>
                    <a:gd name="T5" fmla="*/ 32 h 37"/>
                    <a:gd name="T6" fmla="*/ 0 w 10"/>
                    <a:gd name="T7" fmla="*/ 37 h 3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0"/>
                    <a:gd name="T13" fmla="*/ 0 h 37"/>
                    <a:gd name="T14" fmla="*/ 10 w 10"/>
                    <a:gd name="T15" fmla="*/ 37 h 3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0" h="37">
                      <a:moveTo>
                        <a:pt x="10" y="0"/>
                      </a:moveTo>
                      <a:lnTo>
                        <a:pt x="5" y="27"/>
                      </a:lnTo>
                      <a:lnTo>
                        <a:pt x="0" y="32"/>
                      </a:lnTo>
                      <a:lnTo>
                        <a:pt x="0" y="37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54" name="Freeform 774"/>
                <p:cNvSpPr>
                  <a:spLocks/>
                </p:cNvSpPr>
                <p:nvPr/>
              </p:nvSpPr>
              <p:spPr bwMode="auto">
                <a:xfrm>
                  <a:off x="2699" y="2156"/>
                  <a:ext cx="11" cy="37"/>
                </a:xfrm>
                <a:custGeom>
                  <a:avLst/>
                  <a:gdLst>
                    <a:gd name="T0" fmla="*/ 11 w 11"/>
                    <a:gd name="T1" fmla="*/ 0 h 37"/>
                    <a:gd name="T2" fmla="*/ 5 w 11"/>
                    <a:gd name="T3" fmla="*/ 27 h 37"/>
                    <a:gd name="T4" fmla="*/ 0 w 11"/>
                    <a:gd name="T5" fmla="*/ 32 h 37"/>
                    <a:gd name="T6" fmla="*/ 0 w 11"/>
                    <a:gd name="T7" fmla="*/ 37 h 3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1"/>
                    <a:gd name="T13" fmla="*/ 0 h 37"/>
                    <a:gd name="T14" fmla="*/ 11 w 11"/>
                    <a:gd name="T15" fmla="*/ 37 h 3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1" h="37">
                      <a:moveTo>
                        <a:pt x="11" y="0"/>
                      </a:moveTo>
                      <a:lnTo>
                        <a:pt x="5" y="27"/>
                      </a:lnTo>
                      <a:lnTo>
                        <a:pt x="0" y="32"/>
                      </a:lnTo>
                      <a:lnTo>
                        <a:pt x="0" y="37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55" name="Freeform 775"/>
                <p:cNvSpPr>
                  <a:spLocks/>
                </p:cNvSpPr>
                <p:nvPr/>
              </p:nvSpPr>
              <p:spPr bwMode="auto">
                <a:xfrm>
                  <a:off x="2704" y="2156"/>
                  <a:ext cx="11" cy="37"/>
                </a:xfrm>
                <a:custGeom>
                  <a:avLst/>
                  <a:gdLst>
                    <a:gd name="T0" fmla="*/ 11 w 11"/>
                    <a:gd name="T1" fmla="*/ 0 h 37"/>
                    <a:gd name="T2" fmla="*/ 6 w 11"/>
                    <a:gd name="T3" fmla="*/ 27 h 37"/>
                    <a:gd name="T4" fmla="*/ 0 w 11"/>
                    <a:gd name="T5" fmla="*/ 32 h 37"/>
                    <a:gd name="T6" fmla="*/ 0 w 11"/>
                    <a:gd name="T7" fmla="*/ 37 h 3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1"/>
                    <a:gd name="T13" fmla="*/ 0 h 37"/>
                    <a:gd name="T14" fmla="*/ 11 w 11"/>
                    <a:gd name="T15" fmla="*/ 37 h 3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1" h="37">
                      <a:moveTo>
                        <a:pt x="11" y="0"/>
                      </a:moveTo>
                      <a:lnTo>
                        <a:pt x="6" y="27"/>
                      </a:lnTo>
                      <a:lnTo>
                        <a:pt x="0" y="32"/>
                      </a:lnTo>
                      <a:lnTo>
                        <a:pt x="0" y="37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56" name="Freeform 776"/>
                <p:cNvSpPr>
                  <a:spLocks/>
                </p:cNvSpPr>
                <p:nvPr/>
              </p:nvSpPr>
              <p:spPr bwMode="auto">
                <a:xfrm>
                  <a:off x="2710" y="2151"/>
                  <a:ext cx="10" cy="37"/>
                </a:xfrm>
                <a:custGeom>
                  <a:avLst/>
                  <a:gdLst>
                    <a:gd name="T0" fmla="*/ 10 w 10"/>
                    <a:gd name="T1" fmla="*/ 0 h 37"/>
                    <a:gd name="T2" fmla="*/ 10 w 10"/>
                    <a:gd name="T3" fmla="*/ 26 h 37"/>
                    <a:gd name="T4" fmla="*/ 5 w 10"/>
                    <a:gd name="T5" fmla="*/ 32 h 37"/>
                    <a:gd name="T6" fmla="*/ 0 w 10"/>
                    <a:gd name="T7" fmla="*/ 37 h 3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0"/>
                    <a:gd name="T13" fmla="*/ 0 h 37"/>
                    <a:gd name="T14" fmla="*/ 10 w 10"/>
                    <a:gd name="T15" fmla="*/ 37 h 3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0" h="37">
                      <a:moveTo>
                        <a:pt x="10" y="0"/>
                      </a:moveTo>
                      <a:lnTo>
                        <a:pt x="10" y="26"/>
                      </a:lnTo>
                      <a:lnTo>
                        <a:pt x="5" y="32"/>
                      </a:lnTo>
                      <a:lnTo>
                        <a:pt x="0" y="37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57" name="Freeform 777"/>
                <p:cNvSpPr>
                  <a:spLocks/>
                </p:cNvSpPr>
                <p:nvPr/>
              </p:nvSpPr>
              <p:spPr bwMode="auto">
                <a:xfrm>
                  <a:off x="2715" y="2151"/>
                  <a:ext cx="11" cy="37"/>
                </a:xfrm>
                <a:custGeom>
                  <a:avLst/>
                  <a:gdLst>
                    <a:gd name="T0" fmla="*/ 11 w 11"/>
                    <a:gd name="T1" fmla="*/ 0 h 37"/>
                    <a:gd name="T2" fmla="*/ 11 w 11"/>
                    <a:gd name="T3" fmla="*/ 26 h 37"/>
                    <a:gd name="T4" fmla="*/ 5 w 11"/>
                    <a:gd name="T5" fmla="*/ 32 h 37"/>
                    <a:gd name="T6" fmla="*/ 0 w 11"/>
                    <a:gd name="T7" fmla="*/ 37 h 3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1"/>
                    <a:gd name="T13" fmla="*/ 0 h 37"/>
                    <a:gd name="T14" fmla="*/ 11 w 11"/>
                    <a:gd name="T15" fmla="*/ 37 h 3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1" h="37">
                      <a:moveTo>
                        <a:pt x="11" y="0"/>
                      </a:moveTo>
                      <a:lnTo>
                        <a:pt x="11" y="26"/>
                      </a:lnTo>
                      <a:lnTo>
                        <a:pt x="5" y="32"/>
                      </a:lnTo>
                      <a:lnTo>
                        <a:pt x="0" y="37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58" name="Freeform 778"/>
                <p:cNvSpPr>
                  <a:spLocks/>
                </p:cNvSpPr>
                <p:nvPr/>
              </p:nvSpPr>
              <p:spPr bwMode="auto">
                <a:xfrm>
                  <a:off x="2720" y="2151"/>
                  <a:ext cx="11" cy="37"/>
                </a:xfrm>
                <a:custGeom>
                  <a:avLst/>
                  <a:gdLst>
                    <a:gd name="T0" fmla="*/ 11 w 11"/>
                    <a:gd name="T1" fmla="*/ 0 h 37"/>
                    <a:gd name="T2" fmla="*/ 6 w 11"/>
                    <a:gd name="T3" fmla="*/ 26 h 37"/>
                    <a:gd name="T4" fmla="*/ 0 w 11"/>
                    <a:gd name="T5" fmla="*/ 32 h 37"/>
                    <a:gd name="T6" fmla="*/ 0 w 11"/>
                    <a:gd name="T7" fmla="*/ 37 h 3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1"/>
                    <a:gd name="T13" fmla="*/ 0 h 37"/>
                    <a:gd name="T14" fmla="*/ 11 w 11"/>
                    <a:gd name="T15" fmla="*/ 37 h 3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1" h="37">
                      <a:moveTo>
                        <a:pt x="11" y="0"/>
                      </a:moveTo>
                      <a:lnTo>
                        <a:pt x="6" y="26"/>
                      </a:lnTo>
                      <a:lnTo>
                        <a:pt x="0" y="32"/>
                      </a:lnTo>
                      <a:lnTo>
                        <a:pt x="0" y="37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59" name="Freeform 779"/>
                <p:cNvSpPr>
                  <a:spLocks/>
                </p:cNvSpPr>
                <p:nvPr/>
              </p:nvSpPr>
              <p:spPr bwMode="auto">
                <a:xfrm>
                  <a:off x="2726" y="2151"/>
                  <a:ext cx="11" cy="37"/>
                </a:xfrm>
                <a:custGeom>
                  <a:avLst/>
                  <a:gdLst>
                    <a:gd name="T0" fmla="*/ 11 w 11"/>
                    <a:gd name="T1" fmla="*/ 0 h 37"/>
                    <a:gd name="T2" fmla="*/ 5 w 11"/>
                    <a:gd name="T3" fmla="*/ 21 h 37"/>
                    <a:gd name="T4" fmla="*/ 0 w 11"/>
                    <a:gd name="T5" fmla="*/ 32 h 37"/>
                    <a:gd name="T6" fmla="*/ 0 w 11"/>
                    <a:gd name="T7" fmla="*/ 37 h 3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1"/>
                    <a:gd name="T13" fmla="*/ 0 h 37"/>
                    <a:gd name="T14" fmla="*/ 11 w 11"/>
                    <a:gd name="T15" fmla="*/ 37 h 3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1" h="37">
                      <a:moveTo>
                        <a:pt x="11" y="0"/>
                      </a:moveTo>
                      <a:lnTo>
                        <a:pt x="5" y="21"/>
                      </a:lnTo>
                      <a:lnTo>
                        <a:pt x="0" y="32"/>
                      </a:lnTo>
                      <a:lnTo>
                        <a:pt x="0" y="37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60" name="Freeform 780"/>
                <p:cNvSpPr>
                  <a:spLocks/>
                </p:cNvSpPr>
                <p:nvPr/>
              </p:nvSpPr>
              <p:spPr bwMode="auto">
                <a:xfrm>
                  <a:off x="2704" y="2151"/>
                  <a:ext cx="16" cy="37"/>
                </a:xfrm>
                <a:custGeom>
                  <a:avLst/>
                  <a:gdLst>
                    <a:gd name="T0" fmla="*/ 16 w 16"/>
                    <a:gd name="T1" fmla="*/ 0 h 37"/>
                    <a:gd name="T2" fmla="*/ 11 w 16"/>
                    <a:gd name="T3" fmla="*/ 26 h 37"/>
                    <a:gd name="T4" fmla="*/ 6 w 16"/>
                    <a:gd name="T5" fmla="*/ 32 h 37"/>
                    <a:gd name="T6" fmla="*/ 0 w 16"/>
                    <a:gd name="T7" fmla="*/ 37 h 3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6"/>
                    <a:gd name="T13" fmla="*/ 0 h 37"/>
                    <a:gd name="T14" fmla="*/ 16 w 16"/>
                    <a:gd name="T15" fmla="*/ 37 h 3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6" h="37">
                      <a:moveTo>
                        <a:pt x="16" y="0"/>
                      </a:moveTo>
                      <a:lnTo>
                        <a:pt x="11" y="26"/>
                      </a:lnTo>
                      <a:lnTo>
                        <a:pt x="6" y="32"/>
                      </a:lnTo>
                      <a:lnTo>
                        <a:pt x="0" y="37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61" name="Freeform 781"/>
                <p:cNvSpPr>
                  <a:spLocks/>
                </p:cNvSpPr>
                <p:nvPr/>
              </p:nvSpPr>
              <p:spPr bwMode="auto">
                <a:xfrm>
                  <a:off x="2726" y="2151"/>
                  <a:ext cx="11" cy="37"/>
                </a:xfrm>
                <a:custGeom>
                  <a:avLst/>
                  <a:gdLst>
                    <a:gd name="T0" fmla="*/ 11 w 11"/>
                    <a:gd name="T1" fmla="*/ 0 h 37"/>
                    <a:gd name="T2" fmla="*/ 11 w 11"/>
                    <a:gd name="T3" fmla="*/ 26 h 37"/>
                    <a:gd name="T4" fmla="*/ 5 w 11"/>
                    <a:gd name="T5" fmla="*/ 32 h 37"/>
                    <a:gd name="T6" fmla="*/ 0 w 11"/>
                    <a:gd name="T7" fmla="*/ 37 h 37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1"/>
                    <a:gd name="T13" fmla="*/ 0 h 37"/>
                    <a:gd name="T14" fmla="*/ 11 w 11"/>
                    <a:gd name="T15" fmla="*/ 37 h 37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1" h="37">
                      <a:moveTo>
                        <a:pt x="11" y="0"/>
                      </a:moveTo>
                      <a:lnTo>
                        <a:pt x="11" y="26"/>
                      </a:lnTo>
                      <a:lnTo>
                        <a:pt x="5" y="32"/>
                      </a:lnTo>
                      <a:lnTo>
                        <a:pt x="0" y="37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62" name="Freeform 782"/>
                <p:cNvSpPr>
                  <a:spLocks/>
                </p:cNvSpPr>
                <p:nvPr/>
              </p:nvSpPr>
              <p:spPr bwMode="auto">
                <a:xfrm>
                  <a:off x="2662" y="2113"/>
                  <a:ext cx="26" cy="80"/>
                </a:xfrm>
                <a:custGeom>
                  <a:avLst/>
                  <a:gdLst>
                    <a:gd name="T0" fmla="*/ 26 w 26"/>
                    <a:gd name="T1" fmla="*/ 80 h 80"/>
                    <a:gd name="T2" fmla="*/ 16 w 26"/>
                    <a:gd name="T3" fmla="*/ 75 h 80"/>
                    <a:gd name="T4" fmla="*/ 10 w 26"/>
                    <a:gd name="T5" fmla="*/ 70 h 80"/>
                    <a:gd name="T6" fmla="*/ 5 w 26"/>
                    <a:gd name="T7" fmla="*/ 43 h 80"/>
                    <a:gd name="T8" fmla="*/ 0 w 26"/>
                    <a:gd name="T9" fmla="*/ 16 h 80"/>
                    <a:gd name="T10" fmla="*/ 5 w 26"/>
                    <a:gd name="T11" fmla="*/ 6 h 80"/>
                    <a:gd name="T12" fmla="*/ 10 w 26"/>
                    <a:gd name="T13" fmla="*/ 0 h 8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6"/>
                    <a:gd name="T22" fmla="*/ 0 h 80"/>
                    <a:gd name="T23" fmla="*/ 26 w 26"/>
                    <a:gd name="T24" fmla="*/ 80 h 80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6" h="80">
                      <a:moveTo>
                        <a:pt x="26" y="80"/>
                      </a:moveTo>
                      <a:lnTo>
                        <a:pt x="16" y="75"/>
                      </a:lnTo>
                      <a:lnTo>
                        <a:pt x="10" y="70"/>
                      </a:lnTo>
                      <a:lnTo>
                        <a:pt x="5" y="43"/>
                      </a:lnTo>
                      <a:lnTo>
                        <a:pt x="0" y="16"/>
                      </a:lnTo>
                      <a:lnTo>
                        <a:pt x="5" y="6"/>
                      </a:lnTo>
                      <a:lnTo>
                        <a:pt x="10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63" name="Freeform 783"/>
                <p:cNvSpPr>
                  <a:spLocks/>
                </p:cNvSpPr>
                <p:nvPr/>
              </p:nvSpPr>
              <p:spPr bwMode="auto">
                <a:xfrm>
                  <a:off x="2662" y="2119"/>
                  <a:ext cx="32" cy="74"/>
                </a:xfrm>
                <a:custGeom>
                  <a:avLst/>
                  <a:gdLst>
                    <a:gd name="T0" fmla="*/ 26 w 32"/>
                    <a:gd name="T1" fmla="*/ 74 h 74"/>
                    <a:gd name="T2" fmla="*/ 16 w 32"/>
                    <a:gd name="T3" fmla="*/ 69 h 74"/>
                    <a:gd name="T4" fmla="*/ 10 w 32"/>
                    <a:gd name="T5" fmla="*/ 64 h 74"/>
                    <a:gd name="T6" fmla="*/ 5 w 32"/>
                    <a:gd name="T7" fmla="*/ 37 h 74"/>
                    <a:gd name="T8" fmla="*/ 0 w 32"/>
                    <a:gd name="T9" fmla="*/ 10 h 74"/>
                    <a:gd name="T10" fmla="*/ 5 w 32"/>
                    <a:gd name="T11" fmla="*/ 0 h 74"/>
                    <a:gd name="T12" fmla="*/ 10 w 32"/>
                    <a:gd name="T13" fmla="*/ 0 h 74"/>
                    <a:gd name="T14" fmla="*/ 21 w 32"/>
                    <a:gd name="T15" fmla="*/ 5 h 74"/>
                    <a:gd name="T16" fmla="*/ 32 w 32"/>
                    <a:gd name="T17" fmla="*/ 32 h 74"/>
                    <a:gd name="T18" fmla="*/ 32 w 32"/>
                    <a:gd name="T19" fmla="*/ 58 h 74"/>
                    <a:gd name="T20" fmla="*/ 26 w 32"/>
                    <a:gd name="T21" fmla="*/ 74 h 74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32"/>
                    <a:gd name="T34" fmla="*/ 0 h 74"/>
                    <a:gd name="T35" fmla="*/ 32 w 32"/>
                    <a:gd name="T36" fmla="*/ 74 h 74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32" h="74">
                      <a:moveTo>
                        <a:pt x="26" y="74"/>
                      </a:moveTo>
                      <a:lnTo>
                        <a:pt x="16" y="69"/>
                      </a:lnTo>
                      <a:lnTo>
                        <a:pt x="10" y="64"/>
                      </a:lnTo>
                      <a:lnTo>
                        <a:pt x="5" y="37"/>
                      </a:lnTo>
                      <a:lnTo>
                        <a:pt x="0" y="10"/>
                      </a:lnTo>
                      <a:lnTo>
                        <a:pt x="5" y="0"/>
                      </a:lnTo>
                      <a:lnTo>
                        <a:pt x="10" y="0"/>
                      </a:lnTo>
                      <a:lnTo>
                        <a:pt x="21" y="5"/>
                      </a:lnTo>
                      <a:lnTo>
                        <a:pt x="32" y="32"/>
                      </a:lnTo>
                      <a:lnTo>
                        <a:pt x="32" y="58"/>
                      </a:lnTo>
                      <a:lnTo>
                        <a:pt x="26" y="74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64" name="Freeform 784"/>
                <p:cNvSpPr>
                  <a:spLocks/>
                </p:cNvSpPr>
                <p:nvPr/>
              </p:nvSpPr>
              <p:spPr bwMode="auto">
                <a:xfrm>
                  <a:off x="2667" y="2129"/>
                  <a:ext cx="21" cy="48"/>
                </a:xfrm>
                <a:custGeom>
                  <a:avLst/>
                  <a:gdLst>
                    <a:gd name="T0" fmla="*/ 16 w 21"/>
                    <a:gd name="T1" fmla="*/ 48 h 48"/>
                    <a:gd name="T2" fmla="*/ 5 w 21"/>
                    <a:gd name="T3" fmla="*/ 38 h 48"/>
                    <a:gd name="T4" fmla="*/ 5 w 21"/>
                    <a:gd name="T5" fmla="*/ 27 h 48"/>
                    <a:gd name="T6" fmla="*/ 0 w 21"/>
                    <a:gd name="T7" fmla="*/ 11 h 48"/>
                    <a:gd name="T8" fmla="*/ 11 w 21"/>
                    <a:gd name="T9" fmla="*/ 6 h 48"/>
                    <a:gd name="T10" fmla="*/ 11 w 21"/>
                    <a:gd name="T11" fmla="*/ 0 h 48"/>
                    <a:gd name="T12" fmla="*/ 16 w 21"/>
                    <a:gd name="T13" fmla="*/ 6 h 48"/>
                    <a:gd name="T14" fmla="*/ 21 w 21"/>
                    <a:gd name="T15" fmla="*/ 22 h 48"/>
                    <a:gd name="T16" fmla="*/ 21 w 21"/>
                    <a:gd name="T17" fmla="*/ 38 h 48"/>
                    <a:gd name="T18" fmla="*/ 16 w 21"/>
                    <a:gd name="T19" fmla="*/ 48 h 48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21"/>
                    <a:gd name="T31" fmla="*/ 0 h 48"/>
                    <a:gd name="T32" fmla="*/ 21 w 21"/>
                    <a:gd name="T33" fmla="*/ 48 h 48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21" h="48">
                      <a:moveTo>
                        <a:pt x="16" y="48"/>
                      </a:moveTo>
                      <a:lnTo>
                        <a:pt x="5" y="38"/>
                      </a:lnTo>
                      <a:lnTo>
                        <a:pt x="5" y="27"/>
                      </a:lnTo>
                      <a:lnTo>
                        <a:pt x="0" y="11"/>
                      </a:lnTo>
                      <a:lnTo>
                        <a:pt x="11" y="6"/>
                      </a:lnTo>
                      <a:lnTo>
                        <a:pt x="11" y="0"/>
                      </a:lnTo>
                      <a:lnTo>
                        <a:pt x="16" y="6"/>
                      </a:lnTo>
                      <a:lnTo>
                        <a:pt x="21" y="22"/>
                      </a:lnTo>
                      <a:lnTo>
                        <a:pt x="21" y="38"/>
                      </a:lnTo>
                      <a:lnTo>
                        <a:pt x="16" y="48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65" name="Rectangle 785"/>
                <p:cNvSpPr>
                  <a:spLocks noChangeArrowheads="1"/>
                </p:cNvSpPr>
                <p:nvPr/>
              </p:nvSpPr>
              <p:spPr bwMode="auto">
                <a:xfrm>
                  <a:off x="2672" y="2156"/>
                  <a:ext cx="1" cy="1"/>
                </a:xfrm>
                <a:prstGeom prst="rect">
                  <a:avLst/>
                </a:prstGeom>
                <a:solidFill>
                  <a:srgbClr val="25221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66" name="Rectangle 786"/>
                <p:cNvSpPr>
                  <a:spLocks noChangeArrowheads="1"/>
                </p:cNvSpPr>
                <p:nvPr/>
              </p:nvSpPr>
              <p:spPr bwMode="auto">
                <a:xfrm>
                  <a:off x="2672" y="2156"/>
                  <a:ext cx="1" cy="1"/>
                </a:xfrm>
                <a:prstGeom prst="rect">
                  <a:avLst/>
                </a:prstGeom>
                <a:solidFill>
                  <a:srgbClr val="25221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67" name="Freeform 787"/>
                <p:cNvSpPr>
                  <a:spLocks/>
                </p:cNvSpPr>
                <p:nvPr/>
              </p:nvSpPr>
              <p:spPr bwMode="auto">
                <a:xfrm>
                  <a:off x="2672" y="2156"/>
                  <a:ext cx="1" cy="1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  <a:gd name="T4" fmla="*/ 0 w 1"/>
                    <a:gd name="T5" fmla="*/ 0 h 1"/>
                    <a:gd name="T6" fmla="*/ 0 60000 65536"/>
                    <a:gd name="T7" fmla="*/ 0 60000 65536"/>
                    <a:gd name="T8" fmla="*/ 0 60000 65536"/>
                    <a:gd name="T9" fmla="*/ 0 w 1"/>
                    <a:gd name="T10" fmla="*/ 0 h 1"/>
                    <a:gd name="T11" fmla="*/ 1 w 1"/>
                    <a:gd name="T12" fmla="*/ 1 h 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68" name="Rectangle 788"/>
                <p:cNvSpPr>
                  <a:spLocks noChangeArrowheads="1"/>
                </p:cNvSpPr>
                <p:nvPr/>
              </p:nvSpPr>
              <p:spPr bwMode="auto">
                <a:xfrm>
                  <a:off x="2672" y="2156"/>
                  <a:ext cx="1" cy="1"/>
                </a:xfrm>
                <a:prstGeom prst="rect">
                  <a:avLst/>
                </a:prstGeom>
                <a:solidFill>
                  <a:srgbClr val="25221E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69" name="Freeform 789"/>
                <p:cNvSpPr>
                  <a:spLocks/>
                </p:cNvSpPr>
                <p:nvPr/>
              </p:nvSpPr>
              <p:spPr bwMode="auto">
                <a:xfrm>
                  <a:off x="2672" y="2156"/>
                  <a:ext cx="1" cy="1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  <a:gd name="T4" fmla="*/ 0 w 1"/>
                    <a:gd name="T5" fmla="*/ 0 h 1"/>
                    <a:gd name="T6" fmla="*/ 0 w 1"/>
                    <a:gd name="T7" fmla="*/ 0 h 1"/>
                    <a:gd name="T8" fmla="*/ 0 w 1"/>
                    <a:gd name="T9" fmla="*/ 0 h 1"/>
                    <a:gd name="T10" fmla="*/ 0 w 1"/>
                    <a:gd name="T11" fmla="*/ 0 h 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"/>
                    <a:gd name="T19" fmla="*/ 0 h 1"/>
                    <a:gd name="T20" fmla="*/ 1 w 1"/>
                    <a:gd name="T21" fmla="*/ 1 h 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70" name="Freeform 790"/>
                <p:cNvSpPr>
                  <a:spLocks/>
                </p:cNvSpPr>
                <p:nvPr/>
              </p:nvSpPr>
              <p:spPr bwMode="auto">
                <a:xfrm>
                  <a:off x="2672" y="2156"/>
                  <a:ext cx="1" cy="1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  <a:gd name="T4" fmla="*/ 0 w 1"/>
                    <a:gd name="T5" fmla="*/ 0 h 1"/>
                    <a:gd name="T6" fmla="*/ 0 w 1"/>
                    <a:gd name="T7" fmla="*/ 0 h 1"/>
                    <a:gd name="T8" fmla="*/ 0 w 1"/>
                    <a:gd name="T9" fmla="*/ 0 h 1"/>
                    <a:gd name="T10" fmla="*/ 0 w 1"/>
                    <a:gd name="T11" fmla="*/ 0 h 1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"/>
                    <a:gd name="T19" fmla="*/ 0 h 1"/>
                    <a:gd name="T20" fmla="*/ 1 w 1"/>
                    <a:gd name="T21" fmla="*/ 1 h 1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71" name="Freeform 791"/>
                <p:cNvSpPr>
                  <a:spLocks/>
                </p:cNvSpPr>
                <p:nvPr/>
              </p:nvSpPr>
              <p:spPr bwMode="auto">
                <a:xfrm>
                  <a:off x="2672" y="2156"/>
                  <a:ext cx="1" cy="1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  <a:gd name="T4" fmla="*/ 0 w 1"/>
                    <a:gd name="T5" fmla="*/ 0 h 1"/>
                    <a:gd name="T6" fmla="*/ 0 w 1"/>
                    <a:gd name="T7" fmla="*/ 0 h 1"/>
                    <a:gd name="T8" fmla="*/ 0 w 1"/>
                    <a:gd name="T9" fmla="*/ 0 h 1"/>
                    <a:gd name="T10" fmla="*/ 0 w 1"/>
                    <a:gd name="T11" fmla="*/ 0 h 1"/>
                    <a:gd name="T12" fmla="*/ 0 w 1"/>
                    <a:gd name="T13" fmla="*/ 0 h 1"/>
                    <a:gd name="T14" fmla="*/ 0 w 1"/>
                    <a:gd name="T15" fmla="*/ 0 h 1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"/>
                    <a:gd name="T25" fmla="*/ 0 h 1"/>
                    <a:gd name="T26" fmla="*/ 1 w 1"/>
                    <a:gd name="T27" fmla="*/ 1 h 1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72" name="Freeform 792"/>
                <p:cNvSpPr>
                  <a:spLocks/>
                </p:cNvSpPr>
                <p:nvPr/>
              </p:nvSpPr>
              <p:spPr bwMode="auto">
                <a:xfrm>
                  <a:off x="2672" y="2156"/>
                  <a:ext cx="1" cy="1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  <a:gd name="T4" fmla="*/ 0 w 1"/>
                    <a:gd name="T5" fmla="*/ 0 h 1"/>
                    <a:gd name="T6" fmla="*/ 0 w 1"/>
                    <a:gd name="T7" fmla="*/ 0 h 1"/>
                    <a:gd name="T8" fmla="*/ 0 w 1"/>
                    <a:gd name="T9" fmla="*/ 0 h 1"/>
                    <a:gd name="T10" fmla="*/ 0 w 1"/>
                    <a:gd name="T11" fmla="*/ 0 h 1"/>
                    <a:gd name="T12" fmla="*/ 0 w 1"/>
                    <a:gd name="T13" fmla="*/ 0 h 1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1"/>
                    <a:gd name="T22" fmla="*/ 0 h 1"/>
                    <a:gd name="T23" fmla="*/ 1 w 1"/>
                    <a:gd name="T24" fmla="*/ 1 h 1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73" name="Freeform 793"/>
                <p:cNvSpPr>
                  <a:spLocks/>
                </p:cNvSpPr>
                <p:nvPr/>
              </p:nvSpPr>
              <p:spPr bwMode="auto">
                <a:xfrm>
                  <a:off x="2667" y="2129"/>
                  <a:ext cx="11" cy="27"/>
                </a:xfrm>
                <a:custGeom>
                  <a:avLst/>
                  <a:gdLst>
                    <a:gd name="T0" fmla="*/ 5 w 11"/>
                    <a:gd name="T1" fmla="*/ 27 h 27"/>
                    <a:gd name="T2" fmla="*/ 5 w 11"/>
                    <a:gd name="T3" fmla="*/ 27 h 27"/>
                    <a:gd name="T4" fmla="*/ 0 w 11"/>
                    <a:gd name="T5" fmla="*/ 22 h 27"/>
                    <a:gd name="T6" fmla="*/ 0 w 11"/>
                    <a:gd name="T7" fmla="*/ 22 h 27"/>
                    <a:gd name="T8" fmla="*/ 0 w 11"/>
                    <a:gd name="T9" fmla="*/ 22 h 27"/>
                    <a:gd name="T10" fmla="*/ 0 w 11"/>
                    <a:gd name="T11" fmla="*/ 22 h 27"/>
                    <a:gd name="T12" fmla="*/ 0 w 11"/>
                    <a:gd name="T13" fmla="*/ 16 h 27"/>
                    <a:gd name="T14" fmla="*/ 0 w 11"/>
                    <a:gd name="T15" fmla="*/ 16 h 27"/>
                    <a:gd name="T16" fmla="*/ 0 w 11"/>
                    <a:gd name="T17" fmla="*/ 16 h 27"/>
                    <a:gd name="T18" fmla="*/ 0 w 11"/>
                    <a:gd name="T19" fmla="*/ 16 h 27"/>
                    <a:gd name="T20" fmla="*/ 0 w 11"/>
                    <a:gd name="T21" fmla="*/ 11 h 27"/>
                    <a:gd name="T22" fmla="*/ 5 w 11"/>
                    <a:gd name="T23" fmla="*/ 11 h 27"/>
                    <a:gd name="T24" fmla="*/ 5 w 11"/>
                    <a:gd name="T25" fmla="*/ 11 h 27"/>
                    <a:gd name="T26" fmla="*/ 5 w 11"/>
                    <a:gd name="T27" fmla="*/ 11 h 27"/>
                    <a:gd name="T28" fmla="*/ 5 w 11"/>
                    <a:gd name="T29" fmla="*/ 11 h 27"/>
                    <a:gd name="T30" fmla="*/ 5 w 11"/>
                    <a:gd name="T31" fmla="*/ 6 h 27"/>
                    <a:gd name="T32" fmla="*/ 5 w 11"/>
                    <a:gd name="T33" fmla="*/ 6 h 27"/>
                    <a:gd name="T34" fmla="*/ 5 w 11"/>
                    <a:gd name="T35" fmla="*/ 6 h 27"/>
                    <a:gd name="T36" fmla="*/ 5 w 11"/>
                    <a:gd name="T37" fmla="*/ 6 h 27"/>
                    <a:gd name="T38" fmla="*/ 5 w 11"/>
                    <a:gd name="T39" fmla="*/ 6 h 27"/>
                    <a:gd name="T40" fmla="*/ 5 w 11"/>
                    <a:gd name="T41" fmla="*/ 6 h 27"/>
                    <a:gd name="T42" fmla="*/ 5 w 11"/>
                    <a:gd name="T43" fmla="*/ 6 h 27"/>
                    <a:gd name="T44" fmla="*/ 11 w 11"/>
                    <a:gd name="T45" fmla="*/ 0 h 27"/>
                    <a:gd name="T46" fmla="*/ 11 w 11"/>
                    <a:gd name="T47" fmla="*/ 0 h 27"/>
                    <a:gd name="T48" fmla="*/ 11 w 11"/>
                    <a:gd name="T49" fmla="*/ 6 h 27"/>
                    <a:gd name="T50" fmla="*/ 11 w 11"/>
                    <a:gd name="T51" fmla="*/ 6 h 27"/>
                    <a:gd name="T52" fmla="*/ 11 w 11"/>
                    <a:gd name="T53" fmla="*/ 6 h 27"/>
                    <a:gd name="T54" fmla="*/ 11 w 11"/>
                    <a:gd name="T55" fmla="*/ 6 h 27"/>
                    <a:gd name="T56" fmla="*/ 5 w 11"/>
                    <a:gd name="T57" fmla="*/ 6 h 27"/>
                    <a:gd name="T58" fmla="*/ 5 w 11"/>
                    <a:gd name="T59" fmla="*/ 6 h 27"/>
                    <a:gd name="T60" fmla="*/ 5 w 11"/>
                    <a:gd name="T61" fmla="*/ 6 h 27"/>
                    <a:gd name="T62" fmla="*/ 5 w 11"/>
                    <a:gd name="T63" fmla="*/ 6 h 27"/>
                    <a:gd name="T64" fmla="*/ 5 w 11"/>
                    <a:gd name="T65" fmla="*/ 6 h 27"/>
                    <a:gd name="T66" fmla="*/ 5 w 11"/>
                    <a:gd name="T67" fmla="*/ 11 h 27"/>
                    <a:gd name="T68" fmla="*/ 5 w 11"/>
                    <a:gd name="T69" fmla="*/ 11 h 27"/>
                    <a:gd name="T70" fmla="*/ 5 w 11"/>
                    <a:gd name="T71" fmla="*/ 11 h 27"/>
                    <a:gd name="T72" fmla="*/ 5 w 11"/>
                    <a:gd name="T73" fmla="*/ 11 h 27"/>
                    <a:gd name="T74" fmla="*/ 5 w 11"/>
                    <a:gd name="T75" fmla="*/ 11 h 27"/>
                    <a:gd name="T76" fmla="*/ 5 w 11"/>
                    <a:gd name="T77" fmla="*/ 16 h 27"/>
                    <a:gd name="T78" fmla="*/ 5 w 11"/>
                    <a:gd name="T79" fmla="*/ 16 h 27"/>
                    <a:gd name="T80" fmla="*/ 5 w 11"/>
                    <a:gd name="T81" fmla="*/ 16 h 27"/>
                    <a:gd name="T82" fmla="*/ 5 w 11"/>
                    <a:gd name="T83" fmla="*/ 16 h 27"/>
                    <a:gd name="T84" fmla="*/ 5 w 11"/>
                    <a:gd name="T85" fmla="*/ 22 h 27"/>
                    <a:gd name="T86" fmla="*/ 5 w 11"/>
                    <a:gd name="T87" fmla="*/ 22 h 27"/>
                    <a:gd name="T88" fmla="*/ 5 w 11"/>
                    <a:gd name="T89" fmla="*/ 22 h 27"/>
                    <a:gd name="T90" fmla="*/ 5 w 11"/>
                    <a:gd name="T91" fmla="*/ 22 h 27"/>
                    <a:gd name="T92" fmla="*/ 5 w 11"/>
                    <a:gd name="T93" fmla="*/ 27 h 27"/>
                    <a:gd name="T94" fmla="*/ 5 w 11"/>
                    <a:gd name="T95" fmla="*/ 27 h 27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11"/>
                    <a:gd name="T145" fmla="*/ 0 h 27"/>
                    <a:gd name="T146" fmla="*/ 11 w 11"/>
                    <a:gd name="T147" fmla="*/ 27 h 27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11" h="27">
                      <a:moveTo>
                        <a:pt x="5" y="27"/>
                      </a:moveTo>
                      <a:lnTo>
                        <a:pt x="5" y="27"/>
                      </a:lnTo>
                      <a:lnTo>
                        <a:pt x="0" y="27"/>
                      </a:lnTo>
                      <a:lnTo>
                        <a:pt x="0" y="22"/>
                      </a:lnTo>
                      <a:lnTo>
                        <a:pt x="0" y="16"/>
                      </a:lnTo>
                      <a:lnTo>
                        <a:pt x="0" y="11"/>
                      </a:lnTo>
                      <a:lnTo>
                        <a:pt x="5" y="11"/>
                      </a:lnTo>
                      <a:lnTo>
                        <a:pt x="5" y="6"/>
                      </a:lnTo>
                      <a:lnTo>
                        <a:pt x="11" y="6"/>
                      </a:lnTo>
                      <a:lnTo>
                        <a:pt x="11" y="0"/>
                      </a:lnTo>
                      <a:lnTo>
                        <a:pt x="11" y="6"/>
                      </a:lnTo>
                      <a:lnTo>
                        <a:pt x="5" y="6"/>
                      </a:lnTo>
                      <a:lnTo>
                        <a:pt x="5" y="11"/>
                      </a:lnTo>
                      <a:lnTo>
                        <a:pt x="5" y="16"/>
                      </a:lnTo>
                      <a:lnTo>
                        <a:pt x="5" y="22"/>
                      </a:lnTo>
                      <a:lnTo>
                        <a:pt x="5" y="27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74" name="Freeform 794"/>
                <p:cNvSpPr>
                  <a:spLocks/>
                </p:cNvSpPr>
                <p:nvPr/>
              </p:nvSpPr>
              <p:spPr bwMode="auto">
                <a:xfrm>
                  <a:off x="2678" y="2129"/>
                  <a:ext cx="10" cy="22"/>
                </a:xfrm>
                <a:custGeom>
                  <a:avLst/>
                  <a:gdLst>
                    <a:gd name="T0" fmla="*/ 0 w 10"/>
                    <a:gd name="T1" fmla="*/ 0 h 22"/>
                    <a:gd name="T2" fmla="*/ 0 w 10"/>
                    <a:gd name="T3" fmla="*/ 0 h 22"/>
                    <a:gd name="T4" fmla="*/ 0 w 10"/>
                    <a:gd name="T5" fmla="*/ 0 h 22"/>
                    <a:gd name="T6" fmla="*/ 0 w 10"/>
                    <a:gd name="T7" fmla="*/ 0 h 22"/>
                    <a:gd name="T8" fmla="*/ 0 w 10"/>
                    <a:gd name="T9" fmla="*/ 6 h 22"/>
                    <a:gd name="T10" fmla="*/ 5 w 10"/>
                    <a:gd name="T11" fmla="*/ 6 h 22"/>
                    <a:gd name="T12" fmla="*/ 5 w 10"/>
                    <a:gd name="T13" fmla="*/ 6 h 22"/>
                    <a:gd name="T14" fmla="*/ 5 w 10"/>
                    <a:gd name="T15" fmla="*/ 6 h 22"/>
                    <a:gd name="T16" fmla="*/ 5 w 10"/>
                    <a:gd name="T17" fmla="*/ 6 h 22"/>
                    <a:gd name="T18" fmla="*/ 5 w 10"/>
                    <a:gd name="T19" fmla="*/ 6 h 22"/>
                    <a:gd name="T20" fmla="*/ 5 w 10"/>
                    <a:gd name="T21" fmla="*/ 6 h 22"/>
                    <a:gd name="T22" fmla="*/ 5 w 10"/>
                    <a:gd name="T23" fmla="*/ 11 h 22"/>
                    <a:gd name="T24" fmla="*/ 10 w 10"/>
                    <a:gd name="T25" fmla="*/ 11 h 22"/>
                    <a:gd name="T26" fmla="*/ 10 w 10"/>
                    <a:gd name="T27" fmla="*/ 11 h 22"/>
                    <a:gd name="T28" fmla="*/ 10 w 10"/>
                    <a:gd name="T29" fmla="*/ 11 h 22"/>
                    <a:gd name="T30" fmla="*/ 10 w 10"/>
                    <a:gd name="T31" fmla="*/ 11 h 22"/>
                    <a:gd name="T32" fmla="*/ 10 w 10"/>
                    <a:gd name="T33" fmla="*/ 16 h 22"/>
                    <a:gd name="T34" fmla="*/ 10 w 10"/>
                    <a:gd name="T35" fmla="*/ 16 h 22"/>
                    <a:gd name="T36" fmla="*/ 10 w 10"/>
                    <a:gd name="T37" fmla="*/ 16 h 22"/>
                    <a:gd name="T38" fmla="*/ 10 w 10"/>
                    <a:gd name="T39" fmla="*/ 16 h 22"/>
                    <a:gd name="T40" fmla="*/ 10 w 10"/>
                    <a:gd name="T41" fmla="*/ 22 h 22"/>
                    <a:gd name="T42" fmla="*/ 10 w 10"/>
                    <a:gd name="T43" fmla="*/ 22 h 22"/>
                    <a:gd name="T44" fmla="*/ 10 w 10"/>
                    <a:gd name="T45" fmla="*/ 22 h 22"/>
                    <a:gd name="T46" fmla="*/ 10 w 10"/>
                    <a:gd name="T47" fmla="*/ 22 h 22"/>
                    <a:gd name="T48" fmla="*/ 10 w 10"/>
                    <a:gd name="T49" fmla="*/ 22 h 22"/>
                    <a:gd name="T50" fmla="*/ 10 w 10"/>
                    <a:gd name="T51" fmla="*/ 22 h 22"/>
                    <a:gd name="T52" fmla="*/ 10 w 10"/>
                    <a:gd name="T53" fmla="*/ 22 h 22"/>
                    <a:gd name="T54" fmla="*/ 10 w 10"/>
                    <a:gd name="T55" fmla="*/ 16 h 22"/>
                    <a:gd name="T56" fmla="*/ 10 w 10"/>
                    <a:gd name="T57" fmla="*/ 16 h 22"/>
                    <a:gd name="T58" fmla="*/ 10 w 10"/>
                    <a:gd name="T59" fmla="*/ 16 h 22"/>
                    <a:gd name="T60" fmla="*/ 10 w 10"/>
                    <a:gd name="T61" fmla="*/ 16 h 22"/>
                    <a:gd name="T62" fmla="*/ 5 w 10"/>
                    <a:gd name="T63" fmla="*/ 11 h 22"/>
                    <a:gd name="T64" fmla="*/ 5 w 10"/>
                    <a:gd name="T65" fmla="*/ 11 h 22"/>
                    <a:gd name="T66" fmla="*/ 5 w 10"/>
                    <a:gd name="T67" fmla="*/ 11 h 22"/>
                    <a:gd name="T68" fmla="*/ 5 w 10"/>
                    <a:gd name="T69" fmla="*/ 11 h 22"/>
                    <a:gd name="T70" fmla="*/ 5 w 10"/>
                    <a:gd name="T71" fmla="*/ 11 h 22"/>
                    <a:gd name="T72" fmla="*/ 5 w 10"/>
                    <a:gd name="T73" fmla="*/ 6 h 22"/>
                    <a:gd name="T74" fmla="*/ 5 w 10"/>
                    <a:gd name="T75" fmla="*/ 6 h 22"/>
                    <a:gd name="T76" fmla="*/ 5 w 10"/>
                    <a:gd name="T77" fmla="*/ 6 h 22"/>
                    <a:gd name="T78" fmla="*/ 5 w 10"/>
                    <a:gd name="T79" fmla="*/ 6 h 22"/>
                    <a:gd name="T80" fmla="*/ 0 w 10"/>
                    <a:gd name="T81" fmla="*/ 6 h 22"/>
                    <a:gd name="T82" fmla="*/ 0 w 10"/>
                    <a:gd name="T83" fmla="*/ 6 h 22"/>
                    <a:gd name="T84" fmla="*/ 0 w 10"/>
                    <a:gd name="T85" fmla="*/ 6 h 22"/>
                    <a:gd name="T86" fmla="*/ 0 w 10"/>
                    <a:gd name="T87" fmla="*/ 6 h 22"/>
                    <a:gd name="T88" fmla="*/ 0 w 10"/>
                    <a:gd name="T89" fmla="*/ 6 h 22"/>
                    <a:gd name="T90" fmla="*/ 0 w 10"/>
                    <a:gd name="T91" fmla="*/ 6 h 22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w 10"/>
                    <a:gd name="T139" fmla="*/ 0 h 22"/>
                    <a:gd name="T140" fmla="*/ 10 w 10"/>
                    <a:gd name="T141" fmla="*/ 22 h 22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T138" t="T139" r="T140" b="T141"/>
                  <a:pathLst>
                    <a:path w="10" h="22">
                      <a:moveTo>
                        <a:pt x="0" y="6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5" y="6"/>
                      </a:lnTo>
                      <a:lnTo>
                        <a:pt x="5" y="11"/>
                      </a:lnTo>
                      <a:lnTo>
                        <a:pt x="10" y="11"/>
                      </a:lnTo>
                      <a:lnTo>
                        <a:pt x="10" y="16"/>
                      </a:lnTo>
                      <a:lnTo>
                        <a:pt x="10" y="22"/>
                      </a:lnTo>
                      <a:lnTo>
                        <a:pt x="10" y="16"/>
                      </a:lnTo>
                      <a:lnTo>
                        <a:pt x="10" y="11"/>
                      </a:lnTo>
                      <a:lnTo>
                        <a:pt x="5" y="11"/>
                      </a:lnTo>
                      <a:lnTo>
                        <a:pt x="5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75" name="Freeform 795"/>
                <p:cNvSpPr>
                  <a:spLocks/>
                </p:cNvSpPr>
                <p:nvPr/>
              </p:nvSpPr>
              <p:spPr bwMode="auto">
                <a:xfrm>
                  <a:off x="2683" y="2151"/>
                  <a:ext cx="5" cy="26"/>
                </a:xfrm>
                <a:custGeom>
                  <a:avLst/>
                  <a:gdLst>
                    <a:gd name="T0" fmla="*/ 5 w 5"/>
                    <a:gd name="T1" fmla="*/ 5 h 26"/>
                    <a:gd name="T2" fmla="*/ 5 w 5"/>
                    <a:gd name="T3" fmla="*/ 5 h 26"/>
                    <a:gd name="T4" fmla="*/ 5 w 5"/>
                    <a:gd name="T5" fmla="*/ 5 h 26"/>
                    <a:gd name="T6" fmla="*/ 5 w 5"/>
                    <a:gd name="T7" fmla="*/ 5 h 26"/>
                    <a:gd name="T8" fmla="*/ 5 w 5"/>
                    <a:gd name="T9" fmla="*/ 10 h 26"/>
                    <a:gd name="T10" fmla="*/ 5 w 5"/>
                    <a:gd name="T11" fmla="*/ 10 h 26"/>
                    <a:gd name="T12" fmla="*/ 5 w 5"/>
                    <a:gd name="T13" fmla="*/ 10 h 26"/>
                    <a:gd name="T14" fmla="*/ 5 w 5"/>
                    <a:gd name="T15" fmla="*/ 10 h 26"/>
                    <a:gd name="T16" fmla="*/ 5 w 5"/>
                    <a:gd name="T17" fmla="*/ 16 h 26"/>
                    <a:gd name="T18" fmla="*/ 5 w 5"/>
                    <a:gd name="T19" fmla="*/ 16 h 26"/>
                    <a:gd name="T20" fmla="*/ 5 w 5"/>
                    <a:gd name="T21" fmla="*/ 16 h 26"/>
                    <a:gd name="T22" fmla="*/ 5 w 5"/>
                    <a:gd name="T23" fmla="*/ 16 h 26"/>
                    <a:gd name="T24" fmla="*/ 5 w 5"/>
                    <a:gd name="T25" fmla="*/ 16 h 26"/>
                    <a:gd name="T26" fmla="*/ 5 w 5"/>
                    <a:gd name="T27" fmla="*/ 21 h 26"/>
                    <a:gd name="T28" fmla="*/ 5 w 5"/>
                    <a:gd name="T29" fmla="*/ 21 h 26"/>
                    <a:gd name="T30" fmla="*/ 5 w 5"/>
                    <a:gd name="T31" fmla="*/ 21 h 26"/>
                    <a:gd name="T32" fmla="*/ 5 w 5"/>
                    <a:gd name="T33" fmla="*/ 21 h 26"/>
                    <a:gd name="T34" fmla="*/ 5 w 5"/>
                    <a:gd name="T35" fmla="*/ 21 h 26"/>
                    <a:gd name="T36" fmla="*/ 5 w 5"/>
                    <a:gd name="T37" fmla="*/ 26 h 26"/>
                    <a:gd name="T38" fmla="*/ 5 w 5"/>
                    <a:gd name="T39" fmla="*/ 26 h 26"/>
                    <a:gd name="T40" fmla="*/ 5 w 5"/>
                    <a:gd name="T41" fmla="*/ 26 h 26"/>
                    <a:gd name="T42" fmla="*/ 5 w 5"/>
                    <a:gd name="T43" fmla="*/ 26 h 26"/>
                    <a:gd name="T44" fmla="*/ 0 w 5"/>
                    <a:gd name="T45" fmla="*/ 26 h 26"/>
                    <a:gd name="T46" fmla="*/ 0 w 5"/>
                    <a:gd name="T47" fmla="*/ 26 h 26"/>
                    <a:gd name="T48" fmla="*/ 0 w 5"/>
                    <a:gd name="T49" fmla="*/ 26 h 26"/>
                    <a:gd name="T50" fmla="*/ 0 w 5"/>
                    <a:gd name="T51" fmla="*/ 26 h 26"/>
                    <a:gd name="T52" fmla="*/ 0 w 5"/>
                    <a:gd name="T53" fmla="*/ 26 h 26"/>
                    <a:gd name="T54" fmla="*/ 0 w 5"/>
                    <a:gd name="T55" fmla="*/ 26 h 26"/>
                    <a:gd name="T56" fmla="*/ 0 w 5"/>
                    <a:gd name="T57" fmla="*/ 26 h 26"/>
                    <a:gd name="T58" fmla="*/ 5 w 5"/>
                    <a:gd name="T59" fmla="*/ 26 h 26"/>
                    <a:gd name="T60" fmla="*/ 5 w 5"/>
                    <a:gd name="T61" fmla="*/ 21 h 26"/>
                    <a:gd name="T62" fmla="*/ 5 w 5"/>
                    <a:gd name="T63" fmla="*/ 21 h 26"/>
                    <a:gd name="T64" fmla="*/ 5 w 5"/>
                    <a:gd name="T65" fmla="*/ 21 h 26"/>
                    <a:gd name="T66" fmla="*/ 5 w 5"/>
                    <a:gd name="T67" fmla="*/ 21 h 26"/>
                    <a:gd name="T68" fmla="*/ 5 w 5"/>
                    <a:gd name="T69" fmla="*/ 21 h 26"/>
                    <a:gd name="T70" fmla="*/ 5 w 5"/>
                    <a:gd name="T71" fmla="*/ 21 h 26"/>
                    <a:gd name="T72" fmla="*/ 5 w 5"/>
                    <a:gd name="T73" fmla="*/ 16 h 26"/>
                    <a:gd name="T74" fmla="*/ 5 w 5"/>
                    <a:gd name="T75" fmla="*/ 16 h 26"/>
                    <a:gd name="T76" fmla="*/ 5 w 5"/>
                    <a:gd name="T77" fmla="*/ 16 h 26"/>
                    <a:gd name="T78" fmla="*/ 5 w 5"/>
                    <a:gd name="T79" fmla="*/ 16 h 26"/>
                    <a:gd name="T80" fmla="*/ 5 w 5"/>
                    <a:gd name="T81" fmla="*/ 10 h 26"/>
                    <a:gd name="T82" fmla="*/ 5 w 5"/>
                    <a:gd name="T83" fmla="*/ 10 h 26"/>
                    <a:gd name="T84" fmla="*/ 5 w 5"/>
                    <a:gd name="T85" fmla="*/ 10 h 26"/>
                    <a:gd name="T86" fmla="*/ 5 w 5"/>
                    <a:gd name="T87" fmla="*/ 10 h 26"/>
                    <a:gd name="T88" fmla="*/ 5 w 5"/>
                    <a:gd name="T89" fmla="*/ 5 h 26"/>
                    <a:gd name="T90" fmla="*/ 5 w 5"/>
                    <a:gd name="T91" fmla="*/ 5 h 26"/>
                    <a:gd name="T92" fmla="*/ 5 w 5"/>
                    <a:gd name="T93" fmla="*/ 5 h 26"/>
                    <a:gd name="T94" fmla="*/ 5 w 5"/>
                    <a:gd name="T95" fmla="*/ 0 h 2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5"/>
                    <a:gd name="T145" fmla="*/ 0 h 26"/>
                    <a:gd name="T146" fmla="*/ 5 w 5"/>
                    <a:gd name="T147" fmla="*/ 26 h 26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5" h="26">
                      <a:moveTo>
                        <a:pt x="5" y="0"/>
                      </a:moveTo>
                      <a:lnTo>
                        <a:pt x="5" y="0"/>
                      </a:lnTo>
                      <a:lnTo>
                        <a:pt x="5" y="5"/>
                      </a:lnTo>
                      <a:lnTo>
                        <a:pt x="5" y="10"/>
                      </a:lnTo>
                      <a:lnTo>
                        <a:pt x="5" y="16"/>
                      </a:lnTo>
                      <a:lnTo>
                        <a:pt x="5" y="21"/>
                      </a:lnTo>
                      <a:lnTo>
                        <a:pt x="5" y="26"/>
                      </a:lnTo>
                      <a:lnTo>
                        <a:pt x="0" y="26"/>
                      </a:lnTo>
                      <a:lnTo>
                        <a:pt x="5" y="26"/>
                      </a:lnTo>
                      <a:lnTo>
                        <a:pt x="5" y="21"/>
                      </a:lnTo>
                      <a:lnTo>
                        <a:pt x="5" y="16"/>
                      </a:lnTo>
                      <a:lnTo>
                        <a:pt x="5" y="10"/>
                      </a:lnTo>
                      <a:lnTo>
                        <a:pt x="5" y="5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76" name="Freeform 796"/>
                <p:cNvSpPr>
                  <a:spLocks/>
                </p:cNvSpPr>
                <p:nvPr/>
              </p:nvSpPr>
              <p:spPr bwMode="auto">
                <a:xfrm>
                  <a:off x="2678" y="2135"/>
                  <a:ext cx="10" cy="37"/>
                </a:xfrm>
                <a:custGeom>
                  <a:avLst/>
                  <a:gdLst>
                    <a:gd name="T0" fmla="*/ 10 w 10"/>
                    <a:gd name="T1" fmla="*/ 37 h 37"/>
                    <a:gd name="T2" fmla="*/ 0 w 10"/>
                    <a:gd name="T3" fmla="*/ 26 h 37"/>
                    <a:gd name="T4" fmla="*/ 0 w 10"/>
                    <a:gd name="T5" fmla="*/ 21 h 37"/>
                    <a:gd name="T6" fmla="*/ 0 w 10"/>
                    <a:gd name="T7" fmla="*/ 5 h 37"/>
                    <a:gd name="T8" fmla="*/ 0 w 10"/>
                    <a:gd name="T9" fmla="*/ 0 h 37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0"/>
                    <a:gd name="T16" fmla="*/ 0 h 37"/>
                    <a:gd name="T17" fmla="*/ 10 w 10"/>
                    <a:gd name="T18" fmla="*/ 37 h 37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0" h="37">
                      <a:moveTo>
                        <a:pt x="10" y="37"/>
                      </a:moveTo>
                      <a:lnTo>
                        <a:pt x="0" y="26"/>
                      </a:lnTo>
                      <a:lnTo>
                        <a:pt x="0" y="21"/>
                      </a:lnTo>
                      <a:lnTo>
                        <a:pt x="0" y="5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77" name="Freeform 797"/>
                <p:cNvSpPr>
                  <a:spLocks/>
                </p:cNvSpPr>
                <p:nvPr/>
              </p:nvSpPr>
              <p:spPr bwMode="auto">
                <a:xfrm>
                  <a:off x="2678" y="2135"/>
                  <a:ext cx="1" cy="10"/>
                </a:xfrm>
                <a:custGeom>
                  <a:avLst/>
                  <a:gdLst>
                    <a:gd name="T0" fmla="*/ 0 w 1"/>
                    <a:gd name="T1" fmla="*/ 10 h 10"/>
                    <a:gd name="T2" fmla="*/ 0 w 1"/>
                    <a:gd name="T3" fmla="*/ 0 h 10"/>
                    <a:gd name="T4" fmla="*/ 0 w 1"/>
                    <a:gd name="T5" fmla="*/ 0 h 10"/>
                    <a:gd name="T6" fmla="*/ 0 60000 65536"/>
                    <a:gd name="T7" fmla="*/ 0 60000 65536"/>
                    <a:gd name="T8" fmla="*/ 0 60000 65536"/>
                    <a:gd name="T9" fmla="*/ 0 w 1"/>
                    <a:gd name="T10" fmla="*/ 0 h 10"/>
                    <a:gd name="T11" fmla="*/ 1 w 1"/>
                    <a:gd name="T12" fmla="*/ 10 h 10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" h="10">
                      <a:moveTo>
                        <a:pt x="0" y="10"/>
                      </a:moveTo>
                      <a:lnTo>
                        <a:pt x="0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78" name="Freeform 798"/>
                <p:cNvSpPr>
                  <a:spLocks/>
                </p:cNvSpPr>
                <p:nvPr/>
              </p:nvSpPr>
              <p:spPr bwMode="auto">
                <a:xfrm>
                  <a:off x="2678" y="2140"/>
                  <a:ext cx="10" cy="27"/>
                </a:xfrm>
                <a:custGeom>
                  <a:avLst/>
                  <a:gdLst>
                    <a:gd name="T0" fmla="*/ 5 w 10"/>
                    <a:gd name="T1" fmla="*/ 27 h 27"/>
                    <a:gd name="T2" fmla="*/ 0 w 10"/>
                    <a:gd name="T3" fmla="*/ 21 h 27"/>
                    <a:gd name="T4" fmla="*/ 0 w 10"/>
                    <a:gd name="T5" fmla="*/ 16 h 27"/>
                    <a:gd name="T6" fmla="*/ 0 w 10"/>
                    <a:gd name="T7" fmla="*/ 0 h 27"/>
                    <a:gd name="T8" fmla="*/ 5 w 10"/>
                    <a:gd name="T9" fmla="*/ 0 h 27"/>
                    <a:gd name="T10" fmla="*/ 10 w 10"/>
                    <a:gd name="T11" fmla="*/ 11 h 27"/>
                    <a:gd name="T12" fmla="*/ 5 w 10"/>
                    <a:gd name="T13" fmla="*/ 21 h 27"/>
                    <a:gd name="T14" fmla="*/ 5 w 10"/>
                    <a:gd name="T15" fmla="*/ 27 h 27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10"/>
                    <a:gd name="T25" fmla="*/ 0 h 27"/>
                    <a:gd name="T26" fmla="*/ 10 w 10"/>
                    <a:gd name="T27" fmla="*/ 27 h 27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10" h="27">
                      <a:moveTo>
                        <a:pt x="5" y="27"/>
                      </a:moveTo>
                      <a:lnTo>
                        <a:pt x="0" y="21"/>
                      </a:lnTo>
                      <a:lnTo>
                        <a:pt x="0" y="16"/>
                      </a:ln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10" y="11"/>
                      </a:lnTo>
                      <a:lnTo>
                        <a:pt x="5" y="21"/>
                      </a:lnTo>
                      <a:lnTo>
                        <a:pt x="5" y="27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79" name="Freeform 799"/>
                <p:cNvSpPr>
                  <a:spLocks/>
                </p:cNvSpPr>
                <p:nvPr/>
              </p:nvSpPr>
              <p:spPr bwMode="auto">
                <a:xfrm>
                  <a:off x="2678" y="2151"/>
                  <a:ext cx="5" cy="10"/>
                </a:xfrm>
                <a:custGeom>
                  <a:avLst/>
                  <a:gdLst>
                    <a:gd name="T0" fmla="*/ 5 w 5"/>
                    <a:gd name="T1" fmla="*/ 10 h 10"/>
                    <a:gd name="T2" fmla="*/ 0 w 5"/>
                    <a:gd name="T3" fmla="*/ 5 h 10"/>
                    <a:gd name="T4" fmla="*/ 0 w 5"/>
                    <a:gd name="T5" fmla="*/ 5 h 10"/>
                    <a:gd name="T6" fmla="*/ 0 w 5"/>
                    <a:gd name="T7" fmla="*/ 0 h 10"/>
                    <a:gd name="T8" fmla="*/ 5 w 5"/>
                    <a:gd name="T9" fmla="*/ 0 h 10"/>
                    <a:gd name="T10" fmla="*/ 5 w 5"/>
                    <a:gd name="T11" fmla="*/ 0 h 10"/>
                    <a:gd name="T12" fmla="*/ 5 w 5"/>
                    <a:gd name="T13" fmla="*/ 5 h 10"/>
                    <a:gd name="T14" fmla="*/ 5 w 5"/>
                    <a:gd name="T15" fmla="*/ 10 h 10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w 5"/>
                    <a:gd name="T25" fmla="*/ 0 h 10"/>
                    <a:gd name="T26" fmla="*/ 5 w 5"/>
                    <a:gd name="T27" fmla="*/ 10 h 10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T24" t="T25" r="T26" b="T27"/>
                  <a:pathLst>
                    <a:path w="5" h="10">
                      <a:moveTo>
                        <a:pt x="5" y="10"/>
                      </a:move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5" y="5"/>
                      </a:lnTo>
                      <a:lnTo>
                        <a:pt x="5" y="10"/>
                      </a:lnTo>
                      <a:close/>
                    </a:path>
                  </a:pathLst>
                </a:custGeom>
                <a:solidFill>
                  <a:srgbClr val="A9A8A7"/>
                </a:solidFill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80" name="Freeform 800"/>
                <p:cNvSpPr>
                  <a:spLocks/>
                </p:cNvSpPr>
                <p:nvPr/>
              </p:nvSpPr>
              <p:spPr bwMode="auto">
                <a:xfrm>
                  <a:off x="2678" y="2156"/>
                  <a:ext cx="10" cy="11"/>
                </a:xfrm>
                <a:custGeom>
                  <a:avLst/>
                  <a:gdLst>
                    <a:gd name="T0" fmla="*/ 10 w 10"/>
                    <a:gd name="T1" fmla="*/ 11 h 11"/>
                    <a:gd name="T2" fmla="*/ 10 w 10"/>
                    <a:gd name="T3" fmla="*/ 11 h 11"/>
                    <a:gd name="T4" fmla="*/ 10 w 10"/>
                    <a:gd name="T5" fmla="*/ 5 h 11"/>
                    <a:gd name="T6" fmla="*/ 10 w 10"/>
                    <a:gd name="T7" fmla="*/ 5 h 11"/>
                    <a:gd name="T8" fmla="*/ 10 w 10"/>
                    <a:gd name="T9" fmla="*/ 5 h 11"/>
                    <a:gd name="T10" fmla="*/ 10 w 10"/>
                    <a:gd name="T11" fmla="*/ 5 h 11"/>
                    <a:gd name="T12" fmla="*/ 5 w 10"/>
                    <a:gd name="T13" fmla="*/ 0 h 11"/>
                    <a:gd name="T14" fmla="*/ 5 w 10"/>
                    <a:gd name="T15" fmla="*/ 5 h 11"/>
                    <a:gd name="T16" fmla="*/ 0 w 10"/>
                    <a:gd name="T17" fmla="*/ 5 h 11"/>
                    <a:gd name="T18" fmla="*/ 10 w 10"/>
                    <a:gd name="T19" fmla="*/ 11 h 11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0"/>
                    <a:gd name="T31" fmla="*/ 0 h 11"/>
                    <a:gd name="T32" fmla="*/ 10 w 10"/>
                    <a:gd name="T33" fmla="*/ 11 h 11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0" h="11">
                      <a:moveTo>
                        <a:pt x="10" y="11"/>
                      </a:moveTo>
                      <a:lnTo>
                        <a:pt x="10" y="11"/>
                      </a:lnTo>
                      <a:lnTo>
                        <a:pt x="10" y="5"/>
                      </a:lnTo>
                      <a:lnTo>
                        <a:pt x="5" y="0"/>
                      </a:lnTo>
                      <a:lnTo>
                        <a:pt x="5" y="5"/>
                      </a:lnTo>
                      <a:lnTo>
                        <a:pt x="0" y="5"/>
                      </a:lnTo>
                      <a:lnTo>
                        <a:pt x="10" y="11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81" name="Freeform 801"/>
                <p:cNvSpPr>
                  <a:spLocks/>
                </p:cNvSpPr>
                <p:nvPr/>
              </p:nvSpPr>
              <p:spPr bwMode="auto">
                <a:xfrm>
                  <a:off x="2678" y="2161"/>
                  <a:ext cx="10" cy="11"/>
                </a:xfrm>
                <a:custGeom>
                  <a:avLst/>
                  <a:gdLst>
                    <a:gd name="T0" fmla="*/ 5 w 10"/>
                    <a:gd name="T1" fmla="*/ 11 h 11"/>
                    <a:gd name="T2" fmla="*/ 5 w 10"/>
                    <a:gd name="T3" fmla="*/ 11 h 11"/>
                    <a:gd name="T4" fmla="*/ 5 w 10"/>
                    <a:gd name="T5" fmla="*/ 11 h 11"/>
                    <a:gd name="T6" fmla="*/ 10 w 10"/>
                    <a:gd name="T7" fmla="*/ 11 h 11"/>
                    <a:gd name="T8" fmla="*/ 10 w 10"/>
                    <a:gd name="T9" fmla="*/ 11 h 11"/>
                    <a:gd name="T10" fmla="*/ 10 w 10"/>
                    <a:gd name="T11" fmla="*/ 6 h 11"/>
                    <a:gd name="T12" fmla="*/ 10 w 10"/>
                    <a:gd name="T13" fmla="*/ 6 h 11"/>
                    <a:gd name="T14" fmla="*/ 10 w 10"/>
                    <a:gd name="T15" fmla="*/ 6 h 11"/>
                    <a:gd name="T16" fmla="*/ 10 w 10"/>
                    <a:gd name="T17" fmla="*/ 6 h 11"/>
                    <a:gd name="T18" fmla="*/ 10 w 10"/>
                    <a:gd name="T19" fmla="*/ 6 h 11"/>
                    <a:gd name="T20" fmla="*/ 0 w 10"/>
                    <a:gd name="T21" fmla="*/ 0 h 11"/>
                    <a:gd name="T22" fmla="*/ 0 w 10"/>
                    <a:gd name="T23" fmla="*/ 0 h 11"/>
                    <a:gd name="T24" fmla="*/ 0 w 10"/>
                    <a:gd name="T25" fmla="*/ 0 h 11"/>
                    <a:gd name="T26" fmla="*/ 5 w 10"/>
                    <a:gd name="T27" fmla="*/ 0 h 11"/>
                    <a:gd name="T28" fmla="*/ 5 w 10"/>
                    <a:gd name="T29" fmla="*/ 0 h 11"/>
                    <a:gd name="T30" fmla="*/ 5 w 10"/>
                    <a:gd name="T31" fmla="*/ 0 h 11"/>
                    <a:gd name="T32" fmla="*/ 5 w 10"/>
                    <a:gd name="T33" fmla="*/ 0 h 11"/>
                    <a:gd name="T34" fmla="*/ 5 w 10"/>
                    <a:gd name="T35" fmla="*/ 0 h 11"/>
                    <a:gd name="T36" fmla="*/ 5 w 10"/>
                    <a:gd name="T37" fmla="*/ 0 h 11"/>
                    <a:gd name="T38" fmla="*/ 5 w 10"/>
                    <a:gd name="T39" fmla="*/ 0 h 11"/>
                    <a:gd name="T40" fmla="*/ 5 w 10"/>
                    <a:gd name="T41" fmla="*/ 11 h 1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0"/>
                    <a:gd name="T64" fmla="*/ 0 h 11"/>
                    <a:gd name="T65" fmla="*/ 10 w 10"/>
                    <a:gd name="T66" fmla="*/ 11 h 11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0" h="11">
                      <a:moveTo>
                        <a:pt x="5" y="11"/>
                      </a:moveTo>
                      <a:lnTo>
                        <a:pt x="5" y="11"/>
                      </a:lnTo>
                      <a:lnTo>
                        <a:pt x="10" y="11"/>
                      </a:lnTo>
                      <a:lnTo>
                        <a:pt x="10" y="6"/>
                      </a:ln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5" y="11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82" name="Freeform 802"/>
                <p:cNvSpPr>
                  <a:spLocks/>
                </p:cNvSpPr>
                <p:nvPr/>
              </p:nvSpPr>
              <p:spPr bwMode="auto">
                <a:xfrm>
                  <a:off x="2672" y="2156"/>
                  <a:ext cx="11" cy="16"/>
                </a:xfrm>
                <a:custGeom>
                  <a:avLst/>
                  <a:gdLst>
                    <a:gd name="T0" fmla="*/ 0 w 11"/>
                    <a:gd name="T1" fmla="*/ 0 h 16"/>
                    <a:gd name="T2" fmla="*/ 0 w 11"/>
                    <a:gd name="T3" fmla="*/ 0 h 16"/>
                    <a:gd name="T4" fmla="*/ 0 w 11"/>
                    <a:gd name="T5" fmla="*/ 0 h 16"/>
                    <a:gd name="T6" fmla="*/ 0 w 11"/>
                    <a:gd name="T7" fmla="*/ 5 h 16"/>
                    <a:gd name="T8" fmla="*/ 0 w 11"/>
                    <a:gd name="T9" fmla="*/ 5 h 16"/>
                    <a:gd name="T10" fmla="*/ 6 w 11"/>
                    <a:gd name="T11" fmla="*/ 11 h 16"/>
                    <a:gd name="T12" fmla="*/ 6 w 11"/>
                    <a:gd name="T13" fmla="*/ 11 h 16"/>
                    <a:gd name="T14" fmla="*/ 6 w 11"/>
                    <a:gd name="T15" fmla="*/ 11 h 16"/>
                    <a:gd name="T16" fmla="*/ 11 w 11"/>
                    <a:gd name="T17" fmla="*/ 16 h 16"/>
                    <a:gd name="T18" fmla="*/ 11 w 11"/>
                    <a:gd name="T19" fmla="*/ 16 h 16"/>
                    <a:gd name="T20" fmla="*/ 11 w 11"/>
                    <a:gd name="T21" fmla="*/ 5 h 16"/>
                    <a:gd name="T22" fmla="*/ 11 w 11"/>
                    <a:gd name="T23" fmla="*/ 5 h 16"/>
                    <a:gd name="T24" fmla="*/ 11 w 11"/>
                    <a:gd name="T25" fmla="*/ 5 h 16"/>
                    <a:gd name="T26" fmla="*/ 11 w 11"/>
                    <a:gd name="T27" fmla="*/ 5 h 16"/>
                    <a:gd name="T28" fmla="*/ 11 w 11"/>
                    <a:gd name="T29" fmla="*/ 5 h 16"/>
                    <a:gd name="T30" fmla="*/ 11 w 11"/>
                    <a:gd name="T31" fmla="*/ 0 h 16"/>
                    <a:gd name="T32" fmla="*/ 11 w 11"/>
                    <a:gd name="T33" fmla="*/ 0 h 16"/>
                    <a:gd name="T34" fmla="*/ 11 w 11"/>
                    <a:gd name="T35" fmla="*/ 0 h 16"/>
                    <a:gd name="T36" fmla="*/ 11 w 11"/>
                    <a:gd name="T37" fmla="*/ 0 h 16"/>
                    <a:gd name="T38" fmla="*/ 11 w 11"/>
                    <a:gd name="T39" fmla="*/ 0 h 16"/>
                    <a:gd name="T40" fmla="*/ 0 w 11"/>
                    <a:gd name="T41" fmla="*/ 0 h 1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1"/>
                    <a:gd name="T64" fmla="*/ 0 h 16"/>
                    <a:gd name="T65" fmla="*/ 11 w 11"/>
                    <a:gd name="T66" fmla="*/ 16 h 1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1" h="16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6" y="11"/>
                      </a:lnTo>
                      <a:lnTo>
                        <a:pt x="11" y="16"/>
                      </a:lnTo>
                      <a:lnTo>
                        <a:pt x="11" y="5"/>
                      </a:lnTo>
                      <a:lnTo>
                        <a:pt x="11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83" name="Freeform 803"/>
                <p:cNvSpPr>
                  <a:spLocks/>
                </p:cNvSpPr>
                <p:nvPr/>
              </p:nvSpPr>
              <p:spPr bwMode="auto">
                <a:xfrm>
                  <a:off x="2672" y="2135"/>
                  <a:ext cx="11" cy="21"/>
                </a:xfrm>
                <a:custGeom>
                  <a:avLst/>
                  <a:gdLst>
                    <a:gd name="T0" fmla="*/ 6 w 11"/>
                    <a:gd name="T1" fmla="*/ 0 h 21"/>
                    <a:gd name="T2" fmla="*/ 6 w 11"/>
                    <a:gd name="T3" fmla="*/ 0 h 21"/>
                    <a:gd name="T4" fmla="*/ 6 w 11"/>
                    <a:gd name="T5" fmla="*/ 5 h 21"/>
                    <a:gd name="T6" fmla="*/ 0 w 11"/>
                    <a:gd name="T7" fmla="*/ 5 h 21"/>
                    <a:gd name="T8" fmla="*/ 0 w 11"/>
                    <a:gd name="T9" fmla="*/ 10 h 21"/>
                    <a:gd name="T10" fmla="*/ 0 w 11"/>
                    <a:gd name="T11" fmla="*/ 10 h 21"/>
                    <a:gd name="T12" fmla="*/ 0 w 11"/>
                    <a:gd name="T13" fmla="*/ 10 h 21"/>
                    <a:gd name="T14" fmla="*/ 0 w 11"/>
                    <a:gd name="T15" fmla="*/ 16 h 21"/>
                    <a:gd name="T16" fmla="*/ 0 w 11"/>
                    <a:gd name="T17" fmla="*/ 16 h 21"/>
                    <a:gd name="T18" fmla="*/ 0 w 11"/>
                    <a:gd name="T19" fmla="*/ 21 h 21"/>
                    <a:gd name="T20" fmla="*/ 11 w 11"/>
                    <a:gd name="T21" fmla="*/ 21 h 21"/>
                    <a:gd name="T22" fmla="*/ 11 w 11"/>
                    <a:gd name="T23" fmla="*/ 16 h 21"/>
                    <a:gd name="T24" fmla="*/ 11 w 11"/>
                    <a:gd name="T25" fmla="*/ 16 h 21"/>
                    <a:gd name="T26" fmla="*/ 11 w 11"/>
                    <a:gd name="T27" fmla="*/ 16 h 21"/>
                    <a:gd name="T28" fmla="*/ 11 w 11"/>
                    <a:gd name="T29" fmla="*/ 16 h 21"/>
                    <a:gd name="T30" fmla="*/ 11 w 11"/>
                    <a:gd name="T31" fmla="*/ 10 h 21"/>
                    <a:gd name="T32" fmla="*/ 11 w 11"/>
                    <a:gd name="T33" fmla="*/ 10 h 21"/>
                    <a:gd name="T34" fmla="*/ 11 w 11"/>
                    <a:gd name="T35" fmla="*/ 10 h 21"/>
                    <a:gd name="T36" fmla="*/ 11 w 11"/>
                    <a:gd name="T37" fmla="*/ 16 h 21"/>
                    <a:gd name="T38" fmla="*/ 6 w 11"/>
                    <a:gd name="T39" fmla="*/ 16 h 21"/>
                    <a:gd name="T40" fmla="*/ 6 w 11"/>
                    <a:gd name="T41" fmla="*/ 0 h 21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w 11"/>
                    <a:gd name="T64" fmla="*/ 0 h 21"/>
                    <a:gd name="T65" fmla="*/ 11 w 11"/>
                    <a:gd name="T66" fmla="*/ 21 h 21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T63" t="T64" r="T65" b="T66"/>
                  <a:pathLst>
                    <a:path w="11" h="21">
                      <a:moveTo>
                        <a:pt x="6" y="0"/>
                      </a:moveTo>
                      <a:lnTo>
                        <a:pt x="6" y="0"/>
                      </a:lnTo>
                      <a:lnTo>
                        <a:pt x="6" y="5"/>
                      </a:lnTo>
                      <a:lnTo>
                        <a:pt x="0" y="5"/>
                      </a:lnTo>
                      <a:lnTo>
                        <a:pt x="0" y="10"/>
                      </a:lnTo>
                      <a:lnTo>
                        <a:pt x="0" y="16"/>
                      </a:lnTo>
                      <a:lnTo>
                        <a:pt x="0" y="21"/>
                      </a:lnTo>
                      <a:lnTo>
                        <a:pt x="11" y="21"/>
                      </a:lnTo>
                      <a:lnTo>
                        <a:pt x="11" y="16"/>
                      </a:lnTo>
                      <a:lnTo>
                        <a:pt x="11" y="10"/>
                      </a:lnTo>
                      <a:lnTo>
                        <a:pt x="11" y="16"/>
                      </a:lnTo>
                      <a:lnTo>
                        <a:pt x="6" y="16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84" name="Freeform 804"/>
                <p:cNvSpPr>
                  <a:spLocks/>
                </p:cNvSpPr>
                <p:nvPr/>
              </p:nvSpPr>
              <p:spPr bwMode="auto">
                <a:xfrm>
                  <a:off x="2678" y="2135"/>
                  <a:ext cx="5" cy="16"/>
                </a:xfrm>
                <a:custGeom>
                  <a:avLst/>
                  <a:gdLst>
                    <a:gd name="T0" fmla="*/ 5 w 5"/>
                    <a:gd name="T1" fmla="*/ 0 h 16"/>
                    <a:gd name="T2" fmla="*/ 5 w 5"/>
                    <a:gd name="T3" fmla="*/ 0 h 16"/>
                    <a:gd name="T4" fmla="*/ 5 w 5"/>
                    <a:gd name="T5" fmla="*/ 0 h 16"/>
                    <a:gd name="T6" fmla="*/ 0 w 5"/>
                    <a:gd name="T7" fmla="*/ 0 h 16"/>
                    <a:gd name="T8" fmla="*/ 0 w 5"/>
                    <a:gd name="T9" fmla="*/ 0 h 16"/>
                    <a:gd name="T10" fmla="*/ 0 w 5"/>
                    <a:gd name="T11" fmla="*/ 0 h 16"/>
                    <a:gd name="T12" fmla="*/ 0 w 5"/>
                    <a:gd name="T13" fmla="*/ 0 h 16"/>
                    <a:gd name="T14" fmla="*/ 0 w 5"/>
                    <a:gd name="T15" fmla="*/ 0 h 16"/>
                    <a:gd name="T16" fmla="*/ 0 w 5"/>
                    <a:gd name="T17" fmla="*/ 0 h 16"/>
                    <a:gd name="T18" fmla="*/ 0 w 5"/>
                    <a:gd name="T19" fmla="*/ 16 h 16"/>
                    <a:gd name="T20" fmla="*/ 0 w 5"/>
                    <a:gd name="T21" fmla="*/ 16 h 16"/>
                    <a:gd name="T22" fmla="*/ 0 w 5"/>
                    <a:gd name="T23" fmla="*/ 16 h 16"/>
                    <a:gd name="T24" fmla="*/ 0 w 5"/>
                    <a:gd name="T25" fmla="*/ 16 h 16"/>
                    <a:gd name="T26" fmla="*/ 0 w 5"/>
                    <a:gd name="T27" fmla="*/ 16 h 16"/>
                    <a:gd name="T28" fmla="*/ 5 w 5"/>
                    <a:gd name="T29" fmla="*/ 16 h 16"/>
                    <a:gd name="T30" fmla="*/ 5 w 5"/>
                    <a:gd name="T31" fmla="*/ 16 h 16"/>
                    <a:gd name="T32" fmla="*/ 5 w 5"/>
                    <a:gd name="T33" fmla="*/ 16 h 16"/>
                    <a:gd name="T34" fmla="*/ 5 w 5"/>
                    <a:gd name="T35" fmla="*/ 16 h 16"/>
                    <a:gd name="T36" fmla="*/ 5 w 5"/>
                    <a:gd name="T37" fmla="*/ 0 h 1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w 5"/>
                    <a:gd name="T58" fmla="*/ 0 h 16"/>
                    <a:gd name="T59" fmla="*/ 5 w 5"/>
                    <a:gd name="T60" fmla="*/ 16 h 1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T57" t="T58" r="T59" b="T60"/>
                  <a:pathLst>
                    <a:path w="5" h="16">
                      <a:moveTo>
                        <a:pt x="5" y="0"/>
                      </a:move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0" y="16"/>
                      </a:lnTo>
                      <a:lnTo>
                        <a:pt x="5" y="16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85" name="Freeform 805"/>
                <p:cNvSpPr>
                  <a:spLocks/>
                </p:cNvSpPr>
                <p:nvPr/>
              </p:nvSpPr>
              <p:spPr bwMode="auto">
                <a:xfrm>
                  <a:off x="2678" y="2135"/>
                  <a:ext cx="10" cy="16"/>
                </a:xfrm>
                <a:custGeom>
                  <a:avLst/>
                  <a:gdLst>
                    <a:gd name="T0" fmla="*/ 0 w 10"/>
                    <a:gd name="T1" fmla="*/ 16 h 16"/>
                    <a:gd name="T2" fmla="*/ 5 w 10"/>
                    <a:gd name="T3" fmla="*/ 10 h 16"/>
                    <a:gd name="T4" fmla="*/ 5 w 10"/>
                    <a:gd name="T5" fmla="*/ 10 h 16"/>
                    <a:gd name="T6" fmla="*/ 5 w 10"/>
                    <a:gd name="T7" fmla="*/ 10 h 16"/>
                    <a:gd name="T8" fmla="*/ 10 w 10"/>
                    <a:gd name="T9" fmla="*/ 5 h 16"/>
                    <a:gd name="T10" fmla="*/ 5 w 10"/>
                    <a:gd name="T11" fmla="*/ 5 h 16"/>
                    <a:gd name="T12" fmla="*/ 5 w 10"/>
                    <a:gd name="T13" fmla="*/ 5 h 16"/>
                    <a:gd name="T14" fmla="*/ 5 w 10"/>
                    <a:gd name="T15" fmla="*/ 5 h 16"/>
                    <a:gd name="T16" fmla="*/ 0 w 10"/>
                    <a:gd name="T17" fmla="*/ 0 h 16"/>
                    <a:gd name="T18" fmla="*/ 0 w 10"/>
                    <a:gd name="T19" fmla="*/ 16 h 1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0"/>
                    <a:gd name="T31" fmla="*/ 0 h 16"/>
                    <a:gd name="T32" fmla="*/ 10 w 10"/>
                    <a:gd name="T33" fmla="*/ 16 h 1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0" h="16">
                      <a:moveTo>
                        <a:pt x="0" y="16"/>
                      </a:moveTo>
                      <a:lnTo>
                        <a:pt x="5" y="10"/>
                      </a:lnTo>
                      <a:lnTo>
                        <a:pt x="10" y="5"/>
                      </a:lnTo>
                      <a:lnTo>
                        <a:pt x="5" y="5"/>
                      </a:lnTo>
                      <a:lnTo>
                        <a:pt x="0" y="0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86" name="Line 806"/>
                <p:cNvSpPr>
                  <a:spLocks noChangeShapeType="1"/>
                </p:cNvSpPr>
                <p:nvPr/>
              </p:nvSpPr>
              <p:spPr bwMode="auto">
                <a:xfrm>
                  <a:off x="2678" y="2140"/>
                  <a:ext cx="10" cy="1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87" name="Line 807"/>
                <p:cNvSpPr>
                  <a:spLocks noChangeShapeType="1"/>
                </p:cNvSpPr>
                <p:nvPr/>
              </p:nvSpPr>
              <p:spPr bwMode="auto">
                <a:xfrm flipV="1">
                  <a:off x="2683" y="2161"/>
                  <a:ext cx="5" cy="6"/>
                </a:xfrm>
                <a:prstGeom prst="line">
                  <a:avLst/>
                </a:pr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88" name="Freeform 808"/>
                <p:cNvSpPr>
                  <a:spLocks/>
                </p:cNvSpPr>
                <p:nvPr/>
              </p:nvSpPr>
              <p:spPr bwMode="auto">
                <a:xfrm>
                  <a:off x="2619" y="2097"/>
                  <a:ext cx="37" cy="80"/>
                </a:xfrm>
                <a:custGeom>
                  <a:avLst/>
                  <a:gdLst>
                    <a:gd name="T0" fmla="*/ 26 w 37"/>
                    <a:gd name="T1" fmla="*/ 80 h 80"/>
                    <a:gd name="T2" fmla="*/ 16 w 37"/>
                    <a:gd name="T3" fmla="*/ 75 h 80"/>
                    <a:gd name="T4" fmla="*/ 10 w 37"/>
                    <a:gd name="T5" fmla="*/ 70 h 80"/>
                    <a:gd name="T6" fmla="*/ 5 w 37"/>
                    <a:gd name="T7" fmla="*/ 43 h 80"/>
                    <a:gd name="T8" fmla="*/ 0 w 37"/>
                    <a:gd name="T9" fmla="*/ 11 h 80"/>
                    <a:gd name="T10" fmla="*/ 5 w 37"/>
                    <a:gd name="T11" fmla="*/ 0 h 80"/>
                    <a:gd name="T12" fmla="*/ 16 w 37"/>
                    <a:gd name="T13" fmla="*/ 0 h 80"/>
                    <a:gd name="T14" fmla="*/ 16 w 37"/>
                    <a:gd name="T15" fmla="*/ 0 h 80"/>
                    <a:gd name="T16" fmla="*/ 26 w 37"/>
                    <a:gd name="T17" fmla="*/ 11 h 80"/>
                    <a:gd name="T18" fmla="*/ 37 w 37"/>
                    <a:gd name="T19" fmla="*/ 38 h 80"/>
                    <a:gd name="T20" fmla="*/ 37 w 37"/>
                    <a:gd name="T21" fmla="*/ 64 h 80"/>
                    <a:gd name="T22" fmla="*/ 26 w 37"/>
                    <a:gd name="T23" fmla="*/ 80 h 80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37"/>
                    <a:gd name="T37" fmla="*/ 0 h 80"/>
                    <a:gd name="T38" fmla="*/ 37 w 37"/>
                    <a:gd name="T39" fmla="*/ 80 h 80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37" h="80">
                      <a:moveTo>
                        <a:pt x="26" y="80"/>
                      </a:moveTo>
                      <a:lnTo>
                        <a:pt x="16" y="75"/>
                      </a:lnTo>
                      <a:lnTo>
                        <a:pt x="10" y="70"/>
                      </a:lnTo>
                      <a:lnTo>
                        <a:pt x="5" y="43"/>
                      </a:lnTo>
                      <a:lnTo>
                        <a:pt x="0" y="11"/>
                      </a:lnTo>
                      <a:lnTo>
                        <a:pt x="5" y="0"/>
                      </a:lnTo>
                      <a:lnTo>
                        <a:pt x="16" y="0"/>
                      </a:lnTo>
                      <a:lnTo>
                        <a:pt x="26" y="11"/>
                      </a:lnTo>
                      <a:lnTo>
                        <a:pt x="37" y="38"/>
                      </a:lnTo>
                      <a:lnTo>
                        <a:pt x="37" y="64"/>
                      </a:lnTo>
                      <a:lnTo>
                        <a:pt x="26" y="8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89" name="Freeform 809"/>
                <p:cNvSpPr>
                  <a:spLocks/>
                </p:cNvSpPr>
                <p:nvPr/>
              </p:nvSpPr>
              <p:spPr bwMode="auto">
                <a:xfrm>
                  <a:off x="2651" y="2129"/>
                  <a:ext cx="11" cy="48"/>
                </a:xfrm>
                <a:custGeom>
                  <a:avLst/>
                  <a:gdLst>
                    <a:gd name="T0" fmla="*/ 11 w 11"/>
                    <a:gd name="T1" fmla="*/ 0 h 48"/>
                    <a:gd name="T2" fmla="*/ 11 w 11"/>
                    <a:gd name="T3" fmla="*/ 0 h 48"/>
                    <a:gd name="T4" fmla="*/ 11 w 11"/>
                    <a:gd name="T5" fmla="*/ 6 h 48"/>
                    <a:gd name="T6" fmla="*/ 5 w 11"/>
                    <a:gd name="T7" fmla="*/ 32 h 48"/>
                    <a:gd name="T8" fmla="*/ 0 w 11"/>
                    <a:gd name="T9" fmla="*/ 48 h 4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1"/>
                    <a:gd name="T16" fmla="*/ 0 h 48"/>
                    <a:gd name="T17" fmla="*/ 11 w 11"/>
                    <a:gd name="T18" fmla="*/ 48 h 4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1" h="48">
                      <a:moveTo>
                        <a:pt x="11" y="0"/>
                      </a:moveTo>
                      <a:lnTo>
                        <a:pt x="11" y="0"/>
                      </a:lnTo>
                      <a:lnTo>
                        <a:pt x="11" y="6"/>
                      </a:lnTo>
                      <a:lnTo>
                        <a:pt x="5" y="32"/>
                      </a:lnTo>
                      <a:lnTo>
                        <a:pt x="0" y="48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90" name="Freeform 810"/>
                <p:cNvSpPr>
                  <a:spLocks/>
                </p:cNvSpPr>
                <p:nvPr/>
              </p:nvSpPr>
              <p:spPr bwMode="auto">
                <a:xfrm>
                  <a:off x="2656" y="2156"/>
                  <a:ext cx="11" cy="16"/>
                </a:xfrm>
                <a:custGeom>
                  <a:avLst/>
                  <a:gdLst>
                    <a:gd name="T0" fmla="*/ 11 w 11"/>
                    <a:gd name="T1" fmla="*/ 0 h 16"/>
                    <a:gd name="T2" fmla="*/ 6 w 11"/>
                    <a:gd name="T3" fmla="*/ 11 h 16"/>
                    <a:gd name="T4" fmla="*/ 0 w 11"/>
                    <a:gd name="T5" fmla="*/ 16 h 16"/>
                    <a:gd name="T6" fmla="*/ 0 60000 65536"/>
                    <a:gd name="T7" fmla="*/ 0 60000 65536"/>
                    <a:gd name="T8" fmla="*/ 0 60000 65536"/>
                    <a:gd name="T9" fmla="*/ 0 w 11"/>
                    <a:gd name="T10" fmla="*/ 0 h 16"/>
                    <a:gd name="T11" fmla="*/ 11 w 11"/>
                    <a:gd name="T12" fmla="*/ 16 h 1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1" h="16">
                      <a:moveTo>
                        <a:pt x="11" y="0"/>
                      </a:moveTo>
                      <a:lnTo>
                        <a:pt x="6" y="11"/>
                      </a:lnTo>
                      <a:lnTo>
                        <a:pt x="0" y="16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91" name="Freeform 811"/>
                <p:cNvSpPr>
                  <a:spLocks/>
                </p:cNvSpPr>
                <p:nvPr/>
              </p:nvSpPr>
              <p:spPr bwMode="auto">
                <a:xfrm>
                  <a:off x="2656" y="2161"/>
                  <a:ext cx="11" cy="11"/>
                </a:xfrm>
                <a:custGeom>
                  <a:avLst/>
                  <a:gdLst>
                    <a:gd name="T0" fmla="*/ 11 w 11"/>
                    <a:gd name="T1" fmla="*/ 0 h 11"/>
                    <a:gd name="T2" fmla="*/ 6 w 11"/>
                    <a:gd name="T3" fmla="*/ 6 h 11"/>
                    <a:gd name="T4" fmla="*/ 0 w 11"/>
                    <a:gd name="T5" fmla="*/ 11 h 11"/>
                    <a:gd name="T6" fmla="*/ 0 60000 65536"/>
                    <a:gd name="T7" fmla="*/ 0 60000 65536"/>
                    <a:gd name="T8" fmla="*/ 0 60000 65536"/>
                    <a:gd name="T9" fmla="*/ 0 w 11"/>
                    <a:gd name="T10" fmla="*/ 0 h 11"/>
                    <a:gd name="T11" fmla="*/ 11 w 11"/>
                    <a:gd name="T12" fmla="*/ 11 h 1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1" h="11">
                      <a:moveTo>
                        <a:pt x="11" y="0"/>
                      </a:moveTo>
                      <a:lnTo>
                        <a:pt x="6" y="6"/>
                      </a:lnTo>
                      <a:lnTo>
                        <a:pt x="0" y="11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92" name="Freeform 812"/>
                <p:cNvSpPr>
                  <a:spLocks/>
                </p:cNvSpPr>
                <p:nvPr/>
              </p:nvSpPr>
              <p:spPr bwMode="auto">
                <a:xfrm>
                  <a:off x="2619" y="2097"/>
                  <a:ext cx="26" cy="80"/>
                </a:xfrm>
                <a:custGeom>
                  <a:avLst/>
                  <a:gdLst>
                    <a:gd name="T0" fmla="*/ 26 w 26"/>
                    <a:gd name="T1" fmla="*/ 80 h 80"/>
                    <a:gd name="T2" fmla="*/ 16 w 26"/>
                    <a:gd name="T3" fmla="*/ 75 h 80"/>
                    <a:gd name="T4" fmla="*/ 10 w 26"/>
                    <a:gd name="T5" fmla="*/ 70 h 80"/>
                    <a:gd name="T6" fmla="*/ 5 w 26"/>
                    <a:gd name="T7" fmla="*/ 43 h 80"/>
                    <a:gd name="T8" fmla="*/ 0 w 26"/>
                    <a:gd name="T9" fmla="*/ 11 h 80"/>
                    <a:gd name="T10" fmla="*/ 16 w 26"/>
                    <a:gd name="T11" fmla="*/ 0 h 80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26"/>
                    <a:gd name="T19" fmla="*/ 0 h 80"/>
                    <a:gd name="T20" fmla="*/ 26 w 26"/>
                    <a:gd name="T21" fmla="*/ 80 h 80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26" h="80">
                      <a:moveTo>
                        <a:pt x="26" y="80"/>
                      </a:moveTo>
                      <a:lnTo>
                        <a:pt x="16" y="75"/>
                      </a:lnTo>
                      <a:lnTo>
                        <a:pt x="10" y="70"/>
                      </a:lnTo>
                      <a:lnTo>
                        <a:pt x="5" y="43"/>
                      </a:lnTo>
                      <a:lnTo>
                        <a:pt x="0" y="11"/>
                      </a:lnTo>
                      <a:lnTo>
                        <a:pt x="16" y="0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93" name="Freeform 813"/>
                <p:cNvSpPr>
                  <a:spLocks/>
                </p:cNvSpPr>
                <p:nvPr/>
              </p:nvSpPr>
              <p:spPr bwMode="auto">
                <a:xfrm>
                  <a:off x="2619" y="2103"/>
                  <a:ext cx="32" cy="69"/>
                </a:xfrm>
                <a:custGeom>
                  <a:avLst/>
                  <a:gdLst>
                    <a:gd name="T0" fmla="*/ 26 w 32"/>
                    <a:gd name="T1" fmla="*/ 69 h 69"/>
                    <a:gd name="T2" fmla="*/ 10 w 32"/>
                    <a:gd name="T3" fmla="*/ 58 h 69"/>
                    <a:gd name="T4" fmla="*/ 5 w 32"/>
                    <a:gd name="T5" fmla="*/ 37 h 69"/>
                    <a:gd name="T6" fmla="*/ 0 w 32"/>
                    <a:gd name="T7" fmla="*/ 10 h 69"/>
                    <a:gd name="T8" fmla="*/ 5 w 32"/>
                    <a:gd name="T9" fmla="*/ 0 h 69"/>
                    <a:gd name="T10" fmla="*/ 16 w 32"/>
                    <a:gd name="T11" fmla="*/ 0 h 69"/>
                    <a:gd name="T12" fmla="*/ 21 w 32"/>
                    <a:gd name="T13" fmla="*/ 5 h 69"/>
                    <a:gd name="T14" fmla="*/ 32 w 32"/>
                    <a:gd name="T15" fmla="*/ 32 h 69"/>
                    <a:gd name="T16" fmla="*/ 32 w 32"/>
                    <a:gd name="T17" fmla="*/ 53 h 69"/>
                    <a:gd name="T18" fmla="*/ 26 w 32"/>
                    <a:gd name="T19" fmla="*/ 64 h 69"/>
                    <a:gd name="T20" fmla="*/ 26 w 32"/>
                    <a:gd name="T21" fmla="*/ 69 h 69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32"/>
                    <a:gd name="T34" fmla="*/ 0 h 69"/>
                    <a:gd name="T35" fmla="*/ 32 w 32"/>
                    <a:gd name="T36" fmla="*/ 69 h 69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32" h="69">
                      <a:moveTo>
                        <a:pt x="26" y="69"/>
                      </a:moveTo>
                      <a:lnTo>
                        <a:pt x="10" y="58"/>
                      </a:lnTo>
                      <a:lnTo>
                        <a:pt x="5" y="37"/>
                      </a:lnTo>
                      <a:lnTo>
                        <a:pt x="0" y="10"/>
                      </a:lnTo>
                      <a:lnTo>
                        <a:pt x="5" y="0"/>
                      </a:lnTo>
                      <a:lnTo>
                        <a:pt x="16" y="0"/>
                      </a:lnTo>
                      <a:lnTo>
                        <a:pt x="21" y="5"/>
                      </a:lnTo>
                      <a:lnTo>
                        <a:pt x="32" y="32"/>
                      </a:lnTo>
                      <a:lnTo>
                        <a:pt x="32" y="53"/>
                      </a:lnTo>
                      <a:lnTo>
                        <a:pt x="26" y="64"/>
                      </a:lnTo>
                      <a:lnTo>
                        <a:pt x="26" y="69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94" name="Freeform 814"/>
                <p:cNvSpPr>
                  <a:spLocks/>
                </p:cNvSpPr>
                <p:nvPr/>
              </p:nvSpPr>
              <p:spPr bwMode="auto">
                <a:xfrm>
                  <a:off x="2629" y="2113"/>
                  <a:ext cx="16" cy="43"/>
                </a:xfrm>
                <a:custGeom>
                  <a:avLst/>
                  <a:gdLst>
                    <a:gd name="T0" fmla="*/ 11 w 16"/>
                    <a:gd name="T1" fmla="*/ 43 h 43"/>
                    <a:gd name="T2" fmla="*/ 6 w 16"/>
                    <a:gd name="T3" fmla="*/ 43 h 43"/>
                    <a:gd name="T4" fmla="*/ 0 w 16"/>
                    <a:gd name="T5" fmla="*/ 38 h 43"/>
                    <a:gd name="T6" fmla="*/ 0 w 16"/>
                    <a:gd name="T7" fmla="*/ 27 h 43"/>
                    <a:gd name="T8" fmla="*/ 0 w 16"/>
                    <a:gd name="T9" fmla="*/ 11 h 43"/>
                    <a:gd name="T10" fmla="*/ 6 w 16"/>
                    <a:gd name="T11" fmla="*/ 0 h 43"/>
                    <a:gd name="T12" fmla="*/ 11 w 16"/>
                    <a:gd name="T13" fmla="*/ 6 h 43"/>
                    <a:gd name="T14" fmla="*/ 16 w 16"/>
                    <a:gd name="T15" fmla="*/ 22 h 43"/>
                    <a:gd name="T16" fmla="*/ 16 w 16"/>
                    <a:gd name="T17" fmla="*/ 32 h 43"/>
                    <a:gd name="T18" fmla="*/ 11 w 16"/>
                    <a:gd name="T19" fmla="*/ 43 h 43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w 16"/>
                    <a:gd name="T31" fmla="*/ 0 h 43"/>
                    <a:gd name="T32" fmla="*/ 16 w 16"/>
                    <a:gd name="T33" fmla="*/ 43 h 43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T30" t="T31" r="T32" b="T33"/>
                  <a:pathLst>
                    <a:path w="16" h="43">
                      <a:moveTo>
                        <a:pt x="11" y="43"/>
                      </a:moveTo>
                      <a:lnTo>
                        <a:pt x="6" y="43"/>
                      </a:lnTo>
                      <a:lnTo>
                        <a:pt x="0" y="38"/>
                      </a:lnTo>
                      <a:lnTo>
                        <a:pt x="0" y="27"/>
                      </a:lnTo>
                      <a:lnTo>
                        <a:pt x="0" y="11"/>
                      </a:lnTo>
                      <a:lnTo>
                        <a:pt x="6" y="0"/>
                      </a:lnTo>
                      <a:lnTo>
                        <a:pt x="11" y="6"/>
                      </a:lnTo>
                      <a:lnTo>
                        <a:pt x="16" y="22"/>
                      </a:lnTo>
                      <a:lnTo>
                        <a:pt x="16" y="32"/>
                      </a:lnTo>
                      <a:lnTo>
                        <a:pt x="11" y="43"/>
                      </a:lnTo>
                    </a:path>
                  </a:pathLst>
                </a:custGeom>
                <a:noFill/>
                <a:ln w="0">
                  <a:solidFill>
                    <a:srgbClr val="25221E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38295" name="Freeform 815"/>
                <p:cNvSpPr>
                  <a:spLocks/>
                </p:cNvSpPr>
                <p:nvPr/>
              </p:nvSpPr>
              <p:spPr bwMode="auto">
                <a:xfrm>
                  <a:off x="2629" y="2140"/>
                  <a:ext cx="1" cy="1"/>
                </a:xfrm>
                <a:custGeom>
                  <a:avLst/>
                  <a:gdLst>
                    <a:gd name="T0" fmla="*/ 0 w 1"/>
                    <a:gd name="T1" fmla="*/ 0 h 1"/>
                    <a:gd name="T2" fmla="*/ 0 w 1"/>
                    <a:gd name="T3" fmla="*/ 0 h 1"/>
                    <a:gd name="T4" fmla="*/ 0 w 1"/>
                    <a:gd name="T5" fmla="*/ 0 h 1"/>
                    <a:gd name="T6" fmla="*/ 0 60000 65536"/>
                    <a:gd name="T7" fmla="*/ 0 60000 65536"/>
                    <a:gd name="T8" fmla="*/ 0 60000 65536"/>
                    <a:gd name="T9" fmla="*/ 0 w 1"/>
                    <a:gd name="T10" fmla="*/ 0 h 1"/>
                    <a:gd name="T11" fmla="*/ 1 w 1"/>
                    <a:gd name="T12" fmla="*/ 1 h 1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T9" t="T10" r="T11" b="T12"/>
                  <a:pathLst>
                    <a:path w="1" h="1">
                      <a:moveTo>
                        <a:pt x="0" y="0"/>
                      </a:move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5221E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</p:grpSp>
          <p:sp>
            <p:nvSpPr>
              <p:cNvPr id="37923" name="Freeform 816"/>
              <p:cNvSpPr>
                <a:spLocks/>
              </p:cNvSpPr>
              <p:nvPr/>
            </p:nvSpPr>
            <p:spPr bwMode="auto">
              <a:xfrm>
                <a:off x="3355959" y="3344813"/>
                <a:ext cx="1720" cy="1588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0 w 1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"/>
                  <a:gd name="T11" fmla="*/ 1 w 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24" name="Rectangle 817"/>
              <p:cNvSpPr>
                <a:spLocks noChangeArrowheads="1"/>
              </p:cNvSpPr>
              <p:nvPr/>
            </p:nvSpPr>
            <p:spPr bwMode="auto">
              <a:xfrm>
                <a:off x="3355959" y="3344813"/>
                <a:ext cx="1720" cy="1588"/>
              </a:xfrm>
              <a:prstGeom prst="rect">
                <a:avLst/>
              </a:prstGeom>
              <a:solidFill>
                <a:srgbClr val="25221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25" name="Rectangle 818"/>
              <p:cNvSpPr>
                <a:spLocks noChangeArrowheads="1"/>
              </p:cNvSpPr>
              <p:nvPr/>
            </p:nvSpPr>
            <p:spPr bwMode="auto">
              <a:xfrm>
                <a:off x="3355959" y="3344813"/>
                <a:ext cx="1720" cy="1588"/>
              </a:xfrm>
              <a:prstGeom prst="rect">
                <a:avLst/>
              </a:prstGeom>
              <a:solidFill>
                <a:srgbClr val="25221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26" name="Rectangle 819"/>
              <p:cNvSpPr>
                <a:spLocks noChangeArrowheads="1"/>
              </p:cNvSpPr>
              <p:nvPr/>
            </p:nvSpPr>
            <p:spPr bwMode="auto">
              <a:xfrm>
                <a:off x="3355959" y="3344813"/>
                <a:ext cx="1720" cy="1588"/>
              </a:xfrm>
              <a:prstGeom prst="rect">
                <a:avLst/>
              </a:prstGeom>
              <a:solidFill>
                <a:srgbClr val="25221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27" name="Freeform 820"/>
              <p:cNvSpPr>
                <a:spLocks/>
              </p:cNvSpPr>
              <p:nvPr/>
            </p:nvSpPr>
            <p:spPr bwMode="auto">
              <a:xfrm>
                <a:off x="3355959" y="3344813"/>
                <a:ext cx="1720" cy="1588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0 w 1"/>
                  <a:gd name="T5" fmla="*/ 0 h 1"/>
                  <a:gd name="T6" fmla="*/ 0 w 1"/>
                  <a:gd name="T7" fmla="*/ 0 h 1"/>
                  <a:gd name="T8" fmla="*/ 0 w 1"/>
                  <a:gd name="T9" fmla="*/ 0 h 1"/>
                  <a:gd name="T10" fmla="*/ 0 w 1"/>
                  <a:gd name="T11" fmla="*/ 0 h 1"/>
                  <a:gd name="T12" fmla="*/ 0 w 1"/>
                  <a:gd name="T13" fmla="*/ 0 h 1"/>
                  <a:gd name="T14" fmla="*/ 0 w 1"/>
                  <a:gd name="T15" fmla="*/ 0 h 1"/>
                  <a:gd name="T16" fmla="*/ 0 w 1"/>
                  <a:gd name="T17" fmla="*/ 0 h 1"/>
                  <a:gd name="T18" fmla="*/ 0 w 1"/>
                  <a:gd name="T19" fmla="*/ 0 h 1"/>
                  <a:gd name="T20" fmla="*/ 0 w 1"/>
                  <a:gd name="T21" fmla="*/ 0 h 1"/>
                  <a:gd name="T22" fmla="*/ 0 w 1"/>
                  <a:gd name="T23" fmla="*/ 0 h 1"/>
                  <a:gd name="T24" fmla="*/ 0 w 1"/>
                  <a:gd name="T25" fmla="*/ 0 h 1"/>
                  <a:gd name="T26" fmla="*/ 0 w 1"/>
                  <a:gd name="T27" fmla="*/ 0 h 1"/>
                  <a:gd name="T28" fmla="*/ 0 w 1"/>
                  <a:gd name="T29" fmla="*/ 0 h 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"/>
                  <a:gd name="T46" fmla="*/ 0 h 1"/>
                  <a:gd name="T47" fmla="*/ 1 w 1"/>
                  <a:gd name="T48" fmla="*/ 1 h 1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28" name="Freeform 821"/>
              <p:cNvSpPr>
                <a:spLocks/>
              </p:cNvSpPr>
              <p:nvPr/>
            </p:nvSpPr>
            <p:spPr bwMode="auto">
              <a:xfrm>
                <a:off x="3355959" y="3301951"/>
                <a:ext cx="10319" cy="42863"/>
              </a:xfrm>
              <a:custGeom>
                <a:avLst/>
                <a:gdLst>
                  <a:gd name="T0" fmla="*/ 0 w 6"/>
                  <a:gd name="T1" fmla="*/ 27 h 27"/>
                  <a:gd name="T2" fmla="*/ 0 w 6"/>
                  <a:gd name="T3" fmla="*/ 27 h 27"/>
                  <a:gd name="T4" fmla="*/ 0 w 6"/>
                  <a:gd name="T5" fmla="*/ 22 h 27"/>
                  <a:gd name="T6" fmla="*/ 0 w 6"/>
                  <a:gd name="T7" fmla="*/ 22 h 27"/>
                  <a:gd name="T8" fmla="*/ 0 w 6"/>
                  <a:gd name="T9" fmla="*/ 22 h 27"/>
                  <a:gd name="T10" fmla="*/ 0 w 6"/>
                  <a:gd name="T11" fmla="*/ 22 h 27"/>
                  <a:gd name="T12" fmla="*/ 0 w 6"/>
                  <a:gd name="T13" fmla="*/ 16 h 27"/>
                  <a:gd name="T14" fmla="*/ 0 w 6"/>
                  <a:gd name="T15" fmla="*/ 16 h 27"/>
                  <a:gd name="T16" fmla="*/ 0 w 6"/>
                  <a:gd name="T17" fmla="*/ 16 h 27"/>
                  <a:gd name="T18" fmla="*/ 0 w 6"/>
                  <a:gd name="T19" fmla="*/ 16 h 27"/>
                  <a:gd name="T20" fmla="*/ 0 w 6"/>
                  <a:gd name="T21" fmla="*/ 11 h 27"/>
                  <a:gd name="T22" fmla="*/ 0 w 6"/>
                  <a:gd name="T23" fmla="*/ 11 h 27"/>
                  <a:gd name="T24" fmla="*/ 0 w 6"/>
                  <a:gd name="T25" fmla="*/ 11 h 27"/>
                  <a:gd name="T26" fmla="*/ 0 w 6"/>
                  <a:gd name="T27" fmla="*/ 11 h 27"/>
                  <a:gd name="T28" fmla="*/ 0 w 6"/>
                  <a:gd name="T29" fmla="*/ 6 h 27"/>
                  <a:gd name="T30" fmla="*/ 0 w 6"/>
                  <a:gd name="T31" fmla="*/ 6 h 27"/>
                  <a:gd name="T32" fmla="*/ 0 w 6"/>
                  <a:gd name="T33" fmla="*/ 6 h 27"/>
                  <a:gd name="T34" fmla="*/ 0 w 6"/>
                  <a:gd name="T35" fmla="*/ 6 h 27"/>
                  <a:gd name="T36" fmla="*/ 0 w 6"/>
                  <a:gd name="T37" fmla="*/ 6 h 27"/>
                  <a:gd name="T38" fmla="*/ 0 w 6"/>
                  <a:gd name="T39" fmla="*/ 6 h 27"/>
                  <a:gd name="T40" fmla="*/ 0 w 6"/>
                  <a:gd name="T41" fmla="*/ 6 h 27"/>
                  <a:gd name="T42" fmla="*/ 6 w 6"/>
                  <a:gd name="T43" fmla="*/ 0 h 27"/>
                  <a:gd name="T44" fmla="*/ 6 w 6"/>
                  <a:gd name="T45" fmla="*/ 0 h 27"/>
                  <a:gd name="T46" fmla="*/ 6 w 6"/>
                  <a:gd name="T47" fmla="*/ 0 h 27"/>
                  <a:gd name="T48" fmla="*/ 6 w 6"/>
                  <a:gd name="T49" fmla="*/ 6 h 27"/>
                  <a:gd name="T50" fmla="*/ 6 w 6"/>
                  <a:gd name="T51" fmla="*/ 6 h 27"/>
                  <a:gd name="T52" fmla="*/ 6 w 6"/>
                  <a:gd name="T53" fmla="*/ 6 h 27"/>
                  <a:gd name="T54" fmla="*/ 6 w 6"/>
                  <a:gd name="T55" fmla="*/ 6 h 27"/>
                  <a:gd name="T56" fmla="*/ 6 w 6"/>
                  <a:gd name="T57" fmla="*/ 6 h 27"/>
                  <a:gd name="T58" fmla="*/ 0 w 6"/>
                  <a:gd name="T59" fmla="*/ 6 h 27"/>
                  <a:gd name="T60" fmla="*/ 0 w 6"/>
                  <a:gd name="T61" fmla="*/ 6 h 27"/>
                  <a:gd name="T62" fmla="*/ 0 w 6"/>
                  <a:gd name="T63" fmla="*/ 6 h 27"/>
                  <a:gd name="T64" fmla="*/ 0 w 6"/>
                  <a:gd name="T65" fmla="*/ 6 h 27"/>
                  <a:gd name="T66" fmla="*/ 0 w 6"/>
                  <a:gd name="T67" fmla="*/ 11 h 27"/>
                  <a:gd name="T68" fmla="*/ 0 w 6"/>
                  <a:gd name="T69" fmla="*/ 11 h 27"/>
                  <a:gd name="T70" fmla="*/ 0 w 6"/>
                  <a:gd name="T71" fmla="*/ 11 h 27"/>
                  <a:gd name="T72" fmla="*/ 0 w 6"/>
                  <a:gd name="T73" fmla="*/ 11 h 27"/>
                  <a:gd name="T74" fmla="*/ 0 w 6"/>
                  <a:gd name="T75" fmla="*/ 11 h 27"/>
                  <a:gd name="T76" fmla="*/ 0 w 6"/>
                  <a:gd name="T77" fmla="*/ 16 h 27"/>
                  <a:gd name="T78" fmla="*/ 0 w 6"/>
                  <a:gd name="T79" fmla="*/ 16 h 27"/>
                  <a:gd name="T80" fmla="*/ 0 w 6"/>
                  <a:gd name="T81" fmla="*/ 16 h 27"/>
                  <a:gd name="T82" fmla="*/ 0 w 6"/>
                  <a:gd name="T83" fmla="*/ 16 h 27"/>
                  <a:gd name="T84" fmla="*/ 0 w 6"/>
                  <a:gd name="T85" fmla="*/ 22 h 27"/>
                  <a:gd name="T86" fmla="*/ 0 w 6"/>
                  <a:gd name="T87" fmla="*/ 22 h 27"/>
                  <a:gd name="T88" fmla="*/ 0 w 6"/>
                  <a:gd name="T89" fmla="*/ 22 h 27"/>
                  <a:gd name="T90" fmla="*/ 0 w 6"/>
                  <a:gd name="T91" fmla="*/ 22 h 27"/>
                  <a:gd name="T92" fmla="*/ 0 w 6"/>
                  <a:gd name="T93" fmla="*/ 27 h 27"/>
                  <a:gd name="T94" fmla="*/ 0 w 6"/>
                  <a:gd name="T95" fmla="*/ 27 h 2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6"/>
                  <a:gd name="T145" fmla="*/ 0 h 27"/>
                  <a:gd name="T146" fmla="*/ 6 w 6"/>
                  <a:gd name="T147" fmla="*/ 27 h 27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6" h="27">
                    <a:moveTo>
                      <a:pt x="0" y="27"/>
                    </a:moveTo>
                    <a:lnTo>
                      <a:pt x="0" y="27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0" y="27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29" name="Freeform 822"/>
              <p:cNvSpPr>
                <a:spLocks/>
              </p:cNvSpPr>
              <p:nvPr/>
            </p:nvSpPr>
            <p:spPr bwMode="auto">
              <a:xfrm>
                <a:off x="3366277" y="3301951"/>
                <a:ext cx="17198" cy="34925"/>
              </a:xfrm>
              <a:custGeom>
                <a:avLst/>
                <a:gdLst>
                  <a:gd name="T0" fmla="*/ 0 w 10"/>
                  <a:gd name="T1" fmla="*/ 0 h 22"/>
                  <a:gd name="T2" fmla="*/ 0 w 10"/>
                  <a:gd name="T3" fmla="*/ 0 h 22"/>
                  <a:gd name="T4" fmla="*/ 0 w 10"/>
                  <a:gd name="T5" fmla="*/ 0 h 22"/>
                  <a:gd name="T6" fmla="*/ 0 w 10"/>
                  <a:gd name="T7" fmla="*/ 0 h 22"/>
                  <a:gd name="T8" fmla="*/ 0 w 10"/>
                  <a:gd name="T9" fmla="*/ 0 h 22"/>
                  <a:gd name="T10" fmla="*/ 5 w 10"/>
                  <a:gd name="T11" fmla="*/ 0 h 22"/>
                  <a:gd name="T12" fmla="*/ 5 w 10"/>
                  <a:gd name="T13" fmla="*/ 6 h 22"/>
                  <a:gd name="T14" fmla="*/ 5 w 10"/>
                  <a:gd name="T15" fmla="*/ 6 h 22"/>
                  <a:gd name="T16" fmla="*/ 5 w 10"/>
                  <a:gd name="T17" fmla="*/ 6 h 22"/>
                  <a:gd name="T18" fmla="*/ 5 w 10"/>
                  <a:gd name="T19" fmla="*/ 6 h 22"/>
                  <a:gd name="T20" fmla="*/ 5 w 10"/>
                  <a:gd name="T21" fmla="*/ 6 h 22"/>
                  <a:gd name="T22" fmla="*/ 5 w 10"/>
                  <a:gd name="T23" fmla="*/ 6 h 22"/>
                  <a:gd name="T24" fmla="*/ 5 w 10"/>
                  <a:gd name="T25" fmla="*/ 6 h 22"/>
                  <a:gd name="T26" fmla="*/ 10 w 10"/>
                  <a:gd name="T27" fmla="*/ 11 h 22"/>
                  <a:gd name="T28" fmla="*/ 10 w 10"/>
                  <a:gd name="T29" fmla="*/ 11 h 22"/>
                  <a:gd name="T30" fmla="*/ 10 w 10"/>
                  <a:gd name="T31" fmla="*/ 11 h 22"/>
                  <a:gd name="T32" fmla="*/ 10 w 10"/>
                  <a:gd name="T33" fmla="*/ 11 h 22"/>
                  <a:gd name="T34" fmla="*/ 10 w 10"/>
                  <a:gd name="T35" fmla="*/ 16 h 22"/>
                  <a:gd name="T36" fmla="*/ 10 w 10"/>
                  <a:gd name="T37" fmla="*/ 16 h 22"/>
                  <a:gd name="T38" fmla="*/ 10 w 10"/>
                  <a:gd name="T39" fmla="*/ 16 h 22"/>
                  <a:gd name="T40" fmla="*/ 10 w 10"/>
                  <a:gd name="T41" fmla="*/ 16 h 22"/>
                  <a:gd name="T42" fmla="*/ 10 w 10"/>
                  <a:gd name="T43" fmla="*/ 22 h 22"/>
                  <a:gd name="T44" fmla="*/ 10 w 10"/>
                  <a:gd name="T45" fmla="*/ 22 h 22"/>
                  <a:gd name="T46" fmla="*/ 10 w 10"/>
                  <a:gd name="T47" fmla="*/ 22 h 22"/>
                  <a:gd name="T48" fmla="*/ 10 w 10"/>
                  <a:gd name="T49" fmla="*/ 22 h 22"/>
                  <a:gd name="T50" fmla="*/ 10 w 10"/>
                  <a:gd name="T51" fmla="*/ 22 h 22"/>
                  <a:gd name="T52" fmla="*/ 10 w 10"/>
                  <a:gd name="T53" fmla="*/ 22 h 22"/>
                  <a:gd name="T54" fmla="*/ 10 w 10"/>
                  <a:gd name="T55" fmla="*/ 16 h 22"/>
                  <a:gd name="T56" fmla="*/ 10 w 10"/>
                  <a:gd name="T57" fmla="*/ 16 h 22"/>
                  <a:gd name="T58" fmla="*/ 10 w 10"/>
                  <a:gd name="T59" fmla="*/ 16 h 22"/>
                  <a:gd name="T60" fmla="*/ 10 w 10"/>
                  <a:gd name="T61" fmla="*/ 16 h 22"/>
                  <a:gd name="T62" fmla="*/ 10 w 10"/>
                  <a:gd name="T63" fmla="*/ 11 h 22"/>
                  <a:gd name="T64" fmla="*/ 10 w 10"/>
                  <a:gd name="T65" fmla="*/ 11 h 22"/>
                  <a:gd name="T66" fmla="*/ 5 w 10"/>
                  <a:gd name="T67" fmla="*/ 11 h 22"/>
                  <a:gd name="T68" fmla="*/ 5 w 10"/>
                  <a:gd name="T69" fmla="*/ 11 h 22"/>
                  <a:gd name="T70" fmla="*/ 5 w 10"/>
                  <a:gd name="T71" fmla="*/ 11 h 22"/>
                  <a:gd name="T72" fmla="*/ 5 w 10"/>
                  <a:gd name="T73" fmla="*/ 11 h 22"/>
                  <a:gd name="T74" fmla="*/ 5 w 10"/>
                  <a:gd name="T75" fmla="*/ 6 h 22"/>
                  <a:gd name="T76" fmla="*/ 5 w 10"/>
                  <a:gd name="T77" fmla="*/ 6 h 22"/>
                  <a:gd name="T78" fmla="*/ 5 w 10"/>
                  <a:gd name="T79" fmla="*/ 6 h 22"/>
                  <a:gd name="T80" fmla="*/ 5 w 10"/>
                  <a:gd name="T81" fmla="*/ 6 h 22"/>
                  <a:gd name="T82" fmla="*/ 5 w 10"/>
                  <a:gd name="T83" fmla="*/ 6 h 22"/>
                  <a:gd name="T84" fmla="*/ 5 w 10"/>
                  <a:gd name="T85" fmla="*/ 6 h 22"/>
                  <a:gd name="T86" fmla="*/ 0 w 10"/>
                  <a:gd name="T87" fmla="*/ 6 h 22"/>
                  <a:gd name="T88" fmla="*/ 0 w 10"/>
                  <a:gd name="T89" fmla="*/ 6 h 22"/>
                  <a:gd name="T90" fmla="*/ 0 w 10"/>
                  <a:gd name="T91" fmla="*/ 6 h 22"/>
                  <a:gd name="T92" fmla="*/ 0 w 10"/>
                  <a:gd name="T93" fmla="*/ 6 h 22"/>
                  <a:gd name="T94" fmla="*/ 0 w 10"/>
                  <a:gd name="T95" fmla="*/ 6 h 22"/>
                  <a:gd name="T96" fmla="*/ 0 w 10"/>
                  <a:gd name="T97" fmla="*/ 0 h 2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0"/>
                  <a:gd name="T148" fmla="*/ 0 h 22"/>
                  <a:gd name="T149" fmla="*/ 10 w 10"/>
                  <a:gd name="T150" fmla="*/ 22 h 22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0" h="22">
                    <a:moveTo>
                      <a:pt x="0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5" y="6"/>
                    </a:lnTo>
                    <a:lnTo>
                      <a:pt x="10" y="11"/>
                    </a:lnTo>
                    <a:lnTo>
                      <a:pt x="10" y="16"/>
                    </a:lnTo>
                    <a:lnTo>
                      <a:pt x="10" y="22"/>
                    </a:lnTo>
                    <a:lnTo>
                      <a:pt x="10" y="16"/>
                    </a:lnTo>
                    <a:lnTo>
                      <a:pt x="10" y="11"/>
                    </a:lnTo>
                    <a:lnTo>
                      <a:pt x="5" y="11"/>
                    </a:lnTo>
                    <a:lnTo>
                      <a:pt x="5" y="6"/>
                    </a:lnTo>
                    <a:lnTo>
                      <a:pt x="0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30" name="Freeform 823"/>
              <p:cNvSpPr>
                <a:spLocks/>
              </p:cNvSpPr>
              <p:nvPr/>
            </p:nvSpPr>
            <p:spPr bwMode="auto">
              <a:xfrm>
                <a:off x="3374876" y="3336876"/>
                <a:ext cx="8599" cy="41275"/>
              </a:xfrm>
              <a:custGeom>
                <a:avLst/>
                <a:gdLst>
                  <a:gd name="T0" fmla="*/ 5 w 5"/>
                  <a:gd name="T1" fmla="*/ 0 h 26"/>
                  <a:gd name="T2" fmla="*/ 5 w 5"/>
                  <a:gd name="T3" fmla="*/ 0 h 26"/>
                  <a:gd name="T4" fmla="*/ 5 w 5"/>
                  <a:gd name="T5" fmla="*/ 5 h 26"/>
                  <a:gd name="T6" fmla="*/ 5 w 5"/>
                  <a:gd name="T7" fmla="*/ 5 h 26"/>
                  <a:gd name="T8" fmla="*/ 5 w 5"/>
                  <a:gd name="T9" fmla="*/ 5 h 26"/>
                  <a:gd name="T10" fmla="*/ 5 w 5"/>
                  <a:gd name="T11" fmla="*/ 10 h 26"/>
                  <a:gd name="T12" fmla="*/ 5 w 5"/>
                  <a:gd name="T13" fmla="*/ 10 h 26"/>
                  <a:gd name="T14" fmla="*/ 5 w 5"/>
                  <a:gd name="T15" fmla="*/ 10 h 26"/>
                  <a:gd name="T16" fmla="*/ 5 w 5"/>
                  <a:gd name="T17" fmla="*/ 10 h 26"/>
                  <a:gd name="T18" fmla="*/ 5 w 5"/>
                  <a:gd name="T19" fmla="*/ 16 h 26"/>
                  <a:gd name="T20" fmla="*/ 5 w 5"/>
                  <a:gd name="T21" fmla="*/ 16 h 26"/>
                  <a:gd name="T22" fmla="*/ 5 w 5"/>
                  <a:gd name="T23" fmla="*/ 16 h 26"/>
                  <a:gd name="T24" fmla="*/ 5 w 5"/>
                  <a:gd name="T25" fmla="*/ 16 h 26"/>
                  <a:gd name="T26" fmla="*/ 5 w 5"/>
                  <a:gd name="T27" fmla="*/ 16 h 26"/>
                  <a:gd name="T28" fmla="*/ 5 w 5"/>
                  <a:gd name="T29" fmla="*/ 21 h 26"/>
                  <a:gd name="T30" fmla="*/ 5 w 5"/>
                  <a:gd name="T31" fmla="*/ 21 h 26"/>
                  <a:gd name="T32" fmla="*/ 5 w 5"/>
                  <a:gd name="T33" fmla="*/ 21 h 26"/>
                  <a:gd name="T34" fmla="*/ 5 w 5"/>
                  <a:gd name="T35" fmla="*/ 21 h 26"/>
                  <a:gd name="T36" fmla="*/ 5 w 5"/>
                  <a:gd name="T37" fmla="*/ 21 h 26"/>
                  <a:gd name="T38" fmla="*/ 5 w 5"/>
                  <a:gd name="T39" fmla="*/ 21 h 26"/>
                  <a:gd name="T40" fmla="*/ 5 w 5"/>
                  <a:gd name="T41" fmla="*/ 21 h 26"/>
                  <a:gd name="T42" fmla="*/ 0 w 5"/>
                  <a:gd name="T43" fmla="*/ 21 h 26"/>
                  <a:gd name="T44" fmla="*/ 0 w 5"/>
                  <a:gd name="T45" fmla="*/ 21 h 26"/>
                  <a:gd name="T46" fmla="*/ 0 w 5"/>
                  <a:gd name="T47" fmla="*/ 21 h 26"/>
                  <a:gd name="T48" fmla="*/ 0 w 5"/>
                  <a:gd name="T49" fmla="*/ 21 h 26"/>
                  <a:gd name="T50" fmla="*/ 0 w 5"/>
                  <a:gd name="T51" fmla="*/ 21 h 26"/>
                  <a:gd name="T52" fmla="*/ 0 w 5"/>
                  <a:gd name="T53" fmla="*/ 21 h 26"/>
                  <a:gd name="T54" fmla="*/ 5 w 5"/>
                  <a:gd name="T55" fmla="*/ 21 h 26"/>
                  <a:gd name="T56" fmla="*/ 5 w 5"/>
                  <a:gd name="T57" fmla="*/ 21 h 26"/>
                  <a:gd name="T58" fmla="*/ 5 w 5"/>
                  <a:gd name="T59" fmla="*/ 21 h 26"/>
                  <a:gd name="T60" fmla="*/ 5 w 5"/>
                  <a:gd name="T61" fmla="*/ 21 h 26"/>
                  <a:gd name="T62" fmla="*/ 5 w 5"/>
                  <a:gd name="T63" fmla="*/ 21 h 26"/>
                  <a:gd name="T64" fmla="*/ 5 w 5"/>
                  <a:gd name="T65" fmla="*/ 21 h 26"/>
                  <a:gd name="T66" fmla="*/ 5 w 5"/>
                  <a:gd name="T67" fmla="*/ 16 h 26"/>
                  <a:gd name="T68" fmla="*/ 5 w 5"/>
                  <a:gd name="T69" fmla="*/ 16 h 26"/>
                  <a:gd name="T70" fmla="*/ 5 w 5"/>
                  <a:gd name="T71" fmla="*/ 16 h 26"/>
                  <a:gd name="T72" fmla="*/ 5 w 5"/>
                  <a:gd name="T73" fmla="*/ 16 h 26"/>
                  <a:gd name="T74" fmla="*/ 5 w 5"/>
                  <a:gd name="T75" fmla="*/ 16 h 26"/>
                  <a:gd name="T76" fmla="*/ 5 w 5"/>
                  <a:gd name="T77" fmla="*/ 10 h 26"/>
                  <a:gd name="T78" fmla="*/ 5 w 5"/>
                  <a:gd name="T79" fmla="*/ 10 h 26"/>
                  <a:gd name="T80" fmla="*/ 5 w 5"/>
                  <a:gd name="T81" fmla="*/ 10 h 26"/>
                  <a:gd name="T82" fmla="*/ 5 w 5"/>
                  <a:gd name="T83" fmla="*/ 10 h 26"/>
                  <a:gd name="T84" fmla="*/ 5 w 5"/>
                  <a:gd name="T85" fmla="*/ 5 h 26"/>
                  <a:gd name="T86" fmla="*/ 5 w 5"/>
                  <a:gd name="T87" fmla="*/ 5 h 26"/>
                  <a:gd name="T88" fmla="*/ 5 w 5"/>
                  <a:gd name="T89" fmla="*/ 5 h 26"/>
                  <a:gd name="T90" fmla="*/ 5 w 5"/>
                  <a:gd name="T91" fmla="*/ 5 h 26"/>
                  <a:gd name="T92" fmla="*/ 5 w 5"/>
                  <a:gd name="T93" fmla="*/ 0 h 26"/>
                  <a:gd name="T94" fmla="*/ 5 w 5"/>
                  <a:gd name="T95" fmla="*/ 0 h 2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5"/>
                  <a:gd name="T145" fmla="*/ 0 h 26"/>
                  <a:gd name="T146" fmla="*/ 5 w 5"/>
                  <a:gd name="T147" fmla="*/ 26 h 2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5" h="26">
                    <a:moveTo>
                      <a:pt x="5" y="0"/>
                    </a:moveTo>
                    <a:lnTo>
                      <a:pt x="5" y="0"/>
                    </a:lnTo>
                    <a:lnTo>
                      <a:pt x="5" y="5"/>
                    </a:lnTo>
                    <a:lnTo>
                      <a:pt x="5" y="10"/>
                    </a:lnTo>
                    <a:lnTo>
                      <a:pt x="5" y="16"/>
                    </a:lnTo>
                    <a:lnTo>
                      <a:pt x="5" y="21"/>
                    </a:lnTo>
                    <a:lnTo>
                      <a:pt x="0" y="21"/>
                    </a:lnTo>
                    <a:lnTo>
                      <a:pt x="0" y="26"/>
                    </a:lnTo>
                    <a:lnTo>
                      <a:pt x="0" y="21"/>
                    </a:lnTo>
                    <a:lnTo>
                      <a:pt x="5" y="21"/>
                    </a:lnTo>
                    <a:lnTo>
                      <a:pt x="5" y="16"/>
                    </a:lnTo>
                    <a:lnTo>
                      <a:pt x="5" y="10"/>
                    </a:lnTo>
                    <a:lnTo>
                      <a:pt x="5" y="5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31" name="Freeform 824"/>
              <p:cNvSpPr>
                <a:spLocks/>
              </p:cNvSpPr>
              <p:nvPr/>
            </p:nvSpPr>
            <p:spPr bwMode="auto">
              <a:xfrm>
                <a:off x="3366277" y="3311476"/>
                <a:ext cx="17198" cy="58738"/>
              </a:xfrm>
              <a:custGeom>
                <a:avLst/>
                <a:gdLst>
                  <a:gd name="T0" fmla="*/ 10 w 10"/>
                  <a:gd name="T1" fmla="*/ 37 h 37"/>
                  <a:gd name="T2" fmla="*/ 0 w 10"/>
                  <a:gd name="T3" fmla="*/ 26 h 37"/>
                  <a:gd name="T4" fmla="*/ 0 w 10"/>
                  <a:gd name="T5" fmla="*/ 16 h 37"/>
                  <a:gd name="T6" fmla="*/ 0 w 10"/>
                  <a:gd name="T7" fmla="*/ 5 h 37"/>
                  <a:gd name="T8" fmla="*/ 5 w 10"/>
                  <a:gd name="T9" fmla="*/ 0 h 3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37"/>
                  <a:gd name="T17" fmla="*/ 10 w 10"/>
                  <a:gd name="T18" fmla="*/ 37 h 3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37">
                    <a:moveTo>
                      <a:pt x="10" y="37"/>
                    </a:moveTo>
                    <a:lnTo>
                      <a:pt x="0" y="26"/>
                    </a:lnTo>
                    <a:lnTo>
                      <a:pt x="0" y="16"/>
                    </a:lnTo>
                    <a:lnTo>
                      <a:pt x="0" y="5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32" name="Freeform 825"/>
              <p:cNvSpPr>
                <a:spLocks/>
              </p:cNvSpPr>
              <p:nvPr/>
            </p:nvSpPr>
            <p:spPr bwMode="auto">
              <a:xfrm>
                <a:off x="3366277" y="3311476"/>
                <a:ext cx="8599" cy="15875"/>
              </a:xfrm>
              <a:custGeom>
                <a:avLst/>
                <a:gdLst>
                  <a:gd name="T0" fmla="*/ 0 w 5"/>
                  <a:gd name="T1" fmla="*/ 10 h 10"/>
                  <a:gd name="T2" fmla="*/ 0 w 5"/>
                  <a:gd name="T3" fmla="*/ 0 h 10"/>
                  <a:gd name="T4" fmla="*/ 5 w 5"/>
                  <a:gd name="T5" fmla="*/ 0 h 10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10"/>
                  <a:gd name="T11" fmla="*/ 5 w 5"/>
                  <a:gd name="T12" fmla="*/ 10 h 1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10">
                    <a:moveTo>
                      <a:pt x="0" y="10"/>
                    </a:moveTo>
                    <a:lnTo>
                      <a:pt x="0" y="0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33" name="Freeform 826"/>
              <p:cNvSpPr>
                <a:spLocks/>
              </p:cNvSpPr>
              <p:nvPr/>
            </p:nvSpPr>
            <p:spPr bwMode="auto">
              <a:xfrm>
                <a:off x="3366277" y="3319413"/>
                <a:ext cx="17198" cy="33338"/>
              </a:xfrm>
              <a:custGeom>
                <a:avLst/>
                <a:gdLst>
                  <a:gd name="T0" fmla="*/ 5 w 10"/>
                  <a:gd name="T1" fmla="*/ 21 h 21"/>
                  <a:gd name="T2" fmla="*/ 0 w 10"/>
                  <a:gd name="T3" fmla="*/ 16 h 21"/>
                  <a:gd name="T4" fmla="*/ 0 w 10"/>
                  <a:gd name="T5" fmla="*/ 11 h 21"/>
                  <a:gd name="T6" fmla="*/ 0 w 10"/>
                  <a:gd name="T7" fmla="*/ 0 h 21"/>
                  <a:gd name="T8" fmla="*/ 5 w 10"/>
                  <a:gd name="T9" fmla="*/ 0 h 21"/>
                  <a:gd name="T10" fmla="*/ 5 w 10"/>
                  <a:gd name="T11" fmla="*/ 0 h 21"/>
                  <a:gd name="T12" fmla="*/ 10 w 10"/>
                  <a:gd name="T13" fmla="*/ 11 h 21"/>
                  <a:gd name="T14" fmla="*/ 5 w 10"/>
                  <a:gd name="T15" fmla="*/ 16 h 21"/>
                  <a:gd name="T16" fmla="*/ 5 w 10"/>
                  <a:gd name="T17" fmla="*/ 21 h 2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0"/>
                  <a:gd name="T28" fmla="*/ 0 h 21"/>
                  <a:gd name="T29" fmla="*/ 10 w 10"/>
                  <a:gd name="T30" fmla="*/ 21 h 2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0" h="21">
                    <a:moveTo>
                      <a:pt x="5" y="21"/>
                    </a:moveTo>
                    <a:lnTo>
                      <a:pt x="0" y="16"/>
                    </a:lnTo>
                    <a:lnTo>
                      <a:pt x="0" y="11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10" y="11"/>
                    </a:lnTo>
                    <a:lnTo>
                      <a:pt x="5" y="16"/>
                    </a:lnTo>
                    <a:lnTo>
                      <a:pt x="5" y="21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34" name="Freeform 827"/>
              <p:cNvSpPr>
                <a:spLocks/>
              </p:cNvSpPr>
              <p:nvPr/>
            </p:nvSpPr>
            <p:spPr bwMode="auto">
              <a:xfrm>
                <a:off x="3366277" y="3327351"/>
                <a:ext cx="8599" cy="17463"/>
              </a:xfrm>
              <a:custGeom>
                <a:avLst/>
                <a:gdLst>
                  <a:gd name="T0" fmla="*/ 5 w 5"/>
                  <a:gd name="T1" fmla="*/ 11 h 11"/>
                  <a:gd name="T2" fmla="*/ 0 w 5"/>
                  <a:gd name="T3" fmla="*/ 6 h 11"/>
                  <a:gd name="T4" fmla="*/ 0 w 5"/>
                  <a:gd name="T5" fmla="*/ 6 h 11"/>
                  <a:gd name="T6" fmla="*/ 0 w 5"/>
                  <a:gd name="T7" fmla="*/ 0 h 11"/>
                  <a:gd name="T8" fmla="*/ 5 w 5"/>
                  <a:gd name="T9" fmla="*/ 0 h 11"/>
                  <a:gd name="T10" fmla="*/ 5 w 5"/>
                  <a:gd name="T11" fmla="*/ 0 h 11"/>
                  <a:gd name="T12" fmla="*/ 5 w 5"/>
                  <a:gd name="T13" fmla="*/ 6 h 11"/>
                  <a:gd name="T14" fmla="*/ 5 w 5"/>
                  <a:gd name="T15" fmla="*/ 6 h 11"/>
                  <a:gd name="T16" fmla="*/ 5 w 5"/>
                  <a:gd name="T17" fmla="*/ 11 h 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11"/>
                  <a:gd name="T29" fmla="*/ 5 w 5"/>
                  <a:gd name="T30" fmla="*/ 11 h 1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11">
                    <a:moveTo>
                      <a:pt x="5" y="11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5" y="6"/>
                    </a:lnTo>
                    <a:lnTo>
                      <a:pt x="5" y="11"/>
                    </a:lnTo>
                    <a:close/>
                  </a:path>
                </a:pathLst>
              </a:custGeom>
              <a:solidFill>
                <a:srgbClr val="959493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35" name="Freeform 828"/>
              <p:cNvSpPr>
                <a:spLocks/>
              </p:cNvSpPr>
              <p:nvPr/>
            </p:nvSpPr>
            <p:spPr bwMode="auto">
              <a:xfrm>
                <a:off x="3374876" y="3344813"/>
                <a:ext cx="8599" cy="17463"/>
              </a:xfrm>
              <a:custGeom>
                <a:avLst/>
                <a:gdLst>
                  <a:gd name="T0" fmla="*/ 0 w 5"/>
                  <a:gd name="T1" fmla="*/ 11 h 11"/>
                  <a:gd name="T2" fmla="*/ 5 w 5"/>
                  <a:gd name="T3" fmla="*/ 11 h 11"/>
                  <a:gd name="T4" fmla="*/ 5 w 5"/>
                  <a:gd name="T5" fmla="*/ 11 h 11"/>
                  <a:gd name="T6" fmla="*/ 5 w 5"/>
                  <a:gd name="T7" fmla="*/ 11 h 11"/>
                  <a:gd name="T8" fmla="*/ 5 w 5"/>
                  <a:gd name="T9" fmla="*/ 5 h 11"/>
                  <a:gd name="T10" fmla="*/ 5 w 5"/>
                  <a:gd name="T11" fmla="*/ 5 h 11"/>
                  <a:gd name="T12" fmla="*/ 5 w 5"/>
                  <a:gd name="T13" fmla="*/ 0 h 11"/>
                  <a:gd name="T14" fmla="*/ 5 w 5"/>
                  <a:gd name="T15" fmla="*/ 0 h 11"/>
                  <a:gd name="T16" fmla="*/ 0 w 5"/>
                  <a:gd name="T17" fmla="*/ 0 h 11"/>
                  <a:gd name="T18" fmla="*/ 0 w 5"/>
                  <a:gd name="T19" fmla="*/ 11 h 1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"/>
                  <a:gd name="T31" fmla="*/ 0 h 11"/>
                  <a:gd name="T32" fmla="*/ 5 w 5"/>
                  <a:gd name="T33" fmla="*/ 11 h 1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" h="11">
                    <a:moveTo>
                      <a:pt x="0" y="11"/>
                    </a:moveTo>
                    <a:lnTo>
                      <a:pt x="5" y="11"/>
                    </a:lnTo>
                    <a:lnTo>
                      <a:pt x="5" y="5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36" name="Freeform 829"/>
              <p:cNvSpPr>
                <a:spLocks/>
              </p:cNvSpPr>
              <p:nvPr/>
            </p:nvSpPr>
            <p:spPr bwMode="auto">
              <a:xfrm>
                <a:off x="3366277" y="3344813"/>
                <a:ext cx="17198" cy="17463"/>
              </a:xfrm>
              <a:custGeom>
                <a:avLst/>
                <a:gdLst>
                  <a:gd name="T0" fmla="*/ 5 w 10"/>
                  <a:gd name="T1" fmla="*/ 11 h 11"/>
                  <a:gd name="T2" fmla="*/ 10 w 10"/>
                  <a:gd name="T3" fmla="*/ 11 h 11"/>
                  <a:gd name="T4" fmla="*/ 10 w 10"/>
                  <a:gd name="T5" fmla="*/ 11 h 11"/>
                  <a:gd name="T6" fmla="*/ 10 w 10"/>
                  <a:gd name="T7" fmla="*/ 11 h 11"/>
                  <a:gd name="T8" fmla="*/ 10 w 10"/>
                  <a:gd name="T9" fmla="*/ 11 h 11"/>
                  <a:gd name="T10" fmla="*/ 10 w 10"/>
                  <a:gd name="T11" fmla="*/ 11 h 11"/>
                  <a:gd name="T12" fmla="*/ 10 w 10"/>
                  <a:gd name="T13" fmla="*/ 11 h 11"/>
                  <a:gd name="T14" fmla="*/ 10 w 10"/>
                  <a:gd name="T15" fmla="*/ 11 h 11"/>
                  <a:gd name="T16" fmla="*/ 10 w 10"/>
                  <a:gd name="T17" fmla="*/ 11 h 11"/>
                  <a:gd name="T18" fmla="*/ 5 w 10"/>
                  <a:gd name="T19" fmla="*/ 11 h 11"/>
                  <a:gd name="T20" fmla="*/ 5 w 10"/>
                  <a:gd name="T21" fmla="*/ 0 h 11"/>
                  <a:gd name="T22" fmla="*/ 5 w 10"/>
                  <a:gd name="T23" fmla="*/ 0 h 11"/>
                  <a:gd name="T24" fmla="*/ 5 w 10"/>
                  <a:gd name="T25" fmla="*/ 0 h 11"/>
                  <a:gd name="T26" fmla="*/ 5 w 10"/>
                  <a:gd name="T27" fmla="*/ 0 h 11"/>
                  <a:gd name="T28" fmla="*/ 5 w 10"/>
                  <a:gd name="T29" fmla="*/ 0 h 11"/>
                  <a:gd name="T30" fmla="*/ 5 w 10"/>
                  <a:gd name="T31" fmla="*/ 0 h 11"/>
                  <a:gd name="T32" fmla="*/ 0 w 10"/>
                  <a:gd name="T33" fmla="*/ 0 h 11"/>
                  <a:gd name="T34" fmla="*/ 0 w 10"/>
                  <a:gd name="T35" fmla="*/ 0 h 11"/>
                  <a:gd name="T36" fmla="*/ 0 w 10"/>
                  <a:gd name="T37" fmla="*/ 5 h 11"/>
                  <a:gd name="T38" fmla="*/ 5 w 10"/>
                  <a:gd name="T39" fmla="*/ 0 h 11"/>
                  <a:gd name="T40" fmla="*/ 5 w 10"/>
                  <a:gd name="T41" fmla="*/ 11 h 11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0"/>
                  <a:gd name="T64" fmla="*/ 0 h 11"/>
                  <a:gd name="T65" fmla="*/ 10 w 10"/>
                  <a:gd name="T66" fmla="*/ 11 h 11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0" h="11">
                    <a:moveTo>
                      <a:pt x="5" y="11"/>
                    </a:moveTo>
                    <a:lnTo>
                      <a:pt x="10" y="11"/>
                    </a:lnTo>
                    <a:lnTo>
                      <a:pt x="5" y="11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5" y="0"/>
                    </a:lnTo>
                    <a:lnTo>
                      <a:pt x="5" y="11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37" name="Freeform 830"/>
              <p:cNvSpPr>
                <a:spLocks/>
              </p:cNvSpPr>
              <p:nvPr/>
            </p:nvSpPr>
            <p:spPr bwMode="auto">
              <a:xfrm>
                <a:off x="3355959" y="3336876"/>
                <a:ext cx="18918" cy="25400"/>
              </a:xfrm>
              <a:custGeom>
                <a:avLst/>
                <a:gdLst>
                  <a:gd name="T0" fmla="*/ 0 w 11"/>
                  <a:gd name="T1" fmla="*/ 5 h 16"/>
                  <a:gd name="T2" fmla="*/ 0 w 11"/>
                  <a:gd name="T3" fmla="*/ 5 h 16"/>
                  <a:gd name="T4" fmla="*/ 0 w 11"/>
                  <a:gd name="T5" fmla="*/ 5 h 16"/>
                  <a:gd name="T6" fmla="*/ 0 w 11"/>
                  <a:gd name="T7" fmla="*/ 10 h 16"/>
                  <a:gd name="T8" fmla="*/ 0 w 11"/>
                  <a:gd name="T9" fmla="*/ 10 h 16"/>
                  <a:gd name="T10" fmla="*/ 6 w 11"/>
                  <a:gd name="T11" fmla="*/ 10 h 16"/>
                  <a:gd name="T12" fmla="*/ 6 w 11"/>
                  <a:gd name="T13" fmla="*/ 16 h 16"/>
                  <a:gd name="T14" fmla="*/ 6 w 11"/>
                  <a:gd name="T15" fmla="*/ 16 h 16"/>
                  <a:gd name="T16" fmla="*/ 11 w 11"/>
                  <a:gd name="T17" fmla="*/ 16 h 16"/>
                  <a:gd name="T18" fmla="*/ 11 w 11"/>
                  <a:gd name="T19" fmla="*/ 16 h 16"/>
                  <a:gd name="T20" fmla="*/ 11 w 11"/>
                  <a:gd name="T21" fmla="*/ 5 h 16"/>
                  <a:gd name="T22" fmla="*/ 11 w 11"/>
                  <a:gd name="T23" fmla="*/ 5 h 16"/>
                  <a:gd name="T24" fmla="*/ 11 w 11"/>
                  <a:gd name="T25" fmla="*/ 5 h 16"/>
                  <a:gd name="T26" fmla="*/ 11 w 11"/>
                  <a:gd name="T27" fmla="*/ 5 h 16"/>
                  <a:gd name="T28" fmla="*/ 11 w 11"/>
                  <a:gd name="T29" fmla="*/ 5 h 16"/>
                  <a:gd name="T30" fmla="*/ 11 w 11"/>
                  <a:gd name="T31" fmla="*/ 5 h 16"/>
                  <a:gd name="T32" fmla="*/ 11 w 11"/>
                  <a:gd name="T33" fmla="*/ 5 h 16"/>
                  <a:gd name="T34" fmla="*/ 11 w 11"/>
                  <a:gd name="T35" fmla="*/ 5 h 16"/>
                  <a:gd name="T36" fmla="*/ 11 w 11"/>
                  <a:gd name="T37" fmla="*/ 0 h 16"/>
                  <a:gd name="T38" fmla="*/ 11 w 11"/>
                  <a:gd name="T39" fmla="*/ 0 h 16"/>
                  <a:gd name="T40" fmla="*/ 0 w 11"/>
                  <a:gd name="T41" fmla="*/ 5 h 1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1"/>
                  <a:gd name="T64" fmla="*/ 0 h 16"/>
                  <a:gd name="T65" fmla="*/ 11 w 11"/>
                  <a:gd name="T66" fmla="*/ 16 h 1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1" h="16">
                    <a:moveTo>
                      <a:pt x="0" y="5"/>
                    </a:moveTo>
                    <a:lnTo>
                      <a:pt x="0" y="5"/>
                    </a:lnTo>
                    <a:lnTo>
                      <a:pt x="0" y="10"/>
                    </a:lnTo>
                    <a:lnTo>
                      <a:pt x="6" y="10"/>
                    </a:lnTo>
                    <a:lnTo>
                      <a:pt x="6" y="16"/>
                    </a:lnTo>
                    <a:lnTo>
                      <a:pt x="11" y="16"/>
                    </a:lnTo>
                    <a:lnTo>
                      <a:pt x="11" y="5"/>
                    </a:lnTo>
                    <a:lnTo>
                      <a:pt x="11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38" name="Freeform 831"/>
              <p:cNvSpPr>
                <a:spLocks/>
              </p:cNvSpPr>
              <p:nvPr/>
            </p:nvSpPr>
            <p:spPr bwMode="auto">
              <a:xfrm>
                <a:off x="3355959" y="3311476"/>
                <a:ext cx="18918" cy="33338"/>
              </a:xfrm>
              <a:custGeom>
                <a:avLst/>
                <a:gdLst>
                  <a:gd name="T0" fmla="*/ 11 w 11"/>
                  <a:gd name="T1" fmla="*/ 0 h 21"/>
                  <a:gd name="T2" fmla="*/ 6 w 11"/>
                  <a:gd name="T3" fmla="*/ 0 h 21"/>
                  <a:gd name="T4" fmla="*/ 6 w 11"/>
                  <a:gd name="T5" fmla="*/ 5 h 21"/>
                  <a:gd name="T6" fmla="*/ 0 w 11"/>
                  <a:gd name="T7" fmla="*/ 5 h 21"/>
                  <a:gd name="T8" fmla="*/ 0 w 11"/>
                  <a:gd name="T9" fmla="*/ 5 h 21"/>
                  <a:gd name="T10" fmla="*/ 0 w 11"/>
                  <a:gd name="T11" fmla="*/ 10 h 21"/>
                  <a:gd name="T12" fmla="*/ 0 w 11"/>
                  <a:gd name="T13" fmla="*/ 10 h 21"/>
                  <a:gd name="T14" fmla="*/ 0 w 11"/>
                  <a:gd name="T15" fmla="*/ 16 h 21"/>
                  <a:gd name="T16" fmla="*/ 0 w 11"/>
                  <a:gd name="T17" fmla="*/ 16 h 21"/>
                  <a:gd name="T18" fmla="*/ 0 w 11"/>
                  <a:gd name="T19" fmla="*/ 21 h 21"/>
                  <a:gd name="T20" fmla="*/ 11 w 11"/>
                  <a:gd name="T21" fmla="*/ 16 h 21"/>
                  <a:gd name="T22" fmla="*/ 11 w 11"/>
                  <a:gd name="T23" fmla="*/ 16 h 21"/>
                  <a:gd name="T24" fmla="*/ 11 w 11"/>
                  <a:gd name="T25" fmla="*/ 16 h 21"/>
                  <a:gd name="T26" fmla="*/ 11 w 11"/>
                  <a:gd name="T27" fmla="*/ 10 h 21"/>
                  <a:gd name="T28" fmla="*/ 11 w 11"/>
                  <a:gd name="T29" fmla="*/ 10 h 21"/>
                  <a:gd name="T30" fmla="*/ 11 w 11"/>
                  <a:gd name="T31" fmla="*/ 10 h 21"/>
                  <a:gd name="T32" fmla="*/ 11 w 11"/>
                  <a:gd name="T33" fmla="*/ 10 h 21"/>
                  <a:gd name="T34" fmla="*/ 11 w 11"/>
                  <a:gd name="T35" fmla="*/ 10 h 21"/>
                  <a:gd name="T36" fmla="*/ 11 w 11"/>
                  <a:gd name="T37" fmla="*/ 10 h 21"/>
                  <a:gd name="T38" fmla="*/ 11 w 11"/>
                  <a:gd name="T39" fmla="*/ 10 h 21"/>
                  <a:gd name="T40" fmla="*/ 11 w 11"/>
                  <a:gd name="T41" fmla="*/ 0 h 21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1"/>
                  <a:gd name="T64" fmla="*/ 0 h 21"/>
                  <a:gd name="T65" fmla="*/ 11 w 11"/>
                  <a:gd name="T66" fmla="*/ 21 h 21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1" h="21">
                    <a:moveTo>
                      <a:pt x="11" y="0"/>
                    </a:moveTo>
                    <a:lnTo>
                      <a:pt x="6" y="0"/>
                    </a:lnTo>
                    <a:lnTo>
                      <a:pt x="6" y="5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11" y="16"/>
                    </a:lnTo>
                    <a:lnTo>
                      <a:pt x="11" y="10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39" name="Freeform 832"/>
              <p:cNvSpPr>
                <a:spLocks/>
              </p:cNvSpPr>
              <p:nvPr/>
            </p:nvSpPr>
            <p:spPr bwMode="auto">
              <a:xfrm>
                <a:off x="3366277" y="3311476"/>
                <a:ext cx="8599" cy="15875"/>
              </a:xfrm>
              <a:custGeom>
                <a:avLst/>
                <a:gdLst>
                  <a:gd name="T0" fmla="*/ 5 w 5"/>
                  <a:gd name="T1" fmla="*/ 0 h 10"/>
                  <a:gd name="T2" fmla="*/ 5 w 5"/>
                  <a:gd name="T3" fmla="*/ 0 h 10"/>
                  <a:gd name="T4" fmla="*/ 5 w 5"/>
                  <a:gd name="T5" fmla="*/ 0 h 10"/>
                  <a:gd name="T6" fmla="*/ 5 w 5"/>
                  <a:gd name="T7" fmla="*/ 0 h 10"/>
                  <a:gd name="T8" fmla="*/ 5 w 5"/>
                  <a:gd name="T9" fmla="*/ 0 h 10"/>
                  <a:gd name="T10" fmla="*/ 5 w 5"/>
                  <a:gd name="T11" fmla="*/ 0 h 10"/>
                  <a:gd name="T12" fmla="*/ 5 w 5"/>
                  <a:gd name="T13" fmla="*/ 0 h 10"/>
                  <a:gd name="T14" fmla="*/ 0 w 5"/>
                  <a:gd name="T15" fmla="*/ 0 h 10"/>
                  <a:gd name="T16" fmla="*/ 5 w 5"/>
                  <a:gd name="T17" fmla="*/ 5 h 10"/>
                  <a:gd name="T18" fmla="*/ 5 w 5"/>
                  <a:gd name="T19" fmla="*/ 5 h 10"/>
                  <a:gd name="T20" fmla="*/ 5 w 5"/>
                  <a:gd name="T21" fmla="*/ 10 h 10"/>
                  <a:gd name="T22" fmla="*/ 5 w 5"/>
                  <a:gd name="T23" fmla="*/ 10 h 10"/>
                  <a:gd name="T24" fmla="*/ 5 w 5"/>
                  <a:gd name="T25" fmla="*/ 10 h 10"/>
                  <a:gd name="T26" fmla="*/ 5 w 5"/>
                  <a:gd name="T27" fmla="*/ 10 h 10"/>
                  <a:gd name="T28" fmla="*/ 5 w 5"/>
                  <a:gd name="T29" fmla="*/ 10 h 10"/>
                  <a:gd name="T30" fmla="*/ 5 w 5"/>
                  <a:gd name="T31" fmla="*/ 10 h 10"/>
                  <a:gd name="T32" fmla="*/ 5 w 5"/>
                  <a:gd name="T33" fmla="*/ 10 h 10"/>
                  <a:gd name="T34" fmla="*/ 5 w 5"/>
                  <a:gd name="T35" fmla="*/ 10 h 10"/>
                  <a:gd name="T36" fmla="*/ 5 w 5"/>
                  <a:gd name="T37" fmla="*/ 0 h 1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"/>
                  <a:gd name="T58" fmla="*/ 0 h 10"/>
                  <a:gd name="T59" fmla="*/ 5 w 5"/>
                  <a:gd name="T60" fmla="*/ 10 h 10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" h="10">
                    <a:moveTo>
                      <a:pt x="5" y="0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5" y="5"/>
                    </a:lnTo>
                    <a:lnTo>
                      <a:pt x="5" y="1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40" name="Freeform 833"/>
              <p:cNvSpPr>
                <a:spLocks/>
              </p:cNvSpPr>
              <p:nvPr/>
            </p:nvSpPr>
            <p:spPr bwMode="auto">
              <a:xfrm>
                <a:off x="3374876" y="3311476"/>
                <a:ext cx="8599" cy="15875"/>
              </a:xfrm>
              <a:custGeom>
                <a:avLst/>
                <a:gdLst>
                  <a:gd name="T0" fmla="*/ 0 w 5"/>
                  <a:gd name="T1" fmla="*/ 10 h 10"/>
                  <a:gd name="T2" fmla="*/ 0 w 5"/>
                  <a:gd name="T3" fmla="*/ 10 h 10"/>
                  <a:gd name="T4" fmla="*/ 0 w 5"/>
                  <a:gd name="T5" fmla="*/ 10 h 10"/>
                  <a:gd name="T6" fmla="*/ 5 w 5"/>
                  <a:gd name="T7" fmla="*/ 10 h 10"/>
                  <a:gd name="T8" fmla="*/ 5 w 5"/>
                  <a:gd name="T9" fmla="*/ 5 h 10"/>
                  <a:gd name="T10" fmla="*/ 5 w 5"/>
                  <a:gd name="T11" fmla="*/ 5 h 10"/>
                  <a:gd name="T12" fmla="*/ 0 w 5"/>
                  <a:gd name="T13" fmla="*/ 5 h 10"/>
                  <a:gd name="T14" fmla="*/ 0 w 5"/>
                  <a:gd name="T15" fmla="*/ 0 h 10"/>
                  <a:gd name="T16" fmla="*/ 0 w 5"/>
                  <a:gd name="T17" fmla="*/ 0 h 10"/>
                  <a:gd name="T18" fmla="*/ 0 w 5"/>
                  <a:gd name="T19" fmla="*/ 10 h 1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"/>
                  <a:gd name="T31" fmla="*/ 0 h 10"/>
                  <a:gd name="T32" fmla="*/ 5 w 5"/>
                  <a:gd name="T33" fmla="*/ 10 h 1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" h="10">
                    <a:moveTo>
                      <a:pt x="0" y="10"/>
                    </a:moveTo>
                    <a:lnTo>
                      <a:pt x="0" y="10"/>
                    </a:lnTo>
                    <a:lnTo>
                      <a:pt x="5" y="10"/>
                    </a:lnTo>
                    <a:lnTo>
                      <a:pt x="5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41" name="Line 834"/>
              <p:cNvSpPr>
                <a:spLocks noChangeShapeType="1"/>
              </p:cNvSpPr>
              <p:nvPr/>
            </p:nvSpPr>
            <p:spPr bwMode="auto">
              <a:xfrm>
                <a:off x="3366277" y="3319413"/>
                <a:ext cx="17198" cy="158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42" name="Line 835"/>
              <p:cNvSpPr>
                <a:spLocks noChangeShapeType="1"/>
              </p:cNvSpPr>
              <p:nvPr/>
            </p:nvSpPr>
            <p:spPr bwMode="auto">
              <a:xfrm>
                <a:off x="3374876" y="3352751"/>
                <a:ext cx="8599" cy="158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43" name="Freeform 836"/>
              <p:cNvSpPr>
                <a:spLocks/>
              </p:cNvSpPr>
              <p:nvPr/>
            </p:nvSpPr>
            <p:spPr bwMode="auto">
              <a:xfrm>
                <a:off x="3273409" y="3251151"/>
                <a:ext cx="55033" cy="119063"/>
              </a:xfrm>
              <a:custGeom>
                <a:avLst/>
                <a:gdLst>
                  <a:gd name="T0" fmla="*/ 22 w 32"/>
                  <a:gd name="T1" fmla="*/ 75 h 75"/>
                  <a:gd name="T2" fmla="*/ 16 w 32"/>
                  <a:gd name="T3" fmla="*/ 70 h 75"/>
                  <a:gd name="T4" fmla="*/ 11 w 32"/>
                  <a:gd name="T5" fmla="*/ 64 h 75"/>
                  <a:gd name="T6" fmla="*/ 6 w 32"/>
                  <a:gd name="T7" fmla="*/ 38 h 75"/>
                  <a:gd name="T8" fmla="*/ 0 w 32"/>
                  <a:gd name="T9" fmla="*/ 11 h 75"/>
                  <a:gd name="T10" fmla="*/ 6 w 32"/>
                  <a:gd name="T11" fmla="*/ 0 h 75"/>
                  <a:gd name="T12" fmla="*/ 11 w 32"/>
                  <a:gd name="T13" fmla="*/ 0 h 75"/>
                  <a:gd name="T14" fmla="*/ 16 w 32"/>
                  <a:gd name="T15" fmla="*/ 0 h 75"/>
                  <a:gd name="T16" fmla="*/ 22 w 32"/>
                  <a:gd name="T17" fmla="*/ 6 h 75"/>
                  <a:gd name="T18" fmla="*/ 32 w 32"/>
                  <a:gd name="T19" fmla="*/ 32 h 75"/>
                  <a:gd name="T20" fmla="*/ 32 w 32"/>
                  <a:gd name="T21" fmla="*/ 59 h 75"/>
                  <a:gd name="T22" fmla="*/ 27 w 32"/>
                  <a:gd name="T23" fmla="*/ 70 h 75"/>
                  <a:gd name="T24" fmla="*/ 22 w 32"/>
                  <a:gd name="T25" fmla="*/ 75 h 7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2"/>
                  <a:gd name="T40" fmla="*/ 0 h 75"/>
                  <a:gd name="T41" fmla="*/ 32 w 32"/>
                  <a:gd name="T42" fmla="*/ 75 h 7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2" h="75">
                    <a:moveTo>
                      <a:pt x="22" y="75"/>
                    </a:moveTo>
                    <a:lnTo>
                      <a:pt x="16" y="70"/>
                    </a:lnTo>
                    <a:lnTo>
                      <a:pt x="11" y="64"/>
                    </a:lnTo>
                    <a:lnTo>
                      <a:pt x="6" y="38"/>
                    </a:lnTo>
                    <a:lnTo>
                      <a:pt x="0" y="11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16" y="0"/>
                    </a:lnTo>
                    <a:lnTo>
                      <a:pt x="22" y="6"/>
                    </a:lnTo>
                    <a:lnTo>
                      <a:pt x="32" y="32"/>
                    </a:lnTo>
                    <a:lnTo>
                      <a:pt x="32" y="59"/>
                    </a:lnTo>
                    <a:lnTo>
                      <a:pt x="27" y="70"/>
                    </a:lnTo>
                    <a:lnTo>
                      <a:pt x="22" y="7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44" name="Freeform 837"/>
              <p:cNvSpPr>
                <a:spLocks/>
              </p:cNvSpPr>
              <p:nvPr/>
            </p:nvSpPr>
            <p:spPr bwMode="auto">
              <a:xfrm>
                <a:off x="3319843" y="3301951"/>
                <a:ext cx="18918" cy="68263"/>
              </a:xfrm>
              <a:custGeom>
                <a:avLst/>
                <a:gdLst>
                  <a:gd name="T0" fmla="*/ 11 w 11"/>
                  <a:gd name="T1" fmla="*/ 0 h 43"/>
                  <a:gd name="T2" fmla="*/ 11 w 11"/>
                  <a:gd name="T3" fmla="*/ 0 h 43"/>
                  <a:gd name="T4" fmla="*/ 11 w 11"/>
                  <a:gd name="T5" fmla="*/ 27 h 43"/>
                  <a:gd name="T6" fmla="*/ 5 w 11"/>
                  <a:gd name="T7" fmla="*/ 38 h 43"/>
                  <a:gd name="T8" fmla="*/ 0 w 11"/>
                  <a:gd name="T9" fmla="*/ 43 h 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43"/>
                  <a:gd name="T17" fmla="*/ 11 w 11"/>
                  <a:gd name="T18" fmla="*/ 43 h 4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43">
                    <a:moveTo>
                      <a:pt x="11" y="0"/>
                    </a:moveTo>
                    <a:lnTo>
                      <a:pt x="11" y="0"/>
                    </a:lnTo>
                    <a:lnTo>
                      <a:pt x="11" y="27"/>
                    </a:lnTo>
                    <a:lnTo>
                      <a:pt x="5" y="38"/>
                    </a:lnTo>
                    <a:lnTo>
                      <a:pt x="0" y="43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45" name="Freeform 838"/>
              <p:cNvSpPr>
                <a:spLocks/>
              </p:cNvSpPr>
              <p:nvPr/>
            </p:nvSpPr>
            <p:spPr bwMode="auto">
              <a:xfrm>
                <a:off x="3328442" y="3336876"/>
                <a:ext cx="18918" cy="33338"/>
              </a:xfrm>
              <a:custGeom>
                <a:avLst/>
                <a:gdLst>
                  <a:gd name="T0" fmla="*/ 11 w 11"/>
                  <a:gd name="T1" fmla="*/ 0 h 21"/>
                  <a:gd name="T2" fmla="*/ 6 w 11"/>
                  <a:gd name="T3" fmla="*/ 10 h 21"/>
                  <a:gd name="T4" fmla="*/ 0 w 11"/>
                  <a:gd name="T5" fmla="*/ 21 h 21"/>
                  <a:gd name="T6" fmla="*/ 0 60000 65536"/>
                  <a:gd name="T7" fmla="*/ 0 60000 65536"/>
                  <a:gd name="T8" fmla="*/ 0 60000 65536"/>
                  <a:gd name="T9" fmla="*/ 0 w 11"/>
                  <a:gd name="T10" fmla="*/ 0 h 21"/>
                  <a:gd name="T11" fmla="*/ 11 w 11"/>
                  <a:gd name="T12" fmla="*/ 21 h 2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1" h="21">
                    <a:moveTo>
                      <a:pt x="11" y="0"/>
                    </a:moveTo>
                    <a:lnTo>
                      <a:pt x="6" y="10"/>
                    </a:lnTo>
                    <a:lnTo>
                      <a:pt x="0" y="21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46" name="Freeform 839"/>
              <p:cNvSpPr>
                <a:spLocks/>
              </p:cNvSpPr>
              <p:nvPr/>
            </p:nvSpPr>
            <p:spPr bwMode="auto">
              <a:xfrm>
                <a:off x="3338761" y="3352751"/>
                <a:ext cx="8599" cy="17463"/>
              </a:xfrm>
              <a:custGeom>
                <a:avLst/>
                <a:gdLst>
                  <a:gd name="T0" fmla="*/ 5 w 5"/>
                  <a:gd name="T1" fmla="*/ 0 h 11"/>
                  <a:gd name="T2" fmla="*/ 0 w 5"/>
                  <a:gd name="T3" fmla="*/ 6 h 11"/>
                  <a:gd name="T4" fmla="*/ 0 w 5"/>
                  <a:gd name="T5" fmla="*/ 11 h 11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11"/>
                  <a:gd name="T11" fmla="*/ 5 w 5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11">
                    <a:moveTo>
                      <a:pt x="5" y="0"/>
                    </a:moveTo>
                    <a:lnTo>
                      <a:pt x="0" y="6"/>
                    </a:lnTo>
                    <a:lnTo>
                      <a:pt x="0" y="11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47" name="Freeform 840"/>
              <p:cNvSpPr>
                <a:spLocks/>
              </p:cNvSpPr>
              <p:nvPr/>
            </p:nvSpPr>
            <p:spPr bwMode="auto">
              <a:xfrm>
                <a:off x="3273409" y="3251151"/>
                <a:ext cx="37835" cy="119063"/>
              </a:xfrm>
              <a:custGeom>
                <a:avLst/>
                <a:gdLst>
                  <a:gd name="T0" fmla="*/ 22 w 22"/>
                  <a:gd name="T1" fmla="*/ 75 h 75"/>
                  <a:gd name="T2" fmla="*/ 16 w 22"/>
                  <a:gd name="T3" fmla="*/ 70 h 75"/>
                  <a:gd name="T4" fmla="*/ 11 w 22"/>
                  <a:gd name="T5" fmla="*/ 64 h 75"/>
                  <a:gd name="T6" fmla="*/ 6 w 22"/>
                  <a:gd name="T7" fmla="*/ 38 h 75"/>
                  <a:gd name="T8" fmla="*/ 0 w 22"/>
                  <a:gd name="T9" fmla="*/ 11 h 75"/>
                  <a:gd name="T10" fmla="*/ 6 w 22"/>
                  <a:gd name="T11" fmla="*/ 0 h 75"/>
                  <a:gd name="T12" fmla="*/ 11 w 22"/>
                  <a:gd name="T13" fmla="*/ 0 h 7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2"/>
                  <a:gd name="T22" fmla="*/ 0 h 75"/>
                  <a:gd name="T23" fmla="*/ 22 w 22"/>
                  <a:gd name="T24" fmla="*/ 75 h 7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2" h="75">
                    <a:moveTo>
                      <a:pt x="22" y="75"/>
                    </a:moveTo>
                    <a:lnTo>
                      <a:pt x="16" y="70"/>
                    </a:lnTo>
                    <a:lnTo>
                      <a:pt x="11" y="64"/>
                    </a:lnTo>
                    <a:lnTo>
                      <a:pt x="6" y="38"/>
                    </a:lnTo>
                    <a:lnTo>
                      <a:pt x="0" y="11"/>
                    </a:lnTo>
                    <a:lnTo>
                      <a:pt x="6" y="0"/>
                    </a:lnTo>
                    <a:lnTo>
                      <a:pt x="11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48" name="Freeform 841"/>
              <p:cNvSpPr>
                <a:spLocks/>
              </p:cNvSpPr>
              <p:nvPr/>
            </p:nvSpPr>
            <p:spPr bwMode="auto">
              <a:xfrm>
                <a:off x="3273409" y="3260676"/>
                <a:ext cx="55033" cy="101600"/>
              </a:xfrm>
              <a:custGeom>
                <a:avLst/>
                <a:gdLst>
                  <a:gd name="T0" fmla="*/ 22 w 32"/>
                  <a:gd name="T1" fmla="*/ 64 h 64"/>
                  <a:gd name="T2" fmla="*/ 16 w 32"/>
                  <a:gd name="T3" fmla="*/ 64 h 64"/>
                  <a:gd name="T4" fmla="*/ 11 w 32"/>
                  <a:gd name="T5" fmla="*/ 58 h 64"/>
                  <a:gd name="T6" fmla="*/ 6 w 32"/>
                  <a:gd name="T7" fmla="*/ 37 h 64"/>
                  <a:gd name="T8" fmla="*/ 0 w 32"/>
                  <a:gd name="T9" fmla="*/ 10 h 64"/>
                  <a:gd name="T10" fmla="*/ 6 w 32"/>
                  <a:gd name="T11" fmla="*/ 0 h 64"/>
                  <a:gd name="T12" fmla="*/ 11 w 32"/>
                  <a:gd name="T13" fmla="*/ 0 h 64"/>
                  <a:gd name="T14" fmla="*/ 22 w 32"/>
                  <a:gd name="T15" fmla="*/ 5 h 64"/>
                  <a:gd name="T16" fmla="*/ 32 w 32"/>
                  <a:gd name="T17" fmla="*/ 32 h 64"/>
                  <a:gd name="T18" fmla="*/ 27 w 32"/>
                  <a:gd name="T19" fmla="*/ 53 h 64"/>
                  <a:gd name="T20" fmla="*/ 22 w 32"/>
                  <a:gd name="T21" fmla="*/ 58 h 64"/>
                  <a:gd name="T22" fmla="*/ 22 w 32"/>
                  <a:gd name="T23" fmla="*/ 64 h 6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2"/>
                  <a:gd name="T37" fmla="*/ 0 h 64"/>
                  <a:gd name="T38" fmla="*/ 32 w 32"/>
                  <a:gd name="T39" fmla="*/ 64 h 6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2" h="64">
                    <a:moveTo>
                      <a:pt x="22" y="64"/>
                    </a:moveTo>
                    <a:lnTo>
                      <a:pt x="16" y="64"/>
                    </a:lnTo>
                    <a:lnTo>
                      <a:pt x="11" y="58"/>
                    </a:lnTo>
                    <a:lnTo>
                      <a:pt x="6" y="37"/>
                    </a:lnTo>
                    <a:lnTo>
                      <a:pt x="0" y="10"/>
                    </a:lnTo>
                    <a:lnTo>
                      <a:pt x="6" y="0"/>
                    </a:lnTo>
                    <a:lnTo>
                      <a:pt x="11" y="0"/>
                    </a:lnTo>
                    <a:lnTo>
                      <a:pt x="22" y="5"/>
                    </a:lnTo>
                    <a:lnTo>
                      <a:pt x="32" y="32"/>
                    </a:lnTo>
                    <a:lnTo>
                      <a:pt x="27" y="53"/>
                    </a:lnTo>
                    <a:lnTo>
                      <a:pt x="22" y="58"/>
                    </a:lnTo>
                    <a:lnTo>
                      <a:pt x="22" y="64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49" name="Freeform 842"/>
              <p:cNvSpPr>
                <a:spLocks/>
              </p:cNvSpPr>
              <p:nvPr/>
            </p:nvSpPr>
            <p:spPr bwMode="auto">
              <a:xfrm>
                <a:off x="3283727" y="3276551"/>
                <a:ext cx="36116" cy="68263"/>
              </a:xfrm>
              <a:custGeom>
                <a:avLst/>
                <a:gdLst>
                  <a:gd name="T0" fmla="*/ 16 w 21"/>
                  <a:gd name="T1" fmla="*/ 43 h 43"/>
                  <a:gd name="T2" fmla="*/ 5 w 21"/>
                  <a:gd name="T3" fmla="*/ 32 h 43"/>
                  <a:gd name="T4" fmla="*/ 0 w 21"/>
                  <a:gd name="T5" fmla="*/ 22 h 43"/>
                  <a:gd name="T6" fmla="*/ 0 w 21"/>
                  <a:gd name="T7" fmla="*/ 6 h 43"/>
                  <a:gd name="T8" fmla="*/ 5 w 21"/>
                  <a:gd name="T9" fmla="*/ 0 h 43"/>
                  <a:gd name="T10" fmla="*/ 10 w 21"/>
                  <a:gd name="T11" fmla="*/ 6 h 43"/>
                  <a:gd name="T12" fmla="*/ 21 w 21"/>
                  <a:gd name="T13" fmla="*/ 22 h 43"/>
                  <a:gd name="T14" fmla="*/ 16 w 21"/>
                  <a:gd name="T15" fmla="*/ 32 h 43"/>
                  <a:gd name="T16" fmla="*/ 16 w 21"/>
                  <a:gd name="T17" fmla="*/ 43 h 4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1"/>
                  <a:gd name="T28" fmla="*/ 0 h 43"/>
                  <a:gd name="T29" fmla="*/ 21 w 21"/>
                  <a:gd name="T30" fmla="*/ 43 h 4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1" h="43">
                    <a:moveTo>
                      <a:pt x="16" y="43"/>
                    </a:moveTo>
                    <a:lnTo>
                      <a:pt x="5" y="32"/>
                    </a:lnTo>
                    <a:lnTo>
                      <a:pt x="0" y="22"/>
                    </a:lnTo>
                    <a:lnTo>
                      <a:pt x="0" y="6"/>
                    </a:lnTo>
                    <a:lnTo>
                      <a:pt x="5" y="0"/>
                    </a:lnTo>
                    <a:lnTo>
                      <a:pt x="10" y="6"/>
                    </a:lnTo>
                    <a:lnTo>
                      <a:pt x="21" y="22"/>
                    </a:lnTo>
                    <a:lnTo>
                      <a:pt x="16" y="32"/>
                    </a:lnTo>
                    <a:lnTo>
                      <a:pt x="16" y="43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50" name="Freeform 843"/>
              <p:cNvSpPr>
                <a:spLocks/>
              </p:cNvSpPr>
              <p:nvPr/>
            </p:nvSpPr>
            <p:spPr bwMode="auto">
              <a:xfrm>
                <a:off x="3283727" y="3319413"/>
                <a:ext cx="1720" cy="1588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0 w 1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"/>
                  <a:gd name="T11" fmla="*/ 1 w 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51" name="Freeform 844"/>
              <p:cNvSpPr>
                <a:spLocks/>
              </p:cNvSpPr>
              <p:nvPr/>
            </p:nvSpPr>
            <p:spPr bwMode="auto">
              <a:xfrm>
                <a:off x="3283727" y="3311476"/>
                <a:ext cx="1720" cy="7938"/>
              </a:xfrm>
              <a:custGeom>
                <a:avLst/>
                <a:gdLst>
                  <a:gd name="T0" fmla="*/ 0 w 1"/>
                  <a:gd name="T1" fmla="*/ 5 h 5"/>
                  <a:gd name="T2" fmla="*/ 0 w 1"/>
                  <a:gd name="T3" fmla="*/ 5 h 5"/>
                  <a:gd name="T4" fmla="*/ 0 w 1"/>
                  <a:gd name="T5" fmla="*/ 5 h 5"/>
                  <a:gd name="T6" fmla="*/ 0 w 1"/>
                  <a:gd name="T7" fmla="*/ 0 h 5"/>
                  <a:gd name="T8" fmla="*/ 0 w 1"/>
                  <a:gd name="T9" fmla="*/ 5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5"/>
                  <a:gd name="T17" fmla="*/ 1 w 1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5">
                    <a:moveTo>
                      <a:pt x="0" y="5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52" name="Rectangle 845"/>
              <p:cNvSpPr>
                <a:spLocks noChangeArrowheads="1"/>
              </p:cNvSpPr>
              <p:nvPr/>
            </p:nvSpPr>
            <p:spPr bwMode="auto">
              <a:xfrm>
                <a:off x="3283727" y="3311476"/>
                <a:ext cx="1720" cy="7938"/>
              </a:xfrm>
              <a:prstGeom prst="rect">
                <a:avLst/>
              </a:prstGeom>
              <a:solidFill>
                <a:srgbClr val="25221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53" name="Freeform 846"/>
              <p:cNvSpPr>
                <a:spLocks/>
              </p:cNvSpPr>
              <p:nvPr/>
            </p:nvSpPr>
            <p:spPr bwMode="auto">
              <a:xfrm>
                <a:off x="3283727" y="3311476"/>
                <a:ext cx="1720" cy="1588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0 w 1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"/>
                  <a:gd name="T11" fmla="*/ 1 w 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54" name="Freeform 847"/>
              <p:cNvSpPr>
                <a:spLocks/>
              </p:cNvSpPr>
              <p:nvPr/>
            </p:nvSpPr>
            <p:spPr bwMode="auto">
              <a:xfrm>
                <a:off x="3283727" y="3311476"/>
                <a:ext cx="1720" cy="1588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0 w 1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"/>
                  <a:gd name="T11" fmla="*/ 1 w 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55" name="Freeform 848"/>
              <p:cNvSpPr>
                <a:spLocks/>
              </p:cNvSpPr>
              <p:nvPr/>
            </p:nvSpPr>
            <p:spPr bwMode="auto">
              <a:xfrm>
                <a:off x="3283727" y="3311476"/>
                <a:ext cx="1720" cy="1588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0 w 1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"/>
                  <a:gd name="T11" fmla="*/ 1 w 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56" name="Freeform 849"/>
              <p:cNvSpPr>
                <a:spLocks/>
              </p:cNvSpPr>
              <p:nvPr/>
            </p:nvSpPr>
            <p:spPr bwMode="auto">
              <a:xfrm>
                <a:off x="3283727" y="3311476"/>
                <a:ext cx="1720" cy="1588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0 w 1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"/>
                  <a:gd name="T11" fmla="*/ 1 w 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57" name="Rectangle 850"/>
              <p:cNvSpPr>
                <a:spLocks noChangeArrowheads="1"/>
              </p:cNvSpPr>
              <p:nvPr/>
            </p:nvSpPr>
            <p:spPr bwMode="auto">
              <a:xfrm>
                <a:off x="3283727" y="3311476"/>
                <a:ext cx="1720" cy="1588"/>
              </a:xfrm>
              <a:prstGeom prst="rect">
                <a:avLst/>
              </a:prstGeom>
              <a:solidFill>
                <a:srgbClr val="25221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58" name="Rectangle 851"/>
              <p:cNvSpPr>
                <a:spLocks noChangeArrowheads="1"/>
              </p:cNvSpPr>
              <p:nvPr/>
            </p:nvSpPr>
            <p:spPr bwMode="auto">
              <a:xfrm>
                <a:off x="3283727" y="3311476"/>
                <a:ext cx="1720" cy="1588"/>
              </a:xfrm>
              <a:prstGeom prst="rect">
                <a:avLst/>
              </a:prstGeom>
              <a:solidFill>
                <a:srgbClr val="25221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59" name="Freeform 852"/>
              <p:cNvSpPr>
                <a:spLocks/>
              </p:cNvSpPr>
              <p:nvPr/>
            </p:nvSpPr>
            <p:spPr bwMode="auto">
              <a:xfrm>
                <a:off x="3283727" y="3311476"/>
                <a:ext cx="1720" cy="1588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0 w 1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"/>
                  <a:gd name="T11" fmla="*/ 1 w 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60" name="Freeform 853"/>
              <p:cNvSpPr>
                <a:spLocks/>
              </p:cNvSpPr>
              <p:nvPr/>
            </p:nvSpPr>
            <p:spPr bwMode="auto">
              <a:xfrm>
                <a:off x="3283727" y="3311476"/>
                <a:ext cx="1720" cy="1588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0 w 1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"/>
                  <a:gd name="T11" fmla="*/ 1 w 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61" name="Freeform 854"/>
              <p:cNvSpPr>
                <a:spLocks/>
              </p:cNvSpPr>
              <p:nvPr/>
            </p:nvSpPr>
            <p:spPr bwMode="auto">
              <a:xfrm>
                <a:off x="3283727" y="3311476"/>
                <a:ext cx="1720" cy="1588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0 w 1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"/>
                  <a:gd name="T11" fmla="*/ 1 w 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62" name="Freeform 855"/>
              <p:cNvSpPr>
                <a:spLocks/>
              </p:cNvSpPr>
              <p:nvPr/>
            </p:nvSpPr>
            <p:spPr bwMode="auto">
              <a:xfrm>
                <a:off x="3283727" y="3311476"/>
                <a:ext cx="1720" cy="1588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0 w 1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"/>
                  <a:gd name="T11" fmla="*/ 1 w 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63" name="Rectangle 856"/>
              <p:cNvSpPr>
                <a:spLocks noChangeArrowheads="1"/>
              </p:cNvSpPr>
              <p:nvPr/>
            </p:nvSpPr>
            <p:spPr bwMode="auto">
              <a:xfrm>
                <a:off x="3283727" y="3311476"/>
                <a:ext cx="1720" cy="1588"/>
              </a:xfrm>
              <a:prstGeom prst="rect">
                <a:avLst/>
              </a:prstGeom>
              <a:solidFill>
                <a:srgbClr val="25221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64" name="Freeform 857"/>
              <p:cNvSpPr>
                <a:spLocks/>
              </p:cNvSpPr>
              <p:nvPr/>
            </p:nvSpPr>
            <p:spPr bwMode="auto">
              <a:xfrm>
                <a:off x="3283727" y="3311476"/>
                <a:ext cx="1720" cy="1588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0 w 1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"/>
                  <a:gd name="T11" fmla="*/ 1 w 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65" name="Freeform 858"/>
              <p:cNvSpPr>
                <a:spLocks/>
              </p:cNvSpPr>
              <p:nvPr/>
            </p:nvSpPr>
            <p:spPr bwMode="auto">
              <a:xfrm>
                <a:off x="3283727" y="3311476"/>
                <a:ext cx="1720" cy="1588"/>
              </a:xfrm>
              <a:custGeom>
                <a:avLst/>
                <a:gdLst>
                  <a:gd name="T0" fmla="*/ 0 w 1"/>
                  <a:gd name="T1" fmla="*/ 0 h 1"/>
                  <a:gd name="T2" fmla="*/ 0 w 1"/>
                  <a:gd name="T3" fmla="*/ 0 h 1"/>
                  <a:gd name="T4" fmla="*/ 0 w 1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"/>
                  <a:gd name="T11" fmla="*/ 1 w 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">
                    <a:moveTo>
                      <a:pt x="0" y="0"/>
                    </a:move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66" name="Rectangle 859"/>
              <p:cNvSpPr>
                <a:spLocks noChangeArrowheads="1"/>
              </p:cNvSpPr>
              <p:nvPr/>
            </p:nvSpPr>
            <p:spPr bwMode="auto">
              <a:xfrm>
                <a:off x="3283727" y="3311476"/>
                <a:ext cx="1720" cy="1588"/>
              </a:xfrm>
              <a:prstGeom prst="rect">
                <a:avLst/>
              </a:prstGeom>
              <a:solidFill>
                <a:srgbClr val="25221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67" name="Freeform 860"/>
              <p:cNvSpPr>
                <a:spLocks/>
              </p:cNvSpPr>
              <p:nvPr/>
            </p:nvSpPr>
            <p:spPr bwMode="auto">
              <a:xfrm>
                <a:off x="3283727" y="3276551"/>
                <a:ext cx="8599" cy="34925"/>
              </a:xfrm>
              <a:custGeom>
                <a:avLst/>
                <a:gdLst>
                  <a:gd name="T0" fmla="*/ 0 w 5"/>
                  <a:gd name="T1" fmla="*/ 22 h 22"/>
                  <a:gd name="T2" fmla="*/ 0 w 5"/>
                  <a:gd name="T3" fmla="*/ 22 h 22"/>
                  <a:gd name="T4" fmla="*/ 0 w 5"/>
                  <a:gd name="T5" fmla="*/ 22 h 22"/>
                  <a:gd name="T6" fmla="*/ 0 w 5"/>
                  <a:gd name="T7" fmla="*/ 22 h 22"/>
                  <a:gd name="T8" fmla="*/ 0 w 5"/>
                  <a:gd name="T9" fmla="*/ 16 h 22"/>
                  <a:gd name="T10" fmla="*/ 0 w 5"/>
                  <a:gd name="T11" fmla="*/ 16 h 22"/>
                  <a:gd name="T12" fmla="*/ 0 w 5"/>
                  <a:gd name="T13" fmla="*/ 16 h 22"/>
                  <a:gd name="T14" fmla="*/ 0 w 5"/>
                  <a:gd name="T15" fmla="*/ 16 h 22"/>
                  <a:gd name="T16" fmla="*/ 0 w 5"/>
                  <a:gd name="T17" fmla="*/ 11 h 22"/>
                  <a:gd name="T18" fmla="*/ 0 w 5"/>
                  <a:gd name="T19" fmla="*/ 11 h 22"/>
                  <a:gd name="T20" fmla="*/ 0 w 5"/>
                  <a:gd name="T21" fmla="*/ 11 h 22"/>
                  <a:gd name="T22" fmla="*/ 0 w 5"/>
                  <a:gd name="T23" fmla="*/ 11 h 22"/>
                  <a:gd name="T24" fmla="*/ 0 w 5"/>
                  <a:gd name="T25" fmla="*/ 11 h 22"/>
                  <a:gd name="T26" fmla="*/ 0 w 5"/>
                  <a:gd name="T27" fmla="*/ 6 h 22"/>
                  <a:gd name="T28" fmla="*/ 5 w 5"/>
                  <a:gd name="T29" fmla="*/ 6 h 22"/>
                  <a:gd name="T30" fmla="*/ 5 w 5"/>
                  <a:gd name="T31" fmla="*/ 6 h 22"/>
                  <a:gd name="T32" fmla="*/ 5 w 5"/>
                  <a:gd name="T33" fmla="*/ 6 h 22"/>
                  <a:gd name="T34" fmla="*/ 5 w 5"/>
                  <a:gd name="T35" fmla="*/ 6 h 22"/>
                  <a:gd name="T36" fmla="*/ 5 w 5"/>
                  <a:gd name="T37" fmla="*/ 6 h 22"/>
                  <a:gd name="T38" fmla="*/ 5 w 5"/>
                  <a:gd name="T39" fmla="*/ 0 h 22"/>
                  <a:gd name="T40" fmla="*/ 5 w 5"/>
                  <a:gd name="T41" fmla="*/ 0 h 22"/>
                  <a:gd name="T42" fmla="*/ 5 w 5"/>
                  <a:gd name="T43" fmla="*/ 0 h 22"/>
                  <a:gd name="T44" fmla="*/ 5 w 5"/>
                  <a:gd name="T45" fmla="*/ 0 h 22"/>
                  <a:gd name="T46" fmla="*/ 5 w 5"/>
                  <a:gd name="T47" fmla="*/ 0 h 22"/>
                  <a:gd name="T48" fmla="*/ 5 w 5"/>
                  <a:gd name="T49" fmla="*/ 0 h 22"/>
                  <a:gd name="T50" fmla="*/ 5 w 5"/>
                  <a:gd name="T51" fmla="*/ 0 h 22"/>
                  <a:gd name="T52" fmla="*/ 5 w 5"/>
                  <a:gd name="T53" fmla="*/ 0 h 22"/>
                  <a:gd name="T54" fmla="*/ 5 w 5"/>
                  <a:gd name="T55" fmla="*/ 6 h 22"/>
                  <a:gd name="T56" fmla="*/ 5 w 5"/>
                  <a:gd name="T57" fmla="*/ 6 h 22"/>
                  <a:gd name="T58" fmla="*/ 5 w 5"/>
                  <a:gd name="T59" fmla="*/ 6 h 22"/>
                  <a:gd name="T60" fmla="*/ 5 w 5"/>
                  <a:gd name="T61" fmla="*/ 6 h 22"/>
                  <a:gd name="T62" fmla="*/ 5 w 5"/>
                  <a:gd name="T63" fmla="*/ 6 h 22"/>
                  <a:gd name="T64" fmla="*/ 5 w 5"/>
                  <a:gd name="T65" fmla="*/ 6 h 22"/>
                  <a:gd name="T66" fmla="*/ 5 w 5"/>
                  <a:gd name="T67" fmla="*/ 6 h 22"/>
                  <a:gd name="T68" fmla="*/ 5 w 5"/>
                  <a:gd name="T69" fmla="*/ 6 h 22"/>
                  <a:gd name="T70" fmla="*/ 5 w 5"/>
                  <a:gd name="T71" fmla="*/ 11 h 22"/>
                  <a:gd name="T72" fmla="*/ 5 w 5"/>
                  <a:gd name="T73" fmla="*/ 11 h 22"/>
                  <a:gd name="T74" fmla="*/ 5 w 5"/>
                  <a:gd name="T75" fmla="*/ 11 h 22"/>
                  <a:gd name="T76" fmla="*/ 5 w 5"/>
                  <a:gd name="T77" fmla="*/ 11 h 22"/>
                  <a:gd name="T78" fmla="*/ 0 w 5"/>
                  <a:gd name="T79" fmla="*/ 11 h 22"/>
                  <a:gd name="T80" fmla="*/ 0 w 5"/>
                  <a:gd name="T81" fmla="*/ 16 h 22"/>
                  <a:gd name="T82" fmla="*/ 0 w 5"/>
                  <a:gd name="T83" fmla="*/ 16 h 22"/>
                  <a:gd name="T84" fmla="*/ 0 w 5"/>
                  <a:gd name="T85" fmla="*/ 16 h 22"/>
                  <a:gd name="T86" fmla="*/ 0 w 5"/>
                  <a:gd name="T87" fmla="*/ 16 h 22"/>
                  <a:gd name="T88" fmla="*/ 0 w 5"/>
                  <a:gd name="T89" fmla="*/ 16 h 22"/>
                  <a:gd name="T90" fmla="*/ 0 w 5"/>
                  <a:gd name="T91" fmla="*/ 22 h 22"/>
                  <a:gd name="T92" fmla="*/ 0 w 5"/>
                  <a:gd name="T93" fmla="*/ 22 h 22"/>
                  <a:gd name="T94" fmla="*/ 0 w 5"/>
                  <a:gd name="T95" fmla="*/ 22 h 22"/>
                  <a:gd name="T96" fmla="*/ 0 w 5"/>
                  <a:gd name="T97" fmla="*/ 22 h 22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5"/>
                  <a:gd name="T148" fmla="*/ 0 h 22"/>
                  <a:gd name="T149" fmla="*/ 5 w 5"/>
                  <a:gd name="T150" fmla="*/ 22 h 22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5" h="22">
                    <a:moveTo>
                      <a:pt x="0" y="22"/>
                    </a:moveTo>
                    <a:lnTo>
                      <a:pt x="0" y="22"/>
                    </a:lnTo>
                    <a:lnTo>
                      <a:pt x="0" y="16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5" y="6"/>
                    </a:lnTo>
                    <a:lnTo>
                      <a:pt x="5" y="0"/>
                    </a:lnTo>
                    <a:lnTo>
                      <a:pt x="5" y="6"/>
                    </a:lnTo>
                    <a:lnTo>
                      <a:pt x="5" y="11"/>
                    </a:lnTo>
                    <a:lnTo>
                      <a:pt x="0" y="11"/>
                    </a:lnTo>
                    <a:lnTo>
                      <a:pt x="0" y="16"/>
                    </a:lnTo>
                    <a:lnTo>
                      <a:pt x="0" y="22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68" name="Freeform 861"/>
              <p:cNvSpPr>
                <a:spLocks/>
              </p:cNvSpPr>
              <p:nvPr/>
            </p:nvSpPr>
            <p:spPr bwMode="auto">
              <a:xfrm>
                <a:off x="3292326" y="3276551"/>
                <a:ext cx="27517" cy="34925"/>
              </a:xfrm>
              <a:custGeom>
                <a:avLst/>
                <a:gdLst>
                  <a:gd name="T0" fmla="*/ 0 w 16"/>
                  <a:gd name="T1" fmla="*/ 0 h 22"/>
                  <a:gd name="T2" fmla="*/ 5 w 16"/>
                  <a:gd name="T3" fmla="*/ 0 h 22"/>
                  <a:gd name="T4" fmla="*/ 5 w 16"/>
                  <a:gd name="T5" fmla="*/ 0 h 22"/>
                  <a:gd name="T6" fmla="*/ 5 w 16"/>
                  <a:gd name="T7" fmla="*/ 0 h 22"/>
                  <a:gd name="T8" fmla="*/ 5 w 16"/>
                  <a:gd name="T9" fmla="*/ 0 h 22"/>
                  <a:gd name="T10" fmla="*/ 5 w 16"/>
                  <a:gd name="T11" fmla="*/ 0 h 22"/>
                  <a:gd name="T12" fmla="*/ 5 w 16"/>
                  <a:gd name="T13" fmla="*/ 0 h 22"/>
                  <a:gd name="T14" fmla="*/ 5 w 16"/>
                  <a:gd name="T15" fmla="*/ 6 h 22"/>
                  <a:gd name="T16" fmla="*/ 11 w 16"/>
                  <a:gd name="T17" fmla="*/ 6 h 22"/>
                  <a:gd name="T18" fmla="*/ 11 w 16"/>
                  <a:gd name="T19" fmla="*/ 6 h 22"/>
                  <a:gd name="T20" fmla="*/ 11 w 16"/>
                  <a:gd name="T21" fmla="*/ 6 h 22"/>
                  <a:gd name="T22" fmla="*/ 11 w 16"/>
                  <a:gd name="T23" fmla="*/ 6 h 22"/>
                  <a:gd name="T24" fmla="*/ 11 w 16"/>
                  <a:gd name="T25" fmla="*/ 6 h 22"/>
                  <a:gd name="T26" fmla="*/ 11 w 16"/>
                  <a:gd name="T27" fmla="*/ 6 h 22"/>
                  <a:gd name="T28" fmla="*/ 11 w 16"/>
                  <a:gd name="T29" fmla="*/ 11 h 22"/>
                  <a:gd name="T30" fmla="*/ 11 w 16"/>
                  <a:gd name="T31" fmla="*/ 11 h 22"/>
                  <a:gd name="T32" fmla="*/ 11 w 16"/>
                  <a:gd name="T33" fmla="*/ 11 h 22"/>
                  <a:gd name="T34" fmla="*/ 11 w 16"/>
                  <a:gd name="T35" fmla="*/ 11 h 22"/>
                  <a:gd name="T36" fmla="*/ 16 w 16"/>
                  <a:gd name="T37" fmla="*/ 16 h 22"/>
                  <a:gd name="T38" fmla="*/ 16 w 16"/>
                  <a:gd name="T39" fmla="*/ 16 h 22"/>
                  <a:gd name="T40" fmla="*/ 16 w 16"/>
                  <a:gd name="T41" fmla="*/ 16 h 22"/>
                  <a:gd name="T42" fmla="*/ 16 w 16"/>
                  <a:gd name="T43" fmla="*/ 16 h 22"/>
                  <a:gd name="T44" fmla="*/ 16 w 16"/>
                  <a:gd name="T45" fmla="*/ 22 h 22"/>
                  <a:gd name="T46" fmla="*/ 16 w 16"/>
                  <a:gd name="T47" fmla="*/ 22 h 22"/>
                  <a:gd name="T48" fmla="*/ 16 w 16"/>
                  <a:gd name="T49" fmla="*/ 22 h 22"/>
                  <a:gd name="T50" fmla="*/ 11 w 16"/>
                  <a:gd name="T51" fmla="*/ 16 h 22"/>
                  <a:gd name="T52" fmla="*/ 11 w 16"/>
                  <a:gd name="T53" fmla="*/ 16 h 22"/>
                  <a:gd name="T54" fmla="*/ 11 w 16"/>
                  <a:gd name="T55" fmla="*/ 16 h 22"/>
                  <a:gd name="T56" fmla="*/ 11 w 16"/>
                  <a:gd name="T57" fmla="*/ 16 h 22"/>
                  <a:gd name="T58" fmla="*/ 11 w 16"/>
                  <a:gd name="T59" fmla="*/ 16 h 22"/>
                  <a:gd name="T60" fmla="*/ 11 w 16"/>
                  <a:gd name="T61" fmla="*/ 11 h 22"/>
                  <a:gd name="T62" fmla="*/ 11 w 16"/>
                  <a:gd name="T63" fmla="*/ 11 h 22"/>
                  <a:gd name="T64" fmla="*/ 11 w 16"/>
                  <a:gd name="T65" fmla="*/ 11 h 22"/>
                  <a:gd name="T66" fmla="*/ 11 w 16"/>
                  <a:gd name="T67" fmla="*/ 11 h 22"/>
                  <a:gd name="T68" fmla="*/ 11 w 16"/>
                  <a:gd name="T69" fmla="*/ 11 h 22"/>
                  <a:gd name="T70" fmla="*/ 11 w 16"/>
                  <a:gd name="T71" fmla="*/ 6 h 22"/>
                  <a:gd name="T72" fmla="*/ 11 w 16"/>
                  <a:gd name="T73" fmla="*/ 6 h 22"/>
                  <a:gd name="T74" fmla="*/ 5 w 16"/>
                  <a:gd name="T75" fmla="*/ 6 h 22"/>
                  <a:gd name="T76" fmla="*/ 5 w 16"/>
                  <a:gd name="T77" fmla="*/ 6 h 22"/>
                  <a:gd name="T78" fmla="*/ 5 w 16"/>
                  <a:gd name="T79" fmla="*/ 6 h 22"/>
                  <a:gd name="T80" fmla="*/ 5 w 16"/>
                  <a:gd name="T81" fmla="*/ 6 h 22"/>
                  <a:gd name="T82" fmla="*/ 5 w 16"/>
                  <a:gd name="T83" fmla="*/ 6 h 22"/>
                  <a:gd name="T84" fmla="*/ 5 w 16"/>
                  <a:gd name="T85" fmla="*/ 6 h 22"/>
                  <a:gd name="T86" fmla="*/ 5 w 16"/>
                  <a:gd name="T87" fmla="*/ 0 h 22"/>
                  <a:gd name="T88" fmla="*/ 5 w 16"/>
                  <a:gd name="T89" fmla="*/ 0 h 22"/>
                  <a:gd name="T90" fmla="*/ 5 w 16"/>
                  <a:gd name="T91" fmla="*/ 0 h 22"/>
                  <a:gd name="T92" fmla="*/ 5 w 16"/>
                  <a:gd name="T93" fmla="*/ 0 h 22"/>
                  <a:gd name="T94" fmla="*/ 0 w 16"/>
                  <a:gd name="T95" fmla="*/ 0 h 22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6"/>
                  <a:gd name="T145" fmla="*/ 0 h 22"/>
                  <a:gd name="T146" fmla="*/ 16 w 16"/>
                  <a:gd name="T147" fmla="*/ 22 h 22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6" h="22">
                    <a:moveTo>
                      <a:pt x="0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5" y="6"/>
                    </a:lnTo>
                    <a:lnTo>
                      <a:pt x="11" y="6"/>
                    </a:lnTo>
                    <a:lnTo>
                      <a:pt x="11" y="11"/>
                    </a:lnTo>
                    <a:lnTo>
                      <a:pt x="16" y="11"/>
                    </a:lnTo>
                    <a:lnTo>
                      <a:pt x="16" y="16"/>
                    </a:lnTo>
                    <a:lnTo>
                      <a:pt x="16" y="22"/>
                    </a:lnTo>
                    <a:lnTo>
                      <a:pt x="11" y="22"/>
                    </a:lnTo>
                    <a:lnTo>
                      <a:pt x="11" y="16"/>
                    </a:lnTo>
                    <a:lnTo>
                      <a:pt x="11" y="11"/>
                    </a:lnTo>
                    <a:lnTo>
                      <a:pt x="11" y="6"/>
                    </a:lnTo>
                    <a:lnTo>
                      <a:pt x="5" y="6"/>
                    </a:lnTo>
                    <a:lnTo>
                      <a:pt x="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69" name="Freeform 862"/>
              <p:cNvSpPr>
                <a:spLocks/>
              </p:cNvSpPr>
              <p:nvPr/>
            </p:nvSpPr>
            <p:spPr bwMode="auto">
              <a:xfrm>
                <a:off x="3311244" y="3311476"/>
                <a:ext cx="8599" cy="33338"/>
              </a:xfrm>
              <a:custGeom>
                <a:avLst/>
                <a:gdLst>
                  <a:gd name="T0" fmla="*/ 5 w 5"/>
                  <a:gd name="T1" fmla="*/ 0 h 21"/>
                  <a:gd name="T2" fmla="*/ 5 w 5"/>
                  <a:gd name="T3" fmla="*/ 0 h 21"/>
                  <a:gd name="T4" fmla="*/ 5 w 5"/>
                  <a:gd name="T5" fmla="*/ 0 h 21"/>
                  <a:gd name="T6" fmla="*/ 5 w 5"/>
                  <a:gd name="T7" fmla="*/ 5 h 21"/>
                  <a:gd name="T8" fmla="*/ 5 w 5"/>
                  <a:gd name="T9" fmla="*/ 5 h 21"/>
                  <a:gd name="T10" fmla="*/ 5 w 5"/>
                  <a:gd name="T11" fmla="*/ 5 h 21"/>
                  <a:gd name="T12" fmla="*/ 5 w 5"/>
                  <a:gd name="T13" fmla="*/ 5 h 21"/>
                  <a:gd name="T14" fmla="*/ 5 w 5"/>
                  <a:gd name="T15" fmla="*/ 10 h 21"/>
                  <a:gd name="T16" fmla="*/ 5 w 5"/>
                  <a:gd name="T17" fmla="*/ 10 h 21"/>
                  <a:gd name="T18" fmla="*/ 5 w 5"/>
                  <a:gd name="T19" fmla="*/ 10 h 21"/>
                  <a:gd name="T20" fmla="*/ 5 w 5"/>
                  <a:gd name="T21" fmla="*/ 10 h 21"/>
                  <a:gd name="T22" fmla="*/ 5 w 5"/>
                  <a:gd name="T23" fmla="*/ 10 h 21"/>
                  <a:gd name="T24" fmla="*/ 5 w 5"/>
                  <a:gd name="T25" fmla="*/ 16 h 21"/>
                  <a:gd name="T26" fmla="*/ 5 w 5"/>
                  <a:gd name="T27" fmla="*/ 16 h 21"/>
                  <a:gd name="T28" fmla="*/ 5 w 5"/>
                  <a:gd name="T29" fmla="*/ 16 h 21"/>
                  <a:gd name="T30" fmla="*/ 5 w 5"/>
                  <a:gd name="T31" fmla="*/ 16 h 21"/>
                  <a:gd name="T32" fmla="*/ 0 w 5"/>
                  <a:gd name="T33" fmla="*/ 16 h 21"/>
                  <a:gd name="T34" fmla="*/ 0 w 5"/>
                  <a:gd name="T35" fmla="*/ 16 h 21"/>
                  <a:gd name="T36" fmla="*/ 0 w 5"/>
                  <a:gd name="T37" fmla="*/ 21 h 21"/>
                  <a:gd name="T38" fmla="*/ 0 w 5"/>
                  <a:gd name="T39" fmla="*/ 21 h 21"/>
                  <a:gd name="T40" fmla="*/ 0 w 5"/>
                  <a:gd name="T41" fmla="*/ 21 h 21"/>
                  <a:gd name="T42" fmla="*/ 0 w 5"/>
                  <a:gd name="T43" fmla="*/ 21 h 21"/>
                  <a:gd name="T44" fmla="*/ 0 w 5"/>
                  <a:gd name="T45" fmla="*/ 21 h 21"/>
                  <a:gd name="T46" fmla="*/ 0 w 5"/>
                  <a:gd name="T47" fmla="*/ 21 h 21"/>
                  <a:gd name="T48" fmla="*/ 0 w 5"/>
                  <a:gd name="T49" fmla="*/ 21 h 21"/>
                  <a:gd name="T50" fmla="*/ 0 w 5"/>
                  <a:gd name="T51" fmla="*/ 21 h 21"/>
                  <a:gd name="T52" fmla="*/ 0 w 5"/>
                  <a:gd name="T53" fmla="*/ 21 h 21"/>
                  <a:gd name="T54" fmla="*/ 0 w 5"/>
                  <a:gd name="T55" fmla="*/ 21 h 21"/>
                  <a:gd name="T56" fmla="*/ 0 w 5"/>
                  <a:gd name="T57" fmla="*/ 21 h 21"/>
                  <a:gd name="T58" fmla="*/ 0 w 5"/>
                  <a:gd name="T59" fmla="*/ 21 h 21"/>
                  <a:gd name="T60" fmla="*/ 0 w 5"/>
                  <a:gd name="T61" fmla="*/ 16 h 21"/>
                  <a:gd name="T62" fmla="*/ 0 w 5"/>
                  <a:gd name="T63" fmla="*/ 16 h 21"/>
                  <a:gd name="T64" fmla="*/ 0 w 5"/>
                  <a:gd name="T65" fmla="*/ 16 h 21"/>
                  <a:gd name="T66" fmla="*/ 0 w 5"/>
                  <a:gd name="T67" fmla="*/ 16 h 21"/>
                  <a:gd name="T68" fmla="*/ 0 w 5"/>
                  <a:gd name="T69" fmla="*/ 16 h 21"/>
                  <a:gd name="T70" fmla="*/ 5 w 5"/>
                  <a:gd name="T71" fmla="*/ 16 h 21"/>
                  <a:gd name="T72" fmla="*/ 5 w 5"/>
                  <a:gd name="T73" fmla="*/ 10 h 21"/>
                  <a:gd name="T74" fmla="*/ 5 w 5"/>
                  <a:gd name="T75" fmla="*/ 10 h 21"/>
                  <a:gd name="T76" fmla="*/ 5 w 5"/>
                  <a:gd name="T77" fmla="*/ 10 h 21"/>
                  <a:gd name="T78" fmla="*/ 5 w 5"/>
                  <a:gd name="T79" fmla="*/ 10 h 21"/>
                  <a:gd name="T80" fmla="*/ 5 w 5"/>
                  <a:gd name="T81" fmla="*/ 10 h 21"/>
                  <a:gd name="T82" fmla="*/ 5 w 5"/>
                  <a:gd name="T83" fmla="*/ 5 h 21"/>
                  <a:gd name="T84" fmla="*/ 5 w 5"/>
                  <a:gd name="T85" fmla="*/ 5 h 21"/>
                  <a:gd name="T86" fmla="*/ 5 w 5"/>
                  <a:gd name="T87" fmla="*/ 5 h 21"/>
                  <a:gd name="T88" fmla="*/ 5 w 5"/>
                  <a:gd name="T89" fmla="*/ 5 h 21"/>
                  <a:gd name="T90" fmla="*/ 5 w 5"/>
                  <a:gd name="T91" fmla="*/ 0 h 21"/>
                  <a:gd name="T92" fmla="*/ 5 w 5"/>
                  <a:gd name="T93" fmla="*/ 0 h 21"/>
                  <a:gd name="T94" fmla="*/ 5 w 5"/>
                  <a:gd name="T95" fmla="*/ 0 h 21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5"/>
                  <a:gd name="T145" fmla="*/ 0 h 21"/>
                  <a:gd name="T146" fmla="*/ 5 w 5"/>
                  <a:gd name="T147" fmla="*/ 21 h 21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5" h="21">
                    <a:moveTo>
                      <a:pt x="5" y="0"/>
                    </a:moveTo>
                    <a:lnTo>
                      <a:pt x="5" y="0"/>
                    </a:lnTo>
                    <a:lnTo>
                      <a:pt x="5" y="5"/>
                    </a:lnTo>
                    <a:lnTo>
                      <a:pt x="5" y="10"/>
                    </a:lnTo>
                    <a:lnTo>
                      <a:pt x="5" y="16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0" y="16"/>
                    </a:lnTo>
                    <a:lnTo>
                      <a:pt x="5" y="16"/>
                    </a:lnTo>
                    <a:lnTo>
                      <a:pt x="5" y="10"/>
                    </a:lnTo>
                    <a:lnTo>
                      <a:pt x="5" y="5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70" name="Freeform 863"/>
              <p:cNvSpPr>
                <a:spLocks/>
              </p:cNvSpPr>
              <p:nvPr/>
            </p:nvSpPr>
            <p:spPr bwMode="auto">
              <a:xfrm>
                <a:off x="3292326" y="3276551"/>
                <a:ext cx="18918" cy="60325"/>
              </a:xfrm>
              <a:custGeom>
                <a:avLst/>
                <a:gdLst>
                  <a:gd name="T0" fmla="*/ 11 w 11"/>
                  <a:gd name="T1" fmla="*/ 38 h 38"/>
                  <a:gd name="T2" fmla="*/ 5 w 11"/>
                  <a:gd name="T3" fmla="*/ 32 h 38"/>
                  <a:gd name="T4" fmla="*/ 5 w 11"/>
                  <a:gd name="T5" fmla="*/ 22 h 38"/>
                  <a:gd name="T6" fmla="*/ 0 w 11"/>
                  <a:gd name="T7" fmla="*/ 11 h 38"/>
                  <a:gd name="T8" fmla="*/ 5 w 11"/>
                  <a:gd name="T9" fmla="*/ 0 h 3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38"/>
                  <a:gd name="T17" fmla="*/ 11 w 11"/>
                  <a:gd name="T18" fmla="*/ 38 h 3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38">
                    <a:moveTo>
                      <a:pt x="11" y="38"/>
                    </a:moveTo>
                    <a:lnTo>
                      <a:pt x="5" y="32"/>
                    </a:lnTo>
                    <a:lnTo>
                      <a:pt x="5" y="22"/>
                    </a:lnTo>
                    <a:lnTo>
                      <a:pt x="0" y="11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71" name="Freeform 864"/>
              <p:cNvSpPr>
                <a:spLocks/>
              </p:cNvSpPr>
              <p:nvPr/>
            </p:nvSpPr>
            <p:spPr bwMode="auto">
              <a:xfrm>
                <a:off x="3300925" y="3286076"/>
                <a:ext cx="1720" cy="15875"/>
              </a:xfrm>
              <a:custGeom>
                <a:avLst/>
                <a:gdLst>
                  <a:gd name="T0" fmla="*/ 0 w 1"/>
                  <a:gd name="T1" fmla="*/ 10 h 10"/>
                  <a:gd name="T2" fmla="*/ 0 w 1"/>
                  <a:gd name="T3" fmla="*/ 0 h 10"/>
                  <a:gd name="T4" fmla="*/ 0 w 1"/>
                  <a:gd name="T5" fmla="*/ 0 h 10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0"/>
                  <a:gd name="T11" fmla="*/ 1 w 1"/>
                  <a:gd name="T12" fmla="*/ 10 h 1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0">
                    <a:moveTo>
                      <a:pt x="0" y="10"/>
                    </a:move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72" name="Freeform 865"/>
              <p:cNvSpPr>
                <a:spLocks/>
              </p:cNvSpPr>
              <p:nvPr/>
            </p:nvSpPr>
            <p:spPr bwMode="auto">
              <a:xfrm>
                <a:off x="3292326" y="3294013"/>
                <a:ext cx="18918" cy="33338"/>
              </a:xfrm>
              <a:custGeom>
                <a:avLst/>
                <a:gdLst>
                  <a:gd name="T0" fmla="*/ 11 w 11"/>
                  <a:gd name="T1" fmla="*/ 21 h 21"/>
                  <a:gd name="T2" fmla="*/ 5 w 11"/>
                  <a:gd name="T3" fmla="*/ 16 h 21"/>
                  <a:gd name="T4" fmla="*/ 5 w 11"/>
                  <a:gd name="T5" fmla="*/ 11 h 21"/>
                  <a:gd name="T6" fmla="*/ 0 w 11"/>
                  <a:gd name="T7" fmla="*/ 0 h 21"/>
                  <a:gd name="T8" fmla="*/ 5 w 11"/>
                  <a:gd name="T9" fmla="*/ 0 h 21"/>
                  <a:gd name="T10" fmla="*/ 5 w 11"/>
                  <a:gd name="T11" fmla="*/ 0 h 21"/>
                  <a:gd name="T12" fmla="*/ 11 w 11"/>
                  <a:gd name="T13" fmla="*/ 11 h 21"/>
                  <a:gd name="T14" fmla="*/ 11 w 11"/>
                  <a:gd name="T15" fmla="*/ 16 h 21"/>
                  <a:gd name="T16" fmla="*/ 11 w 11"/>
                  <a:gd name="T17" fmla="*/ 21 h 2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1"/>
                  <a:gd name="T28" fmla="*/ 0 h 21"/>
                  <a:gd name="T29" fmla="*/ 11 w 11"/>
                  <a:gd name="T30" fmla="*/ 21 h 2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1" h="21">
                    <a:moveTo>
                      <a:pt x="11" y="21"/>
                    </a:moveTo>
                    <a:lnTo>
                      <a:pt x="5" y="16"/>
                    </a:lnTo>
                    <a:lnTo>
                      <a:pt x="5" y="11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11" y="11"/>
                    </a:lnTo>
                    <a:lnTo>
                      <a:pt x="11" y="16"/>
                    </a:lnTo>
                    <a:lnTo>
                      <a:pt x="11" y="21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73" name="Freeform 866"/>
              <p:cNvSpPr>
                <a:spLocks/>
              </p:cNvSpPr>
              <p:nvPr/>
            </p:nvSpPr>
            <p:spPr bwMode="auto">
              <a:xfrm>
                <a:off x="3300925" y="3301951"/>
                <a:ext cx="10319" cy="17463"/>
              </a:xfrm>
              <a:custGeom>
                <a:avLst/>
                <a:gdLst>
                  <a:gd name="T0" fmla="*/ 0 w 6"/>
                  <a:gd name="T1" fmla="*/ 11 h 11"/>
                  <a:gd name="T2" fmla="*/ 0 w 6"/>
                  <a:gd name="T3" fmla="*/ 6 h 11"/>
                  <a:gd name="T4" fmla="*/ 0 w 6"/>
                  <a:gd name="T5" fmla="*/ 6 h 11"/>
                  <a:gd name="T6" fmla="*/ 0 w 6"/>
                  <a:gd name="T7" fmla="*/ 0 h 11"/>
                  <a:gd name="T8" fmla="*/ 0 w 6"/>
                  <a:gd name="T9" fmla="*/ 0 h 11"/>
                  <a:gd name="T10" fmla="*/ 0 w 6"/>
                  <a:gd name="T11" fmla="*/ 0 h 11"/>
                  <a:gd name="T12" fmla="*/ 6 w 6"/>
                  <a:gd name="T13" fmla="*/ 6 h 11"/>
                  <a:gd name="T14" fmla="*/ 0 w 6"/>
                  <a:gd name="T15" fmla="*/ 6 h 11"/>
                  <a:gd name="T16" fmla="*/ 0 w 6"/>
                  <a:gd name="T17" fmla="*/ 11 h 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11"/>
                  <a:gd name="T29" fmla="*/ 6 w 6"/>
                  <a:gd name="T30" fmla="*/ 11 h 1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11">
                    <a:moveTo>
                      <a:pt x="0" y="11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6" y="6"/>
                    </a:lnTo>
                    <a:lnTo>
                      <a:pt x="0" y="6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838181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74" name="Freeform 867"/>
              <p:cNvSpPr>
                <a:spLocks/>
              </p:cNvSpPr>
              <p:nvPr/>
            </p:nvSpPr>
            <p:spPr bwMode="auto">
              <a:xfrm>
                <a:off x="3311244" y="3319413"/>
                <a:ext cx="8599" cy="17463"/>
              </a:xfrm>
              <a:custGeom>
                <a:avLst/>
                <a:gdLst>
                  <a:gd name="T0" fmla="*/ 0 w 5"/>
                  <a:gd name="T1" fmla="*/ 11 h 11"/>
                  <a:gd name="T2" fmla="*/ 0 w 5"/>
                  <a:gd name="T3" fmla="*/ 11 h 11"/>
                  <a:gd name="T4" fmla="*/ 5 w 5"/>
                  <a:gd name="T5" fmla="*/ 5 h 11"/>
                  <a:gd name="T6" fmla="*/ 5 w 5"/>
                  <a:gd name="T7" fmla="*/ 5 h 11"/>
                  <a:gd name="T8" fmla="*/ 5 w 5"/>
                  <a:gd name="T9" fmla="*/ 5 h 11"/>
                  <a:gd name="T10" fmla="*/ 5 w 5"/>
                  <a:gd name="T11" fmla="*/ 0 h 11"/>
                  <a:gd name="T12" fmla="*/ 5 w 5"/>
                  <a:gd name="T13" fmla="*/ 0 h 11"/>
                  <a:gd name="T14" fmla="*/ 0 w 5"/>
                  <a:gd name="T15" fmla="*/ 0 h 11"/>
                  <a:gd name="T16" fmla="*/ 0 w 5"/>
                  <a:gd name="T17" fmla="*/ 0 h 11"/>
                  <a:gd name="T18" fmla="*/ 0 w 5"/>
                  <a:gd name="T19" fmla="*/ 11 h 1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"/>
                  <a:gd name="T31" fmla="*/ 0 h 11"/>
                  <a:gd name="T32" fmla="*/ 5 w 5"/>
                  <a:gd name="T33" fmla="*/ 11 h 1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" h="11">
                    <a:moveTo>
                      <a:pt x="0" y="11"/>
                    </a:moveTo>
                    <a:lnTo>
                      <a:pt x="0" y="11"/>
                    </a:lnTo>
                    <a:lnTo>
                      <a:pt x="5" y="5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75" name="Freeform 868"/>
              <p:cNvSpPr>
                <a:spLocks/>
              </p:cNvSpPr>
              <p:nvPr/>
            </p:nvSpPr>
            <p:spPr bwMode="auto">
              <a:xfrm>
                <a:off x="3300925" y="3319413"/>
                <a:ext cx="10319" cy="17463"/>
              </a:xfrm>
              <a:custGeom>
                <a:avLst/>
                <a:gdLst>
                  <a:gd name="T0" fmla="*/ 6 w 6"/>
                  <a:gd name="T1" fmla="*/ 11 h 11"/>
                  <a:gd name="T2" fmla="*/ 6 w 6"/>
                  <a:gd name="T3" fmla="*/ 11 h 11"/>
                  <a:gd name="T4" fmla="*/ 6 w 6"/>
                  <a:gd name="T5" fmla="*/ 11 h 11"/>
                  <a:gd name="T6" fmla="*/ 6 w 6"/>
                  <a:gd name="T7" fmla="*/ 11 h 11"/>
                  <a:gd name="T8" fmla="*/ 6 w 6"/>
                  <a:gd name="T9" fmla="*/ 11 h 11"/>
                  <a:gd name="T10" fmla="*/ 6 w 6"/>
                  <a:gd name="T11" fmla="*/ 11 h 11"/>
                  <a:gd name="T12" fmla="*/ 6 w 6"/>
                  <a:gd name="T13" fmla="*/ 11 h 11"/>
                  <a:gd name="T14" fmla="*/ 6 w 6"/>
                  <a:gd name="T15" fmla="*/ 11 h 11"/>
                  <a:gd name="T16" fmla="*/ 6 w 6"/>
                  <a:gd name="T17" fmla="*/ 11 h 11"/>
                  <a:gd name="T18" fmla="*/ 6 w 6"/>
                  <a:gd name="T19" fmla="*/ 11 h 11"/>
                  <a:gd name="T20" fmla="*/ 6 w 6"/>
                  <a:gd name="T21" fmla="*/ 0 h 11"/>
                  <a:gd name="T22" fmla="*/ 6 w 6"/>
                  <a:gd name="T23" fmla="*/ 0 h 11"/>
                  <a:gd name="T24" fmla="*/ 0 w 6"/>
                  <a:gd name="T25" fmla="*/ 0 h 11"/>
                  <a:gd name="T26" fmla="*/ 0 w 6"/>
                  <a:gd name="T27" fmla="*/ 0 h 11"/>
                  <a:gd name="T28" fmla="*/ 0 w 6"/>
                  <a:gd name="T29" fmla="*/ 0 h 11"/>
                  <a:gd name="T30" fmla="*/ 0 w 6"/>
                  <a:gd name="T31" fmla="*/ 0 h 11"/>
                  <a:gd name="T32" fmla="*/ 0 w 6"/>
                  <a:gd name="T33" fmla="*/ 0 h 11"/>
                  <a:gd name="T34" fmla="*/ 0 w 6"/>
                  <a:gd name="T35" fmla="*/ 0 h 11"/>
                  <a:gd name="T36" fmla="*/ 6 w 6"/>
                  <a:gd name="T37" fmla="*/ 0 h 11"/>
                  <a:gd name="T38" fmla="*/ 0 w 6"/>
                  <a:gd name="T39" fmla="*/ 0 h 11"/>
                  <a:gd name="T40" fmla="*/ 6 w 6"/>
                  <a:gd name="T41" fmla="*/ 11 h 11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"/>
                  <a:gd name="T64" fmla="*/ 0 h 11"/>
                  <a:gd name="T65" fmla="*/ 6 w 6"/>
                  <a:gd name="T66" fmla="*/ 11 h 11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" h="11">
                    <a:moveTo>
                      <a:pt x="6" y="11"/>
                    </a:moveTo>
                    <a:lnTo>
                      <a:pt x="6" y="11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6" y="11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76" name="Freeform 869"/>
              <p:cNvSpPr>
                <a:spLocks/>
              </p:cNvSpPr>
              <p:nvPr/>
            </p:nvSpPr>
            <p:spPr bwMode="auto">
              <a:xfrm>
                <a:off x="3292326" y="3311476"/>
                <a:ext cx="18918" cy="25400"/>
              </a:xfrm>
              <a:custGeom>
                <a:avLst/>
                <a:gdLst>
                  <a:gd name="T0" fmla="*/ 0 w 11"/>
                  <a:gd name="T1" fmla="*/ 0 h 16"/>
                  <a:gd name="T2" fmla="*/ 0 w 11"/>
                  <a:gd name="T3" fmla="*/ 0 h 16"/>
                  <a:gd name="T4" fmla="*/ 0 w 11"/>
                  <a:gd name="T5" fmla="*/ 5 h 16"/>
                  <a:gd name="T6" fmla="*/ 0 w 11"/>
                  <a:gd name="T7" fmla="*/ 5 h 16"/>
                  <a:gd name="T8" fmla="*/ 0 w 11"/>
                  <a:gd name="T9" fmla="*/ 10 h 16"/>
                  <a:gd name="T10" fmla="*/ 0 w 11"/>
                  <a:gd name="T11" fmla="*/ 10 h 16"/>
                  <a:gd name="T12" fmla="*/ 0 w 11"/>
                  <a:gd name="T13" fmla="*/ 10 h 16"/>
                  <a:gd name="T14" fmla="*/ 5 w 11"/>
                  <a:gd name="T15" fmla="*/ 16 h 16"/>
                  <a:gd name="T16" fmla="*/ 5 w 11"/>
                  <a:gd name="T17" fmla="*/ 16 h 16"/>
                  <a:gd name="T18" fmla="*/ 11 w 11"/>
                  <a:gd name="T19" fmla="*/ 16 h 16"/>
                  <a:gd name="T20" fmla="*/ 5 w 11"/>
                  <a:gd name="T21" fmla="*/ 5 h 16"/>
                  <a:gd name="T22" fmla="*/ 11 w 11"/>
                  <a:gd name="T23" fmla="*/ 5 h 16"/>
                  <a:gd name="T24" fmla="*/ 11 w 11"/>
                  <a:gd name="T25" fmla="*/ 5 h 16"/>
                  <a:gd name="T26" fmla="*/ 11 w 11"/>
                  <a:gd name="T27" fmla="*/ 5 h 16"/>
                  <a:gd name="T28" fmla="*/ 11 w 11"/>
                  <a:gd name="T29" fmla="*/ 5 h 16"/>
                  <a:gd name="T30" fmla="*/ 11 w 11"/>
                  <a:gd name="T31" fmla="*/ 5 h 16"/>
                  <a:gd name="T32" fmla="*/ 11 w 11"/>
                  <a:gd name="T33" fmla="*/ 0 h 16"/>
                  <a:gd name="T34" fmla="*/ 11 w 11"/>
                  <a:gd name="T35" fmla="*/ 0 h 16"/>
                  <a:gd name="T36" fmla="*/ 11 w 11"/>
                  <a:gd name="T37" fmla="*/ 0 h 16"/>
                  <a:gd name="T38" fmla="*/ 11 w 11"/>
                  <a:gd name="T39" fmla="*/ 0 h 16"/>
                  <a:gd name="T40" fmla="*/ 0 w 11"/>
                  <a:gd name="T41" fmla="*/ 0 h 1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1"/>
                  <a:gd name="T64" fmla="*/ 0 h 16"/>
                  <a:gd name="T65" fmla="*/ 11 w 11"/>
                  <a:gd name="T66" fmla="*/ 16 h 1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1" h="16">
                    <a:moveTo>
                      <a:pt x="0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5" y="16"/>
                    </a:lnTo>
                    <a:lnTo>
                      <a:pt x="11" y="16"/>
                    </a:lnTo>
                    <a:lnTo>
                      <a:pt x="5" y="5"/>
                    </a:lnTo>
                    <a:lnTo>
                      <a:pt x="11" y="5"/>
                    </a:lnTo>
                    <a:lnTo>
                      <a:pt x="1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77" name="Freeform 870"/>
              <p:cNvSpPr>
                <a:spLocks/>
              </p:cNvSpPr>
              <p:nvPr/>
            </p:nvSpPr>
            <p:spPr bwMode="auto">
              <a:xfrm>
                <a:off x="3283727" y="3286076"/>
                <a:ext cx="27517" cy="25400"/>
              </a:xfrm>
              <a:custGeom>
                <a:avLst/>
                <a:gdLst>
                  <a:gd name="T0" fmla="*/ 10 w 16"/>
                  <a:gd name="T1" fmla="*/ 0 h 16"/>
                  <a:gd name="T2" fmla="*/ 10 w 16"/>
                  <a:gd name="T3" fmla="*/ 0 h 16"/>
                  <a:gd name="T4" fmla="*/ 5 w 16"/>
                  <a:gd name="T5" fmla="*/ 0 h 16"/>
                  <a:gd name="T6" fmla="*/ 5 w 16"/>
                  <a:gd name="T7" fmla="*/ 5 h 16"/>
                  <a:gd name="T8" fmla="*/ 5 w 16"/>
                  <a:gd name="T9" fmla="*/ 5 h 16"/>
                  <a:gd name="T10" fmla="*/ 5 w 16"/>
                  <a:gd name="T11" fmla="*/ 5 h 16"/>
                  <a:gd name="T12" fmla="*/ 5 w 16"/>
                  <a:gd name="T13" fmla="*/ 10 h 16"/>
                  <a:gd name="T14" fmla="*/ 0 w 16"/>
                  <a:gd name="T15" fmla="*/ 10 h 16"/>
                  <a:gd name="T16" fmla="*/ 5 w 16"/>
                  <a:gd name="T17" fmla="*/ 16 h 16"/>
                  <a:gd name="T18" fmla="*/ 5 w 16"/>
                  <a:gd name="T19" fmla="*/ 16 h 16"/>
                  <a:gd name="T20" fmla="*/ 16 w 16"/>
                  <a:gd name="T21" fmla="*/ 16 h 16"/>
                  <a:gd name="T22" fmla="*/ 16 w 16"/>
                  <a:gd name="T23" fmla="*/ 16 h 16"/>
                  <a:gd name="T24" fmla="*/ 16 w 16"/>
                  <a:gd name="T25" fmla="*/ 10 h 16"/>
                  <a:gd name="T26" fmla="*/ 16 w 16"/>
                  <a:gd name="T27" fmla="*/ 10 h 16"/>
                  <a:gd name="T28" fmla="*/ 16 w 16"/>
                  <a:gd name="T29" fmla="*/ 10 h 16"/>
                  <a:gd name="T30" fmla="*/ 16 w 16"/>
                  <a:gd name="T31" fmla="*/ 10 h 16"/>
                  <a:gd name="T32" fmla="*/ 16 w 16"/>
                  <a:gd name="T33" fmla="*/ 10 h 16"/>
                  <a:gd name="T34" fmla="*/ 16 w 16"/>
                  <a:gd name="T35" fmla="*/ 10 h 16"/>
                  <a:gd name="T36" fmla="*/ 10 w 16"/>
                  <a:gd name="T37" fmla="*/ 10 h 16"/>
                  <a:gd name="T38" fmla="*/ 10 w 16"/>
                  <a:gd name="T39" fmla="*/ 10 h 16"/>
                  <a:gd name="T40" fmla="*/ 10 w 16"/>
                  <a:gd name="T41" fmla="*/ 0 h 1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6"/>
                  <a:gd name="T64" fmla="*/ 0 h 16"/>
                  <a:gd name="T65" fmla="*/ 16 w 16"/>
                  <a:gd name="T66" fmla="*/ 16 h 1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6" h="16">
                    <a:moveTo>
                      <a:pt x="10" y="0"/>
                    </a:moveTo>
                    <a:lnTo>
                      <a:pt x="10" y="0"/>
                    </a:lnTo>
                    <a:lnTo>
                      <a:pt x="5" y="0"/>
                    </a:lnTo>
                    <a:lnTo>
                      <a:pt x="5" y="5"/>
                    </a:lnTo>
                    <a:lnTo>
                      <a:pt x="5" y="10"/>
                    </a:lnTo>
                    <a:lnTo>
                      <a:pt x="0" y="10"/>
                    </a:lnTo>
                    <a:lnTo>
                      <a:pt x="5" y="16"/>
                    </a:lnTo>
                    <a:lnTo>
                      <a:pt x="16" y="16"/>
                    </a:lnTo>
                    <a:lnTo>
                      <a:pt x="16" y="10"/>
                    </a:lnTo>
                    <a:lnTo>
                      <a:pt x="10" y="10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78" name="Freeform 871"/>
              <p:cNvSpPr>
                <a:spLocks/>
              </p:cNvSpPr>
              <p:nvPr/>
            </p:nvSpPr>
            <p:spPr bwMode="auto">
              <a:xfrm>
                <a:off x="3300925" y="3286076"/>
                <a:ext cx="1720" cy="15875"/>
              </a:xfrm>
              <a:custGeom>
                <a:avLst/>
                <a:gdLst>
                  <a:gd name="T0" fmla="*/ 0 w 1"/>
                  <a:gd name="T1" fmla="*/ 0 h 10"/>
                  <a:gd name="T2" fmla="*/ 0 w 1"/>
                  <a:gd name="T3" fmla="*/ 0 h 10"/>
                  <a:gd name="T4" fmla="*/ 0 w 1"/>
                  <a:gd name="T5" fmla="*/ 0 h 10"/>
                  <a:gd name="T6" fmla="*/ 0 w 1"/>
                  <a:gd name="T7" fmla="*/ 0 h 10"/>
                  <a:gd name="T8" fmla="*/ 0 w 1"/>
                  <a:gd name="T9" fmla="*/ 0 h 10"/>
                  <a:gd name="T10" fmla="*/ 0 w 1"/>
                  <a:gd name="T11" fmla="*/ 0 h 10"/>
                  <a:gd name="T12" fmla="*/ 0 w 1"/>
                  <a:gd name="T13" fmla="*/ 0 h 10"/>
                  <a:gd name="T14" fmla="*/ 0 w 1"/>
                  <a:gd name="T15" fmla="*/ 0 h 10"/>
                  <a:gd name="T16" fmla="*/ 0 w 1"/>
                  <a:gd name="T17" fmla="*/ 5 h 10"/>
                  <a:gd name="T18" fmla="*/ 0 w 1"/>
                  <a:gd name="T19" fmla="*/ 5 h 10"/>
                  <a:gd name="T20" fmla="*/ 0 w 1"/>
                  <a:gd name="T21" fmla="*/ 10 h 10"/>
                  <a:gd name="T22" fmla="*/ 0 w 1"/>
                  <a:gd name="T23" fmla="*/ 10 h 10"/>
                  <a:gd name="T24" fmla="*/ 0 w 1"/>
                  <a:gd name="T25" fmla="*/ 10 h 10"/>
                  <a:gd name="T26" fmla="*/ 0 w 1"/>
                  <a:gd name="T27" fmla="*/ 10 h 10"/>
                  <a:gd name="T28" fmla="*/ 0 w 1"/>
                  <a:gd name="T29" fmla="*/ 10 h 10"/>
                  <a:gd name="T30" fmla="*/ 0 w 1"/>
                  <a:gd name="T31" fmla="*/ 10 h 10"/>
                  <a:gd name="T32" fmla="*/ 0 w 1"/>
                  <a:gd name="T33" fmla="*/ 10 h 10"/>
                  <a:gd name="T34" fmla="*/ 0 w 1"/>
                  <a:gd name="T35" fmla="*/ 10 h 10"/>
                  <a:gd name="T36" fmla="*/ 0 w 1"/>
                  <a:gd name="T37" fmla="*/ 0 h 1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"/>
                  <a:gd name="T58" fmla="*/ 0 h 10"/>
                  <a:gd name="T59" fmla="*/ 1 w 1"/>
                  <a:gd name="T60" fmla="*/ 10 h 10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" h="10">
                    <a:moveTo>
                      <a:pt x="0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79" name="Freeform 872"/>
              <p:cNvSpPr>
                <a:spLocks/>
              </p:cNvSpPr>
              <p:nvPr/>
            </p:nvSpPr>
            <p:spPr bwMode="auto">
              <a:xfrm>
                <a:off x="3300925" y="3286076"/>
                <a:ext cx="10319" cy="15875"/>
              </a:xfrm>
              <a:custGeom>
                <a:avLst/>
                <a:gdLst>
                  <a:gd name="T0" fmla="*/ 0 w 6"/>
                  <a:gd name="T1" fmla="*/ 10 h 10"/>
                  <a:gd name="T2" fmla="*/ 6 w 6"/>
                  <a:gd name="T3" fmla="*/ 10 h 10"/>
                  <a:gd name="T4" fmla="*/ 6 w 6"/>
                  <a:gd name="T5" fmla="*/ 10 h 10"/>
                  <a:gd name="T6" fmla="*/ 6 w 6"/>
                  <a:gd name="T7" fmla="*/ 5 h 10"/>
                  <a:gd name="T8" fmla="*/ 6 w 6"/>
                  <a:gd name="T9" fmla="*/ 5 h 10"/>
                  <a:gd name="T10" fmla="*/ 6 w 6"/>
                  <a:gd name="T11" fmla="*/ 5 h 10"/>
                  <a:gd name="T12" fmla="*/ 6 w 6"/>
                  <a:gd name="T13" fmla="*/ 0 h 10"/>
                  <a:gd name="T14" fmla="*/ 0 w 6"/>
                  <a:gd name="T15" fmla="*/ 0 h 10"/>
                  <a:gd name="T16" fmla="*/ 0 w 6"/>
                  <a:gd name="T17" fmla="*/ 0 h 10"/>
                  <a:gd name="T18" fmla="*/ 0 w 6"/>
                  <a:gd name="T19" fmla="*/ 10 h 1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"/>
                  <a:gd name="T31" fmla="*/ 0 h 10"/>
                  <a:gd name="T32" fmla="*/ 6 w 6"/>
                  <a:gd name="T33" fmla="*/ 10 h 1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" h="10">
                    <a:moveTo>
                      <a:pt x="0" y="10"/>
                    </a:moveTo>
                    <a:lnTo>
                      <a:pt x="6" y="10"/>
                    </a:lnTo>
                    <a:lnTo>
                      <a:pt x="6" y="5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80" name="Line 873"/>
              <p:cNvSpPr>
                <a:spLocks noChangeShapeType="1"/>
              </p:cNvSpPr>
              <p:nvPr/>
            </p:nvSpPr>
            <p:spPr bwMode="auto">
              <a:xfrm>
                <a:off x="3300925" y="3294013"/>
                <a:ext cx="10319" cy="158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81" name="Line 874"/>
              <p:cNvSpPr>
                <a:spLocks noChangeShapeType="1"/>
              </p:cNvSpPr>
              <p:nvPr/>
            </p:nvSpPr>
            <p:spPr bwMode="auto">
              <a:xfrm>
                <a:off x="3311244" y="3327351"/>
                <a:ext cx="8599" cy="158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82" name="Line 875"/>
              <p:cNvSpPr>
                <a:spLocks noChangeShapeType="1"/>
              </p:cNvSpPr>
              <p:nvPr/>
            </p:nvSpPr>
            <p:spPr bwMode="auto">
              <a:xfrm>
                <a:off x="3457426" y="3428951"/>
                <a:ext cx="27517" cy="158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83" name="Freeform 876"/>
              <p:cNvSpPr>
                <a:spLocks/>
              </p:cNvSpPr>
              <p:nvPr/>
            </p:nvSpPr>
            <p:spPr bwMode="auto">
              <a:xfrm>
                <a:off x="3495262" y="3421013"/>
                <a:ext cx="27517" cy="7938"/>
              </a:xfrm>
              <a:custGeom>
                <a:avLst/>
                <a:gdLst>
                  <a:gd name="T0" fmla="*/ 16 w 16"/>
                  <a:gd name="T1" fmla="*/ 0 h 5"/>
                  <a:gd name="T2" fmla="*/ 5 w 16"/>
                  <a:gd name="T3" fmla="*/ 0 h 5"/>
                  <a:gd name="T4" fmla="*/ 0 w 16"/>
                  <a:gd name="T5" fmla="*/ 5 h 5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5"/>
                  <a:gd name="T11" fmla="*/ 16 w 16"/>
                  <a:gd name="T12" fmla="*/ 5 h 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5">
                    <a:moveTo>
                      <a:pt x="16" y="0"/>
                    </a:moveTo>
                    <a:lnTo>
                      <a:pt x="5" y="0"/>
                    </a:lnTo>
                    <a:lnTo>
                      <a:pt x="0" y="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84" name="Freeform 877"/>
              <p:cNvSpPr>
                <a:spLocks/>
              </p:cNvSpPr>
              <p:nvPr/>
            </p:nvSpPr>
            <p:spPr bwMode="auto">
              <a:xfrm>
                <a:off x="3264810" y="3243213"/>
                <a:ext cx="304403" cy="127000"/>
              </a:xfrm>
              <a:custGeom>
                <a:avLst/>
                <a:gdLst>
                  <a:gd name="T0" fmla="*/ 177 w 177"/>
                  <a:gd name="T1" fmla="*/ 69 h 80"/>
                  <a:gd name="T2" fmla="*/ 128 w 177"/>
                  <a:gd name="T3" fmla="*/ 80 h 80"/>
                  <a:gd name="T4" fmla="*/ 128 w 177"/>
                  <a:gd name="T5" fmla="*/ 80 h 80"/>
                  <a:gd name="T6" fmla="*/ 118 w 177"/>
                  <a:gd name="T7" fmla="*/ 48 h 80"/>
                  <a:gd name="T8" fmla="*/ 107 w 177"/>
                  <a:gd name="T9" fmla="*/ 32 h 80"/>
                  <a:gd name="T10" fmla="*/ 91 w 177"/>
                  <a:gd name="T11" fmla="*/ 37 h 80"/>
                  <a:gd name="T12" fmla="*/ 86 w 177"/>
                  <a:gd name="T13" fmla="*/ 53 h 80"/>
                  <a:gd name="T14" fmla="*/ 80 w 177"/>
                  <a:gd name="T15" fmla="*/ 48 h 80"/>
                  <a:gd name="T16" fmla="*/ 69 w 177"/>
                  <a:gd name="T17" fmla="*/ 21 h 80"/>
                  <a:gd name="T18" fmla="*/ 59 w 177"/>
                  <a:gd name="T19" fmla="*/ 16 h 80"/>
                  <a:gd name="T20" fmla="*/ 48 w 177"/>
                  <a:gd name="T21" fmla="*/ 16 h 80"/>
                  <a:gd name="T22" fmla="*/ 43 w 177"/>
                  <a:gd name="T23" fmla="*/ 37 h 80"/>
                  <a:gd name="T24" fmla="*/ 37 w 177"/>
                  <a:gd name="T25" fmla="*/ 37 h 80"/>
                  <a:gd name="T26" fmla="*/ 32 w 177"/>
                  <a:gd name="T27" fmla="*/ 11 h 80"/>
                  <a:gd name="T28" fmla="*/ 21 w 177"/>
                  <a:gd name="T29" fmla="*/ 0 h 80"/>
                  <a:gd name="T30" fmla="*/ 11 w 177"/>
                  <a:gd name="T31" fmla="*/ 0 h 80"/>
                  <a:gd name="T32" fmla="*/ 5 w 177"/>
                  <a:gd name="T33" fmla="*/ 21 h 80"/>
                  <a:gd name="T34" fmla="*/ 0 w 177"/>
                  <a:gd name="T35" fmla="*/ 21 h 80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77"/>
                  <a:gd name="T55" fmla="*/ 0 h 80"/>
                  <a:gd name="T56" fmla="*/ 177 w 177"/>
                  <a:gd name="T57" fmla="*/ 80 h 80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77" h="80">
                    <a:moveTo>
                      <a:pt x="177" y="69"/>
                    </a:moveTo>
                    <a:lnTo>
                      <a:pt x="128" y="80"/>
                    </a:lnTo>
                    <a:lnTo>
                      <a:pt x="118" y="48"/>
                    </a:lnTo>
                    <a:lnTo>
                      <a:pt x="107" y="32"/>
                    </a:lnTo>
                    <a:lnTo>
                      <a:pt x="91" y="37"/>
                    </a:lnTo>
                    <a:lnTo>
                      <a:pt x="86" y="53"/>
                    </a:lnTo>
                    <a:lnTo>
                      <a:pt x="80" y="48"/>
                    </a:lnTo>
                    <a:lnTo>
                      <a:pt x="69" y="21"/>
                    </a:lnTo>
                    <a:lnTo>
                      <a:pt x="59" y="16"/>
                    </a:lnTo>
                    <a:lnTo>
                      <a:pt x="48" y="16"/>
                    </a:lnTo>
                    <a:lnTo>
                      <a:pt x="43" y="37"/>
                    </a:lnTo>
                    <a:lnTo>
                      <a:pt x="37" y="37"/>
                    </a:lnTo>
                    <a:lnTo>
                      <a:pt x="32" y="11"/>
                    </a:lnTo>
                    <a:lnTo>
                      <a:pt x="21" y="0"/>
                    </a:lnTo>
                    <a:lnTo>
                      <a:pt x="11" y="0"/>
                    </a:lnTo>
                    <a:lnTo>
                      <a:pt x="5" y="21"/>
                    </a:lnTo>
                    <a:lnTo>
                      <a:pt x="0" y="21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85" name="Freeform 878"/>
              <p:cNvSpPr>
                <a:spLocks/>
              </p:cNvSpPr>
              <p:nvPr/>
            </p:nvSpPr>
            <p:spPr bwMode="auto">
              <a:xfrm>
                <a:off x="3412712" y="3286076"/>
                <a:ext cx="72231" cy="84138"/>
              </a:xfrm>
              <a:custGeom>
                <a:avLst/>
                <a:gdLst>
                  <a:gd name="T0" fmla="*/ 42 w 42"/>
                  <a:gd name="T1" fmla="*/ 53 h 53"/>
                  <a:gd name="T2" fmla="*/ 37 w 42"/>
                  <a:gd name="T3" fmla="*/ 21 h 53"/>
                  <a:gd name="T4" fmla="*/ 26 w 42"/>
                  <a:gd name="T5" fmla="*/ 5 h 53"/>
                  <a:gd name="T6" fmla="*/ 10 w 42"/>
                  <a:gd name="T7" fmla="*/ 0 h 53"/>
                  <a:gd name="T8" fmla="*/ 5 w 42"/>
                  <a:gd name="T9" fmla="*/ 5 h 53"/>
                  <a:gd name="T10" fmla="*/ 0 w 42"/>
                  <a:gd name="T11" fmla="*/ 21 h 5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2"/>
                  <a:gd name="T19" fmla="*/ 0 h 53"/>
                  <a:gd name="T20" fmla="*/ 42 w 42"/>
                  <a:gd name="T21" fmla="*/ 53 h 5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2" h="53">
                    <a:moveTo>
                      <a:pt x="42" y="53"/>
                    </a:moveTo>
                    <a:lnTo>
                      <a:pt x="37" y="21"/>
                    </a:lnTo>
                    <a:lnTo>
                      <a:pt x="26" y="5"/>
                    </a:lnTo>
                    <a:lnTo>
                      <a:pt x="10" y="0"/>
                    </a:lnTo>
                    <a:lnTo>
                      <a:pt x="5" y="5"/>
                    </a:lnTo>
                    <a:lnTo>
                      <a:pt x="0" y="21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86" name="Freeform 879"/>
              <p:cNvSpPr>
                <a:spLocks/>
              </p:cNvSpPr>
              <p:nvPr/>
            </p:nvSpPr>
            <p:spPr bwMode="auto">
              <a:xfrm>
                <a:off x="3412712" y="3286076"/>
                <a:ext cx="27517" cy="33338"/>
              </a:xfrm>
              <a:custGeom>
                <a:avLst/>
                <a:gdLst>
                  <a:gd name="T0" fmla="*/ 16 w 16"/>
                  <a:gd name="T1" fmla="*/ 0 h 21"/>
                  <a:gd name="T2" fmla="*/ 5 w 16"/>
                  <a:gd name="T3" fmla="*/ 5 h 21"/>
                  <a:gd name="T4" fmla="*/ 0 w 16"/>
                  <a:gd name="T5" fmla="*/ 21 h 21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21"/>
                  <a:gd name="T11" fmla="*/ 16 w 16"/>
                  <a:gd name="T12" fmla="*/ 21 h 2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21">
                    <a:moveTo>
                      <a:pt x="16" y="0"/>
                    </a:moveTo>
                    <a:lnTo>
                      <a:pt x="5" y="5"/>
                    </a:lnTo>
                    <a:lnTo>
                      <a:pt x="0" y="21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87" name="Freeform 880"/>
              <p:cNvSpPr>
                <a:spLocks/>
              </p:cNvSpPr>
              <p:nvPr/>
            </p:nvSpPr>
            <p:spPr bwMode="auto">
              <a:xfrm>
                <a:off x="3264810" y="3235276"/>
                <a:ext cx="147902" cy="84138"/>
              </a:xfrm>
              <a:custGeom>
                <a:avLst/>
                <a:gdLst>
                  <a:gd name="T0" fmla="*/ 0 w 86"/>
                  <a:gd name="T1" fmla="*/ 26 h 53"/>
                  <a:gd name="T2" fmla="*/ 5 w 86"/>
                  <a:gd name="T3" fmla="*/ 5 h 53"/>
                  <a:gd name="T4" fmla="*/ 21 w 86"/>
                  <a:gd name="T5" fmla="*/ 0 h 53"/>
                  <a:gd name="T6" fmla="*/ 32 w 86"/>
                  <a:gd name="T7" fmla="*/ 10 h 53"/>
                  <a:gd name="T8" fmla="*/ 43 w 86"/>
                  <a:gd name="T9" fmla="*/ 37 h 53"/>
                  <a:gd name="T10" fmla="*/ 48 w 86"/>
                  <a:gd name="T11" fmla="*/ 21 h 53"/>
                  <a:gd name="T12" fmla="*/ 64 w 86"/>
                  <a:gd name="T13" fmla="*/ 21 h 53"/>
                  <a:gd name="T14" fmla="*/ 75 w 86"/>
                  <a:gd name="T15" fmla="*/ 32 h 53"/>
                  <a:gd name="T16" fmla="*/ 86 w 86"/>
                  <a:gd name="T17" fmla="*/ 53 h 5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86"/>
                  <a:gd name="T28" fmla="*/ 0 h 53"/>
                  <a:gd name="T29" fmla="*/ 86 w 86"/>
                  <a:gd name="T30" fmla="*/ 53 h 5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86" h="53">
                    <a:moveTo>
                      <a:pt x="0" y="26"/>
                    </a:moveTo>
                    <a:lnTo>
                      <a:pt x="5" y="5"/>
                    </a:lnTo>
                    <a:lnTo>
                      <a:pt x="21" y="0"/>
                    </a:lnTo>
                    <a:lnTo>
                      <a:pt x="32" y="10"/>
                    </a:lnTo>
                    <a:lnTo>
                      <a:pt x="43" y="37"/>
                    </a:lnTo>
                    <a:lnTo>
                      <a:pt x="48" y="21"/>
                    </a:lnTo>
                    <a:lnTo>
                      <a:pt x="64" y="21"/>
                    </a:lnTo>
                    <a:lnTo>
                      <a:pt x="75" y="32"/>
                    </a:lnTo>
                    <a:lnTo>
                      <a:pt x="86" y="53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88" name="Freeform 881"/>
              <p:cNvSpPr>
                <a:spLocks/>
              </p:cNvSpPr>
              <p:nvPr/>
            </p:nvSpPr>
            <p:spPr bwMode="auto">
              <a:xfrm>
                <a:off x="3264810" y="3243213"/>
                <a:ext cx="27517" cy="33338"/>
              </a:xfrm>
              <a:custGeom>
                <a:avLst/>
                <a:gdLst>
                  <a:gd name="T0" fmla="*/ 0 w 16"/>
                  <a:gd name="T1" fmla="*/ 21 h 21"/>
                  <a:gd name="T2" fmla="*/ 5 w 16"/>
                  <a:gd name="T3" fmla="*/ 0 h 21"/>
                  <a:gd name="T4" fmla="*/ 16 w 16"/>
                  <a:gd name="T5" fmla="*/ 0 h 21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21"/>
                  <a:gd name="T11" fmla="*/ 16 w 16"/>
                  <a:gd name="T12" fmla="*/ 21 h 2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21">
                    <a:moveTo>
                      <a:pt x="0" y="21"/>
                    </a:moveTo>
                    <a:lnTo>
                      <a:pt x="5" y="0"/>
                    </a:lnTo>
                    <a:lnTo>
                      <a:pt x="16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89" name="Freeform 882"/>
              <p:cNvSpPr>
                <a:spLocks/>
              </p:cNvSpPr>
              <p:nvPr/>
            </p:nvSpPr>
            <p:spPr bwMode="auto">
              <a:xfrm>
                <a:off x="3338761" y="3268613"/>
                <a:ext cx="27517" cy="25400"/>
              </a:xfrm>
              <a:custGeom>
                <a:avLst/>
                <a:gdLst>
                  <a:gd name="T0" fmla="*/ 0 w 16"/>
                  <a:gd name="T1" fmla="*/ 16 h 16"/>
                  <a:gd name="T2" fmla="*/ 5 w 16"/>
                  <a:gd name="T3" fmla="*/ 0 h 16"/>
                  <a:gd name="T4" fmla="*/ 16 w 16"/>
                  <a:gd name="T5" fmla="*/ 0 h 16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16"/>
                  <a:gd name="T11" fmla="*/ 16 w 16"/>
                  <a:gd name="T12" fmla="*/ 16 h 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16">
                    <a:moveTo>
                      <a:pt x="0" y="16"/>
                    </a:moveTo>
                    <a:lnTo>
                      <a:pt x="5" y="0"/>
                    </a:lnTo>
                    <a:lnTo>
                      <a:pt x="16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90" name="Freeform 883"/>
              <p:cNvSpPr>
                <a:spLocks/>
              </p:cNvSpPr>
              <p:nvPr/>
            </p:nvSpPr>
            <p:spPr bwMode="auto">
              <a:xfrm>
                <a:off x="3319843" y="3352751"/>
                <a:ext cx="27517" cy="17463"/>
              </a:xfrm>
              <a:custGeom>
                <a:avLst/>
                <a:gdLst>
                  <a:gd name="T0" fmla="*/ 0 w 16"/>
                  <a:gd name="T1" fmla="*/ 11 h 11"/>
                  <a:gd name="T2" fmla="*/ 5 w 16"/>
                  <a:gd name="T3" fmla="*/ 6 h 11"/>
                  <a:gd name="T4" fmla="*/ 16 w 16"/>
                  <a:gd name="T5" fmla="*/ 6 h 11"/>
                  <a:gd name="T6" fmla="*/ 16 w 16"/>
                  <a:gd name="T7" fmla="*/ 0 h 11"/>
                  <a:gd name="T8" fmla="*/ 16 w 16"/>
                  <a:gd name="T9" fmla="*/ 0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11"/>
                  <a:gd name="T17" fmla="*/ 16 w 16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11">
                    <a:moveTo>
                      <a:pt x="0" y="11"/>
                    </a:moveTo>
                    <a:lnTo>
                      <a:pt x="5" y="6"/>
                    </a:lnTo>
                    <a:lnTo>
                      <a:pt x="16" y="6"/>
                    </a:lnTo>
                    <a:lnTo>
                      <a:pt x="16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91" name="Freeform 884"/>
              <p:cNvSpPr>
                <a:spLocks/>
              </p:cNvSpPr>
              <p:nvPr/>
            </p:nvSpPr>
            <p:spPr bwMode="auto">
              <a:xfrm>
                <a:off x="3383475" y="3387676"/>
                <a:ext cx="37835" cy="15875"/>
              </a:xfrm>
              <a:custGeom>
                <a:avLst/>
                <a:gdLst>
                  <a:gd name="T0" fmla="*/ 0 w 22"/>
                  <a:gd name="T1" fmla="*/ 10 h 10"/>
                  <a:gd name="T2" fmla="*/ 17 w 22"/>
                  <a:gd name="T3" fmla="*/ 5 h 10"/>
                  <a:gd name="T4" fmla="*/ 17 w 22"/>
                  <a:gd name="T5" fmla="*/ 0 h 10"/>
                  <a:gd name="T6" fmla="*/ 22 w 22"/>
                  <a:gd name="T7" fmla="*/ 0 h 1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2"/>
                  <a:gd name="T13" fmla="*/ 0 h 10"/>
                  <a:gd name="T14" fmla="*/ 22 w 22"/>
                  <a:gd name="T15" fmla="*/ 10 h 1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2" h="10">
                    <a:moveTo>
                      <a:pt x="0" y="10"/>
                    </a:moveTo>
                    <a:lnTo>
                      <a:pt x="17" y="5"/>
                    </a:lnTo>
                    <a:lnTo>
                      <a:pt x="17" y="0"/>
                    </a:lnTo>
                    <a:lnTo>
                      <a:pt x="22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92" name="Line 885"/>
              <p:cNvSpPr>
                <a:spLocks noChangeShapeType="1"/>
              </p:cNvSpPr>
              <p:nvPr/>
            </p:nvSpPr>
            <p:spPr bwMode="auto">
              <a:xfrm>
                <a:off x="3292326" y="3235276"/>
                <a:ext cx="18918" cy="158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93" name="Freeform 886"/>
              <p:cNvSpPr>
                <a:spLocks/>
              </p:cNvSpPr>
              <p:nvPr/>
            </p:nvSpPr>
            <p:spPr bwMode="auto">
              <a:xfrm>
                <a:off x="3135825" y="3184476"/>
                <a:ext cx="73951" cy="33338"/>
              </a:xfrm>
              <a:custGeom>
                <a:avLst/>
                <a:gdLst>
                  <a:gd name="T0" fmla="*/ 0 w 43"/>
                  <a:gd name="T1" fmla="*/ 0 h 21"/>
                  <a:gd name="T2" fmla="*/ 5 w 43"/>
                  <a:gd name="T3" fmla="*/ 21 h 21"/>
                  <a:gd name="T4" fmla="*/ 5 w 43"/>
                  <a:gd name="T5" fmla="*/ 21 h 21"/>
                  <a:gd name="T6" fmla="*/ 43 w 43"/>
                  <a:gd name="T7" fmla="*/ 16 h 2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3"/>
                  <a:gd name="T13" fmla="*/ 0 h 21"/>
                  <a:gd name="T14" fmla="*/ 43 w 43"/>
                  <a:gd name="T15" fmla="*/ 21 h 2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3" h="21">
                    <a:moveTo>
                      <a:pt x="0" y="0"/>
                    </a:moveTo>
                    <a:lnTo>
                      <a:pt x="5" y="21"/>
                    </a:lnTo>
                    <a:lnTo>
                      <a:pt x="43" y="16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94" name="Line 887"/>
              <p:cNvSpPr>
                <a:spLocks noChangeShapeType="1"/>
              </p:cNvSpPr>
              <p:nvPr/>
            </p:nvSpPr>
            <p:spPr bwMode="auto">
              <a:xfrm flipV="1">
                <a:off x="3144424" y="3184476"/>
                <a:ext cx="1720" cy="3333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95" name="Freeform 888"/>
              <p:cNvSpPr>
                <a:spLocks/>
              </p:cNvSpPr>
              <p:nvPr/>
            </p:nvSpPr>
            <p:spPr bwMode="auto">
              <a:xfrm>
                <a:off x="3171941" y="3192413"/>
                <a:ext cx="18918" cy="17463"/>
              </a:xfrm>
              <a:custGeom>
                <a:avLst/>
                <a:gdLst>
                  <a:gd name="T0" fmla="*/ 0 w 11"/>
                  <a:gd name="T1" fmla="*/ 0 h 11"/>
                  <a:gd name="T2" fmla="*/ 0 w 11"/>
                  <a:gd name="T3" fmla="*/ 11 h 11"/>
                  <a:gd name="T4" fmla="*/ 11 w 11"/>
                  <a:gd name="T5" fmla="*/ 5 h 11"/>
                  <a:gd name="T6" fmla="*/ 0 60000 65536"/>
                  <a:gd name="T7" fmla="*/ 0 60000 65536"/>
                  <a:gd name="T8" fmla="*/ 0 60000 65536"/>
                  <a:gd name="T9" fmla="*/ 0 w 11"/>
                  <a:gd name="T10" fmla="*/ 0 h 11"/>
                  <a:gd name="T11" fmla="*/ 11 w 11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1" h="11">
                    <a:moveTo>
                      <a:pt x="0" y="0"/>
                    </a:moveTo>
                    <a:lnTo>
                      <a:pt x="0" y="11"/>
                    </a:lnTo>
                    <a:lnTo>
                      <a:pt x="11" y="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96" name="Line 889"/>
              <p:cNvSpPr>
                <a:spLocks noChangeShapeType="1"/>
              </p:cNvSpPr>
              <p:nvPr/>
            </p:nvSpPr>
            <p:spPr bwMode="auto">
              <a:xfrm flipV="1">
                <a:off x="3182260" y="3200351"/>
                <a:ext cx="8599" cy="952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97" name="Freeform 890"/>
              <p:cNvSpPr>
                <a:spLocks/>
              </p:cNvSpPr>
              <p:nvPr/>
            </p:nvSpPr>
            <p:spPr bwMode="auto">
              <a:xfrm>
                <a:off x="3171941" y="3225751"/>
                <a:ext cx="73951" cy="34925"/>
              </a:xfrm>
              <a:custGeom>
                <a:avLst/>
                <a:gdLst>
                  <a:gd name="T0" fmla="*/ 43 w 43"/>
                  <a:gd name="T1" fmla="*/ 0 h 22"/>
                  <a:gd name="T2" fmla="*/ 0 w 43"/>
                  <a:gd name="T3" fmla="*/ 6 h 22"/>
                  <a:gd name="T4" fmla="*/ 0 w 43"/>
                  <a:gd name="T5" fmla="*/ 22 h 22"/>
                  <a:gd name="T6" fmla="*/ 0 60000 65536"/>
                  <a:gd name="T7" fmla="*/ 0 60000 65536"/>
                  <a:gd name="T8" fmla="*/ 0 60000 65536"/>
                  <a:gd name="T9" fmla="*/ 0 w 43"/>
                  <a:gd name="T10" fmla="*/ 0 h 22"/>
                  <a:gd name="T11" fmla="*/ 43 w 43"/>
                  <a:gd name="T12" fmla="*/ 22 h 2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3" h="22">
                    <a:moveTo>
                      <a:pt x="43" y="0"/>
                    </a:moveTo>
                    <a:lnTo>
                      <a:pt x="0" y="6"/>
                    </a:lnTo>
                    <a:lnTo>
                      <a:pt x="0" y="22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98" name="Line 891"/>
              <p:cNvSpPr>
                <a:spLocks noChangeShapeType="1"/>
              </p:cNvSpPr>
              <p:nvPr/>
            </p:nvSpPr>
            <p:spPr bwMode="auto">
              <a:xfrm>
                <a:off x="3171941" y="3235276"/>
                <a:ext cx="1720" cy="158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99" name="Freeform 892"/>
              <p:cNvSpPr>
                <a:spLocks/>
              </p:cNvSpPr>
              <p:nvPr/>
            </p:nvSpPr>
            <p:spPr bwMode="auto">
              <a:xfrm>
                <a:off x="3171941" y="3209876"/>
                <a:ext cx="55033" cy="25400"/>
              </a:xfrm>
              <a:custGeom>
                <a:avLst/>
                <a:gdLst>
                  <a:gd name="T0" fmla="*/ 32 w 32"/>
                  <a:gd name="T1" fmla="*/ 0 h 16"/>
                  <a:gd name="T2" fmla="*/ 6 w 32"/>
                  <a:gd name="T3" fmla="*/ 5 h 16"/>
                  <a:gd name="T4" fmla="*/ 6 w 32"/>
                  <a:gd name="T5" fmla="*/ 16 h 16"/>
                  <a:gd name="T6" fmla="*/ 0 w 32"/>
                  <a:gd name="T7" fmla="*/ 16 h 1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2"/>
                  <a:gd name="T13" fmla="*/ 0 h 16"/>
                  <a:gd name="T14" fmla="*/ 32 w 32"/>
                  <a:gd name="T15" fmla="*/ 16 h 1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2" h="16">
                    <a:moveTo>
                      <a:pt x="32" y="0"/>
                    </a:moveTo>
                    <a:lnTo>
                      <a:pt x="6" y="5"/>
                    </a:lnTo>
                    <a:lnTo>
                      <a:pt x="6" y="16"/>
                    </a:lnTo>
                    <a:lnTo>
                      <a:pt x="0" y="16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00" name="Line 893"/>
              <p:cNvSpPr>
                <a:spLocks noChangeShapeType="1"/>
              </p:cNvSpPr>
              <p:nvPr/>
            </p:nvSpPr>
            <p:spPr bwMode="auto">
              <a:xfrm flipH="1">
                <a:off x="3171941" y="3217813"/>
                <a:ext cx="10319" cy="158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01" name="Freeform 894"/>
              <p:cNvSpPr>
                <a:spLocks/>
              </p:cNvSpPr>
              <p:nvPr/>
            </p:nvSpPr>
            <p:spPr bwMode="auto">
              <a:xfrm>
                <a:off x="3171941" y="3209876"/>
                <a:ext cx="111786" cy="41275"/>
              </a:xfrm>
              <a:custGeom>
                <a:avLst/>
                <a:gdLst>
                  <a:gd name="T0" fmla="*/ 65 w 65"/>
                  <a:gd name="T1" fmla="*/ 16 h 26"/>
                  <a:gd name="T2" fmla="*/ 0 w 65"/>
                  <a:gd name="T3" fmla="*/ 26 h 26"/>
                  <a:gd name="T4" fmla="*/ 0 w 65"/>
                  <a:gd name="T5" fmla="*/ 26 h 26"/>
                  <a:gd name="T6" fmla="*/ 0 w 65"/>
                  <a:gd name="T7" fmla="*/ 16 h 26"/>
                  <a:gd name="T8" fmla="*/ 0 w 65"/>
                  <a:gd name="T9" fmla="*/ 16 h 26"/>
                  <a:gd name="T10" fmla="*/ 0 w 65"/>
                  <a:gd name="T11" fmla="*/ 5 h 26"/>
                  <a:gd name="T12" fmla="*/ 27 w 65"/>
                  <a:gd name="T13" fmla="*/ 0 h 2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5"/>
                  <a:gd name="T22" fmla="*/ 0 h 26"/>
                  <a:gd name="T23" fmla="*/ 65 w 65"/>
                  <a:gd name="T24" fmla="*/ 26 h 2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5" h="26">
                    <a:moveTo>
                      <a:pt x="65" y="16"/>
                    </a:moveTo>
                    <a:lnTo>
                      <a:pt x="0" y="26"/>
                    </a:lnTo>
                    <a:lnTo>
                      <a:pt x="0" y="16"/>
                    </a:lnTo>
                    <a:lnTo>
                      <a:pt x="0" y="5"/>
                    </a:lnTo>
                    <a:lnTo>
                      <a:pt x="27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02" name="Line 895"/>
              <p:cNvSpPr>
                <a:spLocks noChangeShapeType="1"/>
              </p:cNvSpPr>
              <p:nvPr/>
            </p:nvSpPr>
            <p:spPr bwMode="auto">
              <a:xfrm flipV="1">
                <a:off x="3245892" y="3217813"/>
                <a:ext cx="1720" cy="25400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03" name="Line 896"/>
              <p:cNvSpPr>
                <a:spLocks noChangeShapeType="1"/>
              </p:cNvSpPr>
              <p:nvPr/>
            </p:nvSpPr>
            <p:spPr bwMode="auto">
              <a:xfrm flipV="1">
                <a:off x="3254491" y="3217813"/>
                <a:ext cx="1720" cy="17463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04" name="Freeform 897"/>
              <p:cNvSpPr>
                <a:spLocks/>
              </p:cNvSpPr>
              <p:nvPr/>
            </p:nvSpPr>
            <p:spPr bwMode="auto">
              <a:xfrm>
                <a:off x="3264810" y="3276551"/>
                <a:ext cx="18918" cy="50800"/>
              </a:xfrm>
              <a:custGeom>
                <a:avLst/>
                <a:gdLst>
                  <a:gd name="T0" fmla="*/ 5 w 11"/>
                  <a:gd name="T1" fmla="*/ 0 h 32"/>
                  <a:gd name="T2" fmla="*/ 0 w 11"/>
                  <a:gd name="T3" fmla="*/ 16 h 32"/>
                  <a:gd name="T4" fmla="*/ 0 w 11"/>
                  <a:gd name="T5" fmla="*/ 32 h 32"/>
                  <a:gd name="T6" fmla="*/ 11 w 11"/>
                  <a:gd name="T7" fmla="*/ 32 h 3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"/>
                  <a:gd name="T13" fmla="*/ 0 h 32"/>
                  <a:gd name="T14" fmla="*/ 11 w 11"/>
                  <a:gd name="T15" fmla="*/ 32 h 3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" h="32">
                    <a:moveTo>
                      <a:pt x="5" y="0"/>
                    </a:moveTo>
                    <a:lnTo>
                      <a:pt x="0" y="16"/>
                    </a:lnTo>
                    <a:lnTo>
                      <a:pt x="0" y="32"/>
                    </a:lnTo>
                    <a:lnTo>
                      <a:pt x="11" y="32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05" name="Freeform 898"/>
              <p:cNvSpPr>
                <a:spLocks/>
              </p:cNvSpPr>
              <p:nvPr/>
            </p:nvSpPr>
            <p:spPr bwMode="auto">
              <a:xfrm>
                <a:off x="3698197" y="3454351"/>
                <a:ext cx="27517" cy="42863"/>
              </a:xfrm>
              <a:custGeom>
                <a:avLst/>
                <a:gdLst>
                  <a:gd name="T0" fmla="*/ 10 w 16"/>
                  <a:gd name="T1" fmla="*/ 27 h 27"/>
                  <a:gd name="T2" fmla="*/ 5 w 16"/>
                  <a:gd name="T3" fmla="*/ 22 h 27"/>
                  <a:gd name="T4" fmla="*/ 0 w 16"/>
                  <a:gd name="T5" fmla="*/ 16 h 27"/>
                  <a:gd name="T6" fmla="*/ 0 w 16"/>
                  <a:gd name="T7" fmla="*/ 6 h 27"/>
                  <a:gd name="T8" fmla="*/ 5 w 16"/>
                  <a:gd name="T9" fmla="*/ 0 h 27"/>
                  <a:gd name="T10" fmla="*/ 10 w 16"/>
                  <a:gd name="T11" fmla="*/ 0 h 27"/>
                  <a:gd name="T12" fmla="*/ 16 w 16"/>
                  <a:gd name="T13" fmla="*/ 11 h 27"/>
                  <a:gd name="T14" fmla="*/ 10 w 16"/>
                  <a:gd name="T15" fmla="*/ 22 h 27"/>
                  <a:gd name="T16" fmla="*/ 10 w 16"/>
                  <a:gd name="T17" fmla="*/ 27 h 2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"/>
                  <a:gd name="T28" fmla="*/ 0 h 27"/>
                  <a:gd name="T29" fmla="*/ 16 w 16"/>
                  <a:gd name="T30" fmla="*/ 27 h 2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" h="27">
                    <a:moveTo>
                      <a:pt x="10" y="27"/>
                    </a:moveTo>
                    <a:lnTo>
                      <a:pt x="5" y="22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5" y="0"/>
                    </a:lnTo>
                    <a:lnTo>
                      <a:pt x="10" y="0"/>
                    </a:lnTo>
                    <a:lnTo>
                      <a:pt x="16" y="11"/>
                    </a:lnTo>
                    <a:lnTo>
                      <a:pt x="10" y="22"/>
                    </a:lnTo>
                    <a:lnTo>
                      <a:pt x="10" y="27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06" name="Freeform 899"/>
              <p:cNvSpPr>
                <a:spLocks/>
              </p:cNvSpPr>
              <p:nvPr/>
            </p:nvSpPr>
            <p:spPr bwMode="auto">
              <a:xfrm>
                <a:off x="3698197" y="3454351"/>
                <a:ext cx="27517" cy="42863"/>
              </a:xfrm>
              <a:custGeom>
                <a:avLst/>
                <a:gdLst>
                  <a:gd name="T0" fmla="*/ 10 w 16"/>
                  <a:gd name="T1" fmla="*/ 27 h 27"/>
                  <a:gd name="T2" fmla="*/ 5 w 16"/>
                  <a:gd name="T3" fmla="*/ 22 h 27"/>
                  <a:gd name="T4" fmla="*/ 0 w 16"/>
                  <a:gd name="T5" fmla="*/ 16 h 27"/>
                  <a:gd name="T6" fmla="*/ 0 w 16"/>
                  <a:gd name="T7" fmla="*/ 6 h 27"/>
                  <a:gd name="T8" fmla="*/ 5 w 16"/>
                  <a:gd name="T9" fmla="*/ 0 h 27"/>
                  <a:gd name="T10" fmla="*/ 10 w 16"/>
                  <a:gd name="T11" fmla="*/ 0 h 27"/>
                  <a:gd name="T12" fmla="*/ 16 w 16"/>
                  <a:gd name="T13" fmla="*/ 11 h 27"/>
                  <a:gd name="T14" fmla="*/ 10 w 16"/>
                  <a:gd name="T15" fmla="*/ 22 h 27"/>
                  <a:gd name="T16" fmla="*/ 10 w 16"/>
                  <a:gd name="T17" fmla="*/ 27 h 2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6"/>
                  <a:gd name="T28" fmla="*/ 0 h 27"/>
                  <a:gd name="T29" fmla="*/ 16 w 16"/>
                  <a:gd name="T30" fmla="*/ 27 h 2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6" h="27">
                    <a:moveTo>
                      <a:pt x="10" y="27"/>
                    </a:moveTo>
                    <a:lnTo>
                      <a:pt x="5" y="22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5" y="0"/>
                    </a:lnTo>
                    <a:lnTo>
                      <a:pt x="10" y="0"/>
                    </a:lnTo>
                    <a:lnTo>
                      <a:pt x="16" y="11"/>
                    </a:lnTo>
                    <a:lnTo>
                      <a:pt x="10" y="22"/>
                    </a:lnTo>
                    <a:lnTo>
                      <a:pt x="10" y="27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07" name="Freeform 900"/>
              <p:cNvSpPr>
                <a:spLocks/>
              </p:cNvSpPr>
              <p:nvPr/>
            </p:nvSpPr>
            <p:spPr bwMode="auto">
              <a:xfrm>
                <a:off x="3715395" y="3471813"/>
                <a:ext cx="10319" cy="7938"/>
              </a:xfrm>
              <a:custGeom>
                <a:avLst/>
                <a:gdLst>
                  <a:gd name="T0" fmla="*/ 0 w 6"/>
                  <a:gd name="T1" fmla="*/ 5 h 5"/>
                  <a:gd name="T2" fmla="*/ 0 w 6"/>
                  <a:gd name="T3" fmla="*/ 5 h 5"/>
                  <a:gd name="T4" fmla="*/ 0 w 6"/>
                  <a:gd name="T5" fmla="*/ 0 h 5"/>
                  <a:gd name="T6" fmla="*/ 0 w 6"/>
                  <a:gd name="T7" fmla="*/ 0 h 5"/>
                  <a:gd name="T8" fmla="*/ 0 w 6"/>
                  <a:gd name="T9" fmla="*/ 0 h 5"/>
                  <a:gd name="T10" fmla="*/ 6 w 6"/>
                  <a:gd name="T11" fmla="*/ 0 h 5"/>
                  <a:gd name="T12" fmla="*/ 0 w 6"/>
                  <a:gd name="T13" fmla="*/ 0 h 5"/>
                  <a:gd name="T14" fmla="*/ 0 w 6"/>
                  <a:gd name="T15" fmla="*/ 5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"/>
                  <a:gd name="T25" fmla="*/ 0 h 5"/>
                  <a:gd name="T26" fmla="*/ 6 w 6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" h="5">
                    <a:moveTo>
                      <a:pt x="0" y="5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08" name="Freeform 901"/>
              <p:cNvSpPr>
                <a:spLocks/>
              </p:cNvSpPr>
              <p:nvPr/>
            </p:nvSpPr>
            <p:spPr bwMode="auto">
              <a:xfrm>
                <a:off x="3706796" y="3463876"/>
                <a:ext cx="18918" cy="25400"/>
              </a:xfrm>
              <a:custGeom>
                <a:avLst/>
                <a:gdLst>
                  <a:gd name="T0" fmla="*/ 0 w 11"/>
                  <a:gd name="T1" fmla="*/ 10 h 16"/>
                  <a:gd name="T2" fmla="*/ 0 w 11"/>
                  <a:gd name="T3" fmla="*/ 10 h 16"/>
                  <a:gd name="T4" fmla="*/ 0 w 11"/>
                  <a:gd name="T5" fmla="*/ 0 h 16"/>
                  <a:gd name="T6" fmla="*/ 0 w 11"/>
                  <a:gd name="T7" fmla="*/ 0 h 16"/>
                  <a:gd name="T8" fmla="*/ 5 w 11"/>
                  <a:gd name="T9" fmla="*/ 0 h 16"/>
                  <a:gd name="T10" fmla="*/ 11 w 11"/>
                  <a:gd name="T11" fmla="*/ 10 h 16"/>
                  <a:gd name="T12" fmla="*/ 5 w 11"/>
                  <a:gd name="T13" fmla="*/ 10 h 16"/>
                  <a:gd name="T14" fmla="*/ 5 w 11"/>
                  <a:gd name="T15" fmla="*/ 16 h 1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"/>
                  <a:gd name="T25" fmla="*/ 0 h 16"/>
                  <a:gd name="T26" fmla="*/ 11 w 11"/>
                  <a:gd name="T27" fmla="*/ 16 h 1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" h="16">
                    <a:moveTo>
                      <a:pt x="0" y="10"/>
                    </a:moveTo>
                    <a:lnTo>
                      <a:pt x="0" y="1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11" y="10"/>
                    </a:lnTo>
                    <a:lnTo>
                      <a:pt x="5" y="10"/>
                    </a:lnTo>
                    <a:lnTo>
                      <a:pt x="5" y="16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09" name="Freeform 902"/>
              <p:cNvSpPr>
                <a:spLocks/>
              </p:cNvSpPr>
              <p:nvPr/>
            </p:nvSpPr>
            <p:spPr bwMode="auto">
              <a:xfrm>
                <a:off x="3698197" y="3454351"/>
                <a:ext cx="17198" cy="42863"/>
              </a:xfrm>
              <a:custGeom>
                <a:avLst/>
                <a:gdLst>
                  <a:gd name="T0" fmla="*/ 10 w 10"/>
                  <a:gd name="T1" fmla="*/ 27 h 27"/>
                  <a:gd name="T2" fmla="*/ 10 w 10"/>
                  <a:gd name="T3" fmla="*/ 27 h 27"/>
                  <a:gd name="T4" fmla="*/ 5 w 10"/>
                  <a:gd name="T5" fmla="*/ 22 h 27"/>
                  <a:gd name="T6" fmla="*/ 0 w 10"/>
                  <a:gd name="T7" fmla="*/ 16 h 27"/>
                  <a:gd name="T8" fmla="*/ 0 w 10"/>
                  <a:gd name="T9" fmla="*/ 6 h 27"/>
                  <a:gd name="T10" fmla="*/ 5 w 10"/>
                  <a:gd name="T11" fmla="*/ 0 h 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"/>
                  <a:gd name="T19" fmla="*/ 0 h 27"/>
                  <a:gd name="T20" fmla="*/ 10 w 10"/>
                  <a:gd name="T21" fmla="*/ 27 h 2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" h="27">
                    <a:moveTo>
                      <a:pt x="10" y="27"/>
                    </a:moveTo>
                    <a:lnTo>
                      <a:pt x="10" y="27"/>
                    </a:lnTo>
                    <a:lnTo>
                      <a:pt x="5" y="22"/>
                    </a:lnTo>
                    <a:lnTo>
                      <a:pt x="0" y="16"/>
                    </a:lnTo>
                    <a:lnTo>
                      <a:pt x="0" y="6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10" name="Freeform 903"/>
              <p:cNvSpPr>
                <a:spLocks/>
              </p:cNvSpPr>
              <p:nvPr/>
            </p:nvSpPr>
            <p:spPr bwMode="auto">
              <a:xfrm>
                <a:off x="3725714" y="3454351"/>
                <a:ext cx="17198" cy="42863"/>
              </a:xfrm>
              <a:custGeom>
                <a:avLst/>
                <a:gdLst>
                  <a:gd name="T0" fmla="*/ 0 w 10"/>
                  <a:gd name="T1" fmla="*/ 0 h 27"/>
                  <a:gd name="T2" fmla="*/ 0 w 10"/>
                  <a:gd name="T3" fmla="*/ 0 h 27"/>
                  <a:gd name="T4" fmla="*/ 5 w 10"/>
                  <a:gd name="T5" fmla="*/ 0 h 27"/>
                  <a:gd name="T6" fmla="*/ 10 w 10"/>
                  <a:gd name="T7" fmla="*/ 11 h 27"/>
                  <a:gd name="T8" fmla="*/ 5 w 10"/>
                  <a:gd name="T9" fmla="*/ 16 h 27"/>
                  <a:gd name="T10" fmla="*/ 5 w 10"/>
                  <a:gd name="T11" fmla="*/ 27 h 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"/>
                  <a:gd name="T19" fmla="*/ 0 h 27"/>
                  <a:gd name="T20" fmla="*/ 10 w 10"/>
                  <a:gd name="T21" fmla="*/ 27 h 2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" h="27">
                    <a:moveTo>
                      <a:pt x="0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10" y="11"/>
                    </a:lnTo>
                    <a:lnTo>
                      <a:pt x="5" y="16"/>
                    </a:lnTo>
                    <a:lnTo>
                      <a:pt x="5" y="27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11" name="Freeform 904"/>
              <p:cNvSpPr>
                <a:spLocks/>
              </p:cNvSpPr>
              <p:nvPr/>
            </p:nvSpPr>
            <p:spPr bwMode="auto">
              <a:xfrm>
                <a:off x="3753231" y="3454351"/>
                <a:ext cx="8599" cy="34925"/>
              </a:xfrm>
              <a:custGeom>
                <a:avLst/>
                <a:gdLst>
                  <a:gd name="T0" fmla="*/ 0 w 5"/>
                  <a:gd name="T1" fmla="*/ 0 h 22"/>
                  <a:gd name="T2" fmla="*/ 0 w 5"/>
                  <a:gd name="T3" fmla="*/ 0 h 22"/>
                  <a:gd name="T4" fmla="*/ 5 w 5"/>
                  <a:gd name="T5" fmla="*/ 6 h 22"/>
                  <a:gd name="T6" fmla="*/ 0 w 5"/>
                  <a:gd name="T7" fmla="*/ 16 h 22"/>
                  <a:gd name="T8" fmla="*/ 0 w 5"/>
                  <a:gd name="T9" fmla="*/ 22 h 2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22"/>
                  <a:gd name="T17" fmla="*/ 5 w 5"/>
                  <a:gd name="T18" fmla="*/ 22 h 2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22">
                    <a:moveTo>
                      <a:pt x="0" y="0"/>
                    </a:moveTo>
                    <a:lnTo>
                      <a:pt x="0" y="0"/>
                    </a:lnTo>
                    <a:lnTo>
                      <a:pt x="5" y="6"/>
                    </a:lnTo>
                    <a:lnTo>
                      <a:pt x="0" y="16"/>
                    </a:lnTo>
                    <a:lnTo>
                      <a:pt x="0" y="22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12" name="Freeform 905"/>
              <p:cNvSpPr>
                <a:spLocks/>
              </p:cNvSpPr>
              <p:nvPr/>
            </p:nvSpPr>
            <p:spPr bwMode="auto">
              <a:xfrm>
                <a:off x="3742912" y="3479751"/>
                <a:ext cx="10319" cy="9525"/>
              </a:xfrm>
              <a:custGeom>
                <a:avLst/>
                <a:gdLst>
                  <a:gd name="T0" fmla="*/ 6 w 6"/>
                  <a:gd name="T1" fmla="*/ 6 h 6"/>
                  <a:gd name="T2" fmla="*/ 6 w 6"/>
                  <a:gd name="T3" fmla="*/ 6 h 6"/>
                  <a:gd name="T4" fmla="*/ 0 w 6"/>
                  <a:gd name="T5" fmla="*/ 0 h 6"/>
                  <a:gd name="T6" fmla="*/ 0 w 6"/>
                  <a:gd name="T7" fmla="*/ 0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6"/>
                  <a:gd name="T14" fmla="*/ 6 w 6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6">
                    <a:moveTo>
                      <a:pt x="6" y="6"/>
                    </a:moveTo>
                    <a:lnTo>
                      <a:pt x="6" y="6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13" name="Freeform 906"/>
              <p:cNvSpPr>
                <a:spLocks/>
              </p:cNvSpPr>
              <p:nvPr/>
            </p:nvSpPr>
            <p:spPr bwMode="auto">
              <a:xfrm>
                <a:off x="3761830" y="3446413"/>
                <a:ext cx="10319" cy="42863"/>
              </a:xfrm>
              <a:custGeom>
                <a:avLst/>
                <a:gdLst>
                  <a:gd name="T0" fmla="*/ 0 w 6"/>
                  <a:gd name="T1" fmla="*/ 0 h 27"/>
                  <a:gd name="T2" fmla="*/ 0 w 6"/>
                  <a:gd name="T3" fmla="*/ 0 h 27"/>
                  <a:gd name="T4" fmla="*/ 6 w 6"/>
                  <a:gd name="T5" fmla="*/ 11 h 27"/>
                  <a:gd name="T6" fmla="*/ 6 w 6"/>
                  <a:gd name="T7" fmla="*/ 16 h 27"/>
                  <a:gd name="T8" fmla="*/ 6 w 6"/>
                  <a:gd name="T9" fmla="*/ 27 h 2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27"/>
                  <a:gd name="T17" fmla="*/ 6 w 6"/>
                  <a:gd name="T18" fmla="*/ 27 h 2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27">
                    <a:moveTo>
                      <a:pt x="0" y="0"/>
                    </a:moveTo>
                    <a:lnTo>
                      <a:pt x="0" y="0"/>
                    </a:lnTo>
                    <a:lnTo>
                      <a:pt x="6" y="11"/>
                    </a:lnTo>
                    <a:lnTo>
                      <a:pt x="6" y="16"/>
                    </a:lnTo>
                    <a:lnTo>
                      <a:pt x="6" y="27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14" name="Line 907"/>
              <p:cNvSpPr>
                <a:spLocks noChangeShapeType="1"/>
              </p:cNvSpPr>
              <p:nvPr/>
            </p:nvSpPr>
            <p:spPr bwMode="auto">
              <a:xfrm>
                <a:off x="3706796" y="3454351"/>
                <a:ext cx="18918" cy="158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15" name="Line 908"/>
              <p:cNvSpPr>
                <a:spLocks noChangeShapeType="1"/>
              </p:cNvSpPr>
              <p:nvPr/>
            </p:nvSpPr>
            <p:spPr bwMode="auto">
              <a:xfrm>
                <a:off x="3715395" y="3497213"/>
                <a:ext cx="18918" cy="158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16" name="Line 909"/>
              <p:cNvSpPr>
                <a:spLocks noChangeShapeType="1"/>
              </p:cNvSpPr>
              <p:nvPr/>
            </p:nvSpPr>
            <p:spPr bwMode="auto">
              <a:xfrm>
                <a:off x="3753231" y="3489276"/>
                <a:ext cx="18918" cy="158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17" name="Freeform 910"/>
              <p:cNvSpPr>
                <a:spLocks/>
              </p:cNvSpPr>
              <p:nvPr/>
            </p:nvSpPr>
            <p:spPr bwMode="auto">
              <a:xfrm>
                <a:off x="3742912" y="3395613"/>
                <a:ext cx="10319" cy="84138"/>
              </a:xfrm>
              <a:custGeom>
                <a:avLst/>
                <a:gdLst>
                  <a:gd name="T0" fmla="*/ 6 w 6"/>
                  <a:gd name="T1" fmla="*/ 0 h 53"/>
                  <a:gd name="T2" fmla="*/ 6 w 6"/>
                  <a:gd name="T3" fmla="*/ 53 h 53"/>
                  <a:gd name="T4" fmla="*/ 0 w 6"/>
                  <a:gd name="T5" fmla="*/ 53 h 53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53"/>
                  <a:gd name="T11" fmla="*/ 6 w 6"/>
                  <a:gd name="T12" fmla="*/ 53 h 5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53">
                    <a:moveTo>
                      <a:pt x="6" y="0"/>
                    </a:moveTo>
                    <a:lnTo>
                      <a:pt x="6" y="53"/>
                    </a:lnTo>
                    <a:lnTo>
                      <a:pt x="0" y="53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18" name="Line 911"/>
              <p:cNvSpPr>
                <a:spLocks noChangeShapeType="1"/>
              </p:cNvSpPr>
              <p:nvPr/>
            </p:nvSpPr>
            <p:spPr bwMode="auto">
              <a:xfrm>
                <a:off x="3734313" y="3387676"/>
                <a:ext cx="1720" cy="76200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19" name="Line 912"/>
              <p:cNvSpPr>
                <a:spLocks noChangeShapeType="1"/>
              </p:cNvSpPr>
              <p:nvPr/>
            </p:nvSpPr>
            <p:spPr bwMode="auto">
              <a:xfrm>
                <a:off x="3725714" y="3387676"/>
                <a:ext cx="1720" cy="6667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20" name="Line 913"/>
              <p:cNvSpPr>
                <a:spLocks noChangeShapeType="1"/>
              </p:cNvSpPr>
              <p:nvPr/>
            </p:nvSpPr>
            <p:spPr bwMode="auto">
              <a:xfrm flipH="1" flipV="1">
                <a:off x="3706796" y="3378151"/>
                <a:ext cx="18918" cy="25400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21" name="Line 914"/>
              <p:cNvSpPr>
                <a:spLocks noChangeShapeType="1"/>
              </p:cNvSpPr>
              <p:nvPr/>
            </p:nvSpPr>
            <p:spPr bwMode="auto">
              <a:xfrm flipH="1" flipV="1">
                <a:off x="3698197" y="3370213"/>
                <a:ext cx="27517" cy="50800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22" name="Line 915"/>
              <p:cNvSpPr>
                <a:spLocks noChangeShapeType="1"/>
              </p:cNvSpPr>
              <p:nvPr/>
            </p:nvSpPr>
            <p:spPr bwMode="auto">
              <a:xfrm flipV="1">
                <a:off x="3753231" y="3403551"/>
                <a:ext cx="36116" cy="3492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23" name="Line 916"/>
              <p:cNvSpPr>
                <a:spLocks noChangeShapeType="1"/>
              </p:cNvSpPr>
              <p:nvPr/>
            </p:nvSpPr>
            <p:spPr bwMode="auto">
              <a:xfrm flipV="1">
                <a:off x="3753231" y="3403551"/>
                <a:ext cx="46434" cy="42863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24" name="Line 917"/>
              <p:cNvSpPr>
                <a:spLocks noChangeShapeType="1"/>
              </p:cNvSpPr>
              <p:nvPr/>
            </p:nvSpPr>
            <p:spPr bwMode="auto">
              <a:xfrm>
                <a:off x="3753231" y="3428951"/>
                <a:ext cx="8599" cy="158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25" name="Line 918"/>
              <p:cNvSpPr>
                <a:spLocks noChangeShapeType="1"/>
              </p:cNvSpPr>
              <p:nvPr/>
            </p:nvSpPr>
            <p:spPr bwMode="auto">
              <a:xfrm flipV="1">
                <a:off x="3772148" y="3421013"/>
                <a:ext cx="55033" cy="793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26" name="Line 919"/>
              <p:cNvSpPr>
                <a:spLocks noChangeShapeType="1"/>
              </p:cNvSpPr>
              <p:nvPr/>
            </p:nvSpPr>
            <p:spPr bwMode="auto">
              <a:xfrm flipH="1">
                <a:off x="3761830" y="3421013"/>
                <a:ext cx="73951" cy="17463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27" name="Line 920"/>
              <p:cNvSpPr>
                <a:spLocks noChangeShapeType="1"/>
              </p:cNvSpPr>
              <p:nvPr/>
            </p:nvSpPr>
            <p:spPr bwMode="auto">
              <a:xfrm>
                <a:off x="3698197" y="3370213"/>
                <a:ext cx="1720" cy="50800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28" name="Freeform 921"/>
              <p:cNvSpPr>
                <a:spLocks/>
              </p:cNvSpPr>
              <p:nvPr/>
            </p:nvSpPr>
            <p:spPr bwMode="auto">
              <a:xfrm>
                <a:off x="3569213" y="3327351"/>
                <a:ext cx="156501" cy="93663"/>
              </a:xfrm>
              <a:custGeom>
                <a:avLst/>
                <a:gdLst>
                  <a:gd name="T0" fmla="*/ 0 w 91"/>
                  <a:gd name="T1" fmla="*/ 0 h 59"/>
                  <a:gd name="T2" fmla="*/ 0 w 91"/>
                  <a:gd name="T3" fmla="*/ 32 h 59"/>
                  <a:gd name="T4" fmla="*/ 75 w 91"/>
                  <a:gd name="T5" fmla="*/ 59 h 59"/>
                  <a:gd name="T6" fmla="*/ 91 w 91"/>
                  <a:gd name="T7" fmla="*/ 59 h 5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1"/>
                  <a:gd name="T13" fmla="*/ 0 h 59"/>
                  <a:gd name="T14" fmla="*/ 91 w 91"/>
                  <a:gd name="T15" fmla="*/ 59 h 5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1" h="59">
                    <a:moveTo>
                      <a:pt x="0" y="0"/>
                    </a:moveTo>
                    <a:lnTo>
                      <a:pt x="0" y="32"/>
                    </a:lnTo>
                    <a:lnTo>
                      <a:pt x="75" y="59"/>
                    </a:lnTo>
                    <a:lnTo>
                      <a:pt x="91" y="59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29" name="Freeform 922"/>
              <p:cNvSpPr>
                <a:spLocks/>
              </p:cNvSpPr>
              <p:nvPr/>
            </p:nvSpPr>
            <p:spPr bwMode="auto">
              <a:xfrm>
                <a:off x="4250250" y="3301951"/>
                <a:ext cx="46434" cy="85725"/>
              </a:xfrm>
              <a:custGeom>
                <a:avLst/>
                <a:gdLst>
                  <a:gd name="T0" fmla="*/ 27 w 27"/>
                  <a:gd name="T1" fmla="*/ 0 h 54"/>
                  <a:gd name="T2" fmla="*/ 6 w 27"/>
                  <a:gd name="T3" fmla="*/ 6 h 54"/>
                  <a:gd name="T4" fmla="*/ 0 w 27"/>
                  <a:gd name="T5" fmla="*/ 11 h 54"/>
                  <a:gd name="T6" fmla="*/ 0 w 27"/>
                  <a:gd name="T7" fmla="*/ 16 h 54"/>
                  <a:gd name="T8" fmla="*/ 0 w 27"/>
                  <a:gd name="T9" fmla="*/ 54 h 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"/>
                  <a:gd name="T16" fmla="*/ 0 h 54"/>
                  <a:gd name="T17" fmla="*/ 27 w 27"/>
                  <a:gd name="T18" fmla="*/ 54 h 5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" h="54">
                    <a:moveTo>
                      <a:pt x="27" y="0"/>
                    </a:moveTo>
                    <a:lnTo>
                      <a:pt x="6" y="6"/>
                    </a:lnTo>
                    <a:lnTo>
                      <a:pt x="0" y="11"/>
                    </a:lnTo>
                    <a:lnTo>
                      <a:pt x="0" y="16"/>
                    </a:lnTo>
                    <a:lnTo>
                      <a:pt x="0" y="54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30" name="Freeform 923"/>
              <p:cNvSpPr>
                <a:spLocks/>
              </p:cNvSpPr>
              <p:nvPr/>
            </p:nvSpPr>
            <p:spPr bwMode="auto">
              <a:xfrm>
                <a:off x="4250250" y="3413076"/>
                <a:ext cx="27517" cy="41275"/>
              </a:xfrm>
              <a:custGeom>
                <a:avLst/>
                <a:gdLst>
                  <a:gd name="T0" fmla="*/ 0 w 16"/>
                  <a:gd name="T1" fmla="*/ 0 h 26"/>
                  <a:gd name="T2" fmla="*/ 0 w 16"/>
                  <a:gd name="T3" fmla="*/ 26 h 26"/>
                  <a:gd name="T4" fmla="*/ 0 w 16"/>
                  <a:gd name="T5" fmla="*/ 26 h 26"/>
                  <a:gd name="T6" fmla="*/ 6 w 16"/>
                  <a:gd name="T7" fmla="*/ 26 h 26"/>
                  <a:gd name="T8" fmla="*/ 16 w 16"/>
                  <a:gd name="T9" fmla="*/ 26 h 2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26"/>
                  <a:gd name="T17" fmla="*/ 16 w 16"/>
                  <a:gd name="T18" fmla="*/ 26 h 2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26">
                    <a:moveTo>
                      <a:pt x="0" y="0"/>
                    </a:moveTo>
                    <a:lnTo>
                      <a:pt x="0" y="26"/>
                    </a:lnTo>
                    <a:lnTo>
                      <a:pt x="6" y="26"/>
                    </a:lnTo>
                    <a:lnTo>
                      <a:pt x="16" y="26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31" name="Freeform 924"/>
              <p:cNvSpPr>
                <a:spLocks/>
              </p:cNvSpPr>
              <p:nvPr/>
            </p:nvSpPr>
            <p:spPr bwMode="auto">
              <a:xfrm>
                <a:off x="4260569" y="3413076"/>
                <a:ext cx="17198" cy="33338"/>
              </a:xfrm>
              <a:custGeom>
                <a:avLst/>
                <a:gdLst>
                  <a:gd name="T0" fmla="*/ 10 w 10"/>
                  <a:gd name="T1" fmla="*/ 21 h 21"/>
                  <a:gd name="T2" fmla="*/ 0 w 10"/>
                  <a:gd name="T3" fmla="*/ 21 h 21"/>
                  <a:gd name="T4" fmla="*/ 0 w 10"/>
                  <a:gd name="T5" fmla="*/ 21 h 21"/>
                  <a:gd name="T6" fmla="*/ 0 w 10"/>
                  <a:gd name="T7" fmla="*/ 21 h 21"/>
                  <a:gd name="T8" fmla="*/ 0 w 10"/>
                  <a:gd name="T9" fmla="*/ 0 h 2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21"/>
                  <a:gd name="T17" fmla="*/ 10 w 10"/>
                  <a:gd name="T18" fmla="*/ 21 h 2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21">
                    <a:moveTo>
                      <a:pt x="10" y="21"/>
                    </a:moveTo>
                    <a:lnTo>
                      <a:pt x="0" y="21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32" name="Freeform 925"/>
              <p:cNvSpPr>
                <a:spLocks/>
              </p:cNvSpPr>
              <p:nvPr/>
            </p:nvSpPr>
            <p:spPr bwMode="auto">
              <a:xfrm>
                <a:off x="4260569" y="3301951"/>
                <a:ext cx="36116" cy="85725"/>
              </a:xfrm>
              <a:custGeom>
                <a:avLst/>
                <a:gdLst>
                  <a:gd name="T0" fmla="*/ 0 w 21"/>
                  <a:gd name="T1" fmla="*/ 54 h 54"/>
                  <a:gd name="T2" fmla="*/ 0 w 21"/>
                  <a:gd name="T3" fmla="*/ 16 h 54"/>
                  <a:gd name="T4" fmla="*/ 0 w 21"/>
                  <a:gd name="T5" fmla="*/ 11 h 54"/>
                  <a:gd name="T6" fmla="*/ 5 w 21"/>
                  <a:gd name="T7" fmla="*/ 11 h 54"/>
                  <a:gd name="T8" fmla="*/ 21 w 21"/>
                  <a:gd name="T9" fmla="*/ 6 h 54"/>
                  <a:gd name="T10" fmla="*/ 21 w 21"/>
                  <a:gd name="T11" fmla="*/ 0 h 54"/>
                  <a:gd name="T12" fmla="*/ 21 w 21"/>
                  <a:gd name="T13" fmla="*/ 0 h 5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1"/>
                  <a:gd name="T22" fmla="*/ 0 h 54"/>
                  <a:gd name="T23" fmla="*/ 21 w 21"/>
                  <a:gd name="T24" fmla="*/ 54 h 5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1" h="54">
                    <a:moveTo>
                      <a:pt x="0" y="54"/>
                    </a:moveTo>
                    <a:lnTo>
                      <a:pt x="0" y="16"/>
                    </a:lnTo>
                    <a:lnTo>
                      <a:pt x="0" y="11"/>
                    </a:lnTo>
                    <a:lnTo>
                      <a:pt x="5" y="11"/>
                    </a:lnTo>
                    <a:lnTo>
                      <a:pt x="21" y="6"/>
                    </a:lnTo>
                    <a:lnTo>
                      <a:pt x="21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33" name="Freeform 926"/>
              <p:cNvSpPr>
                <a:spLocks/>
              </p:cNvSpPr>
              <p:nvPr/>
            </p:nvSpPr>
            <p:spPr bwMode="auto">
              <a:xfrm>
                <a:off x="4269168" y="3438476"/>
                <a:ext cx="27517" cy="7938"/>
              </a:xfrm>
              <a:custGeom>
                <a:avLst/>
                <a:gdLst>
                  <a:gd name="T0" fmla="*/ 0 w 16"/>
                  <a:gd name="T1" fmla="*/ 0 h 5"/>
                  <a:gd name="T2" fmla="*/ 11 w 16"/>
                  <a:gd name="T3" fmla="*/ 5 h 5"/>
                  <a:gd name="T4" fmla="*/ 16 w 16"/>
                  <a:gd name="T5" fmla="*/ 5 h 5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5"/>
                  <a:gd name="T11" fmla="*/ 16 w 16"/>
                  <a:gd name="T12" fmla="*/ 5 h 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5">
                    <a:moveTo>
                      <a:pt x="0" y="0"/>
                    </a:moveTo>
                    <a:lnTo>
                      <a:pt x="11" y="5"/>
                    </a:lnTo>
                    <a:lnTo>
                      <a:pt x="16" y="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34" name="Line 927"/>
              <p:cNvSpPr>
                <a:spLocks noChangeShapeType="1"/>
              </p:cNvSpPr>
              <p:nvPr/>
            </p:nvSpPr>
            <p:spPr bwMode="auto">
              <a:xfrm>
                <a:off x="4288086" y="3446413"/>
                <a:ext cx="1720" cy="17463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35" name="Freeform 928"/>
              <p:cNvSpPr>
                <a:spLocks/>
              </p:cNvSpPr>
              <p:nvPr/>
            </p:nvSpPr>
            <p:spPr bwMode="auto">
              <a:xfrm>
                <a:off x="4269168" y="3438476"/>
                <a:ext cx="27517" cy="25400"/>
              </a:xfrm>
              <a:custGeom>
                <a:avLst/>
                <a:gdLst>
                  <a:gd name="T0" fmla="*/ 0 w 16"/>
                  <a:gd name="T1" fmla="*/ 0 h 16"/>
                  <a:gd name="T2" fmla="*/ 16 w 16"/>
                  <a:gd name="T3" fmla="*/ 5 h 16"/>
                  <a:gd name="T4" fmla="*/ 16 w 16"/>
                  <a:gd name="T5" fmla="*/ 16 h 16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16"/>
                  <a:gd name="T11" fmla="*/ 16 w 16"/>
                  <a:gd name="T12" fmla="*/ 16 h 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16">
                    <a:moveTo>
                      <a:pt x="0" y="0"/>
                    </a:moveTo>
                    <a:lnTo>
                      <a:pt x="16" y="5"/>
                    </a:lnTo>
                    <a:lnTo>
                      <a:pt x="16" y="16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36" name="Freeform 929"/>
              <p:cNvSpPr>
                <a:spLocks/>
              </p:cNvSpPr>
              <p:nvPr/>
            </p:nvSpPr>
            <p:spPr bwMode="auto">
              <a:xfrm>
                <a:off x="4269168" y="3454351"/>
                <a:ext cx="27517" cy="9525"/>
              </a:xfrm>
              <a:custGeom>
                <a:avLst/>
                <a:gdLst>
                  <a:gd name="T0" fmla="*/ 16 w 16"/>
                  <a:gd name="T1" fmla="*/ 6 h 6"/>
                  <a:gd name="T2" fmla="*/ 11 w 16"/>
                  <a:gd name="T3" fmla="*/ 6 h 6"/>
                  <a:gd name="T4" fmla="*/ 0 w 16"/>
                  <a:gd name="T5" fmla="*/ 0 h 6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6"/>
                  <a:gd name="T11" fmla="*/ 16 w 16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6">
                    <a:moveTo>
                      <a:pt x="16" y="6"/>
                    </a:moveTo>
                    <a:lnTo>
                      <a:pt x="11" y="6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37" name="Freeform 930"/>
              <p:cNvSpPr>
                <a:spLocks/>
              </p:cNvSpPr>
              <p:nvPr/>
            </p:nvSpPr>
            <p:spPr bwMode="auto">
              <a:xfrm>
                <a:off x="4269168" y="3438476"/>
                <a:ext cx="1720" cy="7938"/>
              </a:xfrm>
              <a:custGeom>
                <a:avLst/>
                <a:gdLst>
                  <a:gd name="T0" fmla="*/ 0 w 1"/>
                  <a:gd name="T1" fmla="*/ 0 h 5"/>
                  <a:gd name="T2" fmla="*/ 0 w 1"/>
                  <a:gd name="T3" fmla="*/ 0 h 5"/>
                  <a:gd name="T4" fmla="*/ 0 w 1"/>
                  <a:gd name="T5" fmla="*/ 5 h 5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5"/>
                  <a:gd name="T11" fmla="*/ 1 w 1"/>
                  <a:gd name="T12" fmla="*/ 5 h 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5">
                    <a:moveTo>
                      <a:pt x="0" y="0"/>
                    </a:moveTo>
                    <a:lnTo>
                      <a:pt x="0" y="0"/>
                    </a:lnTo>
                    <a:lnTo>
                      <a:pt x="0" y="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38" name="Freeform 931"/>
              <p:cNvSpPr>
                <a:spLocks/>
              </p:cNvSpPr>
              <p:nvPr/>
            </p:nvSpPr>
            <p:spPr bwMode="auto">
              <a:xfrm>
                <a:off x="4231333" y="3362276"/>
                <a:ext cx="18918" cy="76200"/>
              </a:xfrm>
              <a:custGeom>
                <a:avLst/>
                <a:gdLst>
                  <a:gd name="T0" fmla="*/ 11 w 11"/>
                  <a:gd name="T1" fmla="*/ 0 h 48"/>
                  <a:gd name="T2" fmla="*/ 11 w 11"/>
                  <a:gd name="T3" fmla="*/ 0 h 48"/>
                  <a:gd name="T4" fmla="*/ 6 w 11"/>
                  <a:gd name="T5" fmla="*/ 0 h 48"/>
                  <a:gd name="T6" fmla="*/ 0 w 11"/>
                  <a:gd name="T7" fmla="*/ 5 h 48"/>
                  <a:gd name="T8" fmla="*/ 0 w 11"/>
                  <a:gd name="T9" fmla="*/ 5 h 48"/>
                  <a:gd name="T10" fmla="*/ 0 w 11"/>
                  <a:gd name="T11" fmla="*/ 16 h 48"/>
                  <a:gd name="T12" fmla="*/ 0 w 11"/>
                  <a:gd name="T13" fmla="*/ 26 h 48"/>
                  <a:gd name="T14" fmla="*/ 0 w 11"/>
                  <a:gd name="T15" fmla="*/ 42 h 48"/>
                  <a:gd name="T16" fmla="*/ 0 w 11"/>
                  <a:gd name="T17" fmla="*/ 42 h 48"/>
                  <a:gd name="T18" fmla="*/ 0 w 11"/>
                  <a:gd name="T19" fmla="*/ 48 h 48"/>
                  <a:gd name="T20" fmla="*/ 6 w 11"/>
                  <a:gd name="T21" fmla="*/ 48 h 48"/>
                  <a:gd name="T22" fmla="*/ 11 w 11"/>
                  <a:gd name="T23" fmla="*/ 48 h 48"/>
                  <a:gd name="T24" fmla="*/ 11 w 11"/>
                  <a:gd name="T25" fmla="*/ 48 h 4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1"/>
                  <a:gd name="T40" fmla="*/ 0 h 48"/>
                  <a:gd name="T41" fmla="*/ 11 w 11"/>
                  <a:gd name="T42" fmla="*/ 48 h 4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1" h="48">
                    <a:moveTo>
                      <a:pt x="11" y="0"/>
                    </a:moveTo>
                    <a:lnTo>
                      <a:pt x="11" y="0"/>
                    </a:lnTo>
                    <a:lnTo>
                      <a:pt x="6" y="0"/>
                    </a:lnTo>
                    <a:lnTo>
                      <a:pt x="0" y="5"/>
                    </a:lnTo>
                    <a:lnTo>
                      <a:pt x="0" y="16"/>
                    </a:lnTo>
                    <a:lnTo>
                      <a:pt x="0" y="26"/>
                    </a:lnTo>
                    <a:lnTo>
                      <a:pt x="0" y="42"/>
                    </a:lnTo>
                    <a:lnTo>
                      <a:pt x="0" y="48"/>
                    </a:lnTo>
                    <a:lnTo>
                      <a:pt x="6" y="48"/>
                    </a:lnTo>
                    <a:lnTo>
                      <a:pt x="11" y="48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39" name="Freeform 932"/>
              <p:cNvSpPr>
                <a:spLocks/>
              </p:cNvSpPr>
              <p:nvPr/>
            </p:nvSpPr>
            <p:spPr bwMode="auto">
              <a:xfrm>
                <a:off x="4260569" y="3362276"/>
                <a:ext cx="8599" cy="66675"/>
              </a:xfrm>
              <a:custGeom>
                <a:avLst/>
                <a:gdLst>
                  <a:gd name="T0" fmla="*/ 0 w 5"/>
                  <a:gd name="T1" fmla="*/ 42 h 42"/>
                  <a:gd name="T2" fmla="*/ 0 w 5"/>
                  <a:gd name="T3" fmla="*/ 42 h 42"/>
                  <a:gd name="T4" fmla="*/ 5 w 5"/>
                  <a:gd name="T5" fmla="*/ 42 h 42"/>
                  <a:gd name="T6" fmla="*/ 5 w 5"/>
                  <a:gd name="T7" fmla="*/ 42 h 42"/>
                  <a:gd name="T8" fmla="*/ 5 w 5"/>
                  <a:gd name="T9" fmla="*/ 32 h 42"/>
                  <a:gd name="T10" fmla="*/ 5 w 5"/>
                  <a:gd name="T11" fmla="*/ 21 h 42"/>
                  <a:gd name="T12" fmla="*/ 5 w 5"/>
                  <a:gd name="T13" fmla="*/ 5 h 42"/>
                  <a:gd name="T14" fmla="*/ 5 w 5"/>
                  <a:gd name="T15" fmla="*/ 0 h 42"/>
                  <a:gd name="T16" fmla="*/ 5 w 5"/>
                  <a:gd name="T17" fmla="*/ 0 h 42"/>
                  <a:gd name="T18" fmla="*/ 0 w 5"/>
                  <a:gd name="T19" fmla="*/ 0 h 42"/>
                  <a:gd name="T20" fmla="*/ 0 w 5"/>
                  <a:gd name="T21" fmla="*/ 0 h 4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"/>
                  <a:gd name="T34" fmla="*/ 0 h 42"/>
                  <a:gd name="T35" fmla="*/ 5 w 5"/>
                  <a:gd name="T36" fmla="*/ 42 h 42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" h="42">
                    <a:moveTo>
                      <a:pt x="0" y="42"/>
                    </a:moveTo>
                    <a:lnTo>
                      <a:pt x="0" y="42"/>
                    </a:lnTo>
                    <a:lnTo>
                      <a:pt x="5" y="42"/>
                    </a:lnTo>
                    <a:lnTo>
                      <a:pt x="5" y="32"/>
                    </a:lnTo>
                    <a:lnTo>
                      <a:pt x="5" y="21"/>
                    </a:lnTo>
                    <a:lnTo>
                      <a:pt x="5" y="5"/>
                    </a:lnTo>
                    <a:lnTo>
                      <a:pt x="5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40" name="Freeform 933"/>
              <p:cNvSpPr>
                <a:spLocks/>
              </p:cNvSpPr>
              <p:nvPr/>
            </p:nvSpPr>
            <p:spPr bwMode="auto">
              <a:xfrm>
                <a:off x="4241651" y="3387676"/>
                <a:ext cx="18918" cy="25400"/>
              </a:xfrm>
              <a:custGeom>
                <a:avLst/>
                <a:gdLst>
                  <a:gd name="T0" fmla="*/ 0 w 11"/>
                  <a:gd name="T1" fmla="*/ 16 h 16"/>
                  <a:gd name="T2" fmla="*/ 5 w 11"/>
                  <a:gd name="T3" fmla="*/ 16 h 16"/>
                  <a:gd name="T4" fmla="*/ 11 w 11"/>
                  <a:gd name="T5" fmla="*/ 16 h 16"/>
                  <a:gd name="T6" fmla="*/ 11 w 11"/>
                  <a:gd name="T7" fmla="*/ 0 h 16"/>
                  <a:gd name="T8" fmla="*/ 11 w 11"/>
                  <a:gd name="T9" fmla="*/ 0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16"/>
                  <a:gd name="T17" fmla="*/ 11 w 11"/>
                  <a:gd name="T18" fmla="*/ 16 h 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16">
                    <a:moveTo>
                      <a:pt x="0" y="16"/>
                    </a:moveTo>
                    <a:lnTo>
                      <a:pt x="5" y="16"/>
                    </a:lnTo>
                    <a:lnTo>
                      <a:pt x="11" y="16"/>
                    </a:lnTo>
                    <a:lnTo>
                      <a:pt x="11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41" name="Freeform 934"/>
              <p:cNvSpPr>
                <a:spLocks/>
              </p:cNvSpPr>
              <p:nvPr/>
            </p:nvSpPr>
            <p:spPr bwMode="auto">
              <a:xfrm>
                <a:off x="4250250" y="3387676"/>
                <a:ext cx="10319" cy="25400"/>
              </a:xfrm>
              <a:custGeom>
                <a:avLst/>
                <a:gdLst>
                  <a:gd name="T0" fmla="*/ 0 w 6"/>
                  <a:gd name="T1" fmla="*/ 16 h 16"/>
                  <a:gd name="T2" fmla="*/ 0 w 6"/>
                  <a:gd name="T3" fmla="*/ 0 h 16"/>
                  <a:gd name="T4" fmla="*/ 6 w 6"/>
                  <a:gd name="T5" fmla="*/ 0 h 16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16"/>
                  <a:gd name="T11" fmla="*/ 6 w 6"/>
                  <a:gd name="T12" fmla="*/ 16 h 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16">
                    <a:moveTo>
                      <a:pt x="0" y="16"/>
                    </a:moveTo>
                    <a:lnTo>
                      <a:pt x="0" y="0"/>
                    </a:lnTo>
                    <a:lnTo>
                      <a:pt x="6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42" name="Line 935"/>
              <p:cNvSpPr>
                <a:spLocks noChangeShapeType="1"/>
              </p:cNvSpPr>
              <p:nvPr/>
            </p:nvSpPr>
            <p:spPr bwMode="auto">
              <a:xfrm>
                <a:off x="4250250" y="3387676"/>
                <a:ext cx="1720" cy="158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43" name="Line 936"/>
              <p:cNvSpPr>
                <a:spLocks noChangeShapeType="1"/>
              </p:cNvSpPr>
              <p:nvPr/>
            </p:nvSpPr>
            <p:spPr bwMode="auto">
              <a:xfrm>
                <a:off x="4305284" y="3311476"/>
                <a:ext cx="10319" cy="152400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44" name="Freeform 937"/>
              <p:cNvSpPr>
                <a:spLocks/>
              </p:cNvSpPr>
              <p:nvPr/>
            </p:nvSpPr>
            <p:spPr bwMode="auto">
              <a:xfrm>
                <a:off x="4269168" y="3311476"/>
                <a:ext cx="27517" cy="127000"/>
              </a:xfrm>
              <a:custGeom>
                <a:avLst/>
                <a:gdLst>
                  <a:gd name="T0" fmla="*/ 0 w 16"/>
                  <a:gd name="T1" fmla="*/ 74 h 80"/>
                  <a:gd name="T2" fmla="*/ 16 w 16"/>
                  <a:gd name="T3" fmla="*/ 80 h 80"/>
                  <a:gd name="T4" fmla="*/ 16 w 16"/>
                  <a:gd name="T5" fmla="*/ 74 h 80"/>
                  <a:gd name="T6" fmla="*/ 16 w 16"/>
                  <a:gd name="T7" fmla="*/ 5 h 80"/>
                  <a:gd name="T8" fmla="*/ 16 w 16"/>
                  <a:gd name="T9" fmla="*/ 0 h 80"/>
                  <a:gd name="T10" fmla="*/ 11 w 16"/>
                  <a:gd name="T11" fmla="*/ 0 h 8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80"/>
                  <a:gd name="T20" fmla="*/ 16 w 16"/>
                  <a:gd name="T21" fmla="*/ 80 h 8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80">
                    <a:moveTo>
                      <a:pt x="0" y="74"/>
                    </a:moveTo>
                    <a:lnTo>
                      <a:pt x="16" y="80"/>
                    </a:lnTo>
                    <a:lnTo>
                      <a:pt x="16" y="74"/>
                    </a:lnTo>
                    <a:lnTo>
                      <a:pt x="16" y="5"/>
                    </a:lnTo>
                    <a:lnTo>
                      <a:pt x="16" y="0"/>
                    </a:lnTo>
                    <a:lnTo>
                      <a:pt x="11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45" name="Freeform 938"/>
              <p:cNvSpPr>
                <a:spLocks/>
              </p:cNvSpPr>
              <p:nvPr/>
            </p:nvSpPr>
            <p:spPr bwMode="auto">
              <a:xfrm>
                <a:off x="4269168" y="3319413"/>
                <a:ext cx="27517" cy="109538"/>
              </a:xfrm>
              <a:custGeom>
                <a:avLst/>
                <a:gdLst>
                  <a:gd name="T0" fmla="*/ 0 w 16"/>
                  <a:gd name="T1" fmla="*/ 64 h 69"/>
                  <a:gd name="T2" fmla="*/ 11 w 16"/>
                  <a:gd name="T3" fmla="*/ 69 h 69"/>
                  <a:gd name="T4" fmla="*/ 16 w 16"/>
                  <a:gd name="T5" fmla="*/ 69 h 69"/>
                  <a:gd name="T6" fmla="*/ 11 w 16"/>
                  <a:gd name="T7" fmla="*/ 0 h 69"/>
                  <a:gd name="T8" fmla="*/ 5 w 16"/>
                  <a:gd name="T9" fmla="*/ 0 h 6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69"/>
                  <a:gd name="T17" fmla="*/ 16 w 16"/>
                  <a:gd name="T18" fmla="*/ 69 h 6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69">
                    <a:moveTo>
                      <a:pt x="0" y="64"/>
                    </a:moveTo>
                    <a:lnTo>
                      <a:pt x="11" y="69"/>
                    </a:lnTo>
                    <a:lnTo>
                      <a:pt x="16" y="69"/>
                    </a:lnTo>
                    <a:lnTo>
                      <a:pt x="11" y="0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46" name="Freeform 939"/>
              <p:cNvSpPr>
                <a:spLocks/>
              </p:cNvSpPr>
              <p:nvPr/>
            </p:nvSpPr>
            <p:spPr bwMode="auto">
              <a:xfrm>
                <a:off x="4195217" y="3294013"/>
                <a:ext cx="82550" cy="119063"/>
              </a:xfrm>
              <a:custGeom>
                <a:avLst/>
                <a:gdLst>
                  <a:gd name="T0" fmla="*/ 21 w 48"/>
                  <a:gd name="T1" fmla="*/ 75 h 75"/>
                  <a:gd name="T2" fmla="*/ 0 w 48"/>
                  <a:gd name="T3" fmla="*/ 69 h 75"/>
                  <a:gd name="T4" fmla="*/ 0 w 48"/>
                  <a:gd name="T5" fmla="*/ 64 h 75"/>
                  <a:gd name="T6" fmla="*/ 0 w 48"/>
                  <a:gd name="T7" fmla="*/ 0 h 75"/>
                  <a:gd name="T8" fmla="*/ 5 w 48"/>
                  <a:gd name="T9" fmla="*/ 0 h 75"/>
                  <a:gd name="T10" fmla="*/ 48 w 48"/>
                  <a:gd name="T11" fmla="*/ 11 h 7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8"/>
                  <a:gd name="T19" fmla="*/ 0 h 75"/>
                  <a:gd name="T20" fmla="*/ 48 w 48"/>
                  <a:gd name="T21" fmla="*/ 75 h 7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8" h="75">
                    <a:moveTo>
                      <a:pt x="21" y="75"/>
                    </a:moveTo>
                    <a:lnTo>
                      <a:pt x="0" y="69"/>
                    </a:lnTo>
                    <a:lnTo>
                      <a:pt x="0" y="64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48" y="11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47" name="Freeform 940"/>
              <p:cNvSpPr>
                <a:spLocks/>
              </p:cNvSpPr>
              <p:nvPr/>
            </p:nvSpPr>
            <p:spPr bwMode="auto">
              <a:xfrm>
                <a:off x="4203816" y="3294013"/>
                <a:ext cx="65352" cy="119063"/>
              </a:xfrm>
              <a:custGeom>
                <a:avLst/>
                <a:gdLst>
                  <a:gd name="T0" fmla="*/ 16 w 38"/>
                  <a:gd name="T1" fmla="*/ 75 h 75"/>
                  <a:gd name="T2" fmla="*/ 0 w 38"/>
                  <a:gd name="T3" fmla="*/ 64 h 75"/>
                  <a:gd name="T4" fmla="*/ 0 w 38"/>
                  <a:gd name="T5" fmla="*/ 64 h 75"/>
                  <a:gd name="T6" fmla="*/ 0 w 38"/>
                  <a:gd name="T7" fmla="*/ 5 h 75"/>
                  <a:gd name="T8" fmla="*/ 0 w 38"/>
                  <a:gd name="T9" fmla="*/ 0 h 75"/>
                  <a:gd name="T10" fmla="*/ 38 w 38"/>
                  <a:gd name="T11" fmla="*/ 11 h 7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8"/>
                  <a:gd name="T19" fmla="*/ 0 h 75"/>
                  <a:gd name="T20" fmla="*/ 38 w 38"/>
                  <a:gd name="T21" fmla="*/ 75 h 7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8" h="75">
                    <a:moveTo>
                      <a:pt x="16" y="75"/>
                    </a:moveTo>
                    <a:lnTo>
                      <a:pt x="0" y="64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38" y="11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48" name="Freeform 941"/>
              <p:cNvSpPr>
                <a:spLocks/>
              </p:cNvSpPr>
              <p:nvPr/>
            </p:nvSpPr>
            <p:spPr bwMode="auto">
              <a:xfrm>
                <a:off x="4129865" y="3268613"/>
                <a:ext cx="56753" cy="119063"/>
              </a:xfrm>
              <a:custGeom>
                <a:avLst/>
                <a:gdLst>
                  <a:gd name="T0" fmla="*/ 33 w 33"/>
                  <a:gd name="T1" fmla="*/ 11 h 75"/>
                  <a:gd name="T2" fmla="*/ 27 w 33"/>
                  <a:gd name="T3" fmla="*/ 75 h 75"/>
                  <a:gd name="T4" fmla="*/ 22 w 33"/>
                  <a:gd name="T5" fmla="*/ 75 h 75"/>
                  <a:gd name="T6" fmla="*/ 0 w 33"/>
                  <a:gd name="T7" fmla="*/ 69 h 75"/>
                  <a:gd name="T8" fmla="*/ 0 w 33"/>
                  <a:gd name="T9" fmla="*/ 59 h 75"/>
                  <a:gd name="T10" fmla="*/ 0 w 33"/>
                  <a:gd name="T11" fmla="*/ 5 h 75"/>
                  <a:gd name="T12" fmla="*/ 6 w 33"/>
                  <a:gd name="T13" fmla="*/ 0 h 75"/>
                  <a:gd name="T14" fmla="*/ 27 w 33"/>
                  <a:gd name="T15" fmla="*/ 5 h 75"/>
                  <a:gd name="T16" fmla="*/ 33 w 33"/>
                  <a:gd name="T17" fmla="*/ 11 h 7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3"/>
                  <a:gd name="T28" fmla="*/ 0 h 75"/>
                  <a:gd name="T29" fmla="*/ 33 w 33"/>
                  <a:gd name="T30" fmla="*/ 75 h 7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3" h="75">
                    <a:moveTo>
                      <a:pt x="33" y="11"/>
                    </a:moveTo>
                    <a:lnTo>
                      <a:pt x="27" y="75"/>
                    </a:lnTo>
                    <a:lnTo>
                      <a:pt x="22" y="75"/>
                    </a:lnTo>
                    <a:lnTo>
                      <a:pt x="0" y="69"/>
                    </a:lnTo>
                    <a:lnTo>
                      <a:pt x="0" y="59"/>
                    </a:lnTo>
                    <a:lnTo>
                      <a:pt x="0" y="5"/>
                    </a:lnTo>
                    <a:lnTo>
                      <a:pt x="6" y="0"/>
                    </a:lnTo>
                    <a:lnTo>
                      <a:pt x="27" y="5"/>
                    </a:lnTo>
                    <a:lnTo>
                      <a:pt x="33" y="11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49" name="Freeform 942"/>
              <p:cNvSpPr>
                <a:spLocks/>
              </p:cNvSpPr>
              <p:nvPr/>
            </p:nvSpPr>
            <p:spPr bwMode="auto">
              <a:xfrm>
                <a:off x="4129865" y="3276551"/>
                <a:ext cx="46434" cy="111125"/>
              </a:xfrm>
              <a:custGeom>
                <a:avLst/>
                <a:gdLst>
                  <a:gd name="T0" fmla="*/ 27 w 27"/>
                  <a:gd name="T1" fmla="*/ 11 h 70"/>
                  <a:gd name="T2" fmla="*/ 27 w 27"/>
                  <a:gd name="T3" fmla="*/ 64 h 70"/>
                  <a:gd name="T4" fmla="*/ 22 w 27"/>
                  <a:gd name="T5" fmla="*/ 70 h 70"/>
                  <a:gd name="T6" fmla="*/ 6 w 27"/>
                  <a:gd name="T7" fmla="*/ 59 h 70"/>
                  <a:gd name="T8" fmla="*/ 0 w 27"/>
                  <a:gd name="T9" fmla="*/ 54 h 70"/>
                  <a:gd name="T10" fmla="*/ 0 w 27"/>
                  <a:gd name="T11" fmla="*/ 0 h 70"/>
                  <a:gd name="T12" fmla="*/ 6 w 27"/>
                  <a:gd name="T13" fmla="*/ 0 h 70"/>
                  <a:gd name="T14" fmla="*/ 27 w 27"/>
                  <a:gd name="T15" fmla="*/ 6 h 70"/>
                  <a:gd name="T16" fmla="*/ 27 w 27"/>
                  <a:gd name="T17" fmla="*/ 11 h 7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7"/>
                  <a:gd name="T28" fmla="*/ 0 h 70"/>
                  <a:gd name="T29" fmla="*/ 27 w 27"/>
                  <a:gd name="T30" fmla="*/ 70 h 7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7" h="70">
                    <a:moveTo>
                      <a:pt x="27" y="11"/>
                    </a:moveTo>
                    <a:lnTo>
                      <a:pt x="27" y="64"/>
                    </a:lnTo>
                    <a:lnTo>
                      <a:pt x="22" y="70"/>
                    </a:lnTo>
                    <a:lnTo>
                      <a:pt x="6" y="59"/>
                    </a:lnTo>
                    <a:lnTo>
                      <a:pt x="0" y="54"/>
                    </a:lnTo>
                    <a:lnTo>
                      <a:pt x="0" y="0"/>
                    </a:lnTo>
                    <a:lnTo>
                      <a:pt x="6" y="0"/>
                    </a:lnTo>
                    <a:lnTo>
                      <a:pt x="27" y="6"/>
                    </a:lnTo>
                    <a:lnTo>
                      <a:pt x="27" y="11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50" name="Line 943"/>
              <p:cNvSpPr>
                <a:spLocks noChangeShapeType="1"/>
              </p:cNvSpPr>
              <p:nvPr/>
            </p:nvSpPr>
            <p:spPr bwMode="auto">
              <a:xfrm flipV="1">
                <a:off x="4129865" y="3352751"/>
                <a:ext cx="46434" cy="952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51" name="Line 944"/>
              <p:cNvSpPr>
                <a:spLocks noChangeShapeType="1"/>
              </p:cNvSpPr>
              <p:nvPr/>
            </p:nvSpPr>
            <p:spPr bwMode="auto">
              <a:xfrm flipV="1">
                <a:off x="4203816" y="3336876"/>
                <a:ext cx="46434" cy="793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52" name="Freeform 945"/>
              <p:cNvSpPr>
                <a:spLocks/>
              </p:cNvSpPr>
              <p:nvPr/>
            </p:nvSpPr>
            <p:spPr bwMode="auto">
              <a:xfrm>
                <a:off x="4112667" y="3243213"/>
                <a:ext cx="192617" cy="58738"/>
              </a:xfrm>
              <a:custGeom>
                <a:avLst/>
                <a:gdLst>
                  <a:gd name="T0" fmla="*/ 5 w 112"/>
                  <a:gd name="T1" fmla="*/ 0 h 37"/>
                  <a:gd name="T2" fmla="*/ 0 w 112"/>
                  <a:gd name="T3" fmla="*/ 5 h 37"/>
                  <a:gd name="T4" fmla="*/ 107 w 112"/>
                  <a:gd name="T5" fmla="*/ 37 h 37"/>
                  <a:gd name="T6" fmla="*/ 112 w 112"/>
                  <a:gd name="T7" fmla="*/ 37 h 3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2"/>
                  <a:gd name="T13" fmla="*/ 0 h 37"/>
                  <a:gd name="T14" fmla="*/ 112 w 112"/>
                  <a:gd name="T15" fmla="*/ 37 h 3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2" h="37">
                    <a:moveTo>
                      <a:pt x="5" y="0"/>
                    </a:moveTo>
                    <a:lnTo>
                      <a:pt x="0" y="5"/>
                    </a:lnTo>
                    <a:lnTo>
                      <a:pt x="107" y="37"/>
                    </a:lnTo>
                    <a:lnTo>
                      <a:pt x="112" y="37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53" name="Line 946"/>
              <p:cNvSpPr>
                <a:spLocks noChangeShapeType="1"/>
              </p:cNvSpPr>
              <p:nvPr/>
            </p:nvSpPr>
            <p:spPr bwMode="auto">
              <a:xfrm flipH="1" flipV="1">
                <a:off x="4121266" y="3243213"/>
                <a:ext cx="184018" cy="5873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54" name="Line 947"/>
              <p:cNvSpPr>
                <a:spLocks noChangeShapeType="1"/>
              </p:cNvSpPr>
              <p:nvPr/>
            </p:nvSpPr>
            <p:spPr bwMode="auto">
              <a:xfrm flipV="1">
                <a:off x="4305284" y="3301951"/>
                <a:ext cx="1720" cy="952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55" name="Line 948"/>
              <p:cNvSpPr>
                <a:spLocks noChangeShapeType="1"/>
              </p:cNvSpPr>
              <p:nvPr/>
            </p:nvSpPr>
            <p:spPr bwMode="auto">
              <a:xfrm flipH="1" flipV="1">
                <a:off x="4074832" y="3235276"/>
                <a:ext cx="46434" cy="793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56" name="Line 949"/>
              <p:cNvSpPr>
                <a:spLocks noChangeShapeType="1"/>
              </p:cNvSpPr>
              <p:nvPr/>
            </p:nvSpPr>
            <p:spPr bwMode="auto">
              <a:xfrm flipH="1" flipV="1">
                <a:off x="4074832" y="3243213"/>
                <a:ext cx="37835" cy="793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57" name="Freeform 950"/>
              <p:cNvSpPr>
                <a:spLocks/>
              </p:cNvSpPr>
              <p:nvPr/>
            </p:nvSpPr>
            <p:spPr bwMode="auto">
              <a:xfrm>
                <a:off x="4324201" y="3311476"/>
                <a:ext cx="137583" cy="66675"/>
              </a:xfrm>
              <a:custGeom>
                <a:avLst/>
                <a:gdLst>
                  <a:gd name="T0" fmla="*/ 80 w 80"/>
                  <a:gd name="T1" fmla="*/ 42 h 42"/>
                  <a:gd name="T2" fmla="*/ 70 w 80"/>
                  <a:gd name="T3" fmla="*/ 0 h 42"/>
                  <a:gd name="T4" fmla="*/ 59 w 80"/>
                  <a:gd name="T5" fmla="*/ 0 h 42"/>
                  <a:gd name="T6" fmla="*/ 0 w 80"/>
                  <a:gd name="T7" fmla="*/ 10 h 4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0"/>
                  <a:gd name="T13" fmla="*/ 0 h 42"/>
                  <a:gd name="T14" fmla="*/ 80 w 80"/>
                  <a:gd name="T15" fmla="*/ 42 h 4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0" h="42">
                    <a:moveTo>
                      <a:pt x="80" y="42"/>
                    </a:moveTo>
                    <a:lnTo>
                      <a:pt x="70" y="0"/>
                    </a:lnTo>
                    <a:lnTo>
                      <a:pt x="59" y="0"/>
                    </a:lnTo>
                    <a:lnTo>
                      <a:pt x="0" y="1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58" name="Line 951"/>
              <p:cNvSpPr>
                <a:spLocks noChangeShapeType="1"/>
              </p:cNvSpPr>
              <p:nvPr/>
            </p:nvSpPr>
            <p:spPr bwMode="auto">
              <a:xfrm flipH="1">
                <a:off x="4260569" y="3336876"/>
                <a:ext cx="36116" cy="793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59" name="Line 952"/>
              <p:cNvSpPr>
                <a:spLocks noChangeShapeType="1"/>
              </p:cNvSpPr>
              <p:nvPr/>
            </p:nvSpPr>
            <p:spPr bwMode="auto">
              <a:xfrm flipH="1">
                <a:off x="4203816" y="3344813"/>
                <a:ext cx="46434" cy="793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60" name="Line 953"/>
              <p:cNvSpPr>
                <a:spLocks noChangeShapeType="1"/>
              </p:cNvSpPr>
              <p:nvPr/>
            </p:nvSpPr>
            <p:spPr bwMode="auto">
              <a:xfrm flipH="1">
                <a:off x="4351718" y="3319413"/>
                <a:ext cx="92869" cy="17463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61" name="Freeform 954"/>
              <p:cNvSpPr>
                <a:spLocks/>
              </p:cNvSpPr>
              <p:nvPr/>
            </p:nvSpPr>
            <p:spPr bwMode="auto">
              <a:xfrm>
                <a:off x="4527137" y="3370213"/>
                <a:ext cx="101468" cy="33338"/>
              </a:xfrm>
              <a:custGeom>
                <a:avLst/>
                <a:gdLst>
                  <a:gd name="T0" fmla="*/ 59 w 59"/>
                  <a:gd name="T1" fmla="*/ 0 h 21"/>
                  <a:gd name="T2" fmla="*/ 0 w 59"/>
                  <a:gd name="T3" fmla="*/ 21 h 21"/>
                  <a:gd name="T4" fmla="*/ 0 w 59"/>
                  <a:gd name="T5" fmla="*/ 21 h 21"/>
                  <a:gd name="T6" fmla="*/ 0 w 59"/>
                  <a:gd name="T7" fmla="*/ 21 h 21"/>
                  <a:gd name="T8" fmla="*/ 0 w 59"/>
                  <a:gd name="T9" fmla="*/ 21 h 21"/>
                  <a:gd name="T10" fmla="*/ 59 w 59"/>
                  <a:gd name="T11" fmla="*/ 0 h 21"/>
                  <a:gd name="T12" fmla="*/ 59 w 59"/>
                  <a:gd name="T13" fmla="*/ 0 h 21"/>
                  <a:gd name="T14" fmla="*/ 59 w 59"/>
                  <a:gd name="T15" fmla="*/ 0 h 21"/>
                  <a:gd name="T16" fmla="*/ 59 w 59"/>
                  <a:gd name="T17" fmla="*/ 0 h 2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9"/>
                  <a:gd name="T28" fmla="*/ 0 h 21"/>
                  <a:gd name="T29" fmla="*/ 59 w 59"/>
                  <a:gd name="T30" fmla="*/ 21 h 2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9" h="21">
                    <a:moveTo>
                      <a:pt x="59" y="0"/>
                    </a:moveTo>
                    <a:lnTo>
                      <a:pt x="0" y="21"/>
                    </a:lnTo>
                    <a:lnTo>
                      <a:pt x="59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62" name="Freeform 955"/>
              <p:cNvSpPr>
                <a:spLocks/>
              </p:cNvSpPr>
              <p:nvPr/>
            </p:nvSpPr>
            <p:spPr bwMode="auto">
              <a:xfrm>
                <a:off x="4434268" y="3387676"/>
                <a:ext cx="101468" cy="33338"/>
              </a:xfrm>
              <a:custGeom>
                <a:avLst/>
                <a:gdLst>
                  <a:gd name="T0" fmla="*/ 59 w 59"/>
                  <a:gd name="T1" fmla="*/ 0 h 21"/>
                  <a:gd name="T2" fmla="*/ 6 w 59"/>
                  <a:gd name="T3" fmla="*/ 21 h 21"/>
                  <a:gd name="T4" fmla="*/ 0 w 59"/>
                  <a:gd name="T5" fmla="*/ 21 h 21"/>
                  <a:gd name="T6" fmla="*/ 0 w 59"/>
                  <a:gd name="T7" fmla="*/ 21 h 21"/>
                  <a:gd name="T8" fmla="*/ 6 w 59"/>
                  <a:gd name="T9" fmla="*/ 21 h 21"/>
                  <a:gd name="T10" fmla="*/ 6 w 59"/>
                  <a:gd name="T11" fmla="*/ 21 h 21"/>
                  <a:gd name="T12" fmla="*/ 59 w 59"/>
                  <a:gd name="T13" fmla="*/ 5 h 21"/>
                  <a:gd name="T14" fmla="*/ 59 w 59"/>
                  <a:gd name="T15" fmla="*/ 0 h 21"/>
                  <a:gd name="T16" fmla="*/ 59 w 59"/>
                  <a:gd name="T17" fmla="*/ 0 h 21"/>
                  <a:gd name="T18" fmla="*/ 59 w 59"/>
                  <a:gd name="T19" fmla="*/ 0 h 21"/>
                  <a:gd name="T20" fmla="*/ 59 w 59"/>
                  <a:gd name="T21" fmla="*/ 0 h 2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9"/>
                  <a:gd name="T34" fmla="*/ 0 h 21"/>
                  <a:gd name="T35" fmla="*/ 59 w 59"/>
                  <a:gd name="T36" fmla="*/ 21 h 2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9" h="21">
                    <a:moveTo>
                      <a:pt x="59" y="0"/>
                    </a:moveTo>
                    <a:lnTo>
                      <a:pt x="6" y="21"/>
                    </a:lnTo>
                    <a:lnTo>
                      <a:pt x="0" y="21"/>
                    </a:lnTo>
                    <a:lnTo>
                      <a:pt x="6" y="21"/>
                    </a:lnTo>
                    <a:lnTo>
                      <a:pt x="59" y="5"/>
                    </a:lnTo>
                    <a:lnTo>
                      <a:pt x="59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63" name="Freeform 956"/>
              <p:cNvSpPr>
                <a:spLocks/>
              </p:cNvSpPr>
              <p:nvPr/>
            </p:nvSpPr>
            <p:spPr bwMode="auto">
              <a:xfrm>
                <a:off x="4351718" y="3403551"/>
                <a:ext cx="101468" cy="42863"/>
              </a:xfrm>
              <a:custGeom>
                <a:avLst/>
                <a:gdLst>
                  <a:gd name="T0" fmla="*/ 54 w 59"/>
                  <a:gd name="T1" fmla="*/ 0 h 27"/>
                  <a:gd name="T2" fmla="*/ 0 w 59"/>
                  <a:gd name="T3" fmla="*/ 22 h 27"/>
                  <a:gd name="T4" fmla="*/ 0 w 59"/>
                  <a:gd name="T5" fmla="*/ 22 h 27"/>
                  <a:gd name="T6" fmla="*/ 0 w 59"/>
                  <a:gd name="T7" fmla="*/ 22 h 27"/>
                  <a:gd name="T8" fmla="*/ 0 w 59"/>
                  <a:gd name="T9" fmla="*/ 22 h 27"/>
                  <a:gd name="T10" fmla="*/ 0 w 59"/>
                  <a:gd name="T11" fmla="*/ 27 h 27"/>
                  <a:gd name="T12" fmla="*/ 59 w 59"/>
                  <a:gd name="T13" fmla="*/ 6 h 27"/>
                  <a:gd name="T14" fmla="*/ 59 w 59"/>
                  <a:gd name="T15" fmla="*/ 0 h 27"/>
                  <a:gd name="T16" fmla="*/ 59 w 59"/>
                  <a:gd name="T17" fmla="*/ 0 h 27"/>
                  <a:gd name="T18" fmla="*/ 59 w 59"/>
                  <a:gd name="T19" fmla="*/ 0 h 27"/>
                  <a:gd name="T20" fmla="*/ 54 w 59"/>
                  <a:gd name="T21" fmla="*/ 0 h 27"/>
                  <a:gd name="T22" fmla="*/ 54 w 59"/>
                  <a:gd name="T23" fmla="*/ 0 h 2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9"/>
                  <a:gd name="T37" fmla="*/ 0 h 27"/>
                  <a:gd name="T38" fmla="*/ 59 w 59"/>
                  <a:gd name="T39" fmla="*/ 27 h 2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9" h="27">
                    <a:moveTo>
                      <a:pt x="54" y="0"/>
                    </a:moveTo>
                    <a:lnTo>
                      <a:pt x="0" y="22"/>
                    </a:lnTo>
                    <a:lnTo>
                      <a:pt x="0" y="27"/>
                    </a:lnTo>
                    <a:lnTo>
                      <a:pt x="59" y="6"/>
                    </a:lnTo>
                    <a:lnTo>
                      <a:pt x="59" y="0"/>
                    </a:lnTo>
                    <a:lnTo>
                      <a:pt x="54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64" name="Freeform 957"/>
              <p:cNvSpPr>
                <a:spLocks noEditPoints="1"/>
              </p:cNvSpPr>
              <p:nvPr/>
            </p:nvSpPr>
            <p:spPr bwMode="auto">
              <a:xfrm>
                <a:off x="4379235" y="3446413"/>
                <a:ext cx="10319" cy="7938"/>
              </a:xfrm>
              <a:custGeom>
                <a:avLst/>
                <a:gdLst>
                  <a:gd name="T0" fmla="*/ 6 w 6"/>
                  <a:gd name="T1" fmla="*/ 0 h 5"/>
                  <a:gd name="T2" fmla="*/ 6 w 6"/>
                  <a:gd name="T3" fmla="*/ 0 h 5"/>
                  <a:gd name="T4" fmla="*/ 0 w 6"/>
                  <a:gd name="T5" fmla="*/ 0 h 5"/>
                  <a:gd name="T6" fmla="*/ 6 w 6"/>
                  <a:gd name="T7" fmla="*/ 5 h 5"/>
                  <a:gd name="T8" fmla="*/ 6 w 6"/>
                  <a:gd name="T9" fmla="*/ 5 h 5"/>
                  <a:gd name="T10" fmla="*/ 6 w 6"/>
                  <a:gd name="T11" fmla="*/ 0 h 5"/>
                  <a:gd name="T12" fmla="*/ 6 w 6"/>
                  <a:gd name="T13" fmla="*/ 0 h 5"/>
                  <a:gd name="T14" fmla="*/ 6 w 6"/>
                  <a:gd name="T15" fmla="*/ 0 h 5"/>
                  <a:gd name="T16" fmla="*/ 0 w 6"/>
                  <a:gd name="T17" fmla="*/ 0 h 5"/>
                  <a:gd name="T18" fmla="*/ 0 w 6"/>
                  <a:gd name="T19" fmla="*/ 0 h 5"/>
                  <a:gd name="T20" fmla="*/ 0 w 6"/>
                  <a:gd name="T21" fmla="*/ 0 h 5"/>
                  <a:gd name="T22" fmla="*/ 0 w 6"/>
                  <a:gd name="T23" fmla="*/ 5 h 5"/>
                  <a:gd name="T24" fmla="*/ 0 w 6"/>
                  <a:gd name="T25" fmla="*/ 5 h 5"/>
                  <a:gd name="T26" fmla="*/ 6 w 6"/>
                  <a:gd name="T27" fmla="*/ 5 h 5"/>
                  <a:gd name="T28" fmla="*/ 6 w 6"/>
                  <a:gd name="T29" fmla="*/ 0 h 5"/>
                  <a:gd name="T30" fmla="*/ 6 w 6"/>
                  <a:gd name="T31" fmla="*/ 0 h 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6"/>
                  <a:gd name="T49" fmla="*/ 0 h 5"/>
                  <a:gd name="T50" fmla="*/ 6 w 6"/>
                  <a:gd name="T51" fmla="*/ 5 h 5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6" h="5">
                    <a:moveTo>
                      <a:pt x="6" y="0"/>
                    </a:moveTo>
                    <a:lnTo>
                      <a:pt x="6" y="0"/>
                    </a:lnTo>
                    <a:lnTo>
                      <a:pt x="0" y="0"/>
                    </a:lnTo>
                    <a:lnTo>
                      <a:pt x="6" y="5"/>
                    </a:lnTo>
                    <a:lnTo>
                      <a:pt x="6" y="0"/>
                    </a:lnTo>
                    <a:close/>
                    <a:moveTo>
                      <a:pt x="6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6" y="5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65" name="Freeform 958"/>
              <p:cNvSpPr>
                <a:spLocks/>
              </p:cNvSpPr>
              <p:nvPr/>
            </p:nvSpPr>
            <p:spPr bwMode="auto">
              <a:xfrm>
                <a:off x="4379235" y="3421013"/>
                <a:ext cx="37835" cy="33338"/>
              </a:xfrm>
              <a:custGeom>
                <a:avLst/>
                <a:gdLst>
                  <a:gd name="T0" fmla="*/ 6 w 22"/>
                  <a:gd name="T1" fmla="*/ 21 h 21"/>
                  <a:gd name="T2" fmla="*/ 22 w 22"/>
                  <a:gd name="T3" fmla="*/ 0 h 21"/>
                  <a:gd name="T4" fmla="*/ 16 w 22"/>
                  <a:gd name="T5" fmla="*/ 0 h 21"/>
                  <a:gd name="T6" fmla="*/ 16 w 22"/>
                  <a:gd name="T7" fmla="*/ 0 h 21"/>
                  <a:gd name="T8" fmla="*/ 0 w 22"/>
                  <a:gd name="T9" fmla="*/ 21 h 21"/>
                  <a:gd name="T10" fmla="*/ 0 w 22"/>
                  <a:gd name="T11" fmla="*/ 21 h 21"/>
                  <a:gd name="T12" fmla="*/ 6 w 22"/>
                  <a:gd name="T13" fmla="*/ 21 h 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2"/>
                  <a:gd name="T22" fmla="*/ 0 h 21"/>
                  <a:gd name="T23" fmla="*/ 22 w 22"/>
                  <a:gd name="T24" fmla="*/ 21 h 2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2" h="21">
                    <a:moveTo>
                      <a:pt x="6" y="21"/>
                    </a:moveTo>
                    <a:lnTo>
                      <a:pt x="22" y="0"/>
                    </a:lnTo>
                    <a:lnTo>
                      <a:pt x="16" y="0"/>
                    </a:lnTo>
                    <a:lnTo>
                      <a:pt x="0" y="21"/>
                    </a:lnTo>
                    <a:lnTo>
                      <a:pt x="6" y="21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66" name="Line 959"/>
              <p:cNvSpPr>
                <a:spLocks noChangeShapeType="1"/>
              </p:cNvSpPr>
              <p:nvPr/>
            </p:nvSpPr>
            <p:spPr bwMode="auto">
              <a:xfrm flipH="1">
                <a:off x="4379235" y="3454351"/>
                <a:ext cx="10319" cy="158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67" name="Freeform 960"/>
              <p:cNvSpPr>
                <a:spLocks noEditPoints="1"/>
              </p:cNvSpPr>
              <p:nvPr/>
            </p:nvSpPr>
            <p:spPr bwMode="auto">
              <a:xfrm>
                <a:off x="4461785" y="3428951"/>
                <a:ext cx="10319" cy="9525"/>
              </a:xfrm>
              <a:custGeom>
                <a:avLst/>
                <a:gdLst>
                  <a:gd name="T0" fmla="*/ 6 w 6"/>
                  <a:gd name="T1" fmla="*/ 0 h 6"/>
                  <a:gd name="T2" fmla="*/ 0 w 6"/>
                  <a:gd name="T3" fmla="*/ 0 h 6"/>
                  <a:gd name="T4" fmla="*/ 0 w 6"/>
                  <a:gd name="T5" fmla="*/ 0 h 6"/>
                  <a:gd name="T6" fmla="*/ 0 w 6"/>
                  <a:gd name="T7" fmla="*/ 0 h 6"/>
                  <a:gd name="T8" fmla="*/ 0 w 6"/>
                  <a:gd name="T9" fmla="*/ 6 h 6"/>
                  <a:gd name="T10" fmla="*/ 0 w 6"/>
                  <a:gd name="T11" fmla="*/ 6 h 6"/>
                  <a:gd name="T12" fmla="*/ 6 w 6"/>
                  <a:gd name="T13" fmla="*/ 6 h 6"/>
                  <a:gd name="T14" fmla="*/ 6 w 6"/>
                  <a:gd name="T15" fmla="*/ 0 h 6"/>
                  <a:gd name="T16" fmla="*/ 6 w 6"/>
                  <a:gd name="T17" fmla="*/ 0 h 6"/>
                  <a:gd name="T18" fmla="*/ 6 w 6"/>
                  <a:gd name="T19" fmla="*/ 0 h 6"/>
                  <a:gd name="T20" fmla="*/ 0 w 6"/>
                  <a:gd name="T21" fmla="*/ 0 h 6"/>
                  <a:gd name="T22" fmla="*/ 0 w 6"/>
                  <a:gd name="T23" fmla="*/ 0 h 6"/>
                  <a:gd name="T24" fmla="*/ 0 w 6"/>
                  <a:gd name="T25" fmla="*/ 0 h 6"/>
                  <a:gd name="T26" fmla="*/ 0 w 6"/>
                  <a:gd name="T27" fmla="*/ 6 h 6"/>
                  <a:gd name="T28" fmla="*/ 0 w 6"/>
                  <a:gd name="T29" fmla="*/ 6 h 6"/>
                  <a:gd name="T30" fmla="*/ 6 w 6"/>
                  <a:gd name="T31" fmla="*/ 6 h 6"/>
                  <a:gd name="T32" fmla="*/ 6 w 6"/>
                  <a:gd name="T33" fmla="*/ 0 h 6"/>
                  <a:gd name="T34" fmla="*/ 6 w 6"/>
                  <a:gd name="T35" fmla="*/ 0 h 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6"/>
                  <a:gd name="T55" fmla="*/ 0 h 6"/>
                  <a:gd name="T56" fmla="*/ 6 w 6"/>
                  <a:gd name="T57" fmla="*/ 6 h 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6" h="6">
                    <a:moveTo>
                      <a:pt x="6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6" y="0"/>
                    </a:lnTo>
                    <a:close/>
                    <a:moveTo>
                      <a:pt x="6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68" name="Freeform 961"/>
              <p:cNvSpPr>
                <a:spLocks/>
              </p:cNvSpPr>
              <p:nvPr/>
            </p:nvSpPr>
            <p:spPr bwMode="auto">
              <a:xfrm>
                <a:off x="4461785" y="3403551"/>
                <a:ext cx="27517" cy="34925"/>
              </a:xfrm>
              <a:custGeom>
                <a:avLst/>
                <a:gdLst>
                  <a:gd name="T0" fmla="*/ 6 w 16"/>
                  <a:gd name="T1" fmla="*/ 22 h 22"/>
                  <a:gd name="T2" fmla="*/ 16 w 16"/>
                  <a:gd name="T3" fmla="*/ 0 h 22"/>
                  <a:gd name="T4" fmla="*/ 16 w 16"/>
                  <a:gd name="T5" fmla="*/ 0 h 22"/>
                  <a:gd name="T6" fmla="*/ 0 w 16"/>
                  <a:gd name="T7" fmla="*/ 22 h 22"/>
                  <a:gd name="T8" fmla="*/ 0 w 16"/>
                  <a:gd name="T9" fmla="*/ 22 h 22"/>
                  <a:gd name="T10" fmla="*/ 6 w 16"/>
                  <a:gd name="T11" fmla="*/ 22 h 2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22"/>
                  <a:gd name="T20" fmla="*/ 16 w 16"/>
                  <a:gd name="T21" fmla="*/ 22 h 2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22">
                    <a:moveTo>
                      <a:pt x="6" y="22"/>
                    </a:moveTo>
                    <a:lnTo>
                      <a:pt x="16" y="0"/>
                    </a:lnTo>
                    <a:lnTo>
                      <a:pt x="0" y="22"/>
                    </a:lnTo>
                    <a:lnTo>
                      <a:pt x="6" y="22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69" name="Line 962"/>
              <p:cNvSpPr>
                <a:spLocks noChangeShapeType="1"/>
              </p:cNvSpPr>
              <p:nvPr/>
            </p:nvSpPr>
            <p:spPr bwMode="auto">
              <a:xfrm>
                <a:off x="4461785" y="3438476"/>
                <a:ext cx="1720" cy="158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70" name="Freeform 963"/>
              <p:cNvSpPr>
                <a:spLocks noEditPoints="1"/>
              </p:cNvSpPr>
              <p:nvPr/>
            </p:nvSpPr>
            <p:spPr bwMode="auto">
              <a:xfrm>
                <a:off x="4546055" y="3413076"/>
                <a:ext cx="8599" cy="7938"/>
              </a:xfrm>
              <a:custGeom>
                <a:avLst/>
                <a:gdLst>
                  <a:gd name="T0" fmla="*/ 5 w 5"/>
                  <a:gd name="T1" fmla="*/ 0 h 5"/>
                  <a:gd name="T2" fmla="*/ 0 w 5"/>
                  <a:gd name="T3" fmla="*/ 0 h 5"/>
                  <a:gd name="T4" fmla="*/ 0 w 5"/>
                  <a:gd name="T5" fmla="*/ 0 h 5"/>
                  <a:gd name="T6" fmla="*/ 0 w 5"/>
                  <a:gd name="T7" fmla="*/ 0 h 5"/>
                  <a:gd name="T8" fmla="*/ 0 w 5"/>
                  <a:gd name="T9" fmla="*/ 5 h 5"/>
                  <a:gd name="T10" fmla="*/ 0 w 5"/>
                  <a:gd name="T11" fmla="*/ 5 h 5"/>
                  <a:gd name="T12" fmla="*/ 5 w 5"/>
                  <a:gd name="T13" fmla="*/ 5 h 5"/>
                  <a:gd name="T14" fmla="*/ 5 w 5"/>
                  <a:gd name="T15" fmla="*/ 0 h 5"/>
                  <a:gd name="T16" fmla="*/ 5 w 5"/>
                  <a:gd name="T17" fmla="*/ 0 h 5"/>
                  <a:gd name="T18" fmla="*/ 5 w 5"/>
                  <a:gd name="T19" fmla="*/ 0 h 5"/>
                  <a:gd name="T20" fmla="*/ 0 w 5"/>
                  <a:gd name="T21" fmla="*/ 0 h 5"/>
                  <a:gd name="T22" fmla="*/ 0 w 5"/>
                  <a:gd name="T23" fmla="*/ 0 h 5"/>
                  <a:gd name="T24" fmla="*/ 0 w 5"/>
                  <a:gd name="T25" fmla="*/ 0 h 5"/>
                  <a:gd name="T26" fmla="*/ 0 w 5"/>
                  <a:gd name="T27" fmla="*/ 5 h 5"/>
                  <a:gd name="T28" fmla="*/ 0 w 5"/>
                  <a:gd name="T29" fmla="*/ 5 h 5"/>
                  <a:gd name="T30" fmla="*/ 5 w 5"/>
                  <a:gd name="T31" fmla="*/ 5 h 5"/>
                  <a:gd name="T32" fmla="*/ 5 w 5"/>
                  <a:gd name="T33" fmla="*/ 0 h 5"/>
                  <a:gd name="T34" fmla="*/ 5 w 5"/>
                  <a:gd name="T35" fmla="*/ 0 h 5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5"/>
                  <a:gd name="T55" fmla="*/ 0 h 5"/>
                  <a:gd name="T56" fmla="*/ 5 w 5"/>
                  <a:gd name="T57" fmla="*/ 5 h 5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5" h="5">
                    <a:moveTo>
                      <a:pt x="5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5" y="5"/>
                    </a:lnTo>
                    <a:lnTo>
                      <a:pt x="5" y="0"/>
                    </a:lnTo>
                    <a:close/>
                    <a:moveTo>
                      <a:pt x="5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5" y="5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71" name="Freeform 964"/>
              <p:cNvSpPr>
                <a:spLocks/>
              </p:cNvSpPr>
              <p:nvPr/>
            </p:nvSpPr>
            <p:spPr bwMode="auto">
              <a:xfrm>
                <a:off x="4546055" y="3387676"/>
                <a:ext cx="27517" cy="33338"/>
              </a:xfrm>
              <a:custGeom>
                <a:avLst/>
                <a:gdLst>
                  <a:gd name="T0" fmla="*/ 5 w 16"/>
                  <a:gd name="T1" fmla="*/ 21 h 21"/>
                  <a:gd name="T2" fmla="*/ 16 w 16"/>
                  <a:gd name="T3" fmla="*/ 0 h 21"/>
                  <a:gd name="T4" fmla="*/ 16 w 16"/>
                  <a:gd name="T5" fmla="*/ 0 h 21"/>
                  <a:gd name="T6" fmla="*/ 0 w 16"/>
                  <a:gd name="T7" fmla="*/ 21 h 21"/>
                  <a:gd name="T8" fmla="*/ 0 w 16"/>
                  <a:gd name="T9" fmla="*/ 21 h 21"/>
                  <a:gd name="T10" fmla="*/ 5 w 16"/>
                  <a:gd name="T11" fmla="*/ 21 h 2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21"/>
                  <a:gd name="T20" fmla="*/ 16 w 16"/>
                  <a:gd name="T21" fmla="*/ 21 h 2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21">
                    <a:moveTo>
                      <a:pt x="5" y="21"/>
                    </a:moveTo>
                    <a:lnTo>
                      <a:pt x="16" y="0"/>
                    </a:lnTo>
                    <a:lnTo>
                      <a:pt x="0" y="21"/>
                    </a:lnTo>
                    <a:lnTo>
                      <a:pt x="5" y="21"/>
                    </a:lnTo>
                    <a:close/>
                  </a:path>
                </a:pathLst>
              </a:custGeom>
              <a:solidFill>
                <a:srgbClr val="25221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72" name="Line 965"/>
              <p:cNvSpPr>
                <a:spLocks noChangeShapeType="1"/>
              </p:cNvSpPr>
              <p:nvPr/>
            </p:nvSpPr>
            <p:spPr bwMode="auto">
              <a:xfrm>
                <a:off x="4546055" y="3421013"/>
                <a:ext cx="1720" cy="158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73" name="Line 966"/>
              <p:cNvSpPr>
                <a:spLocks noChangeShapeType="1"/>
              </p:cNvSpPr>
              <p:nvPr/>
            </p:nvSpPr>
            <p:spPr bwMode="auto">
              <a:xfrm>
                <a:off x="4518538" y="3286076"/>
                <a:ext cx="1720" cy="76200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74" name="Freeform 967"/>
              <p:cNvSpPr>
                <a:spLocks/>
              </p:cNvSpPr>
              <p:nvPr/>
            </p:nvSpPr>
            <p:spPr bwMode="auto">
              <a:xfrm>
                <a:off x="4461785" y="3352751"/>
                <a:ext cx="92869" cy="17463"/>
              </a:xfrm>
              <a:custGeom>
                <a:avLst/>
                <a:gdLst>
                  <a:gd name="T0" fmla="*/ 54 w 54"/>
                  <a:gd name="T1" fmla="*/ 11 h 11"/>
                  <a:gd name="T2" fmla="*/ 38 w 54"/>
                  <a:gd name="T3" fmla="*/ 0 h 11"/>
                  <a:gd name="T4" fmla="*/ 38 w 54"/>
                  <a:gd name="T5" fmla="*/ 0 h 11"/>
                  <a:gd name="T6" fmla="*/ 0 w 54"/>
                  <a:gd name="T7" fmla="*/ 11 h 1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4"/>
                  <a:gd name="T13" fmla="*/ 0 h 11"/>
                  <a:gd name="T14" fmla="*/ 54 w 54"/>
                  <a:gd name="T15" fmla="*/ 11 h 1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4" h="11">
                    <a:moveTo>
                      <a:pt x="54" y="11"/>
                    </a:moveTo>
                    <a:lnTo>
                      <a:pt x="38" y="0"/>
                    </a:lnTo>
                    <a:lnTo>
                      <a:pt x="0" y="11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75" name="Freeform 968"/>
              <p:cNvSpPr>
                <a:spLocks/>
              </p:cNvSpPr>
              <p:nvPr/>
            </p:nvSpPr>
            <p:spPr bwMode="auto">
              <a:xfrm>
                <a:off x="4546055" y="3276551"/>
                <a:ext cx="82550" cy="93663"/>
              </a:xfrm>
              <a:custGeom>
                <a:avLst/>
                <a:gdLst>
                  <a:gd name="T0" fmla="*/ 48 w 48"/>
                  <a:gd name="T1" fmla="*/ 59 h 59"/>
                  <a:gd name="T2" fmla="*/ 0 w 48"/>
                  <a:gd name="T3" fmla="*/ 32 h 59"/>
                  <a:gd name="T4" fmla="*/ 0 w 48"/>
                  <a:gd name="T5" fmla="*/ 0 h 59"/>
                  <a:gd name="T6" fmla="*/ 0 60000 65536"/>
                  <a:gd name="T7" fmla="*/ 0 60000 65536"/>
                  <a:gd name="T8" fmla="*/ 0 60000 65536"/>
                  <a:gd name="T9" fmla="*/ 0 w 48"/>
                  <a:gd name="T10" fmla="*/ 0 h 59"/>
                  <a:gd name="T11" fmla="*/ 48 w 48"/>
                  <a:gd name="T12" fmla="*/ 59 h 5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8" h="59">
                    <a:moveTo>
                      <a:pt x="48" y="59"/>
                    </a:moveTo>
                    <a:lnTo>
                      <a:pt x="0" y="3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76" name="Freeform 969"/>
              <p:cNvSpPr>
                <a:spLocks/>
              </p:cNvSpPr>
              <p:nvPr/>
            </p:nvSpPr>
            <p:spPr bwMode="auto">
              <a:xfrm>
                <a:off x="4535736" y="3276551"/>
                <a:ext cx="82550" cy="93663"/>
              </a:xfrm>
              <a:custGeom>
                <a:avLst/>
                <a:gdLst>
                  <a:gd name="T0" fmla="*/ 48 w 48"/>
                  <a:gd name="T1" fmla="*/ 59 h 59"/>
                  <a:gd name="T2" fmla="*/ 0 w 48"/>
                  <a:gd name="T3" fmla="*/ 38 h 59"/>
                  <a:gd name="T4" fmla="*/ 0 w 48"/>
                  <a:gd name="T5" fmla="*/ 0 h 59"/>
                  <a:gd name="T6" fmla="*/ 0 60000 65536"/>
                  <a:gd name="T7" fmla="*/ 0 60000 65536"/>
                  <a:gd name="T8" fmla="*/ 0 60000 65536"/>
                  <a:gd name="T9" fmla="*/ 0 w 48"/>
                  <a:gd name="T10" fmla="*/ 0 h 59"/>
                  <a:gd name="T11" fmla="*/ 48 w 48"/>
                  <a:gd name="T12" fmla="*/ 59 h 5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48" h="59">
                    <a:moveTo>
                      <a:pt x="48" y="59"/>
                    </a:moveTo>
                    <a:lnTo>
                      <a:pt x="0" y="38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77" name="Freeform 970"/>
              <p:cNvSpPr>
                <a:spLocks/>
              </p:cNvSpPr>
              <p:nvPr/>
            </p:nvSpPr>
            <p:spPr bwMode="auto">
              <a:xfrm>
                <a:off x="4628605" y="3243213"/>
                <a:ext cx="36116" cy="58738"/>
              </a:xfrm>
              <a:custGeom>
                <a:avLst/>
                <a:gdLst>
                  <a:gd name="T0" fmla="*/ 0 w 21"/>
                  <a:gd name="T1" fmla="*/ 0 h 37"/>
                  <a:gd name="T2" fmla="*/ 11 w 21"/>
                  <a:gd name="T3" fmla="*/ 0 h 37"/>
                  <a:gd name="T4" fmla="*/ 11 w 21"/>
                  <a:gd name="T5" fmla="*/ 0 h 37"/>
                  <a:gd name="T6" fmla="*/ 16 w 21"/>
                  <a:gd name="T7" fmla="*/ 5 h 37"/>
                  <a:gd name="T8" fmla="*/ 21 w 21"/>
                  <a:gd name="T9" fmla="*/ 37 h 3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1"/>
                  <a:gd name="T16" fmla="*/ 0 h 37"/>
                  <a:gd name="T17" fmla="*/ 21 w 21"/>
                  <a:gd name="T18" fmla="*/ 37 h 3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1" h="37">
                    <a:moveTo>
                      <a:pt x="0" y="0"/>
                    </a:moveTo>
                    <a:lnTo>
                      <a:pt x="11" y="0"/>
                    </a:lnTo>
                    <a:lnTo>
                      <a:pt x="16" y="5"/>
                    </a:lnTo>
                    <a:lnTo>
                      <a:pt x="21" y="37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78" name="Freeform 971"/>
              <p:cNvSpPr>
                <a:spLocks/>
              </p:cNvSpPr>
              <p:nvPr/>
            </p:nvSpPr>
            <p:spPr bwMode="auto">
              <a:xfrm>
                <a:off x="4647522" y="3319413"/>
                <a:ext cx="17198" cy="58738"/>
              </a:xfrm>
              <a:custGeom>
                <a:avLst/>
                <a:gdLst>
                  <a:gd name="T0" fmla="*/ 10 w 10"/>
                  <a:gd name="T1" fmla="*/ 0 h 37"/>
                  <a:gd name="T2" fmla="*/ 10 w 10"/>
                  <a:gd name="T3" fmla="*/ 27 h 37"/>
                  <a:gd name="T4" fmla="*/ 5 w 10"/>
                  <a:gd name="T5" fmla="*/ 32 h 37"/>
                  <a:gd name="T6" fmla="*/ 5 w 10"/>
                  <a:gd name="T7" fmla="*/ 37 h 37"/>
                  <a:gd name="T8" fmla="*/ 0 w 10"/>
                  <a:gd name="T9" fmla="*/ 37 h 3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37"/>
                  <a:gd name="T17" fmla="*/ 10 w 10"/>
                  <a:gd name="T18" fmla="*/ 37 h 3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37">
                    <a:moveTo>
                      <a:pt x="10" y="0"/>
                    </a:moveTo>
                    <a:lnTo>
                      <a:pt x="10" y="27"/>
                    </a:lnTo>
                    <a:lnTo>
                      <a:pt x="5" y="32"/>
                    </a:lnTo>
                    <a:lnTo>
                      <a:pt x="5" y="37"/>
                    </a:lnTo>
                    <a:lnTo>
                      <a:pt x="0" y="37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79" name="Freeform 972"/>
              <p:cNvSpPr>
                <a:spLocks/>
              </p:cNvSpPr>
              <p:nvPr/>
            </p:nvSpPr>
            <p:spPr bwMode="auto">
              <a:xfrm>
                <a:off x="4628605" y="3243213"/>
                <a:ext cx="27517" cy="58738"/>
              </a:xfrm>
              <a:custGeom>
                <a:avLst/>
                <a:gdLst>
                  <a:gd name="T0" fmla="*/ 0 w 16"/>
                  <a:gd name="T1" fmla="*/ 5 h 37"/>
                  <a:gd name="T2" fmla="*/ 11 w 16"/>
                  <a:gd name="T3" fmla="*/ 0 h 37"/>
                  <a:gd name="T4" fmla="*/ 11 w 16"/>
                  <a:gd name="T5" fmla="*/ 0 h 37"/>
                  <a:gd name="T6" fmla="*/ 16 w 16"/>
                  <a:gd name="T7" fmla="*/ 5 h 37"/>
                  <a:gd name="T8" fmla="*/ 16 w 16"/>
                  <a:gd name="T9" fmla="*/ 37 h 3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37"/>
                  <a:gd name="T17" fmla="*/ 16 w 16"/>
                  <a:gd name="T18" fmla="*/ 37 h 3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37">
                    <a:moveTo>
                      <a:pt x="0" y="5"/>
                    </a:moveTo>
                    <a:lnTo>
                      <a:pt x="11" y="0"/>
                    </a:lnTo>
                    <a:lnTo>
                      <a:pt x="16" y="5"/>
                    </a:lnTo>
                    <a:lnTo>
                      <a:pt x="16" y="37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80" name="Freeform 973"/>
              <p:cNvSpPr>
                <a:spLocks/>
              </p:cNvSpPr>
              <p:nvPr/>
            </p:nvSpPr>
            <p:spPr bwMode="auto">
              <a:xfrm>
                <a:off x="4647522" y="3327351"/>
                <a:ext cx="8599" cy="50800"/>
              </a:xfrm>
              <a:custGeom>
                <a:avLst/>
                <a:gdLst>
                  <a:gd name="T0" fmla="*/ 5 w 5"/>
                  <a:gd name="T1" fmla="*/ 0 h 32"/>
                  <a:gd name="T2" fmla="*/ 5 w 5"/>
                  <a:gd name="T3" fmla="*/ 22 h 32"/>
                  <a:gd name="T4" fmla="*/ 5 w 5"/>
                  <a:gd name="T5" fmla="*/ 22 h 32"/>
                  <a:gd name="T6" fmla="*/ 5 w 5"/>
                  <a:gd name="T7" fmla="*/ 27 h 32"/>
                  <a:gd name="T8" fmla="*/ 0 w 5"/>
                  <a:gd name="T9" fmla="*/ 32 h 3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32"/>
                  <a:gd name="T17" fmla="*/ 5 w 5"/>
                  <a:gd name="T18" fmla="*/ 32 h 3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32">
                    <a:moveTo>
                      <a:pt x="5" y="0"/>
                    </a:moveTo>
                    <a:lnTo>
                      <a:pt x="5" y="22"/>
                    </a:lnTo>
                    <a:lnTo>
                      <a:pt x="5" y="27"/>
                    </a:lnTo>
                    <a:lnTo>
                      <a:pt x="0" y="32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81" name="Freeform 974"/>
              <p:cNvSpPr>
                <a:spLocks/>
              </p:cNvSpPr>
              <p:nvPr/>
            </p:nvSpPr>
            <p:spPr bwMode="auto">
              <a:xfrm>
                <a:off x="4618286" y="3260676"/>
                <a:ext cx="10319" cy="109538"/>
              </a:xfrm>
              <a:custGeom>
                <a:avLst/>
                <a:gdLst>
                  <a:gd name="T0" fmla="*/ 6 w 6"/>
                  <a:gd name="T1" fmla="*/ 69 h 69"/>
                  <a:gd name="T2" fmla="*/ 0 w 6"/>
                  <a:gd name="T3" fmla="*/ 32 h 69"/>
                  <a:gd name="T4" fmla="*/ 0 w 6"/>
                  <a:gd name="T5" fmla="*/ 0 h 69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69"/>
                  <a:gd name="T11" fmla="*/ 6 w 6"/>
                  <a:gd name="T12" fmla="*/ 69 h 6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69">
                    <a:moveTo>
                      <a:pt x="6" y="69"/>
                    </a:moveTo>
                    <a:lnTo>
                      <a:pt x="0" y="32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82" name="Freeform 975"/>
              <p:cNvSpPr>
                <a:spLocks/>
              </p:cNvSpPr>
              <p:nvPr/>
            </p:nvSpPr>
            <p:spPr bwMode="auto">
              <a:xfrm>
                <a:off x="4647522" y="3301951"/>
                <a:ext cx="17198" cy="9525"/>
              </a:xfrm>
              <a:custGeom>
                <a:avLst/>
                <a:gdLst>
                  <a:gd name="T0" fmla="*/ 0 w 10"/>
                  <a:gd name="T1" fmla="*/ 6 h 6"/>
                  <a:gd name="T2" fmla="*/ 5 w 10"/>
                  <a:gd name="T3" fmla="*/ 6 h 6"/>
                  <a:gd name="T4" fmla="*/ 10 w 10"/>
                  <a:gd name="T5" fmla="*/ 0 h 6"/>
                  <a:gd name="T6" fmla="*/ 10 w 10"/>
                  <a:gd name="T7" fmla="*/ 0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"/>
                  <a:gd name="T13" fmla="*/ 0 h 6"/>
                  <a:gd name="T14" fmla="*/ 10 w 10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" h="6">
                    <a:moveTo>
                      <a:pt x="0" y="6"/>
                    </a:moveTo>
                    <a:lnTo>
                      <a:pt x="5" y="6"/>
                    </a:lnTo>
                    <a:lnTo>
                      <a:pt x="1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83" name="Freeform 976"/>
              <p:cNvSpPr>
                <a:spLocks/>
              </p:cNvSpPr>
              <p:nvPr/>
            </p:nvSpPr>
            <p:spPr bwMode="auto">
              <a:xfrm>
                <a:off x="4647522" y="3301951"/>
                <a:ext cx="17198" cy="25400"/>
              </a:xfrm>
              <a:custGeom>
                <a:avLst/>
                <a:gdLst>
                  <a:gd name="T0" fmla="*/ 10 w 10"/>
                  <a:gd name="T1" fmla="*/ 0 h 16"/>
                  <a:gd name="T2" fmla="*/ 10 w 10"/>
                  <a:gd name="T3" fmla="*/ 11 h 16"/>
                  <a:gd name="T4" fmla="*/ 5 w 10"/>
                  <a:gd name="T5" fmla="*/ 16 h 16"/>
                  <a:gd name="T6" fmla="*/ 0 w 10"/>
                  <a:gd name="T7" fmla="*/ 11 h 1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"/>
                  <a:gd name="T13" fmla="*/ 0 h 16"/>
                  <a:gd name="T14" fmla="*/ 10 w 10"/>
                  <a:gd name="T15" fmla="*/ 16 h 1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" h="16">
                    <a:moveTo>
                      <a:pt x="10" y="0"/>
                    </a:moveTo>
                    <a:lnTo>
                      <a:pt x="10" y="11"/>
                    </a:lnTo>
                    <a:lnTo>
                      <a:pt x="5" y="16"/>
                    </a:lnTo>
                    <a:lnTo>
                      <a:pt x="0" y="11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84" name="Freeform 977"/>
              <p:cNvSpPr>
                <a:spLocks/>
              </p:cNvSpPr>
              <p:nvPr/>
            </p:nvSpPr>
            <p:spPr bwMode="auto">
              <a:xfrm>
                <a:off x="4647522" y="3294013"/>
                <a:ext cx="8599" cy="58738"/>
              </a:xfrm>
              <a:custGeom>
                <a:avLst/>
                <a:gdLst>
                  <a:gd name="T0" fmla="*/ 5 w 5"/>
                  <a:gd name="T1" fmla="*/ 0 h 37"/>
                  <a:gd name="T2" fmla="*/ 0 w 5"/>
                  <a:gd name="T3" fmla="*/ 0 h 37"/>
                  <a:gd name="T4" fmla="*/ 0 w 5"/>
                  <a:gd name="T5" fmla="*/ 0 h 37"/>
                  <a:gd name="T6" fmla="*/ 0 w 5"/>
                  <a:gd name="T7" fmla="*/ 0 h 37"/>
                  <a:gd name="T8" fmla="*/ 0 w 5"/>
                  <a:gd name="T9" fmla="*/ 5 h 37"/>
                  <a:gd name="T10" fmla="*/ 0 w 5"/>
                  <a:gd name="T11" fmla="*/ 21 h 37"/>
                  <a:gd name="T12" fmla="*/ 0 w 5"/>
                  <a:gd name="T13" fmla="*/ 27 h 37"/>
                  <a:gd name="T14" fmla="*/ 0 w 5"/>
                  <a:gd name="T15" fmla="*/ 32 h 37"/>
                  <a:gd name="T16" fmla="*/ 0 w 5"/>
                  <a:gd name="T17" fmla="*/ 32 h 37"/>
                  <a:gd name="T18" fmla="*/ 0 w 5"/>
                  <a:gd name="T19" fmla="*/ 37 h 37"/>
                  <a:gd name="T20" fmla="*/ 0 w 5"/>
                  <a:gd name="T21" fmla="*/ 32 h 37"/>
                  <a:gd name="T22" fmla="*/ 5 w 5"/>
                  <a:gd name="T23" fmla="*/ 32 h 3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"/>
                  <a:gd name="T37" fmla="*/ 0 h 37"/>
                  <a:gd name="T38" fmla="*/ 5 w 5"/>
                  <a:gd name="T39" fmla="*/ 37 h 3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" h="37">
                    <a:moveTo>
                      <a:pt x="5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0" y="21"/>
                    </a:lnTo>
                    <a:lnTo>
                      <a:pt x="0" y="27"/>
                    </a:lnTo>
                    <a:lnTo>
                      <a:pt x="0" y="32"/>
                    </a:lnTo>
                    <a:lnTo>
                      <a:pt x="0" y="37"/>
                    </a:lnTo>
                    <a:lnTo>
                      <a:pt x="0" y="32"/>
                    </a:lnTo>
                    <a:lnTo>
                      <a:pt x="5" y="32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85" name="Freeform 978"/>
              <p:cNvSpPr>
                <a:spLocks/>
              </p:cNvSpPr>
              <p:nvPr/>
            </p:nvSpPr>
            <p:spPr bwMode="auto">
              <a:xfrm>
                <a:off x="4664720" y="3286076"/>
                <a:ext cx="10319" cy="58738"/>
              </a:xfrm>
              <a:custGeom>
                <a:avLst/>
                <a:gdLst>
                  <a:gd name="T0" fmla="*/ 0 w 6"/>
                  <a:gd name="T1" fmla="*/ 37 h 37"/>
                  <a:gd name="T2" fmla="*/ 0 w 6"/>
                  <a:gd name="T3" fmla="*/ 32 h 37"/>
                  <a:gd name="T4" fmla="*/ 6 w 6"/>
                  <a:gd name="T5" fmla="*/ 32 h 37"/>
                  <a:gd name="T6" fmla="*/ 6 w 6"/>
                  <a:gd name="T7" fmla="*/ 32 h 37"/>
                  <a:gd name="T8" fmla="*/ 6 w 6"/>
                  <a:gd name="T9" fmla="*/ 16 h 37"/>
                  <a:gd name="T10" fmla="*/ 6 w 6"/>
                  <a:gd name="T11" fmla="*/ 0 h 37"/>
                  <a:gd name="T12" fmla="*/ 6 w 6"/>
                  <a:gd name="T13" fmla="*/ 0 h 37"/>
                  <a:gd name="T14" fmla="*/ 0 w 6"/>
                  <a:gd name="T15" fmla="*/ 0 h 37"/>
                  <a:gd name="T16" fmla="*/ 0 w 6"/>
                  <a:gd name="T17" fmla="*/ 5 h 3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37"/>
                  <a:gd name="T29" fmla="*/ 6 w 6"/>
                  <a:gd name="T30" fmla="*/ 37 h 3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37">
                    <a:moveTo>
                      <a:pt x="0" y="37"/>
                    </a:moveTo>
                    <a:lnTo>
                      <a:pt x="0" y="32"/>
                    </a:lnTo>
                    <a:lnTo>
                      <a:pt x="6" y="32"/>
                    </a:lnTo>
                    <a:lnTo>
                      <a:pt x="6" y="16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0" y="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86" name="Freeform 979"/>
              <p:cNvSpPr>
                <a:spLocks/>
              </p:cNvSpPr>
              <p:nvPr/>
            </p:nvSpPr>
            <p:spPr bwMode="auto">
              <a:xfrm>
                <a:off x="3135825" y="3159076"/>
                <a:ext cx="930407" cy="287338"/>
              </a:xfrm>
              <a:custGeom>
                <a:avLst/>
                <a:gdLst>
                  <a:gd name="T0" fmla="*/ 0 w 541"/>
                  <a:gd name="T1" fmla="*/ 0 h 181"/>
                  <a:gd name="T2" fmla="*/ 509 w 541"/>
                  <a:gd name="T3" fmla="*/ 181 h 181"/>
                  <a:gd name="T4" fmla="*/ 541 w 541"/>
                  <a:gd name="T5" fmla="*/ 170 h 181"/>
                  <a:gd name="T6" fmla="*/ 0 60000 65536"/>
                  <a:gd name="T7" fmla="*/ 0 60000 65536"/>
                  <a:gd name="T8" fmla="*/ 0 60000 65536"/>
                  <a:gd name="T9" fmla="*/ 0 w 541"/>
                  <a:gd name="T10" fmla="*/ 0 h 181"/>
                  <a:gd name="T11" fmla="*/ 541 w 541"/>
                  <a:gd name="T12" fmla="*/ 181 h 18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41" h="181">
                    <a:moveTo>
                      <a:pt x="0" y="0"/>
                    </a:moveTo>
                    <a:lnTo>
                      <a:pt x="509" y="181"/>
                    </a:lnTo>
                    <a:lnTo>
                      <a:pt x="541" y="17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87" name="Line 980"/>
              <p:cNvSpPr>
                <a:spLocks noChangeShapeType="1"/>
              </p:cNvSpPr>
              <p:nvPr/>
            </p:nvSpPr>
            <p:spPr bwMode="auto">
              <a:xfrm>
                <a:off x="4250250" y="3608338"/>
                <a:ext cx="46434" cy="1587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88" name="Freeform 981"/>
              <p:cNvSpPr>
                <a:spLocks/>
              </p:cNvSpPr>
              <p:nvPr/>
            </p:nvSpPr>
            <p:spPr bwMode="auto">
              <a:xfrm>
                <a:off x="4260569" y="3649613"/>
                <a:ext cx="36116" cy="25400"/>
              </a:xfrm>
              <a:custGeom>
                <a:avLst/>
                <a:gdLst>
                  <a:gd name="T0" fmla="*/ 0 w 21"/>
                  <a:gd name="T1" fmla="*/ 0 h 16"/>
                  <a:gd name="T2" fmla="*/ 0 w 21"/>
                  <a:gd name="T3" fmla="*/ 6 h 16"/>
                  <a:gd name="T4" fmla="*/ 21 w 21"/>
                  <a:gd name="T5" fmla="*/ 16 h 16"/>
                  <a:gd name="T6" fmla="*/ 0 60000 65536"/>
                  <a:gd name="T7" fmla="*/ 0 60000 65536"/>
                  <a:gd name="T8" fmla="*/ 0 60000 65536"/>
                  <a:gd name="T9" fmla="*/ 0 w 21"/>
                  <a:gd name="T10" fmla="*/ 0 h 16"/>
                  <a:gd name="T11" fmla="*/ 21 w 21"/>
                  <a:gd name="T12" fmla="*/ 16 h 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1" h="16">
                    <a:moveTo>
                      <a:pt x="0" y="0"/>
                    </a:moveTo>
                    <a:lnTo>
                      <a:pt x="0" y="6"/>
                    </a:lnTo>
                    <a:lnTo>
                      <a:pt x="21" y="16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89" name="Freeform 982"/>
              <p:cNvSpPr>
                <a:spLocks/>
              </p:cNvSpPr>
              <p:nvPr/>
            </p:nvSpPr>
            <p:spPr bwMode="auto">
              <a:xfrm>
                <a:off x="3366277" y="3276551"/>
                <a:ext cx="8599" cy="1588"/>
              </a:xfrm>
              <a:custGeom>
                <a:avLst/>
                <a:gdLst>
                  <a:gd name="T0" fmla="*/ 0 w 5"/>
                  <a:gd name="T1" fmla="*/ 0 h 1"/>
                  <a:gd name="T2" fmla="*/ 0 w 5"/>
                  <a:gd name="T3" fmla="*/ 0 h 1"/>
                  <a:gd name="T4" fmla="*/ 5 w 5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1"/>
                  <a:gd name="T11" fmla="*/ 5 w 5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1">
                    <a:moveTo>
                      <a:pt x="0" y="0"/>
                    </a:moveTo>
                    <a:lnTo>
                      <a:pt x="0" y="0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90" name="Line 983"/>
              <p:cNvSpPr>
                <a:spLocks noChangeShapeType="1"/>
              </p:cNvSpPr>
              <p:nvPr/>
            </p:nvSpPr>
            <p:spPr bwMode="auto">
              <a:xfrm>
                <a:off x="3429910" y="3301951"/>
                <a:ext cx="10319" cy="1588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91" name="Freeform 984"/>
              <p:cNvSpPr>
                <a:spLocks/>
              </p:cNvSpPr>
              <p:nvPr/>
            </p:nvSpPr>
            <p:spPr bwMode="auto">
              <a:xfrm>
                <a:off x="4324201" y="3387676"/>
                <a:ext cx="46434" cy="15875"/>
              </a:xfrm>
              <a:custGeom>
                <a:avLst/>
                <a:gdLst>
                  <a:gd name="T0" fmla="*/ 27 w 27"/>
                  <a:gd name="T1" fmla="*/ 10 h 10"/>
                  <a:gd name="T2" fmla="*/ 21 w 27"/>
                  <a:gd name="T3" fmla="*/ 5 h 10"/>
                  <a:gd name="T4" fmla="*/ 16 w 27"/>
                  <a:gd name="T5" fmla="*/ 0 h 10"/>
                  <a:gd name="T6" fmla="*/ 5 w 27"/>
                  <a:gd name="T7" fmla="*/ 0 h 10"/>
                  <a:gd name="T8" fmla="*/ 0 w 27"/>
                  <a:gd name="T9" fmla="*/ 5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"/>
                  <a:gd name="T16" fmla="*/ 0 h 10"/>
                  <a:gd name="T17" fmla="*/ 27 w 27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" h="10">
                    <a:moveTo>
                      <a:pt x="27" y="10"/>
                    </a:moveTo>
                    <a:lnTo>
                      <a:pt x="21" y="5"/>
                    </a:lnTo>
                    <a:lnTo>
                      <a:pt x="16" y="0"/>
                    </a:lnTo>
                    <a:lnTo>
                      <a:pt x="5" y="0"/>
                    </a:lnTo>
                    <a:lnTo>
                      <a:pt x="0" y="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92" name="Freeform 985"/>
              <p:cNvSpPr>
                <a:spLocks/>
              </p:cNvSpPr>
              <p:nvPr/>
            </p:nvSpPr>
            <p:spPr bwMode="auto">
              <a:xfrm>
                <a:off x="4324201" y="3395613"/>
                <a:ext cx="36116" cy="7938"/>
              </a:xfrm>
              <a:custGeom>
                <a:avLst/>
                <a:gdLst>
                  <a:gd name="T0" fmla="*/ 21 w 21"/>
                  <a:gd name="T1" fmla="*/ 5 h 5"/>
                  <a:gd name="T2" fmla="*/ 16 w 21"/>
                  <a:gd name="T3" fmla="*/ 0 h 5"/>
                  <a:gd name="T4" fmla="*/ 16 w 21"/>
                  <a:gd name="T5" fmla="*/ 0 h 5"/>
                  <a:gd name="T6" fmla="*/ 0 w 21"/>
                  <a:gd name="T7" fmla="*/ 0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"/>
                  <a:gd name="T13" fmla="*/ 0 h 5"/>
                  <a:gd name="T14" fmla="*/ 21 w 21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" h="5">
                    <a:moveTo>
                      <a:pt x="21" y="5"/>
                    </a:moveTo>
                    <a:lnTo>
                      <a:pt x="16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93" name="Freeform 986"/>
              <p:cNvSpPr>
                <a:spLocks noEditPoints="1"/>
              </p:cNvSpPr>
              <p:nvPr/>
            </p:nvSpPr>
            <p:spPr bwMode="auto">
              <a:xfrm>
                <a:off x="4461785" y="3684538"/>
                <a:ext cx="84270" cy="33338"/>
              </a:xfrm>
              <a:custGeom>
                <a:avLst/>
                <a:gdLst>
                  <a:gd name="T0" fmla="*/ 0 w 49"/>
                  <a:gd name="T1" fmla="*/ 10 h 21"/>
                  <a:gd name="T2" fmla="*/ 0 w 49"/>
                  <a:gd name="T3" fmla="*/ 10 h 21"/>
                  <a:gd name="T4" fmla="*/ 6 w 49"/>
                  <a:gd name="T5" fmla="*/ 10 h 21"/>
                  <a:gd name="T6" fmla="*/ 6 w 49"/>
                  <a:gd name="T7" fmla="*/ 10 h 21"/>
                  <a:gd name="T8" fmla="*/ 6 w 49"/>
                  <a:gd name="T9" fmla="*/ 16 h 21"/>
                  <a:gd name="T10" fmla="*/ 6 w 49"/>
                  <a:gd name="T11" fmla="*/ 16 h 21"/>
                  <a:gd name="T12" fmla="*/ 0 w 49"/>
                  <a:gd name="T13" fmla="*/ 16 h 21"/>
                  <a:gd name="T14" fmla="*/ 0 w 49"/>
                  <a:gd name="T15" fmla="*/ 16 h 21"/>
                  <a:gd name="T16" fmla="*/ 11 w 49"/>
                  <a:gd name="T17" fmla="*/ 16 h 21"/>
                  <a:gd name="T18" fmla="*/ 11 w 49"/>
                  <a:gd name="T19" fmla="*/ 10 h 21"/>
                  <a:gd name="T20" fmla="*/ 11 w 49"/>
                  <a:gd name="T21" fmla="*/ 10 h 21"/>
                  <a:gd name="T22" fmla="*/ 11 w 49"/>
                  <a:gd name="T23" fmla="*/ 5 h 21"/>
                  <a:gd name="T24" fmla="*/ 16 w 49"/>
                  <a:gd name="T25" fmla="*/ 10 h 21"/>
                  <a:gd name="T26" fmla="*/ 16 w 49"/>
                  <a:gd name="T27" fmla="*/ 5 h 21"/>
                  <a:gd name="T28" fmla="*/ 22 w 49"/>
                  <a:gd name="T29" fmla="*/ 5 h 21"/>
                  <a:gd name="T30" fmla="*/ 22 w 49"/>
                  <a:gd name="T31" fmla="*/ 10 h 21"/>
                  <a:gd name="T32" fmla="*/ 16 w 49"/>
                  <a:gd name="T33" fmla="*/ 16 h 21"/>
                  <a:gd name="T34" fmla="*/ 16 w 49"/>
                  <a:gd name="T35" fmla="*/ 10 h 21"/>
                  <a:gd name="T36" fmla="*/ 16 w 49"/>
                  <a:gd name="T37" fmla="*/ 16 h 21"/>
                  <a:gd name="T38" fmla="*/ 16 w 49"/>
                  <a:gd name="T39" fmla="*/ 10 h 21"/>
                  <a:gd name="T40" fmla="*/ 16 w 49"/>
                  <a:gd name="T41" fmla="*/ 5 h 21"/>
                  <a:gd name="T42" fmla="*/ 16 w 49"/>
                  <a:gd name="T43" fmla="*/ 10 h 21"/>
                  <a:gd name="T44" fmla="*/ 22 w 49"/>
                  <a:gd name="T45" fmla="*/ 5 h 21"/>
                  <a:gd name="T46" fmla="*/ 22 w 49"/>
                  <a:gd name="T47" fmla="*/ 5 h 21"/>
                  <a:gd name="T48" fmla="*/ 27 w 49"/>
                  <a:gd name="T49" fmla="*/ 5 h 21"/>
                  <a:gd name="T50" fmla="*/ 27 w 49"/>
                  <a:gd name="T51" fmla="*/ 10 h 21"/>
                  <a:gd name="T52" fmla="*/ 22 w 49"/>
                  <a:gd name="T53" fmla="*/ 10 h 21"/>
                  <a:gd name="T54" fmla="*/ 22 w 49"/>
                  <a:gd name="T55" fmla="*/ 10 h 21"/>
                  <a:gd name="T56" fmla="*/ 27 w 49"/>
                  <a:gd name="T57" fmla="*/ 10 h 21"/>
                  <a:gd name="T58" fmla="*/ 27 w 49"/>
                  <a:gd name="T59" fmla="*/ 5 h 21"/>
                  <a:gd name="T60" fmla="*/ 22 w 49"/>
                  <a:gd name="T61" fmla="*/ 5 h 21"/>
                  <a:gd name="T62" fmla="*/ 33 w 49"/>
                  <a:gd name="T63" fmla="*/ 5 h 21"/>
                  <a:gd name="T64" fmla="*/ 38 w 49"/>
                  <a:gd name="T65" fmla="*/ 5 h 21"/>
                  <a:gd name="T66" fmla="*/ 33 w 49"/>
                  <a:gd name="T67" fmla="*/ 10 h 21"/>
                  <a:gd name="T68" fmla="*/ 33 w 49"/>
                  <a:gd name="T69" fmla="*/ 10 h 21"/>
                  <a:gd name="T70" fmla="*/ 33 w 49"/>
                  <a:gd name="T71" fmla="*/ 5 h 21"/>
                  <a:gd name="T72" fmla="*/ 33 w 49"/>
                  <a:gd name="T73" fmla="*/ 0 h 21"/>
                  <a:gd name="T74" fmla="*/ 38 w 49"/>
                  <a:gd name="T75" fmla="*/ 0 h 21"/>
                  <a:gd name="T76" fmla="*/ 33 w 49"/>
                  <a:gd name="T77" fmla="*/ 5 h 21"/>
                  <a:gd name="T78" fmla="*/ 33 w 49"/>
                  <a:gd name="T79" fmla="*/ 0 h 21"/>
                  <a:gd name="T80" fmla="*/ 33 w 49"/>
                  <a:gd name="T81" fmla="*/ 5 h 21"/>
                  <a:gd name="T82" fmla="*/ 33 w 49"/>
                  <a:gd name="T83" fmla="*/ 10 h 21"/>
                  <a:gd name="T84" fmla="*/ 38 w 49"/>
                  <a:gd name="T85" fmla="*/ 5 h 21"/>
                  <a:gd name="T86" fmla="*/ 38 w 49"/>
                  <a:gd name="T87" fmla="*/ 10 h 21"/>
                  <a:gd name="T88" fmla="*/ 38 w 49"/>
                  <a:gd name="T89" fmla="*/ 0 h 21"/>
                  <a:gd name="T90" fmla="*/ 38 w 49"/>
                  <a:gd name="T91" fmla="*/ 5 h 21"/>
                  <a:gd name="T92" fmla="*/ 43 w 49"/>
                  <a:gd name="T93" fmla="*/ 0 h 21"/>
                  <a:gd name="T94" fmla="*/ 43 w 49"/>
                  <a:gd name="T95" fmla="*/ 0 h 21"/>
                  <a:gd name="T96" fmla="*/ 38 w 49"/>
                  <a:gd name="T97" fmla="*/ 10 h 21"/>
                  <a:gd name="T98" fmla="*/ 43 w 49"/>
                  <a:gd name="T99" fmla="*/ 0 h 21"/>
                  <a:gd name="T100" fmla="*/ 49 w 49"/>
                  <a:gd name="T101" fmla="*/ 0 h 21"/>
                  <a:gd name="T102" fmla="*/ 49 w 49"/>
                  <a:gd name="T103" fmla="*/ 0 h 21"/>
                  <a:gd name="T104" fmla="*/ 49 w 49"/>
                  <a:gd name="T105" fmla="*/ 5 h 21"/>
                  <a:gd name="T106" fmla="*/ 43 w 49"/>
                  <a:gd name="T107" fmla="*/ 5 h 21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9"/>
                  <a:gd name="T163" fmla="*/ 0 h 21"/>
                  <a:gd name="T164" fmla="*/ 49 w 49"/>
                  <a:gd name="T165" fmla="*/ 21 h 21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9" h="21">
                    <a:moveTo>
                      <a:pt x="0" y="21"/>
                    </a:moveTo>
                    <a:lnTo>
                      <a:pt x="0" y="16"/>
                    </a:lnTo>
                    <a:lnTo>
                      <a:pt x="0" y="10"/>
                    </a:lnTo>
                    <a:lnTo>
                      <a:pt x="6" y="16"/>
                    </a:lnTo>
                    <a:lnTo>
                      <a:pt x="6" y="10"/>
                    </a:lnTo>
                    <a:lnTo>
                      <a:pt x="6" y="16"/>
                    </a:lnTo>
                    <a:lnTo>
                      <a:pt x="6" y="10"/>
                    </a:lnTo>
                    <a:lnTo>
                      <a:pt x="6" y="16"/>
                    </a:lnTo>
                    <a:lnTo>
                      <a:pt x="0" y="16"/>
                    </a:lnTo>
                    <a:lnTo>
                      <a:pt x="0" y="10"/>
                    </a:lnTo>
                    <a:lnTo>
                      <a:pt x="0" y="16"/>
                    </a:lnTo>
                    <a:lnTo>
                      <a:pt x="0" y="21"/>
                    </a:lnTo>
                    <a:close/>
                    <a:moveTo>
                      <a:pt x="11" y="16"/>
                    </a:moveTo>
                    <a:lnTo>
                      <a:pt x="11" y="16"/>
                    </a:lnTo>
                    <a:lnTo>
                      <a:pt x="11" y="10"/>
                    </a:lnTo>
                    <a:lnTo>
                      <a:pt x="11" y="5"/>
                    </a:lnTo>
                    <a:lnTo>
                      <a:pt x="11" y="10"/>
                    </a:lnTo>
                    <a:lnTo>
                      <a:pt x="11" y="16"/>
                    </a:lnTo>
                    <a:close/>
                    <a:moveTo>
                      <a:pt x="16" y="10"/>
                    </a:moveTo>
                    <a:lnTo>
                      <a:pt x="16" y="10"/>
                    </a:lnTo>
                    <a:lnTo>
                      <a:pt x="16" y="5"/>
                    </a:lnTo>
                    <a:lnTo>
                      <a:pt x="22" y="5"/>
                    </a:lnTo>
                    <a:lnTo>
                      <a:pt x="22" y="10"/>
                    </a:lnTo>
                    <a:lnTo>
                      <a:pt x="16" y="10"/>
                    </a:lnTo>
                    <a:lnTo>
                      <a:pt x="16" y="16"/>
                    </a:lnTo>
                    <a:lnTo>
                      <a:pt x="16" y="10"/>
                    </a:lnTo>
                    <a:close/>
                    <a:moveTo>
                      <a:pt x="16" y="10"/>
                    </a:moveTo>
                    <a:lnTo>
                      <a:pt x="16" y="10"/>
                    </a:lnTo>
                    <a:lnTo>
                      <a:pt x="16" y="16"/>
                    </a:lnTo>
                    <a:lnTo>
                      <a:pt x="16" y="10"/>
                    </a:lnTo>
                    <a:lnTo>
                      <a:pt x="16" y="5"/>
                    </a:lnTo>
                    <a:lnTo>
                      <a:pt x="16" y="10"/>
                    </a:lnTo>
                    <a:close/>
                    <a:moveTo>
                      <a:pt x="22" y="10"/>
                    </a:moveTo>
                    <a:lnTo>
                      <a:pt x="22" y="5"/>
                    </a:lnTo>
                    <a:lnTo>
                      <a:pt x="27" y="5"/>
                    </a:lnTo>
                    <a:lnTo>
                      <a:pt x="27" y="10"/>
                    </a:lnTo>
                    <a:lnTo>
                      <a:pt x="22" y="10"/>
                    </a:lnTo>
                    <a:lnTo>
                      <a:pt x="22" y="16"/>
                    </a:lnTo>
                    <a:lnTo>
                      <a:pt x="22" y="10"/>
                    </a:lnTo>
                    <a:close/>
                    <a:moveTo>
                      <a:pt x="22" y="10"/>
                    </a:moveTo>
                    <a:lnTo>
                      <a:pt x="22" y="10"/>
                    </a:lnTo>
                    <a:lnTo>
                      <a:pt x="27" y="10"/>
                    </a:lnTo>
                    <a:lnTo>
                      <a:pt x="27" y="5"/>
                    </a:lnTo>
                    <a:lnTo>
                      <a:pt x="22" y="5"/>
                    </a:lnTo>
                    <a:lnTo>
                      <a:pt x="22" y="10"/>
                    </a:lnTo>
                    <a:close/>
                    <a:moveTo>
                      <a:pt x="33" y="5"/>
                    </a:moveTo>
                    <a:lnTo>
                      <a:pt x="33" y="5"/>
                    </a:lnTo>
                    <a:lnTo>
                      <a:pt x="38" y="5"/>
                    </a:lnTo>
                    <a:lnTo>
                      <a:pt x="38" y="10"/>
                    </a:lnTo>
                    <a:lnTo>
                      <a:pt x="33" y="10"/>
                    </a:lnTo>
                    <a:lnTo>
                      <a:pt x="27" y="5"/>
                    </a:lnTo>
                    <a:lnTo>
                      <a:pt x="33" y="5"/>
                    </a:lnTo>
                    <a:lnTo>
                      <a:pt x="33" y="0"/>
                    </a:lnTo>
                    <a:lnTo>
                      <a:pt x="38" y="0"/>
                    </a:lnTo>
                    <a:lnTo>
                      <a:pt x="38" y="5"/>
                    </a:lnTo>
                    <a:lnTo>
                      <a:pt x="33" y="5"/>
                    </a:lnTo>
                    <a:lnTo>
                      <a:pt x="33" y="0"/>
                    </a:lnTo>
                    <a:lnTo>
                      <a:pt x="33" y="5"/>
                    </a:lnTo>
                    <a:lnTo>
                      <a:pt x="33" y="10"/>
                    </a:lnTo>
                    <a:lnTo>
                      <a:pt x="38" y="10"/>
                    </a:lnTo>
                    <a:lnTo>
                      <a:pt x="38" y="5"/>
                    </a:lnTo>
                    <a:lnTo>
                      <a:pt x="33" y="5"/>
                    </a:lnTo>
                    <a:close/>
                    <a:moveTo>
                      <a:pt x="38" y="10"/>
                    </a:moveTo>
                    <a:lnTo>
                      <a:pt x="38" y="5"/>
                    </a:lnTo>
                    <a:lnTo>
                      <a:pt x="38" y="0"/>
                    </a:lnTo>
                    <a:lnTo>
                      <a:pt x="38" y="5"/>
                    </a:lnTo>
                    <a:lnTo>
                      <a:pt x="43" y="5"/>
                    </a:lnTo>
                    <a:lnTo>
                      <a:pt x="43" y="0"/>
                    </a:lnTo>
                    <a:lnTo>
                      <a:pt x="43" y="5"/>
                    </a:lnTo>
                    <a:lnTo>
                      <a:pt x="43" y="10"/>
                    </a:lnTo>
                    <a:lnTo>
                      <a:pt x="38" y="10"/>
                    </a:lnTo>
                    <a:close/>
                    <a:moveTo>
                      <a:pt x="43" y="5"/>
                    </a:moveTo>
                    <a:lnTo>
                      <a:pt x="43" y="5"/>
                    </a:lnTo>
                    <a:lnTo>
                      <a:pt x="43" y="0"/>
                    </a:lnTo>
                    <a:lnTo>
                      <a:pt x="49" y="0"/>
                    </a:lnTo>
                    <a:lnTo>
                      <a:pt x="49" y="5"/>
                    </a:lnTo>
                    <a:lnTo>
                      <a:pt x="43" y="5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94" name="Freeform 987"/>
              <p:cNvSpPr>
                <a:spLocks/>
              </p:cNvSpPr>
              <p:nvPr/>
            </p:nvSpPr>
            <p:spPr bwMode="auto">
              <a:xfrm>
                <a:off x="4618286" y="3352751"/>
                <a:ext cx="10319" cy="17463"/>
              </a:xfrm>
              <a:custGeom>
                <a:avLst/>
                <a:gdLst>
                  <a:gd name="T0" fmla="*/ 6 w 6"/>
                  <a:gd name="T1" fmla="*/ 0 h 11"/>
                  <a:gd name="T2" fmla="*/ 0 w 6"/>
                  <a:gd name="T3" fmla="*/ 0 h 11"/>
                  <a:gd name="T4" fmla="*/ 0 w 6"/>
                  <a:gd name="T5" fmla="*/ 6 h 11"/>
                  <a:gd name="T6" fmla="*/ 0 w 6"/>
                  <a:gd name="T7" fmla="*/ 6 h 11"/>
                  <a:gd name="T8" fmla="*/ 0 w 6"/>
                  <a:gd name="T9" fmla="*/ 11 h 11"/>
                  <a:gd name="T10" fmla="*/ 0 w 6"/>
                  <a:gd name="T11" fmla="*/ 6 h 11"/>
                  <a:gd name="T12" fmla="*/ 6 w 6"/>
                  <a:gd name="T13" fmla="*/ 6 h 11"/>
                  <a:gd name="T14" fmla="*/ 6 w 6"/>
                  <a:gd name="T15" fmla="*/ 0 h 11"/>
                  <a:gd name="T16" fmla="*/ 6 w 6"/>
                  <a:gd name="T17" fmla="*/ 0 h 1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6"/>
                  <a:gd name="T28" fmla="*/ 0 h 11"/>
                  <a:gd name="T29" fmla="*/ 6 w 6"/>
                  <a:gd name="T30" fmla="*/ 11 h 11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6" h="11">
                    <a:moveTo>
                      <a:pt x="6" y="0"/>
                    </a:moveTo>
                    <a:lnTo>
                      <a:pt x="0" y="0"/>
                    </a:lnTo>
                    <a:lnTo>
                      <a:pt x="0" y="6"/>
                    </a:lnTo>
                    <a:lnTo>
                      <a:pt x="0" y="11"/>
                    </a:lnTo>
                    <a:lnTo>
                      <a:pt x="0" y="6"/>
                    </a:lnTo>
                    <a:lnTo>
                      <a:pt x="6" y="6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218FA0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8095" name="Rectangle 988"/>
              <p:cNvSpPr>
                <a:spLocks noChangeArrowheads="1"/>
              </p:cNvSpPr>
              <p:nvPr/>
            </p:nvSpPr>
            <p:spPr bwMode="auto">
              <a:xfrm>
                <a:off x="4618286" y="3362276"/>
                <a:ext cx="10319" cy="1588"/>
              </a:xfrm>
              <a:prstGeom prst="rect">
                <a:avLst/>
              </a:prstGeom>
              <a:solidFill>
                <a:srgbClr val="ACDBC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</p:grpSp>
      <p:grpSp>
        <p:nvGrpSpPr>
          <p:cNvPr id="4077" name="Group 4076"/>
          <p:cNvGrpSpPr/>
          <p:nvPr/>
        </p:nvGrpSpPr>
        <p:grpSpPr>
          <a:xfrm>
            <a:off x="120559" y="2974206"/>
            <a:ext cx="1448065" cy="958850"/>
            <a:chOff x="272480" y="2924944"/>
            <a:chExt cx="1448065" cy="958850"/>
          </a:xfrm>
        </p:grpSpPr>
        <p:grpSp>
          <p:nvGrpSpPr>
            <p:cNvPr id="38617" name="Group 990"/>
            <p:cNvGrpSpPr>
              <a:grpSpLocks/>
            </p:cNvGrpSpPr>
            <p:nvPr/>
          </p:nvGrpSpPr>
          <p:grpSpPr bwMode="auto">
            <a:xfrm>
              <a:off x="272480" y="2924944"/>
              <a:ext cx="1448065" cy="958850"/>
              <a:chOff x="1542" y="1774"/>
              <a:chExt cx="842" cy="604"/>
            </a:xfrm>
          </p:grpSpPr>
          <p:sp>
            <p:nvSpPr>
              <p:cNvPr id="37721" name="Freeform 991"/>
              <p:cNvSpPr>
                <a:spLocks/>
              </p:cNvSpPr>
              <p:nvPr/>
            </p:nvSpPr>
            <p:spPr bwMode="auto">
              <a:xfrm>
                <a:off x="1552" y="1962"/>
                <a:ext cx="334" cy="317"/>
              </a:xfrm>
              <a:custGeom>
                <a:avLst/>
                <a:gdLst>
                  <a:gd name="T0" fmla="*/ 20 w 334"/>
                  <a:gd name="T1" fmla="*/ 50 h 317"/>
                  <a:gd name="T2" fmla="*/ 30 w 334"/>
                  <a:gd name="T3" fmla="*/ 35 h 317"/>
                  <a:gd name="T4" fmla="*/ 79 w 334"/>
                  <a:gd name="T5" fmla="*/ 15 h 317"/>
                  <a:gd name="T6" fmla="*/ 134 w 334"/>
                  <a:gd name="T7" fmla="*/ 0 h 317"/>
                  <a:gd name="T8" fmla="*/ 319 w 334"/>
                  <a:gd name="T9" fmla="*/ 30 h 317"/>
                  <a:gd name="T10" fmla="*/ 324 w 334"/>
                  <a:gd name="T11" fmla="*/ 35 h 317"/>
                  <a:gd name="T12" fmla="*/ 329 w 334"/>
                  <a:gd name="T13" fmla="*/ 45 h 317"/>
                  <a:gd name="T14" fmla="*/ 329 w 334"/>
                  <a:gd name="T15" fmla="*/ 144 h 317"/>
                  <a:gd name="T16" fmla="*/ 334 w 334"/>
                  <a:gd name="T17" fmla="*/ 248 h 317"/>
                  <a:gd name="T18" fmla="*/ 289 w 334"/>
                  <a:gd name="T19" fmla="*/ 267 h 317"/>
                  <a:gd name="T20" fmla="*/ 289 w 334"/>
                  <a:gd name="T21" fmla="*/ 272 h 317"/>
                  <a:gd name="T22" fmla="*/ 269 w 334"/>
                  <a:gd name="T23" fmla="*/ 282 h 317"/>
                  <a:gd name="T24" fmla="*/ 259 w 334"/>
                  <a:gd name="T25" fmla="*/ 297 h 317"/>
                  <a:gd name="T26" fmla="*/ 219 w 334"/>
                  <a:gd name="T27" fmla="*/ 312 h 317"/>
                  <a:gd name="T28" fmla="*/ 219 w 334"/>
                  <a:gd name="T29" fmla="*/ 317 h 317"/>
                  <a:gd name="T30" fmla="*/ 199 w 334"/>
                  <a:gd name="T31" fmla="*/ 317 h 317"/>
                  <a:gd name="T32" fmla="*/ 179 w 334"/>
                  <a:gd name="T33" fmla="*/ 317 h 317"/>
                  <a:gd name="T34" fmla="*/ 89 w 334"/>
                  <a:gd name="T35" fmla="*/ 297 h 317"/>
                  <a:gd name="T36" fmla="*/ 5 w 334"/>
                  <a:gd name="T37" fmla="*/ 272 h 317"/>
                  <a:gd name="T38" fmla="*/ 0 w 334"/>
                  <a:gd name="T39" fmla="*/ 228 h 317"/>
                  <a:gd name="T40" fmla="*/ 5 w 334"/>
                  <a:gd name="T41" fmla="*/ 188 h 317"/>
                  <a:gd name="T42" fmla="*/ 10 w 334"/>
                  <a:gd name="T43" fmla="*/ 183 h 317"/>
                  <a:gd name="T44" fmla="*/ 99 w 334"/>
                  <a:gd name="T45" fmla="*/ 208 h 317"/>
                  <a:gd name="T46" fmla="*/ 194 w 334"/>
                  <a:gd name="T47" fmla="*/ 228 h 317"/>
                  <a:gd name="T48" fmla="*/ 199 w 334"/>
                  <a:gd name="T49" fmla="*/ 223 h 317"/>
                  <a:gd name="T50" fmla="*/ 209 w 334"/>
                  <a:gd name="T51" fmla="*/ 223 h 317"/>
                  <a:gd name="T52" fmla="*/ 214 w 334"/>
                  <a:gd name="T53" fmla="*/ 134 h 317"/>
                  <a:gd name="T54" fmla="*/ 209 w 334"/>
                  <a:gd name="T55" fmla="*/ 119 h 317"/>
                  <a:gd name="T56" fmla="*/ 199 w 334"/>
                  <a:gd name="T57" fmla="*/ 114 h 317"/>
                  <a:gd name="T58" fmla="*/ 109 w 334"/>
                  <a:gd name="T59" fmla="*/ 99 h 317"/>
                  <a:gd name="T60" fmla="*/ 25 w 334"/>
                  <a:gd name="T61" fmla="*/ 84 h 317"/>
                  <a:gd name="T62" fmla="*/ 20 w 334"/>
                  <a:gd name="T63" fmla="*/ 79 h 317"/>
                  <a:gd name="T64" fmla="*/ 15 w 334"/>
                  <a:gd name="T65" fmla="*/ 79 h 317"/>
                  <a:gd name="T66" fmla="*/ 20 w 334"/>
                  <a:gd name="T67" fmla="*/ 50 h 317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334"/>
                  <a:gd name="T103" fmla="*/ 0 h 317"/>
                  <a:gd name="T104" fmla="*/ 334 w 334"/>
                  <a:gd name="T105" fmla="*/ 317 h 317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334" h="317">
                    <a:moveTo>
                      <a:pt x="20" y="50"/>
                    </a:moveTo>
                    <a:lnTo>
                      <a:pt x="30" y="35"/>
                    </a:lnTo>
                    <a:lnTo>
                      <a:pt x="79" y="15"/>
                    </a:lnTo>
                    <a:lnTo>
                      <a:pt x="134" y="0"/>
                    </a:lnTo>
                    <a:lnTo>
                      <a:pt x="319" y="30"/>
                    </a:lnTo>
                    <a:lnTo>
                      <a:pt x="324" y="35"/>
                    </a:lnTo>
                    <a:lnTo>
                      <a:pt x="329" y="45"/>
                    </a:lnTo>
                    <a:lnTo>
                      <a:pt x="329" y="144"/>
                    </a:lnTo>
                    <a:lnTo>
                      <a:pt x="334" y="248"/>
                    </a:lnTo>
                    <a:lnTo>
                      <a:pt x="289" y="267"/>
                    </a:lnTo>
                    <a:lnTo>
                      <a:pt x="289" y="272"/>
                    </a:lnTo>
                    <a:lnTo>
                      <a:pt x="269" y="282"/>
                    </a:lnTo>
                    <a:lnTo>
                      <a:pt x="259" y="297"/>
                    </a:lnTo>
                    <a:lnTo>
                      <a:pt x="219" y="312"/>
                    </a:lnTo>
                    <a:lnTo>
                      <a:pt x="219" y="317"/>
                    </a:lnTo>
                    <a:lnTo>
                      <a:pt x="199" y="317"/>
                    </a:lnTo>
                    <a:lnTo>
                      <a:pt x="179" y="317"/>
                    </a:lnTo>
                    <a:lnTo>
                      <a:pt x="89" y="297"/>
                    </a:lnTo>
                    <a:lnTo>
                      <a:pt x="5" y="272"/>
                    </a:lnTo>
                    <a:lnTo>
                      <a:pt x="0" y="228"/>
                    </a:lnTo>
                    <a:lnTo>
                      <a:pt x="5" y="188"/>
                    </a:lnTo>
                    <a:lnTo>
                      <a:pt x="10" y="183"/>
                    </a:lnTo>
                    <a:lnTo>
                      <a:pt x="99" y="208"/>
                    </a:lnTo>
                    <a:lnTo>
                      <a:pt x="194" y="228"/>
                    </a:lnTo>
                    <a:lnTo>
                      <a:pt x="199" y="223"/>
                    </a:lnTo>
                    <a:lnTo>
                      <a:pt x="209" y="223"/>
                    </a:lnTo>
                    <a:lnTo>
                      <a:pt x="214" y="134"/>
                    </a:lnTo>
                    <a:lnTo>
                      <a:pt x="209" y="119"/>
                    </a:lnTo>
                    <a:lnTo>
                      <a:pt x="199" y="114"/>
                    </a:lnTo>
                    <a:lnTo>
                      <a:pt x="109" y="99"/>
                    </a:lnTo>
                    <a:lnTo>
                      <a:pt x="25" y="84"/>
                    </a:lnTo>
                    <a:lnTo>
                      <a:pt x="20" y="79"/>
                    </a:lnTo>
                    <a:lnTo>
                      <a:pt x="15" y="79"/>
                    </a:lnTo>
                    <a:lnTo>
                      <a:pt x="20" y="50"/>
                    </a:lnTo>
                    <a:close/>
                  </a:path>
                </a:pathLst>
              </a:custGeom>
              <a:solidFill>
                <a:srgbClr val="218FA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22" name="Freeform 992"/>
              <p:cNvSpPr>
                <a:spLocks/>
              </p:cNvSpPr>
              <p:nvPr/>
            </p:nvSpPr>
            <p:spPr bwMode="auto">
              <a:xfrm>
                <a:off x="1666" y="1774"/>
                <a:ext cx="718" cy="450"/>
              </a:xfrm>
              <a:custGeom>
                <a:avLst/>
                <a:gdLst>
                  <a:gd name="T0" fmla="*/ 0 w 718"/>
                  <a:gd name="T1" fmla="*/ 188 h 450"/>
                  <a:gd name="T2" fmla="*/ 0 w 718"/>
                  <a:gd name="T3" fmla="*/ 129 h 450"/>
                  <a:gd name="T4" fmla="*/ 5 w 718"/>
                  <a:gd name="T5" fmla="*/ 129 h 450"/>
                  <a:gd name="T6" fmla="*/ 5 w 718"/>
                  <a:gd name="T7" fmla="*/ 104 h 450"/>
                  <a:gd name="T8" fmla="*/ 529 w 718"/>
                  <a:gd name="T9" fmla="*/ 0 h 450"/>
                  <a:gd name="T10" fmla="*/ 718 w 718"/>
                  <a:gd name="T11" fmla="*/ 20 h 450"/>
                  <a:gd name="T12" fmla="*/ 713 w 718"/>
                  <a:gd name="T13" fmla="*/ 272 h 450"/>
                  <a:gd name="T14" fmla="*/ 235 w 718"/>
                  <a:gd name="T15" fmla="*/ 450 h 450"/>
                  <a:gd name="T16" fmla="*/ 225 w 718"/>
                  <a:gd name="T17" fmla="*/ 450 h 450"/>
                  <a:gd name="T18" fmla="*/ 225 w 718"/>
                  <a:gd name="T19" fmla="*/ 441 h 450"/>
                  <a:gd name="T20" fmla="*/ 210 w 718"/>
                  <a:gd name="T21" fmla="*/ 228 h 450"/>
                  <a:gd name="T22" fmla="*/ 205 w 718"/>
                  <a:gd name="T23" fmla="*/ 218 h 450"/>
                  <a:gd name="T24" fmla="*/ 170 w 718"/>
                  <a:gd name="T25" fmla="*/ 213 h 450"/>
                  <a:gd name="T26" fmla="*/ 160 w 718"/>
                  <a:gd name="T27" fmla="*/ 218 h 450"/>
                  <a:gd name="T28" fmla="*/ 0 w 718"/>
                  <a:gd name="T29" fmla="*/ 188 h 45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718"/>
                  <a:gd name="T46" fmla="*/ 0 h 450"/>
                  <a:gd name="T47" fmla="*/ 718 w 718"/>
                  <a:gd name="T48" fmla="*/ 450 h 450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718" h="450">
                    <a:moveTo>
                      <a:pt x="0" y="188"/>
                    </a:moveTo>
                    <a:lnTo>
                      <a:pt x="0" y="129"/>
                    </a:lnTo>
                    <a:lnTo>
                      <a:pt x="5" y="129"/>
                    </a:lnTo>
                    <a:lnTo>
                      <a:pt x="5" y="104"/>
                    </a:lnTo>
                    <a:lnTo>
                      <a:pt x="529" y="0"/>
                    </a:lnTo>
                    <a:lnTo>
                      <a:pt x="718" y="20"/>
                    </a:lnTo>
                    <a:lnTo>
                      <a:pt x="713" y="272"/>
                    </a:lnTo>
                    <a:lnTo>
                      <a:pt x="235" y="450"/>
                    </a:lnTo>
                    <a:lnTo>
                      <a:pt x="225" y="450"/>
                    </a:lnTo>
                    <a:lnTo>
                      <a:pt x="225" y="441"/>
                    </a:lnTo>
                    <a:lnTo>
                      <a:pt x="210" y="228"/>
                    </a:lnTo>
                    <a:lnTo>
                      <a:pt x="205" y="218"/>
                    </a:lnTo>
                    <a:lnTo>
                      <a:pt x="170" y="213"/>
                    </a:lnTo>
                    <a:lnTo>
                      <a:pt x="160" y="218"/>
                    </a:lnTo>
                    <a:lnTo>
                      <a:pt x="0" y="188"/>
                    </a:lnTo>
                    <a:close/>
                  </a:path>
                </a:pathLst>
              </a:custGeom>
              <a:solidFill>
                <a:srgbClr val="218FA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23" name="Freeform 993"/>
              <p:cNvSpPr>
                <a:spLocks/>
              </p:cNvSpPr>
              <p:nvPr/>
            </p:nvSpPr>
            <p:spPr bwMode="auto">
              <a:xfrm>
                <a:off x="1671" y="1962"/>
                <a:ext cx="195" cy="30"/>
              </a:xfrm>
              <a:custGeom>
                <a:avLst/>
                <a:gdLst>
                  <a:gd name="T0" fmla="*/ 165 w 195"/>
                  <a:gd name="T1" fmla="*/ 25 h 30"/>
                  <a:gd name="T2" fmla="*/ 155 w 195"/>
                  <a:gd name="T3" fmla="*/ 30 h 30"/>
                  <a:gd name="T4" fmla="*/ 10 w 195"/>
                  <a:gd name="T5" fmla="*/ 0 h 30"/>
                  <a:gd name="T6" fmla="*/ 0 w 195"/>
                  <a:gd name="T7" fmla="*/ 5 h 30"/>
                  <a:gd name="T8" fmla="*/ 150 w 195"/>
                  <a:gd name="T9" fmla="*/ 30 h 30"/>
                  <a:gd name="T10" fmla="*/ 180 w 195"/>
                  <a:gd name="T11" fmla="*/ 25 h 30"/>
                  <a:gd name="T12" fmla="*/ 185 w 195"/>
                  <a:gd name="T13" fmla="*/ 25 h 30"/>
                  <a:gd name="T14" fmla="*/ 195 w 195"/>
                  <a:gd name="T15" fmla="*/ 15 h 30"/>
                  <a:gd name="T16" fmla="*/ 165 w 195"/>
                  <a:gd name="T17" fmla="*/ 25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95"/>
                  <a:gd name="T28" fmla="*/ 0 h 30"/>
                  <a:gd name="T29" fmla="*/ 195 w 195"/>
                  <a:gd name="T30" fmla="*/ 30 h 3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95" h="30">
                    <a:moveTo>
                      <a:pt x="165" y="25"/>
                    </a:moveTo>
                    <a:lnTo>
                      <a:pt x="155" y="30"/>
                    </a:lnTo>
                    <a:lnTo>
                      <a:pt x="10" y="0"/>
                    </a:lnTo>
                    <a:lnTo>
                      <a:pt x="0" y="5"/>
                    </a:lnTo>
                    <a:lnTo>
                      <a:pt x="150" y="30"/>
                    </a:lnTo>
                    <a:lnTo>
                      <a:pt x="180" y="25"/>
                    </a:lnTo>
                    <a:lnTo>
                      <a:pt x="185" y="25"/>
                    </a:lnTo>
                    <a:lnTo>
                      <a:pt x="195" y="15"/>
                    </a:lnTo>
                    <a:lnTo>
                      <a:pt x="165" y="25"/>
                    </a:lnTo>
                    <a:close/>
                  </a:path>
                </a:pathLst>
              </a:custGeom>
              <a:solidFill>
                <a:srgbClr val="3D505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24" name="Freeform 994"/>
              <p:cNvSpPr>
                <a:spLocks/>
              </p:cNvSpPr>
              <p:nvPr/>
            </p:nvSpPr>
            <p:spPr bwMode="auto">
              <a:xfrm>
                <a:off x="1557" y="2041"/>
                <a:ext cx="209" cy="149"/>
              </a:xfrm>
              <a:custGeom>
                <a:avLst/>
                <a:gdLst>
                  <a:gd name="T0" fmla="*/ 209 w 209"/>
                  <a:gd name="T1" fmla="*/ 50 h 149"/>
                  <a:gd name="T2" fmla="*/ 204 w 209"/>
                  <a:gd name="T3" fmla="*/ 144 h 149"/>
                  <a:gd name="T4" fmla="*/ 194 w 209"/>
                  <a:gd name="T5" fmla="*/ 144 h 149"/>
                  <a:gd name="T6" fmla="*/ 189 w 209"/>
                  <a:gd name="T7" fmla="*/ 149 h 149"/>
                  <a:gd name="T8" fmla="*/ 94 w 209"/>
                  <a:gd name="T9" fmla="*/ 129 h 149"/>
                  <a:gd name="T10" fmla="*/ 5 w 209"/>
                  <a:gd name="T11" fmla="*/ 104 h 149"/>
                  <a:gd name="T12" fmla="*/ 0 w 209"/>
                  <a:gd name="T13" fmla="*/ 99 h 149"/>
                  <a:gd name="T14" fmla="*/ 0 w 209"/>
                  <a:gd name="T15" fmla="*/ 99 h 149"/>
                  <a:gd name="T16" fmla="*/ 5 w 209"/>
                  <a:gd name="T17" fmla="*/ 50 h 149"/>
                  <a:gd name="T18" fmla="*/ 10 w 209"/>
                  <a:gd name="T19" fmla="*/ 0 h 149"/>
                  <a:gd name="T20" fmla="*/ 20 w 209"/>
                  <a:gd name="T21" fmla="*/ 5 h 149"/>
                  <a:gd name="T22" fmla="*/ 194 w 209"/>
                  <a:gd name="T23" fmla="*/ 35 h 149"/>
                  <a:gd name="T24" fmla="*/ 199 w 209"/>
                  <a:gd name="T25" fmla="*/ 40 h 149"/>
                  <a:gd name="T26" fmla="*/ 209 w 209"/>
                  <a:gd name="T27" fmla="*/ 50 h 14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209"/>
                  <a:gd name="T43" fmla="*/ 0 h 149"/>
                  <a:gd name="T44" fmla="*/ 209 w 209"/>
                  <a:gd name="T45" fmla="*/ 149 h 14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209" h="149">
                    <a:moveTo>
                      <a:pt x="209" y="50"/>
                    </a:moveTo>
                    <a:lnTo>
                      <a:pt x="204" y="144"/>
                    </a:lnTo>
                    <a:lnTo>
                      <a:pt x="194" y="144"/>
                    </a:lnTo>
                    <a:lnTo>
                      <a:pt x="189" y="149"/>
                    </a:lnTo>
                    <a:lnTo>
                      <a:pt x="94" y="129"/>
                    </a:lnTo>
                    <a:lnTo>
                      <a:pt x="5" y="104"/>
                    </a:lnTo>
                    <a:lnTo>
                      <a:pt x="0" y="99"/>
                    </a:lnTo>
                    <a:lnTo>
                      <a:pt x="5" y="50"/>
                    </a:lnTo>
                    <a:lnTo>
                      <a:pt x="10" y="0"/>
                    </a:lnTo>
                    <a:lnTo>
                      <a:pt x="20" y="5"/>
                    </a:lnTo>
                    <a:lnTo>
                      <a:pt x="194" y="35"/>
                    </a:lnTo>
                    <a:lnTo>
                      <a:pt x="199" y="40"/>
                    </a:lnTo>
                    <a:lnTo>
                      <a:pt x="209" y="50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25" name="Freeform 995"/>
              <p:cNvSpPr>
                <a:spLocks/>
              </p:cNvSpPr>
              <p:nvPr/>
            </p:nvSpPr>
            <p:spPr bwMode="auto">
              <a:xfrm>
                <a:off x="1552" y="2289"/>
                <a:ext cx="254" cy="79"/>
              </a:xfrm>
              <a:custGeom>
                <a:avLst/>
                <a:gdLst>
                  <a:gd name="T0" fmla="*/ 0 w 254"/>
                  <a:gd name="T1" fmla="*/ 0 h 79"/>
                  <a:gd name="T2" fmla="*/ 194 w 254"/>
                  <a:gd name="T3" fmla="*/ 44 h 79"/>
                  <a:gd name="T4" fmla="*/ 214 w 254"/>
                  <a:gd name="T5" fmla="*/ 44 h 79"/>
                  <a:gd name="T6" fmla="*/ 219 w 254"/>
                  <a:gd name="T7" fmla="*/ 44 h 79"/>
                  <a:gd name="T8" fmla="*/ 219 w 254"/>
                  <a:gd name="T9" fmla="*/ 39 h 79"/>
                  <a:gd name="T10" fmla="*/ 244 w 254"/>
                  <a:gd name="T11" fmla="*/ 30 h 79"/>
                  <a:gd name="T12" fmla="*/ 249 w 254"/>
                  <a:gd name="T13" fmla="*/ 30 h 79"/>
                  <a:gd name="T14" fmla="*/ 254 w 254"/>
                  <a:gd name="T15" fmla="*/ 30 h 79"/>
                  <a:gd name="T16" fmla="*/ 254 w 254"/>
                  <a:gd name="T17" fmla="*/ 64 h 79"/>
                  <a:gd name="T18" fmla="*/ 239 w 254"/>
                  <a:gd name="T19" fmla="*/ 74 h 79"/>
                  <a:gd name="T20" fmla="*/ 229 w 254"/>
                  <a:gd name="T21" fmla="*/ 79 h 79"/>
                  <a:gd name="T22" fmla="*/ 219 w 254"/>
                  <a:gd name="T23" fmla="*/ 79 h 79"/>
                  <a:gd name="T24" fmla="*/ 194 w 254"/>
                  <a:gd name="T25" fmla="*/ 69 h 79"/>
                  <a:gd name="T26" fmla="*/ 99 w 254"/>
                  <a:gd name="T27" fmla="*/ 44 h 79"/>
                  <a:gd name="T28" fmla="*/ 10 w 254"/>
                  <a:gd name="T29" fmla="*/ 20 h 79"/>
                  <a:gd name="T30" fmla="*/ 0 w 254"/>
                  <a:gd name="T31" fmla="*/ 10 h 79"/>
                  <a:gd name="T32" fmla="*/ 0 w 254"/>
                  <a:gd name="T33" fmla="*/ 0 h 7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54"/>
                  <a:gd name="T52" fmla="*/ 0 h 79"/>
                  <a:gd name="T53" fmla="*/ 254 w 254"/>
                  <a:gd name="T54" fmla="*/ 79 h 79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54" h="79">
                    <a:moveTo>
                      <a:pt x="0" y="0"/>
                    </a:moveTo>
                    <a:lnTo>
                      <a:pt x="194" y="44"/>
                    </a:lnTo>
                    <a:lnTo>
                      <a:pt x="214" y="44"/>
                    </a:lnTo>
                    <a:lnTo>
                      <a:pt x="219" y="44"/>
                    </a:lnTo>
                    <a:lnTo>
                      <a:pt x="219" y="39"/>
                    </a:lnTo>
                    <a:lnTo>
                      <a:pt x="244" y="30"/>
                    </a:lnTo>
                    <a:lnTo>
                      <a:pt x="249" y="30"/>
                    </a:lnTo>
                    <a:lnTo>
                      <a:pt x="254" y="30"/>
                    </a:lnTo>
                    <a:lnTo>
                      <a:pt x="254" y="64"/>
                    </a:lnTo>
                    <a:lnTo>
                      <a:pt x="239" y="74"/>
                    </a:lnTo>
                    <a:lnTo>
                      <a:pt x="229" y="79"/>
                    </a:lnTo>
                    <a:lnTo>
                      <a:pt x="219" y="79"/>
                    </a:lnTo>
                    <a:lnTo>
                      <a:pt x="194" y="69"/>
                    </a:lnTo>
                    <a:lnTo>
                      <a:pt x="99" y="44"/>
                    </a:lnTo>
                    <a:lnTo>
                      <a:pt x="10" y="20"/>
                    </a:lnTo>
                    <a:lnTo>
                      <a:pt x="0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18FA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26" name="Freeform 996"/>
              <p:cNvSpPr>
                <a:spLocks/>
              </p:cNvSpPr>
              <p:nvPr/>
            </p:nvSpPr>
            <p:spPr bwMode="auto">
              <a:xfrm>
                <a:off x="1567" y="2051"/>
                <a:ext cx="194" cy="119"/>
              </a:xfrm>
              <a:custGeom>
                <a:avLst/>
                <a:gdLst>
                  <a:gd name="T0" fmla="*/ 194 w 194"/>
                  <a:gd name="T1" fmla="*/ 40 h 119"/>
                  <a:gd name="T2" fmla="*/ 189 w 194"/>
                  <a:gd name="T3" fmla="*/ 109 h 119"/>
                  <a:gd name="T4" fmla="*/ 184 w 194"/>
                  <a:gd name="T5" fmla="*/ 114 h 119"/>
                  <a:gd name="T6" fmla="*/ 174 w 194"/>
                  <a:gd name="T7" fmla="*/ 119 h 119"/>
                  <a:gd name="T8" fmla="*/ 84 w 194"/>
                  <a:gd name="T9" fmla="*/ 99 h 119"/>
                  <a:gd name="T10" fmla="*/ 0 w 194"/>
                  <a:gd name="T11" fmla="*/ 79 h 119"/>
                  <a:gd name="T12" fmla="*/ 0 w 194"/>
                  <a:gd name="T13" fmla="*/ 74 h 119"/>
                  <a:gd name="T14" fmla="*/ 5 w 194"/>
                  <a:gd name="T15" fmla="*/ 0 h 119"/>
                  <a:gd name="T16" fmla="*/ 10 w 194"/>
                  <a:gd name="T17" fmla="*/ 0 h 119"/>
                  <a:gd name="T18" fmla="*/ 5 w 194"/>
                  <a:gd name="T19" fmla="*/ 35 h 119"/>
                  <a:gd name="T20" fmla="*/ 5 w 194"/>
                  <a:gd name="T21" fmla="*/ 74 h 119"/>
                  <a:gd name="T22" fmla="*/ 55 w 194"/>
                  <a:gd name="T23" fmla="*/ 45 h 119"/>
                  <a:gd name="T24" fmla="*/ 55 w 194"/>
                  <a:gd name="T25" fmla="*/ 10 h 119"/>
                  <a:gd name="T26" fmla="*/ 119 w 194"/>
                  <a:gd name="T27" fmla="*/ 20 h 119"/>
                  <a:gd name="T28" fmla="*/ 189 w 194"/>
                  <a:gd name="T29" fmla="*/ 30 h 119"/>
                  <a:gd name="T30" fmla="*/ 194 w 194"/>
                  <a:gd name="T31" fmla="*/ 40 h 11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94"/>
                  <a:gd name="T49" fmla="*/ 0 h 119"/>
                  <a:gd name="T50" fmla="*/ 194 w 194"/>
                  <a:gd name="T51" fmla="*/ 119 h 11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94" h="119">
                    <a:moveTo>
                      <a:pt x="194" y="40"/>
                    </a:moveTo>
                    <a:lnTo>
                      <a:pt x="189" y="109"/>
                    </a:lnTo>
                    <a:lnTo>
                      <a:pt x="184" y="114"/>
                    </a:lnTo>
                    <a:lnTo>
                      <a:pt x="174" y="119"/>
                    </a:lnTo>
                    <a:lnTo>
                      <a:pt x="84" y="99"/>
                    </a:lnTo>
                    <a:lnTo>
                      <a:pt x="0" y="79"/>
                    </a:lnTo>
                    <a:lnTo>
                      <a:pt x="0" y="74"/>
                    </a:lnTo>
                    <a:lnTo>
                      <a:pt x="5" y="0"/>
                    </a:lnTo>
                    <a:lnTo>
                      <a:pt x="10" y="0"/>
                    </a:lnTo>
                    <a:lnTo>
                      <a:pt x="5" y="35"/>
                    </a:lnTo>
                    <a:lnTo>
                      <a:pt x="5" y="74"/>
                    </a:lnTo>
                    <a:lnTo>
                      <a:pt x="55" y="45"/>
                    </a:lnTo>
                    <a:lnTo>
                      <a:pt x="55" y="10"/>
                    </a:lnTo>
                    <a:lnTo>
                      <a:pt x="119" y="20"/>
                    </a:lnTo>
                    <a:lnTo>
                      <a:pt x="189" y="30"/>
                    </a:lnTo>
                    <a:lnTo>
                      <a:pt x="194" y="40"/>
                    </a:lnTo>
                    <a:close/>
                  </a:path>
                </a:pathLst>
              </a:custGeom>
              <a:solidFill>
                <a:srgbClr val="95949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27" name="Freeform 997"/>
              <p:cNvSpPr>
                <a:spLocks/>
              </p:cNvSpPr>
              <p:nvPr/>
            </p:nvSpPr>
            <p:spPr bwMode="auto">
              <a:xfrm>
                <a:off x="1572" y="2051"/>
                <a:ext cx="50" cy="74"/>
              </a:xfrm>
              <a:custGeom>
                <a:avLst/>
                <a:gdLst>
                  <a:gd name="T0" fmla="*/ 5 w 50"/>
                  <a:gd name="T1" fmla="*/ 0 h 74"/>
                  <a:gd name="T2" fmla="*/ 50 w 50"/>
                  <a:gd name="T3" fmla="*/ 10 h 74"/>
                  <a:gd name="T4" fmla="*/ 50 w 50"/>
                  <a:gd name="T5" fmla="*/ 45 h 74"/>
                  <a:gd name="T6" fmla="*/ 0 w 50"/>
                  <a:gd name="T7" fmla="*/ 74 h 74"/>
                  <a:gd name="T8" fmla="*/ 0 w 50"/>
                  <a:gd name="T9" fmla="*/ 35 h 74"/>
                  <a:gd name="T10" fmla="*/ 5 w 50"/>
                  <a:gd name="T11" fmla="*/ 0 h 7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0"/>
                  <a:gd name="T19" fmla="*/ 0 h 74"/>
                  <a:gd name="T20" fmla="*/ 50 w 50"/>
                  <a:gd name="T21" fmla="*/ 74 h 7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0" h="74">
                    <a:moveTo>
                      <a:pt x="5" y="0"/>
                    </a:moveTo>
                    <a:lnTo>
                      <a:pt x="50" y="10"/>
                    </a:lnTo>
                    <a:lnTo>
                      <a:pt x="50" y="45"/>
                    </a:lnTo>
                    <a:lnTo>
                      <a:pt x="0" y="74"/>
                    </a:lnTo>
                    <a:lnTo>
                      <a:pt x="0" y="35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DEDED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28" name="Freeform 998"/>
              <p:cNvSpPr>
                <a:spLocks/>
              </p:cNvSpPr>
              <p:nvPr/>
            </p:nvSpPr>
            <p:spPr bwMode="auto">
              <a:xfrm>
                <a:off x="1562" y="2170"/>
                <a:ext cx="169" cy="64"/>
              </a:xfrm>
              <a:custGeom>
                <a:avLst/>
                <a:gdLst>
                  <a:gd name="T0" fmla="*/ 169 w 169"/>
                  <a:gd name="T1" fmla="*/ 40 h 64"/>
                  <a:gd name="T2" fmla="*/ 84 w 169"/>
                  <a:gd name="T3" fmla="*/ 20 h 64"/>
                  <a:gd name="T4" fmla="*/ 5 w 169"/>
                  <a:gd name="T5" fmla="*/ 0 h 64"/>
                  <a:gd name="T6" fmla="*/ 0 w 169"/>
                  <a:gd name="T7" fmla="*/ 25 h 64"/>
                  <a:gd name="T8" fmla="*/ 79 w 169"/>
                  <a:gd name="T9" fmla="*/ 45 h 64"/>
                  <a:gd name="T10" fmla="*/ 164 w 169"/>
                  <a:gd name="T11" fmla="*/ 64 h 64"/>
                  <a:gd name="T12" fmla="*/ 169 w 169"/>
                  <a:gd name="T13" fmla="*/ 40 h 6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69"/>
                  <a:gd name="T22" fmla="*/ 0 h 64"/>
                  <a:gd name="T23" fmla="*/ 169 w 169"/>
                  <a:gd name="T24" fmla="*/ 64 h 6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69" h="64">
                    <a:moveTo>
                      <a:pt x="169" y="40"/>
                    </a:moveTo>
                    <a:lnTo>
                      <a:pt x="84" y="20"/>
                    </a:lnTo>
                    <a:lnTo>
                      <a:pt x="5" y="0"/>
                    </a:lnTo>
                    <a:lnTo>
                      <a:pt x="0" y="25"/>
                    </a:lnTo>
                    <a:lnTo>
                      <a:pt x="79" y="45"/>
                    </a:lnTo>
                    <a:lnTo>
                      <a:pt x="164" y="64"/>
                    </a:lnTo>
                    <a:lnTo>
                      <a:pt x="169" y="40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29" name="Freeform 999"/>
              <p:cNvSpPr>
                <a:spLocks/>
              </p:cNvSpPr>
              <p:nvPr/>
            </p:nvSpPr>
            <p:spPr bwMode="auto">
              <a:xfrm>
                <a:off x="1567" y="2205"/>
                <a:ext cx="159" cy="49"/>
              </a:xfrm>
              <a:custGeom>
                <a:avLst/>
                <a:gdLst>
                  <a:gd name="T0" fmla="*/ 0 w 159"/>
                  <a:gd name="T1" fmla="*/ 0 h 49"/>
                  <a:gd name="T2" fmla="*/ 79 w 159"/>
                  <a:gd name="T3" fmla="*/ 19 h 49"/>
                  <a:gd name="T4" fmla="*/ 159 w 159"/>
                  <a:gd name="T5" fmla="*/ 39 h 49"/>
                  <a:gd name="T6" fmla="*/ 159 w 159"/>
                  <a:gd name="T7" fmla="*/ 49 h 49"/>
                  <a:gd name="T8" fmla="*/ 79 w 159"/>
                  <a:gd name="T9" fmla="*/ 29 h 49"/>
                  <a:gd name="T10" fmla="*/ 0 w 159"/>
                  <a:gd name="T11" fmla="*/ 15 h 49"/>
                  <a:gd name="T12" fmla="*/ 0 w 159"/>
                  <a:gd name="T13" fmla="*/ 0 h 4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9"/>
                  <a:gd name="T22" fmla="*/ 0 h 49"/>
                  <a:gd name="T23" fmla="*/ 159 w 159"/>
                  <a:gd name="T24" fmla="*/ 49 h 4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9" h="49">
                    <a:moveTo>
                      <a:pt x="0" y="0"/>
                    </a:moveTo>
                    <a:lnTo>
                      <a:pt x="79" y="19"/>
                    </a:lnTo>
                    <a:lnTo>
                      <a:pt x="159" y="39"/>
                    </a:lnTo>
                    <a:lnTo>
                      <a:pt x="159" y="49"/>
                    </a:lnTo>
                    <a:lnTo>
                      <a:pt x="79" y="29"/>
                    </a:lnTo>
                    <a:lnTo>
                      <a:pt x="0" y="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30" name="Freeform 1000"/>
              <p:cNvSpPr>
                <a:spLocks/>
              </p:cNvSpPr>
              <p:nvPr/>
            </p:nvSpPr>
            <p:spPr bwMode="auto">
              <a:xfrm>
                <a:off x="1567" y="2224"/>
                <a:ext cx="159" cy="45"/>
              </a:xfrm>
              <a:custGeom>
                <a:avLst/>
                <a:gdLst>
                  <a:gd name="T0" fmla="*/ 159 w 159"/>
                  <a:gd name="T1" fmla="*/ 40 h 45"/>
                  <a:gd name="T2" fmla="*/ 79 w 159"/>
                  <a:gd name="T3" fmla="*/ 20 h 45"/>
                  <a:gd name="T4" fmla="*/ 0 w 159"/>
                  <a:gd name="T5" fmla="*/ 0 h 45"/>
                  <a:gd name="T6" fmla="*/ 0 w 159"/>
                  <a:gd name="T7" fmla="*/ 10 h 45"/>
                  <a:gd name="T8" fmla="*/ 79 w 159"/>
                  <a:gd name="T9" fmla="*/ 25 h 45"/>
                  <a:gd name="T10" fmla="*/ 159 w 159"/>
                  <a:gd name="T11" fmla="*/ 45 h 45"/>
                  <a:gd name="T12" fmla="*/ 159 w 159"/>
                  <a:gd name="T13" fmla="*/ 40 h 4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9"/>
                  <a:gd name="T22" fmla="*/ 0 h 45"/>
                  <a:gd name="T23" fmla="*/ 159 w 159"/>
                  <a:gd name="T24" fmla="*/ 45 h 4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9" h="45">
                    <a:moveTo>
                      <a:pt x="159" y="40"/>
                    </a:moveTo>
                    <a:lnTo>
                      <a:pt x="79" y="2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79" y="25"/>
                    </a:lnTo>
                    <a:lnTo>
                      <a:pt x="159" y="45"/>
                    </a:lnTo>
                    <a:lnTo>
                      <a:pt x="159" y="40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31" name="Freeform 1001"/>
              <p:cNvSpPr>
                <a:spLocks/>
              </p:cNvSpPr>
              <p:nvPr/>
            </p:nvSpPr>
            <p:spPr bwMode="auto">
              <a:xfrm>
                <a:off x="1617" y="2205"/>
                <a:ext cx="64" cy="19"/>
              </a:xfrm>
              <a:custGeom>
                <a:avLst/>
                <a:gdLst>
                  <a:gd name="T0" fmla="*/ 64 w 64"/>
                  <a:gd name="T1" fmla="*/ 15 h 19"/>
                  <a:gd name="T2" fmla="*/ 29 w 64"/>
                  <a:gd name="T3" fmla="*/ 5 h 19"/>
                  <a:gd name="T4" fmla="*/ 0 w 64"/>
                  <a:gd name="T5" fmla="*/ 0 h 19"/>
                  <a:gd name="T6" fmla="*/ 0 w 64"/>
                  <a:gd name="T7" fmla="*/ 0 h 19"/>
                  <a:gd name="T8" fmla="*/ 29 w 64"/>
                  <a:gd name="T9" fmla="*/ 10 h 19"/>
                  <a:gd name="T10" fmla="*/ 64 w 64"/>
                  <a:gd name="T11" fmla="*/ 19 h 19"/>
                  <a:gd name="T12" fmla="*/ 64 w 64"/>
                  <a:gd name="T13" fmla="*/ 15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4"/>
                  <a:gd name="T22" fmla="*/ 0 h 19"/>
                  <a:gd name="T23" fmla="*/ 64 w 64"/>
                  <a:gd name="T24" fmla="*/ 19 h 1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4" h="19">
                    <a:moveTo>
                      <a:pt x="64" y="15"/>
                    </a:moveTo>
                    <a:lnTo>
                      <a:pt x="29" y="5"/>
                    </a:lnTo>
                    <a:lnTo>
                      <a:pt x="0" y="0"/>
                    </a:lnTo>
                    <a:lnTo>
                      <a:pt x="29" y="10"/>
                    </a:lnTo>
                    <a:lnTo>
                      <a:pt x="64" y="19"/>
                    </a:lnTo>
                    <a:lnTo>
                      <a:pt x="64" y="15"/>
                    </a:lnTo>
                    <a:close/>
                  </a:path>
                </a:pathLst>
              </a:custGeom>
              <a:solidFill>
                <a:srgbClr val="3D393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32" name="Freeform 1002"/>
              <p:cNvSpPr>
                <a:spLocks/>
              </p:cNvSpPr>
              <p:nvPr/>
            </p:nvSpPr>
            <p:spPr bwMode="auto">
              <a:xfrm>
                <a:off x="1617" y="2190"/>
                <a:ext cx="64" cy="20"/>
              </a:xfrm>
              <a:custGeom>
                <a:avLst/>
                <a:gdLst>
                  <a:gd name="T0" fmla="*/ 64 w 64"/>
                  <a:gd name="T1" fmla="*/ 15 h 20"/>
                  <a:gd name="T2" fmla="*/ 29 w 64"/>
                  <a:gd name="T3" fmla="*/ 5 h 20"/>
                  <a:gd name="T4" fmla="*/ 0 w 64"/>
                  <a:gd name="T5" fmla="*/ 0 h 20"/>
                  <a:gd name="T6" fmla="*/ 0 w 64"/>
                  <a:gd name="T7" fmla="*/ 0 h 20"/>
                  <a:gd name="T8" fmla="*/ 29 w 64"/>
                  <a:gd name="T9" fmla="*/ 10 h 20"/>
                  <a:gd name="T10" fmla="*/ 64 w 64"/>
                  <a:gd name="T11" fmla="*/ 20 h 20"/>
                  <a:gd name="T12" fmla="*/ 64 w 64"/>
                  <a:gd name="T13" fmla="*/ 15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4"/>
                  <a:gd name="T22" fmla="*/ 0 h 20"/>
                  <a:gd name="T23" fmla="*/ 64 w 64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4" h="20">
                    <a:moveTo>
                      <a:pt x="64" y="15"/>
                    </a:moveTo>
                    <a:lnTo>
                      <a:pt x="29" y="5"/>
                    </a:lnTo>
                    <a:lnTo>
                      <a:pt x="0" y="0"/>
                    </a:lnTo>
                    <a:lnTo>
                      <a:pt x="29" y="10"/>
                    </a:lnTo>
                    <a:lnTo>
                      <a:pt x="64" y="20"/>
                    </a:lnTo>
                    <a:lnTo>
                      <a:pt x="64" y="15"/>
                    </a:lnTo>
                    <a:close/>
                  </a:path>
                </a:pathLst>
              </a:custGeom>
              <a:solidFill>
                <a:srgbClr val="3D393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33" name="Freeform 1003"/>
              <p:cNvSpPr>
                <a:spLocks/>
              </p:cNvSpPr>
              <p:nvPr/>
            </p:nvSpPr>
            <p:spPr bwMode="auto">
              <a:xfrm>
                <a:off x="1617" y="2195"/>
                <a:ext cx="64" cy="20"/>
              </a:xfrm>
              <a:custGeom>
                <a:avLst/>
                <a:gdLst>
                  <a:gd name="T0" fmla="*/ 64 w 64"/>
                  <a:gd name="T1" fmla="*/ 15 h 20"/>
                  <a:gd name="T2" fmla="*/ 29 w 64"/>
                  <a:gd name="T3" fmla="*/ 5 h 20"/>
                  <a:gd name="T4" fmla="*/ 0 w 64"/>
                  <a:gd name="T5" fmla="*/ 0 h 20"/>
                  <a:gd name="T6" fmla="*/ 0 w 64"/>
                  <a:gd name="T7" fmla="*/ 5 h 20"/>
                  <a:gd name="T8" fmla="*/ 29 w 64"/>
                  <a:gd name="T9" fmla="*/ 10 h 20"/>
                  <a:gd name="T10" fmla="*/ 64 w 64"/>
                  <a:gd name="T11" fmla="*/ 20 h 20"/>
                  <a:gd name="T12" fmla="*/ 64 w 64"/>
                  <a:gd name="T13" fmla="*/ 15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4"/>
                  <a:gd name="T22" fmla="*/ 0 h 20"/>
                  <a:gd name="T23" fmla="*/ 64 w 64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4" h="20">
                    <a:moveTo>
                      <a:pt x="64" y="15"/>
                    </a:moveTo>
                    <a:lnTo>
                      <a:pt x="29" y="5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29" y="10"/>
                    </a:lnTo>
                    <a:lnTo>
                      <a:pt x="64" y="20"/>
                    </a:lnTo>
                    <a:lnTo>
                      <a:pt x="64" y="15"/>
                    </a:lnTo>
                    <a:close/>
                  </a:path>
                </a:pathLst>
              </a:custGeom>
              <a:solidFill>
                <a:srgbClr val="3D393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34" name="Freeform 1004"/>
              <p:cNvSpPr>
                <a:spLocks/>
              </p:cNvSpPr>
              <p:nvPr/>
            </p:nvSpPr>
            <p:spPr bwMode="auto">
              <a:xfrm>
                <a:off x="1552" y="2239"/>
                <a:ext cx="219" cy="94"/>
              </a:xfrm>
              <a:custGeom>
                <a:avLst/>
                <a:gdLst>
                  <a:gd name="T0" fmla="*/ 5 w 219"/>
                  <a:gd name="T1" fmla="*/ 0 h 94"/>
                  <a:gd name="T2" fmla="*/ 0 w 219"/>
                  <a:gd name="T3" fmla="*/ 0 h 94"/>
                  <a:gd name="T4" fmla="*/ 0 w 219"/>
                  <a:gd name="T5" fmla="*/ 40 h 94"/>
                  <a:gd name="T6" fmla="*/ 5 w 219"/>
                  <a:gd name="T7" fmla="*/ 50 h 94"/>
                  <a:gd name="T8" fmla="*/ 94 w 219"/>
                  <a:gd name="T9" fmla="*/ 75 h 94"/>
                  <a:gd name="T10" fmla="*/ 194 w 219"/>
                  <a:gd name="T11" fmla="*/ 94 h 94"/>
                  <a:gd name="T12" fmla="*/ 204 w 219"/>
                  <a:gd name="T13" fmla="*/ 94 h 94"/>
                  <a:gd name="T14" fmla="*/ 219 w 219"/>
                  <a:gd name="T15" fmla="*/ 94 h 94"/>
                  <a:gd name="T16" fmla="*/ 219 w 219"/>
                  <a:gd name="T17" fmla="*/ 89 h 94"/>
                  <a:gd name="T18" fmla="*/ 219 w 219"/>
                  <a:gd name="T19" fmla="*/ 50 h 94"/>
                  <a:gd name="T20" fmla="*/ 214 w 219"/>
                  <a:gd name="T21" fmla="*/ 45 h 94"/>
                  <a:gd name="T22" fmla="*/ 214 w 219"/>
                  <a:gd name="T23" fmla="*/ 40 h 94"/>
                  <a:gd name="T24" fmla="*/ 204 w 219"/>
                  <a:gd name="T25" fmla="*/ 45 h 94"/>
                  <a:gd name="T26" fmla="*/ 179 w 219"/>
                  <a:gd name="T27" fmla="*/ 40 h 94"/>
                  <a:gd name="T28" fmla="*/ 179 w 219"/>
                  <a:gd name="T29" fmla="*/ 40 h 94"/>
                  <a:gd name="T30" fmla="*/ 89 w 219"/>
                  <a:gd name="T31" fmla="*/ 20 h 94"/>
                  <a:gd name="T32" fmla="*/ 5 w 219"/>
                  <a:gd name="T33" fmla="*/ 0 h 9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19"/>
                  <a:gd name="T52" fmla="*/ 0 h 94"/>
                  <a:gd name="T53" fmla="*/ 219 w 219"/>
                  <a:gd name="T54" fmla="*/ 94 h 9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19" h="94">
                    <a:moveTo>
                      <a:pt x="5" y="0"/>
                    </a:moveTo>
                    <a:lnTo>
                      <a:pt x="0" y="0"/>
                    </a:lnTo>
                    <a:lnTo>
                      <a:pt x="0" y="40"/>
                    </a:lnTo>
                    <a:lnTo>
                      <a:pt x="5" y="50"/>
                    </a:lnTo>
                    <a:lnTo>
                      <a:pt x="94" y="75"/>
                    </a:lnTo>
                    <a:lnTo>
                      <a:pt x="194" y="94"/>
                    </a:lnTo>
                    <a:lnTo>
                      <a:pt x="204" y="94"/>
                    </a:lnTo>
                    <a:lnTo>
                      <a:pt x="219" y="94"/>
                    </a:lnTo>
                    <a:lnTo>
                      <a:pt x="219" y="89"/>
                    </a:lnTo>
                    <a:lnTo>
                      <a:pt x="219" y="50"/>
                    </a:lnTo>
                    <a:lnTo>
                      <a:pt x="214" y="45"/>
                    </a:lnTo>
                    <a:lnTo>
                      <a:pt x="214" y="40"/>
                    </a:lnTo>
                    <a:lnTo>
                      <a:pt x="204" y="45"/>
                    </a:lnTo>
                    <a:lnTo>
                      <a:pt x="179" y="40"/>
                    </a:lnTo>
                    <a:lnTo>
                      <a:pt x="89" y="2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72706F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35" name="Freeform 1005"/>
              <p:cNvSpPr>
                <a:spLocks/>
              </p:cNvSpPr>
              <p:nvPr/>
            </p:nvSpPr>
            <p:spPr bwMode="auto">
              <a:xfrm>
                <a:off x="1696" y="2289"/>
                <a:ext cx="15" cy="25"/>
              </a:xfrm>
              <a:custGeom>
                <a:avLst/>
                <a:gdLst>
                  <a:gd name="T0" fmla="*/ 0 w 15"/>
                  <a:gd name="T1" fmla="*/ 25 h 25"/>
                  <a:gd name="T2" fmla="*/ 10 w 15"/>
                  <a:gd name="T3" fmla="*/ 20 h 25"/>
                  <a:gd name="T4" fmla="*/ 15 w 15"/>
                  <a:gd name="T5" fmla="*/ 20 h 25"/>
                  <a:gd name="T6" fmla="*/ 15 w 15"/>
                  <a:gd name="T7" fmla="*/ 0 h 25"/>
                  <a:gd name="T8" fmla="*/ 5 w 15"/>
                  <a:gd name="T9" fmla="*/ 0 h 25"/>
                  <a:gd name="T10" fmla="*/ 0 w 15"/>
                  <a:gd name="T11" fmla="*/ 25 h 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"/>
                  <a:gd name="T19" fmla="*/ 0 h 25"/>
                  <a:gd name="T20" fmla="*/ 15 w 15"/>
                  <a:gd name="T21" fmla="*/ 25 h 2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" h="25">
                    <a:moveTo>
                      <a:pt x="0" y="25"/>
                    </a:moveTo>
                    <a:lnTo>
                      <a:pt x="10" y="20"/>
                    </a:lnTo>
                    <a:lnTo>
                      <a:pt x="15" y="2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3D3937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36" name="Freeform 1006"/>
              <p:cNvSpPr>
                <a:spLocks/>
              </p:cNvSpPr>
              <p:nvPr/>
            </p:nvSpPr>
            <p:spPr bwMode="auto">
              <a:xfrm>
                <a:off x="1602" y="2274"/>
                <a:ext cx="79" cy="30"/>
              </a:xfrm>
              <a:custGeom>
                <a:avLst/>
                <a:gdLst>
                  <a:gd name="T0" fmla="*/ 10 w 79"/>
                  <a:gd name="T1" fmla="*/ 15 h 30"/>
                  <a:gd name="T2" fmla="*/ 44 w 79"/>
                  <a:gd name="T3" fmla="*/ 20 h 30"/>
                  <a:gd name="T4" fmla="*/ 79 w 79"/>
                  <a:gd name="T5" fmla="*/ 30 h 30"/>
                  <a:gd name="T6" fmla="*/ 79 w 79"/>
                  <a:gd name="T7" fmla="*/ 20 h 30"/>
                  <a:gd name="T8" fmla="*/ 10 w 79"/>
                  <a:gd name="T9" fmla="*/ 0 h 30"/>
                  <a:gd name="T10" fmla="*/ 0 w 79"/>
                  <a:gd name="T11" fmla="*/ 0 h 30"/>
                  <a:gd name="T12" fmla="*/ 5 w 79"/>
                  <a:gd name="T13" fmla="*/ 15 h 30"/>
                  <a:gd name="T14" fmla="*/ 10 w 79"/>
                  <a:gd name="T15" fmla="*/ 15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9"/>
                  <a:gd name="T25" fmla="*/ 0 h 30"/>
                  <a:gd name="T26" fmla="*/ 79 w 79"/>
                  <a:gd name="T27" fmla="*/ 30 h 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9" h="30">
                    <a:moveTo>
                      <a:pt x="10" y="15"/>
                    </a:moveTo>
                    <a:lnTo>
                      <a:pt x="44" y="20"/>
                    </a:lnTo>
                    <a:lnTo>
                      <a:pt x="79" y="30"/>
                    </a:lnTo>
                    <a:lnTo>
                      <a:pt x="79" y="2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5" y="15"/>
                    </a:lnTo>
                    <a:lnTo>
                      <a:pt x="10" y="15"/>
                    </a:lnTo>
                    <a:close/>
                  </a:path>
                </a:pathLst>
              </a:custGeom>
              <a:solidFill>
                <a:srgbClr val="3D393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37" name="Freeform 1007"/>
              <p:cNvSpPr>
                <a:spLocks/>
              </p:cNvSpPr>
              <p:nvPr/>
            </p:nvSpPr>
            <p:spPr bwMode="auto">
              <a:xfrm>
                <a:off x="1582" y="2259"/>
                <a:ext cx="15" cy="25"/>
              </a:xfrm>
              <a:custGeom>
                <a:avLst/>
                <a:gdLst>
                  <a:gd name="T0" fmla="*/ 0 w 15"/>
                  <a:gd name="T1" fmla="*/ 25 h 25"/>
                  <a:gd name="T2" fmla="*/ 10 w 15"/>
                  <a:gd name="T3" fmla="*/ 25 h 25"/>
                  <a:gd name="T4" fmla="*/ 15 w 15"/>
                  <a:gd name="T5" fmla="*/ 25 h 25"/>
                  <a:gd name="T6" fmla="*/ 10 w 15"/>
                  <a:gd name="T7" fmla="*/ 5 h 25"/>
                  <a:gd name="T8" fmla="*/ 0 w 15"/>
                  <a:gd name="T9" fmla="*/ 0 h 25"/>
                  <a:gd name="T10" fmla="*/ 0 w 15"/>
                  <a:gd name="T11" fmla="*/ 25 h 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"/>
                  <a:gd name="T19" fmla="*/ 0 h 25"/>
                  <a:gd name="T20" fmla="*/ 15 w 15"/>
                  <a:gd name="T21" fmla="*/ 25 h 2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" h="25">
                    <a:moveTo>
                      <a:pt x="0" y="25"/>
                    </a:moveTo>
                    <a:lnTo>
                      <a:pt x="10" y="25"/>
                    </a:lnTo>
                    <a:lnTo>
                      <a:pt x="15" y="25"/>
                    </a:lnTo>
                    <a:lnTo>
                      <a:pt x="10" y="5"/>
                    </a:lnTo>
                    <a:lnTo>
                      <a:pt x="0" y="0"/>
                    </a:lnTo>
                    <a:lnTo>
                      <a:pt x="0" y="25"/>
                    </a:lnTo>
                    <a:close/>
                  </a:path>
                </a:pathLst>
              </a:custGeom>
              <a:solidFill>
                <a:srgbClr val="3D393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38" name="Freeform 1008"/>
              <p:cNvSpPr>
                <a:spLocks/>
              </p:cNvSpPr>
              <p:nvPr/>
            </p:nvSpPr>
            <p:spPr bwMode="auto">
              <a:xfrm>
                <a:off x="1612" y="2314"/>
                <a:ext cx="29" cy="10"/>
              </a:xfrm>
              <a:custGeom>
                <a:avLst/>
                <a:gdLst>
                  <a:gd name="T0" fmla="*/ 0 w 29"/>
                  <a:gd name="T1" fmla="*/ 0 h 10"/>
                  <a:gd name="T2" fmla="*/ 5 w 29"/>
                  <a:gd name="T3" fmla="*/ 5 h 10"/>
                  <a:gd name="T4" fmla="*/ 29 w 29"/>
                  <a:gd name="T5" fmla="*/ 10 h 10"/>
                  <a:gd name="T6" fmla="*/ 29 w 29"/>
                  <a:gd name="T7" fmla="*/ 5 h 10"/>
                  <a:gd name="T8" fmla="*/ 0 w 29"/>
                  <a:gd name="T9" fmla="*/ 0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9"/>
                  <a:gd name="T16" fmla="*/ 0 h 10"/>
                  <a:gd name="T17" fmla="*/ 29 w 29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9" h="10">
                    <a:moveTo>
                      <a:pt x="0" y="0"/>
                    </a:moveTo>
                    <a:lnTo>
                      <a:pt x="5" y="5"/>
                    </a:lnTo>
                    <a:lnTo>
                      <a:pt x="29" y="10"/>
                    </a:lnTo>
                    <a:lnTo>
                      <a:pt x="29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D3937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39" name="Freeform 1009"/>
              <p:cNvSpPr>
                <a:spLocks/>
              </p:cNvSpPr>
              <p:nvPr/>
            </p:nvSpPr>
            <p:spPr bwMode="auto">
              <a:xfrm>
                <a:off x="1656" y="2324"/>
                <a:ext cx="30" cy="9"/>
              </a:xfrm>
              <a:custGeom>
                <a:avLst/>
                <a:gdLst>
                  <a:gd name="T0" fmla="*/ 0 w 30"/>
                  <a:gd name="T1" fmla="*/ 0 h 9"/>
                  <a:gd name="T2" fmla="*/ 0 w 30"/>
                  <a:gd name="T3" fmla="*/ 4 h 9"/>
                  <a:gd name="T4" fmla="*/ 25 w 30"/>
                  <a:gd name="T5" fmla="*/ 9 h 9"/>
                  <a:gd name="T6" fmla="*/ 30 w 30"/>
                  <a:gd name="T7" fmla="*/ 4 h 9"/>
                  <a:gd name="T8" fmla="*/ 0 w 30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0"/>
                  <a:gd name="T16" fmla="*/ 0 h 9"/>
                  <a:gd name="T17" fmla="*/ 30 w 30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0" h="9">
                    <a:moveTo>
                      <a:pt x="0" y="0"/>
                    </a:moveTo>
                    <a:lnTo>
                      <a:pt x="0" y="4"/>
                    </a:lnTo>
                    <a:lnTo>
                      <a:pt x="25" y="9"/>
                    </a:lnTo>
                    <a:lnTo>
                      <a:pt x="30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D3937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40" name="Freeform 1010"/>
              <p:cNvSpPr>
                <a:spLocks/>
              </p:cNvSpPr>
              <p:nvPr/>
            </p:nvSpPr>
            <p:spPr bwMode="auto">
              <a:xfrm>
                <a:off x="1716" y="2333"/>
                <a:ext cx="30" cy="15"/>
              </a:xfrm>
              <a:custGeom>
                <a:avLst/>
                <a:gdLst>
                  <a:gd name="T0" fmla="*/ 0 w 30"/>
                  <a:gd name="T1" fmla="*/ 0 h 15"/>
                  <a:gd name="T2" fmla="*/ 30 w 30"/>
                  <a:gd name="T3" fmla="*/ 5 h 15"/>
                  <a:gd name="T4" fmla="*/ 30 w 30"/>
                  <a:gd name="T5" fmla="*/ 15 h 15"/>
                  <a:gd name="T6" fmla="*/ 5 w 30"/>
                  <a:gd name="T7" fmla="*/ 10 h 15"/>
                  <a:gd name="T8" fmla="*/ 0 w 30"/>
                  <a:gd name="T9" fmla="*/ 0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0"/>
                  <a:gd name="T16" fmla="*/ 0 h 15"/>
                  <a:gd name="T17" fmla="*/ 30 w 30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0" h="15">
                    <a:moveTo>
                      <a:pt x="0" y="0"/>
                    </a:moveTo>
                    <a:lnTo>
                      <a:pt x="30" y="5"/>
                    </a:lnTo>
                    <a:lnTo>
                      <a:pt x="30" y="15"/>
                    </a:lnTo>
                    <a:lnTo>
                      <a:pt x="5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2C1C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41" name="Freeform 1011"/>
              <p:cNvSpPr>
                <a:spLocks/>
              </p:cNvSpPr>
              <p:nvPr/>
            </p:nvSpPr>
            <p:spPr bwMode="auto">
              <a:xfrm>
                <a:off x="1562" y="2294"/>
                <a:ext cx="25" cy="15"/>
              </a:xfrm>
              <a:custGeom>
                <a:avLst/>
                <a:gdLst>
                  <a:gd name="T0" fmla="*/ 0 w 25"/>
                  <a:gd name="T1" fmla="*/ 0 h 15"/>
                  <a:gd name="T2" fmla="*/ 5 w 25"/>
                  <a:gd name="T3" fmla="*/ 10 h 15"/>
                  <a:gd name="T4" fmla="*/ 25 w 25"/>
                  <a:gd name="T5" fmla="*/ 15 h 15"/>
                  <a:gd name="T6" fmla="*/ 25 w 25"/>
                  <a:gd name="T7" fmla="*/ 5 h 15"/>
                  <a:gd name="T8" fmla="*/ 0 w 25"/>
                  <a:gd name="T9" fmla="*/ 0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5"/>
                  <a:gd name="T16" fmla="*/ 0 h 15"/>
                  <a:gd name="T17" fmla="*/ 25 w 25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5" h="15">
                    <a:moveTo>
                      <a:pt x="0" y="0"/>
                    </a:moveTo>
                    <a:lnTo>
                      <a:pt x="5" y="10"/>
                    </a:lnTo>
                    <a:lnTo>
                      <a:pt x="25" y="15"/>
                    </a:lnTo>
                    <a:lnTo>
                      <a:pt x="25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2C1C1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42" name="Freeform 1012"/>
              <p:cNvSpPr>
                <a:spLocks/>
              </p:cNvSpPr>
              <p:nvPr/>
            </p:nvSpPr>
            <p:spPr bwMode="auto">
              <a:xfrm>
                <a:off x="1656" y="2319"/>
                <a:ext cx="1" cy="9"/>
              </a:xfrm>
              <a:custGeom>
                <a:avLst/>
                <a:gdLst>
                  <a:gd name="T0" fmla="*/ 0 w 1"/>
                  <a:gd name="T1" fmla="*/ 0 h 9"/>
                  <a:gd name="T2" fmla="*/ 0 w 1"/>
                  <a:gd name="T3" fmla="*/ 9 h 9"/>
                  <a:gd name="T4" fmla="*/ 0 w 1"/>
                  <a:gd name="T5" fmla="*/ 9 h 9"/>
                  <a:gd name="T6" fmla="*/ 0 w 1"/>
                  <a:gd name="T7" fmla="*/ 5 h 9"/>
                  <a:gd name="T8" fmla="*/ 0 w 1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9"/>
                  <a:gd name="T17" fmla="*/ 1 w 1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9">
                    <a:moveTo>
                      <a:pt x="0" y="0"/>
                    </a:moveTo>
                    <a:lnTo>
                      <a:pt x="0" y="9"/>
                    </a:lnTo>
                    <a:lnTo>
                      <a:pt x="0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65F6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43" name="Freeform 1013"/>
              <p:cNvSpPr>
                <a:spLocks/>
              </p:cNvSpPr>
              <p:nvPr/>
            </p:nvSpPr>
            <p:spPr bwMode="auto">
              <a:xfrm>
                <a:off x="1612" y="2309"/>
                <a:ext cx="5" cy="15"/>
              </a:xfrm>
              <a:custGeom>
                <a:avLst/>
                <a:gdLst>
                  <a:gd name="T0" fmla="*/ 0 w 5"/>
                  <a:gd name="T1" fmla="*/ 0 h 15"/>
                  <a:gd name="T2" fmla="*/ 5 w 5"/>
                  <a:gd name="T3" fmla="*/ 10 h 15"/>
                  <a:gd name="T4" fmla="*/ 5 w 5"/>
                  <a:gd name="T5" fmla="*/ 15 h 15"/>
                  <a:gd name="T6" fmla="*/ 0 w 5"/>
                  <a:gd name="T7" fmla="*/ 0 h 15"/>
                  <a:gd name="T8" fmla="*/ 0 w 5"/>
                  <a:gd name="T9" fmla="*/ 0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15"/>
                  <a:gd name="T17" fmla="*/ 5 w 5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15">
                    <a:moveTo>
                      <a:pt x="0" y="0"/>
                    </a:moveTo>
                    <a:lnTo>
                      <a:pt x="5" y="10"/>
                    </a:lnTo>
                    <a:lnTo>
                      <a:pt x="5" y="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65F6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44" name="Freeform 1014"/>
              <p:cNvSpPr>
                <a:spLocks/>
              </p:cNvSpPr>
              <p:nvPr/>
            </p:nvSpPr>
            <p:spPr bwMode="auto">
              <a:xfrm>
                <a:off x="1562" y="2294"/>
                <a:ext cx="5" cy="15"/>
              </a:xfrm>
              <a:custGeom>
                <a:avLst/>
                <a:gdLst>
                  <a:gd name="T0" fmla="*/ 0 w 5"/>
                  <a:gd name="T1" fmla="*/ 0 h 15"/>
                  <a:gd name="T2" fmla="*/ 5 w 5"/>
                  <a:gd name="T3" fmla="*/ 10 h 15"/>
                  <a:gd name="T4" fmla="*/ 0 w 5"/>
                  <a:gd name="T5" fmla="*/ 15 h 15"/>
                  <a:gd name="T6" fmla="*/ 0 w 5"/>
                  <a:gd name="T7" fmla="*/ 5 h 15"/>
                  <a:gd name="T8" fmla="*/ 0 w 5"/>
                  <a:gd name="T9" fmla="*/ 0 h 15"/>
                  <a:gd name="T10" fmla="*/ 0 w 5"/>
                  <a:gd name="T11" fmla="*/ 0 h 1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15"/>
                  <a:gd name="T20" fmla="*/ 5 w 5"/>
                  <a:gd name="T21" fmla="*/ 15 h 1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15">
                    <a:moveTo>
                      <a:pt x="0" y="0"/>
                    </a:moveTo>
                    <a:lnTo>
                      <a:pt x="5" y="10"/>
                    </a:lnTo>
                    <a:lnTo>
                      <a:pt x="0" y="15"/>
                    </a:lnTo>
                    <a:lnTo>
                      <a:pt x="0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465F6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45" name="Rectangle 1015"/>
              <p:cNvSpPr>
                <a:spLocks noChangeArrowheads="1"/>
              </p:cNvSpPr>
              <p:nvPr/>
            </p:nvSpPr>
            <p:spPr bwMode="auto">
              <a:xfrm>
                <a:off x="1716" y="2333"/>
                <a:ext cx="5" cy="10"/>
              </a:xfrm>
              <a:prstGeom prst="rect">
                <a:avLst/>
              </a:prstGeom>
              <a:solidFill>
                <a:srgbClr val="465F6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46" name="Freeform 1016"/>
              <p:cNvSpPr>
                <a:spLocks/>
              </p:cNvSpPr>
              <p:nvPr/>
            </p:nvSpPr>
            <p:spPr bwMode="auto">
              <a:xfrm>
                <a:off x="1552" y="2254"/>
                <a:ext cx="20" cy="25"/>
              </a:xfrm>
              <a:custGeom>
                <a:avLst/>
                <a:gdLst>
                  <a:gd name="T0" fmla="*/ 0 w 20"/>
                  <a:gd name="T1" fmla="*/ 0 h 25"/>
                  <a:gd name="T2" fmla="*/ 5 w 20"/>
                  <a:gd name="T3" fmla="*/ 0 h 25"/>
                  <a:gd name="T4" fmla="*/ 20 w 20"/>
                  <a:gd name="T5" fmla="*/ 5 h 25"/>
                  <a:gd name="T6" fmla="*/ 20 w 20"/>
                  <a:gd name="T7" fmla="*/ 25 h 25"/>
                  <a:gd name="T8" fmla="*/ 5 w 20"/>
                  <a:gd name="T9" fmla="*/ 20 h 25"/>
                  <a:gd name="T10" fmla="*/ 0 w 20"/>
                  <a:gd name="T11" fmla="*/ 15 h 25"/>
                  <a:gd name="T12" fmla="*/ 0 w 20"/>
                  <a:gd name="T13" fmla="*/ 0 h 2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0"/>
                  <a:gd name="T22" fmla="*/ 0 h 25"/>
                  <a:gd name="T23" fmla="*/ 20 w 20"/>
                  <a:gd name="T24" fmla="*/ 25 h 2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0" h="25">
                    <a:moveTo>
                      <a:pt x="0" y="0"/>
                    </a:moveTo>
                    <a:lnTo>
                      <a:pt x="5" y="0"/>
                    </a:lnTo>
                    <a:lnTo>
                      <a:pt x="20" y="5"/>
                    </a:lnTo>
                    <a:lnTo>
                      <a:pt x="20" y="25"/>
                    </a:lnTo>
                    <a:lnTo>
                      <a:pt x="5" y="20"/>
                    </a:lnTo>
                    <a:lnTo>
                      <a:pt x="0" y="1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EDED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47" name="Freeform 1017"/>
              <p:cNvSpPr>
                <a:spLocks/>
              </p:cNvSpPr>
              <p:nvPr/>
            </p:nvSpPr>
            <p:spPr bwMode="auto">
              <a:xfrm>
                <a:off x="1552" y="2254"/>
                <a:ext cx="5" cy="20"/>
              </a:xfrm>
              <a:custGeom>
                <a:avLst/>
                <a:gdLst>
                  <a:gd name="T0" fmla="*/ 5 w 5"/>
                  <a:gd name="T1" fmla="*/ 0 h 20"/>
                  <a:gd name="T2" fmla="*/ 5 w 5"/>
                  <a:gd name="T3" fmla="*/ 20 h 20"/>
                  <a:gd name="T4" fmla="*/ 0 w 5"/>
                  <a:gd name="T5" fmla="*/ 15 h 20"/>
                  <a:gd name="T6" fmla="*/ 0 w 5"/>
                  <a:gd name="T7" fmla="*/ 15 h 20"/>
                  <a:gd name="T8" fmla="*/ 0 w 5"/>
                  <a:gd name="T9" fmla="*/ 0 h 20"/>
                  <a:gd name="T10" fmla="*/ 0 w 5"/>
                  <a:gd name="T11" fmla="*/ 0 h 20"/>
                  <a:gd name="T12" fmla="*/ 5 w 5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20"/>
                  <a:gd name="T23" fmla="*/ 5 w 5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20">
                    <a:moveTo>
                      <a:pt x="5" y="0"/>
                    </a:moveTo>
                    <a:lnTo>
                      <a:pt x="5" y="20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48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48" name="Freeform 1018"/>
              <p:cNvSpPr>
                <a:spLocks/>
              </p:cNvSpPr>
              <p:nvPr/>
            </p:nvSpPr>
            <p:spPr bwMode="auto">
              <a:xfrm>
                <a:off x="1582" y="2259"/>
                <a:ext cx="10" cy="25"/>
              </a:xfrm>
              <a:custGeom>
                <a:avLst/>
                <a:gdLst>
                  <a:gd name="T0" fmla="*/ 10 w 10"/>
                  <a:gd name="T1" fmla="*/ 20 h 25"/>
                  <a:gd name="T2" fmla="*/ 5 w 10"/>
                  <a:gd name="T3" fmla="*/ 5 h 25"/>
                  <a:gd name="T4" fmla="*/ 0 w 10"/>
                  <a:gd name="T5" fmla="*/ 0 h 25"/>
                  <a:gd name="T6" fmla="*/ 0 w 10"/>
                  <a:gd name="T7" fmla="*/ 25 h 25"/>
                  <a:gd name="T8" fmla="*/ 10 w 10"/>
                  <a:gd name="T9" fmla="*/ 20 h 2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25"/>
                  <a:gd name="T17" fmla="*/ 10 w 10"/>
                  <a:gd name="T18" fmla="*/ 25 h 2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25">
                    <a:moveTo>
                      <a:pt x="10" y="20"/>
                    </a:moveTo>
                    <a:lnTo>
                      <a:pt x="5" y="5"/>
                    </a:lnTo>
                    <a:lnTo>
                      <a:pt x="0" y="0"/>
                    </a:lnTo>
                    <a:lnTo>
                      <a:pt x="0" y="25"/>
                    </a:lnTo>
                    <a:lnTo>
                      <a:pt x="10" y="20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49" name="Freeform 1019"/>
              <p:cNvSpPr>
                <a:spLocks/>
              </p:cNvSpPr>
              <p:nvPr/>
            </p:nvSpPr>
            <p:spPr bwMode="auto">
              <a:xfrm>
                <a:off x="1602" y="2274"/>
                <a:ext cx="10" cy="15"/>
              </a:xfrm>
              <a:custGeom>
                <a:avLst/>
                <a:gdLst>
                  <a:gd name="T0" fmla="*/ 10 w 10"/>
                  <a:gd name="T1" fmla="*/ 0 h 15"/>
                  <a:gd name="T2" fmla="*/ 10 w 10"/>
                  <a:gd name="T3" fmla="*/ 15 h 15"/>
                  <a:gd name="T4" fmla="*/ 5 w 10"/>
                  <a:gd name="T5" fmla="*/ 15 h 15"/>
                  <a:gd name="T6" fmla="*/ 0 w 10"/>
                  <a:gd name="T7" fmla="*/ 0 h 15"/>
                  <a:gd name="T8" fmla="*/ 10 w 10"/>
                  <a:gd name="T9" fmla="*/ 0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15"/>
                  <a:gd name="T17" fmla="*/ 10 w 10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15">
                    <a:moveTo>
                      <a:pt x="10" y="0"/>
                    </a:moveTo>
                    <a:lnTo>
                      <a:pt x="10" y="15"/>
                    </a:lnTo>
                    <a:lnTo>
                      <a:pt x="5" y="15"/>
                    </a:lnTo>
                    <a:lnTo>
                      <a:pt x="0" y="0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615E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50" name="Freeform 1020"/>
              <p:cNvSpPr>
                <a:spLocks/>
              </p:cNvSpPr>
              <p:nvPr/>
            </p:nvSpPr>
            <p:spPr bwMode="auto">
              <a:xfrm>
                <a:off x="1696" y="2289"/>
                <a:ext cx="10" cy="25"/>
              </a:xfrm>
              <a:custGeom>
                <a:avLst/>
                <a:gdLst>
                  <a:gd name="T0" fmla="*/ 10 w 10"/>
                  <a:gd name="T1" fmla="*/ 20 h 25"/>
                  <a:gd name="T2" fmla="*/ 10 w 10"/>
                  <a:gd name="T3" fmla="*/ 0 h 25"/>
                  <a:gd name="T4" fmla="*/ 5 w 10"/>
                  <a:gd name="T5" fmla="*/ 0 h 25"/>
                  <a:gd name="T6" fmla="*/ 0 w 10"/>
                  <a:gd name="T7" fmla="*/ 25 h 25"/>
                  <a:gd name="T8" fmla="*/ 10 w 10"/>
                  <a:gd name="T9" fmla="*/ 20 h 2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25"/>
                  <a:gd name="T17" fmla="*/ 10 w 10"/>
                  <a:gd name="T18" fmla="*/ 25 h 2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25">
                    <a:moveTo>
                      <a:pt x="10" y="20"/>
                    </a:moveTo>
                    <a:lnTo>
                      <a:pt x="10" y="0"/>
                    </a:lnTo>
                    <a:lnTo>
                      <a:pt x="5" y="0"/>
                    </a:lnTo>
                    <a:lnTo>
                      <a:pt x="0" y="25"/>
                    </a:lnTo>
                    <a:lnTo>
                      <a:pt x="10" y="20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51" name="Freeform 1021"/>
              <p:cNvSpPr>
                <a:spLocks/>
              </p:cNvSpPr>
              <p:nvPr/>
            </p:nvSpPr>
            <p:spPr bwMode="auto">
              <a:xfrm>
                <a:off x="1721" y="2294"/>
                <a:ext cx="30" cy="25"/>
              </a:xfrm>
              <a:custGeom>
                <a:avLst/>
                <a:gdLst>
                  <a:gd name="T0" fmla="*/ 0 w 30"/>
                  <a:gd name="T1" fmla="*/ 0 h 25"/>
                  <a:gd name="T2" fmla="*/ 15 w 30"/>
                  <a:gd name="T3" fmla="*/ 0 h 25"/>
                  <a:gd name="T4" fmla="*/ 30 w 30"/>
                  <a:gd name="T5" fmla="*/ 5 h 25"/>
                  <a:gd name="T6" fmla="*/ 30 w 30"/>
                  <a:gd name="T7" fmla="*/ 25 h 25"/>
                  <a:gd name="T8" fmla="*/ 0 w 30"/>
                  <a:gd name="T9" fmla="*/ 20 h 25"/>
                  <a:gd name="T10" fmla="*/ 0 w 30"/>
                  <a:gd name="T11" fmla="*/ 0 h 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0"/>
                  <a:gd name="T19" fmla="*/ 0 h 25"/>
                  <a:gd name="T20" fmla="*/ 30 w 30"/>
                  <a:gd name="T21" fmla="*/ 25 h 2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0" h="25">
                    <a:moveTo>
                      <a:pt x="0" y="0"/>
                    </a:moveTo>
                    <a:lnTo>
                      <a:pt x="15" y="0"/>
                    </a:lnTo>
                    <a:lnTo>
                      <a:pt x="30" y="5"/>
                    </a:lnTo>
                    <a:lnTo>
                      <a:pt x="30" y="25"/>
                    </a:lnTo>
                    <a:lnTo>
                      <a:pt x="0" y="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EDED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52" name="Rectangle 1022"/>
              <p:cNvSpPr>
                <a:spLocks noChangeArrowheads="1"/>
              </p:cNvSpPr>
              <p:nvPr/>
            </p:nvSpPr>
            <p:spPr bwMode="auto">
              <a:xfrm>
                <a:off x="1751" y="2299"/>
                <a:ext cx="15" cy="20"/>
              </a:xfrm>
              <a:prstGeom prst="rect">
                <a:avLst/>
              </a:prstGeom>
              <a:solidFill>
                <a:srgbClr val="F48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53" name="Freeform 1023"/>
              <p:cNvSpPr>
                <a:spLocks/>
              </p:cNvSpPr>
              <p:nvPr/>
            </p:nvSpPr>
            <p:spPr bwMode="auto">
              <a:xfrm>
                <a:off x="1771" y="2328"/>
                <a:ext cx="25" cy="20"/>
              </a:xfrm>
              <a:custGeom>
                <a:avLst/>
                <a:gdLst>
                  <a:gd name="T0" fmla="*/ 25 w 25"/>
                  <a:gd name="T1" fmla="*/ 0 h 20"/>
                  <a:gd name="T2" fmla="*/ 15 w 25"/>
                  <a:gd name="T3" fmla="*/ 20 h 20"/>
                  <a:gd name="T4" fmla="*/ 10 w 25"/>
                  <a:gd name="T5" fmla="*/ 15 h 20"/>
                  <a:gd name="T6" fmla="*/ 0 w 25"/>
                  <a:gd name="T7" fmla="*/ 20 h 20"/>
                  <a:gd name="T8" fmla="*/ 0 w 25"/>
                  <a:gd name="T9" fmla="*/ 10 h 20"/>
                  <a:gd name="T10" fmla="*/ 25 w 25"/>
                  <a:gd name="T11" fmla="*/ 0 h 2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5"/>
                  <a:gd name="T19" fmla="*/ 0 h 20"/>
                  <a:gd name="T20" fmla="*/ 25 w 25"/>
                  <a:gd name="T21" fmla="*/ 20 h 2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5" h="20">
                    <a:moveTo>
                      <a:pt x="25" y="0"/>
                    </a:moveTo>
                    <a:lnTo>
                      <a:pt x="15" y="20"/>
                    </a:lnTo>
                    <a:lnTo>
                      <a:pt x="10" y="15"/>
                    </a:lnTo>
                    <a:lnTo>
                      <a:pt x="0" y="20"/>
                    </a:lnTo>
                    <a:lnTo>
                      <a:pt x="0" y="10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465F6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54" name="Freeform 1024"/>
              <p:cNvSpPr>
                <a:spLocks/>
              </p:cNvSpPr>
              <p:nvPr/>
            </p:nvSpPr>
            <p:spPr bwMode="auto">
              <a:xfrm>
                <a:off x="1771" y="2343"/>
                <a:ext cx="30" cy="20"/>
              </a:xfrm>
              <a:custGeom>
                <a:avLst/>
                <a:gdLst>
                  <a:gd name="T0" fmla="*/ 10 w 30"/>
                  <a:gd name="T1" fmla="*/ 0 h 20"/>
                  <a:gd name="T2" fmla="*/ 30 w 30"/>
                  <a:gd name="T3" fmla="*/ 10 h 20"/>
                  <a:gd name="T4" fmla="*/ 10 w 30"/>
                  <a:gd name="T5" fmla="*/ 20 h 20"/>
                  <a:gd name="T6" fmla="*/ 0 w 30"/>
                  <a:gd name="T7" fmla="*/ 15 h 20"/>
                  <a:gd name="T8" fmla="*/ 0 w 30"/>
                  <a:gd name="T9" fmla="*/ 15 h 20"/>
                  <a:gd name="T10" fmla="*/ 0 w 30"/>
                  <a:gd name="T11" fmla="*/ 5 h 20"/>
                  <a:gd name="T12" fmla="*/ 10 w 30"/>
                  <a:gd name="T13" fmla="*/ 0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0"/>
                  <a:gd name="T22" fmla="*/ 0 h 20"/>
                  <a:gd name="T23" fmla="*/ 30 w 30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0" h="20">
                    <a:moveTo>
                      <a:pt x="10" y="0"/>
                    </a:moveTo>
                    <a:lnTo>
                      <a:pt x="30" y="10"/>
                    </a:lnTo>
                    <a:lnTo>
                      <a:pt x="10" y="20"/>
                    </a:lnTo>
                    <a:lnTo>
                      <a:pt x="0" y="15"/>
                    </a:lnTo>
                    <a:lnTo>
                      <a:pt x="0" y="5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A9A8A7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55" name="Freeform 1025"/>
              <p:cNvSpPr>
                <a:spLocks/>
              </p:cNvSpPr>
              <p:nvPr/>
            </p:nvSpPr>
            <p:spPr bwMode="auto">
              <a:xfrm>
                <a:off x="1771" y="2343"/>
                <a:ext cx="15" cy="10"/>
              </a:xfrm>
              <a:custGeom>
                <a:avLst/>
                <a:gdLst>
                  <a:gd name="T0" fmla="*/ 15 w 15"/>
                  <a:gd name="T1" fmla="*/ 5 h 10"/>
                  <a:gd name="T2" fmla="*/ 0 w 15"/>
                  <a:gd name="T3" fmla="*/ 10 h 10"/>
                  <a:gd name="T4" fmla="*/ 0 w 15"/>
                  <a:gd name="T5" fmla="*/ 5 h 10"/>
                  <a:gd name="T6" fmla="*/ 10 w 15"/>
                  <a:gd name="T7" fmla="*/ 0 h 10"/>
                  <a:gd name="T8" fmla="*/ 15 w 15"/>
                  <a:gd name="T9" fmla="*/ 5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"/>
                  <a:gd name="T16" fmla="*/ 0 h 10"/>
                  <a:gd name="T17" fmla="*/ 15 w 15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" h="10">
                    <a:moveTo>
                      <a:pt x="15" y="5"/>
                    </a:moveTo>
                    <a:lnTo>
                      <a:pt x="0" y="10"/>
                    </a:lnTo>
                    <a:lnTo>
                      <a:pt x="0" y="5"/>
                    </a:lnTo>
                    <a:lnTo>
                      <a:pt x="10" y="0"/>
                    </a:lnTo>
                    <a:lnTo>
                      <a:pt x="15" y="5"/>
                    </a:lnTo>
                    <a:close/>
                  </a:path>
                </a:pathLst>
              </a:custGeom>
              <a:solidFill>
                <a:srgbClr val="83818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56" name="Freeform 1026"/>
              <p:cNvSpPr>
                <a:spLocks/>
              </p:cNvSpPr>
              <p:nvPr/>
            </p:nvSpPr>
            <p:spPr bwMode="auto">
              <a:xfrm>
                <a:off x="1741" y="2284"/>
                <a:ext cx="15" cy="15"/>
              </a:xfrm>
              <a:custGeom>
                <a:avLst/>
                <a:gdLst>
                  <a:gd name="T0" fmla="*/ 15 w 15"/>
                  <a:gd name="T1" fmla="*/ 10 h 15"/>
                  <a:gd name="T2" fmla="*/ 15 w 15"/>
                  <a:gd name="T3" fmla="*/ 15 h 15"/>
                  <a:gd name="T4" fmla="*/ 0 w 15"/>
                  <a:gd name="T5" fmla="*/ 15 h 15"/>
                  <a:gd name="T6" fmla="*/ 0 w 15"/>
                  <a:gd name="T7" fmla="*/ 5 h 15"/>
                  <a:gd name="T8" fmla="*/ 0 w 15"/>
                  <a:gd name="T9" fmla="*/ 0 h 15"/>
                  <a:gd name="T10" fmla="*/ 0 w 15"/>
                  <a:gd name="T11" fmla="*/ 0 h 15"/>
                  <a:gd name="T12" fmla="*/ 15 w 15"/>
                  <a:gd name="T13" fmla="*/ 0 h 15"/>
                  <a:gd name="T14" fmla="*/ 10 w 15"/>
                  <a:gd name="T15" fmla="*/ 0 h 15"/>
                  <a:gd name="T16" fmla="*/ 15 w 15"/>
                  <a:gd name="T17" fmla="*/ 10 h 1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"/>
                  <a:gd name="T28" fmla="*/ 0 h 15"/>
                  <a:gd name="T29" fmla="*/ 15 w 15"/>
                  <a:gd name="T30" fmla="*/ 15 h 1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" h="15">
                    <a:moveTo>
                      <a:pt x="15" y="10"/>
                    </a:moveTo>
                    <a:lnTo>
                      <a:pt x="15" y="15"/>
                    </a:lnTo>
                    <a:lnTo>
                      <a:pt x="0" y="1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15" y="10"/>
                    </a:lnTo>
                    <a:close/>
                  </a:path>
                </a:pathLst>
              </a:custGeom>
              <a:solidFill>
                <a:srgbClr val="95949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57" name="Freeform 1027"/>
              <p:cNvSpPr>
                <a:spLocks/>
              </p:cNvSpPr>
              <p:nvPr/>
            </p:nvSpPr>
            <p:spPr bwMode="auto">
              <a:xfrm>
                <a:off x="1741" y="2319"/>
                <a:ext cx="15" cy="14"/>
              </a:xfrm>
              <a:custGeom>
                <a:avLst/>
                <a:gdLst>
                  <a:gd name="T0" fmla="*/ 15 w 15"/>
                  <a:gd name="T1" fmla="*/ 0 h 14"/>
                  <a:gd name="T2" fmla="*/ 15 w 15"/>
                  <a:gd name="T3" fmla="*/ 14 h 14"/>
                  <a:gd name="T4" fmla="*/ 10 w 15"/>
                  <a:gd name="T5" fmla="*/ 14 h 14"/>
                  <a:gd name="T6" fmla="*/ 0 w 15"/>
                  <a:gd name="T7" fmla="*/ 14 h 14"/>
                  <a:gd name="T8" fmla="*/ 0 w 15"/>
                  <a:gd name="T9" fmla="*/ 0 h 14"/>
                  <a:gd name="T10" fmla="*/ 15 w 15"/>
                  <a:gd name="T11" fmla="*/ 0 h 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"/>
                  <a:gd name="T19" fmla="*/ 0 h 14"/>
                  <a:gd name="T20" fmla="*/ 15 w 15"/>
                  <a:gd name="T21" fmla="*/ 14 h 1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" h="14">
                    <a:moveTo>
                      <a:pt x="15" y="0"/>
                    </a:moveTo>
                    <a:lnTo>
                      <a:pt x="15" y="14"/>
                    </a:lnTo>
                    <a:lnTo>
                      <a:pt x="10" y="14"/>
                    </a:lnTo>
                    <a:lnTo>
                      <a:pt x="0" y="14"/>
                    </a:lnTo>
                    <a:lnTo>
                      <a:pt x="0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83818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58" name="Freeform 1028"/>
              <p:cNvSpPr>
                <a:spLocks/>
              </p:cNvSpPr>
              <p:nvPr/>
            </p:nvSpPr>
            <p:spPr bwMode="auto">
              <a:xfrm>
                <a:off x="1741" y="2190"/>
                <a:ext cx="15" cy="94"/>
              </a:xfrm>
              <a:custGeom>
                <a:avLst/>
                <a:gdLst>
                  <a:gd name="T0" fmla="*/ 10 w 15"/>
                  <a:gd name="T1" fmla="*/ 0 h 94"/>
                  <a:gd name="T2" fmla="*/ 0 w 15"/>
                  <a:gd name="T3" fmla="*/ 44 h 94"/>
                  <a:gd name="T4" fmla="*/ 0 w 15"/>
                  <a:gd name="T5" fmla="*/ 94 h 94"/>
                  <a:gd name="T6" fmla="*/ 10 w 15"/>
                  <a:gd name="T7" fmla="*/ 94 h 94"/>
                  <a:gd name="T8" fmla="*/ 10 w 15"/>
                  <a:gd name="T9" fmla="*/ 44 h 94"/>
                  <a:gd name="T10" fmla="*/ 15 w 15"/>
                  <a:gd name="T11" fmla="*/ 0 h 94"/>
                  <a:gd name="T12" fmla="*/ 10 w 15"/>
                  <a:gd name="T13" fmla="*/ 0 h 9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"/>
                  <a:gd name="T22" fmla="*/ 0 h 94"/>
                  <a:gd name="T23" fmla="*/ 15 w 15"/>
                  <a:gd name="T24" fmla="*/ 94 h 9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" h="94">
                    <a:moveTo>
                      <a:pt x="10" y="0"/>
                    </a:moveTo>
                    <a:lnTo>
                      <a:pt x="0" y="44"/>
                    </a:lnTo>
                    <a:lnTo>
                      <a:pt x="0" y="94"/>
                    </a:lnTo>
                    <a:lnTo>
                      <a:pt x="10" y="94"/>
                    </a:lnTo>
                    <a:lnTo>
                      <a:pt x="10" y="44"/>
                    </a:lnTo>
                    <a:lnTo>
                      <a:pt x="15" y="0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00AEC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59" name="Freeform 1029"/>
              <p:cNvSpPr>
                <a:spLocks/>
              </p:cNvSpPr>
              <p:nvPr/>
            </p:nvSpPr>
            <p:spPr bwMode="auto">
              <a:xfrm>
                <a:off x="1751" y="2002"/>
                <a:ext cx="140" cy="282"/>
              </a:xfrm>
              <a:custGeom>
                <a:avLst/>
                <a:gdLst>
                  <a:gd name="T0" fmla="*/ 5 w 140"/>
                  <a:gd name="T1" fmla="*/ 34 h 282"/>
                  <a:gd name="T2" fmla="*/ 130 w 140"/>
                  <a:gd name="T3" fmla="*/ 0 h 282"/>
                  <a:gd name="T4" fmla="*/ 130 w 140"/>
                  <a:gd name="T5" fmla="*/ 10 h 282"/>
                  <a:gd name="T6" fmla="*/ 135 w 140"/>
                  <a:gd name="T7" fmla="*/ 109 h 282"/>
                  <a:gd name="T8" fmla="*/ 140 w 140"/>
                  <a:gd name="T9" fmla="*/ 208 h 282"/>
                  <a:gd name="T10" fmla="*/ 90 w 140"/>
                  <a:gd name="T11" fmla="*/ 227 h 282"/>
                  <a:gd name="T12" fmla="*/ 85 w 140"/>
                  <a:gd name="T13" fmla="*/ 232 h 282"/>
                  <a:gd name="T14" fmla="*/ 70 w 140"/>
                  <a:gd name="T15" fmla="*/ 242 h 282"/>
                  <a:gd name="T16" fmla="*/ 60 w 140"/>
                  <a:gd name="T17" fmla="*/ 257 h 282"/>
                  <a:gd name="T18" fmla="*/ 20 w 140"/>
                  <a:gd name="T19" fmla="*/ 272 h 282"/>
                  <a:gd name="T20" fmla="*/ 20 w 140"/>
                  <a:gd name="T21" fmla="*/ 277 h 282"/>
                  <a:gd name="T22" fmla="*/ 0 w 140"/>
                  <a:gd name="T23" fmla="*/ 282 h 282"/>
                  <a:gd name="T24" fmla="*/ 0 w 140"/>
                  <a:gd name="T25" fmla="*/ 232 h 282"/>
                  <a:gd name="T26" fmla="*/ 0 w 140"/>
                  <a:gd name="T27" fmla="*/ 188 h 282"/>
                  <a:gd name="T28" fmla="*/ 15 w 140"/>
                  <a:gd name="T29" fmla="*/ 188 h 282"/>
                  <a:gd name="T30" fmla="*/ 15 w 140"/>
                  <a:gd name="T31" fmla="*/ 183 h 282"/>
                  <a:gd name="T32" fmla="*/ 10 w 140"/>
                  <a:gd name="T33" fmla="*/ 183 h 282"/>
                  <a:gd name="T34" fmla="*/ 15 w 140"/>
                  <a:gd name="T35" fmla="*/ 89 h 282"/>
                  <a:gd name="T36" fmla="*/ 10 w 140"/>
                  <a:gd name="T37" fmla="*/ 74 h 282"/>
                  <a:gd name="T38" fmla="*/ 5 w 140"/>
                  <a:gd name="T39" fmla="*/ 74 h 282"/>
                  <a:gd name="T40" fmla="*/ 5 w 140"/>
                  <a:gd name="T41" fmla="*/ 74 h 282"/>
                  <a:gd name="T42" fmla="*/ 5 w 140"/>
                  <a:gd name="T43" fmla="*/ 34 h 28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140"/>
                  <a:gd name="T67" fmla="*/ 0 h 282"/>
                  <a:gd name="T68" fmla="*/ 140 w 140"/>
                  <a:gd name="T69" fmla="*/ 282 h 282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140" h="282">
                    <a:moveTo>
                      <a:pt x="5" y="34"/>
                    </a:moveTo>
                    <a:lnTo>
                      <a:pt x="130" y="0"/>
                    </a:lnTo>
                    <a:lnTo>
                      <a:pt x="130" y="10"/>
                    </a:lnTo>
                    <a:lnTo>
                      <a:pt x="135" y="109"/>
                    </a:lnTo>
                    <a:lnTo>
                      <a:pt x="140" y="208"/>
                    </a:lnTo>
                    <a:lnTo>
                      <a:pt x="90" y="227"/>
                    </a:lnTo>
                    <a:lnTo>
                      <a:pt x="85" y="232"/>
                    </a:lnTo>
                    <a:lnTo>
                      <a:pt x="70" y="242"/>
                    </a:lnTo>
                    <a:lnTo>
                      <a:pt x="60" y="257"/>
                    </a:lnTo>
                    <a:lnTo>
                      <a:pt x="20" y="272"/>
                    </a:lnTo>
                    <a:lnTo>
                      <a:pt x="20" y="277"/>
                    </a:lnTo>
                    <a:lnTo>
                      <a:pt x="0" y="282"/>
                    </a:lnTo>
                    <a:lnTo>
                      <a:pt x="0" y="232"/>
                    </a:lnTo>
                    <a:lnTo>
                      <a:pt x="0" y="188"/>
                    </a:lnTo>
                    <a:lnTo>
                      <a:pt x="15" y="188"/>
                    </a:lnTo>
                    <a:lnTo>
                      <a:pt x="15" y="183"/>
                    </a:lnTo>
                    <a:lnTo>
                      <a:pt x="10" y="183"/>
                    </a:lnTo>
                    <a:lnTo>
                      <a:pt x="15" y="89"/>
                    </a:lnTo>
                    <a:lnTo>
                      <a:pt x="10" y="74"/>
                    </a:lnTo>
                    <a:lnTo>
                      <a:pt x="5" y="74"/>
                    </a:lnTo>
                    <a:lnTo>
                      <a:pt x="5" y="34"/>
                    </a:lnTo>
                    <a:close/>
                  </a:path>
                </a:pathLst>
              </a:custGeom>
              <a:solidFill>
                <a:srgbClr val="577D7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60" name="Freeform 1030"/>
              <p:cNvSpPr>
                <a:spLocks/>
              </p:cNvSpPr>
              <p:nvPr/>
            </p:nvSpPr>
            <p:spPr bwMode="auto">
              <a:xfrm>
                <a:off x="1572" y="1992"/>
                <a:ext cx="309" cy="89"/>
              </a:xfrm>
              <a:custGeom>
                <a:avLst/>
                <a:gdLst>
                  <a:gd name="T0" fmla="*/ 10 w 309"/>
                  <a:gd name="T1" fmla="*/ 10 h 89"/>
                  <a:gd name="T2" fmla="*/ 169 w 309"/>
                  <a:gd name="T3" fmla="*/ 34 h 89"/>
                  <a:gd name="T4" fmla="*/ 179 w 309"/>
                  <a:gd name="T5" fmla="*/ 34 h 89"/>
                  <a:gd name="T6" fmla="*/ 189 w 309"/>
                  <a:gd name="T7" fmla="*/ 34 h 89"/>
                  <a:gd name="T8" fmla="*/ 299 w 309"/>
                  <a:gd name="T9" fmla="*/ 0 h 89"/>
                  <a:gd name="T10" fmla="*/ 304 w 309"/>
                  <a:gd name="T11" fmla="*/ 0 h 89"/>
                  <a:gd name="T12" fmla="*/ 309 w 309"/>
                  <a:gd name="T13" fmla="*/ 10 h 89"/>
                  <a:gd name="T14" fmla="*/ 194 w 309"/>
                  <a:gd name="T15" fmla="*/ 44 h 89"/>
                  <a:gd name="T16" fmla="*/ 184 w 309"/>
                  <a:gd name="T17" fmla="*/ 44 h 89"/>
                  <a:gd name="T18" fmla="*/ 184 w 309"/>
                  <a:gd name="T19" fmla="*/ 49 h 89"/>
                  <a:gd name="T20" fmla="*/ 184 w 309"/>
                  <a:gd name="T21" fmla="*/ 89 h 89"/>
                  <a:gd name="T22" fmla="*/ 169 w 309"/>
                  <a:gd name="T23" fmla="*/ 84 h 89"/>
                  <a:gd name="T24" fmla="*/ 174 w 309"/>
                  <a:gd name="T25" fmla="*/ 49 h 89"/>
                  <a:gd name="T26" fmla="*/ 169 w 309"/>
                  <a:gd name="T27" fmla="*/ 44 h 89"/>
                  <a:gd name="T28" fmla="*/ 169 w 309"/>
                  <a:gd name="T29" fmla="*/ 44 h 89"/>
                  <a:gd name="T30" fmla="*/ 10 w 309"/>
                  <a:gd name="T31" fmla="*/ 15 h 89"/>
                  <a:gd name="T32" fmla="*/ 0 w 309"/>
                  <a:gd name="T33" fmla="*/ 20 h 89"/>
                  <a:gd name="T34" fmla="*/ 10 w 309"/>
                  <a:gd name="T35" fmla="*/ 10 h 8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309"/>
                  <a:gd name="T55" fmla="*/ 0 h 89"/>
                  <a:gd name="T56" fmla="*/ 309 w 309"/>
                  <a:gd name="T57" fmla="*/ 89 h 89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309" h="89">
                    <a:moveTo>
                      <a:pt x="10" y="10"/>
                    </a:moveTo>
                    <a:lnTo>
                      <a:pt x="169" y="34"/>
                    </a:lnTo>
                    <a:lnTo>
                      <a:pt x="179" y="34"/>
                    </a:lnTo>
                    <a:lnTo>
                      <a:pt x="189" y="34"/>
                    </a:lnTo>
                    <a:lnTo>
                      <a:pt x="299" y="0"/>
                    </a:lnTo>
                    <a:lnTo>
                      <a:pt x="304" y="0"/>
                    </a:lnTo>
                    <a:lnTo>
                      <a:pt x="309" y="10"/>
                    </a:lnTo>
                    <a:lnTo>
                      <a:pt x="194" y="44"/>
                    </a:lnTo>
                    <a:lnTo>
                      <a:pt x="184" y="44"/>
                    </a:lnTo>
                    <a:lnTo>
                      <a:pt x="184" y="49"/>
                    </a:lnTo>
                    <a:lnTo>
                      <a:pt x="184" y="89"/>
                    </a:lnTo>
                    <a:lnTo>
                      <a:pt x="169" y="84"/>
                    </a:lnTo>
                    <a:lnTo>
                      <a:pt x="174" y="49"/>
                    </a:lnTo>
                    <a:lnTo>
                      <a:pt x="169" y="44"/>
                    </a:lnTo>
                    <a:lnTo>
                      <a:pt x="10" y="15"/>
                    </a:lnTo>
                    <a:lnTo>
                      <a:pt x="0" y="20"/>
                    </a:lnTo>
                    <a:lnTo>
                      <a:pt x="10" y="10"/>
                    </a:lnTo>
                    <a:close/>
                  </a:path>
                </a:pathLst>
              </a:custGeom>
              <a:solidFill>
                <a:srgbClr val="00AEC4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61" name="Freeform 1031"/>
              <p:cNvSpPr>
                <a:spLocks/>
              </p:cNvSpPr>
              <p:nvPr/>
            </p:nvSpPr>
            <p:spPr bwMode="auto">
              <a:xfrm>
                <a:off x="1771" y="2041"/>
                <a:ext cx="115" cy="40"/>
              </a:xfrm>
              <a:custGeom>
                <a:avLst/>
                <a:gdLst>
                  <a:gd name="T0" fmla="*/ 115 w 115"/>
                  <a:gd name="T1" fmla="*/ 0 h 40"/>
                  <a:gd name="T2" fmla="*/ 0 w 115"/>
                  <a:gd name="T3" fmla="*/ 35 h 40"/>
                  <a:gd name="T4" fmla="*/ 0 w 115"/>
                  <a:gd name="T5" fmla="*/ 40 h 40"/>
                  <a:gd name="T6" fmla="*/ 115 w 115"/>
                  <a:gd name="T7" fmla="*/ 0 h 40"/>
                  <a:gd name="T8" fmla="*/ 115 w 115"/>
                  <a:gd name="T9" fmla="*/ 0 h 4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5"/>
                  <a:gd name="T16" fmla="*/ 0 h 40"/>
                  <a:gd name="T17" fmla="*/ 115 w 115"/>
                  <a:gd name="T18" fmla="*/ 40 h 4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5" h="40">
                    <a:moveTo>
                      <a:pt x="115" y="0"/>
                    </a:moveTo>
                    <a:lnTo>
                      <a:pt x="0" y="35"/>
                    </a:lnTo>
                    <a:lnTo>
                      <a:pt x="0" y="40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465F6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62" name="Freeform 1032"/>
              <p:cNvSpPr>
                <a:spLocks/>
              </p:cNvSpPr>
              <p:nvPr/>
            </p:nvSpPr>
            <p:spPr bwMode="auto">
              <a:xfrm>
                <a:off x="1846" y="2056"/>
                <a:ext cx="35" cy="79"/>
              </a:xfrm>
              <a:custGeom>
                <a:avLst/>
                <a:gdLst>
                  <a:gd name="T0" fmla="*/ 30 w 35"/>
                  <a:gd name="T1" fmla="*/ 0 h 79"/>
                  <a:gd name="T2" fmla="*/ 0 w 35"/>
                  <a:gd name="T3" fmla="*/ 10 h 79"/>
                  <a:gd name="T4" fmla="*/ 0 w 35"/>
                  <a:gd name="T5" fmla="*/ 15 h 79"/>
                  <a:gd name="T6" fmla="*/ 0 w 35"/>
                  <a:gd name="T7" fmla="*/ 74 h 79"/>
                  <a:gd name="T8" fmla="*/ 5 w 35"/>
                  <a:gd name="T9" fmla="*/ 79 h 79"/>
                  <a:gd name="T10" fmla="*/ 30 w 35"/>
                  <a:gd name="T11" fmla="*/ 69 h 79"/>
                  <a:gd name="T12" fmla="*/ 35 w 35"/>
                  <a:gd name="T13" fmla="*/ 64 h 79"/>
                  <a:gd name="T14" fmla="*/ 30 w 35"/>
                  <a:gd name="T15" fmla="*/ 5 h 79"/>
                  <a:gd name="T16" fmla="*/ 30 w 35"/>
                  <a:gd name="T17" fmla="*/ 0 h 7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5"/>
                  <a:gd name="T28" fmla="*/ 0 h 79"/>
                  <a:gd name="T29" fmla="*/ 35 w 35"/>
                  <a:gd name="T30" fmla="*/ 79 h 7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5" h="79">
                    <a:moveTo>
                      <a:pt x="30" y="0"/>
                    </a:moveTo>
                    <a:lnTo>
                      <a:pt x="0" y="10"/>
                    </a:lnTo>
                    <a:lnTo>
                      <a:pt x="0" y="15"/>
                    </a:lnTo>
                    <a:lnTo>
                      <a:pt x="0" y="74"/>
                    </a:lnTo>
                    <a:lnTo>
                      <a:pt x="5" y="79"/>
                    </a:lnTo>
                    <a:lnTo>
                      <a:pt x="30" y="69"/>
                    </a:lnTo>
                    <a:lnTo>
                      <a:pt x="35" y="64"/>
                    </a:lnTo>
                    <a:lnTo>
                      <a:pt x="30" y="5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615E5D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63" name="Freeform 1033"/>
              <p:cNvSpPr>
                <a:spLocks/>
              </p:cNvSpPr>
              <p:nvPr/>
            </p:nvSpPr>
            <p:spPr bwMode="auto">
              <a:xfrm>
                <a:off x="1771" y="2071"/>
                <a:ext cx="65" cy="99"/>
              </a:xfrm>
              <a:custGeom>
                <a:avLst/>
                <a:gdLst>
                  <a:gd name="T0" fmla="*/ 10 w 65"/>
                  <a:gd name="T1" fmla="*/ 15 h 99"/>
                  <a:gd name="T2" fmla="*/ 5 w 65"/>
                  <a:gd name="T3" fmla="*/ 20 h 99"/>
                  <a:gd name="T4" fmla="*/ 0 w 65"/>
                  <a:gd name="T5" fmla="*/ 94 h 99"/>
                  <a:gd name="T6" fmla="*/ 5 w 65"/>
                  <a:gd name="T7" fmla="*/ 99 h 99"/>
                  <a:gd name="T8" fmla="*/ 45 w 65"/>
                  <a:gd name="T9" fmla="*/ 79 h 99"/>
                  <a:gd name="T10" fmla="*/ 65 w 65"/>
                  <a:gd name="T11" fmla="*/ 74 h 99"/>
                  <a:gd name="T12" fmla="*/ 65 w 65"/>
                  <a:gd name="T13" fmla="*/ 69 h 99"/>
                  <a:gd name="T14" fmla="*/ 65 w 65"/>
                  <a:gd name="T15" fmla="*/ 5 h 99"/>
                  <a:gd name="T16" fmla="*/ 60 w 65"/>
                  <a:gd name="T17" fmla="*/ 0 h 99"/>
                  <a:gd name="T18" fmla="*/ 10 w 65"/>
                  <a:gd name="T19" fmla="*/ 15 h 9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65"/>
                  <a:gd name="T31" fmla="*/ 0 h 99"/>
                  <a:gd name="T32" fmla="*/ 65 w 65"/>
                  <a:gd name="T33" fmla="*/ 99 h 9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65" h="99">
                    <a:moveTo>
                      <a:pt x="10" y="15"/>
                    </a:moveTo>
                    <a:lnTo>
                      <a:pt x="5" y="20"/>
                    </a:lnTo>
                    <a:lnTo>
                      <a:pt x="0" y="94"/>
                    </a:lnTo>
                    <a:lnTo>
                      <a:pt x="5" y="99"/>
                    </a:lnTo>
                    <a:lnTo>
                      <a:pt x="45" y="79"/>
                    </a:lnTo>
                    <a:lnTo>
                      <a:pt x="65" y="74"/>
                    </a:lnTo>
                    <a:lnTo>
                      <a:pt x="65" y="69"/>
                    </a:lnTo>
                    <a:lnTo>
                      <a:pt x="65" y="5"/>
                    </a:lnTo>
                    <a:lnTo>
                      <a:pt x="60" y="0"/>
                    </a:lnTo>
                    <a:lnTo>
                      <a:pt x="10" y="15"/>
                    </a:lnTo>
                    <a:close/>
                  </a:path>
                </a:pathLst>
              </a:custGeom>
              <a:solidFill>
                <a:srgbClr val="615E5D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64" name="Freeform 1034"/>
              <p:cNvSpPr>
                <a:spLocks/>
              </p:cNvSpPr>
              <p:nvPr/>
            </p:nvSpPr>
            <p:spPr bwMode="auto">
              <a:xfrm>
                <a:off x="1776" y="2076"/>
                <a:ext cx="60" cy="89"/>
              </a:xfrm>
              <a:custGeom>
                <a:avLst/>
                <a:gdLst>
                  <a:gd name="T0" fmla="*/ 55 w 60"/>
                  <a:gd name="T1" fmla="*/ 0 h 89"/>
                  <a:gd name="T2" fmla="*/ 55 w 60"/>
                  <a:gd name="T3" fmla="*/ 0 h 89"/>
                  <a:gd name="T4" fmla="*/ 0 w 60"/>
                  <a:gd name="T5" fmla="*/ 15 h 89"/>
                  <a:gd name="T6" fmla="*/ 0 w 60"/>
                  <a:gd name="T7" fmla="*/ 84 h 89"/>
                  <a:gd name="T8" fmla="*/ 0 w 60"/>
                  <a:gd name="T9" fmla="*/ 89 h 89"/>
                  <a:gd name="T10" fmla="*/ 55 w 60"/>
                  <a:gd name="T11" fmla="*/ 64 h 89"/>
                  <a:gd name="T12" fmla="*/ 60 w 60"/>
                  <a:gd name="T13" fmla="*/ 64 h 89"/>
                  <a:gd name="T14" fmla="*/ 55 w 60"/>
                  <a:gd name="T15" fmla="*/ 0 h 8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0"/>
                  <a:gd name="T25" fmla="*/ 0 h 89"/>
                  <a:gd name="T26" fmla="*/ 60 w 60"/>
                  <a:gd name="T27" fmla="*/ 89 h 8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0" h="89">
                    <a:moveTo>
                      <a:pt x="55" y="0"/>
                    </a:moveTo>
                    <a:lnTo>
                      <a:pt x="55" y="0"/>
                    </a:lnTo>
                    <a:lnTo>
                      <a:pt x="0" y="15"/>
                    </a:lnTo>
                    <a:lnTo>
                      <a:pt x="0" y="84"/>
                    </a:lnTo>
                    <a:lnTo>
                      <a:pt x="0" y="89"/>
                    </a:lnTo>
                    <a:lnTo>
                      <a:pt x="55" y="64"/>
                    </a:lnTo>
                    <a:lnTo>
                      <a:pt x="60" y="64"/>
                    </a:lnTo>
                    <a:lnTo>
                      <a:pt x="55" y="0"/>
                    </a:lnTo>
                    <a:close/>
                  </a:path>
                </a:pathLst>
              </a:custGeom>
              <a:solidFill>
                <a:srgbClr val="959493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65" name="Freeform 1035"/>
              <p:cNvSpPr>
                <a:spLocks/>
              </p:cNvSpPr>
              <p:nvPr/>
            </p:nvSpPr>
            <p:spPr bwMode="auto">
              <a:xfrm>
                <a:off x="1771" y="2081"/>
                <a:ext cx="45" cy="104"/>
              </a:xfrm>
              <a:custGeom>
                <a:avLst/>
                <a:gdLst>
                  <a:gd name="T0" fmla="*/ 5 w 45"/>
                  <a:gd name="T1" fmla="*/ 0 h 104"/>
                  <a:gd name="T2" fmla="*/ 25 w 45"/>
                  <a:gd name="T3" fmla="*/ 5 h 104"/>
                  <a:gd name="T4" fmla="*/ 25 w 45"/>
                  <a:gd name="T5" fmla="*/ 5 h 104"/>
                  <a:gd name="T6" fmla="*/ 30 w 45"/>
                  <a:gd name="T7" fmla="*/ 15 h 104"/>
                  <a:gd name="T8" fmla="*/ 30 w 45"/>
                  <a:gd name="T9" fmla="*/ 39 h 104"/>
                  <a:gd name="T10" fmla="*/ 40 w 45"/>
                  <a:gd name="T11" fmla="*/ 39 h 104"/>
                  <a:gd name="T12" fmla="*/ 40 w 45"/>
                  <a:gd name="T13" fmla="*/ 39 h 104"/>
                  <a:gd name="T14" fmla="*/ 45 w 45"/>
                  <a:gd name="T15" fmla="*/ 44 h 104"/>
                  <a:gd name="T16" fmla="*/ 45 w 45"/>
                  <a:gd name="T17" fmla="*/ 84 h 104"/>
                  <a:gd name="T18" fmla="*/ 40 w 45"/>
                  <a:gd name="T19" fmla="*/ 84 h 104"/>
                  <a:gd name="T20" fmla="*/ 40 w 45"/>
                  <a:gd name="T21" fmla="*/ 89 h 104"/>
                  <a:gd name="T22" fmla="*/ 30 w 45"/>
                  <a:gd name="T23" fmla="*/ 84 h 104"/>
                  <a:gd name="T24" fmla="*/ 30 w 45"/>
                  <a:gd name="T25" fmla="*/ 99 h 104"/>
                  <a:gd name="T26" fmla="*/ 25 w 45"/>
                  <a:gd name="T27" fmla="*/ 99 h 104"/>
                  <a:gd name="T28" fmla="*/ 25 w 45"/>
                  <a:gd name="T29" fmla="*/ 104 h 104"/>
                  <a:gd name="T30" fmla="*/ 20 w 45"/>
                  <a:gd name="T31" fmla="*/ 99 h 104"/>
                  <a:gd name="T32" fmla="*/ 10 w 45"/>
                  <a:gd name="T33" fmla="*/ 104 h 104"/>
                  <a:gd name="T34" fmla="*/ 5 w 45"/>
                  <a:gd name="T35" fmla="*/ 104 h 104"/>
                  <a:gd name="T36" fmla="*/ 5 w 45"/>
                  <a:gd name="T37" fmla="*/ 89 h 104"/>
                  <a:gd name="T38" fmla="*/ 20 w 45"/>
                  <a:gd name="T39" fmla="*/ 84 h 104"/>
                  <a:gd name="T40" fmla="*/ 20 w 45"/>
                  <a:gd name="T41" fmla="*/ 89 h 104"/>
                  <a:gd name="T42" fmla="*/ 20 w 45"/>
                  <a:gd name="T43" fmla="*/ 94 h 104"/>
                  <a:gd name="T44" fmla="*/ 25 w 45"/>
                  <a:gd name="T45" fmla="*/ 99 h 104"/>
                  <a:gd name="T46" fmla="*/ 25 w 45"/>
                  <a:gd name="T47" fmla="*/ 94 h 104"/>
                  <a:gd name="T48" fmla="*/ 25 w 45"/>
                  <a:gd name="T49" fmla="*/ 94 h 104"/>
                  <a:gd name="T50" fmla="*/ 25 w 45"/>
                  <a:gd name="T51" fmla="*/ 84 h 104"/>
                  <a:gd name="T52" fmla="*/ 20 w 45"/>
                  <a:gd name="T53" fmla="*/ 84 h 104"/>
                  <a:gd name="T54" fmla="*/ 20 w 45"/>
                  <a:gd name="T55" fmla="*/ 84 h 104"/>
                  <a:gd name="T56" fmla="*/ 20 w 45"/>
                  <a:gd name="T57" fmla="*/ 39 h 104"/>
                  <a:gd name="T58" fmla="*/ 20 w 45"/>
                  <a:gd name="T59" fmla="*/ 39 h 104"/>
                  <a:gd name="T60" fmla="*/ 25 w 45"/>
                  <a:gd name="T61" fmla="*/ 39 h 104"/>
                  <a:gd name="T62" fmla="*/ 25 w 45"/>
                  <a:gd name="T63" fmla="*/ 15 h 104"/>
                  <a:gd name="T64" fmla="*/ 20 w 45"/>
                  <a:gd name="T65" fmla="*/ 10 h 104"/>
                  <a:gd name="T66" fmla="*/ 20 w 45"/>
                  <a:gd name="T67" fmla="*/ 10 h 104"/>
                  <a:gd name="T68" fmla="*/ 5 w 45"/>
                  <a:gd name="T69" fmla="*/ 5 h 104"/>
                  <a:gd name="T70" fmla="*/ 0 w 45"/>
                  <a:gd name="T71" fmla="*/ 0 h 104"/>
                  <a:gd name="T72" fmla="*/ 5 w 45"/>
                  <a:gd name="T73" fmla="*/ 0 h 104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45"/>
                  <a:gd name="T112" fmla="*/ 0 h 104"/>
                  <a:gd name="T113" fmla="*/ 45 w 45"/>
                  <a:gd name="T114" fmla="*/ 104 h 104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45" h="104">
                    <a:moveTo>
                      <a:pt x="5" y="0"/>
                    </a:moveTo>
                    <a:lnTo>
                      <a:pt x="25" y="5"/>
                    </a:lnTo>
                    <a:lnTo>
                      <a:pt x="30" y="15"/>
                    </a:lnTo>
                    <a:lnTo>
                      <a:pt x="30" y="39"/>
                    </a:lnTo>
                    <a:lnTo>
                      <a:pt x="40" y="39"/>
                    </a:lnTo>
                    <a:lnTo>
                      <a:pt x="45" y="44"/>
                    </a:lnTo>
                    <a:lnTo>
                      <a:pt x="45" y="84"/>
                    </a:lnTo>
                    <a:lnTo>
                      <a:pt x="40" y="84"/>
                    </a:lnTo>
                    <a:lnTo>
                      <a:pt x="40" y="89"/>
                    </a:lnTo>
                    <a:lnTo>
                      <a:pt x="30" y="84"/>
                    </a:lnTo>
                    <a:lnTo>
                      <a:pt x="30" y="99"/>
                    </a:lnTo>
                    <a:lnTo>
                      <a:pt x="25" y="99"/>
                    </a:lnTo>
                    <a:lnTo>
                      <a:pt x="25" y="104"/>
                    </a:lnTo>
                    <a:lnTo>
                      <a:pt x="20" y="99"/>
                    </a:lnTo>
                    <a:lnTo>
                      <a:pt x="10" y="104"/>
                    </a:lnTo>
                    <a:lnTo>
                      <a:pt x="5" y="104"/>
                    </a:lnTo>
                    <a:lnTo>
                      <a:pt x="5" y="89"/>
                    </a:lnTo>
                    <a:lnTo>
                      <a:pt x="20" y="84"/>
                    </a:lnTo>
                    <a:lnTo>
                      <a:pt x="20" y="89"/>
                    </a:lnTo>
                    <a:lnTo>
                      <a:pt x="20" y="94"/>
                    </a:lnTo>
                    <a:lnTo>
                      <a:pt x="25" y="99"/>
                    </a:lnTo>
                    <a:lnTo>
                      <a:pt x="25" y="94"/>
                    </a:lnTo>
                    <a:lnTo>
                      <a:pt x="25" y="84"/>
                    </a:lnTo>
                    <a:lnTo>
                      <a:pt x="20" y="84"/>
                    </a:lnTo>
                    <a:lnTo>
                      <a:pt x="20" y="39"/>
                    </a:lnTo>
                    <a:lnTo>
                      <a:pt x="25" y="39"/>
                    </a:lnTo>
                    <a:lnTo>
                      <a:pt x="25" y="15"/>
                    </a:lnTo>
                    <a:lnTo>
                      <a:pt x="20" y="10"/>
                    </a:lnTo>
                    <a:lnTo>
                      <a:pt x="5" y="5"/>
                    </a:lnTo>
                    <a:lnTo>
                      <a:pt x="0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66" name="Rectangle 1036"/>
              <p:cNvSpPr>
                <a:spLocks noChangeArrowheads="1"/>
              </p:cNvSpPr>
              <p:nvPr/>
            </p:nvSpPr>
            <p:spPr bwMode="auto">
              <a:xfrm>
                <a:off x="1801" y="2135"/>
                <a:ext cx="5" cy="15"/>
              </a:xfrm>
              <a:prstGeom prst="rect">
                <a:avLst/>
              </a:prstGeom>
              <a:solidFill>
                <a:srgbClr val="83818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67" name="Freeform 1037"/>
              <p:cNvSpPr>
                <a:spLocks/>
              </p:cNvSpPr>
              <p:nvPr/>
            </p:nvSpPr>
            <p:spPr bwMode="auto">
              <a:xfrm>
                <a:off x="1801" y="2120"/>
                <a:ext cx="15" cy="50"/>
              </a:xfrm>
              <a:custGeom>
                <a:avLst/>
                <a:gdLst>
                  <a:gd name="T0" fmla="*/ 0 w 15"/>
                  <a:gd name="T1" fmla="*/ 0 h 50"/>
                  <a:gd name="T2" fmla="*/ 10 w 15"/>
                  <a:gd name="T3" fmla="*/ 0 h 50"/>
                  <a:gd name="T4" fmla="*/ 15 w 15"/>
                  <a:gd name="T5" fmla="*/ 5 h 50"/>
                  <a:gd name="T6" fmla="*/ 15 w 15"/>
                  <a:gd name="T7" fmla="*/ 45 h 50"/>
                  <a:gd name="T8" fmla="*/ 15 w 15"/>
                  <a:gd name="T9" fmla="*/ 50 h 50"/>
                  <a:gd name="T10" fmla="*/ 15 w 15"/>
                  <a:gd name="T11" fmla="*/ 5 h 50"/>
                  <a:gd name="T12" fmla="*/ 10 w 15"/>
                  <a:gd name="T13" fmla="*/ 5 h 50"/>
                  <a:gd name="T14" fmla="*/ 0 w 15"/>
                  <a:gd name="T15" fmla="*/ 0 h 50"/>
                  <a:gd name="T16" fmla="*/ 0 w 15"/>
                  <a:gd name="T17" fmla="*/ 0 h 5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"/>
                  <a:gd name="T28" fmla="*/ 0 h 50"/>
                  <a:gd name="T29" fmla="*/ 15 w 15"/>
                  <a:gd name="T30" fmla="*/ 50 h 5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" h="50">
                    <a:moveTo>
                      <a:pt x="0" y="0"/>
                    </a:moveTo>
                    <a:lnTo>
                      <a:pt x="10" y="0"/>
                    </a:lnTo>
                    <a:lnTo>
                      <a:pt x="15" y="5"/>
                    </a:lnTo>
                    <a:lnTo>
                      <a:pt x="15" y="45"/>
                    </a:lnTo>
                    <a:lnTo>
                      <a:pt x="15" y="50"/>
                    </a:lnTo>
                    <a:lnTo>
                      <a:pt x="15" y="5"/>
                    </a:lnTo>
                    <a:lnTo>
                      <a:pt x="10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3818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68" name="Freeform 1038"/>
              <p:cNvSpPr>
                <a:spLocks/>
              </p:cNvSpPr>
              <p:nvPr/>
            </p:nvSpPr>
            <p:spPr bwMode="auto">
              <a:xfrm>
                <a:off x="1776" y="2165"/>
                <a:ext cx="15" cy="20"/>
              </a:xfrm>
              <a:custGeom>
                <a:avLst/>
                <a:gdLst>
                  <a:gd name="T0" fmla="*/ 0 w 15"/>
                  <a:gd name="T1" fmla="*/ 5 h 20"/>
                  <a:gd name="T2" fmla="*/ 15 w 15"/>
                  <a:gd name="T3" fmla="*/ 0 h 20"/>
                  <a:gd name="T4" fmla="*/ 15 w 15"/>
                  <a:gd name="T5" fmla="*/ 5 h 20"/>
                  <a:gd name="T6" fmla="*/ 5 w 15"/>
                  <a:gd name="T7" fmla="*/ 10 h 20"/>
                  <a:gd name="T8" fmla="*/ 5 w 15"/>
                  <a:gd name="T9" fmla="*/ 20 h 20"/>
                  <a:gd name="T10" fmla="*/ 0 w 15"/>
                  <a:gd name="T11" fmla="*/ 20 h 20"/>
                  <a:gd name="T12" fmla="*/ 0 w 15"/>
                  <a:gd name="T13" fmla="*/ 5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"/>
                  <a:gd name="T22" fmla="*/ 0 h 20"/>
                  <a:gd name="T23" fmla="*/ 15 w 15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" h="20">
                    <a:moveTo>
                      <a:pt x="0" y="5"/>
                    </a:moveTo>
                    <a:lnTo>
                      <a:pt x="15" y="0"/>
                    </a:lnTo>
                    <a:lnTo>
                      <a:pt x="15" y="5"/>
                    </a:lnTo>
                    <a:lnTo>
                      <a:pt x="5" y="10"/>
                    </a:lnTo>
                    <a:lnTo>
                      <a:pt x="5" y="20"/>
                    </a:lnTo>
                    <a:lnTo>
                      <a:pt x="0" y="2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95949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69" name="Freeform 1039"/>
              <p:cNvSpPr>
                <a:spLocks/>
              </p:cNvSpPr>
              <p:nvPr/>
            </p:nvSpPr>
            <p:spPr bwMode="auto">
              <a:xfrm>
                <a:off x="1846" y="2061"/>
                <a:ext cx="30" cy="74"/>
              </a:xfrm>
              <a:custGeom>
                <a:avLst/>
                <a:gdLst>
                  <a:gd name="T0" fmla="*/ 5 w 30"/>
                  <a:gd name="T1" fmla="*/ 5 h 74"/>
                  <a:gd name="T2" fmla="*/ 0 w 30"/>
                  <a:gd name="T3" fmla="*/ 10 h 74"/>
                  <a:gd name="T4" fmla="*/ 5 w 30"/>
                  <a:gd name="T5" fmla="*/ 69 h 74"/>
                  <a:gd name="T6" fmla="*/ 5 w 30"/>
                  <a:gd name="T7" fmla="*/ 74 h 74"/>
                  <a:gd name="T8" fmla="*/ 25 w 30"/>
                  <a:gd name="T9" fmla="*/ 64 h 74"/>
                  <a:gd name="T10" fmla="*/ 30 w 30"/>
                  <a:gd name="T11" fmla="*/ 59 h 74"/>
                  <a:gd name="T12" fmla="*/ 30 w 30"/>
                  <a:gd name="T13" fmla="*/ 5 h 74"/>
                  <a:gd name="T14" fmla="*/ 25 w 30"/>
                  <a:gd name="T15" fmla="*/ 0 h 74"/>
                  <a:gd name="T16" fmla="*/ 5 w 30"/>
                  <a:gd name="T17" fmla="*/ 5 h 7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0"/>
                  <a:gd name="T28" fmla="*/ 0 h 74"/>
                  <a:gd name="T29" fmla="*/ 30 w 30"/>
                  <a:gd name="T30" fmla="*/ 74 h 7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0" h="74">
                    <a:moveTo>
                      <a:pt x="5" y="5"/>
                    </a:moveTo>
                    <a:lnTo>
                      <a:pt x="0" y="10"/>
                    </a:lnTo>
                    <a:lnTo>
                      <a:pt x="5" y="69"/>
                    </a:lnTo>
                    <a:lnTo>
                      <a:pt x="5" y="74"/>
                    </a:lnTo>
                    <a:lnTo>
                      <a:pt x="25" y="64"/>
                    </a:lnTo>
                    <a:lnTo>
                      <a:pt x="30" y="59"/>
                    </a:lnTo>
                    <a:lnTo>
                      <a:pt x="30" y="5"/>
                    </a:lnTo>
                    <a:lnTo>
                      <a:pt x="25" y="0"/>
                    </a:ln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959493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70" name="Freeform 1040"/>
              <p:cNvSpPr>
                <a:spLocks/>
              </p:cNvSpPr>
              <p:nvPr/>
            </p:nvSpPr>
            <p:spPr bwMode="auto">
              <a:xfrm>
                <a:off x="1821" y="2215"/>
                <a:ext cx="20" cy="19"/>
              </a:xfrm>
              <a:custGeom>
                <a:avLst/>
                <a:gdLst>
                  <a:gd name="T0" fmla="*/ 20 w 20"/>
                  <a:gd name="T1" fmla="*/ 0 h 19"/>
                  <a:gd name="T2" fmla="*/ 0 w 20"/>
                  <a:gd name="T3" fmla="*/ 5 h 19"/>
                  <a:gd name="T4" fmla="*/ 0 w 20"/>
                  <a:gd name="T5" fmla="*/ 19 h 19"/>
                  <a:gd name="T6" fmla="*/ 20 w 20"/>
                  <a:gd name="T7" fmla="*/ 9 h 19"/>
                  <a:gd name="T8" fmla="*/ 20 w 20"/>
                  <a:gd name="T9" fmla="*/ 0 h 1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"/>
                  <a:gd name="T16" fmla="*/ 0 h 19"/>
                  <a:gd name="T17" fmla="*/ 20 w 20"/>
                  <a:gd name="T18" fmla="*/ 19 h 1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" h="19">
                    <a:moveTo>
                      <a:pt x="20" y="0"/>
                    </a:moveTo>
                    <a:lnTo>
                      <a:pt x="0" y="5"/>
                    </a:lnTo>
                    <a:lnTo>
                      <a:pt x="0" y="19"/>
                    </a:lnTo>
                    <a:lnTo>
                      <a:pt x="20" y="9"/>
                    </a:lnTo>
                    <a:lnTo>
                      <a:pt x="20" y="0"/>
                    </a:lnTo>
                    <a:close/>
                  </a:path>
                </a:pathLst>
              </a:custGeom>
              <a:solidFill>
                <a:srgbClr val="72706F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71" name="Freeform 1041"/>
              <p:cNvSpPr>
                <a:spLocks/>
              </p:cNvSpPr>
              <p:nvPr/>
            </p:nvSpPr>
            <p:spPr bwMode="auto">
              <a:xfrm>
                <a:off x="1821" y="2215"/>
                <a:ext cx="20" cy="14"/>
              </a:xfrm>
              <a:custGeom>
                <a:avLst/>
                <a:gdLst>
                  <a:gd name="T0" fmla="*/ 20 w 20"/>
                  <a:gd name="T1" fmla="*/ 0 h 14"/>
                  <a:gd name="T2" fmla="*/ 10 w 20"/>
                  <a:gd name="T3" fmla="*/ 9 h 14"/>
                  <a:gd name="T4" fmla="*/ 0 w 20"/>
                  <a:gd name="T5" fmla="*/ 14 h 14"/>
                  <a:gd name="T6" fmla="*/ 0 w 20"/>
                  <a:gd name="T7" fmla="*/ 5 h 14"/>
                  <a:gd name="T8" fmla="*/ 20 w 20"/>
                  <a:gd name="T9" fmla="*/ 0 h 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"/>
                  <a:gd name="T16" fmla="*/ 0 h 14"/>
                  <a:gd name="T17" fmla="*/ 20 w 20"/>
                  <a:gd name="T18" fmla="*/ 14 h 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" h="14">
                    <a:moveTo>
                      <a:pt x="20" y="0"/>
                    </a:moveTo>
                    <a:lnTo>
                      <a:pt x="10" y="9"/>
                    </a:lnTo>
                    <a:lnTo>
                      <a:pt x="0" y="14"/>
                    </a:lnTo>
                    <a:lnTo>
                      <a:pt x="0" y="5"/>
                    </a:lnTo>
                    <a:lnTo>
                      <a:pt x="20" y="0"/>
                    </a:lnTo>
                    <a:close/>
                  </a:path>
                </a:pathLst>
              </a:custGeom>
              <a:solidFill>
                <a:srgbClr val="3D3937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72" name="Freeform 1042"/>
              <p:cNvSpPr>
                <a:spLocks/>
              </p:cNvSpPr>
              <p:nvPr/>
            </p:nvSpPr>
            <p:spPr bwMode="auto">
              <a:xfrm>
                <a:off x="1771" y="2155"/>
                <a:ext cx="115" cy="50"/>
              </a:xfrm>
              <a:custGeom>
                <a:avLst/>
                <a:gdLst>
                  <a:gd name="T0" fmla="*/ 115 w 115"/>
                  <a:gd name="T1" fmla="*/ 0 h 50"/>
                  <a:gd name="T2" fmla="*/ 0 w 115"/>
                  <a:gd name="T3" fmla="*/ 50 h 50"/>
                  <a:gd name="T4" fmla="*/ 0 w 115"/>
                  <a:gd name="T5" fmla="*/ 50 h 50"/>
                  <a:gd name="T6" fmla="*/ 115 w 115"/>
                  <a:gd name="T7" fmla="*/ 5 h 50"/>
                  <a:gd name="T8" fmla="*/ 115 w 115"/>
                  <a:gd name="T9" fmla="*/ 0 h 5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5"/>
                  <a:gd name="T16" fmla="*/ 0 h 50"/>
                  <a:gd name="T17" fmla="*/ 115 w 115"/>
                  <a:gd name="T18" fmla="*/ 50 h 5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5" h="50">
                    <a:moveTo>
                      <a:pt x="115" y="0"/>
                    </a:moveTo>
                    <a:lnTo>
                      <a:pt x="0" y="50"/>
                    </a:lnTo>
                    <a:lnTo>
                      <a:pt x="115" y="5"/>
                    </a:lnTo>
                    <a:lnTo>
                      <a:pt x="115" y="0"/>
                    </a:lnTo>
                    <a:close/>
                  </a:path>
                </a:pathLst>
              </a:custGeom>
              <a:solidFill>
                <a:srgbClr val="465F6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73" name="Freeform 1043"/>
              <p:cNvSpPr>
                <a:spLocks/>
              </p:cNvSpPr>
              <p:nvPr/>
            </p:nvSpPr>
            <p:spPr bwMode="auto">
              <a:xfrm>
                <a:off x="1771" y="2229"/>
                <a:ext cx="70" cy="30"/>
              </a:xfrm>
              <a:custGeom>
                <a:avLst/>
                <a:gdLst>
                  <a:gd name="T0" fmla="*/ 70 w 70"/>
                  <a:gd name="T1" fmla="*/ 0 h 30"/>
                  <a:gd name="T2" fmla="*/ 0 w 70"/>
                  <a:gd name="T3" fmla="*/ 25 h 30"/>
                  <a:gd name="T4" fmla="*/ 0 w 70"/>
                  <a:gd name="T5" fmla="*/ 30 h 30"/>
                  <a:gd name="T6" fmla="*/ 70 w 70"/>
                  <a:gd name="T7" fmla="*/ 5 h 30"/>
                  <a:gd name="T8" fmla="*/ 70 w 70"/>
                  <a:gd name="T9" fmla="*/ 0 h 3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0"/>
                  <a:gd name="T16" fmla="*/ 0 h 30"/>
                  <a:gd name="T17" fmla="*/ 70 w 70"/>
                  <a:gd name="T18" fmla="*/ 30 h 3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0" h="30">
                    <a:moveTo>
                      <a:pt x="70" y="0"/>
                    </a:moveTo>
                    <a:lnTo>
                      <a:pt x="0" y="25"/>
                    </a:lnTo>
                    <a:lnTo>
                      <a:pt x="0" y="30"/>
                    </a:lnTo>
                    <a:lnTo>
                      <a:pt x="70" y="5"/>
                    </a:lnTo>
                    <a:lnTo>
                      <a:pt x="70" y="0"/>
                    </a:lnTo>
                    <a:close/>
                  </a:path>
                </a:pathLst>
              </a:custGeom>
              <a:solidFill>
                <a:srgbClr val="465F61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74" name="Freeform 1044"/>
              <p:cNvSpPr>
                <a:spLocks/>
              </p:cNvSpPr>
              <p:nvPr/>
            </p:nvSpPr>
            <p:spPr bwMode="auto">
              <a:xfrm>
                <a:off x="1766" y="2210"/>
                <a:ext cx="125" cy="118"/>
              </a:xfrm>
              <a:custGeom>
                <a:avLst/>
                <a:gdLst>
                  <a:gd name="T0" fmla="*/ 5 w 125"/>
                  <a:gd name="T1" fmla="*/ 64 h 118"/>
                  <a:gd name="T2" fmla="*/ 45 w 125"/>
                  <a:gd name="T3" fmla="*/ 49 h 118"/>
                  <a:gd name="T4" fmla="*/ 55 w 125"/>
                  <a:gd name="T5" fmla="*/ 34 h 118"/>
                  <a:gd name="T6" fmla="*/ 75 w 125"/>
                  <a:gd name="T7" fmla="*/ 24 h 118"/>
                  <a:gd name="T8" fmla="*/ 75 w 125"/>
                  <a:gd name="T9" fmla="*/ 19 h 118"/>
                  <a:gd name="T10" fmla="*/ 120 w 125"/>
                  <a:gd name="T11" fmla="*/ 0 h 118"/>
                  <a:gd name="T12" fmla="*/ 125 w 125"/>
                  <a:gd name="T13" fmla="*/ 5 h 118"/>
                  <a:gd name="T14" fmla="*/ 125 w 125"/>
                  <a:gd name="T15" fmla="*/ 39 h 118"/>
                  <a:gd name="T16" fmla="*/ 125 w 125"/>
                  <a:gd name="T17" fmla="*/ 59 h 118"/>
                  <a:gd name="T18" fmla="*/ 125 w 125"/>
                  <a:gd name="T19" fmla="*/ 104 h 118"/>
                  <a:gd name="T20" fmla="*/ 125 w 125"/>
                  <a:gd name="T21" fmla="*/ 104 h 118"/>
                  <a:gd name="T22" fmla="*/ 105 w 125"/>
                  <a:gd name="T23" fmla="*/ 99 h 118"/>
                  <a:gd name="T24" fmla="*/ 40 w 125"/>
                  <a:gd name="T25" fmla="*/ 109 h 118"/>
                  <a:gd name="T26" fmla="*/ 35 w 125"/>
                  <a:gd name="T27" fmla="*/ 109 h 118"/>
                  <a:gd name="T28" fmla="*/ 30 w 125"/>
                  <a:gd name="T29" fmla="*/ 109 h 118"/>
                  <a:gd name="T30" fmla="*/ 5 w 125"/>
                  <a:gd name="T31" fmla="*/ 118 h 118"/>
                  <a:gd name="T32" fmla="*/ 5 w 125"/>
                  <a:gd name="T33" fmla="*/ 79 h 118"/>
                  <a:gd name="T34" fmla="*/ 0 w 125"/>
                  <a:gd name="T35" fmla="*/ 74 h 118"/>
                  <a:gd name="T36" fmla="*/ 0 w 125"/>
                  <a:gd name="T37" fmla="*/ 69 h 118"/>
                  <a:gd name="T38" fmla="*/ 5 w 125"/>
                  <a:gd name="T39" fmla="*/ 69 h 118"/>
                  <a:gd name="T40" fmla="*/ 5 w 125"/>
                  <a:gd name="T41" fmla="*/ 64 h 11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25"/>
                  <a:gd name="T64" fmla="*/ 0 h 118"/>
                  <a:gd name="T65" fmla="*/ 125 w 125"/>
                  <a:gd name="T66" fmla="*/ 118 h 11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25" h="118">
                    <a:moveTo>
                      <a:pt x="5" y="64"/>
                    </a:moveTo>
                    <a:lnTo>
                      <a:pt x="45" y="49"/>
                    </a:lnTo>
                    <a:lnTo>
                      <a:pt x="55" y="34"/>
                    </a:lnTo>
                    <a:lnTo>
                      <a:pt x="75" y="24"/>
                    </a:lnTo>
                    <a:lnTo>
                      <a:pt x="75" y="19"/>
                    </a:lnTo>
                    <a:lnTo>
                      <a:pt x="120" y="0"/>
                    </a:lnTo>
                    <a:lnTo>
                      <a:pt x="125" y="5"/>
                    </a:lnTo>
                    <a:lnTo>
                      <a:pt x="125" y="39"/>
                    </a:lnTo>
                    <a:lnTo>
                      <a:pt x="125" y="59"/>
                    </a:lnTo>
                    <a:lnTo>
                      <a:pt x="125" y="104"/>
                    </a:lnTo>
                    <a:lnTo>
                      <a:pt x="105" y="99"/>
                    </a:lnTo>
                    <a:lnTo>
                      <a:pt x="40" y="109"/>
                    </a:lnTo>
                    <a:lnTo>
                      <a:pt x="35" y="109"/>
                    </a:lnTo>
                    <a:lnTo>
                      <a:pt x="30" y="109"/>
                    </a:lnTo>
                    <a:lnTo>
                      <a:pt x="5" y="118"/>
                    </a:lnTo>
                    <a:lnTo>
                      <a:pt x="5" y="79"/>
                    </a:lnTo>
                    <a:lnTo>
                      <a:pt x="0" y="74"/>
                    </a:lnTo>
                    <a:lnTo>
                      <a:pt x="0" y="69"/>
                    </a:lnTo>
                    <a:lnTo>
                      <a:pt x="5" y="69"/>
                    </a:lnTo>
                    <a:lnTo>
                      <a:pt x="5" y="64"/>
                    </a:lnTo>
                    <a:close/>
                  </a:path>
                </a:pathLst>
              </a:custGeom>
              <a:solidFill>
                <a:srgbClr val="72706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75" name="Freeform 1045"/>
              <p:cNvSpPr>
                <a:spLocks/>
              </p:cNvSpPr>
              <p:nvPr/>
            </p:nvSpPr>
            <p:spPr bwMode="auto">
              <a:xfrm>
                <a:off x="1846" y="2254"/>
                <a:ext cx="45" cy="60"/>
              </a:xfrm>
              <a:custGeom>
                <a:avLst/>
                <a:gdLst>
                  <a:gd name="T0" fmla="*/ 45 w 45"/>
                  <a:gd name="T1" fmla="*/ 60 h 60"/>
                  <a:gd name="T2" fmla="*/ 40 w 45"/>
                  <a:gd name="T3" fmla="*/ 15 h 60"/>
                  <a:gd name="T4" fmla="*/ 40 w 45"/>
                  <a:gd name="T5" fmla="*/ 15 h 60"/>
                  <a:gd name="T6" fmla="*/ 30 w 45"/>
                  <a:gd name="T7" fmla="*/ 0 h 60"/>
                  <a:gd name="T8" fmla="*/ 20 w 45"/>
                  <a:gd name="T9" fmla="*/ 0 h 60"/>
                  <a:gd name="T10" fmla="*/ 0 w 45"/>
                  <a:gd name="T11" fmla="*/ 5 h 60"/>
                  <a:gd name="T12" fmla="*/ 10 w 45"/>
                  <a:gd name="T13" fmla="*/ 10 h 60"/>
                  <a:gd name="T14" fmla="*/ 15 w 45"/>
                  <a:gd name="T15" fmla="*/ 20 h 60"/>
                  <a:gd name="T16" fmla="*/ 25 w 45"/>
                  <a:gd name="T17" fmla="*/ 55 h 60"/>
                  <a:gd name="T18" fmla="*/ 45 w 45"/>
                  <a:gd name="T19" fmla="*/ 60 h 6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5"/>
                  <a:gd name="T31" fmla="*/ 0 h 60"/>
                  <a:gd name="T32" fmla="*/ 45 w 45"/>
                  <a:gd name="T33" fmla="*/ 60 h 6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5" h="60">
                    <a:moveTo>
                      <a:pt x="45" y="60"/>
                    </a:moveTo>
                    <a:lnTo>
                      <a:pt x="40" y="15"/>
                    </a:lnTo>
                    <a:lnTo>
                      <a:pt x="30" y="0"/>
                    </a:lnTo>
                    <a:lnTo>
                      <a:pt x="20" y="0"/>
                    </a:lnTo>
                    <a:lnTo>
                      <a:pt x="0" y="5"/>
                    </a:lnTo>
                    <a:lnTo>
                      <a:pt x="10" y="10"/>
                    </a:lnTo>
                    <a:lnTo>
                      <a:pt x="15" y="20"/>
                    </a:lnTo>
                    <a:lnTo>
                      <a:pt x="25" y="55"/>
                    </a:lnTo>
                    <a:lnTo>
                      <a:pt x="45" y="60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76" name="Freeform 1046"/>
              <p:cNvSpPr>
                <a:spLocks/>
              </p:cNvSpPr>
              <p:nvPr/>
            </p:nvSpPr>
            <p:spPr bwMode="auto">
              <a:xfrm>
                <a:off x="1771" y="2289"/>
                <a:ext cx="30" cy="20"/>
              </a:xfrm>
              <a:custGeom>
                <a:avLst/>
                <a:gdLst>
                  <a:gd name="T0" fmla="*/ 30 w 30"/>
                  <a:gd name="T1" fmla="*/ 0 h 20"/>
                  <a:gd name="T2" fmla="*/ 10 w 30"/>
                  <a:gd name="T3" fmla="*/ 20 h 20"/>
                  <a:gd name="T4" fmla="*/ 0 w 30"/>
                  <a:gd name="T5" fmla="*/ 15 h 20"/>
                  <a:gd name="T6" fmla="*/ 0 w 30"/>
                  <a:gd name="T7" fmla="*/ 10 h 20"/>
                  <a:gd name="T8" fmla="*/ 30 w 30"/>
                  <a:gd name="T9" fmla="*/ 0 h 2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0"/>
                  <a:gd name="T16" fmla="*/ 0 h 20"/>
                  <a:gd name="T17" fmla="*/ 30 w 30"/>
                  <a:gd name="T18" fmla="*/ 20 h 2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0" h="20">
                    <a:moveTo>
                      <a:pt x="30" y="0"/>
                    </a:moveTo>
                    <a:lnTo>
                      <a:pt x="10" y="20"/>
                    </a:lnTo>
                    <a:lnTo>
                      <a:pt x="0" y="15"/>
                    </a:lnTo>
                    <a:lnTo>
                      <a:pt x="0" y="1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615E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77" name="Freeform 1047"/>
              <p:cNvSpPr>
                <a:spLocks/>
              </p:cNvSpPr>
              <p:nvPr/>
            </p:nvSpPr>
            <p:spPr bwMode="auto">
              <a:xfrm>
                <a:off x="1776" y="2259"/>
                <a:ext cx="35" cy="15"/>
              </a:xfrm>
              <a:custGeom>
                <a:avLst/>
                <a:gdLst>
                  <a:gd name="T0" fmla="*/ 35 w 35"/>
                  <a:gd name="T1" fmla="*/ 0 h 15"/>
                  <a:gd name="T2" fmla="*/ 10 w 35"/>
                  <a:gd name="T3" fmla="*/ 15 h 15"/>
                  <a:gd name="T4" fmla="*/ 0 w 35"/>
                  <a:gd name="T5" fmla="*/ 15 h 15"/>
                  <a:gd name="T6" fmla="*/ 35 w 35"/>
                  <a:gd name="T7" fmla="*/ 0 h 1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5"/>
                  <a:gd name="T13" fmla="*/ 0 h 15"/>
                  <a:gd name="T14" fmla="*/ 35 w 35"/>
                  <a:gd name="T15" fmla="*/ 15 h 1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5" h="15">
                    <a:moveTo>
                      <a:pt x="35" y="0"/>
                    </a:moveTo>
                    <a:lnTo>
                      <a:pt x="10" y="15"/>
                    </a:lnTo>
                    <a:lnTo>
                      <a:pt x="0" y="15"/>
                    </a:lnTo>
                    <a:lnTo>
                      <a:pt x="35" y="0"/>
                    </a:lnTo>
                    <a:close/>
                  </a:path>
                </a:pathLst>
              </a:custGeom>
              <a:solidFill>
                <a:srgbClr val="615E5D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78" name="Freeform 1048"/>
              <p:cNvSpPr>
                <a:spLocks/>
              </p:cNvSpPr>
              <p:nvPr/>
            </p:nvSpPr>
            <p:spPr bwMode="auto">
              <a:xfrm>
                <a:off x="1766" y="2274"/>
                <a:ext cx="35" cy="20"/>
              </a:xfrm>
              <a:custGeom>
                <a:avLst/>
                <a:gdLst>
                  <a:gd name="T0" fmla="*/ 35 w 35"/>
                  <a:gd name="T1" fmla="*/ 10 h 20"/>
                  <a:gd name="T2" fmla="*/ 5 w 35"/>
                  <a:gd name="T3" fmla="*/ 20 h 20"/>
                  <a:gd name="T4" fmla="*/ 5 w 35"/>
                  <a:gd name="T5" fmla="*/ 15 h 20"/>
                  <a:gd name="T6" fmla="*/ 0 w 35"/>
                  <a:gd name="T7" fmla="*/ 10 h 20"/>
                  <a:gd name="T8" fmla="*/ 0 w 35"/>
                  <a:gd name="T9" fmla="*/ 5 h 20"/>
                  <a:gd name="T10" fmla="*/ 5 w 35"/>
                  <a:gd name="T11" fmla="*/ 5 h 20"/>
                  <a:gd name="T12" fmla="*/ 5 w 35"/>
                  <a:gd name="T13" fmla="*/ 0 h 20"/>
                  <a:gd name="T14" fmla="*/ 10 w 35"/>
                  <a:gd name="T15" fmla="*/ 0 h 20"/>
                  <a:gd name="T16" fmla="*/ 35 w 35"/>
                  <a:gd name="T17" fmla="*/ 5 h 20"/>
                  <a:gd name="T18" fmla="*/ 35 w 35"/>
                  <a:gd name="T19" fmla="*/ 10 h 2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5"/>
                  <a:gd name="T31" fmla="*/ 0 h 20"/>
                  <a:gd name="T32" fmla="*/ 35 w 35"/>
                  <a:gd name="T33" fmla="*/ 20 h 2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5" h="20">
                    <a:moveTo>
                      <a:pt x="35" y="10"/>
                    </a:moveTo>
                    <a:lnTo>
                      <a:pt x="5" y="20"/>
                    </a:lnTo>
                    <a:lnTo>
                      <a:pt x="5" y="15"/>
                    </a:lnTo>
                    <a:lnTo>
                      <a:pt x="0" y="10"/>
                    </a:lnTo>
                    <a:lnTo>
                      <a:pt x="0" y="5"/>
                    </a:lnTo>
                    <a:lnTo>
                      <a:pt x="5" y="5"/>
                    </a:lnTo>
                    <a:lnTo>
                      <a:pt x="5" y="0"/>
                    </a:lnTo>
                    <a:lnTo>
                      <a:pt x="10" y="0"/>
                    </a:lnTo>
                    <a:lnTo>
                      <a:pt x="35" y="5"/>
                    </a:lnTo>
                    <a:lnTo>
                      <a:pt x="35" y="10"/>
                    </a:lnTo>
                    <a:close/>
                  </a:path>
                </a:pathLst>
              </a:custGeom>
              <a:solidFill>
                <a:srgbClr val="A9A8A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79" name="Freeform 1049"/>
              <p:cNvSpPr>
                <a:spLocks/>
              </p:cNvSpPr>
              <p:nvPr/>
            </p:nvSpPr>
            <p:spPr bwMode="auto">
              <a:xfrm>
                <a:off x="1766" y="2274"/>
                <a:ext cx="20" cy="10"/>
              </a:xfrm>
              <a:custGeom>
                <a:avLst/>
                <a:gdLst>
                  <a:gd name="T0" fmla="*/ 20 w 20"/>
                  <a:gd name="T1" fmla="*/ 0 h 10"/>
                  <a:gd name="T2" fmla="*/ 0 w 20"/>
                  <a:gd name="T3" fmla="*/ 10 h 10"/>
                  <a:gd name="T4" fmla="*/ 0 w 20"/>
                  <a:gd name="T5" fmla="*/ 5 h 10"/>
                  <a:gd name="T6" fmla="*/ 5 w 20"/>
                  <a:gd name="T7" fmla="*/ 0 h 10"/>
                  <a:gd name="T8" fmla="*/ 10 w 20"/>
                  <a:gd name="T9" fmla="*/ 0 h 10"/>
                  <a:gd name="T10" fmla="*/ 20 w 20"/>
                  <a:gd name="T11" fmla="*/ 0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"/>
                  <a:gd name="T19" fmla="*/ 0 h 10"/>
                  <a:gd name="T20" fmla="*/ 20 w 20"/>
                  <a:gd name="T21" fmla="*/ 10 h 1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" h="10">
                    <a:moveTo>
                      <a:pt x="20" y="0"/>
                    </a:moveTo>
                    <a:lnTo>
                      <a:pt x="0" y="10"/>
                    </a:lnTo>
                    <a:lnTo>
                      <a:pt x="0" y="5"/>
                    </a:lnTo>
                    <a:lnTo>
                      <a:pt x="5" y="0"/>
                    </a:lnTo>
                    <a:lnTo>
                      <a:pt x="10" y="0"/>
                    </a:lnTo>
                    <a:lnTo>
                      <a:pt x="20" y="0"/>
                    </a:lnTo>
                    <a:close/>
                  </a:path>
                </a:pathLst>
              </a:custGeom>
              <a:solidFill>
                <a:srgbClr val="95949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80" name="Freeform 1050"/>
              <p:cNvSpPr>
                <a:spLocks/>
              </p:cNvSpPr>
              <p:nvPr/>
            </p:nvSpPr>
            <p:spPr bwMode="auto">
              <a:xfrm>
                <a:off x="1771" y="2304"/>
                <a:ext cx="30" cy="20"/>
              </a:xfrm>
              <a:custGeom>
                <a:avLst/>
                <a:gdLst>
                  <a:gd name="T0" fmla="*/ 0 w 30"/>
                  <a:gd name="T1" fmla="*/ 0 h 20"/>
                  <a:gd name="T2" fmla="*/ 30 w 30"/>
                  <a:gd name="T3" fmla="*/ 10 h 20"/>
                  <a:gd name="T4" fmla="*/ 25 w 30"/>
                  <a:gd name="T5" fmla="*/ 10 h 20"/>
                  <a:gd name="T6" fmla="*/ 0 w 30"/>
                  <a:gd name="T7" fmla="*/ 20 h 20"/>
                  <a:gd name="T8" fmla="*/ 0 w 30"/>
                  <a:gd name="T9" fmla="*/ 0 h 2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0"/>
                  <a:gd name="T16" fmla="*/ 0 h 20"/>
                  <a:gd name="T17" fmla="*/ 30 w 30"/>
                  <a:gd name="T18" fmla="*/ 20 h 2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0" h="20">
                    <a:moveTo>
                      <a:pt x="0" y="0"/>
                    </a:moveTo>
                    <a:lnTo>
                      <a:pt x="30" y="10"/>
                    </a:lnTo>
                    <a:lnTo>
                      <a:pt x="25" y="10"/>
                    </a:lnTo>
                    <a:lnTo>
                      <a:pt x="0" y="2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9A8A7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81" name="Freeform 1051"/>
              <p:cNvSpPr>
                <a:spLocks/>
              </p:cNvSpPr>
              <p:nvPr/>
            </p:nvSpPr>
            <p:spPr bwMode="auto">
              <a:xfrm>
                <a:off x="1771" y="2304"/>
                <a:ext cx="10" cy="10"/>
              </a:xfrm>
              <a:custGeom>
                <a:avLst/>
                <a:gdLst>
                  <a:gd name="T0" fmla="*/ 10 w 10"/>
                  <a:gd name="T1" fmla="*/ 5 h 10"/>
                  <a:gd name="T2" fmla="*/ 0 w 10"/>
                  <a:gd name="T3" fmla="*/ 10 h 10"/>
                  <a:gd name="T4" fmla="*/ 0 w 10"/>
                  <a:gd name="T5" fmla="*/ 0 h 10"/>
                  <a:gd name="T6" fmla="*/ 10 w 10"/>
                  <a:gd name="T7" fmla="*/ 5 h 1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"/>
                  <a:gd name="T13" fmla="*/ 0 h 10"/>
                  <a:gd name="T14" fmla="*/ 10 w 10"/>
                  <a:gd name="T15" fmla="*/ 10 h 1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" h="10">
                    <a:moveTo>
                      <a:pt x="10" y="5"/>
                    </a:moveTo>
                    <a:lnTo>
                      <a:pt x="0" y="10"/>
                    </a:lnTo>
                    <a:lnTo>
                      <a:pt x="0" y="0"/>
                    </a:lnTo>
                    <a:lnTo>
                      <a:pt x="10" y="5"/>
                    </a:lnTo>
                    <a:close/>
                  </a:path>
                </a:pathLst>
              </a:custGeom>
              <a:solidFill>
                <a:srgbClr val="95949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82" name="Freeform 1052"/>
              <p:cNvSpPr>
                <a:spLocks/>
              </p:cNvSpPr>
              <p:nvPr/>
            </p:nvSpPr>
            <p:spPr bwMode="auto">
              <a:xfrm>
                <a:off x="2165" y="2086"/>
                <a:ext cx="144" cy="69"/>
              </a:xfrm>
              <a:custGeom>
                <a:avLst/>
                <a:gdLst>
                  <a:gd name="T0" fmla="*/ 0 w 144"/>
                  <a:gd name="T1" fmla="*/ 39 h 69"/>
                  <a:gd name="T2" fmla="*/ 0 w 144"/>
                  <a:gd name="T3" fmla="*/ 59 h 69"/>
                  <a:gd name="T4" fmla="*/ 49 w 144"/>
                  <a:gd name="T5" fmla="*/ 69 h 69"/>
                  <a:gd name="T6" fmla="*/ 54 w 144"/>
                  <a:gd name="T7" fmla="*/ 69 h 69"/>
                  <a:gd name="T8" fmla="*/ 99 w 144"/>
                  <a:gd name="T9" fmla="*/ 39 h 69"/>
                  <a:gd name="T10" fmla="*/ 104 w 144"/>
                  <a:gd name="T11" fmla="*/ 39 h 69"/>
                  <a:gd name="T12" fmla="*/ 144 w 144"/>
                  <a:gd name="T13" fmla="*/ 25 h 69"/>
                  <a:gd name="T14" fmla="*/ 134 w 144"/>
                  <a:gd name="T15" fmla="*/ 5 h 69"/>
                  <a:gd name="T16" fmla="*/ 124 w 144"/>
                  <a:gd name="T17" fmla="*/ 0 h 69"/>
                  <a:gd name="T18" fmla="*/ 0 w 144"/>
                  <a:gd name="T19" fmla="*/ 39 h 6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44"/>
                  <a:gd name="T31" fmla="*/ 0 h 69"/>
                  <a:gd name="T32" fmla="*/ 144 w 144"/>
                  <a:gd name="T33" fmla="*/ 69 h 69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44" h="69">
                    <a:moveTo>
                      <a:pt x="0" y="39"/>
                    </a:moveTo>
                    <a:lnTo>
                      <a:pt x="0" y="59"/>
                    </a:lnTo>
                    <a:lnTo>
                      <a:pt x="49" y="69"/>
                    </a:lnTo>
                    <a:lnTo>
                      <a:pt x="54" y="69"/>
                    </a:lnTo>
                    <a:lnTo>
                      <a:pt x="99" y="39"/>
                    </a:lnTo>
                    <a:lnTo>
                      <a:pt x="104" y="39"/>
                    </a:lnTo>
                    <a:lnTo>
                      <a:pt x="144" y="25"/>
                    </a:lnTo>
                    <a:lnTo>
                      <a:pt x="134" y="5"/>
                    </a:lnTo>
                    <a:lnTo>
                      <a:pt x="124" y="0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72706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83" name="Freeform 1053"/>
              <p:cNvSpPr>
                <a:spLocks/>
              </p:cNvSpPr>
              <p:nvPr/>
            </p:nvSpPr>
            <p:spPr bwMode="auto">
              <a:xfrm>
                <a:off x="2165" y="2101"/>
                <a:ext cx="79" cy="54"/>
              </a:xfrm>
              <a:custGeom>
                <a:avLst/>
                <a:gdLst>
                  <a:gd name="T0" fmla="*/ 74 w 79"/>
                  <a:gd name="T1" fmla="*/ 0 h 54"/>
                  <a:gd name="T2" fmla="*/ 0 w 79"/>
                  <a:gd name="T3" fmla="*/ 24 h 54"/>
                  <a:gd name="T4" fmla="*/ 0 w 79"/>
                  <a:gd name="T5" fmla="*/ 44 h 54"/>
                  <a:gd name="T6" fmla="*/ 49 w 79"/>
                  <a:gd name="T7" fmla="*/ 54 h 54"/>
                  <a:gd name="T8" fmla="*/ 49 w 79"/>
                  <a:gd name="T9" fmla="*/ 29 h 54"/>
                  <a:gd name="T10" fmla="*/ 59 w 79"/>
                  <a:gd name="T11" fmla="*/ 15 h 54"/>
                  <a:gd name="T12" fmla="*/ 64 w 79"/>
                  <a:gd name="T13" fmla="*/ 0 h 54"/>
                  <a:gd name="T14" fmla="*/ 79 w 79"/>
                  <a:gd name="T15" fmla="*/ 0 h 54"/>
                  <a:gd name="T16" fmla="*/ 74 w 79"/>
                  <a:gd name="T17" fmla="*/ 0 h 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9"/>
                  <a:gd name="T28" fmla="*/ 0 h 54"/>
                  <a:gd name="T29" fmla="*/ 79 w 79"/>
                  <a:gd name="T30" fmla="*/ 54 h 5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9" h="54">
                    <a:moveTo>
                      <a:pt x="74" y="0"/>
                    </a:moveTo>
                    <a:lnTo>
                      <a:pt x="0" y="24"/>
                    </a:lnTo>
                    <a:lnTo>
                      <a:pt x="0" y="44"/>
                    </a:lnTo>
                    <a:lnTo>
                      <a:pt x="49" y="54"/>
                    </a:lnTo>
                    <a:lnTo>
                      <a:pt x="49" y="29"/>
                    </a:lnTo>
                    <a:lnTo>
                      <a:pt x="59" y="15"/>
                    </a:lnTo>
                    <a:lnTo>
                      <a:pt x="64" y="0"/>
                    </a:lnTo>
                    <a:lnTo>
                      <a:pt x="79" y="0"/>
                    </a:lnTo>
                    <a:lnTo>
                      <a:pt x="74" y="0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84" name="Freeform 1054"/>
              <p:cNvSpPr>
                <a:spLocks/>
              </p:cNvSpPr>
              <p:nvPr/>
            </p:nvSpPr>
            <p:spPr bwMode="auto">
              <a:xfrm>
                <a:off x="2239" y="2081"/>
                <a:ext cx="55" cy="39"/>
              </a:xfrm>
              <a:custGeom>
                <a:avLst/>
                <a:gdLst>
                  <a:gd name="T0" fmla="*/ 0 w 55"/>
                  <a:gd name="T1" fmla="*/ 20 h 39"/>
                  <a:gd name="T2" fmla="*/ 45 w 55"/>
                  <a:gd name="T3" fmla="*/ 0 h 39"/>
                  <a:gd name="T4" fmla="*/ 55 w 55"/>
                  <a:gd name="T5" fmla="*/ 5 h 39"/>
                  <a:gd name="T6" fmla="*/ 50 w 55"/>
                  <a:gd name="T7" fmla="*/ 5 h 39"/>
                  <a:gd name="T8" fmla="*/ 50 w 55"/>
                  <a:gd name="T9" fmla="*/ 5 h 39"/>
                  <a:gd name="T10" fmla="*/ 45 w 55"/>
                  <a:gd name="T11" fmla="*/ 5 h 39"/>
                  <a:gd name="T12" fmla="*/ 30 w 55"/>
                  <a:gd name="T13" fmla="*/ 15 h 39"/>
                  <a:gd name="T14" fmla="*/ 25 w 55"/>
                  <a:gd name="T15" fmla="*/ 20 h 39"/>
                  <a:gd name="T16" fmla="*/ 25 w 55"/>
                  <a:gd name="T17" fmla="*/ 39 h 39"/>
                  <a:gd name="T18" fmla="*/ 10 w 55"/>
                  <a:gd name="T19" fmla="*/ 20 h 39"/>
                  <a:gd name="T20" fmla="*/ 0 w 55"/>
                  <a:gd name="T21" fmla="*/ 20 h 3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5"/>
                  <a:gd name="T34" fmla="*/ 0 h 39"/>
                  <a:gd name="T35" fmla="*/ 55 w 55"/>
                  <a:gd name="T36" fmla="*/ 39 h 3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5" h="39">
                    <a:moveTo>
                      <a:pt x="0" y="20"/>
                    </a:moveTo>
                    <a:lnTo>
                      <a:pt x="45" y="0"/>
                    </a:lnTo>
                    <a:lnTo>
                      <a:pt x="55" y="5"/>
                    </a:lnTo>
                    <a:lnTo>
                      <a:pt x="50" y="5"/>
                    </a:lnTo>
                    <a:lnTo>
                      <a:pt x="45" y="5"/>
                    </a:lnTo>
                    <a:lnTo>
                      <a:pt x="30" y="15"/>
                    </a:lnTo>
                    <a:lnTo>
                      <a:pt x="25" y="20"/>
                    </a:lnTo>
                    <a:lnTo>
                      <a:pt x="25" y="39"/>
                    </a:lnTo>
                    <a:lnTo>
                      <a:pt x="10" y="20"/>
                    </a:lnTo>
                    <a:lnTo>
                      <a:pt x="0" y="20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85" name="Freeform 1055"/>
              <p:cNvSpPr>
                <a:spLocks/>
              </p:cNvSpPr>
              <p:nvPr/>
            </p:nvSpPr>
            <p:spPr bwMode="auto">
              <a:xfrm>
                <a:off x="2180" y="2091"/>
                <a:ext cx="124" cy="109"/>
              </a:xfrm>
              <a:custGeom>
                <a:avLst/>
                <a:gdLst>
                  <a:gd name="T0" fmla="*/ 0 w 124"/>
                  <a:gd name="T1" fmla="*/ 59 h 109"/>
                  <a:gd name="T2" fmla="*/ 34 w 124"/>
                  <a:gd name="T3" fmla="*/ 64 h 109"/>
                  <a:gd name="T4" fmla="*/ 39 w 124"/>
                  <a:gd name="T5" fmla="*/ 64 h 109"/>
                  <a:gd name="T6" fmla="*/ 44 w 124"/>
                  <a:gd name="T7" fmla="*/ 34 h 109"/>
                  <a:gd name="T8" fmla="*/ 54 w 124"/>
                  <a:gd name="T9" fmla="*/ 20 h 109"/>
                  <a:gd name="T10" fmla="*/ 69 w 124"/>
                  <a:gd name="T11" fmla="*/ 15 h 109"/>
                  <a:gd name="T12" fmla="*/ 74 w 124"/>
                  <a:gd name="T13" fmla="*/ 20 h 109"/>
                  <a:gd name="T14" fmla="*/ 84 w 124"/>
                  <a:gd name="T15" fmla="*/ 34 h 109"/>
                  <a:gd name="T16" fmla="*/ 89 w 124"/>
                  <a:gd name="T17" fmla="*/ 34 h 109"/>
                  <a:gd name="T18" fmla="*/ 94 w 124"/>
                  <a:gd name="T19" fmla="*/ 10 h 109"/>
                  <a:gd name="T20" fmla="*/ 104 w 124"/>
                  <a:gd name="T21" fmla="*/ 0 h 109"/>
                  <a:gd name="T22" fmla="*/ 114 w 124"/>
                  <a:gd name="T23" fmla="*/ 5 h 109"/>
                  <a:gd name="T24" fmla="*/ 124 w 124"/>
                  <a:gd name="T25" fmla="*/ 25 h 109"/>
                  <a:gd name="T26" fmla="*/ 119 w 124"/>
                  <a:gd name="T27" fmla="*/ 39 h 109"/>
                  <a:gd name="T28" fmla="*/ 119 w 124"/>
                  <a:gd name="T29" fmla="*/ 59 h 109"/>
                  <a:gd name="T30" fmla="*/ 109 w 124"/>
                  <a:gd name="T31" fmla="*/ 74 h 109"/>
                  <a:gd name="T32" fmla="*/ 99 w 124"/>
                  <a:gd name="T33" fmla="*/ 84 h 109"/>
                  <a:gd name="T34" fmla="*/ 89 w 124"/>
                  <a:gd name="T35" fmla="*/ 84 h 109"/>
                  <a:gd name="T36" fmla="*/ 79 w 124"/>
                  <a:gd name="T37" fmla="*/ 84 h 109"/>
                  <a:gd name="T38" fmla="*/ 79 w 124"/>
                  <a:gd name="T39" fmla="*/ 79 h 109"/>
                  <a:gd name="T40" fmla="*/ 64 w 124"/>
                  <a:gd name="T41" fmla="*/ 94 h 109"/>
                  <a:gd name="T42" fmla="*/ 54 w 124"/>
                  <a:gd name="T43" fmla="*/ 109 h 109"/>
                  <a:gd name="T44" fmla="*/ 39 w 124"/>
                  <a:gd name="T45" fmla="*/ 104 h 109"/>
                  <a:gd name="T46" fmla="*/ 34 w 124"/>
                  <a:gd name="T47" fmla="*/ 104 h 109"/>
                  <a:gd name="T48" fmla="*/ 10 w 124"/>
                  <a:gd name="T49" fmla="*/ 99 h 109"/>
                  <a:gd name="T50" fmla="*/ 0 w 124"/>
                  <a:gd name="T51" fmla="*/ 79 h 109"/>
                  <a:gd name="T52" fmla="*/ 0 w 124"/>
                  <a:gd name="T53" fmla="*/ 59 h 109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24"/>
                  <a:gd name="T82" fmla="*/ 0 h 109"/>
                  <a:gd name="T83" fmla="*/ 124 w 124"/>
                  <a:gd name="T84" fmla="*/ 109 h 109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24" h="109">
                    <a:moveTo>
                      <a:pt x="0" y="59"/>
                    </a:moveTo>
                    <a:lnTo>
                      <a:pt x="34" y="64"/>
                    </a:lnTo>
                    <a:lnTo>
                      <a:pt x="39" y="64"/>
                    </a:lnTo>
                    <a:lnTo>
                      <a:pt x="44" y="34"/>
                    </a:lnTo>
                    <a:lnTo>
                      <a:pt x="54" y="20"/>
                    </a:lnTo>
                    <a:lnTo>
                      <a:pt x="69" y="15"/>
                    </a:lnTo>
                    <a:lnTo>
                      <a:pt x="74" y="20"/>
                    </a:lnTo>
                    <a:lnTo>
                      <a:pt x="84" y="34"/>
                    </a:lnTo>
                    <a:lnTo>
                      <a:pt x="89" y="34"/>
                    </a:lnTo>
                    <a:lnTo>
                      <a:pt x="94" y="10"/>
                    </a:lnTo>
                    <a:lnTo>
                      <a:pt x="104" y="0"/>
                    </a:lnTo>
                    <a:lnTo>
                      <a:pt x="114" y="5"/>
                    </a:lnTo>
                    <a:lnTo>
                      <a:pt x="124" y="25"/>
                    </a:lnTo>
                    <a:lnTo>
                      <a:pt x="119" y="39"/>
                    </a:lnTo>
                    <a:lnTo>
                      <a:pt x="119" y="59"/>
                    </a:lnTo>
                    <a:lnTo>
                      <a:pt x="109" y="74"/>
                    </a:lnTo>
                    <a:lnTo>
                      <a:pt x="99" y="84"/>
                    </a:lnTo>
                    <a:lnTo>
                      <a:pt x="89" y="84"/>
                    </a:lnTo>
                    <a:lnTo>
                      <a:pt x="79" y="84"/>
                    </a:lnTo>
                    <a:lnTo>
                      <a:pt x="79" y="79"/>
                    </a:lnTo>
                    <a:lnTo>
                      <a:pt x="64" y="94"/>
                    </a:lnTo>
                    <a:lnTo>
                      <a:pt x="54" y="109"/>
                    </a:lnTo>
                    <a:lnTo>
                      <a:pt x="39" y="104"/>
                    </a:lnTo>
                    <a:lnTo>
                      <a:pt x="34" y="104"/>
                    </a:lnTo>
                    <a:lnTo>
                      <a:pt x="10" y="99"/>
                    </a:lnTo>
                    <a:lnTo>
                      <a:pt x="0" y="79"/>
                    </a:lnTo>
                    <a:lnTo>
                      <a:pt x="0" y="59"/>
                    </a:lnTo>
                    <a:close/>
                  </a:path>
                </a:pathLst>
              </a:custGeom>
              <a:solidFill>
                <a:srgbClr val="83818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86" name="Freeform 1056"/>
              <p:cNvSpPr>
                <a:spLocks/>
              </p:cNvSpPr>
              <p:nvPr/>
            </p:nvSpPr>
            <p:spPr bwMode="auto">
              <a:xfrm>
                <a:off x="2229" y="2130"/>
                <a:ext cx="25" cy="50"/>
              </a:xfrm>
              <a:custGeom>
                <a:avLst/>
                <a:gdLst>
                  <a:gd name="T0" fmla="*/ 10 w 25"/>
                  <a:gd name="T1" fmla="*/ 50 h 50"/>
                  <a:gd name="T2" fmla="*/ 15 w 25"/>
                  <a:gd name="T3" fmla="*/ 40 h 50"/>
                  <a:gd name="T4" fmla="*/ 25 w 25"/>
                  <a:gd name="T5" fmla="*/ 25 h 50"/>
                  <a:gd name="T6" fmla="*/ 20 w 25"/>
                  <a:gd name="T7" fmla="*/ 5 h 50"/>
                  <a:gd name="T8" fmla="*/ 20 w 25"/>
                  <a:gd name="T9" fmla="*/ 0 h 50"/>
                  <a:gd name="T10" fmla="*/ 5 w 25"/>
                  <a:gd name="T11" fmla="*/ 5 h 50"/>
                  <a:gd name="T12" fmla="*/ 5 w 25"/>
                  <a:gd name="T13" fmla="*/ 20 h 50"/>
                  <a:gd name="T14" fmla="*/ 0 w 25"/>
                  <a:gd name="T15" fmla="*/ 35 h 50"/>
                  <a:gd name="T16" fmla="*/ 10 w 25"/>
                  <a:gd name="T17" fmla="*/ 50 h 5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5"/>
                  <a:gd name="T28" fmla="*/ 0 h 50"/>
                  <a:gd name="T29" fmla="*/ 25 w 25"/>
                  <a:gd name="T30" fmla="*/ 50 h 5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5" h="50">
                    <a:moveTo>
                      <a:pt x="10" y="50"/>
                    </a:moveTo>
                    <a:lnTo>
                      <a:pt x="15" y="40"/>
                    </a:lnTo>
                    <a:lnTo>
                      <a:pt x="25" y="25"/>
                    </a:lnTo>
                    <a:lnTo>
                      <a:pt x="20" y="5"/>
                    </a:lnTo>
                    <a:lnTo>
                      <a:pt x="20" y="0"/>
                    </a:lnTo>
                    <a:lnTo>
                      <a:pt x="5" y="5"/>
                    </a:lnTo>
                    <a:lnTo>
                      <a:pt x="5" y="20"/>
                    </a:lnTo>
                    <a:lnTo>
                      <a:pt x="0" y="35"/>
                    </a:lnTo>
                    <a:lnTo>
                      <a:pt x="10" y="50"/>
                    </a:lnTo>
                    <a:close/>
                  </a:path>
                </a:pathLst>
              </a:custGeom>
              <a:solidFill>
                <a:srgbClr val="DEDED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87" name="Freeform 1057"/>
              <p:cNvSpPr>
                <a:spLocks/>
              </p:cNvSpPr>
              <p:nvPr/>
            </p:nvSpPr>
            <p:spPr bwMode="auto">
              <a:xfrm>
                <a:off x="2274" y="2111"/>
                <a:ext cx="25" cy="49"/>
              </a:xfrm>
              <a:custGeom>
                <a:avLst/>
                <a:gdLst>
                  <a:gd name="T0" fmla="*/ 10 w 25"/>
                  <a:gd name="T1" fmla="*/ 49 h 49"/>
                  <a:gd name="T2" fmla="*/ 15 w 25"/>
                  <a:gd name="T3" fmla="*/ 39 h 49"/>
                  <a:gd name="T4" fmla="*/ 25 w 25"/>
                  <a:gd name="T5" fmla="*/ 24 h 49"/>
                  <a:gd name="T6" fmla="*/ 20 w 25"/>
                  <a:gd name="T7" fmla="*/ 9 h 49"/>
                  <a:gd name="T8" fmla="*/ 15 w 25"/>
                  <a:gd name="T9" fmla="*/ 0 h 49"/>
                  <a:gd name="T10" fmla="*/ 5 w 25"/>
                  <a:gd name="T11" fmla="*/ 5 h 49"/>
                  <a:gd name="T12" fmla="*/ 5 w 25"/>
                  <a:gd name="T13" fmla="*/ 24 h 49"/>
                  <a:gd name="T14" fmla="*/ 0 w 25"/>
                  <a:gd name="T15" fmla="*/ 34 h 49"/>
                  <a:gd name="T16" fmla="*/ 10 w 25"/>
                  <a:gd name="T17" fmla="*/ 49 h 4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5"/>
                  <a:gd name="T28" fmla="*/ 0 h 49"/>
                  <a:gd name="T29" fmla="*/ 25 w 25"/>
                  <a:gd name="T30" fmla="*/ 49 h 4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5" h="49">
                    <a:moveTo>
                      <a:pt x="10" y="49"/>
                    </a:moveTo>
                    <a:lnTo>
                      <a:pt x="15" y="39"/>
                    </a:lnTo>
                    <a:lnTo>
                      <a:pt x="25" y="24"/>
                    </a:lnTo>
                    <a:lnTo>
                      <a:pt x="20" y="9"/>
                    </a:lnTo>
                    <a:lnTo>
                      <a:pt x="15" y="0"/>
                    </a:lnTo>
                    <a:lnTo>
                      <a:pt x="5" y="5"/>
                    </a:lnTo>
                    <a:lnTo>
                      <a:pt x="5" y="24"/>
                    </a:lnTo>
                    <a:lnTo>
                      <a:pt x="0" y="34"/>
                    </a:lnTo>
                    <a:lnTo>
                      <a:pt x="10" y="49"/>
                    </a:lnTo>
                    <a:close/>
                  </a:path>
                </a:pathLst>
              </a:custGeom>
              <a:solidFill>
                <a:srgbClr val="DEDEDE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88" name="Freeform 1058"/>
              <p:cNvSpPr>
                <a:spLocks/>
              </p:cNvSpPr>
              <p:nvPr/>
            </p:nvSpPr>
            <p:spPr bwMode="auto">
              <a:xfrm>
                <a:off x="2234" y="2140"/>
                <a:ext cx="10" cy="25"/>
              </a:xfrm>
              <a:custGeom>
                <a:avLst/>
                <a:gdLst>
                  <a:gd name="T0" fmla="*/ 5 w 10"/>
                  <a:gd name="T1" fmla="*/ 0 h 25"/>
                  <a:gd name="T2" fmla="*/ 10 w 10"/>
                  <a:gd name="T3" fmla="*/ 0 h 25"/>
                  <a:gd name="T4" fmla="*/ 10 w 10"/>
                  <a:gd name="T5" fmla="*/ 10 h 25"/>
                  <a:gd name="T6" fmla="*/ 5 w 10"/>
                  <a:gd name="T7" fmla="*/ 25 h 25"/>
                  <a:gd name="T8" fmla="*/ 0 w 10"/>
                  <a:gd name="T9" fmla="*/ 25 h 25"/>
                  <a:gd name="T10" fmla="*/ 0 w 10"/>
                  <a:gd name="T11" fmla="*/ 10 h 25"/>
                  <a:gd name="T12" fmla="*/ 5 w 10"/>
                  <a:gd name="T13" fmla="*/ 0 h 2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25"/>
                  <a:gd name="T23" fmla="*/ 10 w 10"/>
                  <a:gd name="T24" fmla="*/ 25 h 2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25">
                    <a:moveTo>
                      <a:pt x="5" y="0"/>
                    </a:moveTo>
                    <a:lnTo>
                      <a:pt x="10" y="0"/>
                    </a:lnTo>
                    <a:lnTo>
                      <a:pt x="10" y="10"/>
                    </a:lnTo>
                    <a:lnTo>
                      <a:pt x="5" y="25"/>
                    </a:lnTo>
                    <a:lnTo>
                      <a:pt x="0" y="25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218FA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89" name="Freeform 1059"/>
              <p:cNvSpPr>
                <a:spLocks/>
              </p:cNvSpPr>
              <p:nvPr/>
            </p:nvSpPr>
            <p:spPr bwMode="auto">
              <a:xfrm>
                <a:off x="2279" y="2120"/>
                <a:ext cx="10" cy="25"/>
              </a:xfrm>
              <a:custGeom>
                <a:avLst/>
                <a:gdLst>
                  <a:gd name="T0" fmla="*/ 5 w 10"/>
                  <a:gd name="T1" fmla="*/ 0 h 25"/>
                  <a:gd name="T2" fmla="*/ 10 w 10"/>
                  <a:gd name="T3" fmla="*/ 5 h 25"/>
                  <a:gd name="T4" fmla="*/ 10 w 10"/>
                  <a:gd name="T5" fmla="*/ 15 h 25"/>
                  <a:gd name="T6" fmla="*/ 5 w 10"/>
                  <a:gd name="T7" fmla="*/ 25 h 25"/>
                  <a:gd name="T8" fmla="*/ 0 w 10"/>
                  <a:gd name="T9" fmla="*/ 25 h 25"/>
                  <a:gd name="T10" fmla="*/ 0 w 10"/>
                  <a:gd name="T11" fmla="*/ 10 h 25"/>
                  <a:gd name="T12" fmla="*/ 5 w 10"/>
                  <a:gd name="T13" fmla="*/ 0 h 2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25"/>
                  <a:gd name="T23" fmla="*/ 10 w 10"/>
                  <a:gd name="T24" fmla="*/ 25 h 2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25">
                    <a:moveTo>
                      <a:pt x="5" y="0"/>
                    </a:moveTo>
                    <a:lnTo>
                      <a:pt x="10" y="5"/>
                    </a:lnTo>
                    <a:lnTo>
                      <a:pt x="10" y="15"/>
                    </a:lnTo>
                    <a:lnTo>
                      <a:pt x="5" y="25"/>
                    </a:lnTo>
                    <a:lnTo>
                      <a:pt x="0" y="25"/>
                    </a:lnTo>
                    <a:lnTo>
                      <a:pt x="0" y="1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218FA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90" name="Freeform 1060"/>
              <p:cNvSpPr>
                <a:spLocks/>
              </p:cNvSpPr>
              <p:nvPr/>
            </p:nvSpPr>
            <p:spPr bwMode="auto">
              <a:xfrm>
                <a:off x="2284" y="2111"/>
                <a:ext cx="10" cy="14"/>
              </a:xfrm>
              <a:custGeom>
                <a:avLst/>
                <a:gdLst>
                  <a:gd name="T0" fmla="*/ 10 w 10"/>
                  <a:gd name="T1" fmla="*/ 9 h 14"/>
                  <a:gd name="T2" fmla="*/ 5 w 10"/>
                  <a:gd name="T3" fmla="*/ 14 h 14"/>
                  <a:gd name="T4" fmla="*/ 0 w 10"/>
                  <a:gd name="T5" fmla="*/ 9 h 14"/>
                  <a:gd name="T6" fmla="*/ 0 w 10"/>
                  <a:gd name="T7" fmla="*/ 9 h 14"/>
                  <a:gd name="T8" fmla="*/ 0 w 10"/>
                  <a:gd name="T9" fmla="*/ 9 h 14"/>
                  <a:gd name="T10" fmla="*/ 5 w 10"/>
                  <a:gd name="T11" fmla="*/ 0 h 14"/>
                  <a:gd name="T12" fmla="*/ 10 w 10"/>
                  <a:gd name="T13" fmla="*/ 9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14"/>
                  <a:gd name="T23" fmla="*/ 10 w 10"/>
                  <a:gd name="T24" fmla="*/ 14 h 1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14">
                    <a:moveTo>
                      <a:pt x="10" y="9"/>
                    </a:moveTo>
                    <a:lnTo>
                      <a:pt x="5" y="14"/>
                    </a:lnTo>
                    <a:lnTo>
                      <a:pt x="0" y="9"/>
                    </a:lnTo>
                    <a:lnTo>
                      <a:pt x="5" y="0"/>
                    </a:lnTo>
                    <a:lnTo>
                      <a:pt x="10" y="9"/>
                    </a:lnTo>
                    <a:close/>
                  </a:path>
                </a:pathLst>
              </a:custGeom>
              <a:solidFill>
                <a:srgbClr val="C2C1C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91" name="Freeform 1061"/>
              <p:cNvSpPr>
                <a:spLocks/>
              </p:cNvSpPr>
              <p:nvPr/>
            </p:nvSpPr>
            <p:spPr bwMode="auto">
              <a:xfrm>
                <a:off x="2239" y="2125"/>
                <a:ext cx="15" cy="20"/>
              </a:xfrm>
              <a:custGeom>
                <a:avLst/>
                <a:gdLst>
                  <a:gd name="T0" fmla="*/ 15 w 15"/>
                  <a:gd name="T1" fmla="*/ 15 h 20"/>
                  <a:gd name="T2" fmla="*/ 5 w 15"/>
                  <a:gd name="T3" fmla="*/ 20 h 20"/>
                  <a:gd name="T4" fmla="*/ 5 w 15"/>
                  <a:gd name="T5" fmla="*/ 15 h 20"/>
                  <a:gd name="T6" fmla="*/ 5 w 15"/>
                  <a:gd name="T7" fmla="*/ 15 h 20"/>
                  <a:gd name="T8" fmla="*/ 0 w 15"/>
                  <a:gd name="T9" fmla="*/ 15 h 20"/>
                  <a:gd name="T10" fmla="*/ 0 w 15"/>
                  <a:gd name="T11" fmla="*/ 5 h 20"/>
                  <a:gd name="T12" fmla="*/ 5 w 15"/>
                  <a:gd name="T13" fmla="*/ 0 h 20"/>
                  <a:gd name="T14" fmla="*/ 10 w 15"/>
                  <a:gd name="T15" fmla="*/ 5 h 20"/>
                  <a:gd name="T16" fmla="*/ 15 w 15"/>
                  <a:gd name="T17" fmla="*/ 15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5"/>
                  <a:gd name="T28" fmla="*/ 0 h 20"/>
                  <a:gd name="T29" fmla="*/ 15 w 15"/>
                  <a:gd name="T30" fmla="*/ 20 h 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5" h="20">
                    <a:moveTo>
                      <a:pt x="15" y="15"/>
                    </a:moveTo>
                    <a:lnTo>
                      <a:pt x="5" y="20"/>
                    </a:lnTo>
                    <a:lnTo>
                      <a:pt x="5" y="15"/>
                    </a:lnTo>
                    <a:lnTo>
                      <a:pt x="0" y="15"/>
                    </a:lnTo>
                    <a:lnTo>
                      <a:pt x="0" y="5"/>
                    </a:lnTo>
                    <a:lnTo>
                      <a:pt x="5" y="0"/>
                    </a:lnTo>
                    <a:lnTo>
                      <a:pt x="10" y="5"/>
                    </a:lnTo>
                    <a:lnTo>
                      <a:pt x="15" y="15"/>
                    </a:lnTo>
                    <a:close/>
                  </a:path>
                </a:pathLst>
              </a:custGeom>
              <a:solidFill>
                <a:srgbClr val="C2C1C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92" name="Freeform 1062"/>
              <p:cNvSpPr>
                <a:spLocks/>
              </p:cNvSpPr>
              <p:nvPr/>
            </p:nvSpPr>
            <p:spPr bwMode="auto">
              <a:xfrm>
                <a:off x="1796" y="2264"/>
                <a:ext cx="70" cy="114"/>
              </a:xfrm>
              <a:custGeom>
                <a:avLst/>
                <a:gdLst>
                  <a:gd name="T0" fmla="*/ 50 w 70"/>
                  <a:gd name="T1" fmla="*/ 0 h 114"/>
                  <a:gd name="T2" fmla="*/ 60 w 70"/>
                  <a:gd name="T3" fmla="*/ 5 h 114"/>
                  <a:gd name="T4" fmla="*/ 65 w 70"/>
                  <a:gd name="T5" fmla="*/ 20 h 114"/>
                  <a:gd name="T6" fmla="*/ 70 w 70"/>
                  <a:gd name="T7" fmla="*/ 40 h 114"/>
                  <a:gd name="T8" fmla="*/ 70 w 70"/>
                  <a:gd name="T9" fmla="*/ 64 h 114"/>
                  <a:gd name="T10" fmla="*/ 60 w 70"/>
                  <a:gd name="T11" fmla="*/ 84 h 114"/>
                  <a:gd name="T12" fmla="*/ 55 w 70"/>
                  <a:gd name="T13" fmla="*/ 99 h 114"/>
                  <a:gd name="T14" fmla="*/ 40 w 70"/>
                  <a:gd name="T15" fmla="*/ 109 h 114"/>
                  <a:gd name="T16" fmla="*/ 30 w 70"/>
                  <a:gd name="T17" fmla="*/ 114 h 114"/>
                  <a:gd name="T18" fmla="*/ 10 w 70"/>
                  <a:gd name="T19" fmla="*/ 109 h 114"/>
                  <a:gd name="T20" fmla="*/ 0 w 70"/>
                  <a:gd name="T21" fmla="*/ 99 h 114"/>
                  <a:gd name="T22" fmla="*/ 10 w 70"/>
                  <a:gd name="T23" fmla="*/ 94 h 114"/>
                  <a:gd name="T24" fmla="*/ 10 w 70"/>
                  <a:gd name="T25" fmla="*/ 50 h 114"/>
                  <a:gd name="T26" fmla="*/ 15 w 70"/>
                  <a:gd name="T27" fmla="*/ 25 h 114"/>
                  <a:gd name="T28" fmla="*/ 30 w 70"/>
                  <a:gd name="T29" fmla="*/ 5 h 114"/>
                  <a:gd name="T30" fmla="*/ 50 w 70"/>
                  <a:gd name="T31" fmla="*/ 0 h 11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70"/>
                  <a:gd name="T49" fmla="*/ 0 h 114"/>
                  <a:gd name="T50" fmla="*/ 70 w 70"/>
                  <a:gd name="T51" fmla="*/ 114 h 114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70" h="114">
                    <a:moveTo>
                      <a:pt x="50" y="0"/>
                    </a:moveTo>
                    <a:lnTo>
                      <a:pt x="60" y="5"/>
                    </a:lnTo>
                    <a:lnTo>
                      <a:pt x="65" y="20"/>
                    </a:lnTo>
                    <a:lnTo>
                      <a:pt x="70" y="40"/>
                    </a:lnTo>
                    <a:lnTo>
                      <a:pt x="70" y="64"/>
                    </a:lnTo>
                    <a:lnTo>
                      <a:pt x="60" y="84"/>
                    </a:lnTo>
                    <a:lnTo>
                      <a:pt x="55" y="99"/>
                    </a:lnTo>
                    <a:lnTo>
                      <a:pt x="40" y="109"/>
                    </a:lnTo>
                    <a:lnTo>
                      <a:pt x="30" y="114"/>
                    </a:lnTo>
                    <a:lnTo>
                      <a:pt x="10" y="109"/>
                    </a:lnTo>
                    <a:lnTo>
                      <a:pt x="0" y="99"/>
                    </a:lnTo>
                    <a:lnTo>
                      <a:pt x="10" y="94"/>
                    </a:lnTo>
                    <a:lnTo>
                      <a:pt x="10" y="50"/>
                    </a:lnTo>
                    <a:lnTo>
                      <a:pt x="15" y="25"/>
                    </a:lnTo>
                    <a:lnTo>
                      <a:pt x="30" y="5"/>
                    </a:lnTo>
                    <a:lnTo>
                      <a:pt x="50" y="0"/>
                    </a:lnTo>
                    <a:close/>
                  </a:path>
                </a:pathLst>
              </a:custGeom>
              <a:solidFill>
                <a:srgbClr val="83818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93" name="Freeform 1063"/>
              <p:cNvSpPr>
                <a:spLocks/>
              </p:cNvSpPr>
              <p:nvPr/>
            </p:nvSpPr>
            <p:spPr bwMode="auto">
              <a:xfrm>
                <a:off x="1821" y="2284"/>
                <a:ext cx="40" cy="69"/>
              </a:xfrm>
              <a:custGeom>
                <a:avLst/>
                <a:gdLst>
                  <a:gd name="T0" fmla="*/ 40 w 40"/>
                  <a:gd name="T1" fmla="*/ 30 h 69"/>
                  <a:gd name="T2" fmla="*/ 35 w 40"/>
                  <a:gd name="T3" fmla="*/ 10 h 69"/>
                  <a:gd name="T4" fmla="*/ 30 w 40"/>
                  <a:gd name="T5" fmla="*/ 5 h 69"/>
                  <a:gd name="T6" fmla="*/ 25 w 40"/>
                  <a:gd name="T7" fmla="*/ 5 h 69"/>
                  <a:gd name="T8" fmla="*/ 15 w 40"/>
                  <a:gd name="T9" fmla="*/ 0 h 69"/>
                  <a:gd name="T10" fmla="*/ 10 w 40"/>
                  <a:gd name="T11" fmla="*/ 10 h 69"/>
                  <a:gd name="T12" fmla="*/ 5 w 40"/>
                  <a:gd name="T13" fmla="*/ 20 h 69"/>
                  <a:gd name="T14" fmla="*/ 5 w 40"/>
                  <a:gd name="T15" fmla="*/ 35 h 69"/>
                  <a:gd name="T16" fmla="*/ 0 w 40"/>
                  <a:gd name="T17" fmla="*/ 54 h 69"/>
                  <a:gd name="T18" fmla="*/ 5 w 40"/>
                  <a:gd name="T19" fmla="*/ 64 h 69"/>
                  <a:gd name="T20" fmla="*/ 15 w 40"/>
                  <a:gd name="T21" fmla="*/ 69 h 69"/>
                  <a:gd name="T22" fmla="*/ 20 w 40"/>
                  <a:gd name="T23" fmla="*/ 69 h 69"/>
                  <a:gd name="T24" fmla="*/ 25 w 40"/>
                  <a:gd name="T25" fmla="*/ 64 h 69"/>
                  <a:gd name="T26" fmla="*/ 40 w 40"/>
                  <a:gd name="T27" fmla="*/ 44 h 69"/>
                  <a:gd name="T28" fmla="*/ 40 w 40"/>
                  <a:gd name="T29" fmla="*/ 30 h 6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40"/>
                  <a:gd name="T46" fmla="*/ 0 h 69"/>
                  <a:gd name="T47" fmla="*/ 40 w 40"/>
                  <a:gd name="T48" fmla="*/ 69 h 6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40" h="69">
                    <a:moveTo>
                      <a:pt x="40" y="30"/>
                    </a:moveTo>
                    <a:lnTo>
                      <a:pt x="35" y="10"/>
                    </a:lnTo>
                    <a:lnTo>
                      <a:pt x="30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10" y="10"/>
                    </a:lnTo>
                    <a:lnTo>
                      <a:pt x="5" y="20"/>
                    </a:lnTo>
                    <a:lnTo>
                      <a:pt x="5" y="35"/>
                    </a:lnTo>
                    <a:lnTo>
                      <a:pt x="0" y="54"/>
                    </a:lnTo>
                    <a:lnTo>
                      <a:pt x="5" y="64"/>
                    </a:lnTo>
                    <a:lnTo>
                      <a:pt x="15" y="69"/>
                    </a:lnTo>
                    <a:lnTo>
                      <a:pt x="20" y="69"/>
                    </a:lnTo>
                    <a:lnTo>
                      <a:pt x="25" y="64"/>
                    </a:lnTo>
                    <a:lnTo>
                      <a:pt x="40" y="44"/>
                    </a:lnTo>
                    <a:lnTo>
                      <a:pt x="40" y="30"/>
                    </a:lnTo>
                    <a:close/>
                  </a:path>
                </a:pathLst>
              </a:custGeom>
              <a:solidFill>
                <a:srgbClr val="DEDED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94" name="Freeform 1064"/>
              <p:cNvSpPr>
                <a:spLocks/>
              </p:cNvSpPr>
              <p:nvPr/>
            </p:nvSpPr>
            <p:spPr bwMode="auto">
              <a:xfrm>
                <a:off x="2284" y="2091"/>
                <a:ext cx="15" cy="5"/>
              </a:xfrm>
              <a:custGeom>
                <a:avLst/>
                <a:gdLst>
                  <a:gd name="T0" fmla="*/ 0 w 15"/>
                  <a:gd name="T1" fmla="*/ 0 h 5"/>
                  <a:gd name="T2" fmla="*/ 5 w 15"/>
                  <a:gd name="T3" fmla="*/ 0 h 5"/>
                  <a:gd name="T4" fmla="*/ 15 w 15"/>
                  <a:gd name="T5" fmla="*/ 5 h 5"/>
                  <a:gd name="T6" fmla="*/ 0 w 15"/>
                  <a:gd name="T7" fmla="*/ 0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5"/>
                  <a:gd name="T13" fmla="*/ 0 h 5"/>
                  <a:gd name="T14" fmla="*/ 15 w 15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5" h="5">
                    <a:moveTo>
                      <a:pt x="0" y="0"/>
                    </a:moveTo>
                    <a:lnTo>
                      <a:pt x="5" y="0"/>
                    </a:lnTo>
                    <a:lnTo>
                      <a:pt x="15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D3937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95" name="Freeform 1065"/>
              <p:cNvSpPr>
                <a:spLocks/>
              </p:cNvSpPr>
              <p:nvPr/>
            </p:nvSpPr>
            <p:spPr bwMode="auto">
              <a:xfrm>
                <a:off x="2249" y="2111"/>
                <a:ext cx="15" cy="14"/>
              </a:xfrm>
              <a:custGeom>
                <a:avLst/>
                <a:gdLst>
                  <a:gd name="T0" fmla="*/ 15 w 15"/>
                  <a:gd name="T1" fmla="*/ 14 h 14"/>
                  <a:gd name="T2" fmla="*/ 10 w 15"/>
                  <a:gd name="T3" fmla="*/ 14 h 14"/>
                  <a:gd name="T4" fmla="*/ 5 w 15"/>
                  <a:gd name="T5" fmla="*/ 5 h 14"/>
                  <a:gd name="T6" fmla="*/ 0 w 15"/>
                  <a:gd name="T7" fmla="*/ 0 h 14"/>
                  <a:gd name="T8" fmla="*/ 15 w 15"/>
                  <a:gd name="T9" fmla="*/ 14 h 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"/>
                  <a:gd name="T16" fmla="*/ 0 h 14"/>
                  <a:gd name="T17" fmla="*/ 15 w 15"/>
                  <a:gd name="T18" fmla="*/ 14 h 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" h="14">
                    <a:moveTo>
                      <a:pt x="15" y="14"/>
                    </a:moveTo>
                    <a:lnTo>
                      <a:pt x="10" y="14"/>
                    </a:lnTo>
                    <a:lnTo>
                      <a:pt x="5" y="5"/>
                    </a:lnTo>
                    <a:lnTo>
                      <a:pt x="0" y="0"/>
                    </a:lnTo>
                    <a:lnTo>
                      <a:pt x="15" y="14"/>
                    </a:lnTo>
                    <a:close/>
                  </a:path>
                </a:pathLst>
              </a:custGeom>
              <a:solidFill>
                <a:srgbClr val="3D3937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96" name="Freeform 1066"/>
              <p:cNvSpPr>
                <a:spLocks/>
              </p:cNvSpPr>
              <p:nvPr/>
            </p:nvSpPr>
            <p:spPr bwMode="auto">
              <a:xfrm>
                <a:off x="1542" y="2036"/>
                <a:ext cx="25" cy="94"/>
              </a:xfrm>
              <a:custGeom>
                <a:avLst/>
                <a:gdLst>
                  <a:gd name="T0" fmla="*/ 25 w 25"/>
                  <a:gd name="T1" fmla="*/ 5 h 94"/>
                  <a:gd name="T2" fmla="*/ 15 w 25"/>
                  <a:gd name="T3" fmla="*/ 0 h 94"/>
                  <a:gd name="T4" fmla="*/ 10 w 25"/>
                  <a:gd name="T5" fmla="*/ 0 h 94"/>
                  <a:gd name="T6" fmla="*/ 10 w 25"/>
                  <a:gd name="T7" fmla="*/ 10 h 94"/>
                  <a:gd name="T8" fmla="*/ 10 w 25"/>
                  <a:gd name="T9" fmla="*/ 35 h 94"/>
                  <a:gd name="T10" fmla="*/ 0 w 25"/>
                  <a:gd name="T11" fmla="*/ 30 h 94"/>
                  <a:gd name="T12" fmla="*/ 0 w 25"/>
                  <a:gd name="T13" fmla="*/ 65 h 94"/>
                  <a:gd name="T14" fmla="*/ 0 w 25"/>
                  <a:gd name="T15" fmla="*/ 70 h 94"/>
                  <a:gd name="T16" fmla="*/ 5 w 25"/>
                  <a:gd name="T17" fmla="*/ 70 h 94"/>
                  <a:gd name="T18" fmla="*/ 5 w 25"/>
                  <a:gd name="T19" fmla="*/ 89 h 94"/>
                  <a:gd name="T20" fmla="*/ 5 w 25"/>
                  <a:gd name="T21" fmla="*/ 89 h 94"/>
                  <a:gd name="T22" fmla="*/ 10 w 25"/>
                  <a:gd name="T23" fmla="*/ 94 h 94"/>
                  <a:gd name="T24" fmla="*/ 15 w 25"/>
                  <a:gd name="T25" fmla="*/ 94 h 94"/>
                  <a:gd name="T26" fmla="*/ 15 w 25"/>
                  <a:gd name="T27" fmla="*/ 94 h 94"/>
                  <a:gd name="T28" fmla="*/ 10 w 25"/>
                  <a:gd name="T29" fmla="*/ 89 h 94"/>
                  <a:gd name="T30" fmla="*/ 10 w 25"/>
                  <a:gd name="T31" fmla="*/ 84 h 94"/>
                  <a:gd name="T32" fmla="*/ 10 w 25"/>
                  <a:gd name="T33" fmla="*/ 84 h 94"/>
                  <a:gd name="T34" fmla="*/ 10 w 25"/>
                  <a:gd name="T35" fmla="*/ 70 h 94"/>
                  <a:gd name="T36" fmla="*/ 20 w 25"/>
                  <a:gd name="T37" fmla="*/ 75 h 94"/>
                  <a:gd name="T38" fmla="*/ 20 w 25"/>
                  <a:gd name="T39" fmla="*/ 40 h 94"/>
                  <a:gd name="T40" fmla="*/ 20 w 25"/>
                  <a:gd name="T41" fmla="*/ 40 h 94"/>
                  <a:gd name="T42" fmla="*/ 10 w 25"/>
                  <a:gd name="T43" fmla="*/ 35 h 94"/>
                  <a:gd name="T44" fmla="*/ 10 w 25"/>
                  <a:gd name="T45" fmla="*/ 10 h 94"/>
                  <a:gd name="T46" fmla="*/ 10 w 25"/>
                  <a:gd name="T47" fmla="*/ 5 h 94"/>
                  <a:gd name="T48" fmla="*/ 15 w 25"/>
                  <a:gd name="T49" fmla="*/ 5 h 94"/>
                  <a:gd name="T50" fmla="*/ 25 w 25"/>
                  <a:gd name="T51" fmla="*/ 5 h 94"/>
                  <a:gd name="T52" fmla="*/ 25 w 25"/>
                  <a:gd name="T53" fmla="*/ 5 h 94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25"/>
                  <a:gd name="T82" fmla="*/ 0 h 94"/>
                  <a:gd name="T83" fmla="*/ 25 w 25"/>
                  <a:gd name="T84" fmla="*/ 94 h 94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25" h="94">
                    <a:moveTo>
                      <a:pt x="25" y="5"/>
                    </a:moveTo>
                    <a:lnTo>
                      <a:pt x="15" y="0"/>
                    </a:lnTo>
                    <a:lnTo>
                      <a:pt x="10" y="0"/>
                    </a:lnTo>
                    <a:lnTo>
                      <a:pt x="10" y="10"/>
                    </a:lnTo>
                    <a:lnTo>
                      <a:pt x="10" y="35"/>
                    </a:lnTo>
                    <a:lnTo>
                      <a:pt x="0" y="30"/>
                    </a:lnTo>
                    <a:lnTo>
                      <a:pt x="0" y="65"/>
                    </a:lnTo>
                    <a:lnTo>
                      <a:pt x="0" y="70"/>
                    </a:lnTo>
                    <a:lnTo>
                      <a:pt x="5" y="70"/>
                    </a:lnTo>
                    <a:lnTo>
                      <a:pt x="5" y="89"/>
                    </a:lnTo>
                    <a:lnTo>
                      <a:pt x="10" y="94"/>
                    </a:lnTo>
                    <a:lnTo>
                      <a:pt x="15" y="94"/>
                    </a:lnTo>
                    <a:lnTo>
                      <a:pt x="10" y="89"/>
                    </a:lnTo>
                    <a:lnTo>
                      <a:pt x="10" y="84"/>
                    </a:lnTo>
                    <a:lnTo>
                      <a:pt x="10" y="70"/>
                    </a:lnTo>
                    <a:lnTo>
                      <a:pt x="20" y="75"/>
                    </a:lnTo>
                    <a:lnTo>
                      <a:pt x="20" y="40"/>
                    </a:lnTo>
                    <a:lnTo>
                      <a:pt x="10" y="35"/>
                    </a:lnTo>
                    <a:lnTo>
                      <a:pt x="10" y="10"/>
                    </a:lnTo>
                    <a:lnTo>
                      <a:pt x="10" y="5"/>
                    </a:lnTo>
                    <a:lnTo>
                      <a:pt x="15" y="5"/>
                    </a:lnTo>
                    <a:lnTo>
                      <a:pt x="25" y="5"/>
                    </a:lnTo>
                    <a:close/>
                  </a:path>
                </a:pathLst>
              </a:custGeom>
              <a:solidFill>
                <a:srgbClr val="504C4B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97" name="Freeform 1067"/>
              <p:cNvSpPr>
                <a:spLocks/>
              </p:cNvSpPr>
              <p:nvPr/>
            </p:nvSpPr>
            <p:spPr bwMode="auto">
              <a:xfrm>
                <a:off x="1552" y="2081"/>
                <a:ext cx="5" cy="10"/>
              </a:xfrm>
              <a:custGeom>
                <a:avLst/>
                <a:gdLst>
                  <a:gd name="T0" fmla="*/ 5 w 5"/>
                  <a:gd name="T1" fmla="*/ 0 h 10"/>
                  <a:gd name="T2" fmla="*/ 0 w 5"/>
                  <a:gd name="T3" fmla="*/ 10 h 10"/>
                  <a:gd name="T4" fmla="*/ 5 w 5"/>
                  <a:gd name="T5" fmla="*/ 10 h 10"/>
                  <a:gd name="T6" fmla="*/ 5 w 5"/>
                  <a:gd name="T7" fmla="*/ 0 h 10"/>
                  <a:gd name="T8" fmla="*/ 5 w 5"/>
                  <a:gd name="T9" fmla="*/ 0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10"/>
                  <a:gd name="T17" fmla="*/ 5 w 5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10">
                    <a:moveTo>
                      <a:pt x="5" y="0"/>
                    </a:moveTo>
                    <a:lnTo>
                      <a:pt x="0" y="10"/>
                    </a:lnTo>
                    <a:lnTo>
                      <a:pt x="5" y="1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83818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98" name="Freeform 1068"/>
              <p:cNvSpPr>
                <a:spLocks/>
              </p:cNvSpPr>
              <p:nvPr/>
            </p:nvSpPr>
            <p:spPr bwMode="auto">
              <a:xfrm>
                <a:off x="1552" y="2076"/>
                <a:ext cx="10" cy="35"/>
              </a:xfrm>
              <a:custGeom>
                <a:avLst/>
                <a:gdLst>
                  <a:gd name="T0" fmla="*/ 0 w 10"/>
                  <a:gd name="T1" fmla="*/ 0 h 35"/>
                  <a:gd name="T2" fmla="*/ 10 w 10"/>
                  <a:gd name="T3" fmla="*/ 0 h 35"/>
                  <a:gd name="T4" fmla="*/ 10 w 10"/>
                  <a:gd name="T5" fmla="*/ 5 h 35"/>
                  <a:gd name="T6" fmla="*/ 5 w 10"/>
                  <a:gd name="T7" fmla="*/ 35 h 3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"/>
                  <a:gd name="T13" fmla="*/ 0 h 35"/>
                  <a:gd name="T14" fmla="*/ 10 w 10"/>
                  <a:gd name="T15" fmla="*/ 35 h 3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" h="35">
                    <a:moveTo>
                      <a:pt x="0" y="0"/>
                    </a:moveTo>
                    <a:lnTo>
                      <a:pt x="10" y="0"/>
                    </a:lnTo>
                    <a:lnTo>
                      <a:pt x="10" y="5"/>
                    </a:lnTo>
                    <a:lnTo>
                      <a:pt x="5" y="35"/>
                    </a:lnTo>
                  </a:path>
                </a:pathLst>
              </a:custGeom>
              <a:noFill/>
              <a:ln w="0">
                <a:solidFill>
                  <a:srgbClr val="A9A8A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799" name="Line 1069"/>
              <p:cNvSpPr>
                <a:spLocks noChangeShapeType="1"/>
              </p:cNvSpPr>
              <p:nvPr/>
            </p:nvSpPr>
            <p:spPr bwMode="auto">
              <a:xfrm flipH="1">
                <a:off x="1542" y="2071"/>
                <a:ext cx="5" cy="1"/>
              </a:xfrm>
              <a:prstGeom prst="line">
                <a:avLst/>
              </a:prstGeom>
              <a:noFill/>
              <a:ln w="0">
                <a:solidFill>
                  <a:srgbClr val="A9A8A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00" name="Freeform 1070"/>
              <p:cNvSpPr>
                <a:spLocks/>
              </p:cNvSpPr>
              <p:nvPr/>
            </p:nvSpPr>
            <p:spPr bwMode="auto">
              <a:xfrm>
                <a:off x="1811" y="2264"/>
                <a:ext cx="55" cy="109"/>
              </a:xfrm>
              <a:custGeom>
                <a:avLst/>
                <a:gdLst>
                  <a:gd name="T0" fmla="*/ 15 w 55"/>
                  <a:gd name="T1" fmla="*/ 109 h 109"/>
                  <a:gd name="T2" fmla="*/ 25 w 55"/>
                  <a:gd name="T3" fmla="*/ 104 h 109"/>
                  <a:gd name="T4" fmla="*/ 35 w 55"/>
                  <a:gd name="T5" fmla="*/ 99 h 109"/>
                  <a:gd name="T6" fmla="*/ 45 w 55"/>
                  <a:gd name="T7" fmla="*/ 84 h 109"/>
                  <a:gd name="T8" fmla="*/ 55 w 55"/>
                  <a:gd name="T9" fmla="*/ 64 h 109"/>
                  <a:gd name="T10" fmla="*/ 55 w 55"/>
                  <a:gd name="T11" fmla="*/ 20 h 109"/>
                  <a:gd name="T12" fmla="*/ 45 w 55"/>
                  <a:gd name="T13" fmla="*/ 5 h 109"/>
                  <a:gd name="T14" fmla="*/ 40 w 55"/>
                  <a:gd name="T15" fmla="*/ 0 h 109"/>
                  <a:gd name="T16" fmla="*/ 25 w 55"/>
                  <a:gd name="T17" fmla="*/ 0 h 109"/>
                  <a:gd name="T18" fmla="*/ 15 w 55"/>
                  <a:gd name="T19" fmla="*/ 10 h 109"/>
                  <a:gd name="T20" fmla="*/ 5 w 55"/>
                  <a:gd name="T21" fmla="*/ 25 h 109"/>
                  <a:gd name="T22" fmla="*/ 0 w 55"/>
                  <a:gd name="T23" fmla="*/ 50 h 109"/>
                  <a:gd name="T24" fmla="*/ 0 w 55"/>
                  <a:gd name="T25" fmla="*/ 84 h 109"/>
                  <a:gd name="T26" fmla="*/ 5 w 55"/>
                  <a:gd name="T27" fmla="*/ 99 h 109"/>
                  <a:gd name="T28" fmla="*/ 15 w 55"/>
                  <a:gd name="T29" fmla="*/ 109 h 10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55"/>
                  <a:gd name="T46" fmla="*/ 0 h 109"/>
                  <a:gd name="T47" fmla="*/ 55 w 55"/>
                  <a:gd name="T48" fmla="*/ 109 h 10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55" h="109">
                    <a:moveTo>
                      <a:pt x="15" y="109"/>
                    </a:moveTo>
                    <a:lnTo>
                      <a:pt x="25" y="104"/>
                    </a:lnTo>
                    <a:lnTo>
                      <a:pt x="35" y="99"/>
                    </a:lnTo>
                    <a:lnTo>
                      <a:pt x="45" y="84"/>
                    </a:lnTo>
                    <a:lnTo>
                      <a:pt x="55" y="64"/>
                    </a:lnTo>
                    <a:lnTo>
                      <a:pt x="55" y="20"/>
                    </a:lnTo>
                    <a:lnTo>
                      <a:pt x="45" y="5"/>
                    </a:lnTo>
                    <a:lnTo>
                      <a:pt x="40" y="0"/>
                    </a:lnTo>
                    <a:lnTo>
                      <a:pt x="25" y="0"/>
                    </a:lnTo>
                    <a:lnTo>
                      <a:pt x="15" y="10"/>
                    </a:lnTo>
                    <a:lnTo>
                      <a:pt x="5" y="25"/>
                    </a:lnTo>
                    <a:lnTo>
                      <a:pt x="0" y="50"/>
                    </a:lnTo>
                    <a:lnTo>
                      <a:pt x="0" y="84"/>
                    </a:lnTo>
                    <a:lnTo>
                      <a:pt x="5" y="99"/>
                    </a:lnTo>
                    <a:lnTo>
                      <a:pt x="15" y="109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01" name="Freeform 1071"/>
              <p:cNvSpPr>
                <a:spLocks/>
              </p:cNvSpPr>
              <p:nvPr/>
            </p:nvSpPr>
            <p:spPr bwMode="auto">
              <a:xfrm>
                <a:off x="1826" y="2259"/>
                <a:ext cx="40" cy="119"/>
              </a:xfrm>
              <a:custGeom>
                <a:avLst/>
                <a:gdLst>
                  <a:gd name="T0" fmla="*/ 0 w 40"/>
                  <a:gd name="T1" fmla="*/ 119 h 119"/>
                  <a:gd name="T2" fmla="*/ 10 w 40"/>
                  <a:gd name="T3" fmla="*/ 114 h 119"/>
                  <a:gd name="T4" fmla="*/ 25 w 40"/>
                  <a:gd name="T5" fmla="*/ 104 h 119"/>
                  <a:gd name="T6" fmla="*/ 30 w 40"/>
                  <a:gd name="T7" fmla="*/ 89 h 119"/>
                  <a:gd name="T8" fmla="*/ 40 w 40"/>
                  <a:gd name="T9" fmla="*/ 69 h 119"/>
                  <a:gd name="T10" fmla="*/ 40 w 40"/>
                  <a:gd name="T11" fmla="*/ 25 h 119"/>
                  <a:gd name="T12" fmla="*/ 30 w 40"/>
                  <a:gd name="T13" fmla="*/ 5 h 119"/>
                  <a:gd name="T14" fmla="*/ 25 w 40"/>
                  <a:gd name="T15" fmla="*/ 0 h 11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40"/>
                  <a:gd name="T25" fmla="*/ 0 h 119"/>
                  <a:gd name="T26" fmla="*/ 40 w 40"/>
                  <a:gd name="T27" fmla="*/ 119 h 11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40" h="119">
                    <a:moveTo>
                      <a:pt x="0" y="119"/>
                    </a:moveTo>
                    <a:lnTo>
                      <a:pt x="10" y="114"/>
                    </a:lnTo>
                    <a:lnTo>
                      <a:pt x="25" y="104"/>
                    </a:lnTo>
                    <a:lnTo>
                      <a:pt x="30" y="89"/>
                    </a:lnTo>
                    <a:lnTo>
                      <a:pt x="40" y="69"/>
                    </a:lnTo>
                    <a:lnTo>
                      <a:pt x="40" y="25"/>
                    </a:lnTo>
                    <a:lnTo>
                      <a:pt x="30" y="5"/>
                    </a:lnTo>
                    <a:lnTo>
                      <a:pt x="2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02" name="Freeform 1072"/>
              <p:cNvSpPr>
                <a:spLocks/>
              </p:cNvSpPr>
              <p:nvPr/>
            </p:nvSpPr>
            <p:spPr bwMode="auto">
              <a:xfrm>
                <a:off x="1806" y="2358"/>
                <a:ext cx="15" cy="20"/>
              </a:xfrm>
              <a:custGeom>
                <a:avLst/>
                <a:gdLst>
                  <a:gd name="T0" fmla="*/ 0 w 15"/>
                  <a:gd name="T1" fmla="*/ 0 h 20"/>
                  <a:gd name="T2" fmla="*/ 5 w 15"/>
                  <a:gd name="T3" fmla="*/ 10 h 20"/>
                  <a:gd name="T4" fmla="*/ 15 w 15"/>
                  <a:gd name="T5" fmla="*/ 20 h 20"/>
                  <a:gd name="T6" fmla="*/ 0 60000 65536"/>
                  <a:gd name="T7" fmla="*/ 0 60000 65536"/>
                  <a:gd name="T8" fmla="*/ 0 60000 65536"/>
                  <a:gd name="T9" fmla="*/ 0 w 15"/>
                  <a:gd name="T10" fmla="*/ 0 h 20"/>
                  <a:gd name="T11" fmla="*/ 15 w 15"/>
                  <a:gd name="T12" fmla="*/ 20 h 2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" h="20">
                    <a:moveTo>
                      <a:pt x="0" y="0"/>
                    </a:moveTo>
                    <a:lnTo>
                      <a:pt x="5" y="10"/>
                    </a:lnTo>
                    <a:lnTo>
                      <a:pt x="15" y="2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03" name="Line 1073"/>
              <p:cNvSpPr>
                <a:spLocks noChangeShapeType="1"/>
              </p:cNvSpPr>
              <p:nvPr/>
            </p:nvSpPr>
            <p:spPr bwMode="auto">
              <a:xfrm>
                <a:off x="1801" y="2363"/>
                <a:ext cx="15" cy="1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04" name="Freeform 1074"/>
              <p:cNvSpPr>
                <a:spLocks/>
              </p:cNvSpPr>
              <p:nvPr/>
            </p:nvSpPr>
            <p:spPr bwMode="auto">
              <a:xfrm>
                <a:off x="1801" y="2363"/>
                <a:ext cx="10" cy="10"/>
              </a:xfrm>
              <a:custGeom>
                <a:avLst/>
                <a:gdLst>
                  <a:gd name="T0" fmla="*/ 0 w 10"/>
                  <a:gd name="T1" fmla="*/ 0 h 10"/>
                  <a:gd name="T2" fmla="*/ 0 w 10"/>
                  <a:gd name="T3" fmla="*/ 5 h 10"/>
                  <a:gd name="T4" fmla="*/ 10 w 10"/>
                  <a:gd name="T5" fmla="*/ 10 h 10"/>
                  <a:gd name="T6" fmla="*/ 0 60000 65536"/>
                  <a:gd name="T7" fmla="*/ 0 60000 65536"/>
                  <a:gd name="T8" fmla="*/ 0 60000 65536"/>
                  <a:gd name="T9" fmla="*/ 0 w 10"/>
                  <a:gd name="T10" fmla="*/ 0 h 10"/>
                  <a:gd name="T11" fmla="*/ 10 w 10"/>
                  <a:gd name="T12" fmla="*/ 10 h 1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0" h="10">
                    <a:moveTo>
                      <a:pt x="0" y="0"/>
                    </a:moveTo>
                    <a:lnTo>
                      <a:pt x="0" y="5"/>
                    </a:lnTo>
                    <a:lnTo>
                      <a:pt x="10" y="1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05" name="Freeform 1075"/>
              <p:cNvSpPr>
                <a:spLocks/>
              </p:cNvSpPr>
              <p:nvPr/>
            </p:nvSpPr>
            <p:spPr bwMode="auto">
              <a:xfrm>
                <a:off x="1796" y="2363"/>
                <a:ext cx="15" cy="10"/>
              </a:xfrm>
              <a:custGeom>
                <a:avLst/>
                <a:gdLst>
                  <a:gd name="T0" fmla="*/ 0 w 15"/>
                  <a:gd name="T1" fmla="*/ 0 h 10"/>
                  <a:gd name="T2" fmla="*/ 5 w 15"/>
                  <a:gd name="T3" fmla="*/ 5 h 10"/>
                  <a:gd name="T4" fmla="*/ 15 w 15"/>
                  <a:gd name="T5" fmla="*/ 10 h 10"/>
                  <a:gd name="T6" fmla="*/ 0 60000 65536"/>
                  <a:gd name="T7" fmla="*/ 0 60000 65536"/>
                  <a:gd name="T8" fmla="*/ 0 60000 65536"/>
                  <a:gd name="T9" fmla="*/ 0 w 15"/>
                  <a:gd name="T10" fmla="*/ 0 h 10"/>
                  <a:gd name="T11" fmla="*/ 15 w 15"/>
                  <a:gd name="T12" fmla="*/ 10 h 1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" h="10">
                    <a:moveTo>
                      <a:pt x="0" y="0"/>
                    </a:moveTo>
                    <a:lnTo>
                      <a:pt x="5" y="5"/>
                    </a:lnTo>
                    <a:lnTo>
                      <a:pt x="15" y="1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06" name="Freeform 1076"/>
              <p:cNvSpPr>
                <a:spLocks/>
              </p:cNvSpPr>
              <p:nvPr/>
            </p:nvSpPr>
            <p:spPr bwMode="auto">
              <a:xfrm>
                <a:off x="1796" y="2363"/>
                <a:ext cx="5" cy="5"/>
              </a:xfrm>
              <a:custGeom>
                <a:avLst/>
                <a:gdLst>
                  <a:gd name="T0" fmla="*/ 0 w 5"/>
                  <a:gd name="T1" fmla="*/ 0 h 5"/>
                  <a:gd name="T2" fmla="*/ 0 w 5"/>
                  <a:gd name="T3" fmla="*/ 0 h 5"/>
                  <a:gd name="T4" fmla="*/ 5 w 5"/>
                  <a:gd name="T5" fmla="*/ 5 h 5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5"/>
                  <a:gd name="T11" fmla="*/ 5 w 5"/>
                  <a:gd name="T12" fmla="*/ 5 h 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5">
                    <a:moveTo>
                      <a:pt x="0" y="0"/>
                    </a:moveTo>
                    <a:lnTo>
                      <a:pt x="0" y="0"/>
                    </a:lnTo>
                    <a:lnTo>
                      <a:pt x="5" y="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07" name="Freeform 1077"/>
              <p:cNvSpPr>
                <a:spLocks/>
              </p:cNvSpPr>
              <p:nvPr/>
            </p:nvSpPr>
            <p:spPr bwMode="auto">
              <a:xfrm>
                <a:off x="1821" y="2284"/>
                <a:ext cx="40" cy="69"/>
              </a:xfrm>
              <a:custGeom>
                <a:avLst/>
                <a:gdLst>
                  <a:gd name="T0" fmla="*/ 40 w 40"/>
                  <a:gd name="T1" fmla="*/ 30 h 69"/>
                  <a:gd name="T2" fmla="*/ 35 w 40"/>
                  <a:gd name="T3" fmla="*/ 10 h 69"/>
                  <a:gd name="T4" fmla="*/ 30 w 40"/>
                  <a:gd name="T5" fmla="*/ 5 h 69"/>
                  <a:gd name="T6" fmla="*/ 25 w 40"/>
                  <a:gd name="T7" fmla="*/ 5 h 69"/>
                  <a:gd name="T8" fmla="*/ 15 w 40"/>
                  <a:gd name="T9" fmla="*/ 0 h 69"/>
                  <a:gd name="T10" fmla="*/ 10 w 40"/>
                  <a:gd name="T11" fmla="*/ 10 h 69"/>
                  <a:gd name="T12" fmla="*/ 5 w 40"/>
                  <a:gd name="T13" fmla="*/ 20 h 69"/>
                  <a:gd name="T14" fmla="*/ 5 w 40"/>
                  <a:gd name="T15" fmla="*/ 35 h 69"/>
                  <a:gd name="T16" fmla="*/ 0 w 40"/>
                  <a:gd name="T17" fmla="*/ 54 h 69"/>
                  <a:gd name="T18" fmla="*/ 5 w 40"/>
                  <a:gd name="T19" fmla="*/ 64 h 69"/>
                  <a:gd name="T20" fmla="*/ 15 w 40"/>
                  <a:gd name="T21" fmla="*/ 69 h 69"/>
                  <a:gd name="T22" fmla="*/ 15 w 40"/>
                  <a:gd name="T23" fmla="*/ 69 h 69"/>
                  <a:gd name="T24" fmla="*/ 25 w 40"/>
                  <a:gd name="T25" fmla="*/ 64 h 69"/>
                  <a:gd name="T26" fmla="*/ 35 w 40"/>
                  <a:gd name="T27" fmla="*/ 54 h 6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0"/>
                  <a:gd name="T43" fmla="*/ 0 h 69"/>
                  <a:gd name="T44" fmla="*/ 40 w 40"/>
                  <a:gd name="T45" fmla="*/ 69 h 6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0" h="69">
                    <a:moveTo>
                      <a:pt x="40" y="30"/>
                    </a:moveTo>
                    <a:lnTo>
                      <a:pt x="35" y="10"/>
                    </a:lnTo>
                    <a:lnTo>
                      <a:pt x="30" y="5"/>
                    </a:lnTo>
                    <a:lnTo>
                      <a:pt x="25" y="5"/>
                    </a:lnTo>
                    <a:lnTo>
                      <a:pt x="15" y="0"/>
                    </a:lnTo>
                    <a:lnTo>
                      <a:pt x="10" y="10"/>
                    </a:lnTo>
                    <a:lnTo>
                      <a:pt x="5" y="20"/>
                    </a:lnTo>
                    <a:lnTo>
                      <a:pt x="5" y="35"/>
                    </a:lnTo>
                    <a:lnTo>
                      <a:pt x="0" y="54"/>
                    </a:lnTo>
                    <a:lnTo>
                      <a:pt x="5" y="64"/>
                    </a:lnTo>
                    <a:lnTo>
                      <a:pt x="15" y="69"/>
                    </a:lnTo>
                    <a:lnTo>
                      <a:pt x="25" y="64"/>
                    </a:lnTo>
                    <a:lnTo>
                      <a:pt x="35" y="54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08" name="Freeform 1078"/>
              <p:cNvSpPr>
                <a:spLocks/>
              </p:cNvSpPr>
              <p:nvPr/>
            </p:nvSpPr>
            <p:spPr bwMode="auto">
              <a:xfrm>
                <a:off x="1826" y="2289"/>
                <a:ext cx="25" cy="59"/>
              </a:xfrm>
              <a:custGeom>
                <a:avLst/>
                <a:gdLst>
                  <a:gd name="T0" fmla="*/ 25 w 25"/>
                  <a:gd name="T1" fmla="*/ 10 h 59"/>
                  <a:gd name="T2" fmla="*/ 20 w 25"/>
                  <a:gd name="T3" fmla="*/ 5 h 59"/>
                  <a:gd name="T4" fmla="*/ 20 w 25"/>
                  <a:gd name="T5" fmla="*/ 5 h 59"/>
                  <a:gd name="T6" fmla="*/ 15 w 25"/>
                  <a:gd name="T7" fmla="*/ 0 h 59"/>
                  <a:gd name="T8" fmla="*/ 10 w 25"/>
                  <a:gd name="T9" fmla="*/ 10 h 59"/>
                  <a:gd name="T10" fmla="*/ 0 w 25"/>
                  <a:gd name="T11" fmla="*/ 30 h 59"/>
                  <a:gd name="T12" fmla="*/ 0 w 25"/>
                  <a:gd name="T13" fmla="*/ 49 h 59"/>
                  <a:gd name="T14" fmla="*/ 0 w 25"/>
                  <a:gd name="T15" fmla="*/ 54 h 59"/>
                  <a:gd name="T16" fmla="*/ 10 w 25"/>
                  <a:gd name="T17" fmla="*/ 59 h 59"/>
                  <a:gd name="T18" fmla="*/ 10 w 25"/>
                  <a:gd name="T19" fmla="*/ 59 h 59"/>
                  <a:gd name="T20" fmla="*/ 15 w 25"/>
                  <a:gd name="T21" fmla="*/ 59 h 5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5"/>
                  <a:gd name="T34" fmla="*/ 0 h 59"/>
                  <a:gd name="T35" fmla="*/ 25 w 25"/>
                  <a:gd name="T36" fmla="*/ 59 h 5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5" h="59">
                    <a:moveTo>
                      <a:pt x="25" y="10"/>
                    </a:moveTo>
                    <a:lnTo>
                      <a:pt x="20" y="5"/>
                    </a:lnTo>
                    <a:lnTo>
                      <a:pt x="15" y="0"/>
                    </a:lnTo>
                    <a:lnTo>
                      <a:pt x="10" y="10"/>
                    </a:lnTo>
                    <a:lnTo>
                      <a:pt x="0" y="30"/>
                    </a:lnTo>
                    <a:lnTo>
                      <a:pt x="0" y="49"/>
                    </a:lnTo>
                    <a:lnTo>
                      <a:pt x="0" y="54"/>
                    </a:lnTo>
                    <a:lnTo>
                      <a:pt x="10" y="59"/>
                    </a:lnTo>
                    <a:lnTo>
                      <a:pt x="15" y="59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09" name="Freeform 1079"/>
              <p:cNvSpPr>
                <a:spLocks/>
              </p:cNvSpPr>
              <p:nvPr/>
            </p:nvSpPr>
            <p:spPr bwMode="auto">
              <a:xfrm>
                <a:off x="1841" y="2304"/>
                <a:ext cx="20" cy="39"/>
              </a:xfrm>
              <a:custGeom>
                <a:avLst/>
                <a:gdLst>
                  <a:gd name="T0" fmla="*/ 5 w 20"/>
                  <a:gd name="T1" fmla="*/ 39 h 39"/>
                  <a:gd name="T2" fmla="*/ 10 w 20"/>
                  <a:gd name="T3" fmla="*/ 34 h 39"/>
                  <a:gd name="T4" fmla="*/ 20 w 20"/>
                  <a:gd name="T5" fmla="*/ 24 h 39"/>
                  <a:gd name="T6" fmla="*/ 15 w 20"/>
                  <a:gd name="T7" fmla="*/ 10 h 39"/>
                  <a:gd name="T8" fmla="*/ 15 w 20"/>
                  <a:gd name="T9" fmla="*/ 0 h 39"/>
                  <a:gd name="T10" fmla="*/ 5 w 20"/>
                  <a:gd name="T11" fmla="*/ 0 h 39"/>
                  <a:gd name="T12" fmla="*/ 0 w 20"/>
                  <a:gd name="T13" fmla="*/ 20 h 39"/>
                  <a:gd name="T14" fmla="*/ 0 w 20"/>
                  <a:gd name="T15" fmla="*/ 29 h 39"/>
                  <a:gd name="T16" fmla="*/ 5 w 20"/>
                  <a:gd name="T17" fmla="*/ 39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0"/>
                  <a:gd name="T28" fmla="*/ 0 h 39"/>
                  <a:gd name="T29" fmla="*/ 20 w 20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0" h="39">
                    <a:moveTo>
                      <a:pt x="5" y="39"/>
                    </a:moveTo>
                    <a:lnTo>
                      <a:pt x="10" y="34"/>
                    </a:lnTo>
                    <a:lnTo>
                      <a:pt x="20" y="24"/>
                    </a:lnTo>
                    <a:lnTo>
                      <a:pt x="15" y="10"/>
                    </a:lnTo>
                    <a:lnTo>
                      <a:pt x="15" y="0"/>
                    </a:lnTo>
                    <a:lnTo>
                      <a:pt x="5" y="0"/>
                    </a:lnTo>
                    <a:lnTo>
                      <a:pt x="0" y="20"/>
                    </a:lnTo>
                    <a:lnTo>
                      <a:pt x="0" y="29"/>
                    </a:lnTo>
                    <a:lnTo>
                      <a:pt x="5" y="39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10" name="Freeform 1080"/>
              <p:cNvSpPr>
                <a:spLocks/>
              </p:cNvSpPr>
              <p:nvPr/>
            </p:nvSpPr>
            <p:spPr bwMode="auto">
              <a:xfrm>
                <a:off x="1846" y="2324"/>
                <a:ext cx="15" cy="14"/>
              </a:xfrm>
              <a:custGeom>
                <a:avLst/>
                <a:gdLst>
                  <a:gd name="T0" fmla="*/ 10 w 15"/>
                  <a:gd name="T1" fmla="*/ 0 h 14"/>
                  <a:gd name="T2" fmla="*/ 10 w 15"/>
                  <a:gd name="T3" fmla="*/ 0 h 14"/>
                  <a:gd name="T4" fmla="*/ 5 w 15"/>
                  <a:gd name="T5" fmla="*/ 4 h 14"/>
                  <a:gd name="T6" fmla="*/ 5 w 15"/>
                  <a:gd name="T7" fmla="*/ 4 h 14"/>
                  <a:gd name="T8" fmla="*/ 5 w 15"/>
                  <a:gd name="T9" fmla="*/ 9 h 14"/>
                  <a:gd name="T10" fmla="*/ 5 w 15"/>
                  <a:gd name="T11" fmla="*/ 9 h 14"/>
                  <a:gd name="T12" fmla="*/ 5 w 15"/>
                  <a:gd name="T13" fmla="*/ 9 h 14"/>
                  <a:gd name="T14" fmla="*/ 5 w 15"/>
                  <a:gd name="T15" fmla="*/ 9 h 14"/>
                  <a:gd name="T16" fmla="*/ 5 w 15"/>
                  <a:gd name="T17" fmla="*/ 9 h 14"/>
                  <a:gd name="T18" fmla="*/ 5 w 15"/>
                  <a:gd name="T19" fmla="*/ 9 h 14"/>
                  <a:gd name="T20" fmla="*/ 0 w 15"/>
                  <a:gd name="T21" fmla="*/ 14 h 14"/>
                  <a:gd name="T22" fmla="*/ 5 w 15"/>
                  <a:gd name="T23" fmla="*/ 14 h 14"/>
                  <a:gd name="T24" fmla="*/ 5 w 15"/>
                  <a:gd name="T25" fmla="*/ 14 h 14"/>
                  <a:gd name="T26" fmla="*/ 10 w 15"/>
                  <a:gd name="T27" fmla="*/ 14 h 14"/>
                  <a:gd name="T28" fmla="*/ 10 w 15"/>
                  <a:gd name="T29" fmla="*/ 14 h 14"/>
                  <a:gd name="T30" fmla="*/ 10 w 15"/>
                  <a:gd name="T31" fmla="*/ 9 h 14"/>
                  <a:gd name="T32" fmla="*/ 15 w 15"/>
                  <a:gd name="T33" fmla="*/ 9 h 14"/>
                  <a:gd name="T34" fmla="*/ 15 w 15"/>
                  <a:gd name="T35" fmla="*/ 4 h 14"/>
                  <a:gd name="T36" fmla="*/ 15 w 15"/>
                  <a:gd name="T37" fmla="*/ 4 h 14"/>
                  <a:gd name="T38" fmla="*/ 15 w 15"/>
                  <a:gd name="T39" fmla="*/ 4 h 14"/>
                  <a:gd name="T40" fmla="*/ 10 w 15"/>
                  <a:gd name="T41" fmla="*/ 0 h 1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5"/>
                  <a:gd name="T64" fmla="*/ 0 h 14"/>
                  <a:gd name="T65" fmla="*/ 15 w 15"/>
                  <a:gd name="T66" fmla="*/ 14 h 1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5" h="14">
                    <a:moveTo>
                      <a:pt x="10" y="0"/>
                    </a:moveTo>
                    <a:lnTo>
                      <a:pt x="10" y="0"/>
                    </a:lnTo>
                    <a:lnTo>
                      <a:pt x="5" y="4"/>
                    </a:lnTo>
                    <a:lnTo>
                      <a:pt x="5" y="9"/>
                    </a:lnTo>
                    <a:lnTo>
                      <a:pt x="0" y="14"/>
                    </a:lnTo>
                    <a:lnTo>
                      <a:pt x="5" y="14"/>
                    </a:lnTo>
                    <a:lnTo>
                      <a:pt x="10" y="14"/>
                    </a:lnTo>
                    <a:lnTo>
                      <a:pt x="10" y="9"/>
                    </a:lnTo>
                    <a:lnTo>
                      <a:pt x="15" y="9"/>
                    </a:lnTo>
                    <a:lnTo>
                      <a:pt x="15" y="4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11" name="Freeform 1081"/>
              <p:cNvSpPr>
                <a:spLocks/>
              </p:cNvSpPr>
              <p:nvPr/>
            </p:nvSpPr>
            <p:spPr bwMode="auto">
              <a:xfrm>
                <a:off x="1851" y="2309"/>
                <a:ext cx="10" cy="19"/>
              </a:xfrm>
              <a:custGeom>
                <a:avLst/>
                <a:gdLst>
                  <a:gd name="T0" fmla="*/ 0 w 10"/>
                  <a:gd name="T1" fmla="*/ 5 h 19"/>
                  <a:gd name="T2" fmla="*/ 0 w 10"/>
                  <a:gd name="T3" fmla="*/ 5 h 19"/>
                  <a:gd name="T4" fmla="*/ 0 w 10"/>
                  <a:gd name="T5" fmla="*/ 5 h 19"/>
                  <a:gd name="T6" fmla="*/ 0 w 10"/>
                  <a:gd name="T7" fmla="*/ 5 h 19"/>
                  <a:gd name="T8" fmla="*/ 0 w 10"/>
                  <a:gd name="T9" fmla="*/ 5 h 19"/>
                  <a:gd name="T10" fmla="*/ 5 w 10"/>
                  <a:gd name="T11" fmla="*/ 10 h 19"/>
                  <a:gd name="T12" fmla="*/ 5 w 10"/>
                  <a:gd name="T13" fmla="*/ 10 h 19"/>
                  <a:gd name="T14" fmla="*/ 5 w 10"/>
                  <a:gd name="T15" fmla="*/ 10 h 19"/>
                  <a:gd name="T16" fmla="*/ 5 w 10"/>
                  <a:gd name="T17" fmla="*/ 15 h 19"/>
                  <a:gd name="T18" fmla="*/ 5 w 10"/>
                  <a:gd name="T19" fmla="*/ 15 h 19"/>
                  <a:gd name="T20" fmla="*/ 10 w 10"/>
                  <a:gd name="T21" fmla="*/ 19 h 19"/>
                  <a:gd name="T22" fmla="*/ 10 w 10"/>
                  <a:gd name="T23" fmla="*/ 15 h 19"/>
                  <a:gd name="T24" fmla="*/ 10 w 10"/>
                  <a:gd name="T25" fmla="*/ 10 h 19"/>
                  <a:gd name="T26" fmla="*/ 10 w 10"/>
                  <a:gd name="T27" fmla="*/ 10 h 19"/>
                  <a:gd name="T28" fmla="*/ 10 w 10"/>
                  <a:gd name="T29" fmla="*/ 5 h 19"/>
                  <a:gd name="T30" fmla="*/ 10 w 10"/>
                  <a:gd name="T31" fmla="*/ 5 h 19"/>
                  <a:gd name="T32" fmla="*/ 10 w 10"/>
                  <a:gd name="T33" fmla="*/ 0 h 19"/>
                  <a:gd name="T34" fmla="*/ 5 w 10"/>
                  <a:gd name="T35" fmla="*/ 0 h 19"/>
                  <a:gd name="T36" fmla="*/ 5 w 10"/>
                  <a:gd name="T37" fmla="*/ 0 h 19"/>
                  <a:gd name="T38" fmla="*/ 5 w 10"/>
                  <a:gd name="T39" fmla="*/ 0 h 19"/>
                  <a:gd name="T40" fmla="*/ 0 w 10"/>
                  <a:gd name="T41" fmla="*/ 5 h 1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0"/>
                  <a:gd name="T64" fmla="*/ 0 h 19"/>
                  <a:gd name="T65" fmla="*/ 10 w 10"/>
                  <a:gd name="T66" fmla="*/ 19 h 1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0" h="19">
                    <a:moveTo>
                      <a:pt x="0" y="5"/>
                    </a:moveTo>
                    <a:lnTo>
                      <a:pt x="0" y="5"/>
                    </a:lnTo>
                    <a:lnTo>
                      <a:pt x="5" y="10"/>
                    </a:lnTo>
                    <a:lnTo>
                      <a:pt x="5" y="15"/>
                    </a:lnTo>
                    <a:lnTo>
                      <a:pt x="10" y="19"/>
                    </a:lnTo>
                    <a:lnTo>
                      <a:pt x="10" y="15"/>
                    </a:lnTo>
                    <a:lnTo>
                      <a:pt x="10" y="10"/>
                    </a:lnTo>
                    <a:lnTo>
                      <a:pt x="10" y="5"/>
                    </a:lnTo>
                    <a:lnTo>
                      <a:pt x="10" y="0"/>
                    </a:lnTo>
                    <a:lnTo>
                      <a:pt x="5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12" name="Freeform 1082"/>
              <p:cNvSpPr>
                <a:spLocks/>
              </p:cNvSpPr>
              <p:nvPr/>
            </p:nvSpPr>
            <p:spPr bwMode="auto">
              <a:xfrm>
                <a:off x="1841" y="2309"/>
                <a:ext cx="15" cy="15"/>
              </a:xfrm>
              <a:custGeom>
                <a:avLst/>
                <a:gdLst>
                  <a:gd name="T0" fmla="*/ 5 w 15"/>
                  <a:gd name="T1" fmla="*/ 15 h 15"/>
                  <a:gd name="T2" fmla="*/ 5 w 15"/>
                  <a:gd name="T3" fmla="*/ 15 h 15"/>
                  <a:gd name="T4" fmla="*/ 5 w 15"/>
                  <a:gd name="T5" fmla="*/ 10 h 15"/>
                  <a:gd name="T6" fmla="*/ 10 w 15"/>
                  <a:gd name="T7" fmla="*/ 10 h 15"/>
                  <a:gd name="T8" fmla="*/ 10 w 15"/>
                  <a:gd name="T9" fmla="*/ 10 h 15"/>
                  <a:gd name="T10" fmla="*/ 10 w 15"/>
                  <a:gd name="T11" fmla="*/ 5 h 15"/>
                  <a:gd name="T12" fmla="*/ 10 w 15"/>
                  <a:gd name="T13" fmla="*/ 5 h 15"/>
                  <a:gd name="T14" fmla="*/ 10 w 15"/>
                  <a:gd name="T15" fmla="*/ 5 h 15"/>
                  <a:gd name="T16" fmla="*/ 10 w 15"/>
                  <a:gd name="T17" fmla="*/ 5 h 15"/>
                  <a:gd name="T18" fmla="*/ 10 w 15"/>
                  <a:gd name="T19" fmla="*/ 5 h 15"/>
                  <a:gd name="T20" fmla="*/ 15 w 15"/>
                  <a:gd name="T21" fmla="*/ 0 h 15"/>
                  <a:gd name="T22" fmla="*/ 10 w 15"/>
                  <a:gd name="T23" fmla="*/ 0 h 15"/>
                  <a:gd name="T24" fmla="*/ 10 w 15"/>
                  <a:gd name="T25" fmla="*/ 0 h 15"/>
                  <a:gd name="T26" fmla="*/ 5 w 15"/>
                  <a:gd name="T27" fmla="*/ 0 h 15"/>
                  <a:gd name="T28" fmla="*/ 5 w 15"/>
                  <a:gd name="T29" fmla="*/ 0 h 15"/>
                  <a:gd name="T30" fmla="*/ 0 w 15"/>
                  <a:gd name="T31" fmla="*/ 5 h 15"/>
                  <a:gd name="T32" fmla="*/ 0 w 15"/>
                  <a:gd name="T33" fmla="*/ 5 h 15"/>
                  <a:gd name="T34" fmla="*/ 0 w 15"/>
                  <a:gd name="T35" fmla="*/ 10 h 15"/>
                  <a:gd name="T36" fmla="*/ 0 w 15"/>
                  <a:gd name="T37" fmla="*/ 10 h 15"/>
                  <a:gd name="T38" fmla="*/ 0 w 15"/>
                  <a:gd name="T39" fmla="*/ 10 h 15"/>
                  <a:gd name="T40" fmla="*/ 5 w 15"/>
                  <a:gd name="T41" fmla="*/ 15 h 1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5"/>
                  <a:gd name="T64" fmla="*/ 0 h 15"/>
                  <a:gd name="T65" fmla="*/ 15 w 15"/>
                  <a:gd name="T66" fmla="*/ 15 h 1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5" h="15">
                    <a:moveTo>
                      <a:pt x="5" y="15"/>
                    </a:moveTo>
                    <a:lnTo>
                      <a:pt x="5" y="15"/>
                    </a:lnTo>
                    <a:lnTo>
                      <a:pt x="5" y="10"/>
                    </a:lnTo>
                    <a:lnTo>
                      <a:pt x="10" y="10"/>
                    </a:lnTo>
                    <a:lnTo>
                      <a:pt x="10" y="5"/>
                    </a:lnTo>
                    <a:lnTo>
                      <a:pt x="15" y="0"/>
                    </a:lnTo>
                    <a:lnTo>
                      <a:pt x="10" y="0"/>
                    </a:lnTo>
                    <a:lnTo>
                      <a:pt x="5" y="0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5" y="15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13" name="Freeform 1083"/>
              <p:cNvSpPr>
                <a:spLocks/>
              </p:cNvSpPr>
              <p:nvPr/>
            </p:nvSpPr>
            <p:spPr bwMode="auto">
              <a:xfrm>
                <a:off x="1841" y="2319"/>
                <a:ext cx="10" cy="19"/>
              </a:xfrm>
              <a:custGeom>
                <a:avLst/>
                <a:gdLst>
                  <a:gd name="T0" fmla="*/ 10 w 10"/>
                  <a:gd name="T1" fmla="*/ 14 h 19"/>
                  <a:gd name="T2" fmla="*/ 10 w 10"/>
                  <a:gd name="T3" fmla="*/ 14 h 19"/>
                  <a:gd name="T4" fmla="*/ 10 w 10"/>
                  <a:gd name="T5" fmla="*/ 14 h 19"/>
                  <a:gd name="T6" fmla="*/ 10 w 10"/>
                  <a:gd name="T7" fmla="*/ 14 h 19"/>
                  <a:gd name="T8" fmla="*/ 5 w 10"/>
                  <a:gd name="T9" fmla="*/ 14 h 19"/>
                  <a:gd name="T10" fmla="*/ 5 w 10"/>
                  <a:gd name="T11" fmla="*/ 14 h 19"/>
                  <a:gd name="T12" fmla="*/ 5 w 10"/>
                  <a:gd name="T13" fmla="*/ 9 h 19"/>
                  <a:gd name="T14" fmla="*/ 5 w 10"/>
                  <a:gd name="T15" fmla="*/ 9 h 19"/>
                  <a:gd name="T16" fmla="*/ 5 w 10"/>
                  <a:gd name="T17" fmla="*/ 5 h 19"/>
                  <a:gd name="T18" fmla="*/ 5 w 10"/>
                  <a:gd name="T19" fmla="*/ 5 h 19"/>
                  <a:gd name="T20" fmla="*/ 0 w 10"/>
                  <a:gd name="T21" fmla="*/ 0 h 19"/>
                  <a:gd name="T22" fmla="*/ 0 w 10"/>
                  <a:gd name="T23" fmla="*/ 5 h 19"/>
                  <a:gd name="T24" fmla="*/ 0 w 10"/>
                  <a:gd name="T25" fmla="*/ 9 h 19"/>
                  <a:gd name="T26" fmla="*/ 0 w 10"/>
                  <a:gd name="T27" fmla="*/ 9 h 19"/>
                  <a:gd name="T28" fmla="*/ 0 w 10"/>
                  <a:gd name="T29" fmla="*/ 14 h 19"/>
                  <a:gd name="T30" fmla="*/ 0 w 10"/>
                  <a:gd name="T31" fmla="*/ 14 h 19"/>
                  <a:gd name="T32" fmla="*/ 0 w 10"/>
                  <a:gd name="T33" fmla="*/ 19 h 19"/>
                  <a:gd name="T34" fmla="*/ 5 w 10"/>
                  <a:gd name="T35" fmla="*/ 19 h 19"/>
                  <a:gd name="T36" fmla="*/ 5 w 10"/>
                  <a:gd name="T37" fmla="*/ 19 h 19"/>
                  <a:gd name="T38" fmla="*/ 5 w 10"/>
                  <a:gd name="T39" fmla="*/ 19 h 19"/>
                  <a:gd name="T40" fmla="*/ 10 w 10"/>
                  <a:gd name="T41" fmla="*/ 14 h 19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0"/>
                  <a:gd name="T64" fmla="*/ 0 h 19"/>
                  <a:gd name="T65" fmla="*/ 10 w 10"/>
                  <a:gd name="T66" fmla="*/ 19 h 19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0" h="19">
                    <a:moveTo>
                      <a:pt x="10" y="14"/>
                    </a:moveTo>
                    <a:lnTo>
                      <a:pt x="10" y="14"/>
                    </a:lnTo>
                    <a:lnTo>
                      <a:pt x="5" y="14"/>
                    </a:lnTo>
                    <a:lnTo>
                      <a:pt x="5" y="9"/>
                    </a:lnTo>
                    <a:lnTo>
                      <a:pt x="5" y="5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9"/>
                    </a:lnTo>
                    <a:lnTo>
                      <a:pt x="0" y="14"/>
                    </a:lnTo>
                    <a:lnTo>
                      <a:pt x="0" y="19"/>
                    </a:lnTo>
                    <a:lnTo>
                      <a:pt x="5" y="19"/>
                    </a:lnTo>
                    <a:lnTo>
                      <a:pt x="10" y="14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14" name="Line 1084"/>
              <p:cNvSpPr>
                <a:spLocks noChangeShapeType="1"/>
              </p:cNvSpPr>
              <p:nvPr/>
            </p:nvSpPr>
            <p:spPr bwMode="auto">
              <a:xfrm flipH="1" flipV="1">
                <a:off x="1851" y="2299"/>
                <a:ext cx="10" cy="1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15" name="Line 1085"/>
              <p:cNvSpPr>
                <a:spLocks noChangeShapeType="1"/>
              </p:cNvSpPr>
              <p:nvPr/>
            </p:nvSpPr>
            <p:spPr bwMode="auto">
              <a:xfrm flipH="1">
                <a:off x="1841" y="2343"/>
                <a:ext cx="10" cy="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16" name="Freeform 1086"/>
              <p:cNvSpPr>
                <a:spLocks/>
              </p:cNvSpPr>
              <p:nvPr/>
            </p:nvSpPr>
            <p:spPr bwMode="auto">
              <a:xfrm>
                <a:off x="1801" y="2368"/>
                <a:ext cx="30" cy="10"/>
              </a:xfrm>
              <a:custGeom>
                <a:avLst/>
                <a:gdLst>
                  <a:gd name="T0" fmla="*/ 30 w 30"/>
                  <a:gd name="T1" fmla="*/ 10 h 10"/>
                  <a:gd name="T2" fmla="*/ 10 w 30"/>
                  <a:gd name="T3" fmla="*/ 5 h 10"/>
                  <a:gd name="T4" fmla="*/ 0 w 30"/>
                  <a:gd name="T5" fmla="*/ 0 h 10"/>
                  <a:gd name="T6" fmla="*/ 0 60000 65536"/>
                  <a:gd name="T7" fmla="*/ 0 60000 65536"/>
                  <a:gd name="T8" fmla="*/ 0 60000 65536"/>
                  <a:gd name="T9" fmla="*/ 0 w 30"/>
                  <a:gd name="T10" fmla="*/ 0 h 10"/>
                  <a:gd name="T11" fmla="*/ 30 w 30"/>
                  <a:gd name="T12" fmla="*/ 10 h 1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0" h="10">
                    <a:moveTo>
                      <a:pt x="30" y="10"/>
                    </a:moveTo>
                    <a:lnTo>
                      <a:pt x="10" y="5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17" name="Freeform 1087"/>
              <p:cNvSpPr>
                <a:spLocks/>
              </p:cNvSpPr>
              <p:nvPr/>
            </p:nvSpPr>
            <p:spPr bwMode="auto">
              <a:xfrm>
                <a:off x="1831" y="2314"/>
                <a:ext cx="10" cy="5"/>
              </a:xfrm>
              <a:custGeom>
                <a:avLst/>
                <a:gdLst>
                  <a:gd name="T0" fmla="*/ 5 w 10"/>
                  <a:gd name="T1" fmla="*/ 0 h 5"/>
                  <a:gd name="T2" fmla="*/ 5 w 10"/>
                  <a:gd name="T3" fmla="*/ 0 h 5"/>
                  <a:gd name="T4" fmla="*/ 10 w 10"/>
                  <a:gd name="T5" fmla="*/ 5 h 5"/>
                  <a:gd name="T6" fmla="*/ 5 w 10"/>
                  <a:gd name="T7" fmla="*/ 5 h 5"/>
                  <a:gd name="T8" fmla="*/ 5 w 10"/>
                  <a:gd name="T9" fmla="*/ 5 h 5"/>
                  <a:gd name="T10" fmla="*/ 0 w 10"/>
                  <a:gd name="T11" fmla="*/ 5 h 5"/>
                  <a:gd name="T12" fmla="*/ 0 w 10"/>
                  <a:gd name="T13" fmla="*/ 5 h 5"/>
                  <a:gd name="T14" fmla="*/ 0 w 10"/>
                  <a:gd name="T15" fmla="*/ 0 h 5"/>
                  <a:gd name="T16" fmla="*/ 5 w 10"/>
                  <a:gd name="T17" fmla="*/ 0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0"/>
                  <a:gd name="T28" fmla="*/ 0 h 5"/>
                  <a:gd name="T29" fmla="*/ 10 w 10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0" h="5">
                    <a:moveTo>
                      <a:pt x="5" y="0"/>
                    </a:moveTo>
                    <a:lnTo>
                      <a:pt x="5" y="0"/>
                    </a:lnTo>
                    <a:lnTo>
                      <a:pt x="10" y="5"/>
                    </a:lnTo>
                    <a:lnTo>
                      <a:pt x="5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18" name="Freeform 1088"/>
              <p:cNvSpPr>
                <a:spLocks/>
              </p:cNvSpPr>
              <p:nvPr/>
            </p:nvSpPr>
            <p:spPr bwMode="auto">
              <a:xfrm>
                <a:off x="1831" y="2324"/>
                <a:ext cx="5" cy="4"/>
              </a:xfrm>
              <a:custGeom>
                <a:avLst/>
                <a:gdLst>
                  <a:gd name="T0" fmla="*/ 5 w 5"/>
                  <a:gd name="T1" fmla="*/ 0 h 4"/>
                  <a:gd name="T2" fmla="*/ 5 w 5"/>
                  <a:gd name="T3" fmla="*/ 0 h 4"/>
                  <a:gd name="T4" fmla="*/ 5 w 5"/>
                  <a:gd name="T5" fmla="*/ 4 h 4"/>
                  <a:gd name="T6" fmla="*/ 5 w 5"/>
                  <a:gd name="T7" fmla="*/ 4 h 4"/>
                  <a:gd name="T8" fmla="*/ 0 w 5"/>
                  <a:gd name="T9" fmla="*/ 4 h 4"/>
                  <a:gd name="T10" fmla="*/ 0 w 5"/>
                  <a:gd name="T11" fmla="*/ 4 h 4"/>
                  <a:gd name="T12" fmla="*/ 0 w 5"/>
                  <a:gd name="T13" fmla="*/ 0 h 4"/>
                  <a:gd name="T14" fmla="*/ 5 w 5"/>
                  <a:gd name="T15" fmla="*/ 0 h 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4"/>
                  <a:gd name="T26" fmla="*/ 5 w 5"/>
                  <a:gd name="T27" fmla="*/ 4 h 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4">
                    <a:moveTo>
                      <a:pt x="5" y="0"/>
                    </a:moveTo>
                    <a:lnTo>
                      <a:pt x="5" y="0"/>
                    </a:lnTo>
                    <a:lnTo>
                      <a:pt x="5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19" name="Freeform 1089"/>
              <p:cNvSpPr>
                <a:spLocks/>
              </p:cNvSpPr>
              <p:nvPr/>
            </p:nvSpPr>
            <p:spPr bwMode="auto">
              <a:xfrm>
                <a:off x="1836" y="2304"/>
                <a:ext cx="5" cy="5"/>
              </a:xfrm>
              <a:custGeom>
                <a:avLst/>
                <a:gdLst>
                  <a:gd name="T0" fmla="*/ 0 w 5"/>
                  <a:gd name="T1" fmla="*/ 5 h 5"/>
                  <a:gd name="T2" fmla="*/ 0 w 5"/>
                  <a:gd name="T3" fmla="*/ 5 h 5"/>
                  <a:gd name="T4" fmla="*/ 5 w 5"/>
                  <a:gd name="T5" fmla="*/ 5 h 5"/>
                  <a:gd name="T6" fmla="*/ 5 w 5"/>
                  <a:gd name="T7" fmla="*/ 5 h 5"/>
                  <a:gd name="T8" fmla="*/ 0 w 5"/>
                  <a:gd name="T9" fmla="*/ 0 h 5"/>
                  <a:gd name="T10" fmla="*/ 0 w 5"/>
                  <a:gd name="T11" fmla="*/ 5 h 5"/>
                  <a:gd name="T12" fmla="*/ 0 w 5"/>
                  <a:gd name="T13" fmla="*/ 5 h 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5"/>
                  <a:gd name="T22" fmla="*/ 0 h 5"/>
                  <a:gd name="T23" fmla="*/ 5 w 5"/>
                  <a:gd name="T24" fmla="*/ 5 h 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5" h="5">
                    <a:moveTo>
                      <a:pt x="0" y="5"/>
                    </a:moveTo>
                    <a:lnTo>
                      <a:pt x="0" y="5"/>
                    </a:lnTo>
                    <a:lnTo>
                      <a:pt x="5" y="5"/>
                    </a:lnTo>
                    <a:lnTo>
                      <a:pt x="0" y="0"/>
                    </a:lnTo>
                    <a:lnTo>
                      <a:pt x="0" y="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20" name="Freeform 1090"/>
              <p:cNvSpPr>
                <a:spLocks/>
              </p:cNvSpPr>
              <p:nvPr/>
            </p:nvSpPr>
            <p:spPr bwMode="auto">
              <a:xfrm>
                <a:off x="1841" y="2299"/>
                <a:ext cx="5" cy="5"/>
              </a:xfrm>
              <a:custGeom>
                <a:avLst/>
                <a:gdLst>
                  <a:gd name="T0" fmla="*/ 0 w 5"/>
                  <a:gd name="T1" fmla="*/ 5 h 5"/>
                  <a:gd name="T2" fmla="*/ 0 w 5"/>
                  <a:gd name="T3" fmla="*/ 5 h 5"/>
                  <a:gd name="T4" fmla="*/ 5 w 5"/>
                  <a:gd name="T5" fmla="*/ 5 h 5"/>
                  <a:gd name="T6" fmla="*/ 5 w 5"/>
                  <a:gd name="T7" fmla="*/ 0 h 5"/>
                  <a:gd name="T8" fmla="*/ 5 w 5"/>
                  <a:gd name="T9" fmla="*/ 0 h 5"/>
                  <a:gd name="T10" fmla="*/ 0 w 5"/>
                  <a:gd name="T11" fmla="*/ 0 h 5"/>
                  <a:gd name="T12" fmla="*/ 0 w 5"/>
                  <a:gd name="T13" fmla="*/ 0 h 5"/>
                  <a:gd name="T14" fmla="*/ 0 w 5"/>
                  <a:gd name="T15" fmla="*/ 0 h 5"/>
                  <a:gd name="T16" fmla="*/ 0 w 5"/>
                  <a:gd name="T17" fmla="*/ 5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5"/>
                  <a:gd name="T29" fmla="*/ 5 w 5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5">
                    <a:moveTo>
                      <a:pt x="0" y="5"/>
                    </a:moveTo>
                    <a:lnTo>
                      <a:pt x="0" y="5"/>
                    </a:lnTo>
                    <a:lnTo>
                      <a:pt x="5" y="5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21" name="Freeform 1091"/>
              <p:cNvSpPr>
                <a:spLocks/>
              </p:cNvSpPr>
              <p:nvPr/>
            </p:nvSpPr>
            <p:spPr bwMode="auto">
              <a:xfrm>
                <a:off x="1831" y="2333"/>
                <a:ext cx="5" cy="5"/>
              </a:xfrm>
              <a:custGeom>
                <a:avLst/>
                <a:gdLst>
                  <a:gd name="T0" fmla="*/ 5 w 5"/>
                  <a:gd name="T1" fmla="*/ 0 h 5"/>
                  <a:gd name="T2" fmla="*/ 5 w 5"/>
                  <a:gd name="T3" fmla="*/ 0 h 5"/>
                  <a:gd name="T4" fmla="*/ 5 w 5"/>
                  <a:gd name="T5" fmla="*/ 0 h 5"/>
                  <a:gd name="T6" fmla="*/ 5 w 5"/>
                  <a:gd name="T7" fmla="*/ 5 h 5"/>
                  <a:gd name="T8" fmla="*/ 0 w 5"/>
                  <a:gd name="T9" fmla="*/ 5 h 5"/>
                  <a:gd name="T10" fmla="*/ 0 w 5"/>
                  <a:gd name="T11" fmla="*/ 5 h 5"/>
                  <a:gd name="T12" fmla="*/ 0 w 5"/>
                  <a:gd name="T13" fmla="*/ 0 h 5"/>
                  <a:gd name="T14" fmla="*/ 5 w 5"/>
                  <a:gd name="T15" fmla="*/ 0 h 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5"/>
                  <a:gd name="T25" fmla="*/ 0 h 5"/>
                  <a:gd name="T26" fmla="*/ 5 w 5"/>
                  <a:gd name="T27" fmla="*/ 5 h 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5" h="5">
                    <a:moveTo>
                      <a:pt x="5" y="0"/>
                    </a:moveTo>
                    <a:lnTo>
                      <a:pt x="5" y="0"/>
                    </a:lnTo>
                    <a:lnTo>
                      <a:pt x="5" y="5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22" name="Freeform 1092"/>
              <p:cNvSpPr>
                <a:spLocks/>
              </p:cNvSpPr>
              <p:nvPr/>
            </p:nvSpPr>
            <p:spPr bwMode="auto">
              <a:xfrm>
                <a:off x="1836" y="2343"/>
                <a:ext cx="5" cy="5"/>
              </a:xfrm>
              <a:custGeom>
                <a:avLst/>
                <a:gdLst>
                  <a:gd name="T0" fmla="*/ 0 w 5"/>
                  <a:gd name="T1" fmla="*/ 0 h 5"/>
                  <a:gd name="T2" fmla="*/ 0 w 5"/>
                  <a:gd name="T3" fmla="*/ 0 h 5"/>
                  <a:gd name="T4" fmla="*/ 5 w 5"/>
                  <a:gd name="T5" fmla="*/ 0 h 5"/>
                  <a:gd name="T6" fmla="*/ 5 w 5"/>
                  <a:gd name="T7" fmla="*/ 0 h 5"/>
                  <a:gd name="T8" fmla="*/ 5 w 5"/>
                  <a:gd name="T9" fmla="*/ 5 h 5"/>
                  <a:gd name="T10" fmla="*/ 0 w 5"/>
                  <a:gd name="T11" fmla="*/ 5 h 5"/>
                  <a:gd name="T12" fmla="*/ 0 w 5"/>
                  <a:gd name="T13" fmla="*/ 5 h 5"/>
                  <a:gd name="T14" fmla="*/ 0 w 5"/>
                  <a:gd name="T15" fmla="*/ 0 h 5"/>
                  <a:gd name="T16" fmla="*/ 0 w 5"/>
                  <a:gd name="T17" fmla="*/ 0 h 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5"/>
                  <a:gd name="T29" fmla="*/ 5 w 5"/>
                  <a:gd name="T30" fmla="*/ 5 h 5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5">
                    <a:moveTo>
                      <a:pt x="0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5" y="5"/>
                    </a:lnTo>
                    <a:lnTo>
                      <a:pt x="0" y="5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23" name="Freeform 1093"/>
              <p:cNvSpPr>
                <a:spLocks/>
              </p:cNvSpPr>
              <p:nvPr/>
            </p:nvSpPr>
            <p:spPr bwMode="auto">
              <a:xfrm>
                <a:off x="1851" y="2294"/>
                <a:ext cx="1" cy="10"/>
              </a:xfrm>
              <a:custGeom>
                <a:avLst/>
                <a:gdLst>
                  <a:gd name="T0" fmla="*/ 0 w 1"/>
                  <a:gd name="T1" fmla="*/ 10 h 10"/>
                  <a:gd name="T2" fmla="*/ 0 w 1"/>
                  <a:gd name="T3" fmla="*/ 10 h 10"/>
                  <a:gd name="T4" fmla="*/ 0 w 1"/>
                  <a:gd name="T5" fmla="*/ 5 h 10"/>
                  <a:gd name="T6" fmla="*/ 0 w 1"/>
                  <a:gd name="T7" fmla="*/ 5 h 10"/>
                  <a:gd name="T8" fmla="*/ 0 w 1"/>
                  <a:gd name="T9" fmla="*/ 0 h 10"/>
                  <a:gd name="T10" fmla="*/ 0 w 1"/>
                  <a:gd name="T11" fmla="*/ 5 h 10"/>
                  <a:gd name="T12" fmla="*/ 0 w 1"/>
                  <a:gd name="T13" fmla="*/ 5 h 10"/>
                  <a:gd name="T14" fmla="*/ 0 w 1"/>
                  <a:gd name="T15" fmla="*/ 10 h 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"/>
                  <a:gd name="T25" fmla="*/ 0 h 10"/>
                  <a:gd name="T26" fmla="*/ 1 w 1"/>
                  <a:gd name="T27" fmla="*/ 10 h 1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" h="10">
                    <a:moveTo>
                      <a:pt x="0" y="10"/>
                    </a:moveTo>
                    <a:lnTo>
                      <a:pt x="0" y="10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0" y="1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24" name="Freeform 1094"/>
              <p:cNvSpPr>
                <a:spLocks/>
              </p:cNvSpPr>
              <p:nvPr/>
            </p:nvSpPr>
            <p:spPr bwMode="auto">
              <a:xfrm>
                <a:off x="1552" y="2289"/>
                <a:ext cx="254" cy="79"/>
              </a:xfrm>
              <a:custGeom>
                <a:avLst/>
                <a:gdLst>
                  <a:gd name="T0" fmla="*/ 0 w 254"/>
                  <a:gd name="T1" fmla="*/ 0 h 79"/>
                  <a:gd name="T2" fmla="*/ 5 w 254"/>
                  <a:gd name="T3" fmla="*/ 10 h 79"/>
                  <a:gd name="T4" fmla="*/ 10 w 254"/>
                  <a:gd name="T5" fmla="*/ 25 h 79"/>
                  <a:gd name="T6" fmla="*/ 104 w 254"/>
                  <a:gd name="T7" fmla="*/ 44 h 79"/>
                  <a:gd name="T8" fmla="*/ 199 w 254"/>
                  <a:gd name="T9" fmla="*/ 69 h 79"/>
                  <a:gd name="T10" fmla="*/ 209 w 254"/>
                  <a:gd name="T11" fmla="*/ 74 h 79"/>
                  <a:gd name="T12" fmla="*/ 224 w 254"/>
                  <a:gd name="T13" fmla="*/ 79 h 79"/>
                  <a:gd name="T14" fmla="*/ 224 w 254"/>
                  <a:gd name="T15" fmla="*/ 79 h 79"/>
                  <a:gd name="T16" fmla="*/ 234 w 254"/>
                  <a:gd name="T17" fmla="*/ 79 h 79"/>
                  <a:gd name="T18" fmla="*/ 244 w 254"/>
                  <a:gd name="T19" fmla="*/ 69 h 79"/>
                  <a:gd name="T20" fmla="*/ 254 w 254"/>
                  <a:gd name="T21" fmla="*/ 64 h 79"/>
                  <a:gd name="T22" fmla="*/ 254 w 254"/>
                  <a:gd name="T23" fmla="*/ 35 h 79"/>
                  <a:gd name="T24" fmla="*/ 254 w 254"/>
                  <a:gd name="T25" fmla="*/ 20 h 7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54"/>
                  <a:gd name="T40" fmla="*/ 0 h 79"/>
                  <a:gd name="T41" fmla="*/ 254 w 254"/>
                  <a:gd name="T42" fmla="*/ 79 h 79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54" h="79">
                    <a:moveTo>
                      <a:pt x="0" y="0"/>
                    </a:moveTo>
                    <a:lnTo>
                      <a:pt x="5" y="10"/>
                    </a:lnTo>
                    <a:lnTo>
                      <a:pt x="10" y="25"/>
                    </a:lnTo>
                    <a:lnTo>
                      <a:pt x="104" y="44"/>
                    </a:lnTo>
                    <a:lnTo>
                      <a:pt x="199" y="69"/>
                    </a:lnTo>
                    <a:lnTo>
                      <a:pt x="209" y="74"/>
                    </a:lnTo>
                    <a:lnTo>
                      <a:pt x="224" y="79"/>
                    </a:lnTo>
                    <a:lnTo>
                      <a:pt x="234" y="79"/>
                    </a:lnTo>
                    <a:lnTo>
                      <a:pt x="244" y="69"/>
                    </a:lnTo>
                    <a:lnTo>
                      <a:pt x="254" y="64"/>
                    </a:lnTo>
                    <a:lnTo>
                      <a:pt x="254" y="35"/>
                    </a:lnTo>
                    <a:lnTo>
                      <a:pt x="254" y="2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25" name="Freeform 1095"/>
              <p:cNvSpPr>
                <a:spLocks/>
              </p:cNvSpPr>
              <p:nvPr/>
            </p:nvSpPr>
            <p:spPr bwMode="auto">
              <a:xfrm>
                <a:off x="1811" y="2244"/>
                <a:ext cx="80" cy="60"/>
              </a:xfrm>
              <a:custGeom>
                <a:avLst/>
                <a:gdLst>
                  <a:gd name="T0" fmla="*/ 0 w 80"/>
                  <a:gd name="T1" fmla="*/ 60 h 60"/>
                  <a:gd name="T2" fmla="*/ 5 w 80"/>
                  <a:gd name="T3" fmla="*/ 35 h 60"/>
                  <a:gd name="T4" fmla="*/ 25 w 80"/>
                  <a:gd name="T5" fmla="*/ 20 h 60"/>
                  <a:gd name="T6" fmla="*/ 80 w 80"/>
                  <a:gd name="T7" fmla="*/ 0 h 6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0"/>
                  <a:gd name="T13" fmla="*/ 0 h 60"/>
                  <a:gd name="T14" fmla="*/ 80 w 80"/>
                  <a:gd name="T15" fmla="*/ 60 h 6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0" h="60">
                    <a:moveTo>
                      <a:pt x="0" y="60"/>
                    </a:moveTo>
                    <a:lnTo>
                      <a:pt x="5" y="35"/>
                    </a:lnTo>
                    <a:lnTo>
                      <a:pt x="25" y="20"/>
                    </a:lnTo>
                    <a:lnTo>
                      <a:pt x="8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26" name="Line 1096"/>
              <p:cNvSpPr>
                <a:spLocks noChangeShapeType="1"/>
              </p:cNvSpPr>
              <p:nvPr/>
            </p:nvSpPr>
            <p:spPr bwMode="auto">
              <a:xfrm>
                <a:off x="1886" y="2269"/>
                <a:ext cx="5" cy="4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27" name="Freeform 1097"/>
              <p:cNvSpPr>
                <a:spLocks/>
              </p:cNvSpPr>
              <p:nvPr/>
            </p:nvSpPr>
            <p:spPr bwMode="auto">
              <a:xfrm>
                <a:off x="1871" y="2269"/>
                <a:ext cx="20" cy="45"/>
              </a:xfrm>
              <a:custGeom>
                <a:avLst/>
                <a:gdLst>
                  <a:gd name="T0" fmla="*/ 20 w 20"/>
                  <a:gd name="T1" fmla="*/ 0 h 45"/>
                  <a:gd name="T2" fmla="*/ 20 w 20"/>
                  <a:gd name="T3" fmla="*/ 40 h 45"/>
                  <a:gd name="T4" fmla="*/ 20 w 20"/>
                  <a:gd name="T5" fmla="*/ 45 h 45"/>
                  <a:gd name="T6" fmla="*/ 0 w 20"/>
                  <a:gd name="T7" fmla="*/ 40 h 4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0"/>
                  <a:gd name="T13" fmla="*/ 0 h 45"/>
                  <a:gd name="T14" fmla="*/ 20 w 20"/>
                  <a:gd name="T15" fmla="*/ 45 h 4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0" h="45">
                    <a:moveTo>
                      <a:pt x="20" y="0"/>
                    </a:moveTo>
                    <a:lnTo>
                      <a:pt x="20" y="40"/>
                    </a:lnTo>
                    <a:lnTo>
                      <a:pt x="20" y="45"/>
                    </a:lnTo>
                    <a:lnTo>
                      <a:pt x="0" y="4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28" name="Line 1098"/>
              <p:cNvSpPr>
                <a:spLocks noChangeShapeType="1"/>
              </p:cNvSpPr>
              <p:nvPr/>
            </p:nvSpPr>
            <p:spPr bwMode="auto">
              <a:xfrm flipH="1" flipV="1">
                <a:off x="1856" y="2264"/>
                <a:ext cx="30" cy="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29" name="Freeform 1099"/>
              <p:cNvSpPr>
                <a:spLocks/>
              </p:cNvSpPr>
              <p:nvPr/>
            </p:nvSpPr>
            <p:spPr bwMode="auto">
              <a:xfrm>
                <a:off x="1886" y="2210"/>
                <a:ext cx="5" cy="59"/>
              </a:xfrm>
              <a:custGeom>
                <a:avLst/>
                <a:gdLst>
                  <a:gd name="T0" fmla="*/ 5 w 5"/>
                  <a:gd name="T1" fmla="*/ 59 h 59"/>
                  <a:gd name="T2" fmla="*/ 5 w 5"/>
                  <a:gd name="T3" fmla="*/ 39 h 59"/>
                  <a:gd name="T4" fmla="*/ 5 w 5"/>
                  <a:gd name="T5" fmla="*/ 5 h 59"/>
                  <a:gd name="T6" fmla="*/ 0 w 5"/>
                  <a:gd name="T7" fmla="*/ 0 h 5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59"/>
                  <a:gd name="T14" fmla="*/ 5 w 5"/>
                  <a:gd name="T15" fmla="*/ 59 h 5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59">
                    <a:moveTo>
                      <a:pt x="5" y="59"/>
                    </a:moveTo>
                    <a:lnTo>
                      <a:pt x="5" y="39"/>
                    </a:lnTo>
                    <a:lnTo>
                      <a:pt x="5" y="5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30" name="Freeform 1100"/>
              <p:cNvSpPr>
                <a:spLocks/>
              </p:cNvSpPr>
              <p:nvPr/>
            </p:nvSpPr>
            <p:spPr bwMode="auto">
              <a:xfrm>
                <a:off x="1796" y="2215"/>
                <a:ext cx="95" cy="99"/>
              </a:xfrm>
              <a:custGeom>
                <a:avLst/>
                <a:gdLst>
                  <a:gd name="T0" fmla="*/ 0 w 95"/>
                  <a:gd name="T1" fmla="*/ 99 h 99"/>
                  <a:gd name="T2" fmla="*/ 5 w 95"/>
                  <a:gd name="T3" fmla="*/ 64 h 99"/>
                  <a:gd name="T4" fmla="*/ 15 w 95"/>
                  <a:gd name="T5" fmla="*/ 39 h 99"/>
                  <a:gd name="T6" fmla="*/ 30 w 95"/>
                  <a:gd name="T7" fmla="*/ 24 h 99"/>
                  <a:gd name="T8" fmla="*/ 50 w 95"/>
                  <a:gd name="T9" fmla="*/ 14 h 99"/>
                  <a:gd name="T10" fmla="*/ 95 w 95"/>
                  <a:gd name="T11" fmla="*/ 0 h 9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95"/>
                  <a:gd name="T19" fmla="*/ 0 h 99"/>
                  <a:gd name="T20" fmla="*/ 95 w 95"/>
                  <a:gd name="T21" fmla="*/ 99 h 9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95" h="99">
                    <a:moveTo>
                      <a:pt x="0" y="99"/>
                    </a:moveTo>
                    <a:lnTo>
                      <a:pt x="5" y="64"/>
                    </a:lnTo>
                    <a:lnTo>
                      <a:pt x="15" y="39"/>
                    </a:lnTo>
                    <a:lnTo>
                      <a:pt x="30" y="24"/>
                    </a:lnTo>
                    <a:lnTo>
                      <a:pt x="50" y="14"/>
                    </a:lnTo>
                    <a:lnTo>
                      <a:pt x="9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31" name="Line 1101"/>
              <p:cNvSpPr>
                <a:spLocks noChangeShapeType="1"/>
              </p:cNvSpPr>
              <p:nvPr/>
            </p:nvSpPr>
            <p:spPr bwMode="auto">
              <a:xfrm flipH="1">
                <a:off x="1771" y="2234"/>
                <a:ext cx="70" cy="2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32" name="Line 1102"/>
              <p:cNvSpPr>
                <a:spLocks noChangeShapeType="1"/>
              </p:cNvSpPr>
              <p:nvPr/>
            </p:nvSpPr>
            <p:spPr bwMode="auto">
              <a:xfrm flipH="1">
                <a:off x="1771" y="2210"/>
                <a:ext cx="120" cy="44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33" name="Line 1103"/>
              <p:cNvSpPr>
                <a:spLocks noChangeShapeType="1"/>
              </p:cNvSpPr>
              <p:nvPr/>
            </p:nvSpPr>
            <p:spPr bwMode="auto">
              <a:xfrm flipH="1">
                <a:off x="1771" y="2155"/>
                <a:ext cx="115" cy="50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34" name="Line 1104"/>
              <p:cNvSpPr>
                <a:spLocks noChangeShapeType="1"/>
              </p:cNvSpPr>
              <p:nvPr/>
            </p:nvSpPr>
            <p:spPr bwMode="auto">
              <a:xfrm flipH="1">
                <a:off x="1771" y="2160"/>
                <a:ext cx="115" cy="4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35" name="Freeform 1105"/>
              <p:cNvSpPr>
                <a:spLocks/>
              </p:cNvSpPr>
              <p:nvPr/>
            </p:nvSpPr>
            <p:spPr bwMode="auto">
              <a:xfrm>
                <a:off x="1841" y="2175"/>
                <a:ext cx="5" cy="54"/>
              </a:xfrm>
              <a:custGeom>
                <a:avLst/>
                <a:gdLst>
                  <a:gd name="T0" fmla="*/ 5 w 5"/>
                  <a:gd name="T1" fmla="*/ 54 h 54"/>
                  <a:gd name="T2" fmla="*/ 5 w 5"/>
                  <a:gd name="T3" fmla="*/ 0 h 54"/>
                  <a:gd name="T4" fmla="*/ 0 w 5"/>
                  <a:gd name="T5" fmla="*/ 0 h 54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54"/>
                  <a:gd name="T11" fmla="*/ 5 w 5"/>
                  <a:gd name="T12" fmla="*/ 54 h 5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54">
                    <a:moveTo>
                      <a:pt x="5" y="54"/>
                    </a:moveTo>
                    <a:lnTo>
                      <a:pt x="5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36" name="Line 1106"/>
              <p:cNvSpPr>
                <a:spLocks noChangeShapeType="1"/>
              </p:cNvSpPr>
              <p:nvPr/>
            </p:nvSpPr>
            <p:spPr bwMode="auto">
              <a:xfrm flipV="1">
                <a:off x="1841" y="2056"/>
                <a:ext cx="1" cy="114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37" name="Freeform 1107"/>
              <p:cNvSpPr>
                <a:spLocks/>
              </p:cNvSpPr>
              <p:nvPr/>
            </p:nvSpPr>
            <p:spPr bwMode="auto">
              <a:xfrm>
                <a:off x="1871" y="1992"/>
                <a:ext cx="15" cy="163"/>
              </a:xfrm>
              <a:custGeom>
                <a:avLst/>
                <a:gdLst>
                  <a:gd name="T0" fmla="*/ 15 w 15"/>
                  <a:gd name="T1" fmla="*/ 163 h 163"/>
                  <a:gd name="T2" fmla="*/ 15 w 15"/>
                  <a:gd name="T3" fmla="*/ 89 h 163"/>
                  <a:gd name="T4" fmla="*/ 10 w 15"/>
                  <a:gd name="T5" fmla="*/ 20 h 163"/>
                  <a:gd name="T6" fmla="*/ 5 w 15"/>
                  <a:gd name="T7" fmla="*/ 5 h 163"/>
                  <a:gd name="T8" fmla="*/ 0 w 15"/>
                  <a:gd name="T9" fmla="*/ 0 h 16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"/>
                  <a:gd name="T16" fmla="*/ 0 h 163"/>
                  <a:gd name="T17" fmla="*/ 15 w 15"/>
                  <a:gd name="T18" fmla="*/ 163 h 16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" h="163">
                    <a:moveTo>
                      <a:pt x="15" y="163"/>
                    </a:moveTo>
                    <a:lnTo>
                      <a:pt x="15" y="89"/>
                    </a:lnTo>
                    <a:lnTo>
                      <a:pt x="10" y="20"/>
                    </a:lnTo>
                    <a:lnTo>
                      <a:pt x="5" y="5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38" name="Freeform 1108"/>
              <p:cNvSpPr>
                <a:spLocks/>
              </p:cNvSpPr>
              <p:nvPr/>
            </p:nvSpPr>
            <p:spPr bwMode="auto">
              <a:xfrm>
                <a:off x="1821" y="2215"/>
                <a:ext cx="20" cy="14"/>
              </a:xfrm>
              <a:custGeom>
                <a:avLst/>
                <a:gdLst>
                  <a:gd name="T0" fmla="*/ 0 w 20"/>
                  <a:gd name="T1" fmla="*/ 14 h 14"/>
                  <a:gd name="T2" fmla="*/ 0 w 20"/>
                  <a:gd name="T3" fmla="*/ 5 h 14"/>
                  <a:gd name="T4" fmla="*/ 20 w 20"/>
                  <a:gd name="T5" fmla="*/ 0 h 14"/>
                  <a:gd name="T6" fmla="*/ 0 60000 65536"/>
                  <a:gd name="T7" fmla="*/ 0 60000 65536"/>
                  <a:gd name="T8" fmla="*/ 0 60000 65536"/>
                  <a:gd name="T9" fmla="*/ 0 w 20"/>
                  <a:gd name="T10" fmla="*/ 0 h 14"/>
                  <a:gd name="T11" fmla="*/ 20 w 20"/>
                  <a:gd name="T12" fmla="*/ 14 h 1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0" h="14">
                    <a:moveTo>
                      <a:pt x="0" y="14"/>
                    </a:moveTo>
                    <a:lnTo>
                      <a:pt x="0" y="5"/>
                    </a:lnTo>
                    <a:lnTo>
                      <a:pt x="2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39" name="Freeform 1109"/>
              <p:cNvSpPr>
                <a:spLocks/>
              </p:cNvSpPr>
              <p:nvPr/>
            </p:nvSpPr>
            <p:spPr bwMode="auto">
              <a:xfrm>
                <a:off x="1821" y="2224"/>
                <a:ext cx="20" cy="10"/>
              </a:xfrm>
              <a:custGeom>
                <a:avLst/>
                <a:gdLst>
                  <a:gd name="T0" fmla="*/ 0 w 20"/>
                  <a:gd name="T1" fmla="*/ 10 h 10"/>
                  <a:gd name="T2" fmla="*/ 20 w 20"/>
                  <a:gd name="T3" fmla="*/ 0 h 10"/>
                  <a:gd name="T4" fmla="*/ 10 w 20"/>
                  <a:gd name="T5" fmla="*/ 0 h 10"/>
                  <a:gd name="T6" fmla="*/ 0 w 20"/>
                  <a:gd name="T7" fmla="*/ 0 h 1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0"/>
                  <a:gd name="T13" fmla="*/ 0 h 10"/>
                  <a:gd name="T14" fmla="*/ 20 w 20"/>
                  <a:gd name="T15" fmla="*/ 10 h 1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0" h="10">
                    <a:moveTo>
                      <a:pt x="0" y="10"/>
                    </a:move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40" name="Line 1110"/>
              <p:cNvSpPr>
                <a:spLocks noChangeShapeType="1"/>
              </p:cNvSpPr>
              <p:nvPr/>
            </p:nvSpPr>
            <p:spPr bwMode="auto">
              <a:xfrm flipV="1">
                <a:off x="1841" y="2215"/>
                <a:ext cx="1" cy="9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41" name="Freeform 1111"/>
              <p:cNvSpPr>
                <a:spLocks/>
              </p:cNvSpPr>
              <p:nvPr/>
            </p:nvSpPr>
            <p:spPr bwMode="auto">
              <a:xfrm>
                <a:off x="1731" y="2185"/>
                <a:ext cx="40" cy="94"/>
              </a:xfrm>
              <a:custGeom>
                <a:avLst/>
                <a:gdLst>
                  <a:gd name="T0" fmla="*/ 40 w 40"/>
                  <a:gd name="T1" fmla="*/ 89 h 94"/>
                  <a:gd name="T2" fmla="*/ 40 w 40"/>
                  <a:gd name="T3" fmla="*/ 10 h 94"/>
                  <a:gd name="T4" fmla="*/ 35 w 40"/>
                  <a:gd name="T5" fmla="*/ 0 h 94"/>
                  <a:gd name="T6" fmla="*/ 30 w 40"/>
                  <a:gd name="T7" fmla="*/ 0 h 94"/>
                  <a:gd name="T8" fmla="*/ 25 w 40"/>
                  <a:gd name="T9" fmla="*/ 5 h 94"/>
                  <a:gd name="T10" fmla="*/ 20 w 40"/>
                  <a:gd name="T11" fmla="*/ 5 h 94"/>
                  <a:gd name="T12" fmla="*/ 15 w 40"/>
                  <a:gd name="T13" fmla="*/ 5 h 94"/>
                  <a:gd name="T14" fmla="*/ 5 w 40"/>
                  <a:gd name="T15" fmla="*/ 5 h 94"/>
                  <a:gd name="T16" fmla="*/ 5 w 40"/>
                  <a:gd name="T17" fmla="*/ 15 h 94"/>
                  <a:gd name="T18" fmla="*/ 0 w 40"/>
                  <a:gd name="T19" fmla="*/ 54 h 94"/>
                  <a:gd name="T20" fmla="*/ 0 w 40"/>
                  <a:gd name="T21" fmla="*/ 94 h 9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0"/>
                  <a:gd name="T34" fmla="*/ 0 h 94"/>
                  <a:gd name="T35" fmla="*/ 40 w 40"/>
                  <a:gd name="T36" fmla="*/ 94 h 9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0" h="94">
                    <a:moveTo>
                      <a:pt x="40" y="89"/>
                    </a:moveTo>
                    <a:lnTo>
                      <a:pt x="40" y="10"/>
                    </a:lnTo>
                    <a:lnTo>
                      <a:pt x="35" y="0"/>
                    </a:lnTo>
                    <a:lnTo>
                      <a:pt x="30" y="0"/>
                    </a:lnTo>
                    <a:lnTo>
                      <a:pt x="25" y="5"/>
                    </a:lnTo>
                    <a:lnTo>
                      <a:pt x="20" y="5"/>
                    </a:lnTo>
                    <a:lnTo>
                      <a:pt x="15" y="5"/>
                    </a:lnTo>
                    <a:lnTo>
                      <a:pt x="5" y="5"/>
                    </a:lnTo>
                    <a:lnTo>
                      <a:pt x="5" y="15"/>
                    </a:lnTo>
                    <a:lnTo>
                      <a:pt x="0" y="54"/>
                    </a:lnTo>
                    <a:lnTo>
                      <a:pt x="0" y="94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42" name="Freeform 1112"/>
              <p:cNvSpPr>
                <a:spLocks/>
              </p:cNvSpPr>
              <p:nvPr/>
            </p:nvSpPr>
            <p:spPr bwMode="auto">
              <a:xfrm>
                <a:off x="1731" y="2229"/>
                <a:ext cx="110" cy="55"/>
              </a:xfrm>
              <a:custGeom>
                <a:avLst/>
                <a:gdLst>
                  <a:gd name="T0" fmla="*/ 0 w 110"/>
                  <a:gd name="T1" fmla="*/ 50 h 55"/>
                  <a:gd name="T2" fmla="*/ 5 w 110"/>
                  <a:gd name="T3" fmla="*/ 50 h 55"/>
                  <a:gd name="T4" fmla="*/ 20 w 110"/>
                  <a:gd name="T5" fmla="*/ 55 h 55"/>
                  <a:gd name="T6" fmla="*/ 25 w 110"/>
                  <a:gd name="T7" fmla="*/ 50 h 55"/>
                  <a:gd name="T8" fmla="*/ 35 w 110"/>
                  <a:gd name="T9" fmla="*/ 50 h 55"/>
                  <a:gd name="T10" fmla="*/ 35 w 110"/>
                  <a:gd name="T11" fmla="*/ 45 h 55"/>
                  <a:gd name="T12" fmla="*/ 40 w 110"/>
                  <a:gd name="T13" fmla="*/ 45 h 55"/>
                  <a:gd name="T14" fmla="*/ 80 w 110"/>
                  <a:gd name="T15" fmla="*/ 30 h 55"/>
                  <a:gd name="T16" fmla="*/ 90 w 110"/>
                  <a:gd name="T17" fmla="*/ 15 h 55"/>
                  <a:gd name="T18" fmla="*/ 110 w 110"/>
                  <a:gd name="T19" fmla="*/ 5 h 55"/>
                  <a:gd name="T20" fmla="*/ 105 w 110"/>
                  <a:gd name="T21" fmla="*/ 5 h 55"/>
                  <a:gd name="T22" fmla="*/ 110 w 110"/>
                  <a:gd name="T23" fmla="*/ 0 h 5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10"/>
                  <a:gd name="T37" fmla="*/ 0 h 55"/>
                  <a:gd name="T38" fmla="*/ 110 w 110"/>
                  <a:gd name="T39" fmla="*/ 55 h 5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10" h="55">
                    <a:moveTo>
                      <a:pt x="0" y="50"/>
                    </a:moveTo>
                    <a:lnTo>
                      <a:pt x="5" y="50"/>
                    </a:lnTo>
                    <a:lnTo>
                      <a:pt x="20" y="55"/>
                    </a:lnTo>
                    <a:lnTo>
                      <a:pt x="25" y="50"/>
                    </a:lnTo>
                    <a:lnTo>
                      <a:pt x="35" y="50"/>
                    </a:lnTo>
                    <a:lnTo>
                      <a:pt x="35" y="45"/>
                    </a:lnTo>
                    <a:lnTo>
                      <a:pt x="40" y="45"/>
                    </a:lnTo>
                    <a:lnTo>
                      <a:pt x="80" y="30"/>
                    </a:lnTo>
                    <a:lnTo>
                      <a:pt x="90" y="15"/>
                    </a:lnTo>
                    <a:lnTo>
                      <a:pt x="110" y="5"/>
                    </a:lnTo>
                    <a:lnTo>
                      <a:pt x="105" y="5"/>
                    </a:lnTo>
                    <a:lnTo>
                      <a:pt x="11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43" name="Freeform 1113"/>
              <p:cNvSpPr>
                <a:spLocks/>
              </p:cNvSpPr>
              <p:nvPr/>
            </p:nvSpPr>
            <p:spPr bwMode="auto">
              <a:xfrm>
                <a:off x="1562" y="2150"/>
                <a:ext cx="179" cy="45"/>
              </a:xfrm>
              <a:custGeom>
                <a:avLst/>
                <a:gdLst>
                  <a:gd name="T0" fmla="*/ 179 w 179"/>
                  <a:gd name="T1" fmla="*/ 45 h 45"/>
                  <a:gd name="T2" fmla="*/ 84 w 179"/>
                  <a:gd name="T3" fmla="*/ 25 h 45"/>
                  <a:gd name="T4" fmla="*/ 0 w 179"/>
                  <a:gd name="T5" fmla="*/ 0 h 45"/>
                  <a:gd name="T6" fmla="*/ 0 60000 65536"/>
                  <a:gd name="T7" fmla="*/ 0 60000 65536"/>
                  <a:gd name="T8" fmla="*/ 0 60000 65536"/>
                  <a:gd name="T9" fmla="*/ 0 w 179"/>
                  <a:gd name="T10" fmla="*/ 0 h 45"/>
                  <a:gd name="T11" fmla="*/ 179 w 179"/>
                  <a:gd name="T12" fmla="*/ 45 h 4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79" h="45">
                    <a:moveTo>
                      <a:pt x="179" y="45"/>
                    </a:moveTo>
                    <a:lnTo>
                      <a:pt x="84" y="25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44" name="Freeform 1114"/>
              <p:cNvSpPr>
                <a:spLocks/>
              </p:cNvSpPr>
              <p:nvPr/>
            </p:nvSpPr>
            <p:spPr bwMode="auto">
              <a:xfrm>
                <a:off x="1557" y="1962"/>
                <a:ext cx="189" cy="228"/>
              </a:xfrm>
              <a:custGeom>
                <a:avLst/>
                <a:gdLst>
                  <a:gd name="T0" fmla="*/ 189 w 189"/>
                  <a:gd name="T1" fmla="*/ 228 h 228"/>
                  <a:gd name="T2" fmla="*/ 94 w 189"/>
                  <a:gd name="T3" fmla="*/ 208 h 228"/>
                  <a:gd name="T4" fmla="*/ 5 w 189"/>
                  <a:gd name="T5" fmla="*/ 183 h 228"/>
                  <a:gd name="T6" fmla="*/ 0 w 189"/>
                  <a:gd name="T7" fmla="*/ 178 h 228"/>
                  <a:gd name="T8" fmla="*/ 0 w 189"/>
                  <a:gd name="T9" fmla="*/ 178 h 228"/>
                  <a:gd name="T10" fmla="*/ 15 w 189"/>
                  <a:gd name="T11" fmla="*/ 59 h 228"/>
                  <a:gd name="T12" fmla="*/ 20 w 189"/>
                  <a:gd name="T13" fmla="*/ 45 h 228"/>
                  <a:gd name="T14" fmla="*/ 20 w 189"/>
                  <a:gd name="T15" fmla="*/ 35 h 228"/>
                  <a:gd name="T16" fmla="*/ 25 w 189"/>
                  <a:gd name="T17" fmla="*/ 35 h 228"/>
                  <a:gd name="T18" fmla="*/ 45 w 189"/>
                  <a:gd name="T19" fmla="*/ 25 h 228"/>
                  <a:gd name="T20" fmla="*/ 74 w 189"/>
                  <a:gd name="T21" fmla="*/ 15 h 228"/>
                  <a:gd name="T22" fmla="*/ 99 w 189"/>
                  <a:gd name="T23" fmla="*/ 5 h 228"/>
                  <a:gd name="T24" fmla="*/ 124 w 189"/>
                  <a:gd name="T25" fmla="*/ 0 h 228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89"/>
                  <a:gd name="T40" fmla="*/ 0 h 228"/>
                  <a:gd name="T41" fmla="*/ 189 w 189"/>
                  <a:gd name="T42" fmla="*/ 228 h 228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89" h="228">
                    <a:moveTo>
                      <a:pt x="189" y="228"/>
                    </a:moveTo>
                    <a:lnTo>
                      <a:pt x="94" y="208"/>
                    </a:lnTo>
                    <a:lnTo>
                      <a:pt x="5" y="183"/>
                    </a:lnTo>
                    <a:lnTo>
                      <a:pt x="0" y="178"/>
                    </a:lnTo>
                    <a:lnTo>
                      <a:pt x="15" y="59"/>
                    </a:lnTo>
                    <a:lnTo>
                      <a:pt x="20" y="45"/>
                    </a:lnTo>
                    <a:lnTo>
                      <a:pt x="20" y="35"/>
                    </a:lnTo>
                    <a:lnTo>
                      <a:pt x="25" y="35"/>
                    </a:lnTo>
                    <a:lnTo>
                      <a:pt x="45" y="25"/>
                    </a:lnTo>
                    <a:lnTo>
                      <a:pt x="74" y="15"/>
                    </a:lnTo>
                    <a:lnTo>
                      <a:pt x="99" y="5"/>
                    </a:lnTo>
                    <a:lnTo>
                      <a:pt x="124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45" name="Freeform 1115"/>
              <p:cNvSpPr>
                <a:spLocks/>
              </p:cNvSpPr>
              <p:nvPr/>
            </p:nvSpPr>
            <p:spPr bwMode="auto">
              <a:xfrm>
                <a:off x="1567" y="2170"/>
                <a:ext cx="164" cy="64"/>
              </a:xfrm>
              <a:custGeom>
                <a:avLst/>
                <a:gdLst>
                  <a:gd name="T0" fmla="*/ 159 w 164"/>
                  <a:gd name="T1" fmla="*/ 64 h 64"/>
                  <a:gd name="T2" fmla="*/ 164 w 164"/>
                  <a:gd name="T3" fmla="*/ 40 h 64"/>
                  <a:gd name="T4" fmla="*/ 79 w 164"/>
                  <a:gd name="T5" fmla="*/ 20 h 64"/>
                  <a:gd name="T6" fmla="*/ 0 w 164"/>
                  <a:gd name="T7" fmla="*/ 0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4"/>
                  <a:gd name="T13" fmla="*/ 0 h 64"/>
                  <a:gd name="T14" fmla="*/ 164 w 164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4" h="64">
                    <a:moveTo>
                      <a:pt x="159" y="64"/>
                    </a:moveTo>
                    <a:lnTo>
                      <a:pt x="164" y="40"/>
                    </a:lnTo>
                    <a:lnTo>
                      <a:pt x="79" y="2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46" name="Freeform 1116"/>
              <p:cNvSpPr>
                <a:spLocks/>
              </p:cNvSpPr>
              <p:nvPr/>
            </p:nvSpPr>
            <p:spPr bwMode="auto">
              <a:xfrm>
                <a:off x="1562" y="2175"/>
                <a:ext cx="164" cy="59"/>
              </a:xfrm>
              <a:custGeom>
                <a:avLst/>
                <a:gdLst>
                  <a:gd name="T0" fmla="*/ 164 w 164"/>
                  <a:gd name="T1" fmla="*/ 59 h 59"/>
                  <a:gd name="T2" fmla="*/ 79 w 164"/>
                  <a:gd name="T3" fmla="*/ 40 h 59"/>
                  <a:gd name="T4" fmla="*/ 0 w 164"/>
                  <a:gd name="T5" fmla="*/ 20 h 59"/>
                  <a:gd name="T6" fmla="*/ 5 w 164"/>
                  <a:gd name="T7" fmla="*/ 0 h 5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64"/>
                  <a:gd name="T13" fmla="*/ 0 h 59"/>
                  <a:gd name="T14" fmla="*/ 164 w 164"/>
                  <a:gd name="T15" fmla="*/ 59 h 5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64" h="59">
                    <a:moveTo>
                      <a:pt x="164" y="59"/>
                    </a:moveTo>
                    <a:lnTo>
                      <a:pt x="79" y="40"/>
                    </a:lnTo>
                    <a:lnTo>
                      <a:pt x="0" y="20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47" name="Freeform 1117"/>
              <p:cNvSpPr>
                <a:spLocks/>
              </p:cNvSpPr>
              <p:nvPr/>
            </p:nvSpPr>
            <p:spPr bwMode="auto">
              <a:xfrm>
                <a:off x="1706" y="2210"/>
                <a:ext cx="15" cy="19"/>
              </a:xfrm>
              <a:custGeom>
                <a:avLst/>
                <a:gdLst>
                  <a:gd name="T0" fmla="*/ 15 w 15"/>
                  <a:gd name="T1" fmla="*/ 19 h 19"/>
                  <a:gd name="T2" fmla="*/ 15 w 15"/>
                  <a:gd name="T3" fmla="*/ 5 h 19"/>
                  <a:gd name="T4" fmla="*/ 0 w 15"/>
                  <a:gd name="T5" fmla="*/ 0 h 19"/>
                  <a:gd name="T6" fmla="*/ 0 w 15"/>
                  <a:gd name="T7" fmla="*/ 14 h 19"/>
                  <a:gd name="T8" fmla="*/ 15 w 15"/>
                  <a:gd name="T9" fmla="*/ 19 h 1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"/>
                  <a:gd name="T16" fmla="*/ 0 h 19"/>
                  <a:gd name="T17" fmla="*/ 15 w 15"/>
                  <a:gd name="T18" fmla="*/ 19 h 1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" h="19">
                    <a:moveTo>
                      <a:pt x="15" y="19"/>
                    </a:moveTo>
                    <a:lnTo>
                      <a:pt x="15" y="5"/>
                    </a:lnTo>
                    <a:lnTo>
                      <a:pt x="0" y="0"/>
                    </a:lnTo>
                    <a:lnTo>
                      <a:pt x="0" y="14"/>
                    </a:lnTo>
                    <a:lnTo>
                      <a:pt x="15" y="19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48" name="Freeform 1118"/>
              <p:cNvSpPr>
                <a:spLocks/>
              </p:cNvSpPr>
              <p:nvPr/>
            </p:nvSpPr>
            <p:spPr bwMode="auto">
              <a:xfrm>
                <a:off x="1572" y="2180"/>
                <a:ext cx="35" cy="20"/>
              </a:xfrm>
              <a:custGeom>
                <a:avLst/>
                <a:gdLst>
                  <a:gd name="T0" fmla="*/ 35 w 35"/>
                  <a:gd name="T1" fmla="*/ 10 h 20"/>
                  <a:gd name="T2" fmla="*/ 0 w 35"/>
                  <a:gd name="T3" fmla="*/ 0 h 20"/>
                  <a:gd name="T4" fmla="*/ 0 w 35"/>
                  <a:gd name="T5" fmla="*/ 10 h 20"/>
                  <a:gd name="T6" fmla="*/ 35 w 35"/>
                  <a:gd name="T7" fmla="*/ 20 h 20"/>
                  <a:gd name="T8" fmla="*/ 35 w 35"/>
                  <a:gd name="T9" fmla="*/ 10 h 2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5"/>
                  <a:gd name="T16" fmla="*/ 0 h 20"/>
                  <a:gd name="T17" fmla="*/ 35 w 35"/>
                  <a:gd name="T18" fmla="*/ 20 h 2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5" h="20">
                    <a:moveTo>
                      <a:pt x="35" y="10"/>
                    </a:moveTo>
                    <a:lnTo>
                      <a:pt x="0" y="0"/>
                    </a:lnTo>
                    <a:lnTo>
                      <a:pt x="0" y="10"/>
                    </a:lnTo>
                    <a:lnTo>
                      <a:pt x="35" y="20"/>
                    </a:lnTo>
                    <a:lnTo>
                      <a:pt x="35" y="1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49" name="Line 1119"/>
              <p:cNvSpPr>
                <a:spLocks noChangeShapeType="1"/>
              </p:cNvSpPr>
              <p:nvPr/>
            </p:nvSpPr>
            <p:spPr bwMode="auto">
              <a:xfrm>
                <a:off x="1681" y="2205"/>
                <a:ext cx="1" cy="19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50" name="Line 1120"/>
              <p:cNvSpPr>
                <a:spLocks noChangeShapeType="1"/>
              </p:cNvSpPr>
              <p:nvPr/>
            </p:nvSpPr>
            <p:spPr bwMode="auto">
              <a:xfrm>
                <a:off x="1617" y="2190"/>
                <a:ext cx="1" cy="20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51" name="Freeform 1121"/>
              <p:cNvSpPr>
                <a:spLocks/>
              </p:cNvSpPr>
              <p:nvPr/>
            </p:nvSpPr>
            <p:spPr bwMode="auto">
              <a:xfrm>
                <a:off x="1617" y="2190"/>
                <a:ext cx="64" cy="20"/>
              </a:xfrm>
              <a:custGeom>
                <a:avLst/>
                <a:gdLst>
                  <a:gd name="T0" fmla="*/ 0 w 64"/>
                  <a:gd name="T1" fmla="*/ 0 h 20"/>
                  <a:gd name="T2" fmla="*/ 29 w 64"/>
                  <a:gd name="T3" fmla="*/ 10 h 20"/>
                  <a:gd name="T4" fmla="*/ 64 w 64"/>
                  <a:gd name="T5" fmla="*/ 20 h 20"/>
                  <a:gd name="T6" fmla="*/ 0 60000 65536"/>
                  <a:gd name="T7" fmla="*/ 0 60000 65536"/>
                  <a:gd name="T8" fmla="*/ 0 60000 65536"/>
                  <a:gd name="T9" fmla="*/ 0 w 64"/>
                  <a:gd name="T10" fmla="*/ 0 h 20"/>
                  <a:gd name="T11" fmla="*/ 64 w 64"/>
                  <a:gd name="T12" fmla="*/ 20 h 2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4" h="20">
                    <a:moveTo>
                      <a:pt x="0" y="0"/>
                    </a:moveTo>
                    <a:lnTo>
                      <a:pt x="29" y="10"/>
                    </a:lnTo>
                    <a:lnTo>
                      <a:pt x="64" y="2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52" name="Freeform 1122"/>
              <p:cNvSpPr>
                <a:spLocks/>
              </p:cNvSpPr>
              <p:nvPr/>
            </p:nvSpPr>
            <p:spPr bwMode="auto">
              <a:xfrm>
                <a:off x="1617" y="2195"/>
                <a:ext cx="64" cy="15"/>
              </a:xfrm>
              <a:custGeom>
                <a:avLst/>
                <a:gdLst>
                  <a:gd name="T0" fmla="*/ 0 w 64"/>
                  <a:gd name="T1" fmla="*/ 0 h 15"/>
                  <a:gd name="T2" fmla="*/ 29 w 64"/>
                  <a:gd name="T3" fmla="*/ 5 h 15"/>
                  <a:gd name="T4" fmla="*/ 64 w 64"/>
                  <a:gd name="T5" fmla="*/ 15 h 15"/>
                  <a:gd name="T6" fmla="*/ 0 60000 65536"/>
                  <a:gd name="T7" fmla="*/ 0 60000 65536"/>
                  <a:gd name="T8" fmla="*/ 0 60000 65536"/>
                  <a:gd name="T9" fmla="*/ 0 w 64"/>
                  <a:gd name="T10" fmla="*/ 0 h 15"/>
                  <a:gd name="T11" fmla="*/ 64 w 64"/>
                  <a:gd name="T12" fmla="*/ 15 h 1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4" h="15">
                    <a:moveTo>
                      <a:pt x="0" y="0"/>
                    </a:moveTo>
                    <a:lnTo>
                      <a:pt x="29" y="5"/>
                    </a:lnTo>
                    <a:lnTo>
                      <a:pt x="64" y="1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53" name="Freeform 1123"/>
              <p:cNvSpPr>
                <a:spLocks/>
              </p:cNvSpPr>
              <p:nvPr/>
            </p:nvSpPr>
            <p:spPr bwMode="auto">
              <a:xfrm>
                <a:off x="1617" y="2200"/>
                <a:ext cx="64" cy="15"/>
              </a:xfrm>
              <a:custGeom>
                <a:avLst/>
                <a:gdLst>
                  <a:gd name="T0" fmla="*/ 0 w 64"/>
                  <a:gd name="T1" fmla="*/ 0 h 15"/>
                  <a:gd name="T2" fmla="*/ 29 w 64"/>
                  <a:gd name="T3" fmla="*/ 5 h 15"/>
                  <a:gd name="T4" fmla="*/ 64 w 64"/>
                  <a:gd name="T5" fmla="*/ 15 h 15"/>
                  <a:gd name="T6" fmla="*/ 0 60000 65536"/>
                  <a:gd name="T7" fmla="*/ 0 60000 65536"/>
                  <a:gd name="T8" fmla="*/ 0 60000 65536"/>
                  <a:gd name="T9" fmla="*/ 0 w 64"/>
                  <a:gd name="T10" fmla="*/ 0 h 15"/>
                  <a:gd name="T11" fmla="*/ 64 w 64"/>
                  <a:gd name="T12" fmla="*/ 15 h 1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4" h="15">
                    <a:moveTo>
                      <a:pt x="0" y="0"/>
                    </a:moveTo>
                    <a:lnTo>
                      <a:pt x="29" y="5"/>
                    </a:lnTo>
                    <a:lnTo>
                      <a:pt x="64" y="1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54" name="Freeform 1124"/>
              <p:cNvSpPr>
                <a:spLocks/>
              </p:cNvSpPr>
              <p:nvPr/>
            </p:nvSpPr>
            <p:spPr bwMode="auto">
              <a:xfrm>
                <a:off x="1617" y="2205"/>
                <a:ext cx="64" cy="15"/>
              </a:xfrm>
              <a:custGeom>
                <a:avLst/>
                <a:gdLst>
                  <a:gd name="T0" fmla="*/ 0 w 64"/>
                  <a:gd name="T1" fmla="*/ 0 h 15"/>
                  <a:gd name="T2" fmla="*/ 29 w 64"/>
                  <a:gd name="T3" fmla="*/ 5 h 15"/>
                  <a:gd name="T4" fmla="*/ 64 w 64"/>
                  <a:gd name="T5" fmla="*/ 15 h 15"/>
                  <a:gd name="T6" fmla="*/ 0 60000 65536"/>
                  <a:gd name="T7" fmla="*/ 0 60000 65536"/>
                  <a:gd name="T8" fmla="*/ 0 60000 65536"/>
                  <a:gd name="T9" fmla="*/ 0 w 64"/>
                  <a:gd name="T10" fmla="*/ 0 h 15"/>
                  <a:gd name="T11" fmla="*/ 64 w 64"/>
                  <a:gd name="T12" fmla="*/ 15 h 1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4" h="15">
                    <a:moveTo>
                      <a:pt x="0" y="0"/>
                    </a:moveTo>
                    <a:lnTo>
                      <a:pt x="29" y="5"/>
                    </a:lnTo>
                    <a:lnTo>
                      <a:pt x="64" y="1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55" name="Freeform 1125"/>
              <p:cNvSpPr>
                <a:spLocks/>
              </p:cNvSpPr>
              <p:nvPr/>
            </p:nvSpPr>
            <p:spPr bwMode="auto">
              <a:xfrm>
                <a:off x="1617" y="2205"/>
                <a:ext cx="64" cy="19"/>
              </a:xfrm>
              <a:custGeom>
                <a:avLst/>
                <a:gdLst>
                  <a:gd name="T0" fmla="*/ 0 w 64"/>
                  <a:gd name="T1" fmla="*/ 0 h 19"/>
                  <a:gd name="T2" fmla="*/ 29 w 64"/>
                  <a:gd name="T3" fmla="*/ 10 h 19"/>
                  <a:gd name="T4" fmla="*/ 64 w 64"/>
                  <a:gd name="T5" fmla="*/ 19 h 19"/>
                  <a:gd name="T6" fmla="*/ 0 60000 65536"/>
                  <a:gd name="T7" fmla="*/ 0 60000 65536"/>
                  <a:gd name="T8" fmla="*/ 0 60000 65536"/>
                  <a:gd name="T9" fmla="*/ 0 w 64"/>
                  <a:gd name="T10" fmla="*/ 0 h 19"/>
                  <a:gd name="T11" fmla="*/ 64 w 64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4" h="19">
                    <a:moveTo>
                      <a:pt x="0" y="0"/>
                    </a:moveTo>
                    <a:lnTo>
                      <a:pt x="29" y="10"/>
                    </a:lnTo>
                    <a:lnTo>
                      <a:pt x="64" y="19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56" name="Freeform 1126"/>
              <p:cNvSpPr>
                <a:spLocks/>
              </p:cNvSpPr>
              <p:nvPr/>
            </p:nvSpPr>
            <p:spPr bwMode="auto">
              <a:xfrm>
                <a:off x="1617" y="2190"/>
                <a:ext cx="64" cy="15"/>
              </a:xfrm>
              <a:custGeom>
                <a:avLst/>
                <a:gdLst>
                  <a:gd name="T0" fmla="*/ 64 w 64"/>
                  <a:gd name="T1" fmla="*/ 15 h 15"/>
                  <a:gd name="T2" fmla="*/ 29 w 64"/>
                  <a:gd name="T3" fmla="*/ 5 h 15"/>
                  <a:gd name="T4" fmla="*/ 0 w 64"/>
                  <a:gd name="T5" fmla="*/ 0 h 15"/>
                  <a:gd name="T6" fmla="*/ 0 60000 65536"/>
                  <a:gd name="T7" fmla="*/ 0 60000 65536"/>
                  <a:gd name="T8" fmla="*/ 0 60000 65536"/>
                  <a:gd name="T9" fmla="*/ 0 w 64"/>
                  <a:gd name="T10" fmla="*/ 0 h 15"/>
                  <a:gd name="T11" fmla="*/ 64 w 64"/>
                  <a:gd name="T12" fmla="*/ 15 h 1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4" h="15">
                    <a:moveTo>
                      <a:pt x="64" y="15"/>
                    </a:moveTo>
                    <a:lnTo>
                      <a:pt x="29" y="5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57" name="Line 1127"/>
              <p:cNvSpPr>
                <a:spLocks noChangeShapeType="1"/>
              </p:cNvSpPr>
              <p:nvPr/>
            </p:nvSpPr>
            <p:spPr bwMode="auto">
              <a:xfrm>
                <a:off x="1641" y="2195"/>
                <a:ext cx="1" cy="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58" name="Line 1128"/>
              <p:cNvSpPr>
                <a:spLocks noChangeShapeType="1"/>
              </p:cNvSpPr>
              <p:nvPr/>
            </p:nvSpPr>
            <p:spPr bwMode="auto">
              <a:xfrm>
                <a:off x="1646" y="2195"/>
                <a:ext cx="1" cy="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59" name="Line 1129"/>
              <p:cNvSpPr>
                <a:spLocks noChangeShapeType="1"/>
              </p:cNvSpPr>
              <p:nvPr/>
            </p:nvSpPr>
            <p:spPr bwMode="auto">
              <a:xfrm>
                <a:off x="1641" y="2200"/>
                <a:ext cx="1" cy="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60" name="Line 1130"/>
              <p:cNvSpPr>
                <a:spLocks noChangeShapeType="1"/>
              </p:cNvSpPr>
              <p:nvPr/>
            </p:nvSpPr>
            <p:spPr bwMode="auto">
              <a:xfrm>
                <a:off x="1646" y="2205"/>
                <a:ext cx="1" cy="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61" name="Line 1131"/>
              <p:cNvSpPr>
                <a:spLocks noChangeShapeType="1"/>
              </p:cNvSpPr>
              <p:nvPr/>
            </p:nvSpPr>
            <p:spPr bwMode="auto">
              <a:xfrm>
                <a:off x="1641" y="2210"/>
                <a:ext cx="1" cy="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62" name="Line 1132"/>
              <p:cNvSpPr>
                <a:spLocks noChangeShapeType="1"/>
              </p:cNvSpPr>
              <p:nvPr/>
            </p:nvSpPr>
            <p:spPr bwMode="auto">
              <a:xfrm>
                <a:off x="1646" y="2210"/>
                <a:ext cx="1" cy="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63" name="Freeform 1133"/>
              <p:cNvSpPr>
                <a:spLocks/>
              </p:cNvSpPr>
              <p:nvPr/>
            </p:nvSpPr>
            <p:spPr bwMode="auto">
              <a:xfrm>
                <a:off x="1567" y="2205"/>
                <a:ext cx="159" cy="49"/>
              </a:xfrm>
              <a:custGeom>
                <a:avLst/>
                <a:gdLst>
                  <a:gd name="T0" fmla="*/ 159 w 159"/>
                  <a:gd name="T1" fmla="*/ 39 h 49"/>
                  <a:gd name="T2" fmla="*/ 79 w 159"/>
                  <a:gd name="T3" fmla="*/ 19 h 49"/>
                  <a:gd name="T4" fmla="*/ 0 w 159"/>
                  <a:gd name="T5" fmla="*/ 0 h 49"/>
                  <a:gd name="T6" fmla="*/ 0 w 159"/>
                  <a:gd name="T7" fmla="*/ 15 h 49"/>
                  <a:gd name="T8" fmla="*/ 79 w 159"/>
                  <a:gd name="T9" fmla="*/ 34 h 49"/>
                  <a:gd name="T10" fmla="*/ 159 w 159"/>
                  <a:gd name="T11" fmla="*/ 49 h 49"/>
                  <a:gd name="T12" fmla="*/ 159 w 159"/>
                  <a:gd name="T13" fmla="*/ 39 h 4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9"/>
                  <a:gd name="T22" fmla="*/ 0 h 49"/>
                  <a:gd name="T23" fmla="*/ 159 w 159"/>
                  <a:gd name="T24" fmla="*/ 49 h 4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9" h="49">
                    <a:moveTo>
                      <a:pt x="159" y="39"/>
                    </a:moveTo>
                    <a:lnTo>
                      <a:pt x="79" y="19"/>
                    </a:lnTo>
                    <a:lnTo>
                      <a:pt x="0" y="0"/>
                    </a:lnTo>
                    <a:lnTo>
                      <a:pt x="0" y="15"/>
                    </a:lnTo>
                    <a:lnTo>
                      <a:pt x="79" y="34"/>
                    </a:lnTo>
                    <a:lnTo>
                      <a:pt x="159" y="49"/>
                    </a:lnTo>
                    <a:lnTo>
                      <a:pt x="159" y="39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64" name="Freeform 1134"/>
              <p:cNvSpPr>
                <a:spLocks/>
              </p:cNvSpPr>
              <p:nvPr/>
            </p:nvSpPr>
            <p:spPr bwMode="auto">
              <a:xfrm>
                <a:off x="1567" y="2224"/>
                <a:ext cx="159" cy="45"/>
              </a:xfrm>
              <a:custGeom>
                <a:avLst/>
                <a:gdLst>
                  <a:gd name="T0" fmla="*/ 159 w 159"/>
                  <a:gd name="T1" fmla="*/ 40 h 45"/>
                  <a:gd name="T2" fmla="*/ 79 w 159"/>
                  <a:gd name="T3" fmla="*/ 20 h 45"/>
                  <a:gd name="T4" fmla="*/ 0 w 159"/>
                  <a:gd name="T5" fmla="*/ 0 h 45"/>
                  <a:gd name="T6" fmla="*/ 0 w 159"/>
                  <a:gd name="T7" fmla="*/ 10 h 45"/>
                  <a:gd name="T8" fmla="*/ 79 w 159"/>
                  <a:gd name="T9" fmla="*/ 25 h 45"/>
                  <a:gd name="T10" fmla="*/ 159 w 159"/>
                  <a:gd name="T11" fmla="*/ 45 h 45"/>
                  <a:gd name="T12" fmla="*/ 159 w 159"/>
                  <a:gd name="T13" fmla="*/ 40 h 4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9"/>
                  <a:gd name="T22" fmla="*/ 0 h 45"/>
                  <a:gd name="T23" fmla="*/ 159 w 159"/>
                  <a:gd name="T24" fmla="*/ 45 h 45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9" h="45">
                    <a:moveTo>
                      <a:pt x="159" y="40"/>
                    </a:moveTo>
                    <a:lnTo>
                      <a:pt x="79" y="20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79" y="25"/>
                    </a:lnTo>
                    <a:lnTo>
                      <a:pt x="159" y="45"/>
                    </a:lnTo>
                    <a:lnTo>
                      <a:pt x="159" y="4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65" name="Freeform 1135"/>
              <p:cNvSpPr>
                <a:spLocks/>
              </p:cNvSpPr>
              <p:nvPr/>
            </p:nvSpPr>
            <p:spPr bwMode="auto">
              <a:xfrm>
                <a:off x="1552" y="2145"/>
                <a:ext cx="179" cy="134"/>
              </a:xfrm>
              <a:custGeom>
                <a:avLst/>
                <a:gdLst>
                  <a:gd name="T0" fmla="*/ 10 w 179"/>
                  <a:gd name="T1" fmla="*/ 0 h 134"/>
                  <a:gd name="T2" fmla="*/ 5 w 179"/>
                  <a:gd name="T3" fmla="*/ 5 h 134"/>
                  <a:gd name="T4" fmla="*/ 0 w 179"/>
                  <a:gd name="T5" fmla="*/ 45 h 134"/>
                  <a:gd name="T6" fmla="*/ 5 w 179"/>
                  <a:gd name="T7" fmla="*/ 89 h 134"/>
                  <a:gd name="T8" fmla="*/ 5 w 179"/>
                  <a:gd name="T9" fmla="*/ 94 h 134"/>
                  <a:gd name="T10" fmla="*/ 89 w 179"/>
                  <a:gd name="T11" fmla="*/ 114 h 134"/>
                  <a:gd name="T12" fmla="*/ 179 w 179"/>
                  <a:gd name="T13" fmla="*/ 134 h 13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9"/>
                  <a:gd name="T22" fmla="*/ 0 h 134"/>
                  <a:gd name="T23" fmla="*/ 179 w 179"/>
                  <a:gd name="T24" fmla="*/ 134 h 13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9" h="134">
                    <a:moveTo>
                      <a:pt x="10" y="0"/>
                    </a:moveTo>
                    <a:lnTo>
                      <a:pt x="5" y="5"/>
                    </a:lnTo>
                    <a:lnTo>
                      <a:pt x="0" y="45"/>
                    </a:lnTo>
                    <a:lnTo>
                      <a:pt x="5" y="89"/>
                    </a:lnTo>
                    <a:lnTo>
                      <a:pt x="5" y="94"/>
                    </a:lnTo>
                    <a:lnTo>
                      <a:pt x="89" y="114"/>
                    </a:lnTo>
                    <a:lnTo>
                      <a:pt x="179" y="134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66" name="Freeform 1136"/>
              <p:cNvSpPr>
                <a:spLocks/>
              </p:cNvSpPr>
              <p:nvPr/>
            </p:nvSpPr>
            <p:spPr bwMode="auto">
              <a:xfrm>
                <a:off x="1557" y="2150"/>
                <a:ext cx="5" cy="84"/>
              </a:xfrm>
              <a:custGeom>
                <a:avLst/>
                <a:gdLst>
                  <a:gd name="T0" fmla="*/ 5 w 5"/>
                  <a:gd name="T1" fmla="*/ 0 h 84"/>
                  <a:gd name="T2" fmla="*/ 0 w 5"/>
                  <a:gd name="T3" fmla="*/ 40 h 84"/>
                  <a:gd name="T4" fmla="*/ 5 w 5"/>
                  <a:gd name="T5" fmla="*/ 84 h 84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84"/>
                  <a:gd name="T11" fmla="*/ 5 w 5"/>
                  <a:gd name="T12" fmla="*/ 84 h 8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84">
                    <a:moveTo>
                      <a:pt x="5" y="0"/>
                    </a:moveTo>
                    <a:lnTo>
                      <a:pt x="0" y="40"/>
                    </a:lnTo>
                    <a:lnTo>
                      <a:pt x="5" y="84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67" name="Freeform 1137"/>
              <p:cNvSpPr>
                <a:spLocks/>
              </p:cNvSpPr>
              <p:nvPr/>
            </p:nvSpPr>
            <p:spPr bwMode="auto">
              <a:xfrm>
                <a:off x="1552" y="2239"/>
                <a:ext cx="219" cy="50"/>
              </a:xfrm>
              <a:custGeom>
                <a:avLst/>
                <a:gdLst>
                  <a:gd name="T0" fmla="*/ 214 w 219"/>
                  <a:gd name="T1" fmla="*/ 40 h 50"/>
                  <a:gd name="T2" fmla="*/ 214 w 219"/>
                  <a:gd name="T3" fmla="*/ 45 h 50"/>
                  <a:gd name="T4" fmla="*/ 219 w 219"/>
                  <a:gd name="T5" fmla="*/ 50 h 50"/>
                  <a:gd name="T6" fmla="*/ 204 w 219"/>
                  <a:gd name="T7" fmla="*/ 50 h 50"/>
                  <a:gd name="T8" fmla="*/ 189 w 219"/>
                  <a:gd name="T9" fmla="*/ 50 h 50"/>
                  <a:gd name="T10" fmla="*/ 94 w 219"/>
                  <a:gd name="T11" fmla="*/ 30 h 50"/>
                  <a:gd name="T12" fmla="*/ 10 w 219"/>
                  <a:gd name="T13" fmla="*/ 10 h 50"/>
                  <a:gd name="T14" fmla="*/ 0 w 219"/>
                  <a:gd name="T15" fmla="*/ 5 h 50"/>
                  <a:gd name="T16" fmla="*/ 0 w 219"/>
                  <a:gd name="T17" fmla="*/ 0 h 50"/>
                  <a:gd name="T18" fmla="*/ 0 w 219"/>
                  <a:gd name="T19" fmla="*/ 0 h 50"/>
                  <a:gd name="T20" fmla="*/ 5 w 219"/>
                  <a:gd name="T21" fmla="*/ 0 h 5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19"/>
                  <a:gd name="T34" fmla="*/ 0 h 50"/>
                  <a:gd name="T35" fmla="*/ 219 w 219"/>
                  <a:gd name="T36" fmla="*/ 50 h 5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19" h="50">
                    <a:moveTo>
                      <a:pt x="214" y="40"/>
                    </a:moveTo>
                    <a:lnTo>
                      <a:pt x="214" y="45"/>
                    </a:lnTo>
                    <a:lnTo>
                      <a:pt x="219" y="50"/>
                    </a:lnTo>
                    <a:lnTo>
                      <a:pt x="204" y="50"/>
                    </a:lnTo>
                    <a:lnTo>
                      <a:pt x="189" y="50"/>
                    </a:lnTo>
                    <a:lnTo>
                      <a:pt x="94" y="30"/>
                    </a:lnTo>
                    <a:lnTo>
                      <a:pt x="10" y="10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68" name="Freeform 1138"/>
              <p:cNvSpPr>
                <a:spLocks/>
              </p:cNvSpPr>
              <p:nvPr/>
            </p:nvSpPr>
            <p:spPr bwMode="auto">
              <a:xfrm>
                <a:off x="1567" y="2244"/>
                <a:ext cx="164" cy="40"/>
              </a:xfrm>
              <a:custGeom>
                <a:avLst/>
                <a:gdLst>
                  <a:gd name="T0" fmla="*/ 0 w 164"/>
                  <a:gd name="T1" fmla="*/ 0 h 40"/>
                  <a:gd name="T2" fmla="*/ 25 w 164"/>
                  <a:gd name="T3" fmla="*/ 10 h 40"/>
                  <a:gd name="T4" fmla="*/ 25 w 164"/>
                  <a:gd name="T5" fmla="*/ 5 h 40"/>
                  <a:gd name="T6" fmla="*/ 50 w 164"/>
                  <a:gd name="T7" fmla="*/ 15 h 40"/>
                  <a:gd name="T8" fmla="*/ 50 w 164"/>
                  <a:gd name="T9" fmla="*/ 15 h 40"/>
                  <a:gd name="T10" fmla="*/ 109 w 164"/>
                  <a:gd name="T11" fmla="*/ 30 h 40"/>
                  <a:gd name="T12" fmla="*/ 109 w 164"/>
                  <a:gd name="T13" fmla="*/ 30 h 40"/>
                  <a:gd name="T14" fmla="*/ 134 w 164"/>
                  <a:gd name="T15" fmla="*/ 35 h 40"/>
                  <a:gd name="T16" fmla="*/ 134 w 164"/>
                  <a:gd name="T17" fmla="*/ 35 h 40"/>
                  <a:gd name="T18" fmla="*/ 164 w 164"/>
                  <a:gd name="T19" fmla="*/ 40 h 4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64"/>
                  <a:gd name="T31" fmla="*/ 0 h 40"/>
                  <a:gd name="T32" fmla="*/ 164 w 164"/>
                  <a:gd name="T33" fmla="*/ 40 h 4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64" h="40">
                    <a:moveTo>
                      <a:pt x="0" y="0"/>
                    </a:moveTo>
                    <a:lnTo>
                      <a:pt x="25" y="10"/>
                    </a:lnTo>
                    <a:lnTo>
                      <a:pt x="25" y="5"/>
                    </a:lnTo>
                    <a:lnTo>
                      <a:pt x="50" y="15"/>
                    </a:lnTo>
                    <a:lnTo>
                      <a:pt x="109" y="30"/>
                    </a:lnTo>
                    <a:lnTo>
                      <a:pt x="134" y="35"/>
                    </a:lnTo>
                    <a:lnTo>
                      <a:pt x="164" y="4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69" name="Freeform 1139"/>
              <p:cNvSpPr>
                <a:spLocks/>
              </p:cNvSpPr>
              <p:nvPr/>
            </p:nvSpPr>
            <p:spPr bwMode="auto">
              <a:xfrm>
                <a:off x="1552" y="2239"/>
                <a:ext cx="194" cy="94"/>
              </a:xfrm>
              <a:custGeom>
                <a:avLst/>
                <a:gdLst>
                  <a:gd name="T0" fmla="*/ 0 w 194"/>
                  <a:gd name="T1" fmla="*/ 0 h 94"/>
                  <a:gd name="T2" fmla="*/ 0 w 194"/>
                  <a:gd name="T3" fmla="*/ 35 h 94"/>
                  <a:gd name="T4" fmla="*/ 0 w 194"/>
                  <a:gd name="T5" fmla="*/ 40 h 94"/>
                  <a:gd name="T6" fmla="*/ 5 w 194"/>
                  <a:gd name="T7" fmla="*/ 50 h 94"/>
                  <a:gd name="T8" fmla="*/ 94 w 194"/>
                  <a:gd name="T9" fmla="*/ 70 h 94"/>
                  <a:gd name="T10" fmla="*/ 194 w 194"/>
                  <a:gd name="T11" fmla="*/ 94 h 9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4"/>
                  <a:gd name="T19" fmla="*/ 0 h 94"/>
                  <a:gd name="T20" fmla="*/ 194 w 194"/>
                  <a:gd name="T21" fmla="*/ 94 h 9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4" h="94">
                    <a:moveTo>
                      <a:pt x="0" y="0"/>
                    </a:moveTo>
                    <a:lnTo>
                      <a:pt x="0" y="35"/>
                    </a:lnTo>
                    <a:lnTo>
                      <a:pt x="0" y="40"/>
                    </a:lnTo>
                    <a:lnTo>
                      <a:pt x="5" y="50"/>
                    </a:lnTo>
                    <a:lnTo>
                      <a:pt x="94" y="70"/>
                    </a:lnTo>
                    <a:lnTo>
                      <a:pt x="194" y="94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70" name="Freeform 1140"/>
              <p:cNvSpPr>
                <a:spLocks/>
              </p:cNvSpPr>
              <p:nvPr/>
            </p:nvSpPr>
            <p:spPr bwMode="auto">
              <a:xfrm>
                <a:off x="1746" y="2289"/>
                <a:ext cx="25" cy="44"/>
              </a:xfrm>
              <a:custGeom>
                <a:avLst/>
                <a:gdLst>
                  <a:gd name="T0" fmla="*/ 25 w 25"/>
                  <a:gd name="T1" fmla="*/ 0 h 44"/>
                  <a:gd name="T2" fmla="*/ 25 w 25"/>
                  <a:gd name="T3" fmla="*/ 44 h 44"/>
                  <a:gd name="T4" fmla="*/ 10 w 25"/>
                  <a:gd name="T5" fmla="*/ 44 h 44"/>
                  <a:gd name="T6" fmla="*/ 0 w 25"/>
                  <a:gd name="T7" fmla="*/ 44 h 4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5"/>
                  <a:gd name="T13" fmla="*/ 0 h 44"/>
                  <a:gd name="T14" fmla="*/ 25 w 25"/>
                  <a:gd name="T15" fmla="*/ 44 h 4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5" h="44">
                    <a:moveTo>
                      <a:pt x="25" y="0"/>
                    </a:moveTo>
                    <a:lnTo>
                      <a:pt x="25" y="44"/>
                    </a:lnTo>
                    <a:lnTo>
                      <a:pt x="10" y="44"/>
                    </a:lnTo>
                    <a:lnTo>
                      <a:pt x="0" y="44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71" name="Freeform 1141"/>
              <p:cNvSpPr>
                <a:spLocks/>
              </p:cNvSpPr>
              <p:nvPr/>
            </p:nvSpPr>
            <p:spPr bwMode="auto">
              <a:xfrm>
                <a:off x="1552" y="2274"/>
                <a:ext cx="219" cy="54"/>
              </a:xfrm>
              <a:custGeom>
                <a:avLst/>
                <a:gdLst>
                  <a:gd name="T0" fmla="*/ 219 w 219"/>
                  <a:gd name="T1" fmla="*/ 50 h 54"/>
                  <a:gd name="T2" fmla="*/ 204 w 219"/>
                  <a:gd name="T3" fmla="*/ 50 h 54"/>
                  <a:gd name="T4" fmla="*/ 194 w 219"/>
                  <a:gd name="T5" fmla="*/ 54 h 54"/>
                  <a:gd name="T6" fmla="*/ 94 w 219"/>
                  <a:gd name="T7" fmla="*/ 30 h 54"/>
                  <a:gd name="T8" fmla="*/ 5 w 219"/>
                  <a:gd name="T9" fmla="*/ 5 h 54"/>
                  <a:gd name="T10" fmla="*/ 0 w 219"/>
                  <a:gd name="T11" fmla="*/ 0 h 54"/>
                  <a:gd name="T12" fmla="*/ 0 w 219"/>
                  <a:gd name="T13" fmla="*/ 0 h 5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19"/>
                  <a:gd name="T22" fmla="*/ 0 h 54"/>
                  <a:gd name="T23" fmla="*/ 219 w 219"/>
                  <a:gd name="T24" fmla="*/ 54 h 5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19" h="54">
                    <a:moveTo>
                      <a:pt x="219" y="50"/>
                    </a:moveTo>
                    <a:lnTo>
                      <a:pt x="204" y="50"/>
                    </a:lnTo>
                    <a:lnTo>
                      <a:pt x="194" y="54"/>
                    </a:lnTo>
                    <a:lnTo>
                      <a:pt x="94" y="30"/>
                    </a:lnTo>
                    <a:lnTo>
                      <a:pt x="5" y="5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72" name="Freeform 1142"/>
              <p:cNvSpPr>
                <a:spLocks/>
              </p:cNvSpPr>
              <p:nvPr/>
            </p:nvSpPr>
            <p:spPr bwMode="auto">
              <a:xfrm>
                <a:off x="1562" y="2294"/>
                <a:ext cx="25" cy="20"/>
              </a:xfrm>
              <a:custGeom>
                <a:avLst/>
                <a:gdLst>
                  <a:gd name="T0" fmla="*/ 0 w 25"/>
                  <a:gd name="T1" fmla="*/ 0 h 20"/>
                  <a:gd name="T2" fmla="*/ 25 w 25"/>
                  <a:gd name="T3" fmla="*/ 5 h 20"/>
                  <a:gd name="T4" fmla="*/ 25 w 25"/>
                  <a:gd name="T5" fmla="*/ 20 h 20"/>
                  <a:gd name="T6" fmla="*/ 0 60000 65536"/>
                  <a:gd name="T7" fmla="*/ 0 60000 65536"/>
                  <a:gd name="T8" fmla="*/ 0 60000 65536"/>
                  <a:gd name="T9" fmla="*/ 0 w 25"/>
                  <a:gd name="T10" fmla="*/ 0 h 20"/>
                  <a:gd name="T11" fmla="*/ 25 w 25"/>
                  <a:gd name="T12" fmla="*/ 20 h 2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5" h="20">
                    <a:moveTo>
                      <a:pt x="0" y="0"/>
                    </a:moveTo>
                    <a:lnTo>
                      <a:pt x="25" y="5"/>
                    </a:lnTo>
                    <a:lnTo>
                      <a:pt x="25" y="2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73" name="Freeform 1143"/>
              <p:cNvSpPr>
                <a:spLocks/>
              </p:cNvSpPr>
              <p:nvPr/>
            </p:nvSpPr>
            <p:spPr bwMode="auto">
              <a:xfrm>
                <a:off x="1562" y="2294"/>
                <a:ext cx="25" cy="20"/>
              </a:xfrm>
              <a:custGeom>
                <a:avLst/>
                <a:gdLst>
                  <a:gd name="T0" fmla="*/ 0 w 25"/>
                  <a:gd name="T1" fmla="*/ 0 h 20"/>
                  <a:gd name="T2" fmla="*/ 0 w 25"/>
                  <a:gd name="T3" fmla="*/ 15 h 20"/>
                  <a:gd name="T4" fmla="*/ 10 w 25"/>
                  <a:gd name="T5" fmla="*/ 15 h 20"/>
                  <a:gd name="T6" fmla="*/ 25 w 25"/>
                  <a:gd name="T7" fmla="*/ 20 h 2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5"/>
                  <a:gd name="T13" fmla="*/ 0 h 20"/>
                  <a:gd name="T14" fmla="*/ 25 w 25"/>
                  <a:gd name="T15" fmla="*/ 20 h 2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5" h="20">
                    <a:moveTo>
                      <a:pt x="0" y="0"/>
                    </a:moveTo>
                    <a:lnTo>
                      <a:pt x="0" y="15"/>
                    </a:lnTo>
                    <a:lnTo>
                      <a:pt x="10" y="15"/>
                    </a:lnTo>
                    <a:lnTo>
                      <a:pt x="25" y="2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74" name="Freeform 1144"/>
              <p:cNvSpPr>
                <a:spLocks/>
              </p:cNvSpPr>
              <p:nvPr/>
            </p:nvSpPr>
            <p:spPr bwMode="auto">
              <a:xfrm>
                <a:off x="1562" y="2294"/>
                <a:ext cx="25" cy="15"/>
              </a:xfrm>
              <a:custGeom>
                <a:avLst/>
                <a:gdLst>
                  <a:gd name="T0" fmla="*/ 0 w 25"/>
                  <a:gd name="T1" fmla="*/ 0 h 15"/>
                  <a:gd name="T2" fmla="*/ 5 w 25"/>
                  <a:gd name="T3" fmla="*/ 10 h 15"/>
                  <a:gd name="T4" fmla="*/ 25 w 25"/>
                  <a:gd name="T5" fmla="*/ 15 h 15"/>
                  <a:gd name="T6" fmla="*/ 0 60000 65536"/>
                  <a:gd name="T7" fmla="*/ 0 60000 65536"/>
                  <a:gd name="T8" fmla="*/ 0 60000 65536"/>
                  <a:gd name="T9" fmla="*/ 0 w 25"/>
                  <a:gd name="T10" fmla="*/ 0 h 15"/>
                  <a:gd name="T11" fmla="*/ 25 w 25"/>
                  <a:gd name="T12" fmla="*/ 15 h 1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5" h="15">
                    <a:moveTo>
                      <a:pt x="0" y="0"/>
                    </a:moveTo>
                    <a:lnTo>
                      <a:pt x="5" y="10"/>
                    </a:lnTo>
                    <a:lnTo>
                      <a:pt x="25" y="1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75" name="Freeform 1145"/>
              <p:cNvSpPr>
                <a:spLocks/>
              </p:cNvSpPr>
              <p:nvPr/>
            </p:nvSpPr>
            <p:spPr bwMode="auto">
              <a:xfrm>
                <a:off x="1716" y="2333"/>
                <a:ext cx="30" cy="20"/>
              </a:xfrm>
              <a:custGeom>
                <a:avLst/>
                <a:gdLst>
                  <a:gd name="T0" fmla="*/ 30 w 30"/>
                  <a:gd name="T1" fmla="*/ 20 h 20"/>
                  <a:gd name="T2" fmla="*/ 30 w 30"/>
                  <a:gd name="T3" fmla="*/ 5 h 20"/>
                  <a:gd name="T4" fmla="*/ 0 w 30"/>
                  <a:gd name="T5" fmla="*/ 0 h 20"/>
                  <a:gd name="T6" fmla="*/ 0 60000 65536"/>
                  <a:gd name="T7" fmla="*/ 0 60000 65536"/>
                  <a:gd name="T8" fmla="*/ 0 60000 65536"/>
                  <a:gd name="T9" fmla="*/ 0 w 30"/>
                  <a:gd name="T10" fmla="*/ 0 h 20"/>
                  <a:gd name="T11" fmla="*/ 30 w 30"/>
                  <a:gd name="T12" fmla="*/ 20 h 2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0" h="20">
                    <a:moveTo>
                      <a:pt x="30" y="20"/>
                    </a:moveTo>
                    <a:lnTo>
                      <a:pt x="30" y="5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76" name="Freeform 1146"/>
              <p:cNvSpPr>
                <a:spLocks/>
              </p:cNvSpPr>
              <p:nvPr/>
            </p:nvSpPr>
            <p:spPr bwMode="auto">
              <a:xfrm>
                <a:off x="1716" y="2333"/>
                <a:ext cx="25" cy="20"/>
              </a:xfrm>
              <a:custGeom>
                <a:avLst/>
                <a:gdLst>
                  <a:gd name="T0" fmla="*/ 0 w 25"/>
                  <a:gd name="T1" fmla="*/ 0 h 20"/>
                  <a:gd name="T2" fmla="*/ 0 w 25"/>
                  <a:gd name="T3" fmla="*/ 10 h 20"/>
                  <a:gd name="T4" fmla="*/ 25 w 25"/>
                  <a:gd name="T5" fmla="*/ 20 h 20"/>
                  <a:gd name="T6" fmla="*/ 0 60000 65536"/>
                  <a:gd name="T7" fmla="*/ 0 60000 65536"/>
                  <a:gd name="T8" fmla="*/ 0 60000 65536"/>
                  <a:gd name="T9" fmla="*/ 0 w 25"/>
                  <a:gd name="T10" fmla="*/ 0 h 20"/>
                  <a:gd name="T11" fmla="*/ 25 w 25"/>
                  <a:gd name="T12" fmla="*/ 20 h 2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5" h="20">
                    <a:moveTo>
                      <a:pt x="0" y="0"/>
                    </a:moveTo>
                    <a:lnTo>
                      <a:pt x="0" y="10"/>
                    </a:lnTo>
                    <a:lnTo>
                      <a:pt x="25" y="2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77" name="Freeform 1147"/>
              <p:cNvSpPr>
                <a:spLocks/>
              </p:cNvSpPr>
              <p:nvPr/>
            </p:nvSpPr>
            <p:spPr bwMode="auto">
              <a:xfrm>
                <a:off x="1721" y="2333"/>
                <a:ext cx="25" cy="15"/>
              </a:xfrm>
              <a:custGeom>
                <a:avLst/>
                <a:gdLst>
                  <a:gd name="T0" fmla="*/ 0 w 25"/>
                  <a:gd name="T1" fmla="*/ 0 h 15"/>
                  <a:gd name="T2" fmla="*/ 0 w 25"/>
                  <a:gd name="T3" fmla="*/ 10 h 15"/>
                  <a:gd name="T4" fmla="*/ 25 w 25"/>
                  <a:gd name="T5" fmla="*/ 15 h 15"/>
                  <a:gd name="T6" fmla="*/ 0 60000 65536"/>
                  <a:gd name="T7" fmla="*/ 0 60000 65536"/>
                  <a:gd name="T8" fmla="*/ 0 60000 65536"/>
                  <a:gd name="T9" fmla="*/ 0 w 25"/>
                  <a:gd name="T10" fmla="*/ 0 h 15"/>
                  <a:gd name="T11" fmla="*/ 25 w 25"/>
                  <a:gd name="T12" fmla="*/ 15 h 1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5" h="15">
                    <a:moveTo>
                      <a:pt x="0" y="0"/>
                    </a:moveTo>
                    <a:lnTo>
                      <a:pt x="0" y="10"/>
                    </a:lnTo>
                    <a:lnTo>
                      <a:pt x="25" y="1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78" name="Freeform 1148"/>
              <p:cNvSpPr>
                <a:spLocks/>
              </p:cNvSpPr>
              <p:nvPr/>
            </p:nvSpPr>
            <p:spPr bwMode="auto">
              <a:xfrm>
                <a:off x="1771" y="2274"/>
                <a:ext cx="30" cy="15"/>
              </a:xfrm>
              <a:custGeom>
                <a:avLst/>
                <a:gdLst>
                  <a:gd name="T0" fmla="*/ 0 w 30"/>
                  <a:gd name="T1" fmla="*/ 15 h 15"/>
                  <a:gd name="T2" fmla="*/ 30 w 30"/>
                  <a:gd name="T3" fmla="*/ 5 h 15"/>
                  <a:gd name="T4" fmla="*/ 5 w 30"/>
                  <a:gd name="T5" fmla="*/ 0 h 15"/>
                  <a:gd name="T6" fmla="*/ 0 60000 65536"/>
                  <a:gd name="T7" fmla="*/ 0 60000 65536"/>
                  <a:gd name="T8" fmla="*/ 0 60000 65536"/>
                  <a:gd name="T9" fmla="*/ 0 w 30"/>
                  <a:gd name="T10" fmla="*/ 0 h 15"/>
                  <a:gd name="T11" fmla="*/ 30 w 30"/>
                  <a:gd name="T12" fmla="*/ 15 h 1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0" h="15">
                    <a:moveTo>
                      <a:pt x="0" y="15"/>
                    </a:moveTo>
                    <a:lnTo>
                      <a:pt x="30" y="5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79" name="Line 1149"/>
              <p:cNvSpPr>
                <a:spLocks noChangeShapeType="1"/>
              </p:cNvSpPr>
              <p:nvPr/>
            </p:nvSpPr>
            <p:spPr bwMode="auto">
              <a:xfrm>
                <a:off x="1801" y="2279"/>
                <a:ext cx="1" cy="10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80" name="Line 1150"/>
              <p:cNvSpPr>
                <a:spLocks noChangeShapeType="1"/>
              </p:cNvSpPr>
              <p:nvPr/>
            </p:nvSpPr>
            <p:spPr bwMode="auto">
              <a:xfrm flipH="1">
                <a:off x="1771" y="2289"/>
                <a:ext cx="30" cy="10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81" name="Freeform 1151"/>
              <p:cNvSpPr>
                <a:spLocks/>
              </p:cNvSpPr>
              <p:nvPr/>
            </p:nvSpPr>
            <p:spPr bwMode="auto">
              <a:xfrm>
                <a:off x="1771" y="2304"/>
                <a:ext cx="25" cy="20"/>
              </a:xfrm>
              <a:custGeom>
                <a:avLst/>
                <a:gdLst>
                  <a:gd name="T0" fmla="*/ 0 w 25"/>
                  <a:gd name="T1" fmla="*/ 20 h 20"/>
                  <a:gd name="T2" fmla="*/ 25 w 25"/>
                  <a:gd name="T3" fmla="*/ 10 h 20"/>
                  <a:gd name="T4" fmla="*/ 0 w 25"/>
                  <a:gd name="T5" fmla="*/ 0 h 20"/>
                  <a:gd name="T6" fmla="*/ 0 60000 65536"/>
                  <a:gd name="T7" fmla="*/ 0 60000 65536"/>
                  <a:gd name="T8" fmla="*/ 0 60000 65536"/>
                  <a:gd name="T9" fmla="*/ 0 w 25"/>
                  <a:gd name="T10" fmla="*/ 0 h 20"/>
                  <a:gd name="T11" fmla="*/ 25 w 25"/>
                  <a:gd name="T12" fmla="*/ 20 h 2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5" h="20">
                    <a:moveTo>
                      <a:pt x="0" y="20"/>
                    </a:moveTo>
                    <a:lnTo>
                      <a:pt x="25" y="1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82" name="Freeform 1152"/>
              <p:cNvSpPr>
                <a:spLocks/>
              </p:cNvSpPr>
              <p:nvPr/>
            </p:nvSpPr>
            <p:spPr bwMode="auto">
              <a:xfrm>
                <a:off x="1771" y="2319"/>
                <a:ext cx="35" cy="9"/>
              </a:xfrm>
              <a:custGeom>
                <a:avLst/>
                <a:gdLst>
                  <a:gd name="T0" fmla="*/ 0 w 35"/>
                  <a:gd name="T1" fmla="*/ 9 h 9"/>
                  <a:gd name="T2" fmla="*/ 25 w 35"/>
                  <a:gd name="T3" fmla="*/ 0 h 9"/>
                  <a:gd name="T4" fmla="*/ 30 w 35"/>
                  <a:gd name="T5" fmla="*/ 0 h 9"/>
                  <a:gd name="T6" fmla="*/ 35 w 35"/>
                  <a:gd name="T7" fmla="*/ 0 h 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5"/>
                  <a:gd name="T13" fmla="*/ 0 h 9"/>
                  <a:gd name="T14" fmla="*/ 35 w 35"/>
                  <a:gd name="T15" fmla="*/ 9 h 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5" h="9">
                    <a:moveTo>
                      <a:pt x="0" y="9"/>
                    </a:moveTo>
                    <a:lnTo>
                      <a:pt x="25" y="0"/>
                    </a:lnTo>
                    <a:lnTo>
                      <a:pt x="30" y="0"/>
                    </a:lnTo>
                    <a:lnTo>
                      <a:pt x="3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83" name="Freeform 1153"/>
              <p:cNvSpPr>
                <a:spLocks/>
              </p:cNvSpPr>
              <p:nvPr/>
            </p:nvSpPr>
            <p:spPr bwMode="auto">
              <a:xfrm>
                <a:off x="1771" y="2324"/>
                <a:ext cx="35" cy="9"/>
              </a:xfrm>
              <a:custGeom>
                <a:avLst/>
                <a:gdLst>
                  <a:gd name="T0" fmla="*/ 0 w 35"/>
                  <a:gd name="T1" fmla="*/ 9 h 9"/>
                  <a:gd name="T2" fmla="*/ 25 w 35"/>
                  <a:gd name="T3" fmla="*/ 0 h 9"/>
                  <a:gd name="T4" fmla="*/ 30 w 35"/>
                  <a:gd name="T5" fmla="*/ 0 h 9"/>
                  <a:gd name="T6" fmla="*/ 35 w 35"/>
                  <a:gd name="T7" fmla="*/ 0 h 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5"/>
                  <a:gd name="T13" fmla="*/ 0 h 9"/>
                  <a:gd name="T14" fmla="*/ 35 w 35"/>
                  <a:gd name="T15" fmla="*/ 9 h 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5" h="9">
                    <a:moveTo>
                      <a:pt x="0" y="9"/>
                    </a:moveTo>
                    <a:lnTo>
                      <a:pt x="25" y="0"/>
                    </a:lnTo>
                    <a:lnTo>
                      <a:pt x="30" y="0"/>
                    </a:lnTo>
                    <a:lnTo>
                      <a:pt x="3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84" name="Line 1154"/>
              <p:cNvSpPr>
                <a:spLocks noChangeShapeType="1"/>
              </p:cNvSpPr>
              <p:nvPr/>
            </p:nvSpPr>
            <p:spPr bwMode="auto">
              <a:xfrm>
                <a:off x="1796" y="2324"/>
                <a:ext cx="1" cy="4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85" name="Freeform 1155"/>
              <p:cNvSpPr>
                <a:spLocks/>
              </p:cNvSpPr>
              <p:nvPr/>
            </p:nvSpPr>
            <p:spPr bwMode="auto">
              <a:xfrm>
                <a:off x="1771" y="2328"/>
                <a:ext cx="25" cy="30"/>
              </a:xfrm>
              <a:custGeom>
                <a:avLst/>
                <a:gdLst>
                  <a:gd name="T0" fmla="*/ 25 w 25"/>
                  <a:gd name="T1" fmla="*/ 0 h 30"/>
                  <a:gd name="T2" fmla="*/ 0 w 25"/>
                  <a:gd name="T3" fmla="*/ 10 h 30"/>
                  <a:gd name="T4" fmla="*/ 0 w 25"/>
                  <a:gd name="T5" fmla="*/ 30 h 30"/>
                  <a:gd name="T6" fmla="*/ 0 60000 65536"/>
                  <a:gd name="T7" fmla="*/ 0 60000 65536"/>
                  <a:gd name="T8" fmla="*/ 0 60000 65536"/>
                  <a:gd name="T9" fmla="*/ 0 w 25"/>
                  <a:gd name="T10" fmla="*/ 0 h 30"/>
                  <a:gd name="T11" fmla="*/ 25 w 25"/>
                  <a:gd name="T12" fmla="*/ 30 h 3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5" h="30">
                    <a:moveTo>
                      <a:pt x="25" y="0"/>
                    </a:moveTo>
                    <a:lnTo>
                      <a:pt x="0" y="10"/>
                    </a:lnTo>
                    <a:lnTo>
                      <a:pt x="0" y="3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86" name="Freeform 1156"/>
              <p:cNvSpPr>
                <a:spLocks/>
              </p:cNvSpPr>
              <p:nvPr/>
            </p:nvSpPr>
            <p:spPr bwMode="auto">
              <a:xfrm>
                <a:off x="1771" y="2333"/>
                <a:ext cx="30" cy="30"/>
              </a:xfrm>
              <a:custGeom>
                <a:avLst/>
                <a:gdLst>
                  <a:gd name="T0" fmla="*/ 0 w 30"/>
                  <a:gd name="T1" fmla="*/ 25 h 30"/>
                  <a:gd name="T2" fmla="*/ 5 w 30"/>
                  <a:gd name="T3" fmla="*/ 25 h 30"/>
                  <a:gd name="T4" fmla="*/ 10 w 30"/>
                  <a:gd name="T5" fmla="*/ 30 h 30"/>
                  <a:gd name="T6" fmla="*/ 30 w 30"/>
                  <a:gd name="T7" fmla="*/ 20 h 30"/>
                  <a:gd name="T8" fmla="*/ 30 w 30"/>
                  <a:gd name="T9" fmla="*/ 0 h 3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0"/>
                  <a:gd name="T16" fmla="*/ 0 h 30"/>
                  <a:gd name="T17" fmla="*/ 30 w 30"/>
                  <a:gd name="T18" fmla="*/ 30 h 3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0" h="30">
                    <a:moveTo>
                      <a:pt x="0" y="25"/>
                    </a:moveTo>
                    <a:lnTo>
                      <a:pt x="5" y="25"/>
                    </a:lnTo>
                    <a:lnTo>
                      <a:pt x="10" y="30"/>
                    </a:lnTo>
                    <a:lnTo>
                      <a:pt x="30" y="20"/>
                    </a:lnTo>
                    <a:lnTo>
                      <a:pt x="3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87" name="Freeform 1157"/>
              <p:cNvSpPr>
                <a:spLocks/>
              </p:cNvSpPr>
              <p:nvPr/>
            </p:nvSpPr>
            <p:spPr bwMode="auto">
              <a:xfrm>
                <a:off x="1771" y="2343"/>
                <a:ext cx="30" cy="10"/>
              </a:xfrm>
              <a:custGeom>
                <a:avLst/>
                <a:gdLst>
                  <a:gd name="T0" fmla="*/ 30 w 30"/>
                  <a:gd name="T1" fmla="*/ 10 h 10"/>
                  <a:gd name="T2" fmla="*/ 10 w 30"/>
                  <a:gd name="T3" fmla="*/ 0 h 10"/>
                  <a:gd name="T4" fmla="*/ 0 w 30"/>
                  <a:gd name="T5" fmla="*/ 5 h 10"/>
                  <a:gd name="T6" fmla="*/ 0 60000 65536"/>
                  <a:gd name="T7" fmla="*/ 0 60000 65536"/>
                  <a:gd name="T8" fmla="*/ 0 60000 65536"/>
                  <a:gd name="T9" fmla="*/ 0 w 30"/>
                  <a:gd name="T10" fmla="*/ 0 h 10"/>
                  <a:gd name="T11" fmla="*/ 30 w 30"/>
                  <a:gd name="T12" fmla="*/ 10 h 1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0" h="10">
                    <a:moveTo>
                      <a:pt x="30" y="10"/>
                    </a:moveTo>
                    <a:lnTo>
                      <a:pt x="10" y="0"/>
                    </a:lnTo>
                    <a:lnTo>
                      <a:pt x="0" y="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88" name="Line 1158"/>
              <p:cNvSpPr>
                <a:spLocks noChangeShapeType="1"/>
              </p:cNvSpPr>
              <p:nvPr/>
            </p:nvSpPr>
            <p:spPr bwMode="auto">
              <a:xfrm flipV="1">
                <a:off x="1781" y="2333"/>
                <a:ext cx="1" cy="10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89" name="Line 1159"/>
              <p:cNvSpPr>
                <a:spLocks noChangeShapeType="1"/>
              </p:cNvSpPr>
              <p:nvPr/>
            </p:nvSpPr>
            <p:spPr bwMode="auto">
              <a:xfrm>
                <a:off x="1771" y="2333"/>
                <a:ext cx="1" cy="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90" name="Freeform 1160"/>
              <p:cNvSpPr>
                <a:spLocks/>
              </p:cNvSpPr>
              <p:nvPr/>
            </p:nvSpPr>
            <p:spPr bwMode="auto">
              <a:xfrm>
                <a:off x="1716" y="2294"/>
                <a:ext cx="50" cy="30"/>
              </a:xfrm>
              <a:custGeom>
                <a:avLst/>
                <a:gdLst>
                  <a:gd name="T0" fmla="*/ 50 w 50"/>
                  <a:gd name="T1" fmla="*/ 25 h 30"/>
                  <a:gd name="T2" fmla="*/ 50 w 50"/>
                  <a:gd name="T3" fmla="*/ 0 h 30"/>
                  <a:gd name="T4" fmla="*/ 40 w 50"/>
                  <a:gd name="T5" fmla="*/ 0 h 30"/>
                  <a:gd name="T6" fmla="*/ 30 w 50"/>
                  <a:gd name="T7" fmla="*/ 5 h 30"/>
                  <a:gd name="T8" fmla="*/ 0 w 50"/>
                  <a:gd name="T9" fmla="*/ 0 h 30"/>
                  <a:gd name="T10" fmla="*/ 0 w 50"/>
                  <a:gd name="T11" fmla="*/ 25 h 30"/>
                  <a:gd name="T12" fmla="*/ 30 w 50"/>
                  <a:gd name="T13" fmla="*/ 30 h 30"/>
                  <a:gd name="T14" fmla="*/ 40 w 50"/>
                  <a:gd name="T15" fmla="*/ 25 h 30"/>
                  <a:gd name="T16" fmla="*/ 50 w 50"/>
                  <a:gd name="T17" fmla="*/ 25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0"/>
                  <a:gd name="T28" fmla="*/ 0 h 30"/>
                  <a:gd name="T29" fmla="*/ 50 w 50"/>
                  <a:gd name="T30" fmla="*/ 30 h 3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0" h="30">
                    <a:moveTo>
                      <a:pt x="50" y="25"/>
                    </a:moveTo>
                    <a:lnTo>
                      <a:pt x="50" y="0"/>
                    </a:lnTo>
                    <a:lnTo>
                      <a:pt x="40" y="0"/>
                    </a:lnTo>
                    <a:lnTo>
                      <a:pt x="30" y="5"/>
                    </a:lnTo>
                    <a:lnTo>
                      <a:pt x="0" y="0"/>
                    </a:lnTo>
                    <a:lnTo>
                      <a:pt x="0" y="25"/>
                    </a:lnTo>
                    <a:lnTo>
                      <a:pt x="30" y="30"/>
                    </a:lnTo>
                    <a:lnTo>
                      <a:pt x="40" y="25"/>
                    </a:lnTo>
                    <a:lnTo>
                      <a:pt x="50" y="2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91" name="Freeform 1161"/>
              <p:cNvSpPr>
                <a:spLocks/>
              </p:cNvSpPr>
              <p:nvPr/>
            </p:nvSpPr>
            <p:spPr bwMode="auto">
              <a:xfrm>
                <a:off x="1721" y="2294"/>
                <a:ext cx="45" cy="25"/>
              </a:xfrm>
              <a:custGeom>
                <a:avLst/>
                <a:gdLst>
                  <a:gd name="T0" fmla="*/ 0 w 45"/>
                  <a:gd name="T1" fmla="*/ 20 h 25"/>
                  <a:gd name="T2" fmla="*/ 0 w 45"/>
                  <a:gd name="T3" fmla="*/ 0 h 25"/>
                  <a:gd name="T4" fmla="*/ 25 w 45"/>
                  <a:gd name="T5" fmla="*/ 5 h 25"/>
                  <a:gd name="T6" fmla="*/ 35 w 45"/>
                  <a:gd name="T7" fmla="*/ 5 h 25"/>
                  <a:gd name="T8" fmla="*/ 45 w 45"/>
                  <a:gd name="T9" fmla="*/ 5 h 25"/>
                  <a:gd name="T10" fmla="*/ 45 w 45"/>
                  <a:gd name="T11" fmla="*/ 25 h 2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5"/>
                  <a:gd name="T19" fmla="*/ 0 h 25"/>
                  <a:gd name="T20" fmla="*/ 45 w 45"/>
                  <a:gd name="T21" fmla="*/ 25 h 2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5" h="25">
                    <a:moveTo>
                      <a:pt x="0" y="20"/>
                    </a:moveTo>
                    <a:lnTo>
                      <a:pt x="0" y="0"/>
                    </a:lnTo>
                    <a:lnTo>
                      <a:pt x="25" y="5"/>
                    </a:lnTo>
                    <a:lnTo>
                      <a:pt x="35" y="5"/>
                    </a:lnTo>
                    <a:lnTo>
                      <a:pt x="45" y="5"/>
                    </a:lnTo>
                    <a:lnTo>
                      <a:pt x="45" y="2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92" name="Freeform 1162"/>
              <p:cNvSpPr>
                <a:spLocks/>
              </p:cNvSpPr>
              <p:nvPr/>
            </p:nvSpPr>
            <p:spPr bwMode="auto">
              <a:xfrm>
                <a:off x="1721" y="2314"/>
                <a:ext cx="45" cy="5"/>
              </a:xfrm>
              <a:custGeom>
                <a:avLst/>
                <a:gdLst>
                  <a:gd name="T0" fmla="*/ 0 w 45"/>
                  <a:gd name="T1" fmla="*/ 0 h 5"/>
                  <a:gd name="T2" fmla="*/ 25 w 45"/>
                  <a:gd name="T3" fmla="*/ 5 h 5"/>
                  <a:gd name="T4" fmla="*/ 35 w 45"/>
                  <a:gd name="T5" fmla="*/ 5 h 5"/>
                  <a:gd name="T6" fmla="*/ 45 w 45"/>
                  <a:gd name="T7" fmla="*/ 5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5"/>
                  <a:gd name="T13" fmla="*/ 0 h 5"/>
                  <a:gd name="T14" fmla="*/ 45 w 45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5" h="5">
                    <a:moveTo>
                      <a:pt x="0" y="0"/>
                    </a:moveTo>
                    <a:lnTo>
                      <a:pt x="25" y="5"/>
                    </a:lnTo>
                    <a:lnTo>
                      <a:pt x="35" y="5"/>
                    </a:lnTo>
                    <a:lnTo>
                      <a:pt x="45" y="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93" name="Line 1163"/>
              <p:cNvSpPr>
                <a:spLocks noChangeShapeType="1"/>
              </p:cNvSpPr>
              <p:nvPr/>
            </p:nvSpPr>
            <p:spPr bwMode="auto">
              <a:xfrm>
                <a:off x="1751" y="2299"/>
                <a:ext cx="1" cy="20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94" name="Freeform 1164"/>
              <p:cNvSpPr>
                <a:spLocks/>
              </p:cNvSpPr>
              <p:nvPr/>
            </p:nvSpPr>
            <p:spPr bwMode="auto">
              <a:xfrm>
                <a:off x="1701" y="2289"/>
                <a:ext cx="10" cy="25"/>
              </a:xfrm>
              <a:custGeom>
                <a:avLst/>
                <a:gdLst>
                  <a:gd name="T0" fmla="*/ 0 w 10"/>
                  <a:gd name="T1" fmla="*/ 0 h 25"/>
                  <a:gd name="T2" fmla="*/ 10 w 10"/>
                  <a:gd name="T3" fmla="*/ 5 h 25"/>
                  <a:gd name="T4" fmla="*/ 10 w 10"/>
                  <a:gd name="T5" fmla="*/ 25 h 25"/>
                  <a:gd name="T6" fmla="*/ 0 60000 65536"/>
                  <a:gd name="T7" fmla="*/ 0 60000 65536"/>
                  <a:gd name="T8" fmla="*/ 0 60000 65536"/>
                  <a:gd name="T9" fmla="*/ 0 w 10"/>
                  <a:gd name="T10" fmla="*/ 0 h 25"/>
                  <a:gd name="T11" fmla="*/ 10 w 10"/>
                  <a:gd name="T12" fmla="*/ 25 h 2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0" h="25">
                    <a:moveTo>
                      <a:pt x="0" y="0"/>
                    </a:moveTo>
                    <a:lnTo>
                      <a:pt x="10" y="5"/>
                    </a:lnTo>
                    <a:lnTo>
                      <a:pt x="10" y="2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95" name="Freeform 1165"/>
              <p:cNvSpPr>
                <a:spLocks/>
              </p:cNvSpPr>
              <p:nvPr/>
            </p:nvSpPr>
            <p:spPr bwMode="auto">
              <a:xfrm>
                <a:off x="1696" y="2289"/>
                <a:ext cx="15" cy="25"/>
              </a:xfrm>
              <a:custGeom>
                <a:avLst/>
                <a:gdLst>
                  <a:gd name="T0" fmla="*/ 15 w 15"/>
                  <a:gd name="T1" fmla="*/ 25 h 25"/>
                  <a:gd name="T2" fmla="*/ 0 w 15"/>
                  <a:gd name="T3" fmla="*/ 25 h 25"/>
                  <a:gd name="T4" fmla="*/ 5 w 15"/>
                  <a:gd name="T5" fmla="*/ 0 h 25"/>
                  <a:gd name="T6" fmla="*/ 0 60000 65536"/>
                  <a:gd name="T7" fmla="*/ 0 60000 65536"/>
                  <a:gd name="T8" fmla="*/ 0 60000 65536"/>
                  <a:gd name="T9" fmla="*/ 0 w 15"/>
                  <a:gd name="T10" fmla="*/ 0 h 25"/>
                  <a:gd name="T11" fmla="*/ 15 w 15"/>
                  <a:gd name="T12" fmla="*/ 25 h 2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" h="25">
                    <a:moveTo>
                      <a:pt x="15" y="25"/>
                    </a:moveTo>
                    <a:lnTo>
                      <a:pt x="0" y="25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96" name="Line 1166"/>
              <p:cNvSpPr>
                <a:spLocks noChangeShapeType="1"/>
              </p:cNvSpPr>
              <p:nvPr/>
            </p:nvSpPr>
            <p:spPr bwMode="auto">
              <a:xfrm flipV="1">
                <a:off x="1696" y="2309"/>
                <a:ext cx="10" cy="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97" name="Freeform 1167"/>
              <p:cNvSpPr>
                <a:spLocks/>
              </p:cNvSpPr>
              <p:nvPr/>
            </p:nvSpPr>
            <p:spPr bwMode="auto">
              <a:xfrm>
                <a:off x="1582" y="2259"/>
                <a:ext cx="15" cy="30"/>
              </a:xfrm>
              <a:custGeom>
                <a:avLst/>
                <a:gdLst>
                  <a:gd name="T0" fmla="*/ 0 w 15"/>
                  <a:gd name="T1" fmla="*/ 0 h 30"/>
                  <a:gd name="T2" fmla="*/ 10 w 15"/>
                  <a:gd name="T3" fmla="*/ 5 h 30"/>
                  <a:gd name="T4" fmla="*/ 15 w 15"/>
                  <a:gd name="T5" fmla="*/ 30 h 30"/>
                  <a:gd name="T6" fmla="*/ 0 60000 65536"/>
                  <a:gd name="T7" fmla="*/ 0 60000 65536"/>
                  <a:gd name="T8" fmla="*/ 0 60000 65536"/>
                  <a:gd name="T9" fmla="*/ 0 w 15"/>
                  <a:gd name="T10" fmla="*/ 0 h 30"/>
                  <a:gd name="T11" fmla="*/ 15 w 15"/>
                  <a:gd name="T12" fmla="*/ 30 h 3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" h="30">
                    <a:moveTo>
                      <a:pt x="0" y="0"/>
                    </a:moveTo>
                    <a:lnTo>
                      <a:pt x="10" y="5"/>
                    </a:lnTo>
                    <a:lnTo>
                      <a:pt x="15" y="3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98" name="Freeform 1168"/>
              <p:cNvSpPr>
                <a:spLocks/>
              </p:cNvSpPr>
              <p:nvPr/>
            </p:nvSpPr>
            <p:spPr bwMode="auto">
              <a:xfrm>
                <a:off x="1582" y="2264"/>
                <a:ext cx="15" cy="25"/>
              </a:xfrm>
              <a:custGeom>
                <a:avLst/>
                <a:gdLst>
                  <a:gd name="T0" fmla="*/ 15 w 15"/>
                  <a:gd name="T1" fmla="*/ 25 h 25"/>
                  <a:gd name="T2" fmla="*/ 0 w 15"/>
                  <a:gd name="T3" fmla="*/ 20 h 25"/>
                  <a:gd name="T4" fmla="*/ 0 w 15"/>
                  <a:gd name="T5" fmla="*/ 0 h 25"/>
                  <a:gd name="T6" fmla="*/ 0 60000 65536"/>
                  <a:gd name="T7" fmla="*/ 0 60000 65536"/>
                  <a:gd name="T8" fmla="*/ 0 60000 65536"/>
                  <a:gd name="T9" fmla="*/ 0 w 15"/>
                  <a:gd name="T10" fmla="*/ 0 h 25"/>
                  <a:gd name="T11" fmla="*/ 15 w 15"/>
                  <a:gd name="T12" fmla="*/ 25 h 2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" h="25">
                    <a:moveTo>
                      <a:pt x="15" y="25"/>
                    </a:moveTo>
                    <a:lnTo>
                      <a:pt x="0" y="2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899" name="Freeform 1169"/>
              <p:cNvSpPr>
                <a:spLocks/>
              </p:cNvSpPr>
              <p:nvPr/>
            </p:nvSpPr>
            <p:spPr bwMode="auto">
              <a:xfrm>
                <a:off x="1597" y="2264"/>
                <a:ext cx="104" cy="25"/>
              </a:xfrm>
              <a:custGeom>
                <a:avLst/>
                <a:gdLst>
                  <a:gd name="T0" fmla="*/ 0 w 104"/>
                  <a:gd name="T1" fmla="*/ 0 h 25"/>
                  <a:gd name="T2" fmla="*/ 49 w 104"/>
                  <a:gd name="T3" fmla="*/ 10 h 25"/>
                  <a:gd name="T4" fmla="*/ 104 w 104"/>
                  <a:gd name="T5" fmla="*/ 25 h 25"/>
                  <a:gd name="T6" fmla="*/ 0 60000 65536"/>
                  <a:gd name="T7" fmla="*/ 0 60000 65536"/>
                  <a:gd name="T8" fmla="*/ 0 60000 65536"/>
                  <a:gd name="T9" fmla="*/ 0 w 104"/>
                  <a:gd name="T10" fmla="*/ 0 h 25"/>
                  <a:gd name="T11" fmla="*/ 104 w 104"/>
                  <a:gd name="T12" fmla="*/ 25 h 2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04" h="25">
                    <a:moveTo>
                      <a:pt x="0" y="0"/>
                    </a:moveTo>
                    <a:lnTo>
                      <a:pt x="49" y="10"/>
                    </a:lnTo>
                    <a:lnTo>
                      <a:pt x="104" y="2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00" name="Freeform 1170"/>
              <p:cNvSpPr>
                <a:spLocks/>
              </p:cNvSpPr>
              <p:nvPr/>
            </p:nvSpPr>
            <p:spPr bwMode="auto">
              <a:xfrm>
                <a:off x="1602" y="2274"/>
                <a:ext cx="89" cy="35"/>
              </a:xfrm>
              <a:custGeom>
                <a:avLst/>
                <a:gdLst>
                  <a:gd name="T0" fmla="*/ 0 w 89"/>
                  <a:gd name="T1" fmla="*/ 0 h 35"/>
                  <a:gd name="T2" fmla="*/ 44 w 89"/>
                  <a:gd name="T3" fmla="*/ 10 h 35"/>
                  <a:gd name="T4" fmla="*/ 89 w 89"/>
                  <a:gd name="T5" fmla="*/ 20 h 35"/>
                  <a:gd name="T6" fmla="*/ 84 w 89"/>
                  <a:gd name="T7" fmla="*/ 35 h 3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9"/>
                  <a:gd name="T13" fmla="*/ 0 h 35"/>
                  <a:gd name="T14" fmla="*/ 89 w 89"/>
                  <a:gd name="T15" fmla="*/ 35 h 3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9" h="35">
                    <a:moveTo>
                      <a:pt x="0" y="0"/>
                    </a:moveTo>
                    <a:lnTo>
                      <a:pt x="44" y="10"/>
                    </a:lnTo>
                    <a:lnTo>
                      <a:pt x="89" y="20"/>
                    </a:lnTo>
                    <a:lnTo>
                      <a:pt x="84" y="3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01" name="Freeform 1171"/>
              <p:cNvSpPr>
                <a:spLocks/>
              </p:cNvSpPr>
              <p:nvPr/>
            </p:nvSpPr>
            <p:spPr bwMode="auto">
              <a:xfrm>
                <a:off x="1602" y="2274"/>
                <a:ext cx="84" cy="35"/>
              </a:xfrm>
              <a:custGeom>
                <a:avLst/>
                <a:gdLst>
                  <a:gd name="T0" fmla="*/ 0 w 84"/>
                  <a:gd name="T1" fmla="*/ 0 h 35"/>
                  <a:gd name="T2" fmla="*/ 5 w 84"/>
                  <a:gd name="T3" fmla="*/ 15 h 35"/>
                  <a:gd name="T4" fmla="*/ 44 w 84"/>
                  <a:gd name="T5" fmla="*/ 25 h 35"/>
                  <a:gd name="T6" fmla="*/ 84 w 84"/>
                  <a:gd name="T7" fmla="*/ 35 h 3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4"/>
                  <a:gd name="T13" fmla="*/ 0 h 35"/>
                  <a:gd name="T14" fmla="*/ 84 w 84"/>
                  <a:gd name="T15" fmla="*/ 35 h 3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4" h="35">
                    <a:moveTo>
                      <a:pt x="0" y="0"/>
                    </a:moveTo>
                    <a:lnTo>
                      <a:pt x="5" y="15"/>
                    </a:lnTo>
                    <a:lnTo>
                      <a:pt x="44" y="25"/>
                    </a:lnTo>
                    <a:lnTo>
                      <a:pt x="84" y="3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02" name="Freeform 1172"/>
              <p:cNvSpPr>
                <a:spLocks/>
              </p:cNvSpPr>
              <p:nvPr/>
            </p:nvSpPr>
            <p:spPr bwMode="auto">
              <a:xfrm>
                <a:off x="1681" y="2294"/>
                <a:ext cx="5" cy="15"/>
              </a:xfrm>
              <a:custGeom>
                <a:avLst/>
                <a:gdLst>
                  <a:gd name="T0" fmla="*/ 0 w 5"/>
                  <a:gd name="T1" fmla="*/ 0 h 15"/>
                  <a:gd name="T2" fmla="*/ 0 w 5"/>
                  <a:gd name="T3" fmla="*/ 10 h 15"/>
                  <a:gd name="T4" fmla="*/ 5 w 5"/>
                  <a:gd name="T5" fmla="*/ 15 h 15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15"/>
                  <a:gd name="T11" fmla="*/ 5 w 5"/>
                  <a:gd name="T12" fmla="*/ 15 h 1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15">
                    <a:moveTo>
                      <a:pt x="0" y="0"/>
                    </a:moveTo>
                    <a:lnTo>
                      <a:pt x="0" y="10"/>
                    </a:lnTo>
                    <a:lnTo>
                      <a:pt x="5" y="1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03" name="Freeform 1173"/>
              <p:cNvSpPr>
                <a:spLocks/>
              </p:cNvSpPr>
              <p:nvPr/>
            </p:nvSpPr>
            <p:spPr bwMode="auto">
              <a:xfrm>
                <a:off x="1607" y="2274"/>
                <a:ext cx="5" cy="15"/>
              </a:xfrm>
              <a:custGeom>
                <a:avLst/>
                <a:gdLst>
                  <a:gd name="T0" fmla="*/ 0 w 5"/>
                  <a:gd name="T1" fmla="*/ 15 h 15"/>
                  <a:gd name="T2" fmla="*/ 5 w 5"/>
                  <a:gd name="T3" fmla="*/ 15 h 15"/>
                  <a:gd name="T4" fmla="*/ 5 w 5"/>
                  <a:gd name="T5" fmla="*/ 0 h 15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15"/>
                  <a:gd name="T11" fmla="*/ 5 w 5"/>
                  <a:gd name="T12" fmla="*/ 15 h 1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15">
                    <a:moveTo>
                      <a:pt x="0" y="15"/>
                    </a:moveTo>
                    <a:lnTo>
                      <a:pt x="5" y="15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04" name="Freeform 1174"/>
              <p:cNvSpPr>
                <a:spLocks/>
              </p:cNvSpPr>
              <p:nvPr/>
            </p:nvSpPr>
            <p:spPr bwMode="auto">
              <a:xfrm>
                <a:off x="1656" y="2319"/>
                <a:ext cx="30" cy="19"/>
              </a:xfrm>
              <a:custGeom>
                <a:avLst/>
                <a:gdLst>
                  <a:gd name="T0" fmla="*/ 0 w 30"/>
                  <a:gd name="T1" fmla="*/ 0 h 19"/>
                  <a:gd name="T2" fmla="*/ 30 w 30"/>
                  <a:gd name="T3" fmla="*/ 9 h 19"/>
                  <a:gd name="T4" fmla="*/ 20 w 30"/>
                  <a:gd name="T5" fmla="*/ 19 h 19"/>
                  <a:gd name="T6" fmla="*/ 0 60000 65536"/>
                  <a:gd name="T7" fmla="*/ 0 60000 65536"/>
                  <a:gd name="T8" fmla="*/ 0 60000 65536"/>
                  <a:gd name="T9" fmla="*/ 0 w 30"/>
                  <a:gd name="T10" fmla="*/ 0 h 19"/>
                  <a:gd name="T11" fmla="*/ 30 w 30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0" h="19">
                    <a:moveTo>
                      <a:pt x="0" y="0"/>
                    </a:moveTo>
                    <a:lnTo>
                      <a:pt x="30" y="9"/>
                    </a:lnTo>
                    <a:lnTo>
                      <a:pt x="20" y="19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05" name="Freeform 1175"/>
              <p:cNvSpPr>
                <a:spLocks/>
              </p:cNvSpPr>
              <p:nvPr/>
            </p:nvSpPr>
            <p:spPr bwMode="auto">
              <a:xfrm>
                <a:off x="1612" y="2309"/>
                <a:ext cx="29" cy="19"/>
              </a:xfrm>
              <a:custGeom>
                <a:avLst/>
                <a:gdLst>
                  <a:gd name="T0" fmla="*/ 0 w 29"/>
                  <a:gd name="T1" fmla="*/ 0 h 19"/>
                  <a:gd name="T2" fmla="*/ 29 w 29"/>
                  <a:gd name="T3" fmla="*/ 10 h 19"/>
                  <a:gd name="T4" fmla="*/ 29 w 29"/>
                  <a:gd name="T5" fmla="*/ 19 h 19"/>
                  <a:gd name="T6" fmla="*/ 0 60000 65536"/>
                  <a:gd name="T7" fmla="*/ 0 60000 65536"/>
                  <a:gd name="T8" fmla="*/ 0 60000 65536"/>
                  <a:gd name="T9" fmla="*/ 0 w 29"/>
                  <a:gd name="T10" fmla="*/ 0 h 19"/>
                  <a:gd name="T11" fmla="*/ 29 w 29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9" h="19">
                    <a:moveTo>
                      <a:pt x="0" y="0"/>
                    </a:moveTo>
                    <a:lnTo>
                      <a:pt x="29" y="10"/>
                    </a:lnTo>
                    <a:lnTo>
                      <a:pt x="29" y="19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06" name="Freeform 1176"/>
              <p:cNvSpPr>
                <a:spLocks/>
              </p:cNvSpPr>
              <p:nvPr/>
            </p:nvSpPr>
            <p:spPr bwMode="auto">
              <a:xfrm>
                <a:off x="1656" y="2319"/>
                <a:ext cx="15" cy="14"/>
              </a:xfrm>
              <a:custGeom>
                <a:avLst/>
                <a:gdLst>
                  <a:gd name="T0" fmla="*/ 0 w 15"/>
                  <a:gd name="T1" fmla="*/ 0 h 14"/>
                  <a:gd name="T2" fmla="*/ 0 w 15"/>
                  <a:gd name="T3" fmla="*/ 9 h 14"/>
                  <a:gd name="T4" fmla="*/ 15 w 15"/>
                  <a:gd name="T5" fmla="*/ 14 h 14"/>
                  <a:gd name="T6" fmla="*/ 0 60000 65536"/>
                  <a:gd name="T7" fmla="*/ 0 60000 65536"/>
                  <a:gd name="T8" fmla="*/ 0 60000 65536"/>
                  <a:gd name="T9" fmla="*/ 0 w 15"/>
                  <a:gd name="T10" fmla="*/ 0 h 14"/>
                  <a:gd name="T11" fmla="*/ 15 w 15"/>
                  <a:gd name="T12" fmla="*/ 14 h 1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" h="14">
                    <a:moveTo>
                      <a:pt x="0" y="0"/>
                    </a:moveTo>
                    <a:lnTo>
                      <a:pt x="0" y="9"/>
                    </a:lnTo>
                    <a:lnTo>
                      <a:pt x="15" y="14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07" name="Freeform 1177"/>
              <p:cNvSpPr>
                <a:spLocks/>
              </p:cNvSpPr>
              <p:nvPr/>
            </p:nvSpPr>
            <p:spPr bwMode="auto">
              <a:xfrm>
                <a:off x="1612" y="2309"/>
                <a:ext cx="29" cy="19"/>
              </a:xfrm>
              <a:custGeom>
                <a:avLst/>
                <a:gdLst>
                  <a:gd name="T0" fmla="*/ 0 w 29"/>
                  <a:gd name="T1" fmla="*/ 0 h 19"/>
                  <a:gd name="T2" fmla="*/ 5 w 29"/>
                  <a:gd name="T3" fmla="*/ 15 h 19"/>
                  <a:gd name="T4" fmla="*/ 29 w 29"/>
                  <a:gd name="T5" fmla="*/ 19 h 19"/>
                  <a:gd name="T6" fmla="*/ 0 60000 65536"/>
                  <a:gd name="T7" fmla="*/ 0 60000 65536"/>
                  <a:gd name="T8" fmla="*/ 0 60000 65536"/>
                  <a:gd name="T9" fmla="*/ 0 w 29"/>
                  <a:gd name="T10" fmla="*/ 0 h 19"/>
                  <a:gd name="T11" fmla="*/ 29 w 29"/>
                  <a:gd name="T12" fmla="*/ 19 h 1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9" h="19">
                    <a:moveTo>
                      <a:pt x="0" y="0"/>
                    </a:moveTo>
                    <a:lnTo>
                      <a:pt x="5" y="15"/>
                    </a:lnTo>
                    <a:lnTo>
                      <a:pt x="29" y="19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08" name="Freeform 1178"/>
              <p:cNvSpPr>
                <a:spLocks/>
              </p:cNvSpPr>
              <p:nvPr/>
            </p:nvSpPr>
            <p:spPr bwMode="auto">
              <a:xfrm>
                <a:off x="1617" y="2328"/>
                <a:ext cx="59" cy="30"/>
              </a:xfrm>
              <a:custGeom>
                <a:avLst/>
                <a:gdLst>
                  <a:gd name="T0" fmla="*/ 0 w 59"/>
                  <a:gd name="T1" fmla="*/ 0 h 30"/>
                  <a:gd name="T2" fmla="*/ 0 w 59"/>
                  <a:gd name="T3" fmla="*/ 15 h 30"/>
                  <a:gd name="T4" fmla="*/ 59 w 59"/>
                  <a:gd name="T5" fmla="*/ 30 h 30"/>
                  <a:gd name="T6" fmla="*/ 59 w 59"/>
                  <a:gd name="T7" fmla="*/ 10 h 3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9"/>
                  <a:gd name="T13" fmla="*/ 0 h 30"/>
                  <a:gd name="T14" fmla="*/ 59 w 59"/>
                  <a:gd name="T15" fmla="*/ 30 h 3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9" h="30">
                    <a:moveTo>
                      <a:pt x="0" y="0"/>
                    </a:moveTo>
                    <a:lnTo>
                      <a:pt x="0" y="15"/>
                    </a:lnTo>
                    <a:lnTo>
                      <a:pt x="59" y="30"/>
                    </a:lnTo>
                    <a:lnTo>
                      <a:pt x="59" y="1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09" name="Freeform 1179"/>
              <p:cNvSpPr>
                <a:spLocks/>
              </p:cNvSpPr>
              <p:nvPr/>
            </p:nvSpPr>
            <p:spPr bwMode="auto">
              <a:xfrm>
                <a:off x="1552" y="2249"/>
                <a:ext cx="25" cy="35"/>
              </a:xfrm>
              <a:custGeom>
                <a:avLst/>
                <a:gdLst>
                  <a:gd name="T0" fmla="*/ 0 w 25"/>
                  <a:gd name="T1" fmla="*/ 20 h 35"/>
                  <a:gd name="T2" fmla="*/ 0 w 25"/>
                  <a:gd name="T3" fmla="*/ 25 h 35"/>
                  <a:gd name="T4" fmla="*/ 10 w 25"/>
                  <a:gd name="T5" fmla="*/ 30 h 35"/>
                  <a:gd name="T6" fmla="*/ 25 w 25"/>
                  <a:gd name="T7" fmla="*/ 35 h 35"/>
                  <a:gd name="T8" fmla="*/ 25 w 25"/>
                  <a:gd name="T9" fmla="*/ 10 h 35"/>
                  <a:gd name="T10" fmla="*/ 10 w 25"/>
                  <a:gd name="T11" fmla="*/ 5 h 35"/>
                  <a:gd name="T12" fmla="*/ 0 w 25"/>
                  <a:gd name="T13" fmla="*/ 0 h 35"/>
                  <a:gd name="T14" fmla="*/ 0 w 25"/>
                  <a:gd name="T15" fmla="*/ 0 h 3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5"/>
                  <a:gd name="T25" fmla="*/ 0 h 35"/>
                  <a:gd name="T26" fmla="*/ 25 w 25"/>
                  <a:gd name="T27" fmla="*/ 35 h 3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5" h="35">
                    <a:moveTo>
                      <a:pt x="0" y="20"/>
                    </a:moveTo>
                    <a:lnTo>
                      <a:pt x="0" y="25"/>
                    </a:lnTo>
                    <a:lnTo>
                      <a:pt x="10" y="30"/>
                    </a:lnTo>
                    <a:lnTo>
                      <a:pt x="25" y="35"/>
                    </a:lnTo>
                    <a:lnTo>
                      <a:pt x="25" y="10"/>
                    </a:lnTo>
                    <a:lnTo>
                      <a:pt x="10" y="5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10" name="Freeform 1180"/>
              <p:cNvSpPr>
                <a:spLocks/>
              </p:cNvSpPr>
              <p:nvPr/>
            </p:nvSpPr>
            <p:spPr bwMode="auto">
              <a:xfrm>
                <a:off x="1552" y="2249"/>
                <a:ext cx="20" cy="30"/>
              </a:xfrm>
              <a:custGeom>
                <a:avLst/>
                <a:gdLst>
                  <a:gd name="T0" fmla="*/ 0 w 20"/>
                  <a:gd name="T1" fmla="*/ 20 h 30"/>
                  <a:gd name="T2" fmla="*/ 0 w 20"/>
                  <a:gd name="T3" fmla="*/ 20 h 30"/>
                  <a:gd name="T4" fmla="*/ 10 w 20"/>
                  <a:gd name="T5" fmla="*/ 25 h 30"/>
                  <a:gd name="T6" fmla="*/ 20 w 20"/>
                  <a:gd name="T7" fmla="*/ 30 h 30"/>
                  <a:gd name="T8" fmla="*/ 20 w 20"/>
                  <a:gd name="T9" fmla="*/ 10 h 30"/>
                  <a:gd name="T10" fmla="*/ 10 w 20"/>
                  <a:gd name="T11" fmla="*/ 5 h 30"/>
                  <a:gd name="T12" fmla="*/ 0 w 20"/>
                  <a:gd name="T13" fmla="*/ 0 h 30"/>
                  <a:gd name="T14" fmla="*/ 0 w 20"/>
                  <a:gd name="T15" fmla="*/ 0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0"/>
                  <a:gd name="T25" fmla="*/ 0 h 30"/>
                  <a:gd name="T26" fmla="*/ 20 w 20"/>
                  <a:gd name="T27" fmla="*/ 30 h 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0" h="30">
                    <a:moveTo>
                      <a:pt x="0" y="20"/>
                    </a:moveTo>
                    <a:lnTo>
                      <a:pt x="0" y="20"/>
                    </a:lnTo>
                    <a:lnTo>
                      <a:pt x="10" y="25"/>
                    </a:lnTo>
                    <a:lnTo>
                      <a:pt x="20" y="30"/>
                    </a:lnTo>
                    <a:lnTo>
                      <a:pt x="20" y="10"/>
                    </a:lnTo>
                    <a:lnTo>
                      <a:pt x="10" y="5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11" name="Line 1181"/>
              <p:cNvSpPr>
                <a:spLocks noChangeShapeType="1"/>
              </p:cNvSpPr>
              <p:nvPr/>
            </p:nvSpPr>
            <p:spPr bwMode="auto">
              <a:xfrm>
                <a:off x="1557" y="2254"/>
                <a:ext cx="1" cy="20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12" name="Line 1182"/>
              <p:cNvSpPr>
                <a:spLocks noChangeShapeType="1"/>
              </p:cNvSpPr>
              <p:nvPr/>
            </p:nvSpPr>
            <p:spPr bwMode="auto">
              <a:xfrm flipV="1">
                <a:off x="1617" y="2314"/>
                <a:ext cx="5" cy="10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13" name="Line 1183"/>
              <p:cNvSpPr>
                <a:spLocks noChangeShapeType="1"/>
              </p:cNvSpPr>
              <p:nvPr/>
            </p:nvSpPr>
            <p:spPr bwMode="auto">
              <a:xfrm flipV="1">
                <a:off x="1656" y="2324"/>
                <a:ext cx="5" cy="9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14" name="Freeform 1184"/>
              <p:cNvSpPr>
                <a:spLocks/>
              </p:cNvSpPr>
              <p:nvPr/>
            </p:nvSpPr>
            <p:spPr bwMode="auto">
              <a:xfrm>
                <a:off x="1572" y="2012"/>
                <a:ext cx="309" cy="39"/>
              </a:xfrm>
              <a:custGeom>
                <a:avLst/>
                <a:gdLst>
                  <a:gd name="T0" fmla="*/ 0 w 309"/>
                  <a:gd name="T1" fmla="*/ 9 h 39"/>
                  <a:gd name="T2" fmla="*/ 84 w 309"/>
                  <a:gd name="T3" fmla="*/ 24 h 39"/>
                  <a:gd name="T4" fmla="*/ 174 w 309"/>
                  <a:gd name="T5" fmla="*/ 39 h 39"/>
                  <a:gd name="T6" fmla="*/ 194 w 309"/>
                  <a:gd name="T7" fmla="*/ 39 h 39"/>
                  <a:gd name="T8" fmla="*/ 309 w 309"/>
                  <a:gd name="T9" fmla="*/ 0 h 3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09"/>
                  <a:gd name="T16" fmla="*/ 0 h 39"/>
                  <a:gd name="T17" fmla="*/ 309 w 309"/>
                  <a:gd name="T18" fmla="*/ 39 h 3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09" h="39">
                    <a:moveTo>
                      <a:pt x="0" y="9"/>
                    </a:moveTo>
                    <a:lnTo>
                      <a:pt x="84" y="24"/>
                    </a:lnTo>
                    <a:lnTo>
                      <a:pt x="174" y="39"/>
                    </a:lnTo>
                    <a:lnTo>
                      <a:pt x="194" y="39"/>
                    </a:lnTo>
                    <a:lnTo>
                      <a:pt x="309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15" name="Freeform 1185"/>
              <p:cNvSpPr>
                <a:spLocks/>
              </p:cNvSpPr>
              <p:nvPr/>
            </p:nvSpPr>
            <p:spPr bwMode="auto">
              <a:xfrm>
                <a:off x="1776" y="2026"/>
                <a:ext cx="105" cy="40"/>
              </a:xfrm>
              <a:custGeom>
                <a:avLst/>
                <a:gdLst>
                  <a:gd name="T0" fmla="*/ 0 w 105"/>
                  <a:gd name="T1" fmla="*/ 35 h 40"/>
                  <a:gd name="T2" fmla="*/ 105 w 105"/>
                  <a:gd name="T3" fmla="*/ 0 h 40"/>
                  <a:gd name="T4" fmla="*/ 105 w 105"/>
                  <a:gd name="T5" fmla="*/ 5 h 40"/>
                  <a:gd name="T6" fmla="*/ 0 w 105"/>
                  <a:gd name="T7" fmla="*/ 40 h 40"/>
                  <a:gd name="T8" fmla="*/ 0 w 105"/>
                  <a:gd name="T9" fmla="*/ 35 h 4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5"/>
                  <a:gd name="T16" fmla="*/ 0 h 40"/>
                  <a:gd name="T17" fmla="*/ 105 w 105"/>
                  <a:gd name="T18" fmla="*/ 40 h 4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5" h="40">
                    <a:moveTo>
                      <a:pt x="0" y="35"/>
                    </a:moveTo>
                    <a:lnTo>
                      <a:pt x="105" y="0"/>
                    </a:lnTo>
                    <a:lnTo>
                      <a:pt x="105" y="5"/>
                    </a:lnTo>
                    <a:lnTo>
                      <a:pt x="0" y="40"/>
                    </a:lnTo>
                    <a:lnTo>
                      <a:pt x="0" y="3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16" name="Freeform 1186"/>
              <p:cNvSpPr>
                <a:spLocks/>
              </p:cNvSpPr>
              <p:nvPr/>
            </p:nvSpPr>
            <p:spPr bwMode="auto">
              <a:xfrm>
                <a:off x="1562" y="2046"/>
                <a:ext cx="204" cy="129"/>
              </a:xfrm>
              <a:custGeom>
                <a:avLst/>
                <a:gdLst>
                  <a:gd name="T0" fmla="*/ 15 w 204"/>
                  <a:gd name="T1" fmla="*/ 0 h 129"/>
                  <a:gd name="T2" fmla="*/ 99 w 204"/>
                  <a:gd name="T3" fmla="*/ 15 h 129"/>
                  <a:gd name="T4" fmla="*/ 194 w 204"/>
                  <a:gd name="T5" fmla="*/ 35 h 129"/>
                  <a:gd name="T6" fmla="*/ 199 w 204"/>
                  <a:gd name="T7" fmla="*/ 35 h 129"/>
                  <a:gd name="T8" fmla="*/ 204 w 204"/>
                  <a:gd name="T9" fmla="*/ 50 h 129"/>
                  <a:gd name="T10" fmla="*/ 199 w 204"/>
                  <a:gd name="T11" fmla="*/ 119 h 129"/>
                  <a:gd name="T12" fmla="*/ 189 w 204"/>
                  <a:gd name="T13" fmla="*/ 124 h 129"/>
                  <a:gd name="T14" fmla="*/ 184 w 204"/>
                  <a:gd name="T15" fmla="*/ 129 h 129"/>
                  <a:gd name="T16" fmla="*/ 94 w 204"/>
                  <a:gd name="T17" fmla="*/ 109 h 129"/>
                  <a:gd name="T18" fmla="*/ 5 w 204"/>
                  <a:gd name="T19" fmla="*/ 89 h 129"/>
                  <a:gd name="T20" fmla="*/ 0 w 204"/>
                  <a:gd name="T21" fmla="*/ 84 h 129"/>
                  <a:gd name="T22" fmla="*/ 0 w 204"/>
                  <a:gd name="T23" fmla="*/ 79 h 129"/>
                  <a:gd name="T24" fmla="*/ 0 w 204"/>
                  <a:gd name="T25" fmla="*/ 45 h 129"/>
                  <a:gd name="T26" fmla="*/ 5 w 204"/>
                  <a:gd name="T27" fmla="*/ 10 h 129"/>
                  <a:gd name="T28" fmla="*/ 10 w 204"/>
                  <a:gd name="T29" fmla="*/ 0 h 129"/>
                  <a:gd name="T30" fmla="*/ 15 w 204"/>
                  <a:gd name="T31" fmla="*/ 0 h 12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04"/>
                  <a:gd name="T49" fmla="*/ 0 h 129"/>
                  <a:gd name="T50" fmla="*/ 204 w 204"/>
                  <a:gd name="T51" fmla="*/ 129 h 12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04" h="129">
                    <a:moveTo>
                      <a:pt x="15" y="0"/>
                    </a:moveTo>
                    <a:lnTo>
                      <a:pt x="99" y="15"/>
                    </a:lnTo>
                    <a:lnTo>
                      <a:pt x="194" y="35"/>
                    </a:lnTo>
                    <a:lnTo>
                      <a:pt x="199" y="35"/>
                    </a:lnTo>
                    <a:lnTo>
                      <a:pt x="204" y="50"/>
                    </a:lnTo>
                    <a:lnTo>
                      <a:pt x="199" y="119"/>
                    </a:lnTo>
                    <a:lnTo>
                      <a:pt x="189" y="124"/>
                    </a:lnTo>
                    <a:lnTo>
                      <a:pt x="184" y="129"/>
                    </a:lnTo>
                    <a:lnTo>
                      <a:pt x="94" y="109"/>
                    </a:lnTo>
                    <a:lnTo>
                      <a:pt x="5" y="89"/>
                    </a:lnTo>
                    <a:lnTo>
                      <a:pt x="0" y="84"/>
                    </a:lnTo>
                    <a:lnTo>
                      <a:pt x="0" y="79"/>
                    </a:lnTo>
                    <a:lnTo>
                      <a:pt x="0" y="45"/>
                    </a:lnTo>
                    <a:lnTo>
                      <a:pt x="5" y="10"/>
                    </a:lnTo>
                    <a:lnTo>
                      <a:pt x="10" y="0"/>
                    </a:lnTo>
                    <a:lnTo>
                      <a:pt x="1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17" name="Freeform 1187"/>
              <p:cNvSpPr>
                <a:spLocks/>
              </p:cNvSpPr>
              <p:nvPr/>
            </p:nvSpPr>
            <p:spPr bwMode="auto">
              <a:xfrm>
                <a:off x="1567" y="2051"/>
                <a:ext cx="194" cy="119"/>
              </a:xfrm>
              <a:custGeom>
                <a:avLst/>
                <a:gdLst>
                  <a:gd name="T0" fmla="*/ 10 w 194"/>
                  <a:gd name="T1" fmla="*/ 0 h 119"/>
                  <a:gd name="T2" fmla="*/ 94 w 194"/>
                  <a:gd name="T3" fmla="*/ 15 h 119"/>
                  <a:gd name="T4" fmla="*/ 184 w 194"/>
                  <a:gd name="T5" fmla="*/ 30 h 119"/>
                  <a:gd name="T6" fmla="*/ 189 w 194"/>
                  <a:gd name="T7" fmla="*/ 30 h 119"/>
                  <a:gd name="T8" fmla="*/ 194 w 194"/>
                  <a:gd name="T9" fmla="*/ 45 h 119"/>
                  <a:gd name="T10" fmla="*/ 189 w 194"/>
                  <a:gd name="T11" fmla="*/ 109 h 119"/>
                  <a:gd name="T12" fmla="*/ 179 w 194"/>
                  <a:gd name="T13" fmla="*/ 114 h 119"/>
                  <a:gd name="T14" fmla="*/ 174 w 194"/>
                  <a:gd name="T15" fmla="*/ 119 h 119"/>
                  <a:gd name="T16" fmla="*/ 89 w 194"/>
                  <a:gd name="T17" fmla="*/ 99 h 119"/>
                  <a:gd name="T18" fmla="*/ 5 w 194"/>
                  <a:gd name="T19" fmla="*/ 79 h 119"/>
                  <a:gd name="T20" fmla="*/ 0 w 194"/>
                  <a:gd name="T21" fmla="*/ 74 h 119"/>
                  <a:gd name="T22" fmla="*/ 0 w 194"/>
                  <a:gd name="T23" fmla="*/ 69 h 119"/>
                  <a:gd name="T24" fmla="*/ 0 w 194"/>
                  <a:gd name="T25" fmla="*/ 40 h 119"/>
                  <a:gd name="T26" fmla="*/ 5 w 194"/>
                  <a:gd name="T27" fmla="*/ 10 h 119"/>
                  <a:gd name="T28" fmla="*/ 5 w 194"/>
                  <a:gd name="T29" fmla="*/ 0 h 119"/>
                  <a:gd name="T30" fmla="*/ 10 w 194"/>
                  <a:gd name="T31" fmla="*/ 0 h 11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94"/>
                  <a:gd name="T49" fmla="*/ 0 h 119"/>
                  <a:gd name="T50" fmla="*/ 194 w 194"/>
                  <a:gd name="T51" fmla="*/ 119 h 11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94" h="119">
                    <a:moveTo>
                      <a:pt x="10" y="0"/>
                    </a:moveTo>
                    <a:lnTo>
                      <a:pt x="94" y="15"/>
                    </a:lnTo>
                    <a:lnTo>
                      <a:pt x="184" y="30"/>
                    </a:lnTo>
                    <a:lnTo>
                      <a:pt x="189" y="30"/>
                    </a:lnTo>
                    <a:lnTo>
                      <a:pt x="194" y="45"/>
                    </a:lnTo>
                    <a:lnTo>
                      <a:pt x="189" y="109"/>
                    </a:lnTo>
                    <a:lnTo>
                      <a:pt x="179" y="114"/>
                    </a:lnTo>
                    <a:lnTo>
                      <a:pt x="174" y="119"/>
                    </a:lnTo>
                    <a:lnTo>
                      <a:pt x="89" y="99"/>
                    </a:lnTo>
                    <a:lnTo>
                      <a:pt x="5" y="79"/>
                    </a:lnTo>
                    <a:lnTo>
                      <a:pt x="0" y="74"/>
                    </a:lnTo>
                    <a:lnTo>
                      <a:pt x="0" y="69"/>
                    </a:lnTo>
                    <a:lnTo>
                      <a:pt x="0" y="40"/>
                    </a:lnTo>
                    <a:lnTo>
                      <a:pt x="5" y="10"/>
                    </a:lnTo>
                    <a:lnTo>
                      <a:pt x="5" y="0"/>
                    </a:lnTo>
                    <a:lnTo>
                      <a:pt x="1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18" name="Freeform 1188"/>
              <p:cNvSpPr>
                <a:spLocks/>
              </p:cNvSpPr>
              <p:nvPr/>
            </p:nvSpPr>
            <p:spPr bwMode="auto">
              <a:xfrm>
                <a:off x="1562" y="2130"/>
                <a:ext cx="199" cy="45"/>
              </a:xfrm>
              <a:custGeom>
                <a:avLst/>
                <a:gdLst>
                  <a:gd name="T0" fmla="*/ 199 w 199"/>
                  <a:gd name="T1" fmla="*/ 40 h 45"/>
                  <a:gd name="T2" fmla="*/ 189 w 199"/>
                  <a:gd name="T3" fmla="*/ 40 h 45"/>
                  <a:gd name="T4" fmla="*/ 184 w 199"/>
                  <a:gd name="T5" fmla="*/ 45 h 45"/>
                  <a:gd name="T6" fmla="*/ 89 w 199"/>
                  <a:gd name="T7" fmla="*/ 25 h 45"/>
                  <a:gd name="T8" fmla="*/ 5 w 199"/>
                  <a:gd name="T9" fmla="*/ 0 h 45"/>
                  <a:gd name="T10" fmla="*/ 0 w 199"/>
                  <a:gd name="T11" fmla="*/ 0 h 4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9"/>
                  <a:gd name="T19" fmla="*/ 0 h 45"/>
                  <a:gd name="T20" fmla="*/ 199 w 199"/>
                  <a:gd name="T21" fmla="*/ 45 h 4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9" h="45">
                    <a:moveTo>
                      <a:pt x="199" y="40"/>
                    </a:moveTo>
                    <a:lnTo>
                      <a:pt x="189" y="40"/>
                    </a:lnTo>
                    <a:lnTo>
                      <a:pt x="184" y="45"/>
                    </a:lnTo>
                    <a:lnTo>
                      <a:pt x="89" y="25"/>
                    </a:lnTo>
                    <a:lnTo>
                      <a:pt x="5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19" name="Line 1189"/>
              <p:cNvSpPr>
                <a:spLocks noChangeShapeType="1"/>
              </p:cNvSpPr>
              <p:nvPr/>
            </p:nvSpPr>
            <p:spPr bwMode="auto">
              <a:xfrm>
                <a:off x="1761" y="2160"/>
                <a:ext cx="1" cy="2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7920" name="Line 1190"/>
              <p:cNvSpPr>
                <a:spLocks noChangeShapeType="1"/>
              </p:cNvSpPr>
              <p:nvPr/>
            </p:nvSpPr>
            <p:spPr bwMode="auto">
              <a:xfrm>
                <a:off x="1746" y="2175"/>
                <a:ext cx="1" cy="15"/>
              </a:xfrm>
              <a:prstGeom prst="line">
                <a:avLst/>
              </a:pr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7392" name="Rectangle 1416"/>
            <p:cNvSpPr>
              <a:spLocks noChangeArrowheads="1"/>
            </p:cNvSpPr>
            <p:nvPr/>
          </p:nvSpPr>
          <p:spPr bwMode="auto">
            <a:xfrm>
              <a:off x="1283718" y="2932882"/>
              <a:ext cx="17198" cy="196850"/>
            </a:xfrm>
            <a:prstGeom prst="rect">
              <a:avLst/>
            </a:prstGeom>
            <a:solidFill>
              <a:srgbClr val="2090A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393" name="Rectangle 1417"/>
            <p:cNvSpPr>
              <a:spLocks noChangeArrowheads="1"/>
            </p:cNvSpPr>
            <p:nvPr/>
          </p:nvSpPr>
          <p:spPr bwMode="auto">
            <a:xfrm>
              <a:off x="1292317" y="2932882"/>
              <a:ext cx="17198" cy="196850"/>
            </a:xfrm>
            <a:prstGeom prst="rect">
              <a:avLst/>
            </a:prstGeom>
            <a:solidFill>
              <a:srgbClr val="1F91A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394" name="Rectangle 1418"/>
            <p:cNvSpPr>
              <a:spLocks noChangeArrowheads="1"/>
            </p:cNvSpPr>
            <p:nvPr/>
          </p:nvSpPr>
          <p:spPr bwMode="auto">
            <a:xfrm>
              <a:off x="1300916" y="2932882"/>
              <a:ext cx="17198" cy="196850"/>
            </a:xfrm>
            <a:prstGeom prst="rect">
              <a:avLst/>
            </a:prstGeom>
            <a:solidFill>
              <a:srgbClr val="1F91A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395" name="Rectangle 1419"/>
            <p:cNvSpPr>
              <a:spLocks noChangeArrowheads="1"/>
            </p:cNvSpPr>
            <p:nvPr/>
          </p:nvSpPr>
          <p:spPr bwMode="auto">
            <a:xfrm>
              <a:off x="1309515" y="2932882"/>
              <a:ext cx="17198" cy="196850"/>
            </a:xfrm>
            <a:prstGeom prst="rect">
              <a:avLst/>
            </a:prstGeom>
            <a:solidFill>
              <a:srgbClr val="1D93A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396" name="Rectangle 1420"/>
            <p:cNvSpPr>
              <a:spLocks noChangeArrowheads="1"/>
            </p:cNvSpPr>
            <p:nvPr/>
          </p:nvSpPr>
          <p:spPr bwMode="auto">
            <a:xfrm>
              <a:off x="1318114" y="2932882"/>
              <a:ext cx="17198" cy="196850"/>
            </a:xfrm>
            <a:prstGeom prst="rect">
              <a:avLst/>
            </a:prstGeom>
            <a:solidFill>
              <a:srgbClr val="1D93A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397" name="Rectangle 1421"/>
            <p:cNvSpPr>
              <a:spLocks noChangeArrowheads="1"/>
            </p:cNvSpPr>
            <p:nvPr/>
          </p:nvSpPr>
          <p:spPr bwMode="auto">
            <a:xfrm>
              <a:off x="1326713" y="2932882"/>
              <a:ext cx="17198" cy="196850"/>
            </a:xfrm>
            <a:prstGeom prst="rect">
              <a:avLst/>
            </a:prstGeom>
            <a:solidFill>
              <a:srgbClr val="1D93A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398" name="Rectangle 1422"/>
            <p:cNvSpPr>
              <a:spLocks noChangeArrowheads="1"/>
            </p:cNvSpPr>
            <p:nvPr/>
          </p:nvSpPr>
          <p:spPr bwMode="auto">
            <a:xfrm>
              <a:off x="1335312" y="2932882"/>
              <a:ext cx="17198" cy="196850"/>
            </a:xfrm>
            <a:prstGeom prst="rect">
              <a:avLst/>
            </a:prstGeom>
            <a:solidFill>
              <a:srgbClr val="1B94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399" name="Rectangle 1423"/>
            <p:cNvSpPr>
              <a:spLocks noChangeArrowheads="1"/>
            </p:cNvSpPr>
            <p:nvPr/>
          </p:nvSpPr>
          <p:spPr bwMode="auto">
            <a:xfrm>
              <a:off x="1343911" y="2932882"/>
              <a:ext cx="17198" cy="196850"/>
            </a:xfrm>
            <a:prstGeom prst="rect">
              <a:avLst/>
            </a:prstGeom>
            <a:solidFill>
              <a:srgbClr val="1B94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00" name="Rectangle 1424"/>
            <p:cNvSpPr>
              <a:spLocks noChangeArrowheads="1"/>
            </p:cNvSpPr>
            <p:nvPr/>
          </p:nvSpPr>
          <p:spPr bwMode="auto">
            <a:xfrm>
              <a:off x="1352509" y="2932882"/>
              <a:ext cx="17198" cy="196850"/>
            </a:xfrm>
            <a:prstGeom prst="rect">
              <a:avLst/>
            </a:prstGeom>
            <a:solidFill>
              <a:srgbClr val="1B94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01" name="Rectangle 1425"/>
            <p:cNvSpPr>
              <a:spLocks noChangeArrowheads="1"/>
            </p:cNvSpPr>
            <p:nvPr/>
          </p:nvSpPr>
          <p:spPr bwMode="auto">
            <a:xfrm>
              <a:off x="1361108" y="2932882"/>
              <a:ext cx="17198" cy="196850"/>
            </a:xfrm>
            <a:prstGeom prst="rect">
              <a:avLst/>
            </a:prstGeom>
            <a:solidFill>
              <a:srgbClr val="1795A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02" name="Rectangle 1426"/>
            <p:cNvSpPr>
              <a:spLocks noChangeArrowheads="1"/>
            </p:cNvSpPr>
            <p:nvPr/>
          </p:nvSpPr>
          <p:spPr bwMode="auto">
            <a:xfrm>
              <a:off x="1369707" y="2932882"/>
              <a:ext cx="17198" cy="196850"/>
            </a:xfrm>
            <a:prstGeom prst="rect">
              <a:avLst/>
            </a:prstGeom>
            <a:solidFill>
              <a:srgbClr val="1795A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03" name="Rectangle 1427"/>
            <p:cNvSpPr>
              <a:spLocks noChangeArrowheads="1"/>
            </p:cNvSpPr>
            <p:nvPr/>
          </p:nvSpPr>
          <p:spPr bwMode="auto">
            <a:xfrm>
              <a:off x="1378306" y="2932882"/>
              <a:ext cx="17198" cy="196850"/>
            </a:xfrm>
            <a:prstGeom prst="rect">
              <a:avLst/>
            </a:prstGeom>
            <a:solidFill>
              <a:srgbClr val="1795A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04" name="Rectangle 1428"/>
            <p:cNvSpPr>
              <a:spLocks noChangeArrowheads="1"/>
            </p:cNvSpPr>
            <p:nvPr/>
          </p:nvSpPr>
          <p:spPr bwMode="auto">
            <a:xfrm>
              <a:off x="1386905" y="2932882"/>
              <a:ext cx="17198" cy="196850"/>
            </a:xfrm>
            <a:prstGeom prst="rect">
              <a:avLst/>
            </a:prstGeom>
            <a:solidFill>
              <a:srgbClr val="1697A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05" name="Rectangle 1429"/>
            <p:cNvSpPr>
              <a:spLocks noChangeArrowheads="1"/>
            </p:cNvSpPr>
            <p:nvPr/>
          </p:nvSpPr>
          <p:spPr bwMode="auto">
            <a:xfrm>
              <a:off x="1395504" y="2932882"/>
              <a:ext cx="15478" cy="196850"/>
            </a:xfrm>
            <a:prstGeom prst="rect">
              <a:avLst/>
            </a:prstGeom>
            <a:solidFill>
              <a:srgbClr val="1697A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06" name="Rectangle 1430"/>
            <p:cNvSpPr>
              <a:spLocks noChangeArrowheads="1"/>
            </p:cNvSpPr>
            <p:nvPr/>
          </p:nvSpPr>
          <p:spPr bwMode="auto">
            <a:xfrm>
              <a:off x="1404103" y="2932882"/>
              <a:ext cx="15478" cy="196850"/>
            </a:xfrm>
            <a:prstGeom prst="rect">
              <a:avLst/>
            </a:prstGeom>
            <a:solidFill>
              <a:srgbClr val="0D99A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07" name="Rectangle 1431"/>
            <p:cNvSpPr>
              <a:spLocks noChangeArrowheads="1"/>
            </p:cNvSpPr>
            <p:nvPr/>
          </p:nvSpPr>
          <p:spPr bwMode="auto">
            <a:xfrm>
              <a:off x="1410982" y="2932882"/>
              <a:ext cx="17198" cy="196850"/>
            </a:xfrm>
            <a:prstGeom prst="rect">
              <a:avLst/>
            </a:prstGeom>
            <a:solidFill>
              <a:srgbClr val="0D99A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08" name="Rectangle 1432"/>
            <p:cNvSpPr>
              <a:spLocks noChangeArrowheads="1"/>
            </p:cNvSpPr>
            <p:nvPr/>
          </p:nvSpPr>
          <p:spPr bwMode="auto">
            <a:xfrm>
              <a:off x="1419581" y="2932882"/>
              <a:ext cx="17198" cy="196850"/>
            </a:xfrm>
            <a:prstGeom prst="rect">
              <a:avLst/>
            </a:prstGeom>
            <a:solidFill>
              <a:srgbClr val="0D99A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09" name="Rectangle 1433"/>
            <p:cNvSpPr>
              <a:spLocks noChangeArrowheads="1"/>
            </p:cNvSpPr>
            <p:nvPr/>
          </p:nvSpPr>
          <p:spPr bwMode="auto">
            <a:xfrm>
              <a:off x="1428180" y="2932882"/>
              <a:ext cx="17198" cy="196850"/>
            </a:xfrm>
            <a:prstGeom prst="rect">
              <a:avLst/>
            </a:prstGeom>
            <a:solidFill>
              <a:srgbClr val="009AA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10" name="Rectangle 1434"/>
            <p:cNvSpPr>
              <a:spLocks noChangeArrowheads="1"/>
            </p:cNvSpPr>
            <p:nvPr/>
          </p:nvSpPr>
          <p:spPr bwMode="auto">
            <a:xfrm>
              <a:off x="1436779" y="2932882"/>
              <a:ext cx="17198" cy="196850"/>
            </a:xfrm>
            <a:prstGeom prst="rect">
              <a:avLst/>
            </a:prstGeom>
            <a:solidFill>
              <a:srgbClr val="009AA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11" name="Rectangle 1435"/>
            <p:cNvSpPr>
              <a:spLocks noChangeArrowheads="1"/>
            </p:cNvSpPr>
            <p:nvPr/>
          </p:nvSpPr>
          <p:spPr bwMode="auto">
            <a:xfrm>
              <a:off x="1445378" y="2932882"/>
              <a:ext cx="17198" cy="196850"/>
            </a:xfrm>
            <a:prstGeom prst="rect">
              <a:avLst/>
            </a:prstGeom>
            <a:solidFill>
              <a:srgbClr val="009AA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12" name="Rectangle 1436"/>
            <p:cNvSpPr>
              <a:spLocks noChangeArrowheads="1"/>
            </p:cNvSpPr>
            <p:nvPr/>
          </p:nvSpPr>
          <p:spPr bwMode="auto">
            <a:xfrm>
              <a:off x="1453977" y="2932882"/>
              <a:ext cx="17198" cy="196850"/>
            </a:xfrm>
            <a:prstGeom prst="rect">
              <a:avLst/>
            </a:prstGeom>
            <a:solidFill>
              <a:srgbClr val="009CB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13" name="Rectangle 1437"/>
            <p:cNvSpPr>
              <a:spLocks noChangeArrowheads="1"/>
            </p:cNvSpPr>
            <p:nvPr/>
          </p:nvSpPr>
          <p:spPr bwMode="auto">
            <a:xfrm>
              <a:off x="1462576" y="2932882"/>
              <a:ext cx="17198" cy="196850"/>
            </a:xfrm>
            <a:prstGeom prst="rect">
              <a:avLst/>
            </a:prstGeom>
            <a:solidFill>
              <a:srgbClr val="009CB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14" name="Rectangle 1438"/>
            <p:cNvSpPr>
              <a:spLocks noChangeArrowheads="1"/>
            </p:cNvSpPr>
            <p:nvPr/>
          </p:nvSpPr>
          <p:spPr bwMode="auto">
            <a:xfrm>
              <a:off x="1471175" y="2932882"/>
              <a:ext cx="17198" cy="196850"/>
            </a:xfrm>
            <a:prstGeom prst="rect">
              <a:avLst/>
            </a:prstGeom>
            <a:solidFill>
              <a:srgbClr val="009EB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15" name="Rectangle 1439"/>
            <p:cNvSpPr>
              <a:spLocks noChangeArrowheads="1"/>
            </p:cNvSpPr>
            <p:nvPr/>
          </p:nvSpPr>
          <p:spPr bwMode="auto">
            <a:xfrm>
              <a:off x="1479774" y="2932882"/>
              <a:ext cx="17198" cy="196850"/>
            </a:xfrm>
            <a:prstGeom prst="rect">
              <a:avLst/>
            </a:prstGeom>
            <a:solidFill>
              <a:srgbClr val="009EB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16" name="Rectangle 1440"/>
            <p:cNvSpPr>
              <a:spLocks noChangeArrowheads="1"/>
            </p:cNvSpPr>
            <p:nvPr/>
          </p:nvSpPr>
          <p:spPr bwMode="auto">
            <a:xfrm>
              <a:off x="1488373" y="2932882"/>
              <a:ext cx="17198" cy="196850"/>
            </a:xfrm>
            <a:prstGeom prst="rect">
              <a:avLst/>
            </a:prstGeom>
            <a:solidFill>
              <a:srgbClr val="009EB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17" name="Rectangle 1441"/>
            <p:cNvSpPr>
              <a:spLocks noChangeArrowheads="1"/>
            </p:cNvSpPr>
            <p:nvPr/>
          </p:nvSpPr>
          <p:spPr bwMode="auto">
            <a:xfrm>
              <a:off x="1496972" y="2932882"/>
              <a:ext cx="17198" cy="196850"/>
            </a:xfrm>
            <a:prstGeom prst="rect">
              <a:avLst/>
            </a:prstGeom>
            <a:solidFill>
              <a:srgbClr val="00A0B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18" name="Rectangle 1442"/>
            <p:cNvSpPr>
              <a:spLocks noChangeArrowheads="1"/>
            </p:cNvSpPr>
            <p:nvPr/>
          </p:nvSpPr>
          <p:spPr bwMode="auto">
            <a:xfrm>
              <a:off x="1505571" y="2932882"/>
              <a:ext cx="17198" cy="196850"/>
            </a:xfrm>
            <a:prstGeom prst="rect">
              <a:avLst/>
            </a:prstGeom>
            <a:solidFill>
              <a:srgbClr val="00A0B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19" name="Rectangle 1443"/>
            <p:cNvSpPr>
              <a:spLocks noChangeArrowheads="1"/>
            </p:cNvSpPr>
            <p:nvPr/>
          </p:nvSpPr>
          <p:spPr bwMode="auto">
            <a:xfrm>
              <a:off x="1514170" y="2932882"/>
              <a:ext cx="17198" cy="196850"/>
            </a:xfrm>
            <a:prstGeom prst="rect">
              <a:avLst/>
            </a:prstGeom>
            <a:solidFill>
              <a:srgbClr val="00A2B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20" name="Rectangle 1444"/>
            <p:cNvSpPr>
              <a:spLocks noChangeArrowheads="1"/>
            </p:cNvSpPr>
            <p:nvPr/>
          </p:nvSpPr>
          <p:spPr bwMode="auto">
            <a:xfrm>
              <a:off x="1522769" y="2932882"/>
              <a:ext cx="25797" cy="196850"/>
            </a:xfrm>
            <a:prstGeom prst="rect">
              <a:avLst/>
            </a:prstGeom>
            <a:solidFill>
              <a:srgbClr val="00A2B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21" name="Rectangle 1445"/>
            <p:cNvSpPr>
              <a:spLocks noChangeArrowheads="1"/>
            </p:cNvSpPr>
            <p:nvPr/>
          </p:nvSpPr>
          <p:spPr bwMode="auto">
            <a:xfrm>
              <a:off x="1531368" y="2932882"/>
              <a:ext cx="25797" cy="196850"/>
            </a:xfrm>
            <a:prstGeom prst="rect">
              <a:avLst/>
            </a:prstGeom>
            <a:solidFill>
              <a:srgbClr val="00A2B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22" name="Rectangle 1446"/>
            <p:cNvSpPr>
              <a:spLocks noChangeArrowheads="1"/>
            </p:cNvSpPr>
            <p:nvPr/>
          </p:nvSpPr>
          <p:spPr bwMode="auto">
            <a:xfrm>
              <a:off x="1548566" y="2932882"/>
              <a:ext cx="17198" cy="196850"/>
            </a:xfrm>
            <a:prstGeom prst="rect">
              <a:avLst/>
            </a:prstGeom>
            <a:solidFill>
              <a:srgbClr val="00A3B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23" name="Rectangle 1447"/>
            <p:cNvSpPr>
              <a:spLocks noChangeArrowheads="1"/>
            </p:cNvSpPr>
            <p:nvPr/>
          </p:nvSpPr>
          <p:spPr bwMode="auto">
            <a:xfrm>
              <a:off x="1557165" y="2932882"/>
              <a:ext cx="17198" cy="196850"/>
            </a:xfrm>
            <a:prstGeom prst="rect">
              <a:avLst/>
            </a:prstGeom>
            <a:solidFill>
              <a:srgbClr val="00A3B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24" name="Rectangle 1448"/>
            <p:cNvSpPr>
              <a:spLocks noChangeArrowheads="1"/>
            </p:cNvSpPr>
            <p:nvPr/>
          </p:nvSpPr>
          <p:spPr bwMode="auto">
            <a:xfrm>
              <a:off x="1565764" y="2932882"/>
              <a:ext cx="17198" cy="196850"/>
            </a:xfrm>
            <a:prstGeom prst="rect">
              <a:avLst/>
            </a:prstGeom>
            <a:solidFill>
              <a:srgbClr val="00A3B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25" name="Rectangle 1449"/>
            <p:cNvSpPr>
              <a:spLocks noChangeArrowheads="1"/>
            </p:cNvSpPr>
            <p:nvPr/>
          </p:nvSpPr>
          <p:spPr bwMode="auto">
            <a:xfrm>
              <a:off x="1574363" y="2932882"/>
              <a:ext cx="17198" cy="196850"/>
            </a:xfrm>
            <a:prstGeom prst="rect">
              <a:avLst/>
            </a:prstGeom>
            <a:solidFill>
              <a:srgbClr val="00A5B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26" name="Rectangle 1450"/>
            <p:cNvSpPr>
              <a:spLocks noChangeArrowheads="1"/>
            </p:cNvSpPr>
            <p:nvPr/>
          </p:nvSpPr>
          <p:spPr bwMode="auto">
            <a:xfrm>
              <a:off x="1582962" y="2932882"/>
              <a:ext cx="17198" cy="196850"/>
            </a:xfrm>
            <a:prstGeom prst="rect">
              <a:avLst/>
            </a:prstGeom>
            <a:solidFill>
              <a:srgbClr val="00A5B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27" name="Rectangle 1451"/>
            <p:cNvSpPr>
              <a:spLocks noChangeArrowheads="1"/>
            </p:cNvSpPr>
            <p:nvPr/>
          </p:nvSpPr>
          <p:spPr bwMode="auto">
            <a:xfrm>
              <a:off x="1591561" y="2932882"/>
              <a:ext cx="17198" cy="196850"/>
            </a:xfrm>
            <a:prstGeom prst="rect">
              <a:avLst/>
            </a:prstGeom>
            <a:solidFill>
              <a:srgbClr val="00A6B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28" name="Rectangle 1452"/>
            <p:cNvSpPr>
              <a:spLocks noChangeArrowheads="1"/>
            </p:cNvSpPr>
            <p:nvPr/>
          </p:nvSpPr>
          <p:spPr bwMode="auto">
            <a:xfrm>
              <a:off x="1600160" y="2932882"/>
              <a:ext cx="17198" cy="196850"/>
            </a:xfrm>
            <a:prstGeom prst="rect">
              <a:avLst/>
            </a:prstGeom>
            <a:solidFill>
              <a:srgbClr val="00A6B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29" name="Rectangle 1453"/>
            <p:cNvSpPr>
              <a:spLocks noChangeArrowheads="1"/>
            </p:cNvSpPr>
            <p:nvPr/>
          </p:nvSpPr>
          <p:spPr bwMode="auto">
            <a:xfrm>
              <a:off x="1608759" y="2932882"/>
              <a:ext cx="17198" cy="196850"/>
            </a:xfrm>
            <a:prstGeom prst="rect">
              <a:avLst/>
            </a:prstGeom>
            <a:solidFill>
              <a:srgbClr val="00A6B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30" name="Rectangle 1454"/>
            <p:cNvSpPr>
              <a:spLocks noChangeArrowheads="1"/>
            </p:cNvSpPr>
            <p:nvPr/>
          </p:nvSpPr>
          <p:spPr bwMode="auto">
            <a:xfrm>
              <a:off x="1617357" y="2932882"/>
              <a:ext cx="17198" cy="196850"/>
            </a:xfrm>
            <a:prstGeom prst="rect">
              <a:avLst/>
            </a:prstGeom>
            <a:solidFill>
              <a:srgbClr val="00A8B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31" name="Rectangle 1455"/>
            <p:cNvSpPr>
              <a:spLocks noChangeArrowheads="1"/>
            </p:cNvSpPr>
            <p:nvPr/>
          </p:nvSpPr>
          <p:spPr bwMode="auto">
            <a:xfrm>
              <a:off x="1625956" y="2932882"/>
              <a:ext cx="17198" cy="196850"/>
            </a:xfrm>
            <a:prstGeom prst="rect">
              <a:avLst/>
            </a:prstGeom>
            <a:solidFill>
              <a:srgbClr val="00A8B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32" name="Rectangle 1456"/>
            <p:cNvSpPr>
              <a:spLocks noChangeArrowheads="1"/>
            </p:cNvSpPr>
            <p:nvPr/>
          </p:nvSpPr>
          <p:spPr bwMode="auto">
            <a:xfrm>
              <a:off x="1634555" y="2932882"/>
              <a:ext cx="17198" cy="196850"/>
            </a:xfrm>
            <a:prstGeom prst="rect">
              <a:avLst/>
            </a:prstGeom>
            <a:solidFill>
              <a:srgbClr val="00A8B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33" name="Rectangle 1457"/>
            <p:cNvSpPr>
              <a:spLocks noChangeArrowheads="1"/>
            </p:cNvSpPr>
            <p:nvPr/>
          </p:nvSpPr>
          <p:spPr bwMode="auto">
            <a:xfrm>
              <a:off x="1643154" y="2932882"/>
              <a:ext cx="17198" cy="196850"/>
            </a:xfrm>
            <a:prstGeom prst="rect">
              <a:avLst/>
            </a:prstGeom>
            <a:solidFill>
              <a:srgbClr val="00AAC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34" name="Rectangle 1458"/>
            <p:cNvSpPr>
              <a:spLocks noChangeArrowheads="1"/>
            </p:cNvSpPr>
            <p:nvPr/>
          </p:nvSpPr>
          <p:spPr bwMode="auto">
            <a:xfrm>
              <a:off x="1651753" y="2932882"/>
              <a:ext cx="17198" cy="196850"/>
            </a:xfrm>
            <a:prstGeom prst="rect">
              <a:avLst/>
            </a:prstGeom>
            <a:solidFill>
              <a:srgbClr val="00AAC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35" name="Rectangle 1459"/>
            <p:cNvSpPr>
              <a:spLocks noChangeArrowheads="1"/>
            </p:cNvSpPr>
            <p:nvPr/>
          </p:nvSpPr>
          <p:spPr bwMode="auto">
            <a:xfrm>
              <a:off x="1660352" y="2932882"/>
              <a:ext cx="17198" cy="196850"/>
            </a:xfrm>
            <a:prstGeom prst="rect">
              <a:avLst/>
            </a:prstGeom>
            <a:solidFill>
              <a:srgbClr val="00AAC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36" name="Rectangle 1460"/>
            <p:cNvSpPr>
              <a:spLocks noChangeArrowheads="1"/>
            </p:cNvSpPr>
            <p:nvPr/>
          </p:nvSpPr>
          <p:spPr bwMode="auto">
            <a:xfrm>
              <a:off x="1668951" y="2932882"/>
              <a:ext cx="17198" cy="196850"/>
            </a:xfrm>
            <a:prstGeom prst="rect">
              <a:avLst/>
            </a:prstGeom>
            <a:solidFill>
              <a:srgbClr val="00ABC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37" name="Rectangle 1461"/>
            <p:cNvSpPr>
              <a:spLocks noChangeArrowheads="1"/>
            </p:cNvSpPr>
            <p:nvPr/>
          </p:nvSpPr>
          <p:spPr bwMode="auto">
            <a:xfrm>
              <a:off x="1677550" y="2932882"/>
              <a:ext cx="17198" cy="196850"/>
            </a:xfrm>
            <a:prstGeom prst="rect">
              <a:avLst/>
            </a:prstGeom>
            <a:solidFill>
              <a:srgbClr val="00ABC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38" name="Rectangle 1462"/>
            <p:cNvSpPr>
              <a:spLocks noChangeArrowheads="1"/>
            </p:cNvSpPr>
            <p:nvPr/>
          </p:nvSpPr>
          <p:spPr bwMode="auto">
            <a:xfrm>
              <a:off x="1686149" y="2932882"/>
              <a:ext cx="17198" cy="196850"/>
            </a:xfrm>
            <a:prstGeom prst="rect">
              <a:avLst/>
            </a:prstGeom>
            <a:solidFill>
              <a:srgbClr val="00ACC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39" name="Rectangle 1463"/>
            <p:cNvSpPr>
              <a:spLocks noChangeArrowheads="1"/>
            </p:cNvSpPr>
            <p:nvPr/>
          </p:nvSpPr>
          <p:spPr bwMode="auto">
            <a:xfrm>
              <a:off x="1694748" y="2932882"/>
              <a:ext cx="17198" cy="196850"/>
            </a:xfrm>
            <a:prstGeom prst="rect">
              <a:avLst/>
            </a:prstGeom>
            <a:solidFill>
              <a:srgbClr val="00AE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40" name="Rectangle 1464"/>
            <p:cNvSpPr>
              <a:spLocks noChangeArrowheads="1"/>
            </p:cNvSpPr>
            <p:nvPr/>
          </p:nvSpPr>
          <p:spPr bwMode="auto">
            <a:xfrm>
              <a:off x="1703347" y="2932882"/>
              <a:ext cx="1720" cy="196850"/>
            </a:xfrm>
            <a:prstGeom prst="rect">
              <a:avLst/>
            </a:prstGeom>
            <a:solidFill>
              <a:srgbClr val="00AE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41" name="Freeform 1465"/>
            <p:cNvSpPr>
              <a:spLocks/>
            </p:cNvSpPr>
            <p:nvPr/>
          </p:nvSpPr>
          <p:spPr bwMode="auto">
            <a:xfrm>
              <a:off x="520130" y="2932882"/>
              <a:ext cx="1183217" cy="196850"/>
            </a:xfrm>
            <a:custGeom>
              <a:avLst/>
              <a:gdLst>
                <a:gd name="T0" fmla="*/ 0 w 688"/>
                <a:gd name="T1" fmla="*/ 99 h 124"/>
                <a:gd name="T2" fmla="*/ 210 w 688"/>
                <a:gd name="T3" fmla="*/ 124 h 124"/>
                <a:gd name="T4" fmla="*/ 688 w 688"/>
                <a:gd name="T5" fmla="*/ 15 h 124"/>
                <a:gd name="T6" fmla="*/ 509 w 688"/>
                <a:gd name="T7" fmla="*/ 0 h 124"/>
                <a:gd name="T8" fmla="*/ 0 w 688"/>
                <a:gd name="T9" fmla="*/ 99 h 1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88"/>
                <a:gd name="T16" fmla="*/ 0 h 124"/>
                <a:gd name="T17" fmla="*/ 688 w 688"/>
                <a:gd name="T18" fmla="*/ 124 h 1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88" h="124">
                  <a:moveTo>
                    <a:pt x="0" y="99"/>
                  </a:moveTo>
                  <a:lnTo>
                    <a:pt x="210" y="124"/>
                  </a:lnTo>
                  <a:lnTo>
                    <a:pt x="688" y="15"/>
                  </a:lnTo>
                  <a:lnTo>
                    <a:pt x="509" y="0"/>
                  </a:lnTo>
                  <a:lnTo>
                    <a:pt x="0" y="99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42" name="Freeform 1466"/>
            <p:cNvSpPr>
              <a:spLocks/>
            </p:cNvSpPr>
            <p:nvPr/>
          </p:nvSpPr>
          <p:spPr bwMode="auto">
            <a:xfrm>
              <a:off x="872687" y="3058294"/>
              <a:ext cx="42995" cy="23813"/>
            </a:xfrm>
            <a:custGeom>
              <a:avLst/>
              <a:gdLst>
                <a:gd name="T0" fmla="*/ 25 w 25"/>
                <a:gd name="T1" fmla="*/ 0 h 15"/>
                <a:gd name="T2" fmla="*/ 0 w 25"/>
                <a:gd name="T3" fmla="*/ 10 h 15"/>
                <a:gd name="T4" fmla="*/ 0 w 25"/>
                <a:gd name="T5" fmla="*/ 15 h 15"/>
                <a:gd name="T6" fmla="*/ 25 w 25"/>
                <a:gd name="T7" fmla="*/ 10 h 15"/>
                <a:gd name="T8" fmla="*/ 25 w 25"/>
                <a:gd name="T9" fmla="*/ 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5"/>
                <a:gd name="T16" fmla="*/ 0 h 15"/>
                <a:gd name="T17" fmla="*/ 25 w 25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5" h="15">
                  <a:moveTo>
                    <a:pt x="25" y="0"/>
                  </a:moveTo>
                  <a:lnTo>
                    <a:pt x="0" y="10"/>
                  </a:lnTo>
                  <a:lnTo>
                    <a:pt x="0" y="15"/>
                  </a:lnTo>
                  <a:lnTo>
                    <a:pt x="25" y="10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577D7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43" name="Freeform 1467"/>
            <p:cNvSpPr>
              <a:spLocks/>
            </p:cNvSpPr>
            <p:nvPr/>
          </p:nvSpPr>
          <p:spPr bwMode="auto">
            <a:xfrm>
              <a:off x="821094" y="3050357"/>
              <a:ext cx="94589" cy="23813"/>
            </a:xfrm>
            <a:custGeom>
              <a:avLst/>
              <a:gdLst>
                <a:gd name="T0" fmla="*/ 55 w 55"/>
                <a:gd name="T1" fmla="*/ 5 h 15"/>
                <a:gd name="T2" fmla="*/ 30 w 55"/>
                <a:gd name="T3" fmla="*/ 0 h 15"/>
                <a:gd name="T4" fmla="*/ 0 w 55"/>
                <a:gd name="T5" fmla="*/ 10 h 15"/>
                <a:gd name="T6" fmla="*/ 30 w 55"/>
                <a:gd name="T7" fmla="*/ 15 h 15"/>
                <a:gd name="T8" fmla="*/ 55 w 55"/>
                <a:gd name="T9" fmla="*/ 5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5"/>
                <a:gd name="T16" fmla="*/ 0 h 15"/>
                <a:gd name="T17" fmla="*/ 55 w 55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5" h="15">
                  <a:moveTo>
                    <a:pt x="55" y="5"/>
                  </a:moveTo>
                  <a:lnTo>
                    <a:pt x="30" y="0"/>
                  </a:lnTo>
                  <a:lnTo>
                    <a:pt x="0" y="10"/>
                  </a:lnTo>
                  <a:lnTo>
                    <a:pt x="30" y="15"/>
                  </a:lnTo>
                  <a:lnTo>
                    <a:pt x="55" y="5"/>
                  </a:lnTo>
                  <a:close/>
                </a:path>
              </a:pathLst>
            </a:custGeom>
            <a:solidFill>
              <a:srgbClr val="00AEC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44" name="Freeform 1468"/>
            <p:cNvSpPr>
              <a:spLocks/>
            </p:cNvSpPr>
            <p:nvPr/>
          </p:nvSpPr>
          <p:spPr bwMode="auto">
            <a:xfrm>
              <a:off x="485734" y="3113857"/>
              <a:ext cx="343958" cy="53975"/>
            </a:xfrm>
            <a:custGeom>
              <a:avLst/>
              <a:gdLst>
                <a:gd name="T0" fmla="*/ 200 w 200"/>
                <a:gd name="T1" fmla="*/ 24 h 34"/>
                <a:gd name="T2" fmla="*/ 160 w 200"/>
                <a:gd name="T3" fmla="*/ 34 h 34"/>
                <a:gd name="T4" fmla="*/ 0 w 200"/>
                <a:gd name="T5" fmla="*/ 10 h 34"/>
                <a:gd name="T6" fmla="*/ 40 w 200"/>
                <a:gd name="T7" fmla="*/ 0 h 34"/>
                <a:gd name="T8" fmla="*/ 200 w 200"/>
                <a:gd name="T9" fmla="*/ 24 h 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"/>
                <a:gd name="T16" fmla="*/ 0 h 34"/>
                <a:gd name="T17" fmla="*/ 200 w 200"/>
                <a:gd name="T18" fmla="*/ 34 h 3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" h="34">
                  <a:moveTo>
                    <a:pt x="200" y="24"/>
                  </a:moveTo>
                  <a:lnTo>
                    <a:pt x="160" y="34"/>
                  </a:lnTo>
                  <a:lnTo>
                    <a:pt x="0" y="10"/>
                  </a:lnTo>
                  <a:lnTo>
                    <a:pt x="40" y="0"/>
                  </a:lnTo>
                  <a:lnTo>
                    <a:pt x="200" y="24"/>
                  </a:lnTo>
                  <a:close/>
                </a:path>
              </a:pathLst>
            </a:custGeom>
            <a:solidFill>
              <a:srgbClr val="00AEC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45" name="Freeform 1469"/>
            <p:cNvSpPr>
              <a:spLocks/>
            </p:cNvSpPr>
            <p:nvPr/>
          </p:nvSpPr>
          <p:spPr bwMode="auto">
            <a:xfrm>
              <a:off x="1419581" y="2956694"/>
              <a:ext cx="34396" cy="14288"/>
            </a:xfrm>
            <a:custGeom>
              <a:avLst/>
              <a:gdLst>
                <a:gd name="T0" fmla="*/ 20 w 20"/>
                <a:gd name="T1" fmla="*/ 5 h 9"/>
                <a:gd name="T2" fmla="*/ 20 w 20"/>
                <a:gd name="T3" fmla="*/ 0 h 9"/>
                <a:gd name="T4" fmla="*/ 0 w 20"/>
                <a:gd name="T5" fmla="*/ 5 h 9"/>
                <a:gd name="T6" fmla="*/ 0 w 20"/>
                <a:gd name="T7" fmla="*/ 9 h 9"/>
                <a:gd name="T8" fmla="*/ 20 w 20"/>
                <a:gd name="T9" fmla="*/ 5 h 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9"/>
                <a:gd name="T17" fmla="*/ 20 w 20"/>
                <a:gd name="T18" fmla="*/ 9 h 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9">
                  <a:moveTo>
                    <a:pt x="20" y="5"/>
                  </a:moveTo>
                  <a:lnTo>
                    <a:pt x="20" y="0"/>
                  </a:lnTo>
                  <a:lnTo>
                    <a:pt x="0" y="5"/>
                  </a:lnTo>
                  <a:lnTo>
                    <a:pt x="0" y="9"/>
                  </a:lnTo>
                  <a:lnTo>
                    <a:pt x="20" y="5"/>
                  </a:lnTo>
                  <a:close/>
                </a:path>
              </a:pathLst>
            </a:custGeom>
            <a:solidFill>
              <a:srgbClr val="577D7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46" name="Freeform 1470"/>
            <p:cNvSpPr>
              <a:spLocks/>
            </p:cNvSpPr>
            <p:nvPr/>
          </p:nvSpPr>
          <p:spPr bwMode="auto">
            <a:xfrm>
              <a:off x="1386905" y="2948757"/>
              <a:ext cx="67072" cy="15875"/>
            </a:xfrm>
            <a:custGeom>
              <a:avLst/>
              <a:gdLst>
                <a:gd name="T0" fmla="*/ 39 w 39"/>
                <a:gd name="T1" fmla="*/ 5 h 10"/>
                <a:gd name="T2" fmla="*/ 19 w 39"/>
                <a:gd name="T3" fmla="*/ 0 h 10"/>
                <a:gd name="T4" fmla="*/ 0 w 39"/>
                <a:gd name="T5" fmla="*/ 5 h 10"/>
                <a:gd name="T6" fmla="*/ 19 w 39"/>
                <a:gd name="T7" fmla="*/ 10 h 10"/>
                <a:gd name="T8" fmla="*/ 39 w 39"/>
                <a:gd name="T9" fmla="*/ 5 h 1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10"/>
                <a:gd name="T17" fmla="*/ 39 w 39"/>
                <a:gd name="T18" fmla="*/ 10 h 1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10">
                  <a:moveTo>
                    <a:pt x="39" y="5"/>
                  </a:moveTo>
                  <a:lnTo>
                    <a:pt x="19" y="0"/>
                  </a:lnTo>
                  <a:lnTo>
                    <a:pt x="0" y="5"/>
                  </a:lnTo>
                  <a:lnTo>
                    <a:pt x="19" y="10"/>
                  </a:lnTo>
                  <a:lnTo>
                    <a:pt x="39" y="5"/>
                  </a:lnTo>
                  <a:close/>
                </a:path>
              </a:pathLst>
            </a:custGeom>
            <a:solidFill>
              <a:srgbClr val="00AEC4"/>
            </a:solidFill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47" name="Freeform 1471"/>
            <p:cNvSpPr>
              <a:spLocks noEditPoints="1"/>
            </p:cNvSpPr>
            <p:nvPr/>
          </p:nvSpPr>
          <p:spPr bwMode="auto">
            <a:xfrm>
              <a:off x="889885" y="2956694"/>
              <a:ext cx="830660" cy="682625"/>
            </a:xfrm>
            <a:custGeom>
              <a:avLst/>
              <a:gdLst>
                <a:gd name="T0" fmla="*/ 483 w 483"/>
                <a:gd name="T1" fmla="*/ 0 h 430"/>
                <a:gd name="T2" fmla="*/ 0 w 483"/>
                <a:gd name="T3" fmla="*/ 114 h 430"/>
                <a:gd name="T4" fmla="*/ 0 w 483"/>
                <a:gd name="T5" fmla="*/ 430 h 430"/>
                <a:gd name="T6" fmla="*/ 478 w 483"/>
                <a:gd name="T7" fmla="*/ 252 h 430"/>
                <a:gd name="T8" fmla="*/ 483 w 483"/>
                <a:gd name="T9" fmla="*/ 0 h 430"/>
                <a:gd name="T10" fmla="*/ 473 w 483"/>
                <a:gd name="T11" fmla="*/ 9 h 430"/>
                <a:gd name="T12" fmla="*/ 473 w 483"/>
                <a:gd name="T13" fmla="*/ 237 h 430"/>
                <a:gd name="T14" fmla="*/ 10 w 483"/>
                <a:gd name="T15" fmla="*/ 401 h 430"/>
                <a:gd name="T16" fmla="*/ 10 w 483"/>
                <a:gd name="T17" fmla="*/ 118 h 430"/>
                <a:gd name="T18" fmla="*/ 473 w 483"/>
                <a:gd name="T19" fmla="*/ 9 h 4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83"/>
                <a:gd name="T31" fmla="*/ 0 h 430"/>
                <a:gd name="T32" fmla="*/ 483 w 483"/>
                <a:gd name="T33" fmla="*/ 430 h 4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83" h="430">
                  <a:moveTo>
                    <a:pt x="483" y="0"/>
                  </a:moveTo>
                  <a:lnTo>
                    <a:pt x="0" y="114"/>
                  </a:lnTo>
                  <a:lnTo>
                    <a:pt x="0" y="430"/>
                  </a:lnTo>
                  <a:lnTo>
                    <a:pt x="478" y="252"/>
                  </a:lnTo>
                  <a:lnTo>
                    <a:pt x="483" y="0"/>
                  </a:lnTo>
                  <a:close/>
                  <a:moveTo>
                    <a:pt x="473" y="9"/>
                  </a:moveTo>
                  <a:lnTo>
                    <a:pt x="473" y="237"/>
                  </a:lnTo>
                  <a:lnTo>
                    <a:pt x="10" y="401"/>
                  </a:lnTo>
                  <a:lnTo>
                    <a:pt x="10" y="118"/>
                  </a:lnTo>
                  <a:lnTo>
                    <a:pt x="473" y="9"/>
                  </a:lnTo>
                  <a:close/>
                </a:path>
              </a:pathLst>
            </a:custGeom>
            <a:solidFill>
              <a:srgbClr val="838181"/>
            </a:solidFill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48" name="Freeform 1472"/>
            <p:cNvSpPr>
              <a:spLocks/>
            </p:cNvSpPr>
            <p:nvPr/>
          </p:nvSpPr>
          <p:spPr bwMode="auto">
            <a:xfrm>
              <a:off x="494333" y="3090044"/>
              <a:ext cx="395552" cy="549275"/>
            </a:xfrm>
            <a:custGeom>
              <a:avLst/>
              <a:gdLst>
                <a:gd name="T0" fmla="*/ 230 w 230"/>
                <a:gd name="T1" fmla="*/ 346 h 346"/>
                <a:gd name="T2" fmla="*/ 220 w 230"/>
                <a:gd name="T3" fmla="*/ 346 h 346"/>
                <a:gd name="T4" fmla="*/ 220 w 230"/>
                <a:gd name="T5" fmla="*/ 337 h 346"/>
                <a:gd name="T6" fmla="*/ 215 w 230"/>
                <a:gd name="T7" fmla="*/ 332 h 346"/>
                <a:gd name="T8" fmla="*/ 220 w 230"/>
                <a:gd name="T9" fmla="*/ 317 h 346"/>
                <a:gd name="T10" fmla="*/ 220 w 230"/>
                <a:gd name="T11" fmla="*/ 317 h 346"/>
                <a:gd name="T12" fmla="*/ 220 w 230"/>
                <a:gd name="T13" fmla="*/ 39 h 346"/>
                <a:gd name="T14" fmla="*/ 5 w 230"/>
                <a:gd name="T15" fmla="*/ 10 h 346"/>
                <a:gd name="T16" fmla="*/ 5 w 230"/>
                <a:gd name="T17" fmla="*/ 25 h 346"/>
                <a:gd name="T18" fmla="*/ 0 w 230"/>
                <a:gd name="T19" fmla="*/ 25 h 346"/>
                <a:gd name="T20" fmla="*/ 0 w 230"/>
                <a:gd name="T21" fmla="*/ 0 h 346"/>
                <a:gd name="T22" fmla="*/ 230 w 230"/>
                <a:gd name="T23" fmla="*/ 30 h 346"/>
                <a:gd name="T24" fmla="*/ 230 w 230"/>
                <a:gd name="T25" fmla="*/ 346 h 34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30"/>
                <a:gd name="T40" fmla="*/ 0 h 346"/>
                <a:gd name="T41" fmla="*/ 230 w 230"/>
                <a:gd name="T42" fmla="*/ 346 h 34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30" h="346">
                  <a:moveTo>
                    <a:pt x="230" y="346"/>
                  </a:moveTo>
                  <a:lnTo>
                    <a:pt x="220" y="346"/>
                  </a:lnTo>
                  <a:lnTo>
                    <a:pt x="220" y="337"/>
                  </a:lnTo>
                  <a:lnTo>
                    <a:pt x="215" y="332"/>
                  </a:lnTo>
                  <a:lnTo>
                    <a:pt x="220" y="317"/>
                  </a:lnTo>
                  <a:lnTo>
                    <a:pt x="220" y="39"/>
                  </a:lnTo>
                  <a:lnTo>
                    <a:pt x="5" y="10"/>
                  </a:lnTo>
                  <a:lnTo>
                    <a:pt x="5" y="25"/>
                  </a:lnTo>
                  <a:lnTo>
                    <a:pt x="0" y="25"/>
                  </a:lnTo>
                  <a:lnTo>
                    <a:pt x="0" y="0"/>
                  </a:lnTo>
                  <a:lnTo>
                    <a:pt x="230" y="30"/>
                  </a:lnTo>
                  <a:lnTo>
                    <a:pt x="230" y="346"/>
                  </a:lnTo>
                  <a:close/>
                </a:path>
              </a:pathLst>
            </a:custGeom>
            <a:solidFill>
              <a:srgbClr val="A9A8A7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49" name="Freeform 1473"/>
            <p:cNvSpPr>
              <a:spLocks/>
            </p:cNvSpPr>
            <p:nvPr/>
          </p:nvSpPr>
          <p:spPr bwMode="auto">
            <a:xfrm>
              <a:off x="864089" y="3529782"/>
              <a:ext cx="1720" cy="87313"/>
            </a:xfrm>
            <a:custGeom>
              <a:avLst/>
              <a:gdLst>
                <a:gd name="T0" fmla="*/ 0 w 1"/>
                <a:gd name="T1" fmla="*/ 0 h 55"/>
                <a:gd name="T2" fmla="*/ 0 w 1"/>
                <a:gd name="T3" fmla="*/ 5 h 55"/>
                <a:gd name="T4" fmla="*/ 0 w 1"/>
                <a:gd name="T5" fmla="*/ 55 h 55"/>
                <a:gd name="T6" fmla="*/ 0 60000 65536"/>
                <a:gd name="T7" fmla="*/ 0 60000 65536"/>
                <a:gd name="T8" fmla="*/ 0 60000 65536"/>
                <a:gd name="T9" fmla="*/ 0 w 1"/>
                <a:gd name="T10" fmla="*/ 0 h 55"/>
                <a:gd name="T11" fmla="*/ 1 w 1"/>
                <a:gd name="T12" fmla="*/ 55 h 5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55">
                  <a:moveTo>
                    <a:pt x="0" y="0"/>
                  </a:moveTo>
                  <a:lnTo>
                    <a:pt x="0" y="5"/>
                  </a:lnTo>
                  <a:lnTo>
                    <a:pt x="0" y="55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51" name="Freeform 1475"/>
            <p:cNvSpPr>
              <a:spLocks/>
            </p:cNvSpPr>
            <p:nvPr/>
          </p:nvSpPr>
          <p:spPr bwMode="auto">
            <a:xfrm>
              <a:off x="494333" y="3144019"/>
              <a:ext cx="257969" cy="55563"/>
            </a:xfrm>
            <a:custGeom>
              <a:avLst/>
              <a:gdLst>
                <a:gd name="T0" fmla="*/ 150 w 150"/>
                <a:gd name="T1" fmla="*/ 20 h 35"/>
                <a:gd name="T2" fmla="*/ 0 w 150"/>
                <a:gd name="T3" fmla="*/ 0 h 35"/>
                <a:gd name="T4" fmla="*/ 0 w 150"/>
                <a:gd name="T5" fmla="*/ 10 h 35"/>
                <a:gd name="T6" fmla="*/ 150 w 150"/>
                <a:gd name="T7" fmla="*/ 35 h 35"/>
                <a:gd name="T8" fmla="*/ 150 w 150"/>
                <a:gd name="T9" fmla="*/ 20 h 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0"/>
                <a:gd name="T16" fmla="*/ 0 h 35"/>
                <a:gd name="T17" fmla="*/ 150 w 150"/>
                <a:gd name="T18" fmla="*/ 35 h 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0" h="35">
                  <a:moveTo>
                    <a:pt x="150" y="20"/>
                  </a:moveTo>
                  <a:lnTo>
                    <a:pt x="0" y="0"/>
                  </a:lnTo>
                  <a:lnTo>
                    <a:pt x="0" y="10"/>
                  </a:lnTo>
                  <a:lnTo>
                    <a:pt x="150" y="35"/>
                  </a:lnTo>
                  <a:lnTo>
                    <a:pt x="150" y="20"/>
                  </a:lnTo>
                  <a:close/>
                </a:path>
              </a:pathLst>
            </a:custGeom>
            <a:solidFill>
              <a:srgbClr val="615E5D"/>
            </a:solidFill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52" name="Freeform 1476"/>
            <p:cNvSpPr>
              <a:spLocks/>
            </p:cNvSpPr>
            <p:nvPr/>
          </p:nvSpPr>
          <p:spPr bwMode="auto">
            <a:xfrm>
              <a:off x="494333" y="3167832"/>
              <a:ext cx="257969" cy="55563"/>
            </a:xfrm>
            <a:custGeom>
              <a:avLst/>
              <a:gdLst>
                <a:gd name="T0" fmla="*/ 150 w 150"/>
                <a:gd name="T1" fmla="*/ 25 h 35"/>
                <a:gd name="T2" fmla="*/ 0 w 150"/>
                <a:gd name="T3" fmla="*/ 0 h 35"/>
                <a:gd name="T4" fmla="*/ 0 w 150"/>
                <a:gd name="T5" fmla="*/ 10 h 35"/>
                <a:gd name="T6" fmla="*/ 150 w 150"/>
                <a:gd name="T7" fmla="*/ 35 h 35"/>
                <a:gd name="T8" fmla="*/ 150 w 150"/>
                <a:gd name="T9" fmla="*/ 25 h 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0"/>
                <a:gd name="T16" fmla="*/ 0 h 35"/>
                <a:gd name="T17" fmla="*/ 150 w 150"/>
                <a:gd name="T18" fmla="*/ 35 h 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0" h="35">
                  <a:moveTo>
                    <a:pt x="150" y="25"/>
                  </a:moveTo>
                  <a:lnTo>
                    <a:pt x="0" y="0"/>
                  </a:lnTo>
                  <a:lnTo>
                    <a:pt x="0" y="10"/>
                  </a:lnTo>
                  <a:lnTo>
                    <a:pt x="150" y="35"/>
                  </a:lnTo>
                  <a:lnTo>
                    <a:pt x="150" y="25"/>
                  </a:lnTo>
                  <a:close/>
                </a:path>
              </a:pathLst>
            </a:custGeom>
            <a:solidFill>
              <a:srgbClr val="615E5D"/>
            </a:solidFill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53" name="Freeform 1477"/>
            <p:cNvSpPr>
              <a:spLocks/>
            </p:cNvSpPr>
            <p:nvPr/>
          </p:nvSpPr>
          <p:spPr bwMode="auto">
            <a:xfrm>
              <a:off x="494333" y="3199582"/>
              <a:ext cx="257969" cy="55563"/>
            </a:xfrm>
            <a:custGeom>
              <a:avLst/>
              <a:gdLst>
                <a:gd name="T0" fmla="*/ 150 w 150"/>
                <a:gd name="T1" fmla="*/ 25 h 35"/>
                <a:gd name="T2" fmla="*/ 150 w 150"/>
                <a:gd name="T3" fmla="*/ 35 h 35"/>
                <a:gd name="T4" fmla="*/ 0 w 150"/>
                <a:gd name="T5" fmla="*/ 10 h 35"/>
                <a:gd name="T6" fmla="*/ 0 w 150"/>
                <a:gd name="T7" fmla="*/ 0 h 35"/>
                <a:gd name="T8" fmla="*/ 150 w 150"/>
                <a:gd name="T9" fmla="*/ 25 h 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0"/>
                <a:gd name="T16" fmla="*/ 0 h 35"/>
                <a:gd name="T17" fmla="*/ 150 w 150"/>
                <a:gd name="T18" fmla="*/ 35 h 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0" h="35">
                  <a:moveTo>
                    <a:pt x="150" y="25"/>
                  </a:moveTo>
                  <a:lnTo>
                    <a:pt x="150" y="35"/>
                  </a:lnTo>
                  <a:lnTo>
                    <a:pt x="0" y="10"/>
                  </a:lnTo>
                  <a:lnTo>
                    <a:pt x="0" y="0"/>
                  </a:lnTo>
                  <a:lnTo>
                    <a:pt x="150" y="25"/>
                  </a:lnTo>
                  <a:close/>
                </a:path>
              </a:pathLst>
            </a:custGeom>
            <a:solidFill>
              <a:srgbClr val="615E5D"/>
            </a:solidFill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54" name="Freeform 1478"/>
            <p:cNvSpPr>
              <a:spLocks/>
            </p:cNvSpPr>
            <p:nvPr/>
          </p:nvSpPr>
          <p:spPr bwMode="auto">
            <a:xfrm>
              <a:off x="494333" y="3199582"/>
              <a:ext cx="8599" cy="15875"/>
            </a:xfrm>
            <a:custGeom>
              <a:avLst/>
              <a:gdLst>
                <a:gd name="T0" fmla="*/ 0 w 5"/>
                <a:gd name="T1" fmla="*/ 10 h 10"/>
                <a:gd name="T2" fmla="*/ 5 w 5"/>
                <a:gd name="T3" fmla="*/ 0 h 10"/>
                <a:gd name="T4" fmla="*/ 0 w 5"/>
                <a:gd name="T5" fmla="*/ 0 h 10"/>
                <a:gd name="T6" fmla="*/ 0 w 5"/>
                <a:gd name="T7" fmla="*/ 10 h 1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10"/>
                <a:gd name="T14" fmla="*/ 5 w 5"/>
                <a:gd name="T15" fmla="*/ 10 h 1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10">
                  <a:moveTo>
                    <a:pt x="0" y="10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25221E"/>
            </a:solidFill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55" name="Freeform 1479"/>
            <p:cNvSpPr>
              <a:spLocks/>
            </p:cNvSpPr>
            <p:nvPr/>
          </p:nvSpPr>
          <p:spPr bwMode="auto">
            <a:xfrm>
              <a:off x="494333" y="3167832"/>
              <a:ext cx="8599" cy="15875"/>
            </a:xfrm>
            <a:custGeom>
              <a:avLst/>
              <a:gdLst>
                <a:gd name="T0" fmla="*/ 0 w 5"/>
                <a:gd name="T1" fmla="*/ 0 h 10"/>
                <a:gd name="T2" fmla="*/ 0 w 5"/>
                <a:gd name="T3" fmla="*/ 10 h 10"/>
                <a:gd name="T4" fmla="*/ 5 w 5"/>
                <a:gd name="T5" fmla="*/ 0 h 10"/>
                <a:gd name="T6" fmla="*/ 0 w 5"/>
                <a:gd name="T7" fmla="*/ 0 h 1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10"/>
                <a:gd name="T14" fmla="*/ 5 w 5"/>
                <a:gd name="T15" fmla="*/ 10 h 1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10">
                  <a:moveTo>
                    <a:pt x="0" y="0"/>
                  </a:moveTo>
                  <a:lnTo>
                    <a:pt x="0" y="10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5221E"/>
            </a:solidFill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56" name="Freeform 1480"/>
            <p:cNvSpPr>
              <a:spLocks/>
            </p:cNvSpPr>
            <p:nvPr/>
          </p:nvSpPr>
          <p:spPr bwMode="auto">
            <a:xfrm>
              <a:off x="494333" y="3144019"/>
              <a:ext cx="8599" cy="15875"/>
            </a:xfrm>
            <a:custGeom>
              <a:avLst/>
              <a:gdLst>
                <a:gd name="T0" fmla="*/ 0 w 5"/>
                <a:gd name="T1" fmla="*/ 0 h 10"/>
                <a:gd name="T2" fmla="*/ 0 w 5"/>
                <a:gd name="T3" fmla="*/ 10 h 10"/>
                <a:gd name="T4" fmla="*/ 5 w 5"/>
                <a:gd name="T5" fmla="*/ 0 h 10"/>
                <a:gd name="T6" fmla="*/ 0 w 5"/>
                <a:gd name="T7" fmla="*/ 0 h 1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"/>
                <a:gd name="T13" fmla="*/ 0 h 10"/>
                <a:gd name="T14" fmla="*/ 5 w 5"/>
                <a:gd name="T15" fmla="*/ 10 h 1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" h="10">
                  <a:moveTo>
                    <a:pt x="0" y="0"/>
                  </a:moveTo>
                  <a:lnTo>
                    <a:pt x="0" y="10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5221E"/>
            </a:solidFill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57" name="Line 1481"/>
            <p:cNvSpPr>
              <a:spLocks noChangeShapeType="1"/>
            </p:cNvSpPr>
            <p:nvPr/>
          </p:nvSpPr>
          <p:spPr bwMode="auto">
            <a:xfrm>
              <a:off x="1171931" y="3090044"/>
              <a:ext cx="1720" cy="407988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58" name="Line 1482"/>
            <p:cNvSpPr>
              <a:spLocks noChangeShapeType="1"/>
            </p:cNvSpPr>
            <p:nvPr/>
          </p:nvSpPr>
          <p:spPr bwMode="auto">
            <a:xfrm>
              <a:off x="1453977" y="3026544"/>
              <a:ext cx="1720" cy="385763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59" name="Line 1483"/>
            <p:cNvSpPr>
              <a:spLocks noChangeShapeType="1"/>
            </p:cNvSpPr>
            <p:nvPr/>
          </p:nvSpPr>
          <p:spPr bwMode="auto">
            <a:xfrm flipV="1">
              <a:off x="907083" y="3348807"/>
              <a:ext cx="796264" cy="268288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60" name="Freeform 1484"/>
            <p:cNvSpPr>
              <a:spLocks/>
            </p:cNvSpPr>
            <p:nvPr/>
          </p:nvSpPr>
          <p:spPr bwMode="auto">
            <a:xfrm>
              <a:off x="1565764" y="3428182"/>
              <a:ext cx="17198" cy="31750"/>
            </a:xfrm>
            <a:custGeom>
              <a:avLst/>
              <a:gdLst>
                <a:gd name="T0" fmla="*/ 10 w 10"/>
                <a:gd name="T1" fmla="*/ 20 h 20"/>
                <a:gd name="T2" fmla="*/ 10 w 10"/>
                <a:gd name="T3" fmla="*/ 20 h 20"/>
                <a:gd name="T4" fmla="*/ 5 w 10"/>
                <a:gd name="T5" fmla="*/ 5 h 20"/>
                <a:gd name="T6" fmla="*/ 0 w 10"/>
                <a:gd name="T7" fmla="*/ 0 h 20"/>
                <a:gd name="T8" fmla="*/ 5 w 10"/>
                <a:gd name="T9" fmla="*/ 10 h 20"/>
                <a:gd name="T10" fmla="*/ 10 w 10"/>
                <a:gd name="T11" fmla="*/ 20 h 2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20"/>
                <a:gd name="T20" fmla="*/ 10 w 10"/>
                <a:gd name="T21" fmla="*/ 20 h 2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20">
                  <a:moveTo>
                    <a:pt x="10" y="20"/>
                  </a:moveTo>
                  <a:lnTo>
                    <a:pt x="10" y="20"/>
                  </a:lnTo>
                  <a:lnTo>
                    <a:pt x="5" y="5"/>
                  </a:lnTo>
                  <a:lnTo>
                    <a:pt x="0" y="0"/>
                  </a:lnTo>
                  <a:lnTo>
                    <a:pt x="5" y="10"/>
                  </a:lnTo>
                  <a:lnTo>
                    <a:pt x="10" y="20"/>
                  </a:lnTo>
                  <a:close/>
                </a:path>
              </a:pathLst>
            </a:custGeom>
            <a:solidFill>
              <a:srgbClr val="3D3937"/>
            </a:solidFill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61" name="Freeform 1485"/>
            <p:cNvSpPr>
              <a:spLocks/>
            </p:cNvSpPr>
            <p:nvPr/>
          </p:nvSpPr>
          <p:spPr bwMode="auto">
            <a:xfrm>
              <a:off x="1557165" y="3420244"/>
              <a:ext cx="34396" cy="39688"/>
            </a:xfrm>
            <a:custGeom>
              <a:avLst/>
              <a:gdLst>
                <a:gd name="T0" fmla="*/ 20 w 20"/>
                <a:gd name="T1" fmla="*/ 25 h 25"/>
                <a:gd name="T2" fmla="*/ 10 w 20"/>
                <a:gd name="T3" fmla="*/ 5 h 25"/>
                <a:gd name="T4" fmla="*/ 0 w 20"/>
                <a:gd name="T5" fmla="*/ 0 h 25"/>
                <a:gd name="T6" fmla="*/ 0 60000 65536"/>
                <a:gd name="T7" fmla="*/ 0 60000 65536"/>
                <a:gd name="T8" fmla="*/ 0 60000 65536"/>
                <a:gd name="T9" fmla="*/ 0 w 20"/>
                <a:gd name="T10" fmla="*/ 0 h 25"/>
                <a:gd name="T11" fmla="*/ 20 w 20"/>
                <a:gd name="T12" fmla="*/ 25 h 2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" h="25">
                  <a:moveTo>
                    <a:pt x="20" y="25"/>
                  </a:moveTo>
                  <a:lnTo>
                    <a:pt x="10" y="5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62" name="Line 1486"/>
            <p:cNvSpPr>
              <a:spLocks noChangeShapeType="1"/>
            </p:cNvSpPr>
            <p:nvPr/>
          </p:nvSpPr>
          <p:spPr bwMode="auto">
            <a:xfrm>
              <a:off x="1668951" y="3372619"/>
              <a:ext cx="1720" cy="95250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63" name="Line 1487"/>
            <p:cNvSpPr>
              <a:spLocks noChangeShapeType="1"/>
            </p:cNvSpPr>
            <p:nvPr/>
          </p:nvSpPr>
          <p:spPr bwMode="auto">
            <a:xfrm>
              <a:off x="1565764" y="3412307"/>
              <a:ext cx="85990" cy="15875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64" name="Freeform 1488"/>
            <p:cNvSpPr>
              <a:spLocks/>
            </p:cNvSpPr>
            <p:nvPr/>
          </p:nvSpPr>
          <p:spPr bwMode="auto">
            <a:xfrm>
              <a:off x="1677550" y="3428182"/>
              <a:ext cx="34396" cy="31750"/>
            </a:xfrm>
            <a:custGeom>
              <a:avLst/>
              <a:gdLst>
                <a:gd name="T0" fmla="*/ 0 w 20"/>
                <a:gd name="T1" fmla="*/ 0 h 20"/>
                <a:gd name="T2" fmla="*/ 20 w 20"/>
                <a:gd name="T3" fmla="*/ 5 h 20"/>
                <a:gd name="T4" fmla="*/ 20 w 20"/>
                <a:gd name="T5" fmla="*/ 20 h 20"/>
                <a:gd name="T6" fmla="*/ 15 w 20"/>
                <a:gd name="T7" fmla="*/ 20 h 20"/>
                <a:gd name="T8" fmla="*/ 0 w 20"/>
                <a:gd name="T9" fmla="*/ 20 h 2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"/>
                <a:gd name="T16" fmla="*/ 0 h 20"/>
                <a:gd name="T17" fmla="*/ 20 w 20"/>
                <a:gd name="T18" fmla="*/ 20 h 20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" h="20">
                  <a:moveTo>
                    <a:pt x="0" y="0"/>
                  </a:moveTo>
                  <a:lnTo>
                    <a:pt x="20" y="5"/>
                  </a:lnTo>
                  <a:lnTo>
                    <a:pt x="20" y="20"/>
                  </a:lnTo>
                  <a:lnTo>
                    <a:pt x="15" y="20"/>
                  </a:lnTo>
                  <a:lnTo>
                    <a:pt x="0" y="20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65" name="Freeform 1489"/>
            <p:cNvSpPr>
              <a:spLocks/>
            </p:cNvSpPr>
            <p:nvPr/>
          </p:nvSpPr>
          <p:spPr bwMode="auto">
            <a:xfrm>
              <a:off x="1651753" y="3372619"/>
              <a:ext cx="25797" cy="87313"/>
            </a:xfrm>
            <a:custGeom>
              <a:avLst/>
              <a:gdLst>
                <a:gd name="T0" fmla="*/ 10 w 15"/>
                <a:gd name="T1" fmla="*/ 0 h 55"/>
                <a:gd name="T2" fmla="*/ 15 w 15"/>
                <a:gd name="T3" fmla="*/ 55 h 55"/>
                <a:gd name="T4" fmla="*/ 10 w 15"/>
                <a:gd name="T5" fmla="*/ 55 h 55"/>
                <a:gd name="T6" fmla="*/ 0 w 15"/>
                <a:gd name="T7" fmla="*/ 55 h 55"/>
                <a:gd name="T8" fmla="*/ 0 w 15"/>
                <a:gd name="T9" fmla="*/ 5 h 5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"/>
                <a:gd name="T16" fmla="*/ 0 h 55"/>
                <a:gd name="T17" fmla="*/ 15 w 15"/>
                <a:gd name="T18" fmla="*/ 55 h 5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" h="55">
                  <a:moveTo>
                    <a:pt x="10" y="0"/>
                  </a:moveTo>
                  <a:lnTo>
                    <a:pt x="15" y="55"/>
                  </a:lnTo>
                  <a:lnTo>
                    <a:pt x="10" y="55"/>
                  </a:lnTo>
                  <a:lnTo>
                    <a:pt x="0" y="55"/>
                  </a:lnTo>
                  <a:lnTo>
                    <a:pt x="0" y="5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66" name="Line 1490"/>
            <p:cNvSpPr>
              <a:spLocks noChangeShapeType="1"/>
            </p:cNvSpPr>
            <p:nvPr/>
          </p:nvSpPr>
          <p:spPr bwMode="auto">
            <a:xfrm flipH="1" flipV="1">
              <a:off x="1591561" y="3444057"/>
              <a:ext cx="60193" cy="7938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67" name="Freeform 1491"/>
            <p:cNvSpPr>
              <a:spLocks/>
            </p:cNvSpPr>
            <p:nvPr/>
          </p:nvSpPr>
          <p:spPr bwMode="auto">
            <a:xfrm>
              <a:off x="1703347" y="3436119"/>
              <a:ext cx="8599" cy="31750"/>
            </a:xfrm>
            <a:custGeom>
              <a:avLst/>
              <a:gdLst>
                <a:gd name="T0" fmla="*/ 0 w 5"/>
                <a:gd name="T1" fmla="*/ 20 h 20"/>
                <a:gd name="T2" fmla="*/ 0 w 5"/>
                <a:gd name="T3" fmla="*/ 0 h 20"/>
                <a:gd name="T4" fmla="*/ 5 w 5"/>
                <a:gd name="T5" fmla="*/ 0 h 20"/>
                <a:gd name="T6" fmla="*/ 0 60000 65536"/>
                <a:gd name="T7" fmla="*/ 0 60000 65536"/>
                <a:gd name="T8" fmla="*/ 0 60000 65536"/>
                <a:gd name="T9" fmla="*/ 0 w 5"/>
                <a:gd name="T10" fmla="*/ 0 h 20"/>
                <a:gd name="T11" fmla="*/ 5 w 5"/>
                <a:gd name="T12" fmla="*/ 20 h 2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20">
                  <a:moveTo>
                    <a:pt x="0" y="20"/>
                  </a:moveTo>
                  <a:lnTo>
                    <a:pt x="0" y="0"/>
                  </a:lnTo>
                  <a:lnTo>
                    <a:pt x="5" y="0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68" name="Line 1492"/>
            <p:cNvSpPr>
              <a:spLocks noChangeShapeType="1"/>
            </p:cNvSpPr>
            <p:nvPr/>
          </p:nvSpPr>
          <p:spPr bwMode="auto">
            <a:xfrm flipH="1">
              <a:off x="1677550" y="3436119"/>
              <a:ext cx="25797" cy="1588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69" name="Line 1493"/>
            <p:cNvSpPr>
              <a:spLocks noChangeShapeType="1"/>
            </p:cNvSpPr>
            <p:nvPr/>
          </p:nvSpPr>
          <p:spPr bwMode="auto">
            <a:xfrm flipH="1" flipV="1">
              <a:off x="1565764" y="3412307"/>
              <a:ext cx="85990" cy="15875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70" name="Line 1494"/>
            <p:cNvSpPr>
              <a:spLocks noChangeShapeType="1"/>
            </p:cNvSpPr>
            <p:nvPr/>
          </p:nvSpPr>
          <p:spPr bwMode="auto">
            <a:xfrm flipV="1">
              <a:off x="1711946" y="3428182"/>
              <a:ext cx="8599" cy="7938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71" name="Freeform 1495"/>
            <p:cNvSpPr>
              <a:spLocks/>
            </p:cNvSpPr>
            <p:nvPr/>
          </p:nvSpPr>
          <p:spPr bwMode="auto">
            <a:xfrm>
              <a:off x="1677550" y="3420244"/>
              <a:ext cx="42995" cy="39688"/>
            </a:xfrm>
            <a:custGeom>
              <a:avLst/>
              <a:gdLst>
                <a:gd name="T0" fmla="*/ 20 w 25"/>
                <a:gd name="T1" fmla="*/ 25 h 25"/>
                <a:gd name="T2" fmla="*/ 25 w 25"/>
                <a:gd name="T3" fmla="*/ 20 h 25"/>
                <a:gd name="T4" fmla="*/ 25 w 25"/>
                <a:gd name="T5" fmla="*/ 5 h 25"/>
                <a:gd name="T6" fmla="*/ 0 w 25"/>
                <a:gd name="T7" fmla="*/ 0 h 2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5"/>
                <a:gd name="T13" fmla="*/ 0 h 25"/>
                <a:gd name="T14" fmla="*/ 25 w 25"/>
                <a:gd name="T15" fmla="*/ 25 h 2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5" h="25">
                  <a:moveTo>
                    <a:pt x="20" y="25"/>
                  </a:moveTo>
                  <a:lnTo>
                    <a:pt x="25" y="20"/>
                  </a:lnTo>
                  <a:lnTo>
                    <a:pt x="25" y="5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72" name="Freeform 1496"/>
            <p:cNvSpPr>
              <a:spLocks/>
            </p:cNvSpPr>
            <p:nvPr/>
          </p:nvSpPr>
          <p:spPr bwMode="auto">
            <a:xfrm>
              <a:off x="1625956" y="3412307"/>
              <a:ext cx="25797" cy="7938"/>
            </a:xfrm>
            <a:custGeom>
              <a:avLst/>
              <a:gdLst>
                <a:gd name="T0" fmla="*/ 15 w 15"/>
                <a:gd name="T1" fmla="*/ 5 h 5"/>
                <a:gd name="T2" fmla="*/ 5 w 15"/>
                <a:gd name="T3" fmla="*/ 0 h 5"/>
                <a:gd name="T4" fmla="*/ 0 w 15"/>
                <a:gd name="T5" fmla="*/ 5 h 5"/>
                <a:gd name="T6" fmla="*/ 0 60000 65536"/>
                <a:gd name="T7" fmla="*/ 0 60000 65536"/>
                <a:gd name="T8" fmla="*/ 0 60000 65536"/>
                <a:gd name="T9" fmla="*/ 0 w 15"/>
                <a:gd name="T10" fmla="*/ 0 h 5"/>
                <a:gd name="T11" fmla="*/ 15 w 15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" h="5">
                  <a:moveTo>
                    <a:pt x="15" y="5"/>
                  </a:moveTo>
                  <a:lnTo>
                    <a:pt x="5" y="0"/>
                  </a:lnTo>
                  <a:lnTo>
                    <a:pt x="0" y="5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73" name="Freeform 1497"/>
            <p:cNvSpPr>
              <a:spLocks/>
            </p:cNvSpPr>
            <p:nvPr/>
          </p:nvSpPr>
          <p:spPr bwMode="auto">
            <a:xfrm>
              <a:off x="494333" y="3144019"/>
              <a:ext cx="257969" cy="55563"/>
            </a:xfrm>
            <a:custGeom>
              <a:avLst/>
              <a:gdLst>
                <a:gd name="T0" fmla="*/ 0 w 150"/>
                <a:gd name="T1" fmla="*/ 0 h 35"/>
                <a:gd name="T2" fmla="*/ 150 w 150"/>
                <a:gd name="T3" fmla="*/ 25 h 35"/>
                <a:gd name="T4" fmla="*/ 150 w 150"/>
                <a:gd name="T5" fmla="*/ 35 h 35"/>
                <a:gd name="T6" fmla="*/ 0 60000 65536"/>
                <a:gd name="T7" fmla="*/ 0 60000 65536"/>
                <a:gd name="T8" fmla="*/ 0 60000 65536"/>
                <a:gd name="T9" fmla="*/ 0 w 150"/>
                <a:gd name="T10" fmla="*/ 0 h 35"/>
                <a:gd name="T11" fmla="*/ 150 w 150"/>
                <a:gd name="T12" fmla="*/ 35 h 3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0" h="35">
                  <a:moveTo>
                    <a:pt x="0" y="0"/>
                  </a:moveTo>
                  <a:lnTo>
                    <a:pt x="150" y="25"/>
                  </a:lnTo>
                  <a:lnTo>
                    <a:pt x="150" y="35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74" name="Freeform 1498"/>
            <p:cNvSpPr>
              <a:spLocks/>
            </p:cNvSpPr>
            <p:nvPr/>
          </p:nvSpPr>
          <p:spPr bwMode="auto">
            <a:xfrm>
              <a:off x="494333" y="3167832"/>
              <a:ext cx="257969" cy="55563"/>
            </a:xfrm>
            <a:custGeom>
              <a:avLst/>
              <a:gdLst>
                <a:gd name="T0" fmla="*/ 0 w 150"/>
                <a:gd name="T1" fmla="*/ 0 h 35"/>
                <a:gd name="T2" fmla="*/ 150 w 150"/>
                <a:gd name="T3" fmla="*/ 25 h 35"/>
                <a:gd name="T4" fmla="*/ 150 w 150"/>
                <a:gd name="T5" fmla="*/ 35 h 35"/>
                <a:gd name="T6" fmla="*/ 0 60000 65536"/>
                <a:gd name="T7" fmla="*/ 0 60000 65536"/>
                <a:gd name="T8" fmla="*/ 0 60000 65536"/>
                <a:gd name="T9" fmla="*/ 0 w 150"/>
                <a:gd name="T10" fmla="*/ 0 h 35"/>
                <a:gd name="T11" fmla="*/ 150 w 150"/>
                <a:gd name="T12" fmla="*/ 35 h 3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0" h="35">
                  <a:moveTo>
                    <a:pt x="0" y="0"/>
                  </a:moveTo>
                  <a:lnTo>
                    <a:pt x="150" y="25"/>
                  </a:lnTo>
                  <a:lnTo>
                    <a:pt x="150" y="35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75" name="Freeform 1499"/>
            <p:cNvSpPr>
              <a:spLocks/>
            </p:cNvSpPr>
            <p:nvPr/>
          </p:nvSpPr>
          <p:spPr bwMode="auto">
            <a:xfrm>
              <a:off x="494333" y="3199582"/>
              <a:ext cx="257969" cy="55563"/>
            </a:xfrm>
            <a:custGeom>
              <a:avLst/>
              <a:gdLst>
                <a:gd name="T0" fmla="*/ 0 w 150"/>
                <a:gd name="T1" fmla="*/ 0 h 35"/>
                <a:gd name="T2" fmla="*/ 150 w 150"/>
                <a:gd name="T3" fmla="*/ 25 h 35"/>
                <a:gd name="T4" fmla="*/ 150 w 150"/>
                <a:gd name="T5" fmla="*/ 35 h 35"/>
                <a:gd name="T6" fmla="*/ 0 60000 65536"/>
                <a:gd name="T7" fmla="*/ 0 60000 65536"/>
                <a:gd name="T8" fmla="*/ 0 60000 65536"/>
                <a:gd name="T9" fmla="*/ 0 w 150"/>
                <a:gd name="T10" fmla="*/ 0 h 35"/>
                <a:gd name="T11" fmla="*/ 150 w 150"/>
                <a:gd name="T12" fmla="*/ 35 h 3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0" h="35">
                  <a:moveTo>
                    <a:pt x="0" y="0"/>
                  </a:moveTo>
                  <a:lnTo>
                    <a:pt x="150" y="25"/>
                  </a:lnTo>
                  <a:lnTo>
                    <a:pt x="150" y="35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76" name="Freeform 1500"/>
            <p:cNvSpPr>
              <a:spLocks/>
            </p:cNvSpPr>
            <p:nvPr/>
          </p:nvSpPr>
          <p:spPr bwMode="auto">
            <a:xfrm>
              <a:off x="889885" y="2956694"/>
              <a:ext cx="830660" cy="682625"/>
            </a:xfrm>
            <a:custGeom>
              <a:avLst/>
              <a:gdLst>
                <a:gd name="T0" fmla="*/ 0 w 483"/>
                <a:gd name="T1" fmla="*/ 430 h 430"/>
                <a:gd name="T2" fmla="*/ 0 w 483"/>
                <a:gd name="T3" fmla="*/ 114 h 430"/>
                <a:gd name="T4" fmla="*/ 483 w 483"/>
                <a:gd name="T5" fmla="*/ 0 h 430"/>
                <a:gd name="T6" fmla="*/ 0 60000 65536"/>
                <a:gd name="T7" fmla="*/ 0 60000 65536"/>
                <a:gd name="T8" fmla="*/ 0 60000 65536"/>
                <a:gd name="T9" fmla="*/ 0 w 483"/>
                <a:gd name="T10" fmla="*/ 0 h 430"/>
                <a:gd name="T11" fmla="*/ 483 w 483"/>
                <a:gd name="T12" fmla="*/ 430 h 43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83" h="430">
                  <a:moveTo>
                    <a:pt x="0" y="430"/>
                  </a:moveTo>
                  <a:lnTo>
                    <a:pt x="0" y="114"/>
                  </a:lnTo>
                  <a:lnTo>
                    <a:pt x="483" y="0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77" name="Freeform 1501"/>
            <p:cNvSpPr>
              <a:spLocks/>
            </p:cNvSpPr>
            <p:nvPr/>
          </p:nvSpPr>
          <p:spPr bwMode="auto">
            <a:xfrm>
              <a:off x="864089" y="3332932"/>
              <a:ext cx="847858" cy="268288"/>
            </a:xfrm>
            <a:custGeom>
              <a:avLst/>
              <a:gdLst>
                <a:gd name="T0" fmla="*/ 493 w 493"/>
                <a:gd name="T1" fmla="*/ 0 h 169"/>
                <a:gd name="T2" fmla="*/ 10 w 493"/>
                <a:gd name="T3" fmla="*/ 169 h 169"/>
                <a:gd name="T4" fmla="*/ 0 w 493"/>
                <a:gd name="T5" fmla="*/ 164 h 169"/>
                <a:gd name="T6" fmla="*/ 0 60000 65536"/>
                <a:gd name="T7" fmla="*/ 0 60000 65536"/>
                <a:gd name="T8" fmla="*/ 0 60000 65536"/>
                <a:gd name="T9" fmla="*/ 0 w 493"/>
                <a:gd name="T10" fmla="*/ 0 h 169"/>
                <a:gd name="T11" fmla="*/ 493 w 493"/>
                <a:gd name="T12" fmla="*/ 169 h 16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93" h="169">
                  <a:moveTo>
                    <a:pt x="493" y="0"/>
                  </a:moveTo>
                  <a:lnTo>
                    <a:pt x="10" y="169"/>
                  </a:lnTo>
                  <a:lnTo>
                    <a:pt x="0" y="164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78" name="Freeform 1502"/>
            <p:cNvSpPr>
              <a:spLocks/>
            </p:cNvSpPr>
            <p:nvPr/>
          </p:nvSpPr>
          <p:spPr bwMode="auto">
            <a:xfrm>
              <a:off x="1395504" y="2924944"/>
              <a:ext cx="325041" cy="407988"/>
            </a:xfrm>
            <a:custGeom>
              <a:avLst/>
              <a:gdLst>
                <a:gd name="T0" fmla="*/ 184 w 189"/>
                <a:gd name="T1" fmla="*/ 257 h 257"/>
                <a:gd name="T2" fmla="*/ 189 w 189"/>
                <a:gd name="T3" fmla="*/ 20 h 257"/>
                <a:gd name="T4" fmla="*/ 0 w 189"/>
                <a:gd name="T5" fmla="*/ 0 h 257"/>
                <a:gd name="T6" fmla="*/ 0 60000 65536"/>
                <a:gd name="T7" fmla="*/ 0 60000 65536"/>
                <a:gd name="T8" fmla="*/ 0 60000 65536"/>
                <a:gd name="T9" fmla="*/ 0 w 189"/>
                <a:gd name="T10" fmla="*/ 0 h 257"/>
                <a:gd name="T11" fmla="*/ 189 w 189"/>
                <a:gd name="T12" fmla="*/ 257 h 257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89" h="257">
                  <a:moveTo>
                    <a:pt x="184" y="257"/>
                  </a:moveTo>
                  <a:lnTo>
                    <a:pt x="189" y="20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79" name="Freeform 1503"/>
            <p:cNvSpPr>
              <a:spLocks/>
            </p:cNvSpPr>
            <p:nvPr/>
          </p:nvSpPr>
          <p:spPr bwMode="auto">
            <a:xfrm>
              <a:off x="872687" y="3332932"/>
              <a:ext cx="839259" cy="306388"/>
            </a:xfrm>
            <a:custGeom>
              <a:avLst/>
              <a:gdLst>
                <a:gd name="T0" fmla="*/ 488 w 488"/>
                <a:gd name="T1" fmla="*/ 0 h 193"/>
                <a:gd name="T2" fmla="*/ 488 w 488"/>
                <a:gd name="T3" fmla="*/ 15 h 193"/>
                <a:gd name="T4" fmla="*/ 10 w 488"/>
                <a:gd name="T5" fmla="*/ 193 h 193"/>
                <a:gd name="T6" fmla="*/ 0 w 488"/>
                <a:gd name="T7" fmla="*/ 193 h 19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88"/>
                <a:gd name="T13" fmla="*/ 0 h 193"/>
                <a:gd name="T14" fmla="*/ 488 w 488"/>
                <a:gd name="T15" fmla="*/ 193 h 19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88" h="193">
                  <a:moveTo>
                    <a:pt x="488" y="0"/>
                  </a:moveTo>
                  <a:lnTo>
                    <a:pt x="488" y="15"/>
                  </a:lnTo>
                  <a:lnTo>
                    <a:pt x="10" y="193"/>
                  </a:lnTo>
                  <a:lnTo>
                    <a:pt x="0" y="193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80" name="Freeform 1504"/>
            <p:cNvSpPr>
              <a:spLocks/>
            </p:cNvSpPr>
            <p:nvPr/>
          </p:nvSpPr>
          <p:spPr bwMode="auto">
            <a:xfrm>
              <a:off x="494333" y="3090044"/>
              <a:ext cx="395552" cy="47625"/>
            </a:xfrm>
            <a:custGeom>
              <a:avLst/>
              <a:gdLst>
                <a:gd name="T0" fmla="*/ 230 w 230"/>
                <a:gd name="T1" fmla="*/ 30 h 30"/>
                <a:gd name="T2" fmla="*/ 0 w 230"/>
                <a:gd name="T3" fmla="*/ 0 h 30"/>
                <a:gd name="T4" fmla="*/ 0 w 230"/>
                <a:gd name="T5" fmla="*/ 25 h 30"/>
                <a:gd name="T6" fmla="*/ 0 60000 65536"/>
                <a:gd name="T7" fmla="*/ 0 60000 65536"/>
                <a:gd name="T8" fmla="*/ 0 60000 65536"/>
                <a:gd name="T9" fmla="*/ 0 w 230"/>
                <a:gd name="T10" fmla="*/ 0 h 30"/>
                <a:gd name="T11" fmla="*/ 230 w 230"/>
                <a:gd name="T12" fmla="*/ 30 h 3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30" h="30">
                  <a:moveTo>
                    <a:pt x="230" y="30"/>
                  </a:moveTo>
                  <a:lnTo>
                    <a:pt x="0" y="0"/>
                  </a:lnTo>
                  <a:lnTo>
                    <a:pt x="0" y="25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82" name="Line 1506"/>
            <p:cNvSpPr>
              <a:spLocks noChangeShapeType="1"/>
            </p:cNvSpPr>
            <p:nvPr/>
          </p:nvSpPr>
          <p:spPr bwMode="auto">
            <a:xfrm flipV="1">
              <a:off x="898484" y="3474219"/>
              <a:ext cx="521097" cy="173038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83" name="Freeform 1507"/>
            <p:cNvSpPr>
              <a:spLocks/>
            </p:cNvSpPr>
            <p:nvPr/>
          </p:nvSpPr>
          <p:spPr bwMode="auto">
            <a:xfrm>
              <a:off x="872687" y="3639319"/>
              <a:ext cx="25797" cy="103188"/>
            </a:xfrm>
            <a:custGeom>
              <a:avLst/>
              <a:gdLst>
                <a:gd name="T0" fmla="*/ 0 w 15"/>
                <a:gd name="T1" fmla="*/ 60 h 65"/>
                <a:gd name="T2" fmla="*/ 10 w 15"/>
                <a:gd name="T3" fmla="*/ 65 h 65"/>
                <a:gd name="T4" fmla="*/ 15 w 15"/>
                <a:gd name="T5" fmla="*/ 60 h 65"/>
                <a:gd name="T6" fmla="*/ 15 w 15"/>
                <a:gd name="T7" fmla="*/ 5 h 65"/>
                <a:gd name="T8" fmla="*/ 0 w 15"/>
                <a:gd name="T9" fmla="*/ 0 h 6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5"/>
                <a:gd name="T16" fmla="*/ 0 h 65"/>
                <a:gd name="T17" fmla="*/ 15 w 15"/>
                <a:gd name="T18" fmla="*/ 65 h 6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5" h="65">
                  <a:moveTo>
                    <a:pt x="0" y="60"/>
                  </a:moveTo>
                  <a:lnTo>
                    <a:pt x="10" y="65"/>
                  </a:lnTo>
                  <a:lnTo>
                    <a:pt x="15" y="60"/>
                  </a:lnTo>
                  <a:lnTo>
                    <a:pt x="15" y="5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84" name="Freeform 1508"/>
            <p:cNvSpPr>
              <a:spLocks/>
            </p:cNvSpPr>
            <p:nvPr/>
          </p:nvSpPr>
          <p:spPr bwMode="auto">
            <a:xfrm>
              <a:off x="889885" y="3647257"/>
              <a:ext cx="8599" cy="95250"/>
            </a:xfrm>
            <a:custGeom>
              <a:avLst/>
              <a:gdLst>
                <a:gd name="T0" fmla="*/ 5 w 5"/>
                <a:gd name="T1" fmla="*/ 0 h 60"/>
                <a:gd name="T2" fmla="*/ 0 w 5"/>
                <a:gd name="T3" fmla="*/ 0 h 60"/>
                <a:gd name="T4" fmla="*/ 0 w 5"/>
                <a:gd name="T5" fmla="*/ 60 h 60"/>
                <a:gd name="T6" fmla="*/ 0 60000 65536"/>
                <a:gd name="T7" fmla="*/ 0 60000 65536"/>
                <a:gd name="T8" fmla="*/ 0 60000 65536"/>
                <a:gd name="T9" fmla="*/ 0 w 5"/>
                <a:gd name="T10" fmla="*/ 0 h 60"/>
                <a:gd name="T11" fmla="*/ 5 w 5"/>
                <a:gd name="T12" fmla="*/ 60 h 6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" h="60">
                  <a:moveTo>
                    <a:pt x="5" y="0"/>
                  </a:moveTo>
                  <a:lnTo>
                    <a:pt x="0" y="0"/>
                  </a:lnTo>
                  <a:lnTo>
                    <a:pt x="0" y="60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85" name="Line 1509"/>
            <p:cNvSpPr>
              <a:spLocks noChangeShapeType="1"/>
            </p:cNvSpPr>
            <p:nvPr/>
          </p:nvSpPr>
          <p:spPr bwMode="auto">
            <a:xfrm flipH="1">
              <a:off x="872687" y="3647257"/>
              <a:ext cx="17198" cy="1588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86" name="Line 1510"/>
            <p:cNvSpPr>
              <a:spLocks noChangeShapeType="1"/>
            </p:cNvSpPr>
            <p:nvPr/>
          </p:nvSpPr>
          <p:spPr bwMode="auto">
            <a:xfrm flipV="1">
              <a:off x="898484" y="3521844"/>
              <a:ext cx="521097" cy="180975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87" name="Freeform 1511"/>
            <p:cNvSpPr>
              <a:spLocks/>
            </p:cNvSpPr>
            <p:nvPr/>
          </p:nvSpPr>
          <p:spPr bwMode="auto">
            <a:xfrm>
              <a:off x="898484" y="3521844"/>
              <a:ext cx="521097" cy="212725"/>
            </a:xfrm>
            <a:custGeom>
              <a:avLst/>
              <a:gdLst>
                <a:gd name="T0" fmla="*/ 0 w 303"/>
                <a:gd name="T1" fmla="*/ 134 h 134"/>
                <a:gd name="T2" fmla="*/ 298 w 303"/>
                <a:gd name="T3" fmla="*/ 20 h 134"/>
                <a:gd name="T4" fmla="*/ 303 w 303"/>
                <a:gd name="T5" fmla="*/ 0 h 134"/>
                <a:gd name="T6" fmla="*/ 298 w 303"/>
                <a:gd name="T7" fmla="*/ 0 h 13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03"/>
                <a:gd name="T13" fmla="*/ 0 h 134"/>
                <a:gd name="T14" fmla="*/ 303 w 303"/>
                <a:gd name="T15" fmla="*/ 134 h 13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03" h="134">
                  <a:moveTo>
                    <a:pt x="0" y="134"/>
                  </a:moveTo>
                  <a:lnTo>
                    <a:pt x="298" y="20"/>
                  </a:lnTo>
                  <a:lnTo>
                    <a:pt x="303" y="0"/>
                  </a:lnTo>
                  <a:lnTo>
                    <a:pt x="298" y="0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88" name="Line 1512"/>
            <p:cNvSpPr>
              <a:spLocks noChangeShapeType="1"/>
            </p:cNvSpPr>
            <p:nvPr/>
          </p:nvSpPr>
          <p:spPr bwMode="auto">
            <a:xfrm flipV="1">
              <a:off x="898484" y="3521844"/>
              <a:ext cx="512498" cy="173038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89" name="Freeform 1513"/>
            <p:cNvSpPr>
              <a:spLocks/>
            </p:cNvSpPr>
            <p:nvPr/>
          </p:nvSpPr>
          <p:spPr bwMode="auto">
            <a:xfrm>
              <a:off x="898484" y="3467869"/>
              <a:ext cx="521097" cy="211138"/>
            </a:xfrm>
            <a:custGeom>
              <a:avLst/>
              <a:gdLst>
                <a:gd name="T0" fmla="*/ 0 w 303"/>
                <a:gd name="T1" fmla="*/ 133 h 133"/>
                <a:gd name="T2" fmla="*/ 303 w 303"/>
                <a:gd name="T3" fmla="*/ 19 h 133"/>
                <a:gd name="T4" fmla="*/ 303 w 303"/>
                <a:gd name="T5" fmla="*/ 4 h 133"/>
                <a:gd name="T6" fmla="*/ 298 w 303"/>
                <a:gd name="T7" fmla="*/ 0 h 13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03"/>
                <a:gd name="T13" fmla="*/ 0 h 133"/>
                <a:gd name="T14" fmla="*/ 303 w 303"/>
                <a:gd name="T15" fmla="*/ 133 h 13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03" h="133">
                  <a:moveTo>
                    <a:pt x="0" y="133"/>
                  </a:moveTo>
                  <a:lnTo>
                    <a:pt x="303" y="19"/>
                  </a:lnTo>
                  <a:lnTo>
                    <a:pt x="303" y="4"/>
                  </a:lnTo>
                  <a:lnTo>
                    <a:pt x="298" y="0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90" name="Line 1514"/>
            <p:cNvSpPr>
              <a:spLocks noChangeShapeType="1"/>
            </p:cNvSpPr>
            <p:nvPr/>
          </p:nvSpPr>
          <p:spPr bwMode="auto">
            <a:xfrm flipV="1">
              <a:off x="1146134" y="3593282"/>
              <a:ext cx="1720" cy="15875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91" name="Line 1515"/>
            <p:cNvSpPr>
              <a:spLocks noChangeShapeType="1"/>
            </p:cNvSpPr>
            <p:nvPr/>
          </p:nvSpPr>
          <p:spPr bwMode="auto">
            <a:xfrm flipV="1">
              <a:off x="1171931" y="3585344"/>
              <a:ext cx="1720" cy="15875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92" name="Line 1516"/>
            <p:cNvSpPr>
              <a:spLocks noChangeShapeType="1"/>
            </p:cNvSpPr>
            <p:nvPr/>
          </p:nvSpPr>
          <p:spPr bwMode="auto">
            <a:xfrm flipV="1">
              <a:off x="1137535" y="3593282"/>
              <a:ext cx="1720" cy="15875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93" name="Line 1517"/>
            <p:cNvSpPr>
              <a:spLocks noChangeShapeType="1"/>
            </p:cNvSpPr>
            <p:nvPr/>
          </p:nvSpPr>
          <p:spPr bwMode="auto">
            <a:xfrm flipH="1" flipV="1">
              <a:off x="1361108" y="3513907"/>
              <a:ext cx="8599" cy="23813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94" name="Line 1518"/>
            <p:cNvSpPr>
              <a:spLocks noChangeShapeType="1"/>
            </p:cNvSpPr>
            <p:nvPr/>
          </p:nvSpPr>
          <p:spPr bwMode="auto">
            <a:xfrm flipV="1">
              <a:off x="1386905" y="3513907"/>
              <a:ext cx="1720" cy="15875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95" name="Line 1519"/>
            <p:cNvSpPr>
              <a:spLocks noChangeShapeType="1"/>
            </p:cNvSpPr>
            <p:nvPr/>
          </p:nvSpPr>
          <p:spPr bwMode="auto">
            <a:xfrm flipV="1">
              <a:off x="1361108" y="3521844"/>
              <a:ext cx="1720" cy="15875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96" name="Line 1520"/>
            <p:cNvSpPr>
              <a:spLocks noChangeShapeType="1"/>
            </p:cNvSpPr>
            <p:nvPr/>
          </p:nvSpPr>
          <p:spPr bwMode="auto">
            <a:xfrm flipV="1">
              <a:off x="915682" y="3671069"/>
              <a:ext cx="1720" cy="23813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97" name="Line 1521"/>
            <p:cNvSpPr>
              <a:spLocks noChangeShapeType="1"/>
            </p:cNvSpPr>
            <p:nvPr/>
          </p:nvSpPr>
          <p:spPr bwMode="auto">
            <a:xfrm flipV="1">
              <a:off x="922561" y="3671069"/>
              <a:ext cx="1720" cy="15875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98" name="Line 1522"/>
            <p:cNvSpPr>
              <a:spLocks noChangeShapeType="1"/>
            </p:cNvSpPr>
            <p:nvPr/>
          </p:nvSpPr>
          <p:spPr bwMode="auto">
            <a:xfrm flipV="1">
              <a:off x="939759" y="3663132"/>
              <a:ext cx="1720" cy="15875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499" name="Freeform 1523"/>
            <p:cNvSpPr>
              <a:spLocks/>
            </p:cNvSpPr>
            <p:nvPr/>
          </p:nvSpPr>
          <p:spPr bwMode="auto">
            <a:xfrm>
              <a:off x="485734" y="3113857"/>
              <a:ext cx="343958" cy="157163"/>
            </a:xfrm>
            <a:custGeom>
              <a:avLst/>
              <a:gdLst>
                <a:gd name="T0" fmla="*/ 200 w 200"/>
                <a:gd name="T1" fmla="*/ 84 h 99"/>
                <a:gd name="T2" fmla="*/ 160 w 200"/>
                <a:gd name="T3" fmla="*/ 99 h 99"/>
                <a:gd name="T4" fmla="*/ 0 w 200"/>
                <a:gd name="T5" fmla="*/ 69 h 99"/>
                <a:gd name="T6" fmla="*/ 0 w 200"/>
                <a:gd name="T7" fmla="*/ 10 h 99"/>
                <a:gd name="T8" fmla="*/ 40 w 200"/>
                <a:gd name="T9" fmla="*/ 0 h 99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0"/>
                <a:gd name="T16" fmla="*/ 0 h 99"/>
                <a:gd name="T17" fmla="*/ 200 w 200"/>
                <a:gd name="T18" fmla="*/ 99 h 99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0" h="99">
                  <a:moveTo>
                    <a:pt x="200" y="84"/>
                  </a:moveTo>
                  <a:lnTo>
                    <a:pt x="160" y="99"/>
                  </a:lnTo>
                  <a:lnTo>
                    <a:pt x="0" y="69"/>
                  </a:lnTo>
                  <a:lnTo>
                    <a:pt x="0" y="10"/>
                  </a:lnTo>
                  <a:lnTo>
                    <a:pt x="40" y="0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500" name="Freeform 1524"/>
            <p:cNvSpPr>
              <a:spLocks/>
            </p:cNvSpPr>
            <p:nvPr/>
          </p:nvSpPr>
          <p:spPr bwMode="auto">
            <a:xfrm>
              <a:off x="485734" y="3129732"/>
              <a:ext cx="275167" cy="141288"/>
            </a:xfrm>
            <a:custGeom>
              <a:avLst/>
              <a:gdLst>
                <a:gd name="T0" fmla="*/ 160 w 160"/>
                <a:gd name="T1" fmla="*/ 89 h 89"/>
                <a:gd name="T2" fmla="*/ 160 w 160"/>
                <a:gd name="T3" fmla="*/ 24 h 89"/>
                <a:gd name="T4" fmla="*/ 0 w 160"/>
                <a:gd name="T5" fmla="*/ 0 h 89"/>
                <a:gd name="T6" fmla="*/ 0 60000 65536"/>
                <a:gd name="T7" fmla="*/ 0 60000 65536"/>
                <a:gd name="T8" fmla="*/ 0 60000 65536"/>
                <a:gd name="T9" fmla="*/ 0 w 160"/>
                <a:gd name="T10" fmla="*/ 0 h 89"/>
                <a:gd name="T11" fmla="*/ 160 w 160"/>
                <a:gd name="T12" fmla="*/ 89 h 8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60" h="89">
                  <a:moveTo>
                    <a:pt x="160" y="89"/>
                  </a:moveTo>
                  <a:lnTo>
                    <a:pt x="160" y="24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501" name="Freeform 1525"/>
            <p:cNvSpPr>
              <a:spLocks/>
            </p:cNvSpPr>
            <p:nvPr/>
          </p:nvSpPr>
          <p:spPr bwMode="auto">
            <a:xfrm>
              <a:off x="554526" y="3113857"/>
              <a:ext cx="275167" cy="53975"/>
            </a:xfrm>
            <a:custGeom>
              <a:avLst/>
              <a:gdLst>
                <a:gd name="T0" fmla="*/ 120 w 160"/>
                <a:gd name="T1" fmla="*/ 34 h 34"/>
                <a:gd name="T2" fmla="*/ 160 w 160"/>
                <a:gd name="T3" fmla="*/ 24 h 34"/>
                <a:gd name="T4" fmla="*/ 0 w 160"/>
                <a:gd name="T5" fmla="*/ 0 h 34"/>
                <a:gd name="T6" fmla="*/ 0 60000 65536"/>
                <a:gd name="T7" fmla="*/ 0 60000 65536"/>
                <a:gd name="T8" fmla="*/ 0 60000 65536"/>
                <a:gd name="T9" fmla="*/ 0 w 160"/>
                <a:gd name="T10" fmla="*/ 0 h 34"/>
                <a:gd name="T11" fmla="*/ 160 w 160"/>
                <a:gd name="T12" fmla="*/ 34 h 3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60" h="34">
                  <a:moveTo>
                    <a:pt x="120" y="34"/>
                  </a:moveTo>
                  <a:lnTo>
                    <a:pt x="160" y="24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502" name="Line 1526"/>
            <p:cNvSpPr>
              <a:spLocks noChangeShapeType="1"/>
            </p:cNvSpPr>
            <p:nvPr/>
          </p:nvSpPr>
          <p:spPr bwMode="auto">
            <a:xfrm>
              <a:off x="829693" y="3151957"/>
              <a:ext cx="1720" cy="95250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503" name="Line 1527"/>
            <p:cNvSpPr>
              <a:spLocks noChangeShapeType="1"/>
            </p:cNvSpPr>
            <p:nvPr/>
          </p:nvSpPr>
          <p:spPr bwMode="auto">
            <a:xfrm>
              <a:off x="1378306" y="2970982"/>
              <a:ext cx="41275" cy="1588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504" name="Freeform 1528"/>
            <p:cNvSpPr>
              <a:spLocks/>
            </p:cNvSpPr>
            <p:nvPr/>
          </p:nvSpPr>
          <p:spPr bwMode="auto">
            <a:xfrm>
              <a:off x="1386905" y="2948757"/>
              <a:ext cx="67072" cy="7938"/>
            </a:xfrm>
            <a:custGeom>
              <a:avLst/>
              <a:gdLst>
                <a:gd name="T0" fmla="*/ 39 w 39"/>
                <a:gd name="T1" fmla="*/ 5 h 5"/>
                <a:gd name="T2" fmla="*/ 19 w 39"/>
                <a:gd name="T3" fmla="*/ 0 h 5"/>
                <a:gd name="T4" fmla="*/ 0 w 39"/>
                <a:gd name="T5" fmla="*/ 5 h 5"/>
                <a:gd name="T6" fmla="*/ 0 60000 65536"/>
                <a:gd name="T7" fmla="*/ 0 60000 65536"/>
                <a:gd name="T8" fmla="*/ 0 60000 65536"/>
                <a:gd name="T9" fmla="*/ 0 w 39"/>
                <a:gd name="T10" fmla="*/ 0 h 5"/>
                <a:gd name="T11" fmla="*/ 39 w 39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9" h="5">
                  <a:moveTo>
                    <a:pt x="39" y="5"/>
                  </a:moveTo>
                  <a:lnTo>
                    <a:pt x="19" y="0"/>
                  </a:lnTo>
                  <a:lnTo>
                    <a:pt x="0" y="5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505" name="Freeform 1529"/>
            <p:cNvSpPr>
              <a:spLocks/>
            </p:cNvSpPr>
            <p:nvPr/>
          </p:nvSpPr>
          <p:spPr bwMode="auto">
            <a:xfrm>
              <a:off x="1419581" y="2948757"/>
              <a:ext cx="34396" cy="15875"/>
            </a:xfrm>
            <a:custGeom>
              <a:avLst/>
              <a:gdLst>
                <a:gd name="T0" fmla="*/ 0 w 20"/>
                <a:gd name="T1" fmla="*/ 0 h 10"/>
                <a:gd name="T2" fmla="*/ 0 w 20"/>
                <a:gd name="T3" fmla="*/ 10 h 10"/>
                <a:gd name="T4" fmla="*/ 20 w 20"/>
                <a:gd name="T5" fmla="*/ 5 h 10"/>
                <a:gd name="T6" fmla="*/ 0 60000 65536"/>
                <a:gd name="T7" fmla="*/ 0 60000 65536"/>
                <a:gd name="T8" fmla="*/ 0 60000 65536"/>
                <a:gd name="T9" fmla="*/ 0 w 20"/>
                <a:gd name="T10" fmla="*/ 0 h 10"/>
                <a:gd name="T11" fmla="*/ 20 w 20"/>
                <a:gd name="T12" fmla="*/ 10 h 1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" h="10">
                  <a:moveTo>
                    <a:pt x="0" y="0"/>
                  </a:moveTo>
                  <a:lnTo>
                    <a:pt x="0" y="10"/>
                  </a:lnTo>
                  <a:lnTo>
                    <a:pt x="20" y="5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506" name="Line 1530"/>
            <p:cNvSpPr>
              <a:spLocks noChangeShapeType="1"/>
            </p:cNvSpPr>
            <p:nvPr/>
          </p:nvSpPr>
          <p:spPr bwMode="auto">
            <a:xfrm flipH="1" flipV="1">
              <a:off x="1386905" y="2956694"/>
              <a:ext cx="32676" cy="7938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507" name="Line 1531"/>
            <p:cNvSpPr>
              <a:spLocks noChangeShapeType="1"/>
            </p:cNvSpPr>
            <p:nvPr/>
          </p:nvSpPr>
          <p:spPr bwMode="auto">
            <a:xfrm>
              <a:off x="1453977" y="2956694"/>
              <a:ext cx="1720" cy="7938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508" name="Line 1532"/>
            <p:cNvSpPr>
              <a:spLocks noChangeShapeType="1"/>
            </p:cNvSpPr>
            <p:nvPr/>
          </p:nvSpPr>
          <p:spPr bwMode="auto">
            <a:xfrm>
              <a:off x="1386905" y="2956694"/>
              <a:ext cx="1720" cy="7938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509" name="Freeform 1533"/>
            <p:cNvSpPr>
              <a:spLocks/>
            </p:cNvSpPr>
            <p:nvPr/>
          </p:nvSpPr>
          <p:spPr bwMode="auto">
            <a:xfrm>
              <a:off x="1419581" y="2964632"/>
              <a:ext cx="34396" cy="6350"/>
            </a:xfrm>
            <a:custGeom>
              <a:avLst/>
              <a:gdLst>
                <a:gd name="T0" fmla="*/ 0 w 20"/>
                <a:gd name="T1" fmla="*/ 0 h 4"/>
                <a:gd name="T2" fmla="*/ 0 w 20"/>
                <a:gd name="T3" fmla="*/ 4 h 4"/>
                <a:gd name="T4" fmla="*/ 20 w 20"/>
                <a:gd name="T5" fmla="*/ 0 h 4"/>
                <a:gd name="T6" fmla="*/ 0 60000 65536"/>
                <a:gd name="T7" fmla="*/ 0 60000 65536"/>
                <a:gd name="T8" fmla="*/ 0 60000 65536"/>
                <a:gd name="T9" fmla="*/ 0 w 20"/>
                <a:gd name="T10" fmla="*/ 0 h 4"/>
                <a:gd name="T11" fmla="*/ 20 w 20"/>
                <a:gd name="T12" fmla="*/ 4 h 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" h="4">
                  <a:moveTo>
                    <a:pt x="0" y="0"/>
                  </a:moveTo>
                  <a:lnTo>
                    <a:pt x="0" y="4"/>
                  </a:lnTo>
                  <a:lnTo>
                    <a:pt x="20" y="0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510" name="Line 1534"/>
            <p:cNvSpPr>
              <a:spLocks noChangeShapeType="1"/>
            </p:cNvSpPr>
            <p:nvPr/>
          </p:nvSpPr>
          <p:spPr bwMode="auto">
            <a:xfrm flipH="1">
              <a:off x="1386905" y="2970982"/>
              <a:ext cx="32676" cy="1588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511" name="Freeform 1535"/>
            <p:cNvSpPr>
              <a:spLocks/>
            </p:cNvSpPr>
            <p:nvPr/>
          </p:nvSpPr>
          <p:spPr bwMode="auto">
            <a:xfrm>
              <a:off x="907083" y="2970982"/>
              <a:ext cx="804863" cy="622300"/>
            </a:xfrm>
            <a:custGeom>
              <a:avLst/>
              <a:gdLst>
                <a:gd name="T0" fmla="*/ 0 w 468"/>
                <a:gd name="T1" fmla="*/ 392 h 392"/>
                <a:gd name="T2" fmla="*/ 0 w 468"/>
                <a:gd name="T3" fmla="*/ 109 h 392"/>
                <a:gd name="T4" fmla="*/ 468 w 468"/>
                <a:gd name="T5" fmla="*/ 0 h 392"/>
                <a:gd name="T6" fmla="*/ 463 w 468"/>
                <a:gd name="T7" fmla="*/ 228 h 39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68"/>
                <a:gd name="T13" fmla="*/ 0 h 392"/>
                <a:gd name="T14" fmla="*/ 468 w 468"/>
                <a:gd name="T15" fmla="*/ 392 h 39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68" h="392">
                  <a:moveTo>
                    <a:pt x="0" y="392"/>
                  </a:moveTo>
                  <a:lnTo>
                    <a:pt x="0" y="109"/>
                  </a:lnTo>
                  <a:lnTo>
                    <a:pt x="468" y="0"/>
                  </a:lnTo>
                  <a:lnTo>
                    <a:pt x="463" y="228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512" name="Freeform 1536"/>
            <p:cNvSpPr>
              <a:spLocks/>
            </p:cNvSpPr>
            <p:nvPr/>
          </p:nvSpPr>
          <p:spPr bwMode="auto">
            <a:xfrm>
              <a:off x="502932" y="3105919"/>
              <a:ext cx="369755" cy="487363"/>
            </a:xfrm>
            <a:custGeom>
              <a:avLst/>
              <a:gdLst>
                <a:gd name="T0" fmla="*/ 215 w 215"/>
                <a:gd name="T1" fmla="*/ 307 h 307"/>
                <a:gd name="T2" fmla="*/ 215 w 215"/>
                <a:gd name="T3" fmla="*/ 29 h 307"/>
                <a:gd name="T4" fmla="*/ 0 w 215"/>
                <a:gd name="T5" fmla="*/ 0 h 307"/>
                <a:gd name="T6" fmla="*/ 0 w 215"/>
                <a:gd name="T7" fmla="*/ 15 h 30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5"/>
                <a:gd name="T13" fmla="*/ 0 h 307"/>
                <a:gd name="T14" fmla="*/ 215 w 215"/>
                <a:gd name="T15" fmla="*/ 307 h 30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5" h="307">
                  <a:moveTo>
                    <a:pt x="215" y="307"/>
                  </a:moveTo>
                  <a:lnTo>
                    <a:pt x="215" y="29"/>
                  </a:lnTo>
                  <a:lnTo>
                    <a:pt x="0" y="0"/>
                  </a:lnTo>
                  <a:lnTo>
                    <a:pt x="0" y="15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513" name="Freeform 1537"/>
            <p:cNvSpPr>
              <a:spLocks/>
            </p:cNvSpPr>
            <p:nvPr/>
          </p:nvSpPr>
          <p:spPr bwMode="auto">
            <a:xfrm>
              <a:off x="520130" y="2932882"/>
              <a:ext cx="1174618" cy="196850"/>
            </a:xfrm>
            <a:custGeom>
              <a:avLst/>
              <a:gdLst>
                <a:gd name="T0" fmla="*/ 0 w 683"/>
                <a:gd name="T1" fmla="*/ 99 h 124"/>
                <a:gd name="T2" fmla="*/ 509 w 683"/>
                <a:gd name="T3" fmla="*/ 0 h 124"/>
                <a:gd name="T4" fmla="*/ 683 w 683"/>
                <a:gd name="T5" fmla="*/ 15 h 124"/>
                <a:gd name="T6" fmla="*/ 210 w 683"/>
                <a:gd name="T7" fmla="*/ 124 h 124"/>
                <a:gd name="T8" fmla="*/ 0 w 683"/>
                <a:gd name="T9" fmla="*/ 99 h 1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83"/>
                <a:gd name="T16" fmla="*/ 0 h 124"/>
                <a:gd name="T17" fmla="*/ 683 w 683"/>
                <a:gd name="T18" fmla="*/ 124 h 12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83" h="124">
                  <a:moveTo>
                    <a:pt x="0" y="99"/>
                  </a:moveTo>
                  <a:lnTo>
                    <a:pt x="509" y="0"/>
                  </a:lnTo>
                  <a:lnTo>
                    <a:pt x="683" y="15"/>
                  </a:lnTo>
                  <a:lnTo>
                    <a:pt x="210" y="124"/>
                  </a:lnTo>
                  <a:lnTo>
                    <a:pt x="0" y="99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514" name="Freeform 1538"/>
            <p:cNvSpPr>
              <a:spLocks/>
            </p:cNvSpPr>
            <p:nvPr/>
          </p:nvSpPr>
          <p:spPr bwMode="auto">
            <a:xfrm>
              <a:off x="821094" y="3050357"/>
              <a:ext cx="94589" cy="23813"/>
            </a:xfrm>
            <a:custGeom>
              <a:avLst/>
              <a:gdLst>
                <a:gd name="T0" fmla="*/ 55 w 55"/>
                <a:gd name="T1" fmla="*/ 15 h 15"/>
                <a:gd name="T2" fmla="*/ 55 w 55"/>
                <a:gd name="T3" fmla="*/ 5 h 15"/>
                <a:gd name="T4" fmla="*/ 30 w 55"/>
                <a:gd name="T5" fmla="*/ 0 h 15"/>
                <a:gd name="T6" fmla="*/ 0 w 55"/>
                <a:gd name="T7" fmla="*/ 10 h 15"/>
                <a:gd name="T8" fmla="*/ 0 w 55"/>
                <a:gd name="T9" fmla="*/ 15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5"/>
                <a:gd name="T16" fmla="*/ 0 h 15"/>
                <a:gd name="T17" fmla="*/ 55 w 55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5" h="15">
                  <a:moveTo>
                    <a:pt x="55" y="15"/>
                  </a:moveTo>
                  <a:lnTo>
                    <a:pt x="55" y="5"/>
                  </a:lnTo>
                  <a:lnTo>
                    <a:pt x="30" y="0"/>
                  </a:lnTo>
                  <a:lnTo>
                    <a:pt x="0" y="10"/>
                  </a:lnTo>
                  <a:lnTo>
                    <a:pt x="0" y="15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515" name="Freeform 1539"/>
            <p:cNvSpPr>
              <a:spLocks/>
            </p:cNvSpPr>
            <p:nvPr/>
          </p:nvSpPr>
          <p:spPr bwMode="auto">
            <a:xfrm>
              <a:off x="872687" y="3050357"/>
              <a:ext cx="42995" cy="23813"/>
            </a:xfrm>
            <a:custGeom>
              <a:avLst/>
              <a:gdLst>
                <a:gd name="T0" fmla="*/ 0 w 25"/>
                <a:gd name="T1" fmla="*/ 0 h 15"/>
                <a:gd name="T2" fmla="*/ 0 w 25"/>
                <a:gd name="T3" fmla="*/ 15 h 15"/>
                <a:gd name="T4" fmla="*/ 25 w 25"/>
                <a:gd name="T5" fmla="*/ 10 h 15"/>
                <a:gd name="T6" fmla="*/ 0 60000 65536"/>
                <a:gd name="T7" fmla="*/ 0 60000 65536"/>
                <a:gd name="T8" fmla="*/ 0 60000 65536"/>
                <a:gd name="T9" fmla="*/ 0 w 25"/>
                <a:gd name="T10" fmla="*/ 0 h 15"/>
                <a:gd name="T11" fmla="*/ 25 w 25"/>
                <a:gd name="T12" fmla="*/ 15 h 1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5" h="15">
                  <a:moveTo>
                    <a:pt x="0" y="0"/>
                  </a:moveTo>
                  <a:lnTo>
                    <a:pt x="0" y="15"/>
                  </a:lnTo>
                  <a:lnTo>
                    <a:pt x="25" y="10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516" name="Freeform 1540"/>
            <p:cNvSpPr>
              <a:spLocks/>
            </p:cNvSpPr>
            <p:nvPr/>
          </p:nvSpPr>
          <p:spPr bwMode="auto">
            <a:xfrm>
              <a:off x="821094" y="3066232"/>
              <a:ext cx="51594" cy="15875"/>
            </a:xfrm>
            <a:custGeom>
              <a:avLst/>
              <a:gdLst>
                <a:gd name="T0" fmla="*/ 0 w 30"/>
                <a:gd name="T1" fmla="*/ 0 h 10"/>
                <a:gd name="T2" fmla="*/ 30 w 30"/>
                <a:gd name="T3" fmla="*/ 5 h 10"/>
                <a:gd name="T4" fmla="*/ 30 w 30"/>
                <a:gd name="T5" fmla="*/ 10 h 10"/>
                <a:gd name="T6" fmla="*/ 0 60000 65536"/>
                <a:gd name="T7" fmla="*/ 0 60000 65536"/>
                <a:gd name="T8" fmla="*/ 0 60000 65536"/>
                <a:gd name="T9" fmla="*/ 0 w 30"/>
                <a:gd name="T10" fmla="*/ 0 h 10"/>
                <a:gd name="T11" fmla="*/ 30 w 30"/>
                <a:gd name="T12" fmla="*/ 10 h 1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0" h="10">
                  <a:moveTo>
                    <a:pt x="0" y="0"/>
                  </a:moveTo>
                  <a:lnTo>
                    <a:pt x="30" y="5"/>
                  </a:lnTo>
                  <a:lnTo>
                    <a:pt x="30" y="10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517" name="Freeform 1541"/>
            <p:cNvSpPr>
              <a:spLocks/>
            </p:cNvSpPr>
            <p:nvPr/>
          </p:nvSpPr>
          <p:spPr bwMode="auto">
            <a:xfrm>
              <a:off x="821094" y="3074169"/>
              <a:ext cx="94589" cy="7938"/>
            </a:xfrm>
            <a:custGeom>
              <a:avLst/>
              <a:gdLst>
                <a:gd name="T0" fmla="*/ 55 w 55"/>
                <a:gd name="T1" fmla="*/ 0 h 5"/>
                <a:gd name="T2" fmla="*/ 30 w 55"/>
                <a:gd name="T3" fmla="*/ 5 h 5"/>
                <a:gd name="T4" fmla="*/ 0 w 55"/>
                <a:gd name="T5" fmla="*/ 0 h 5"/>
                <a:gd name="T6" fmla="*/ 0 60000 65536"/>
                <a:gd name="T7" fmla="*/ 0 60000 65536"/>
                <a:gd name="T8" fmla="*/ 0 60000 65536"/>
                <a:gd name="T9" fmla="*/ 0 w 55"/>
                <a:gd name="T10" fmla="*/ 0 h 5"/>
                <a:gd name="T11" fmla="*/ 55 w 55"/>
                <a:gd name="T12" fmla="*/ 5 h 5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" h="5">
                  <a:moveTo>
                    <a:pt x="55" y="0"/>
                  </a:moveTo>
                  <a:lnTo>
                    <a:pt x="30" y="5"/>
                  </a:lnTo>
                  <a:lnTo>
                    <a:pt x="0" y="0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518" name="Line 1542"/>
            <p:cNvSpPr>
              <a:spLocks noChangeShapeType="1"/>
            </p:cNvSpPr>
            <p:nvPr/>
          </p:nvSpPr>
          <p:spPr bwMode="auto">
            <a:xfrm>
              <a:off x="554526" y="3113857"/>
              <a:ext cx="275167" cy="38100"/>
            </a:xfrm>
            <a:prstGeom prst="line">
              <a:avLst/>
            </a:pr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519" name="Freeform 1543"/>
            <p:cNvSpPr>
              <a:spLocks/>
            </p:cNvSpPr>
            <p:nvPr/>
          </p:nvSpPr>
          <p:spPr bwMode="auto">
            <a:xfrm>
              <a:off x="442739" y="3498032"/>
              <a:ext cx="111786" cy="23813"/>
            </a:xfrm>
            <a:custGeom>
              <a:avLst/>
              <a:gdLst>
                <a:gd name="T0" fmla="*/ 65 w 65"/>
                <a:gd name="T1" fmla="*/ 10 h 15"/>
                <a:gd name="T2" fmla="*/ 10 w 65"/>
                <a:gd name="T3" fmla="*/ 0 h 15"/>
                <a:gd name="T4" fmla="*/ 0 w 65"/>
                <a:gd name="T5" fmla="*/ 5 h 15"/>
                <a:gd name="T6" fmla="*/ 55 w 65"/>
                <a:gd name="T7" fmla="*/ 15 h 15"/>
                <a:gd name="T8" fmla="*/ 65 w 65"/>
                <a:gd name="T9" fmla="*/ 10 h 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65"/>
                <a:gd name="T16" fmla="*/ 0 h 15"/>
                <a:gd name="T17" fmla="*/ 65 w 65"/>
                <a:gd name="T18" fmla="*/ 15 h 1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65" h="15">
                  <a:moveTo>
                    <a:pt x="65" y="10"/>
                  </a:moveTo>
                  <a:lnTo>
                    <a:pt x="10" y="0"/>
                  </a:lnTo>
                  <a:lnTo>
                    <a:pt x="0" y="5"/>
                  </a:lnTo>
                  <a:lnTo>
                    <a:pt x="55" y="15"/>
                  </a:lnTo>
                  <a:lnTo>
                    <a:pt x="65" y="10"/>
                  </a:lnTo>
                </a:path>
              </a:pathLst>
            </a:custGeom>
            <a:noFill/>
            <a:ln w="0">
              <a:solidFill>
                <a:srgbClr val="25221E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520" name="Freeform 1544"/>
            <p:cNvSpPr>
              <a:spLocks noEditPoints="1"/>
            </p:cNvSpPr>
            <p:nvPr/>
          </p:nvSpPr>
          <p:spPr bwMode="auto">
            <a:xfrm>
              <a:off x="410063" y="3804419"/>
              <a:ext cx="84270" cy="39688"/>
            </a:xfrm>
            <a:custGeom>
              <a:avLst/>
              <a:gdLst>
                <a:gd name="T0" fmla="*/ 0 w 49"/>
                <a:gd name="T1" fmla="*/ 0 h 25"/>
                <a:gd name="T2" fmla="*/ 0 w 49"/>
                <a:gd name="T3" fmla="*/ 5 h 25"/>
                <a:gd name="T4" fmla="*/ 5 w 49"/>
                <a:gd name="T5" fmla="*/ 10 h 25"/>
                <a:gd name="T6" fmla="*/ 5 w 49"/>
                <a:gd name="T7" fmla="*/ 5 h 25"/>
                <a:gd name="T8" fmla="*/ 5 w 49"/>
                <a:gd name="T9" fmla="*/ 15 h 25"/>
                <a:gd name="T10" fmla="*/ 5 w 49"/>
                <a:gd name="T11" fmla="*/ 5 h 25"/>
                <a:gd name="T12" fmla="*/ 5 w 49"/>
                <a:gd name="T13" fmla="*/ 10 h 25"/>
                <a:gd name="T14" fmla="*/ 0 w 49"/>
                <a:gd name="T15" fmla="*/ 5 h 25"/>
                <a:gd name="T16" fmla="*/ 0 w 49"/>
                <a:gd name="T17" fmla="*/ 10 h 25"/>
                <a:gd name="T18" fmla="*/ 9 w 49"/>
                <a:gd name="T19" fmla="*/ 10 h 25"/>
                <a:gd name="T20" fmla="*/ 9 w 49"/>
                <a:gd name="T21" fmla="*/ 5 h 25"/>
                <a:gd name="T22" fmla="*/ 9 w 49"/>
                <a:gd name="T23" fmla="*/ 5 h 25"/>
                <a:gd name="T24" fmla="*/ 9 w 49"/>
                <a:gd name="T25" fmla="*/ 15 h 25"/>
                <a:gd name="T26" fmla="*/ 14 w 49"/>
                <a:gd name="T27" fmla="*/ 5 h 25"/>
                <a:gd name="T28" fmla="*/ 14 w 49"/>
                <a:gd name="T29" fmla="*/ 5 h 25"/>
                <a:gd name="T30" fmla="*/ 19 w 49"/>
                <a:gd name="T31" fmla="*/ 10 h 25"/>
                <a:gd name="T32" fmla="*/ 19 w 49"/>
                <a:gd name="T33" fmla="*/ 15 h 25"/>
                <a:gd name="T34" fmla="*/ 14 w 49"/>
                <a:gd name="T35" fmla="*/ 15 h 25"/>
                <a:gd name="T36" fmla="*/ 14 w 49"/>
                <a:gd name="T37" fmla="*/ 10 h 25"/>
                <a:gd name="T38" fmla="*/ 14 w 49"/>
                <a:gd name="T39" fmla="*/ 15 h 25"/>
                <a:gd name="T40" fmla="*/ 19 w 49"/>
                <a:gd name="T41" fmla="*/ 10 h 25"/>
                <a:gd name="T42" fmla="*/ 14 w 49"/>
                <a:gd name="T43" fmla="*/ 5 h 25"/>
                <a:gd name="T44" fmla="*/ 14 w 49"/>
                <a:gd name="T45" fmla="*/ 10 h 25"/>
                <a:gd name="T46" fmla="*/ 19 w 49"/>
                <a:gd name="T47" fmla="*/ 15 h 25"/>
                <a:gd name="T48" fmla="*/ 24 w 49"/>
                <a:gd name="T49" fmla="*/ 15 h 25"/>
                <a:gd name="T50" fmla="*/ 19 w 49"/>
                <a:gd name="T51" fmla="*/ 10 h 25"/>
                <a:gd name="T52" fmla="*/ 24 w 49"/>
                <a:gd name="T53" fmla="*/ 10 h 25"/>
                <a:gd name="T54" fmla="*/ 19 w 49"/>
                <a:gd name="T55" fmla="*/ 10 h 25"/>
                <a:gd name="T56" fmla="*/ 19 w 49"/>
                <a:gd name="T57" fmla="*/ 5 h 25"/>
                <a:gd name="T58" fmla="*/ 24 w 49"/>
                <a:gd name="T59" fmla="*/ 10 h 25"/>
                <a:gd name="T60" fmla="*/ 24 w 49"/>
                <a:gd name="T61" fmla="*/ 10 h 25"/>
                <a:gd name="T62" fmla="*/ 24 w 49"/>
                <a:gd name="T63" fmla="*/ 15 h 25"/>
                <a:gd name="T64" fmla="*/ 19 w 49"/>
                <a:gd name="T65" fmla="*/ 15 h 25"/>
                <a:gd name="T66" fmla="*/ 34 w 49"/>
                <a:gd name="T67" fmla="*/ 15 h 25"/>
                <a:gd name="T68" fmla="*/ 34 w 49"/>
                <a:gd name="T69" fmla="*/ 20 h 25"/>
                <a:gd name="T70" fmla="*/ 29 w 49"/>
                <a:gd name="T71" fmla="*/ 15 h 25"/>
                <a:gd name="T72" fmla="*/ 29 w 49"/>
                <a:gd name="T73" fmla="*/ 10 h 25"/>
                <a:gd name="T74" fmla="*/ 34 w 49"/>
                <a:gd name="T75" fmla="*/ 10 h 25"/>
                <a:gd name="T76" fmla="*/ 34 w 49"/>
                <a:gd name="T77" fmla="*/ 15 h 25"/>
                <a:gd name="T78" fmla="*/ 34 w 49"/>
                <a:gd name="T79" fmla="*/ 10 h 25"/>
                <a:gd name="T80" fmla="*/ 29 w 49"/>
                <a:gd name="T81" fmla="*/ 10 h 25"/>
                <a:gd name="T82" fmla="*/ 29 w 49"/>
                <a:gd name="T83" fmla="*/ 15 h 25"/>
                <a:gd name="T84" fmla="*/ 34 w 49"/>
                <a:gd name="T85" fmla="*/ 20 h 25"/>
                <a:gd name="T86" fmla="*/ 34 w 49"/>
                <a:gd name="T87" fmla="*/ 15 h 25"/>
                <a:gd name="T88" fmla="*/ 39 w 49"/>
                <a:gd name="T89" fmla="*/ 15 h 25"/>
                <a:gd name="T90" fmla="*/ 39 w 49"/>
                <a:gd name="T91" fmla="*/ 10 h 25"/>
                <a:gd name="T92" fmla="*/ 39 w 49"/>
                <a:gd name="T93" fmla="*/ 20 h 25"/>
                <a:gd name="T94" fmla="*/ 39 w 49"/>
                <a:gd name="T95" fmla="*/ 15 h 25"/>
                <a:gd name="T96" fmla="*/ 39 w 49"/>
                <a:gd name="T97" fmla="*/ 15 h 25"/>
                <a:gd name="T98" fmla="*/ 39 w 49"/>
                <a:gd name="T99" fmla="*/ 20 h 25"/>
                <a:gd name="T100" fmla="*/ 44 w 49"/>
                <a:gd name="T101" fmla="*/ 15 h 25"/>
                <a:gd name="T102" fmla="*/ 49 w 49"/>
                <a:gd name="T103" fmla="*/ 15 h 25"/>
                <a:gd name="T104" fmla="*/ 44 w 49"/>
                <a:gd name="T105" fmla="*/ 15 h 25"/>
                <a:gd name="T106" fmla="*/ 49 w 49"/>
                <a:gd name="T107" fmla="*/ 20 h 25"/>
                <a:gd name="T108" fmla="*/ 44 w 49"/>
                <a:gd name="T109" fmla="*/ 20 h 25"/>
                <a:gd name="T110" fmla="*/ 44 w 49"/>
                <a:gd name="T111" fmla="*/ 25 h 25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49"/>
                <a:gd name="T169" fmla="*/ 0 h 25"/>
                <a:gd name="T170" fmla="*/ 49 w 49"/>
                <a:gd name="T171" fmla="*/ 25 h 25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49" h="25">
                  <a:moveTo>
                    <a:pt x="0" y="10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0" y="5"/>
                  </a:lnTo>
                  <a:lnTo>
                    <a:pt x="5" y="10"/>
                  </a:lnTo>
                  <a:lnTo>
                    <a:pt x="5" y="5"/>
                  </a:lnTo>
                  <a:lnTo>
                    <a:pt x="5" y="10"/>
                  </a:lnTo>
                  <a:lnTo>
                    <a:pt x="5" y="15"/>
                  </a:lnTo>
                  <a:lnTo>
                    <a:pt x="5" y="10"/>
                  </a:lnTo>
                  <a:lnTo>
                    <a:pt x="5" y="5"/>
                  </a:lnTo>
                  <a:lnTo>
                    <a:pt x="5" y="10"/>
                  </a:lnTo>
                  <a:lnTo>
                    <a:pt x="0" y="5"/>
                  </a:lnTo>
                  <a:lnTo>
                    <a:pt x="0" y="10"/>
                  </a:lnTo>
                  <a:close/>
                  <a:moveTo>
                    <a:pt x="9" y="15"/>
                  </a:moveTo>
                  <a:lnTo>
                    <a:pt x="9" y="15"/>
                  </a:lnTo>
                  <a:lnTo>
                    <a:pt x="9" y="10"/>
                  </a:lnTo>
                  <a:lnTo>
                    <a:pt x="9" y="5"/>
                  </a:lnTo>
                  <a:lnTo>
                    <a:pt x="9" y="10"/>
                  </a:lnTo>
                  <a:lnTo>
                    <a:pt x="9" y="15"/>
                  </a:lnTo>
                  <a:close/>
                  <a:moveTo>
                    <a:pt x="14" y="10"/>
                  </a:moveTo>
                  <a:lnTo>
                    <a:pt x="14" y="10"/>
                  </a:lnTo>
                  <a:lnTo>
                    <a:pt x="14" y="5"/>
                  </a:lnTo>
                  <a:lnTo>
                    <a:pt x="19" y="5"/>
                  </a:lnTo>
                  <a:lnTo>
                    <a:pt x="19" y="10"/>
                  </a:lnTo>
                  <a:lnTo>
                    <a:pt x="19" y="15"/>
                  </a:lnTo>
                  <a:lnTo>
                    <a:pt x="14" y="15"/>
                  </a:lnTo>
                  <a:lnTo>
                    <a:pt x="14" y="10"/>
                  </a:lnTo>
                  <a:close/>
                  <a:moveTo>
                    <a:pt x="14" y="10"/>
                  </a:moveTo>
                  <a:lnTo>
                    <a:pt x="14" y="10"/>
                  </a:lnTo>
                  <a:lnTo>
                    <a:pt x="14" y="15"/>
                  </a:lnTo>
                  <a:lnTo>
                    <a:pt x="19" y="15"/>
                  </a:lnTo>
                  <a:lnTo>
                    <a:pt x="19" y="10"/>
                  </a:lnTo>
                  <a:lnTo>
                    <a:pt x="14" y="10"/>
                  </a:lnTo>
                  <a:lnTo>
                    <a:pt x="14" y="5"/>
                  </a:lnTo>
                  <a:lnTo>
                    <a:pt x="14" y="10"/>
                  </a:lnTo>
                  <a:close/>
                  <a:moveTo>
                    <a:pt x="19" y="15"/>
                  </a:moveTo>
                  <a:lnTo>
                    <a:pt x="19" y="15"/>
                  </a:lnTo>
                  <a:lnTo>
                    <a:pt x="24" y="15"/>
                  </a:lnTo>
                  <a:lnTo>
                    <a:pt x="19" y="10"/>
                  </a:lnTo>
                  <a:lnTo>
                    <a:pt x="24" y="10"/>
                  </a:lnTo>
                  <a:lnTo>
                    <a:pt x="19" y="10"/>
                  </a:lnTo>
                  <a:lnTo>
                    <a:pt x="19" y="5"/>
                  </a:lnTo>
                  <a:lnTo>
                    <a:pt x="24" y="10"/>
                  </a:lnTo>
                  <a:lnTo>
                    <a:pt x="24" y="15"/>
                  </a:lnTo>
                  <a:lnTo>
                    <a:pt x="19" y="15"/>
                  </a:lnTo>
                  <a:close/>
                  <a:moveTo>
                    <a:pt x="34" y="15"/>
                  </a:moveTo>
                  <a:lnTo>
                    <a:pt x="34" y="15"/>
                  </a:lnTo>
                  <a:lnTo>
                    <a:pt x="34" y="20"/>
                  </a:lnTo>
                  <a:lnTo>
                    <a:pt x="29" y="20"/>
                  </a:lnTo>
                  <a:lnTo>
                    <a:pt x="29" y="15"/>
                  </a:lnTo>
                  <a:lnTo>
                    <a:pt x="29" y="10"/>
                  </a:lnTo>
                  <a:lnTo>
                    <a:pt x="34" y="10"/>
                  </a:lnTo>
                  <a:lnTo>
                    <a:pt x="34" y="15"/>
                  </a:lnTo>
                  <a:lnTo>
                    <a:pt x="34" y="10"/>
                  </a:lnTo>
                  <a:lnTo>
                    <a:pt x="29" y="10"/>
                  </a:lnTo>
                  <a:lnTo>
                    <a:pt x="29" y="15"/>
                  </a:lnTo>
                  <a:lnTo>
                    <a:pt x="29" y="20"/>
                  </a:lnTo>
                  <a:lnTo>
                    <a:pt x="34" y="20"/>
                  </a:lnTo>
                  <a:lnTo>
                    <a:pt x="34" y="15"/>
                  </a:lnTo>
                  <a:close/>
                  <a:moveTo>
                    <a:pt x="39" y="20"/>
                  </a:moveTo>
                  <a:lnTo>
                    <a:pt x="39" y="15"/>
                  </a:lnTo>
                  <a:lnTo>
                    <a:pt x="34" y="10"/>
                  </a:lnTo>
                  <a:lnTo>
                    <a:pt x="39" y="10"/>
                  </a:lnTo>
                  <a:lnTo>
                    <a:pt x="39" y="15"/>
                  </a:lnTo>
                  <a:lnTo>
                    <a:pt x="39" y="20"/>
                  </a:lnTo>
                  <a:lnTo>
                    <a:pt x="39" y="15"/>
                  </a:lnTo>
                  <a:lnTo>
                    <a:pt x="44" y="15"/>
                  </a:lnTo>
                  <a:lnTo>
                    <a:pt x="39" y="15"/>
                  </a:lnTo>
                  <a:lnTo>
                    <a:pt x="39" y="20"/>
                  </a:lnTo>
                  <a:close/>
                  <a:moveTo>
                    <a:pt x="44" y="25"/>
                  </a:moveTo>
                  <a:lnTo>
                    <a:pt x="44" y="20"/>
                  </a:lnTo>
                  <a:lnTo>
                    <a:pt x="44" y="15"/>
                  </a:lnTo>
                  <a:lnTo>
                    <a:pt x="49" y="15"/>
                  </a:lnTo>
                  <a:lnTo>
                    <a:pt x="44" y="15"/>
                  </a:lnTo>
                  <a:lnTo>
                    <a:pt x="44" y="20"/>
                  </a:lnTo>
                  <a:lnTo>
                    <a:pt x="49" y="20"/>
                  </a:lnTo>
                  <a:lnTo>
                    <a:pt x="44" y="20"/>
                  </a:lnTo>
                  <a:lnTo>
                    <a:pt x="49" y="25"/>
                  </a:lnTo>
                  <a:lnTo>
                    <a:pt x="44" y="25"/>
                  </a:lnTo>
                  <a:close/>
                </a:path>
              </a:pathLst>
            </a:custGeom>
            <a:solidFill>
              <a:srgbClr val="25221E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5099" name="Rectangle 2680"/>
          <p:cNvSpPr>
            <a:spLocks noChangeArrowheads="1"/>
          </p:cNvSpPr>
          <p:nvPr/>
        </p:nvSpPr>
        <p:spPr bwMode="auto">
          <a:xfrm>
            <a:off x="1386709" y="3717032"/>
            <a:ext cx="47179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1400" b="1" dirty="0">
                <a:solidFill>
                  <a:srgbClr val="000000"/>
                </a:solidFill>
              </a:rPr>
              <a:t>Trucks</a:t>
            </a:r>
            <a:endParaRPr lang="en-US" sz="1400" b="1" dirty="0"/>
          </a:p>
        </p:txBody>
      </p:sp>
      <p:grpSp>
        <p:nvGrpSpPr>
          <p:cNvPr id="38753" name="Group 3815"/>
          <p:cNvGrpSpPr>
            <a:grpSpLocks/>
          </p:cNvGrpSpPr>
          <p:nvPr/>
        </p:nvGrpSpPr>
        <p:grpSpPr bwMode="auto">
          <a:xfrm>
            <a:off x="3657080" y="4941168"/>
            <a:ext cx="2765425" cy="1728788"/>
            <a:chOff x="3580" y="2205"/>
            <a:chExt cx="1608" cy="1089"/>
          </a:xfrm>
        </p:grpSpPr>
        <p:grpSp>
          <p:nvGrpSpPr>
            <p:cNvPr id="38755" name="Group 3820"/>
            <p:cNvGrpSpPr>
              <a:grpSpLocks/>
            </p:cNvGrpSpPr>
            <p:nvPr/>
          </p:nvGrpSpPr>
          <p:grpSpPr bwMode="auto">
            <a:xfrm>
              <a:off x="4084" y="2205"/>
              <a:ext cx="1104" cy="1089"/>
              <a:chOff x="4084" y="2205"/>
              <a:chExt cx="1104" cy="1089"/>
            </a:xfrm>
          </p:grpSpPr>
          <p:sp>
            <p:nvSpPr>
              <p:cNvPr id="35010" name="Freeform 3821"/>
              <p:cNvSpPr>
                <a:spLocks/>
              </p:cNvSpPr>
              <p:nvPr/>
            </p:nvSpPr>
            <p:spPr bwMode="auto">
              <a:xfrm>
                <a:off x="4457" y="2365"/>
                <a:ext cx="592" cy="774"/>
              </a:xfrm>
              <a:custGeom>
                <a:avLst/>
                <a:gdLst>
                  <a:gd name="T0" fmla="*/ 592 w 592"/>
                  <a:gd name="T1" fmla="*/ 422 h 774"/>
                  <a:gd name="T2" fmla="*/ 576 w 592"/>
                  <a:gd name="T3" fmla="*/ 347 h 774"/>
                  <a:gd name="T4" fmla="*/ 550 w 592"/>
                  <a:gd name="T5" fmla="*/ 272 h 774"/>
                  <a:gd name="T6" fmla="*/ 512 w 592"/>
                  <a:gd name="T7" fmla="*/ 203 h 774"/>
                  <a:gd name="T8" fmla="*/ 470 w 592"/>
                  <a:gd name="T9" fmla="*/ 144 h 774"/>
                  <a:gd name="T10" fmla="*/ 422 w 592"/>
                  <a:gd name="T11" fmla="*/ 91 h 774"/>
                  <a:gd name="T12" fmla="*/ 368 w 592"/>
                  <a:gd name="T13" fmla="*/ 48 h 774"/>
                  <a:gd name="T14" fmla="*/ 310 w 592"/>
                  <a:gd name="T15" fmla="*/ 16 h 774"/>
                  <a:gd name="T16" fmla="*/ 246 w 592"/>
                  <a:gd name="T17" fmla="*/ 5 h 774"/>
                  <a:gd name="T18" fmla="*/ 192 w 592"/>
                  <a:gd name="T19" fmla="*/ 5 h 774"/>
                  <a:gd name="T20" fmla="*/ 139 w 592"/>
                  <a:gd name="T21" fmla="*/ 21 h 774"/>
                  <a:gd name="T22" fmla="*/ 91 w 592"/>
                  <a:gd name="T23" fmla="*/ 48 h 774"/>
                  <a:gd name="T24" fmla="*/ 54 w 592"/>
                  <a:gd name="T25" fmla="*/ 91 h 774"/>
                  <a:gd name="T26" fmla="*/ 27 w 592"/>
                  <a:gd name="T27" fmla="*/ 139 h 774"/>
                  <a:gd name="T28" fmla="*/ 6 w 592"/>
                  <a:gd name="T29" fmla="*/ 203 h 774"/>
                  <a:gd name="T30" fmla="*/ 0 w 592"/>
                  <a:gd name="T31" fmla="*/ 272 h 774"/>
                  <a:gd name="T32" fmla="*/ 0 w 592"/>
                  <a:gd name="T33" fmla="*/ 352 h 774"/>
                  <a:gd name="T34" fmla="*/ 16 w 592"/>
                  <a:gd name="T35" fmla="*/ 427 h 774"/>
                  <a:gd name="T36" fmla="*/ 43 w 592"/>
                  <a:gd name="T37" fmla="*/ 502 h 774"/>
                  <a:gd name="T38" fmla="*/ 80 w 592"/>
                  <a:gd name="T39" fmla="*/ 571 h 774"/>
                  <a:gd name="T40" fmla="*/ 123 w 592"/>
                  <a:gd name="T41" fmla="*/ 630 h 774"/>
                  <a:gd name="T42" fmla="*/ 171 w 592"/>
                  <a:gd name="T43" fmla="*/ 684 h 774"/>
                  <a:gd name="T44" fmla="*/ 224 w 592"/>
                  <a:gd name="T45" fmla="*/ 726 h 774"/>
                  <a:gd name="T46" fmla="*/ 283 w 592"/>
                  <a:gd name="T47" fmla="*/ 753 h 774"/>
                  <a:gd name="T48" fmla="*/ 347 w 592"/>
                  <a:gd name="T49" fmla="*/ 769 h 774"/>
                  <a:gd name="T50" fmla="*/ 400 w 592"/>
                  <a:gd name="T51" fmla="*/ 769 h 774"/>
                  <a:gd name="T52" fmla="*/ 454 w 592"/>
                  <a:gd name="T53" fmla="*/ 753 h 774"/>
                  <a:gd name="T54" fmla="*/ 502 w 592"/>
                  <a:gd name="T55" fmla="*/ 726 h 774"/>
                  <a:gd name="T56" fmla="*/ 539 w 592"/>
                  <a:gd name="T57" fmla="*/ 684 h 774"/>
                  <a:gd name="T58" fmla="*/ 566 w 592"/>
                  <a:gd name="T59" fmla="*/ 630 h 774"/>
                  <a:gd name="T60" fmla="*/ 587 w 592"/>
                  <a:gd name="T61" fmla="*/ 571 h 774"/>
                  <a:gd name="T62" fmla="*/ 592 w 592"/>
                  <a:gd name="T63" fmla="*/ 497 h 77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592"/>
                  <a:gd name="T97" fmla="*/ 0 h 774"/>
                  <a:gd name="T98" fmla="*/ 592 w 592"/>
                  <a:gd name="T99" fmla="*/ 774 h 774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592" h="774">
                    <a:moveTo>
                      <a:pt x="592" y="459"/>
                    </a:moveTo>
                    <a:lnTo>
                      <a:pt x="592" y="422"/>
                    </a:lnTo>
                    <a:lnTo>
                      <a:pt x="582" y="384"/>
                    </a:lnTo>
                    <a:lnTo>
                      <a:pt x="576" y="347"/>
                    </a:lnTo>
                    <a:lnTo>
                      <a:pt x="566" y="310"/>
                    </a:lnTo>
                    <a:lnTo>
                      <a:pt x="550" y="272"/>
                    </a:lnTo>
                    <a:lnTo>
                      <a:pt x="534" y="235"/>
                    </a:lnTo>
                    <a:lnTo>
                      <a:pt x="512" y="203"/>
                    </a:lnTo>
                    <a:lnTo>
                      <a:pt x="491" y="171"/>
                    </a:lnTo>
                    <a:lnTo>
                      <a:pt x="470" y="144"/>
                    </a:lnTo>
                    <a:lnTo>
                      <a:pt x="448" y="112"/>
                    </a:lnTo>
                    <a:lnTo>
                      <a:pt x="422" y="91"/>
                    </a:lnTo>
                    <a:lnTo>
                      <a:pt x="395" y="69"/>
                    </a:lnTo>
                    <a:lnTo>
                      <a:pt x="368" y="48"/>
                    </a:lnTo>
                    <a:lnTo>
                      <a:pt x="336" y="32"/>
                    </a:lnTo>
                    <a:lnTo>
                      <a:pt x="310" y="16"/>
                    </a:lnTo>
                    <a:lnTo>
                      <a:pt x="278" y="11"/>
                    </a:lnTo>
                    <a:lnTo>
                      <a:pt x="246" y="5"/>
                    </a:lnTo>
                    <a:lnTo>
                      <a:pt x="219" y="0"/>
                    </a:lnTo>
                    <a:lnTo>
                      <a:pt x="192" y="5"/>
                    </a:lnTo>
                    <a:lnTo>
                      <a:pt x="166" y="11"/>
                    </a:lnTo>
                    <a:lnTo>
                      <a:pt x="139" y="21"/>
                    </a:lnTo>
                    <a:lnTo>
                      <a:pt x="112" y="32"/>
                    </a:lnTo>
                    <a:lnTo>
                      <a:pt x="91" y="48"/>
                    </a:lnTo>
                    <a:lnTo>
                      <a:pt x="75" y="69"/>
                    </a:lnTo>
                    <a:lnTo>
                      <a:pt x="54" y="91"/>
                    </a:lnTo>
                    <a:lnTo>
                      <a:pt x="38" y="112"/>
                    </a:lnTo>
                    <a:lnTo>
                      <a:pt x="27" y="139"/>
                    </a:lnTo>
                    <a:lnTo>
                      <a:pt x="16" y="171"/>
                    </a:lnTo>
                    <a:lnTo>
                      <a:pt x="6" y="203"/>
                    </a:lnTo>
                    <a:lnTo>
                      <a:pt x="0" y="240"/>
                    </a:lnTo>
                    <a:lnTo>
                      <a:pt x="0" y="272"/>
                    </a:lnTo>
                    <a:lnTo>
                      <a:pt x="0" y="315"/>
                    </a:lnTo>
                    <a:lnTo>
                      <a:pt x="0" y="352"/>
                    </a:lnTo>
                    <a:lnTo>
                      <a:pt x="6" y="390"/>
                    </a:lnTo>
                    <a:lnTo>
                      <a:pt x="16" y="427"/>
                    </a:lnTo>
                    <a:lnTo>
                      <a:pt x="27" y="465"/>
                    </a:lnTo>
                    <a:lnTo>
                      <a:pt x="43" y="502"/>
                    </a:lnTo>
                    <a:lnTo>
                      <a:pt x="59" y="534"/>
                    </a:lnTo>
                    <a:lnTo>
                      <a:pt x="80" y="571"/>
                    </a:lnTo>
                    <a:lnTo>
                      <a:pt x="96" y="603"/>
                    </a:lnTo>
                    <a:lnTo>
                      <a:pt x="123" y="630"/>
                    </a:lnTo>
                    <a:lnTo>
                      <a:pt x="144" y="657"/>
                    </a:lnTo>
                    <a:lnTo>
                      <a:pt x="171" y="684"/>
                    </a:lnTo>
                    <a:lnTo>
                      <a:pt x="198" y="705"/>
                    </a:lnTo>
                    <a:lnTo>
                      <a:pt x="224" y="726"/>
                    </a:lnTo>
                    <a:lnTo>
                      <a:pt x="256" y="742"/>
                    </a:lnTo>
                    <a:lnTo>
                      <a:pt x="283" y="753"/>
                    </a:lnTo>
                    <a:lnTo>
                      <a:pt x="315" y="764"/>
                    </a:lnTo>
                    <a:lnTo>
                      <a:pt x="347" y="769"/>
                    </a:lnTo>
                    <a:lnTo>
                      <a:pt x="374" y="774"/>
                    </a:lnTo>
                    <a:lnTo>
                      <a:pt x="400" y="769"/>
                    </a:lnTo>
                    <a:lnTo>
                      <a:pt x="427" y="764"/>
                    </a:lnTo>
                    <a:lnTo>
                      <a:pt x="454" y="753"/>
                    </a:lnTo>
                    <a:lnTo>
                      <a:pt x="480" y="742"/>
                    </a:lnTo>
                    <a:lnTo>
                      <a:pt x="502" y="726"/>
                    </a:lnTo>
                    <a:lnTo>
                      <a:pt x="518" y="705"/>
                    </a:lnTo>
                    <a:lnTo>
                      <a:pt x="539" y="684"/>
                    </a:lnTo>
                    <a:lnTo>
                      <a:pt x="555" y="662"/>
                    </a:lnTo>
                    <a:lnTo>
                      <a:pt x="566" y="630"/>
                    </a:lnTo>
                    <a:lnTo>
                      <a:pt x="576" y="603"/>
                    </a:lnTo>
                    <a:lnTo>
                      <a:pt x="587" y="571"/>
                    </a:lnTo>
                    <a:lnTo>
                      <a:pt x="592" y="534"/>
                    </a:lnTo>
                    <a:lnTo>
                      <a:pt x="592" y="497"/>
                    </a:lnTo>
                    <a:lnTo>
                      <a:pt x="592" y="459"/>
                    </a:lnTo>
                    <a:close/>
                  </a:path>
                </a:pathLst>
              </a:custGeom>
              <a:solidFill>
                <a:srgbClr val="FDFA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11" name="Freeform 3822"/>
              <p:cNvSpPr>
                <a:spLocks/>
              </p:cNvSpPr>
              <p:nvPr/>
            </p:nvSpPr>
            <p:spPr bwMode="auto">
              <a:xfrm>
                <a:off x="4559" y="2408"/>
                <a:ext cx="437" cy="689"/>
              </a:xfrm>
              <a:custGeom>
                <a:avLst/>
                <a:gdLst>
                  <a:gd name="T0" fmla="*/ 5 w 437"/>
                  <a:gd name="T1" fmla="*/ 48 h 689"/>
                  <a:gd name="T2" fmla="*/ 10 w 437"/>
                  <a:gd name="T3" fmla="*/ 42 h 689"/>
                  <a:gd name="T4" fmla="*/ 21 w 437"/>
                  <a:gd name="T5" fmla="*/ 32 h 689"/>
                  <a:gd name="T6" fmla="*/ 32 w 437"/>
                  <a:gd name="T7" fmla="*/ 32 h 689"/>
                  <a:gd name="T8" fmla="*/ 53 w 437"/>
                  <a:gd name="T9" fmla="*/ 21 h 689"/>
                  <a:gd name="T10" fmla="*/ 90 w 437"/>
                  <a:gd name="T11" fmla="*/ 10 h 689"/>
                  <a:gd name="T12" fmla="*/ 138 w 437"/>
                  <a:gd name="T13" fmla="*/ 5 h 689"/>
                  <a:gd name="T14" fmla="*/ 186 w 437"/>
                  <a:gd name="T15" fmla="*/ 0 h 689"/>
                  <a:gd name="T16" fmla="*/ 208 w 437"/>
                  <a:gd name="T17" fmla="*/ 0 h 689"/>
                  <a:gd name="T18" fmla="*/ 234 w 437"/>
                  <a:gd name="T19" fmla="*/ 0 h 689"/>
                  <a:gd name="T20" fmla="*/ 272 w 437"/>
                  <a:gd name="T21" fmla="*/ 0 h 689"/>
                  <a:gd name="T22" fmla="*/ 320 w 437"/>
                  <a:gd name="T23" fmla="*/ 5 h 689"/>
                  <a:gd name="T24" fmla="*/ 378 w 437"/>
                  <a:gd name="T25" fmla="*/ 21 h 689"/>
                  <a:gd name="T26" fmla="*/ 421 w 437"/>
                  <a:gd name="T27" fmla="*/ 42 h 689"/>
                  <a:gd name="T28" fmla="*/ 426 w 437"/>
                  <a:gd name="T29" fmla="*/ 48 h 689"/>
                  <a:gd name="T30" fmla="*/ 432 w 437"/>
                  <a:gd name="T31" fmla="*/ 58 h 689"/>
                  <a:gd name="T32" fmla="*/ 437 w 437"/>
                  <a:gd name="T33" fmla="*/ 69 h 689"/>
                  <a:gd name="T34" fmla="*/ 432 w 437"/>
                  <a:gd name="T35" fmla="*/ 85 h 689"/>
                  <a:gd name="T36" fmla="*/ 426 w 437"/>
                  <a:gd name="T37" fmla="*/ 138 h 689"/>
                  <a:gd name="T38" fmla="*/ 421 w 437"/>
                  <a:gd name="T39" fmla="*/ 208 h 689"/>
                  <a:gd name="T40" fmla="*/ 421 w 437"/>
                  <a:gd name="T41" fmla="*/ 229 h 689"/>
                  <a:gd name="T42" fmla="*/ 426 w 437"/>
                  <a:gd name="T43" fmla="*/ 245 h 689"/>
                  <a:gd name="T44" fmla="*/ 416 w 437"/>
                  <a:gd name="T45" fmla="*/ 267 h 689"/>
                  <a:gd name="T46" fmla="*/ 410 w 437"/>
                  <a:gd name="T47" fmla="*/ 309 h 689"/>
                  <a:gd name="T48" fmla="*/ 405 w 437"/>
                  <a:gd name="T49" fmla="*/ 384 h 689"/>
                  <a:gd name="T50" fmla="*/ 400 w 437"/>
                  <a:gd name="T51" fmla="*/ 416 h 689"/>
                  <a:gd name="T52" fmla="*/ 410 w 437"/>
                  <a:gd name="T53" fmla="*/ 427 h 689"/>
                  <a:gd name="T54" fmla="*/ 405 w 437"/>
                  <a:gd name="T55" fmla="*/ 448 h 689"/>
                  <a:gd name="T56" fmla="*/ 400 w 437"/>
                  <a:gd name="T57" fmla="*/ 480 h 689"/>
                  <a:gd name="T58" fmla="*/ 389 w 437"/>
                  <a:gd name="T59" fmla="*/ 550 h 689"/>
                  <a:gd name="T60" fmla="*/ 373 w 437"/>
                  <a:gd name="T61" fmla="*/ 619 h 689"/>
                  <a:gd name="T62" fmla="*/ 384 w 437"/>
                  <a:gd name="T63" fmla="*/ 641 h 689"/>
                  <a:gd name="T64" fmla="*/ 378 w 437"/>
                  <a:gd name="T65" fmla="*/ 651 h 689"/>
                  <a:gd name="T66" fmla="*/ 368 w 437"/>
                  <a:gd name="T67" fmla="*/ 657 h 689"/>
                  <a:gd name="T68" fmla="*/ 346 w 437"/>
                  <a:gd name="T69" fmla="*/ 667 h 689"/>
                  <a:gd name="T70" fmla="*/ 309 w 437"/>
                  <a:gd name="T71" fmla="*/ 678 h 689"/>
                  <a:gd name="T72" fmla="*/ 256 w 437"/>
                  <a:gd name="T73" fmla="*/ 683 h 689"/>
                  <a:gd name="T74" fmla="*/ 202 w 437"/>
                  <a:gd name="T75" fmla="*/ 689 h 689"/>
                  <a:gd name="T76" fmla="*/ 181 w 437"/>
                  <a:gd name="T77" fmla="*/ 683 h 689"/>
                  <a:gd name="T78" fmla="*/ 149 w 437"/>
                  <a:gd name="T79" fmla="*/ 683 h 689"/>
                  <a:gd name="T80" fmla="*/ 101 w 437"/>
                  <a:gd name="T81" fmla="*/ 673 h 689"/>
                  <a:gd name="T82" fmla="*/ 58 w 437"/>
                  <a:gd name="T83" fmla="*/ 662 h 689"/>
                  <a:gd name="T84" fmla="*/ 21 w 437"/>
                  <a:gd name="T85" fmla="*/ 635 h 689"/>
                  <a:gd name="T86" fmla="*/ 16 w 437"/>
                  <a:gd name="T87" fmla="*/ 625 h 689"/>
                  <a:gd name="T88" fmla="*/ 10 w 437"/>
                  <a:gd name="T89" fmla="*/ 603 h 689"/>
                  <a:gd name="T90" fmla="*/ 21 w 437"/>
                  <a:gd name="T91" fmla="*/ 582 h 689"/>
                  <a:gd name="T92" fmla="*/ 21 w 437"/>
                  <a:gd name="T93" fmla="*/ 443 h 689"/>
                  <a:gd name="T94" fmla="*/ 16 w 437"/>
                  <a:gd name="T95" fmla="*/ 438 h 689"/>
                  <a:gd name="T96" fmla="*/ 10 w 437"/>
                  <a:gd name="T97" fmla="*/ 416 h 689"/>
                  <a:gd name="T98" fmla="*/ 21 w 437"/>
                  <a:gd name="T99" fmla="*/ 384 h 689"/>
                  <a:gd name="T100" fmla="*/ 16 w 437"/>
                  <a:gd name="T101" fmla="*/ 251 h 689"/>
                  <a:gd name="T102" fmla="*/ 10 w 437"/>
                  <a:gd name="T103" fmla="*/ 245 h 689"/>
                  <a:gd name="T104" fmla="*/ 5 w 437"/>
                  <a:gd name="T105" fmla="*/ 229 h 689"/>
                  <a:gd name="T106" fmla="*/ 16 w 437"/>
                  <a:gd name="T107" fmla="*/ 208 h 689"/>
                  <a:gd name="T108" fmla="*/ 10 w 437"/>
                  <a:gd name="T109" fmla="*/ 160 h 689"/>
                  <a:gd name="T110" fmla="*/ 5 w 437"/>
                  <a:gd name="T111" fmla="*/ 96 h 689"/>
                  <a:gd name="T112" fmla="*/ 0 w 437"/>
                  <a:gd name="T113" fmla="*/ 69 h 68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37"/>
                  <a:gd name="T172" fmla="*/ 0 h 689"/>
                  <a:gd name="T173" fmla="*/ 437 w 437"/>
                  <a:gd name="T174" fmla="*/ 689 h 68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37" h="689">
                    <a:moveTo>
                      <a:pt x="5" y="53"/>
                    </a:moveTo>
                    <a:lnTo>
                      <a:pt x="5" y="53"/>
                    </a:lnTo>
                    <a:lnTo>
                      <a:pt x="5" y="48"/>
                    </a:lnTo>
                    <a:lnTo>
                      <a:pt x="10" y="42"/>
                    </a:lnTo>
                    <a:lnTo>
                      <a:pt x="16" y="37"/>
                    </a:lnTo>
                    <a:lnTo>
                      <a:pt x="21" y="32"/>
                    </a:lnTo>
                    <a:lnTo>
                      <a:pt x="26" y="32"/>
                    </a:lnTo>
                    <a:lnTo>
                      <a:pt x="32" y="32"/>
                    </a:lnTo>
                    <a:lnTo>
                      <a:pt x="37" y="26"/>
                    </a:lnTo>
                    <a:lnTo>
                      <a:pt x="48" y="26"/>
                    </a:lnTo>
                    <a:lnTo>
                      <a:pt x="53" y="21"/>
                    </a:lnTo>
                    <a:lnTo>
                      <a:pt x="64" y="16"/>
                    </a:lnTo>
                    <a:lnTo>
                      <a:pt x="80" y="16"/>
                    </a:lnTo>
                    <a:lnTo>
                      <a:pt x="90" y="10"/>
                    </a:lnTo>
                    <a:lnTo>
                      <a:pt x="106" y="10"/>
                    </a:lnTo>
                    <a:lnTo>
                      <a:pt x="122" y="5"/>
                    </a:lnTo>
                    <a:lnTo>
                      <a:pt x="138" y="5"/>
                    </a:lnTo>
                    <a:lnTo>
                      <a:pt x="154" y="0"/>
                    </a:lnTo>
                    <a:lnTo>
                      <a:pt x="170" y="0"/>
                    </a:lnTo>
                    <a:lnTo>
                      <a:pt x="186" y="0"/>
                    </a:lnTo>
                    <a:lnTo>
                      <a:pt x="202" y="0"/>
                    </a:lnTo>
                    <a:lnTo>
                      <a:pt x="208" y="0"/>
                    </a:lnTo>
                    <a:lnTo>
                      <a:pt x="213" y="0"/>
                    </a:lnTo>
                    <a:lnTo>
                      <a:pt x="224" y="0"/>
                    </a:lnTo>
                    <a:lnTo>
                      <a:pt x="234" y="0"/>
                    </a:lnTo>
                    <a:lnTo>
                      <a:pt x="245" y="0"/>
                    </a:lnTo>
                    <a:lnTo>
                      <a:pt x="256" y="0"/>
                    </a:lnTo>
                    <a:lnTo>
                      <a:pt x="272" y="0"/>
                    </a:lnTo>
                    <a:lnTo>
                      <a:pt x="288" y="0"/>
                    </a:lnTo>
                    <a:lnTo>
                      <a:pt x="304" y="5"/>
                    </a:lnTo>
                    <a:lnTo>
                      <a:pt x="320" y="5"/>
                    </a:lnTo>
                    <a:lnTo>
                      <a:pt x="341" y="10"/>
                    </a:lnTo>
                    <a:lnTo>
                      <a:pt x="357" y="16"/>
                    </a:lnTo>
                    <a:lnTo>
                      <a:pt x="378" y="21"/>
                    </a:lnTo>
                    <a:lnTo>
                      <a:pt x="400" y="32"/>
                    </a:lnTo>
                    <a:lnTo>
                      <a:pt x="416" y="37"/>
                    </a:lnTo>
                    <a:lnTo>
                      <a:pt x="421" y="42"/>
                    </a:lnTo>
                    <a:lnTo>
                      <a:pt x="426" y="48"/>
                    </a:lnTo>
                    <a:lnTo>
                      <a:pt x="432" y="53"/>
                    </a:lnTo>
                    <a:lnTo>
                      <a:pt x="432" y="58"/>
                    </a:lnTo>
                    <a:lnTo>
                      <a:pt x="432" y="64"/>
                    </a:lnTo>
                    <a:lnTo>
                      <a:pt x="437" y="64"/>
                    </a:lnTo>
                    <a:lnTo>
                      <a:pt x="437" y="69"/>
                    </a:lnTo>
                    <a:lnTo>
                      <a:pt x="437" y="74"/>
                    </a:lnTo>
                    <a:lnTo>
                      <a:pt x="432" y="80"/>
                    </a:lnTo>
                    <a:lnTo>
                      <a:pt x="432" y="85"/>
                    </a:lnTo>
                    <a:lnTo>
                      <a:pt x="432" y="96"/>
                    </a:lnTo>
                    <a:lnTo>
                      <a:pt x="432" y="117"/>
                    </a:lnTo>
                    <a:lnTo>
                      <a:pt x="426" y="138"/>
                    </a:lnTo>
                    <a:lnTo>
                      <a:pt x="426" y="165"/>
                    </a:lnTo>
                    <a:lnTo>
                      <a:pt x="421" y="187"/>
                    </a:lnTo>
                    <a:lnTo>
                      <a:pt x="421" y="208"/>
                    </a:lnTo>
                    <a:lnTo>
                      <a:pt x="416" y="224"/>
                    </a:lnTo>
                    <a:lnTo>
                      <a:pt x="421" y="229"/>
                    </a:lnTo>
                    <a:lnTo>
                      <a:pt x="426" y="235"/>
                    </a:lnTo>
                    <a:lnTo>
                      <a:pt x="426" y="240"/>
                    </a:lnTo>
                    <a:lnTo>
                      <a:pt x="426" y="245"/>
                    </a:lnTo>
                    <a:lnTo>
                      <a:pt x="426" y="251"/>
                    </a:lnTo>
                    <a:lnTo>
                      <a:pt x="426" y="261"/>
                    </a:lnTo>
                    <a:lnTo>
                      <a:pt x="416" y="267"/>
                    </a:lnTo>
                    <a:lnTo>
                      <a:pt x="416" y="272"/>
                    </a:lnTo>
                    <a:lnTo>
                      <a:pt x="416" y="288"/>
                    </a:lnTo>
                    <a:lnTo>
                      <a:pt x="410" y="309"/>
                    </a:lnTo>
                    <a:lnTo>
                      <a:pt x="410" y="336"/>
                    </a:lnTo>
                    <a:lnTo>
                      <a:pt x="405" y="363"/>
                    </a:lnTo>
                    <a:lnTo>
                      <a:pt x="405" y="384"/>
                    </a:lnTo>
                    <a:lnTo>
                      <a:pt x="400" y="406"/>
                    </a:lnTo>
                    <a:lnTo>
                      <a:pt x="400" y="416"/>
                    </a:lnTo>
                    <a:lnTo>
                      <a:pt x="405" y="416"/>
                    </a:lnTo>
                    <a:lnTo>
                      <a:pt x="405" y="422"/>
                    </a:lnTo>
                    <a:lnTo>
                      <a:pt x="410" y="427"/>
                    </a:lnTo>
                    <a:lnTo>
                      <a:pt x="410" y="432"/>
                    </a:lnTo>
                    <a:lnTo>
                      <a:pt x="410" y="438"/>
                    </a:lnTo>
                    <a:lnTo>
                      <a:pt x="405" y="448"/>
                    </a:lnTo>
                    <a:lnTo>
                      <a:pt x="400" y="459"/>
                    </a:lnTo>
                    <a:lnTo>
                      <a:pt x="400" y="464"/>
                    </a:lnTo>
                    <a:lnTo>
                      <a:pt x="400" y="480"/>
                    </a:lnTo>
                    <a:lnTo>
                      <a:pt x="394" y="502"/>
                    </a:lnTo>
                    <a:lnTo>
                      <a:pt x="394" y="523"/>
                    </a:lnTo>
                    <a:lnTo>
                      <a:pt x="389" y="550"/>
                    </a:lnTo>
                    <a:lnTo>
                      <a:pt x="384" y="576"/>
                    </a:lnTo>
                    <a:lnTo>
                      <a:pt x="378" y="603"/>
                    </a:lnTo>
                    <a:lnTo>
                      <a:pt x="373" y="619"/>
                    </a:lnTo>
                    <a:lnTo>
                      <a:pt x="378" y="625"/>
                    </a:lnTo>
                    <a:lnTo>
                      <a:pt x="378" y="630"/>
                    </a:lnTo>
                    <a:lnTo>
                      <a:pt x="384" y="641"/>
                    </a:lnTo>
                    <a:lnTo>
                      <a:pt x="378" y="651"/>
                    </a:lnTo>
                    <a:lnTo>
                      <a:pt x="373" y="657"/>
                    </a:lnTo>
                    <a:lnTo>
                      <a:pt x="368" y="657"/>
                    </a:lnTo>
                    <a:lnTo>
                      <a:pt x="362" y="662"/>
                    </a:lnTo>
                    <a:lnTo>
                      <a:pt x="357" y="667"/>
                    </a:lnTo>
                    <a:lnTo>
                      <a:pt x="346" y="667"/>
                    </a:lnTo>
                    <a:lnTo>
                      <a:pt x="336" y="673"/>
                    </a:lnTo>
                    <a:lnTo>
                      <a:pt x="325" y="678"/>
                    </a:lnTo>
                    <a:lnTo>
                      <a:pt x="309" y="678"/>
                    </a:lnTo>
                    <a:lnTo>
                      <a:pt x="293" y="683"/>
                    </a:lnTo>
                    <a:lnTo>
                      <a:pt x="272" y="683"/>
                    </a:lnTo>
                    <a:lnTo>
                      <a:pt x="256" y="683"/>
                    </a:lnTo>
                    <a:lnTo>
                      <a:pt x="229" y="689"/>
                    </a:lnTo>
                    <a:lnTo>
                      <a:pt x="202" y="689"/>
                    </a:lnTo>
                    <a:lnTo>
                      <a:pt x="197" y="689"/>
                    </a:lnTo>
                    <a:lnTo>
                      <a:pt x="192" y="689"/>
                    </a:lnTo>
                    <a:lnTo>
                      <a:pt x="181" y="683"/>
                    </a:lnTo>
                    <a:lnTo>
                      <a:pt x="170" y="683"/>
                    </a:lnTo>
                    <a:lnTo>
                      <a:pt x="160" y="683"/>
                    </a:lnTo>
                    <a:lnTo>
                      <a:pt x="149" y="683"/>
                    </a:lnTo>
                    <a:lnTo>
                      <a:pt x="133" y="683"/>
                    </a:lnTo>
                    <a:lnTo>
                      <a:pt x="117" y="678"/>
                    </a:lnTo>
                    <a:lnTo>
                      <a:pt x="101" y="673"/>
                    </a:lnTo>
                    <a:lnTo>
                      <a:pt x="90" y="673"/>
                    </a:lnTo>
                    <a:lnTo>
                      <a:pt x="74" y="667"/>
                    </a:lnTo>
                    <a:lnTo>
                      <a:pt x="58" y="662"/>
                    </a:lnTo>
                    <a:lnTo>
                      <a:pt x="42" y="651"/>
                    </a:lnTo>
                    <a:lnTo>
                      <a:pt x="32" y="646"/>
                    </a:lnTo>
                    <a:lnTo>
                      <a:pt x="21" y="635"/>
                    </a:lnTo>
                    <a:lnTo>
                      <a:pt x="16" y="630"/>
                    </a:lnTo>
                    <a:lnTo>
                      <a:pt x="16" y="625"/>
                    </a:lnTo>
                    <a:lnTo>
                      <a:pt x="10" y="619"/>
                    </a:lnTo>
                    <a:lnTo>
                      <a:pt x="10" y="614"/>
                    </a:lnTo>
                    <a:lnTo>
                      <a:pt x="10" y="603"/>
                    </a:lnTo>
                    <a:lnTo>
                      <a:pt x="16" y="598"/>
                    </a:lnTo>
                    <a:lnTo>
                      <a:pt x="21" y="592"/>
                    </a:lnTo>
                    <a:lnTo>
                      <a:pt x="21" y="582"/>
                    </a:lnTo>
                    <a:lnTo>
                      <a:pt x="21" y="544"/>
                    </a:lnTo>
                    <a:lnTo>
                      <a:pt x="21" y="496"/>
                    </a:lnTo>
                    <a:lnTo>
                      <a:pt x="21" y="443"/>
                    </a:lnTo>
                    <a:lnTo>
                      <a:pt x="16" y="443"/>
                    </a:lnTo>
                    <a:lnTo>
                      <a:pt x="16" y="438"/>
                    </a:lnTo>
                    <a:lnTo>
                      <a:pt x="10" y="432"/>
                    </a:lnTo>
                    <a:lnTo>
                      <a:pt x="10" y="422"/>
                    </a:lnTo>
                    <a:lnTo>
                      <a:pt x="10" y="416"/>
                    </a:lnTo>
                    <a:lnTo>
                      <a:pt x="16" y="406"/>
                    </a:lnTo>
                    <a:lnTo>
                      <a:pt x="21" y="400"/>
                    </a:lnTo>
                    <a:lnTo>
                      <a:pt x="21" y="384"/>
                    </a:lnTo>
                    <a:lnTo>
                      <a:pt x="16" y="341"/>
                    </a:lnTo>
                    <a:lnTo>
                      <a:pt x="16" y="293"/>
                    </a:lnTo>
                    <a:lnTo>
                      <a:pt x="16" y="251"/>
                    </a:lnTo>
                    <a:lnTo>
                      <a:pt x="10" y="251"/>
                    </a:lnTo>
                    <a:lnTo>
                      <a:pt x="10" y="245"/>
                    </a:lnTo>
                    <a:lnTo>
                      <a:pt x="5" y="240"/>
                    </a:lnTo>
                    <a:lnTo>
                      <a:pt x="5" y="235"/>
                    </a:lnTo>
                    <a:lnTo>
                      <a:pt x="5" y="229"/>
                    </a:lnTo>
                    <a:lnTo>
                      <a:pt x="10" y="219"/>
                    </a:lnTo>
                    <a:lnTo>
                      <a:pt x="16" y="213"/>
                    </a:lnTo>
                    <a:lnTo>
                      <a:pt x="16" y="208"/>
                    </a:lnTo>
                    <a:lnTo>
                      <a:pt x="16" y="197"/>
                    </a:lnTo>
                    <a:lnTo>
                      <a:pt x="10" y="181"/>
                    </a:lnTo>
                    <a:lnTo>
                      <a:pt x="10" y="160"/>
                    </a:lnTo>
                    <a:lnTo>
                      <a:pt x="5" y="138"/>
                    </a:lnTo>
                    <a:lnTo>
                      <a:pt x="5" y="117"/>
                    </a:lnTo>
                    <a:lnTo>
                      <a:pt x="5" y="96"/>
                    </a:lnTo>
                    <a:lnTo>
                      <a:pt x="5" y="74"/>
                    </a:lnTo>
                    <a:lnTo>
                      <a:pt x="0" y="69"/>
                    </a:lnTo>
                    <a:lnTo>
                      <a:pt x="0" y="64"/>
                    </a:lnTo>
                    <a:lnTo>
                      <a:pt x="5" y="53"/>
                    </a:lnTo>
                    <a:close/>
                  </a:path>
                </a:pathLst>
              </a:custGeom>
              <a:solidFill>
                <a:srgbClr val="009EE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12" name="Freeform 3823"/>
              <p:cNvSpPr>
                <a:spLocks/>
              </p:cNvSpPr>
              <p:nvPr/>
            </p:nvSpPr>
            <p:spPr bwMode="auto">
              <a:xfrm>
                <a:off x="4585" y="2424"/>
                <a:ext cx="390" cy="657"/>
              </a:xfrm>
              <a:custGeom>
                <a:avLst/>
                <a:gdLst>
                  <a:gd name="T0" fmla="*/ 0 w 390"/>
                  <a:gd name="T1" fmla="*/ 48 h 657"/>
                  <a:gd name="T2" fmla="*/ 6 w 390"/>
                  <a:gd name="T3" fmla="*/ 37 h 657"/>
                  <a:gd name="T4" fmla="*/ 16 w 390"/>
                  <a:gd name="T5" fmla="*/ 32 h 657"/>
                  <a:gd name="T6" fmla="*/ 22 w 390"/>
                  <a:gd name="T7" fmla="*/ 32 h 657"/>
                  <a:gd name="T8" fmla="*/ 48 w 390"/>
                  <a:gd name="T9" fmla="*/ 21 h 657"/>
                  <a:gd name="T10" fmla="*/ 80 w 390"/>
                  <a:gd name="T11" fmla="*/ 10 h 657"/>
                  <a:gd name="T12" fmla="*/ 118 w 390"/>
                  <a:gd name="T13" fmla="*/ 5 h 657"/>
                  <a:gd name="T14" fmla="*/ 166 w 390"/>
                  <a:gd name="T15" fmla="*/ 0 h 657"/>
                  <a:gd name="T16" fmla="*/ 187 w 390"/>
                  <a:gd name="T17" fmla="*/ 0 h 657"/>
                  <a:gd name="T18" fmla="*/ 208 w 390"/>
                  <a:gd name="T19" fmla="*/ 0 h 657"/>
                  <a:gd name="T20" fmla="*/ 240 w 390"/>
                  <a:gd name="T21" fmla="*/ 0 h 657"/>
                  <a:gd name="T22" fmla="*/ 288 w 390"/>
                  <a:gd name="T23" fmla="*/ 10 h 657"/>
                  <a:gd name="T24" fmla="*/ 342 w 390"/>
                  <a:gd name="T25" fmla="*/ 21 h 657"/>
                  <a:gd name="T26" fmla="*/ 374 w 390"/>
                  <a:gd name="T27" fmla="*/ 37 h 657"/>
                  <a:gd name="T28" fmla="*/ 384 w 390"/>
                  <a:gd name="T29" fmla="*/ 48 h 657"/>
                  <a:gd name="T30" fmla="*/ 390 w 390"/>
                  <a:gd name="T31" fmla="*/ 58 h 657"/>
                  <a:gd name="T32" fmla="*/ 390 w 390"/>
                  <a:gd name="T33" fmla="*/ 69 h 657"/>
                  <a:gd name="T34" fmla="*/ 384 w 390"/>
                  <a:gd name="T35" fmla="*/ 85 h 657"/>
                  <a:gd name="T36" fmla="*/ 374 w 390"/>
                  <a:gd name="T37" fmla="*/ 213 h 657"/>
                  <a:gd name="T38" fmla="*/ 379 w 390"/>
                  <a:gd name="T39" fmla="*/ 224 h 657"/>
                  <a:gd name="T40" fmla="*/ 384 w 390"/>
                  <a:gd name="T41" fmla="*/ 240 h 657"/>
                  <a:gd name="T42" fmla="*/ 374 w 390"/>
                  <a:gd name="T43" fmla="*/ 277 h 657"/>
                  <a:gd name="T44" fmla="*/ 363 w 390"/>
                  <a:gd name="T45" fmla="*/ 400 h 657"/>
                  <a:gd name="T46" fmla="*/ 368 w 390"/>
                  <a:gd name="T47" fmla="*/ 406 h 657"/>
                  <a:gd name="T48" fmla="*/ 368 w 390"/>
                  <a:gd name="T49" fmla="*/ 422 h 657"/>
                  <a:gd name="T50" fmla="*/ 358 w 390"/>
                  <a:gd name="T51" fmla="*/ 443 h 657"/>
                  <a:gd name="T52" fmla="*/ 352 w 390"/>
                  <a:gd name="T53" fmla="*/ 502 h 657"/>
                  <a:gd name="T54" fmla="*/ 342 w 390"/>
                  <a:gd name="T55" fmla="*/ 576 h 657"/>
                  <a:gd name="T56" fmla="*/ 336 w 390"/>
                  <a:gd name="T57" fmla="*/ 603 h 657"/>
                  <a:gd name="T58" fmla="*/ 331 w 390"/>
                  <a:gd name="T59" fmla="*/ 625 h 657"/>
                  <a:gd name="T60" fmla="*/ 326 w 390"/>
                  <a:gd name="T61" fmla="*/ 630 h 657"/>
                  <a:gd name="T62" fmla="*/ 315 w 390"/>
                  <a:gd name="T63" fmla="*/ 635 h 657"/>
                  <a:gd name="T64" fmla="*/ 288 w 390"/>
                  <a:gd name="T65" fmla="*/ 646 h 657"/>
                  <a:gd name="T66" fmla="*/ 246 w 390"/>
                  <a:gd name="T67" fmla="*/ 651 h 657"/>
                  <a:gd name="T68" fmla="*/ 182 w 390"/>
                  <a:gd name="T69" fmla="*/ 657 h 657"/>
                  <a:gd name="T70" fmla="*/ 171 w 390"/>
                  <a:gd name="T71" fmla="*/ 657 h 657"/>
                  <a:gd name="T72" fmla="*/ 139 w 390"/>
                  <a:gd name="T73" fmla="*/ 651 h 657"/>
                  <a:gd name="T74" fmla="*/ 102 w 390"/>
                  <a:gd name="T75" fmla="*/ 646 h 657"/>
                  <a:gd name="T76" fmla="*/ 64 w 390"/>
                  <a:gd name="T77" fmla="*/ 635 h 657"/>
                  <a:gd name="T78" fmla="*/ 27 w 390"/>
                  <a:gd name="T79" fmla="*/ 614 h 657"/>
                  <a:gd name="T80" fmla="*/ 16 w 390"/>
                  <a:gd name="T81" fmla="*/ 603 h 657"/>
                  <a:gd name="T82" fmla="*/ 11 w 390"/>
                  <a:gd name="T83" fmla="*/ 587 h 657"/>
                  <a:gd name="T84" fmla="*/ 27 w 390"/>
                  <a:gd name="T85" fmla="*/ 566 h 657"/>
                  <a:gd name="T86" fmla="*/ 16 w 390"/>
                  <a:gd name="T87" fmla="*/ 475 h 657"/>
                  <a:gd name="T88" fmla="*/ 11 w 390"/>
                  <a:gd name="T89" fmla="*/ 422 h 657"/>
                  <a:gd name="T90" fmla="*/ 6 w 390"/>
                  <a:gd name="T91" fmla="*/ 406 h 657"/>
                  <a:gd name="T92" fmla="*/ 16 w 390"/>
                  <a:gd name="T93" fmla="*/ 379 h 657"/>
                  <a:gd name="T94" fmla="*/ 11 w 390"/>
                  <a:gd name="T95" fmla="*/ 283 h 657"/>
                  <a:gd name="T96" fmla="*/ 6 w 390"/>
                  <a:gd name="T97" fmla="*/ 240 h 657"/>
                  <a:gd name="T98" fmla="*/ 0 w 390"/>
                  <a:gd name="T99" fmla="*/ 224 h 657"/>
                  <a:gd name="T100" fmla="*/ 11 w 390"/>
                  <a:gd name="T101" fmla="*/ 208 h 657"/>
                  <a:gd name="T102" fmla="*/ 11 w 390"/>
                  <a:gd name="T103" fmla="*/ 112 h 657"/>
                  <a:gd name="T104" fmla="*/ 6 w 390"/>
                  <a:gd name="T105" fmla="*/ 69 h 657"/>
                  <a:gd name="T106" fmla="*/ 0 w 390"/>
                  <a:gd name="T107" fmla="*/ 64 h 657"/>
                  <a:gd name="T108" fmla="*/ 0 w 390"/>
                  <a:gd name="T109" fmla="*/ 53 h 657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90"/>
                  <a:gd name="T166" fmla="*/ 0 h 657"/>
                  <a:gd name="T167" fmla="*/ 390 w 390"/>
                  <a:gd name="T168" fmla="*/ 657 h 657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90" h="657">
                    <a:moveTo>
                      <a:pt x="0" y="53"/>
                    </a:moveTo>
                    <a:lnTo>
                      <a:pt x="0" y="48"/>
                    </a:lnTo>
                    <a:lnTo>
                      <a:pt x="6" y="42"/>
                    </a:lnTo>
                    <a:lnTo>
                      <a:pt x="6" y="37"/>
                    </a:lnTo>
                    <a:lnTo>
                      <a:pt x="11" y="37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32" y="26"/>
                    </a:lnTo>
                    <a:lnTo>
                      <a:pt x="38" y="26"/>
                    </a:lnTo>
                    <a:lnTo>
                      <a:pt x="48" y="21"/>
                    </a:lnTo>
                    <a:lnTo>
                      <a:pt x="54" y="21"/>
                    </a:lnTo>
                    <a:lnTo>
                      <a:pt x="70" y="16"/>
                    </a:lnTo>
                    <a:lnTo>
                      <a:pt x="80" y="10"/>
                    </a:lnTo>
                    <a:lnTo>
                      <a:pt x="91" y="10"/>
                    </a:lnTo>
                    <a:lnTo>
                      <a:pt x="107" y="5"/>
                    </a:lnTo>
                    <a:lnTo>
                      <a:pt x="118" y="5"/>
                    </a:lnTo>
                    <a:lnTo>
                      <a:pt x="134" y="5"/>
                    </a:lnTo>
                    <a:lnTo>
                      <a:pt x="150" y="0"/>
                    </a:lnTo>
                    <a:lnTo>
                      <a:pt x="166" y="0"/>
                    </a:lnTo>
                    <a:lnTo>
                      <a:pt x="182" y="0"/>
                    </a:lnTo>
                    <a:lnTo>
                      <a:pt x="187" y="0"/>
                    </a:lnTo>
                    <a:lnTo>
                      <a:pt x="192" y="0"/>
                    </a:lnTo>
                    <a:lnTo>
                      <a:pt x="198" y="0"/>
                    </a:lnTo>
                    <a:lnTo>
                      <a:pt x="208" y="0"/>
                    </a:lnTo>
                    <a:lnTo>
                      <a:pt x="219" y="0"/>
                    </a:lnTo>
                    <a:lnTo>
                      <a:pt x="230" y="0"/>
                    </a:lnTo>
                    <a:lnTo>
                      <a:pt x="240" y="0"/>
                    </a:lnTo>
                    <a:lnTo>
                      <a:pt x="256" y="5"/>
                    </a:lnTo>
                    <a:lnTo>
                      <a:pt x="272" y="5"/>
                    </a:lnTo>
                    <a:lnTo>
                      <a:pt x="288" y="10"/>
                    </a:lnTo>
                    <a:lnTo>
                      <a:pt x="304" y="10"/>
                    </a:lnTo>
                    <a:lnTo>
                      <a:pt x="320" y="16"/>
                    </a:lnTo>
                    <a:lnTo>
                      <a:pt x="342" y="21"/>
                    </a:lnTo>
                    <a:lnTo>
                      <a:pt x="358" y="32"/>
                    </a:lnTo>
                    <a:lnTo>
                      <a:pt x="374" y="37"/>
                    </a:lnTo>
                    <a:lnTo>
                      <a:pt x="379" y="42"/>
                    </a:lnTo>
                    <a:lnTo>
                      <a:pt x="384" y="48"/>
                    </a:lnTo>
                    <a:lnTo>
                      <a:pt x="390" y="53"/>
                    </a:lnTo>
                    <a:lnTo>
                      <a:pt x="390" y="58"/>
                    </a:lnTo>
                    <a:lnTo>
                      <a:pt x="390" y="64"/>
                    </a:lnTo>
                    <a:lnTo>
                      <a:pt x="390" y="69"/>
                    </a:lnTo>
                    <a:lnTo>
                      <a:pt x="390" y="74"/>
                    </a:lnTo>
                    <a:lnTo>
                      <a:pt x="379" y="74"/>
                    </a:lnTo>
                    <a:lnTo>
                      <a:pt x="384" y="85"/>
                    </a:lnTo>
                    <a:lnTo>
                      <a:pt x="379" y="117"/>
                    </a:lnTo>
                    <a:lnTo>
                      <a:pt x="379" y="160"/>
                    </a:lnTo>
                    <a:lnTo>
                      <a:pt x="374" y="213"/>
                    </a:lnTo>
                    <a:lnTo>
                      <a:pt x="379" y="219"/>
                    </a:lnTo>
                    <a:lnTo>
                      <a:pt x="379" y="224"/>
                    </a:lnTo>
                    <a:lnTo>
                      <a:pt x="384" y="229"/>
                    </a:lnTo>
                    <a:lnTo>
                      <a:pt x="384" y="235"/>
                    </a:lnTo>
                    <a:lnTo>
                      <a:pt x="384" y="240"/>
                    </a:lnTo>
                    <a:lnTo>
                      <a:pt x="379" y="251"/>
                    </a:lnTo>
                    <a:lnTo>
                      <a:pt x="374" y="256"/>
                    </a:lnTo>
                    <a:lnTo>
                      <a:pt x="374" y="277"/>
                    </a:lnTo>
                    <a:lnTo>
                      <a:pt x="368" y="320"/>
                    </a:lnTo>
                    <a:lnTo>
                      <a:pt x="368" y="368"/>
                    </a:lnTo>
                    <a:lnTo>
                      <a:pt x="363" y="400"/>
                    </a:lnTo>
                    <a:lnTo>
                      <a:pt x="368" y="406"/>
                    </a:lnTo>
                    <a:lnTo>
                      <a:pt x="368" y="411"/>
                    </a:lnTo>
                    <a:lnTo>
                      <a:pt x="368" y="416"/>
                    </a:lnTo>
                    <a:lnTo>
                      <a:pt x="368" y="422"/>
                    </a:lnTo>
                    <a:lnTo>
                      <a:pt x="363" y="427"/>
                    </a:lnTo>
                    <a:lnTo>
                      <a:pt x="358" y="438"/>
                    </a:lnTo>
                    <a:lnTo>
                      <a:pt x="358" y="443"/>
                    </a:lnTo>
                    <a:lnTo>
                      <a:pt x="358" y="459"/>
                    </a:lnTo>
                    <a:lnTo>
                      <a:pt x="352" y="475"/>
                    </a:lnTo>
                    <a:lnTo>
                      <a:pt x="352" y="502"/>
                    </a:lnTo>
                    <a:lnTo>
                      <a:pt x="347" y="528"/>
                    </a:lnTo>
                    <a:lnTo>
                      <a:pt x="342" y="550"/>
                    </a:lnTo>
                    <a:lnTo>
                      <a:pt x="342" y="576"/>
                    </a:lnTo>
                    <a:lnTo>
                      <a:pt x="336" y="592"/>
                    </a:lnTo>
                    <a:lnTo>
                      <a:pt x="336" y="598"/>
                    </a:lnTo>
                    <a:lnTo>
                      <a:pt x="336" y="603"/>
                    </a:lnTo>
                    <a:lnTo>
                      <a:pt x="336" y="614"/>
                    </a:lnTo>
                    <a:lnTo>
                      <a:pt x="331" y="625"/>
                    </a:lnTo>
                    <a:lnTo>
                      <a:pt x="326" y="630"/>
                    </a:lnTo>
                    <a:lnTo>
                      <a:pt x="320" y="635"/>
                    </a:lnTo>
                    <a:lnTo>
                      <a:pt x="315" y="635"/>
                    </a:lnTo>
                    <a:lnTo>
                      <a:pt x="304" y="641"/>
                    </a:lnTo>
                    <a:lnTo>
                      <a:pt x="299" y="646"/>
                    </a:lnTo>
                    <a:lnTo>
                      <a:pt x="288" y="646"/>
                    </a:lnTo>
                    <a:lnTo>
                      <a:pt x="272" y="651"/>
                    </a:lnTo>
                    <a:lnTo>
                      <a:pt x="262" y="651"/>
                    </a:lnTo>
                    <a:lnTo>
                      <a:pt x="246" y="651"/>
                    </a:lnTo>
                    <a:lnTo>
                      <a:pt x="224" y="657"/>
                    </a:lnTo>
                    <a:lnTo>
                      <a:pt x="203" y="657"/>
                    </a:lnTo>
                    <a:lnTo>
                      <a:pt x="182" y="657"/>
                    </a:lnTo>
                    <a:lnTo>
                      <a:pt x="176" y="657"/>
                    </a:lnTo>
                    <a:lnTo>
                      <a:pt x="171" y="657"/>
                    </a:lnTo>
                    <a:lnTo>
                      <a:pt x="160" y="657"/>
                    </a:lnTo>
                    <a:lnTo>
                      <a:pt x="150" y="651"/>
                    </a:lnTo>
                    <a:lnTo>
                      <a:pt x="139" y="651"/>
                    </a:lnTo>
                    <a:lnTo>
                      <a:pt x="128" y="651"/>
                    </a:lnTo>
                    <a:lnTo>
                      <a:pt x="118" y="651"/>
                    </a:lnTo>
                    <a:lnTo>
                      <a:pt x="102" y="646"/>
                    </a:lnTo>
                    <a:lnTo>
                      <a:pt x="91" y="646"/>
                    </a:lnTo>
                    <a:lnTo>
                      <a:pt x="75" y="641"/>
                    </a:lnTo>
                    <a:lnTo>
                      <a:pt x="64" y="635"/>
                    </a:lnTo>
                    <a:lnTo>
                      <a:pt x="48" y="630"/>
                    </a:lnTo>
                    <a:lnTo>
                      <a:pt x="38" y="625"/>
                    </a:lnTo>
                    <a:lnTo>
                      <a:pt x="27" y="614"/>
                    </a:lnTo>
                    <a:lnTo>
                      <a:pt x="16" y="609"/>
                    </a:lnTo>
                    <a:lnTo>
                      <a:pt x="16" y="603"/>
                    </a:lnTo>
                    <a:lnTo>
                      <a:pt x="11" y="598"/>
                    </a:lnTo>
                    <a:lnTo>
                      <a:pt x="11" y="592"/>
                    </a:lnTo>
                    <a:lnTo>
                      <a:pt x="11" y="587"/>
                    </a:lnTo>
                    <a:lnTo>
                      <a:pt x="11" y="576"/>
                    </a:lnTo>
                    <a:lnTo>
                      <a:pt x="16" y="571"/>
                    </a:lnTo>
                    <a:lnTo>
                      <a:pt x="27" y="566"/>
                    </a:lnTo>
                    <a:lnTo>
                      <a:pt x="27" y="555"/>
                    </a:lnTo>
                    <a:lnTo>
                      <a:pt x="22" y="523"/>
                    </a:lnTo>
                    <a:lnTo>
                      <a:pt x="16" y="475"/>
                    </a:lnTo>
                    <a:lnTo>
                      <a:pt x="16" y="427"/>
                    </a:lnTo>
                    <a:lnTo>
                      <a:pt x="16" y="422"/>
                    </a:lnTo>
                    <a:lnTo>
                      <a:pt x="11" y="422"/>
                    </a:lnTo>
                    <a:lnTo>
                      <a:pt x="11" y="416"/>
                    </a:lnTo>
                    <a:lnTo>
                      <a:pt x="6" y="411"/>
                    </a:lnTo>
                    <a:lnTo>
                      <a:pt x="6" y="406"/>
                    </a:lnTo>
                    <a:lnTo>
                      <a:pt x="6" y="395"/>
                    </a:lnTo>
                    <a:lnTo>
                      <a:pt x="6" y="390"/>
                    </a:lnTo>
                    <a:lnTo>
                      <a:pt x="16" y="379"/>
                    </a:lnTo>
                    <a:lnTo>
                      <a:pt x="16" y="363"/>
                    </a:lnTo>
                    <a:lnTo>
                      <a:pt x="11" y="325"/>
                    </a:lnTo>
                    <a:lnTo>
                      <a:pt x="11" y="283"/>
                    </a:lnTo>
                    <a:lnTo>
                      <a:pt x="11" y="240"/>
                    </a:lnTo>
                    <a:lnTo>
                      <a:pt x="6" y="240"/>
                    </a:lnTo>
                    <a:lnTo>
                      <a:pt x="6" y="235"/>
                    </a:lnTo>
                    <a:lnTo>
                      <a:pt x="0" y="229"/>
                    </a:lnTo>
                    <a:lnTo>
                      <a:pt x="0" y="224"/>
                    </a:lnTo>
                    <a:lnTo>
                      <a:pt x="0" y="219"/>
                    </a:lnTo>
                    <a:lnTo>
                      <a:pt x="6" y="213"/>
                    </a:lnTo>
                    <a:lnTo>
                      <a:pt x="11" y="208"/>
                    </a:lnTo>
                    <a:lnTo>
                      <a:pt x="11" y="192"/>
                    </a:lnTo>
                    <a:lnTo>
                      <a:pt x="11" y="155"/>
                    </a:lnTo>
                    <a:lnTo>
                      <a:pt x="11" y="112"/>
                    </a:lnTo>
                    <a:lnTo>
                      <a:pt x="11" y="74"/>
                    </a:lnTo>
                    <a:lnTo>
                      <a:pt x="6" y="69"/>
                    </a:lnTo>
                    <a:lnTo>
                      <a:pt x="0" y="64"/>
                    </a:lnTo>
                    <a:lnTo>
                      <a:pt x="0" y="58"/>
                    </a:lnTo>
                    <a:lnTo>
                      <a:pt x="0" y="53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13" name="Freeform 3824"/>
              <p:cNvSpPr>
                <a:spLocks/>
              </p:cNvSpPr>
              <p:nvPr/>
            </p:nvSpPr>
            <p:spPr bwMode="auto">
              <a:xfrm>
                <a:off x="4601" y="2445"/>
                <a:ext cx="347" cy="614"/>
              </a:xfrm>
              <a:custGeom>
                <a:avLst/>
                <a:gdLst>
                  <a:gd name="T0" fmla="*/ 22 w 347"/>
                  <a:gd name="T1" fmla="*/ 555 h 614"/>
                  <a:gd name="T2" fmla="*/ 11 w 347"/>
                  <a:gd name="T3" fmla="*/ 566 h 614"/>
                  <a:gd name="T4" fmla="*/ 16 w 347"/>
                  <a:gd name="T5" fmla="*/ 571 h 614"/>
                  <a:gd name="T6" fmla="*/ 22 w 347"/>
                  <a:gd name="T7" fmla="*/ 582 h 614"/>
                  <a:gd name="T8" fmla="*/ 48 w 347"/>
                  <a:gd name="T9" fmla="*/ 593 h 614"/>
                  <a:gd name="T10" fmla="*/ 91 w 347"/>
                  <a:gd name="T11" fmla="*/ 604 h 614"/>
                  <a:gd name="T12" fmla="*/ 160 w 347"/>
                  <a:gd name="T13" fmla="*/ 614 h 614"/>
                  <a:gd name="T14" fmla="*/ 171 w 347"/>
                  <a:gd name="T15" fmla="*/ 614 h 614"/>
                  <a:gd name="T16" fmla="*/ 198 w 347"/>
                  <a:gd name="T17" fmla="*/ 614 h 614"/>
                  <a:gd name="T18" fmla="*/ 235 w 347"/>
                  <a:gd name="T19" fmla="*/ 614 h 614"/>
                  <a:gd name="T20" fmla="*/ 272 w 347"/>
                  <a:gd name="T21" fmla="*/ 604 h 614"/>
                  <a:gd name="T22" fmla="*/ 294 w 347"/>
                  <a:gd name="T23" fmla="*/ 593 h 614"/>
                  <a:gd name="T24" fmla="*/ 294 w 347"/>
                  <a:gd name="T25" fmla="*/ 582 h 614"/>
                  <a:gd name="T26" fmla="*/ 315 w 347"/>
                  <a:gd name="T27" fmla="*/ 422 h 614"/>
                  <a:gd name="T28" fmla="*/ 320 w 347"/>
                  <a:gd name="T29" fmla="*/ 411 h 614"/>
                  <a:gd name="T30" fmla="*/ 326 w 347"/>
                  <a:gd name="T31" fmla="*/ 395 h 614"/>
                  <a:gd name="T32" fmla="*/ 320 w 347"/>
                  <a:gd name="T33" fmla="*/ 374 h 614"/>
                  <a:gd name="T34" fmla="*/ 331 w 347"/>
                  <a:gd name="T35" fmla="*/ 235 h 614"/>
                  <a:gd name="T36" fmla="*/ 336 w 347"/>
                  <a:gd name="T37" fmla="*/ 230 h 614"/>
                  <a:gd name="T38" fmla="*/ 336 w 347"/>
                  <a:gd name="T39" fmla="*/ 208 h 614"/>
                  <a:gd name="T40" fmla="*/ 331 w 347"/>
                  <a:gd name="T41" fmla="*/ 187 h 614"/>
                  <a:gd name="T42" fmla="*/ 342 w 347"/>
                  <a:gd name="T43" fmla="*/ 48 h 614"/>
                  <a:gd name="T44" fmla="*/ 347 w 347"/>
                  <a:gd name="T45" fmla="*/ 37 h 614"/>
                  <a:gd name="T46" fmla="*/ 336 w 347"/>
                  <a:gd name="T47" fmla="*/ 27 h 614"/>
                  <a:gd name="T48" fmla="*/ 320 w 347"/>
                  <a:gd name="T49" fmla="*/ 21 h 614"/>
                  <a:gd name="T50" fmla="*/ 294 w 347"/>
                  <a:gd name="T51" fmla="*/ 11 h 614"/>
                  <a:gd name="T52" fmla="*/ 256 w 347"/>
                  <a:gd name="T53" fmla="*/ 5 h 614"/>
                  <a:gd name="T54" fmla="*/ 208 w 347"/>
                  <a:gd name="T55" fmla="*/ 0 h 614"/>
                  <a:gd name="T56" fmla="*/ 176 w 347"/>
                  <a:gd name="T57" fmla="*/ 0 h 614"/>
                  <a:gd name="T58" fmla="*/ 166 w 347"/>
                  <a:gd name="T59" fmla="*/ 0 h 614"/>
                  <a:gd name="T60" fmla="*/ 134 w 347"/>
                  <a:gd name="T61" fmla="*/ 0 h 614"/>
                  <a:gd name="T62" fmla="*/ 102 w 347"/>
                  <a:gd name="T63" fmla="*/ 0 h 614"/>
                  <a:gd name="T64" fmla="*/ 59 w 347"/>
                  <a:gd name="T65" fmla="*/ 11 h 614"/>
                  <a:gd name="T66" fmla="*/ 16 w 347"/>
                  <a:gd name="T67" fmla="*/ 21 h 614"/>
                  <a:gd name="T68" fmla="*/ 11 w 347"/>
                  <a:gd name="T69" fmla="*/ 27 h 614"/>
                  <a:gd name="T70" fmla="*/ 6 w 347"/>
                  <a:gd name="T71" fmla="*/ 37 h 614"/>
                  <a:gd name="T72" fmla="*/ 11 w 347"/>
                  <a:gd name="T73" fmla="*/ 59 h 614"/>
                  <a:gd name="T74" fmla="*/ 11 w 347"/>
                  <a:gd name="T75" fmla="*/ 187 h 614"/>
                  <a:gd name="T76" fmla="*/ 6 w 347"/>
                  <a:gd name="T77" fmla="*/ 192 h 614"/>
                  <a:gd name="T78" fmla="*/ 6 w 347"/>
                  <a:gd name="T79" fmla="*/ 203 h 614"/>
                  <a:gd name="T80" fmla="*/ 11 w 347"/>
                  <a:gd name="T81" fmla="*/ 230 h 614"/>
                  <a:gd name="T82" fmla="*/ 16 w 347"/>
                  <a:gd name="T83" fmla="*/ 363 h 614"/>
                  <a:gd name="T84" fmla="*/ 11 w 347"/>
                  <a:gd name="T85" fmla="*/ 369 h 614"/>
                  <a:gd name="T86" fmla="*/ 6 w 347"/>
                  <a:gd name="T87" fmla="*/ 385 h 614"/>
                  <a:gd name="T88" fmla="*/ 16 w 347"/>
                  <a:gd name="T89" fmla="*/ 411 h 614"/>
                  <a:gd name="T90" fmla="*/ 27 w 347"/>
                  <a:gd name="T91" fmla="*/ 550 h 61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47"/>
                  <a:gd name="T139" fmla="*/ 0 h 614"/>
                  <a:gd name="T140" fmla="*/ 347 w 347"/>
                  <a:gd name="T141" fmla="*/ 614 h 61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47" h="614">
                    <a:moveTo>
                      <a:pt x="27" y="550"/>
                    </a:moveTo>
                    <a:lnTo>
                      <a:pt x="22" y="550"/>
                    </a:lnTo>
                    <a:lnTo>
                      <a:pt x="22" y="555"/>
                    </a:lnTo>
                    <a:lnTo>
                      <a:pt x="16" y="561"/>
                    </a:lnTo>
                    <a:lnTo>
                      <a:pt x="11" y="566"/>
                    </a:lnTo>
                    <a:lnTo>
                      <a:pt x="16" y="571"/>
                    </a:lnTo>
                    <a:lnTo>
                      <a:pt x="16" y="577"/>
                    </a:lnTo>
                    <a:lnTo>
                      <a:pt x="22" y="577"/>
                    </a:lnTo>
                    <a:lnTo>
                      <a:pt x="22" y="582"/>
                    </a:lnTo>
                    <a:lnTo>
                      <a:pt x="32" y="588"/>
                    </a:lnTo>
                    <a:lnTo>
                      <a:pt x="38" y="588"/>
                    </a:lnTo>
                    <a:lnTo>
                      <a:pt x="48" y="593"/>
                    </a:lnTo>
                    <a:lnTo>
                      <a:pt x="59" y="598"/>
                    </a:lnTo>
                    <a:lnTo>
                      <a:pt x="75" y="604"/>
                    </a:lnTo>
                    <a:lnTo>
                      <a:pt x="91" y="604"/>
                    </a:lnTo>
                    <a:lnTo>
                      <a:pt x="112" y="609"/>
                    </a:lnTo>
                    <a:lnTo>
                      <a:pt x="134" y="614"/>
                    </a:lnTo>
                    <a:lnTo>
                      <a:pt x="160" y="614"/>
                    </a:lnTo>
                    <a:lnTo>
                      <a:pt x="166" y="614"/>
                    </a:lnTo>
                    <a:lnTo>
                      <a:pt x="171" y="614"/>
                    </a:lnTo>
                    <a:lnTo>
                      <a:pt x="176" y="614"/>
                    </a:lnTo>
                    <a:lnTo>
                      <a:pt x="187" y="614"/>
                    </a:lnTo>
                    <a:lnTo>
                      <a:pt x="198" y="614"/>
                    </a:lnTo>
                    <a:lnTo>
                      <a:pt x="214" y="614"/>
                    </a:lnTo>
                    <a:lnTo>
                      <a:pt x="224" y="614"/>
                    </a:lnTo>
                    <a:lnTo>
                      <a:pt x="235" y="614"/>
                    </a:lnTo>
                    <a:lnTo>
                      <a:pt x="246" y="609"/>
                    </a:lnTo>
                    <a:lnTo>
                      <a:pt x="262" y="609"/>
                    </a:lnTo>
                    <a:lnTo>
                      <a:pt x="272" y="604"/>
                    </a:lnTo>
                    <a:lnTo>
                      <a:pt x="278" y="604"/>
                    </a:lnTo>
                    <a:lnTo>
                      <a:pt x="288" y="598"/>
                    </a:lnTo>
                    <a:lnTo>
                      <a:pt x="294" y="593"/>
                    </a:lnTo>
                    <a:lnTo>
                      <a:pt x="299" y="588"/>
                    </a:lnTo>
                    <a:lnTo>
                      <a:pt x="299" y="582"/>
                    </a:lnTo>
                    <a:lnTo>
                      <a:pt x="294" y="582"/>
                    </a:lnTo>
                    <a:lnTo>
                      <a:pt x="294" y="577"/>
                    </a:lnTo>
                    <a:lnTo>
                      <a:pt x="288" y="577"/>
                    </a:lnTo>
                    <a:lnTo>
                      <a:pt x="315" y="422"/>
                    </a:lnTo>
                    <a:lnTo>
                      <a:pt x="315" y="417"/>
                    </a:lnTo>
                    <a:lnTo>
                      <a:pt x="320" y="417"/>
                    </a:lnTo>
                    <a:lnTo>
                      <a:pt x="320" y="411"/>
                    </a:lnTo>
                    <a:lnTo>
                      <a:pt x="326" y="406"/>
                    </a:lnTo>
                    <a:lnTo>
                      <a:pt x="326" y="401"/>
                    </a:lnTo>
                    <a:lnTo>
                      <a:pt x="326" y="395"/>
                    </a:lnTo>
                    <a:lnTo>
                      <a:pt x="320" y="390"/>
                    </a:lnTo>
                    <a:lnTo>
                      <a:pt x="320" y="385"/>
                    </a:lnTo>
                    <a:lnTo>
                      <a:pt x="320" y="374"/>
                    </a:lnTo>
                    <a:lnTo>
                      <a:pt x="320" y="342"/>
                    </a:lnTo>
                    <a:lnTo>
                      <a:pt x="326" y="294"/>
                    </a:lnTo>
                    <a:lnTo>
                      <a:pt x="331" y="235"/>
                    </a:lnTo>
                    <a:lnTo>
                      <a:pt x="331" y="230"/>
                    </a:lnTo>
                    <a:lnTo>
                      <a:pt x="336" y="230"/>
                    </a:lnTo>
                    <a:lnTo>
                      <a:pt x="336" y="224"/>
                    </a:lnTo>
                    <a:lnTo>
                      <a:pt x="336" y="219"/>
                    </a:lnTo>
                    <a:lnTo>
                      <a:pt x="336" y="208"/>
                    </a:lnTo>
                    <a:lnTo>
                      <a:pt x="336" y="203"/>
                    </a:lnTo>
                    <a:lnTo>
                      <a:pt x="331" y="198"/>
                    </a:lnTo>
                    <a:lnTo>
                      <a:pt x="331" y="187"/>
                    </a:lnTo>
                    <a:lnTo>
                      <a:pt x="336" y="155"/>
                    </a:lnTo>
                    <a:lnTo>
                      <a:pt x="342" y="107"/>
                    </a:lnTo>
                    <a:lnTo>
                      <a:pt x="342" y="48"/>
                    </a:lnTo>
                    <a:lnTo>
                      <a:pt x="347" y="43"/>
                    </a:lnTo>
                    <a:lnTo>
                      <a:pt x="347" y="37"/>
                    </a:lnTo>
                    <a:lnTo>
                      <a:pt x="342" y="27"/>
                    </a:lnTo>
                    <a:lnTo>
                      <a:pt x="336" y="27"/>
                    </a:lnTo>
                    <a:lnTo>
                      <a:pt x="331" y="27"/>
                    </a:lnTo>
                    <a:lnTo>
                      <a:pt x="326" y="21"/>
                    </a:lnTo>
                    <a:lnTo>
                      <a:pt x="320" y="21"/>
                    </a:lnTo>
                    <a:lnTo>
                      <a:pt x="310" y="16"/>
                    </a:lnTo>
                    <a:lnTo>
                      <a:pt x="304" y="16"/>
                    </a:lnTo>
                    <a:lnTo>
                      <a:pt x="294" y="11"/>
                    </a:lnTo>
                    <a:lnTo>
                      <a:pt x="283" y="11"/>
                    </a:lnTo>
                    <a:lnTo>
                      <a:pt x="267" y="5"/>
                    </a:lnTo>
                    <a:lnTo>
                      <a:pt x="256" y="5"/>
                    </a:lnTo>
                    <a:lnTo>
                      <a:pt x="240" y="0"/>
                    </a:lnTo>
                    <a:lnTo>
                      <a:pt x="224" y="0"/>
                    </a:lnTo>
                    <a:lnTo>
                      <a:pt x="208" y="0"/>
                    </a:lnTo>
                    <a:lnTo>
                      <a:pt x="192" y="0"/>
                    </a:lnTo>
                    <a:lnTo>
                      <a:pt x="176" y="0"/>
                    </a:lnTo>
                    <a:lnTo>
                      <a:pt x="171" y="0"/>
                    </a:lnTo>
                    <a:lnTo>
                      <a:pt x="166" y="0"/>
                    </a:lnTo>
                    <a:lnTo>
                      <a:pt x="155" y="0"/>
                    </a:lnTo>
                    <a:lnTo>
                      <a:pt x="144" y="0"/>
                    </a:lnTo>
                    <a:lnTo>
                      <a:pt x="134" y="0"/>
                    </a:lnTo>
                    <a:lnTo>
                      <a:pt x="123" y="0"/>
                    </a:lnTo>
                    <a:lnTo>
                      <a:pt x="112" y="0"/>
                    </a:lnTo>
                    <a:lnTo>
                      <a:pt x="102" y="0"/>
                    </a:lnTo>
                    <a:lnTo>
                      <a:pt x="86" y="5"/>
                    </a:lnTo>
                    <a:lnTo>
                      <a:pt x="70" y="5"/>
                    </a:lnTo>
                    <a:lnTo>
                      <a:pt x="59" y="11"/>
                    </a:lnTo>
                    <a:lnTo>
                      <a:pt x="43" y="16"/>
                    </a:lnTo>
                    <a:lnTo>
                      <a:pt x="32" y="16"/>
                    </a:lnTo>
                    <a:lnTo>
                      <a:pt x="16" y="21"/>
                    </a:lnTo>
                    <a:lnTo>
                      <a:pt x="16" y="27"/>
                    </a:lnTo>
                    <a:lnTo>
                      <a:pt x="11" y="27"/>
                    </a:lnTo>
                    <a:lnTo>
                      <a:pt x="6" y="27"/>
                    </a:lnTo>
                    <a:lnTo>
                      <a:pt x="6" y="32"/>
                    </a:lnTo>
                    <a:lnTo>
                      <a:pt x="6" y="37"/>
                    </a:lnTo>
                    <a:lnTo>
                      <a:pt x="6" y="43"/>
                    </a:lnTo>
                    <a:lnTo>
                      <a:pt x="16" y="48"/>
                    </a:lnTo>
                    <a:lnTo>
                      <a:pt x="11" y="59"/>
                    </a:lnTo>
                    <a:lnTo>
                      <a:pt x="11" y="91"/>
                    </a:lnTo>
                    <a:lnTo>
                      <a:pt x="11" y="134"/>
                    </a:lnTo>
                    <a:lnTo>
                      <a:pt x="11" y="187"/>
                    </a:lnTo>
                    <a:lnTo>
                      <a:pt x="6" y="192"/>
                    </a:lnTo>
                    <a:lnTo>
                      <a:pt x="0" y="198"/>
                    </a:lnTo>
                    <a:lnTo>
                      <a:pt x="6" y="203"/>
                    </a:lnTo>
                    <a:lnTo>
                      <a:pt x="6" y="208"/>
                    </a:lnTo>
                    <a:lnTo>
                      <a:pt x="11" y="214"/>
                    </a:lnTo>
                    <a:lnTo>
                      <a:pt x="11" y="230"/>
                    </a:lnTo>
                    <a:lnTo>
                      <a:pt x="11" y="272"/>
                    </a:lnTo>
                    <a:lnTo>
                      <a:pt x="11" y="320"/>
                    </a:lnTo>
                    <a:lnTo>
                      <a:pt x="16" y="363"/>
                    </a:lnTo>
                    <a:lnTo>
                      <a:pt x="11" y="369"/>
                    </a:lnTo>
                    <a:lnTo>
                      <a:pt x="6" y="374"/>
                    </a:lnTo>
                    <a:lnTo>
                      <a:pt x="6" y="379"/>
                    </a:lnTo>
                    <a:lnTo>
                      <a:pt x="6" y="385"/>
                    </a:lnTo>
                    <a:lnTo>
                      <a:pt x="11" y="390"/>
                    </a:lnTo>
                    <a:lnTo>
                      <a:pt x="16" y="390"/>
                    </a:lnTo>
                    <a:lnTo>
                      <a:pt x="16" y="411"/>
                    </a:lnTo>
                    <a:lnTo>
                      <a:pt x="22" y="454"/>
                    </a:lnTo>
                    <a:lnTo>
                      <a:pt x="22" y="507"/>
                    </a:lnTo>
                    <a:lnTo>
                      <a:pt x="27" y="550"/>
                    </a:lnTo>
                    <a:close/>
                  </a:path>
                </a:pathLst>
              </a:custGeom>
              <a:solidFill>
                <a:srgbClr val="AA795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14" name="Freeform 3825"/>
              <p:cNvSpPr>
                <a:spLocks/>
              </p:cNvSpPr>
              <p:nvPr/>
            </p:nvSpPr>
            <p:spPr bwMode="auto">
              <a:xfrm>
                <a:off x="4623" y="2830"/>
                <a:ext cx="293" cy="32"/>
              </a:xfrm>
              <a:custGeom>
                <a:avLst/>
                <a:gdLst>
                  <a:gd name="T0" fmla="*/ 0 w 293"/>
                  <a:gd name="T1" fmla="*/ 0 h 32"/>
                  <a:gd name="T2" fmla="*/ 0 w 293"/>
                  <a:gd name="T3" fmla="*/ 5 h 32"/>
                  <a:gd name="T4" fmla="*/ 5 w 293"/>
                  <a:gd name="T5" fmla="*/ 5 h 32"/>
                  <a:gd name="T6" fmla="*/ 10 w 293"/>
                  <a:gd name="T7" fmla="*/ 5 h 32"/>
                  <a:gd name="T8" fmla="*/ 21 w 293"/>
                  <a:gd name="T9" fmla="*/ 10 h 32"/>
                  <a:gd name="T10" fmla="*/ 32 w 293"/>
                  <a:gd name="T11" fmla="*/ 16 h 32"/>
                  <a:gd name="T12" fmla="*/ 42 w 293"/>
                  <a:gd name="T13" fmla="*/ 21 h 32"/>
                  <a:gd name="T14" fmla="*/ 58 w 293"/>
                  <a:gd name="T15" fmla="*/ 26 h 32"/>
                  <a:gd name="T16" fmla="*/ 80 w 293"/>
                  <a:gd name="T17" fmla="*/ 26 h 32"/>
                  <a:gd name="T18" fmla="*/ 101 w 293"/>
                  <a:gd name="T19" fmla="*/ 32 h 32"/>
                  <a:gd name="T20" fmla="*/ 122 w 293"/>
                  <a:gd name="T21" fmla="*/ 32 h 32"/>
                  <a:gd name="T22" fmla="*/ 144 w 293"/>
                  <a:gd name="T23" fmla="*/ 32 h 32"/>
                  <a:gd name="T24" fmla="*/ 170 w 293"/>
                  <a:gd name="T25" fmla="*/ 32 h 32"/>
                  <a:gd name="T26" fmla="*/ 197 w 293"/>
                  <a:gd name="T27" fmla="*/ 32 h 32"/>
                  <a:gd name="T28" fmla="*/ 229 w 293"/>
                  <a:gd name="T29" fmla="*/ 26 h 32"/>
                  <a:gd name="T30" fmla="*/ 261 w 293"/>
                  <a:gd name="T31" fmla="*/ 21 h 32"/>
                  <a:gd name="T32" fmla="*/ 293 w 293"/>
                  <a:gd name="T33" fmla="*/ 10 h 32"/>
                  <a:gd name="T34" fmla="*/ 288 w 293"/>
                  <a:gd name="T35" fmla="*/ 10 h 32"/>
                  <a:gd name="T36" fmla="*/ 282 w 293"/>
                  <a:gd name="T37" fmla="*/ 10 h 32"/>
                  <a:gd name="T38" fmla="*/ 272 w 293"/>
                  <a:gd name="T39" fmla="*/ 16 h 32"/>
                  <a:gd name="T40" fmla="*/ 261 w 293"/>
                  <a:gd name="T41" fmla="*/ 16 h 32"/>
                  <a:gd name="T42" fmla="*/ 245 w 293"/>
                  <a:gd name="T43" fmla="*/ 16 h 32"/>
                  <a:gd name="T44" fmla="*/ 224 w 293"/>
                  <a:gd name="T45" fmla="*/ 16 h 32"/>
                  <a:gd name="T46" fmla="*/ 208 w 293"/>
                  <a:gd name="T47" fmla="*/ 16 h 32"/>
                  <a:gd name="T48" fmla="*/ 186 w 293"/>
                  <a:gd name="T49" fmla="*/ 16 h 32"/>
                  <a:gd name="T50" fmla="*/ 160 w 293"/>
                  <a:gd name="T51" fmla="*/ 16 h 32"/>
                  <a:gd name="T52" fmla="*/ 138 w 293"/>
                  <a:gd name="T53" fmla="*/ 16 h 32"/>
                  <a:gd name="T54" fmla="*/ 112 w 293"/>
                  <a:gd name="T55" fmla="*/ 16 h 32"/>
                  <a:gd name="T56" fmla="*/ 90 w 293"/>
                  <a:gd name="T57" fmla="*/ 16 h 32"/>
                  <a:gd name="T58" fmla="*/ 64 w 293"/>
                  <a:gd name="T59" fmla="*/ 16 h 32"/>
                  <a:gd name="T60" fmla="*/ 42 w 293"/>
                  <a:gd name="T61" fmla="*/ 10 h 32"/>
                  <a:gd name="T62" fmla="*/ 21 w 293"/>
                  <a:gd name="T63" fmla="*/ 5 h 32"/>
                  <a:gd name="T64" fmla="*/ 0 w 293"/>
                  <a:gd name="T65" fmla="*/ 0 h 3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93"/>
                  <a:gd name="T100" fmla="*/ 0 h 32"/>
                  <a:gd name="T101" fmla="*/ 293 w 293"/>
                  <a:gd name="T102" fmla="*/ 32 h 3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93" h="32">
                    <a:moveTo>
                      <a:pt x="0" y="0"/>
                    </a:moveTo>
                    <a:lnTo>
                      <a:pt x="0" y="5"/>
                    </a:lnTo>
                    <a:lnTo>
                      <a:pt x="5" y="5"/>
                    </a:lnTo>
                    <a:lnTo>
                      <a:pt x="10" y="5"/>
                    </a:lnTo>
                    <a:lnTo>
                      <a:pt x="21" y="10"/>
                    </a:lnTo>
                    <a:lnTo>
                      <a:pt x="32" y="16"/>
                    </a:lnTo>
                    <a:lnTo>
                      <a:pt x="42" y="21"/>
                    </a:lnTo>
                    <a:lnTo>
                      <a:pt x="58" y="26"/>
                    </a:lnTo>
                    <a:lnTo>
                      <a:pt x="80" y="26"/>
                    </a:lnTo>
                    <a:lnTo>
                      <a:pt x="101" y="32"/>
                    </a:lnTo>
                    <a:lnTo>
                      <a:pt x="122" y="32"/>
                    </a:lnTo>
                    <a:lnTo>
                      <a:pt x="144" y="32"/>
                    </a:lnTo>
                    <a:lnTo>
                      <a:pt x="170" y="32"/>
                    </a:lnTo>
                    <a:lnTo>
                      <a:pt x="197" y="32"/>
                    </a:lnTo>
                    <a:lnTo>
                      <a:pt x="229" y="26"/>
                    </a:lnTo>
                    <a:lnTo>
                      <a:pt x="261" y="21"/>
                    </a:lnTo>
                    <a:lnTo>
                      <a:pt x="293" y="10"/>
                    </a:lnTo>
                    <a:lnTo>
                      <a:pt x="288" y="10"/>
                    </a:lnTo>
                    <a:lnTo>
                      <a:pt x="282" y="10"/>
                    </a:lnTo>
                    <a:lnTo>
                      <a:pt x="272" y="16"/>
                    </a:lnTo>
                    <a:lnTo>
                      <a:pt x="261" y="16"/>
                    </a:lnTo>
                    <a:lnTo>
                      <a:pt x="245" y="16"/>
                    </a:lnTo>
                    <a:lnTo>
                      <a:pt x="224" y="16"/>
                    </a:lnTo>
                    <a:lnTo>
                      <a:pt x="208" y="16"/>
                    </a:lnTo>
                    <a:lnTo>
                      <a:pt x="186" y="16"/>
                    </a:lnTo>
                    <a:lnTo>
                      <a:pt x="160" y="16"/>
                    </a:lnTo>
                    <a:lnTo>
                      <a:pt x="138" y="16"/>
                    </a:lnTo>
                    <a:lnTo>
                      <a:pt x="112" y="16"/>
                    </a:lnTo>
                    <a:lnTo>
                      <a:pt x="90" y="16"/>
                    </a:lnTo>
                    <a:lnTo>
                      <a:pt x="64" y="16"/>
                    </a:lnTo>
                    <a:lnTo>
                      <a:pt x="42" y="10"/>
                    </a:lnTo>
                    <a:lnTo>
                      <a:pt x="21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462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15" name="Freeform 3826"/>
              <p:cNvSpPr>
                <a:spLocks/>
              </p:cNvSpPr>
              <p:nvPr/>
            </p:nvSpPr>
            <p:spPr bwMode="auto">
              <a:xfrm>
                <a:off x="4628" y="2653"/>
                <a:ext cx="293" cy="27"/>
              </a:xfrm>
              <a:custGeom>
                <a:avLst/>
                <a:gdLst>
                  <a:gd name="T0" fmla="*/ 0 w 293"/>
                  <a:gd name="T1" fmla="*/ 0 h 27"/>
                  <a:gd name="T2" fmla="*/ 0 w 293"/>
                  <a:gd name="T3" fmla="*/ 0 h 27"/>
                  <a:gd name="T4" fmla="*/ 5 w 293"/>
                  <a:gd name="T5" fmla="*/ 6 h 27"/>
                  <a:gd name="T6" fmla="*/ 11 w 293"/>
                  <a:gd name="T7" fmla="*/ 6 h 27"/>
                  <a:gd name="T8" fmla="*/ 21 w 293"/>
                  <a:gd name="T9" fmla="*/ 6 h 27"/>
                  <a:gd name="T10" fmla="*/ 32 w 293"/>
                  <a:gd name="T11" fmla="*/ 11 h 27"/>
                  <a:gd name="T12" fmla="*/ 43 w 293"/>
                  <a:gd name="T13" fmla="*/ 16 h 27"/>
                  <a:gd name="T14" fmla="*/ 59 w 293"/>
                  <a:gd name="T15" fmla="*/ 16 h 27"/>
                  <a:gd name="T16" fmla="*/ 75 w 293"/>
                  <a:gd name="T17" fmla="*/ 22 h 27"/>
                  <a:gd name="T18" fmla="*/ 96 w 293"/>
                  <a:gd name="T19" fmla="*/ 22 h 27"/>
                  <a:gd name="T20" fmla="*/ 117 w 293"/>
                  <a:gd name="T21" fmla="*/ 22 h 27"/>
                  <a:gd name="T22" fmla="*/ 144 w 293"/>
                  <a:gd name="T23" fmla="*/ 27 h 27"/>
                  <a:gd name="T24" fmla="*/ 171 w 293"/>
                  <a:gd name="T25" fmla="*/ 27 h 27"/>
                  <a:gd name="T26" fmla="*/ 197 w 293"/>
                  <a:gd name="T27" fmla="*/ 22 h 27"/>
                  <a:gd name="T28" fmla="*/ 224 w 293"/>
                  <a:gd name="T29" fmla="*/ 22 h 27"/>
                  <a:gd name="T30" fmla="*/ 256 w 293"/>
                  <a:gd name="T31" fmla="*/ 16 h 27"/>
                  <a:gd name="T32" fmla="*/ 293 w 293"/>
                  <a:gd name="T33" fmla="*/ 11 h 27"/>
                  <a:gd name="T34" fmla="*/ 288 w 293"/>
                  <a:gd name="T35" fmla="*/ 11 h 27"/>
                  <a:gd name="T36" fmla="*/ 283 w 293"/>
                  <a:gd name="T37" fmla="*/ 11 h 27"/>
                  <a:gd name="T38" fmla="*/ 272 w 293"/>
                  <a:gd name="T39" fmla="*/ 11 h 27"/>
                  <a:gd name="T40" fmla="*/ 261 w 293"/>
                  <a:gd name="T41" fmla="*/ 11 h 27"/>
                  <a:gd name="T42" fmla="*/ 245 w 293"/>
                  <a:gd name="T43" fmla="*/ 11 h 27"/>
                  <a:gd name="T44" fmla="*/ 229 w 293"/>
                  <a:gd name="T45" fmla="*/ 16 h 27"/>
                  <a:gd name="T46" fmla="*/ 208 w 293"/>
                  <a:gd name="T47" fmla="*/ 16 h 27"/>
                  <a:gd name="T48" fmla="*/ 187 w 293"/>
                  <a:gd name="T49" fmla="*/ 16 h 27"/>
                  <a:gd name="T50" fmla="*/ 160 w 293"/>
                  <a:gd name="T51" fmla="*/ 16 h 27"/>
                  <a:gd name="T52" fmla="*/ 139 w 293"/>
                  <a:gd name="T53" fmla="*/ 16 h 27"/>
                  <a:gd name="T54" fmla="*/ 112 w 293"/>
                  <a:gd name="T55" fmla="*/ 11 h 27"/>
                  <a:gd name="T56" fmla="*/ 91 w 293"/>
                  <a:gd name="T57" fmla="*/ 11 h 27"/>
                  <a:gd name="T58" fmla="*/ 64 w 293"/>
                  <a:gd name="T59" fmla="*/ 11 h 27"/>
                  <a:gd name="T60" fmla="*/ 43 w 293"/>
                  <a:gd name="T61" fmla="*/ 6 h 27"/>
                  <a:gd name="T62" fmla="*/ 21 w 293"/>
                  <a:gd name="T63" fmla="*/ 6 h 27"/>
                  <a:gd name="T64" fmla="*/ 0 w 293"/>
                  <a:gd name="T65" fmla="*/ 0 h 2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93"/>
                  <a:gd name="T100" fmla="*/ 0 h 27"/>
                  <a:gd name="T101" fmla="*/ 293 w 293"/>
                  <a:gd name="T102" fmla="*/ 27 h 2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93" h="27">
                    <a:moveTo>
                      <a:pt x="0" y="0"/>
                    </a:moveTo>
                    <a:lnTo>
                      <a:pt x="0" y="0"/>
                    </a:lnTo>
                    <a:lnTo>
                      <a:pt x="5" y="6"/>
                    </a:lnTo>
                    <a:lnTo>
                      <a:pt x="11" y="6"/>
                    </a:lnTo>
                    <a:lnTo>
                      <a:pt x="21" y="6"/>
                    </a:lnTo>
                    <a:lnTo>
                      <a:pt x="32" y="11"/>
                    </a:lnTo>
                    <a:lnTo>
                      <a:pt x="43" y="16"/>
                    </a:lnTo>
                    <a:lnTo>
                      <a:pt x="59" y="16"/>
                    </a:lnTo>
                    <a:lnTo>
                      <a:pt x="75" y="22"/>
                    </a:lnTo>
                    <a:lnTo>
                      <a:pt x="96" y="22"/>
                    </a:lnTo>
                    <a:lnTo>
                      <a:pt x="117" y="22"/>
                    </a:lnTo>
                    <a:lnTo>
                      <a:pt x="144" y="27"/>
                    </a:lnTo>
                    <a:lnTo>
                      <a:pt x="171" y="27"/>
                    </a:lnTo>
                    <a:lnTo>
                      <a:pt x="197" y="22"/>
                    </a:lnTo>
                    <a:lnTo>
                      <a:pt x="224" y="22"/>
                    </a:lnTo>
                    <a:lnTo>
                      <a:pt x="256" y="16"/>
                    </a:lnTo>
                    <a:lnTo>
                      <a:pt x="293" y="11"/>
                    </a:lnTo>
                    <a:lnTo>
                      <a:pt x="288" y="11"/>
                    </a:lnTo>
                    <a:lnTo>
                      <a:pt x="283" y="11"/>
                    </a:lnTo>
                    <a:lnTo>
                      <a:pt x="272" y="11"/>
                    </a:lnTo>
                    <a:lnTo>
                      <a:pt x="261" y="11"/>
                    </a:lnTo>
                    <a:lnTo>
                      <a:pt x="245" y="11"/>
                    </a:lnTo>
                    <a:lnTo>
                      <a:pt x="229" y="16"/>
                    </a:lnTo>
                    <a:lnTo>
                      <a:pt x="208" y="16"/>
                    </a:lnTo>
                    <a:lnTo>
                      <a:pt x="187" y="16"/>
                    </a:lnTo>
                    <a:lnTo>
                      <a:pt x="160" y="16"/>
                    </a:lnTo>
                    <a:lnTo>
                      <a:pt x="139" y="16"/>
                    </a:lnTo>
                    <a:lnTo>
                      <a:pt x="112" y="11"/>
                    </a:lnTo>
                    <a:lnTo>
                      <a:pt x="91" y="11"/>
                    </a:lnTo>
                    <a:lnTo>
                      <a:pt x="64" y="11"/>
                    </a:lnTo>
                    <a:lnTo>
                      <a:pt x="43" y="6"/>
                    </a:lnTo>
                    <a:lnTo>
                      <a:pt x="21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462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16" name="Freeform 3827"/>
              <p:cNvSpPr>
                <a:spLocks/>
              </p:cNvSpPr>
              <p:nvPr/>
            </p:nvSpPr>
            <p:spPr bwMode="auto">
              <a:xfrm>
                <a:off x="4628" y="2643"/>
                <a:ext cx="288" cy="16"/>
              </a:xfrm>
              <a:custGeom>
                <a:avLst/>
                <a:gdLst>
                  <a:gd name="T0" fmla="*/ 0 w 288"/>
                  <a:gd name="T1" fmla="*/ 0 h 16"/>
                  <a:gd name="T2" fmla="*/ 0 w 288"/>
                  <a:gd name="T3" fmla="*/ 0 h 16"/>
                  <a:gd name="T4" fmla="*/ 5 w 288"/>
                  <a:gd name="T5" fmla="*/ 0 h 16"/>
                  <a:gd name="T6" fmla="*/ 11 w 288"/>
                  <a:gd name="T7" fmla="*/ 5 h 16"/>
                  <a:gd name="T8" fmla="*/ 21 w 288"/>
                  <a:gd name="T9" fmla="*/ 5 h 16"/>
                  <a:gd name="T10" fmla="*/ 32 w 288"/>
                  <a:gd name="T11" fmla="*/ 5 h 16"/>
                  <a:gd name="T12" fmla="*/ 48 w 288"/>
                  <a:gd name="T13" fmla="*/ 10 h 16"/>
                  <a:gd name="T14" fmla="*/ 64 w 288"/>
                  <a:gd name="T15" fmla="*/ 10 h 16"/>
                  <a:gd name="T16" fmla="*/ 80 w 288"/>
                  <a:gd name="T17" fmla="*/ 16 h 16"/>
                  <a:gd name="T18" fmla="*/ 101 w 288"/>
                  <a:gd name="T19" fmla="*/ 16 h 16"/>
                  <a:gd name="T20" fmla="*/ 123 w 288"/>
                  <a:gd name="T21" fmla="*/ 16 h 16"/>
                  <a:gd name="T22" fmla="*/ 144 w 288"/>
                  <a:gd name="T23" fmla="*/ 16 h 16"/>
                  <a:gd name="T24" fmla="*/ 171 w 288"/>
                  <a:gd name="T25" fmla="*/ 16 h 16"/>
                  <a:gd name="T26" fmla="*/ 197 w 288"/>
                  <a:gd name="T27" fmla="*/ 16 h 16"/>
                  <a:gd name="T28" fmla="*/ 224 w 288"/>
                  <a:gd name="T29" fmla="*/ 16 h 16"/>
                  <a:gd name="T30" fmla="*/ 256 w 288"/>
                  <a:gd name="T31" fmla="*/ 10 h 16"/>
                  <a:gd name="T32" fmla="*/ 288 w 288"/>
                  <a:gd name="T33" fmla="*/ 5 h 16"/>
                  <a:gd name="T34" fmla="*/ 283 w 288"/>
                  <a:gd name="T35" fmla="*/ 5 h 16"/>
                  <a:gd name="T36" fmla="*/ 277 w 288"/>
                  <a:gd name="T37" fmla="*/ 5 h 16"/>
                  <a:gd name="T38" fmla="*/ 261 w 288"/>
                  <a:gd name="T39" fmla="*/ 5 h 16"/>
                  <a:gd name="T40" fmla="*/ 251 w 288"/>
                  <a:gd name="T41" fmla="*/ 5 h 16"/>
                  <a:gd name="T42" fmla="*/ 229 w 288"/>
                  <a:gd name="T43" fmla="*/ 5 h 16"/>
                  <a:gd name="T44" fmla="*/ 208 w 288"/>
                  <a:gd name="T45" fmla="*/ 5 h 16"/>
                  <a:gd name="T46" fmla="*/ 187 w 288"/>
                  <a:gd name="T47" fmla="*/ 5 h 16"/>
                  <a:gd name="T48" fmla="*/ 160 w 288"/>
                  <a:gd name="T49" fmla="*/ 5 h 16"/>
                  <a:gd name="T50" fmla="*/ 139 w 288"/>
                  <a:gd name="T51" fmla="*/ 5 h 16"/>
                  <a:gd name="T52" fmla="*/ 112 w 288"/>
                  <a:gd name="T53" fmla="*/ 5 h 16"/>
                  <a:gd name="T54" fmla="*/ 85 w 288"/>
                  <a:gd name="T55" fmla="*/ 5 h 16"/>
                  <a:gd name="T56" fmla="*/ 64 w 288"/>
                  <a:gd name="T57" fmla="*/ 5 h 16"/>
                  <a:gd name="T58" fmla="*/ 43 w 288"/>
                  <a:gd name="T59" fmla="*/ 0 h 16"/>
                  <a:gd name="T60" fmla="*/ 27 w 288"/>
                  <a:gd name="T61" fmla="*/ 0 h 16"/>
                  <a:gd name="T62" fmla="*/ 11 w 288"/>
                  <a:gd name="T63" fmla="*/ 0 h 16"/>
                  <a:gd name="T64" fmla="*/ 0 w 288"/>
                  <a:gd name="T65" fmla="*/ 0 h 1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88"/>
                  <a:gd name="T100" fmla="*/ 0 h 16"/>
                  <a:gd name="T101" fmla="*/ 288 w 288"/>
                  <a:gd name="T102" fmla="*/ 16 h 1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88" h="16">
                    <a:moveTo>
                      <a:pt x="0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11" y="5"/>
                    </a:lnTo>
                    <a:lnTo>
                      <a:pt x="21" y="5"/>
                    </a:lnTo>
                    <a:lnTo>
                      <a:pt x="32" y="5"/>
                    </a:lnTo>
                    <a:lnTo>
                      <a:pt x="48" y="10"/>
                    </a:lnTo>
                    <a:lnTo>
                      <a:pt x="64" y="10"/>
                    </a:lnTo>
                    <a:lnTo>
                      <a:pt x="80" y="16"/>
                    </a:lnTo>
                    <a:lnTo>
                      <a:pt x="101" y="16"/>
                    </a:lnTo>
                    <a:lnTo>
                      <a:pt x="123" y="16"/>
                    </a:lnTo>
                    <a:lnTo>
                      <a:pt x="144" y="16"/>
                    </a:lnTo>
                    <a:lnTo>
                      <a:pt x="171" y="16"/>
                    </a:lnTo>
                    <a:lnTo>
                      <a:pt x="197" y="16"/>
                    </a:lnTo>
                    <a:lnTo>
                      <a:pt x="224" y="16"/>
                    </a:lnTo>
                    <a:lnTo>
                      <a:pt x="256" y="10"/>
                    </a:lnTo>
                    <a:lnTo>
                      <a:pt x="288" y="5"/>
                    </a:lnTo>
                    <a:lnTo>
                      <a:pt x="283" y="5"/>
                    </a:lnTo>
                    <a:lnTo>
                      <a:pt x="277" y="5"/>
                    </a:lnTo>
                    <a:lnTo>
                      <a:pt x="261" y="5"/>
                    </a:lnTo>
                    <a:lnTo>
                      <a:pt x="251" y="5"/>
                    </a:lnTo>
                    <a:lnTo>
                      <a:pt x="229" y="5"/>
                    </a:lnTo>
                    <a:lnTo>
                      <a:pt x="208" y="5"/>
                    </a:lnTo>
                    <a:lnTo>
                      <a:pt x="187" y="5"/>
                    </a:lnTo>
                    <a:lnTo>
                      <a:pt x="160" y="5"/>
                    </a:lnTo>
                    <a:lnTo>
                      <a:pt x="139" y="5"/>
                    </a:lnTo>
                    <a:lnTo>
                      <a:pt x="112" y="5"/>
                    </a:lnTo>
                    <a:lnTo>
                      <a:pt x="85" y="5"/>
                    </a:lnTo>
                    <a:lnTo>
                      <a:pt x="64" y="5"/>
                    </a:lnTo>
                    <a:lnTo>
                      <a:pt x="43" y="0"/>
                    </a:lnTo>
                    <a:lnTo>
                      <a:pt x="27" y="0"/>
                    </a:lnTo>
                    <a:lnTo>
                      <a:pt x="1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D8B6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17" name="Freeform 3828"/>
              <p:cNvSpPr>
                <a:spLocks/>
              </p:cNvSpPr>
              <p:nvPr/>
            </p:nvSpPr>
            <p:spPr bwMode="auto">
              <a:xfrm>
                <a:off x="4623" y="2819"/>
                <a:ext cx="282" cy="21"/>
              </a:xfrm>
              <a:custGeom>
                <a:avLst/>
                <a:gdLst>
                  <a:gd name="T0" fmla="*/ 0 w 282"/>
                  <a:gd name="T1" fmla="*/ 0 h 21"/>
                  <a:gd name="T2" fmla="*/ 0 w 282"/>
                  <a:gd name="T3" fmla="*/ 0 h 21"/>
                  <a:gd name="T4" fmla="*/ 5 w 282"/>
                  <a:gd name="T5" fmla="*/ 0 h 21"/>
                  <a:gd name="T6" fmla="*/ 10 w 282"/>
                  <a:gd name="T7" fmla="*/ 5 h 21"/>
                  <a:gd name="T8" fmla="*/ 21 w 282"/>
                  <a:gd name="T9" fmla="*/ 5 h 21"/>
                  <a:gd name="T10" fmla="*/ 32 w 282"/>
                  <a:gd name="T11" fmla="*/ 11 h 21"/>
                  <a:gd name="T12" fmla="*/ 42 w 282"/>
                  <a:gd name="T13" fmla="*/ 11 h 21"/>
                  <a:gd name="T14" fmla="*/ 58 w 282"/>
                  <a:gd name="T15" fmla="*/ 16 h 21"/>
                  <a:gd name="T16" fmla="*/ 74 w 282"/>
                  <a:gd name="T17" fmla="*/ 16 h 21"/>
                  <a:gd name="T18" fmla="*/ 96 w 282"/>
                  <a:gd name="T19" fmla="*/ 21 h 21"/>
                  <a:gd name="T20" fmla="*/ 117 w 282"/>
                  <a:gd name="T21" fmla="*/ 21 h 21"/>
                  <a:gd name="T22" fmla="*/ 144 w 282"/>
                  <a:gd name="T23" fmla="*/ 21 h 21"/>
                  <a:gd name="T24" fmla="*/ 165 w 282"/>
                  <a:gd name="T25" fmla="*/ 21 h 21"/>
                  <a:gd name="T26" fmla="*/ 192 w 282"/>
                  <a:gd name="T27" fmla="*/ 21 h 21"/>
                  <a:gd name="T28" fmla="*/ 224 w 282"/>
                  <a:gd name="T29" fmla="*/ 16 h 21"/>
                  <a:gd name="T30" fmla="*/ 250 w 282"/>
                  <a:gd name="T31" fmla="*/ 11 h 21"/>
                  <a:gd name="T32" fmla="*/ 282 w 282"/>
                  <a:gd name="T33" fmla="*/ 5 h 21"/>
                  <a:gd name="T34" fmla="*/ 282 w 282"/>
                  <a:gd name="T35" fmla="*/ 5 h 21"/>
                  <a:gd name="T36" fmla="*/ 272 w 282"/>
                  <a:gd name="T37" fmla="*/ 5 h 21"/>
                  <a:gd name="T38" fmla="*/ 261 w 282"/>
                  <a:gd name="T39" fmla="*/ 5 h 21"/>
                  <a:gd name="T40" fmla="*/ 245 w 282"/>
                  <a:gd name="T41" fmla="*/ 5 h 21"/>
                  <a:gd name="T42" fmla="*/ 229 w 282"/>
                  <a:gd name="T43" fmla="*/ 5 h 21"/>
                  <a:gd name="T44" fmla="*/ 208 w 282"/>
                  <a:gd name="T45" fmla="*/ 5 h 21"/>
                  <a:gd name="T46" fmla="*/ 181 w 282"/>
                  <a:gd name="T47" fmla="*/ 5 h 21"/>
                  <a:gd name="T48" fmla="*/ 160 w 282"/>
                  <a:gd name="T49" fmla="*/ 5 h 21"/>
                  <a:gd name="T50" fmla="*/ 133 w 282"/>
                  <a:gd name="T51" fmla="*/ 5 h 21"/>
                  <a:gd name="T52" fmla="*/ 112 w 282"/>
                  <a:gd name="T53" fmla="*/ 5 h 21"/>
                  <a:gd name="T54" fmla="*/ 85 w 282"/>
                  <a:gd name="T55" fmla="*/ 5 h 21"/>
                  <a:gd name="T56" fmla="*/ 64 w 282"/>
                  <a:gd name="T57" fmla="*/ 0 h 21"/>
                  <a:gd name="T58" fmla="*/ 42 w 282"/>
                  <a:gd name="T59" fmla="*/ 0 h 21"/>
                  <a:gd name="T60" fmla="*/ 26 w 282"/>
                  <a:gd name="T61" fmla="*/ 0 h 21"/>
                  <a:gd name="T62" fmla="*/ 10 w 282"/>
                  <a:gd name="T63" fmla="*/ 0 h 21"/>
                  <a:gd name="T64" fmla="*/ 0 w 282"/>
                  <a:gd name="T65" fmla="*/ 0 h 2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82"/>
                  <a:gd name="T100" fmla="*/ 0 h 21"/>
                  <a:gd name="T101" fmla="*/ 282 w 282"/>
                  <a:gd name="T102" fmla="*/ 21 h 2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82" h="21">
                    <a:moveTo>
                      <a:pt x="0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10" y="5"/>
                    </a:lnTo>
                    <a:lnTo>
                      <a:pt x="21" y="5"/>
                    </a:lnTo>
                    <a:lnTo>
                      <a:pt x="32" y="11"/>
                    </a:lnTo>
                    <a:lnTo>
                      <a:pt x="42" y="11"/>
                    </a:lnTo>
                    <a:lnTo>
                      <a:pt x="58" y="16"/>
                    </a:lnTo>
                    <a:lnTo>
                      <a:pt x="74" y="16"/>
                    </a:lnTo>
                    <a:lnTo>
                      <a:pt x="96" y="21"/>
                    </a:lnTo>
                    <a:lnTo>
                      <a:pt x="117" y="21"/>
                    </a:lnTo>
                    <a:lnTo>
                      <a:pt x="144" y="21"/>
                    </a:lnTo>
                    <a:lnTo>
                      <a:pt x="165" y="21"/>
                    </a:lnTo>
                    <a:lnTo>
                      <a:pt x="192" y="21"/>
                    </a:lnTo>
                    <a:lnTo>
                      <a:pt x="224" y="16"/>
                    </a:lnTo>
                    <a:lnTo>
                      <a:pt x="250" y="11"/>
                    </a:lnTo>
                    <a:lnTo>
                      <a:pt x="282" y="5"/>
                    </a:lnTo>
                    <a:lnTo>
                      <a:pt x="272" y="5"/>
                    </a:lnTo>
                    <a:lnTo>
                      <a:pt x="261" y="5"/>
                    </a:lnTo>
                    <a:lnTo>
                      <a:pt x="245" y="5"/>
                    </a:lnTo>
                    <a:lnTo>
                      <a:pt x="229" y="5"/>
                    </a:lnTo>
                    <a:lnTo>
                      <a:pt x="208" y="5"/>
                    </a:lnTo>
                    <a:lnTo>
                      <a:pt x="181" y="5"/>
                    </a:lnTo>
                    <a:lnTo>
                      <a:pt x="160" y="5"/>
                    </a:lnTo>
                    <a:lnTo>
                      <a:pt x="133" y="5"/>
                    </a:lnTo>
                    <a:lnTo>
                      <a:pt x="112" y="5"/>
                    </a:lnTo>
                    <a:lnTo>
                      <a:pt x="85" y="5"/>
                    </a:lnTo>
                    <a:lnTo>
                      <a:pt x="64" y="0"/>
                    </a:lnTo>
                    <a:lnTo>
                      <a:pt x="42" y="0"/>
                    </a:lnTo>
                    <a:lnTo>
                      <a:pt x="26" y="0"/>
                    </a:lnTo>
                    <a:lnTo>
                      <a:pt x="1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D8B6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18" name="Freeform 3829"/>
              <p:cNvSpPr>
                <a:spLocks/>
              </p:cNvSpPr>
              <p:nvPr/>
            </p:nvSpPr>
            <p:spPr bwMode="auto">
              <a:xfrm>
                <a:off x="4623" y="2488"/>
                <a:ext cx="165" cy="149"/>
              </a:xfrm>
              <a:custGeom>
                <a:avLst/>
                <a:gdLst>
                  <a:gd name="T0" fmla="*/ 5 w 165"/>
                  <a:gd name="T1" fmla="*/ 10 h 149"/>
                  <a:gd name="T2" fmla="*/ 0 w 165"/>
                  <a:gd name="T3" fmla="*/ 133 h 149"/>
                  <a:gd name="T4" fmla="*/ 165 w 165"/>
                  <a:gd name="T5" fmla="*/ 149 h 149"/>
                  <a:gd name="T6" fmla="*/ 16 w 165"/>
                  <a:gd name="T7" fmla="*/ 112 h 149"/>
                  <a:gd name="T8" fmla="*/ 149 w 165"/>
                  <a:gd name="T9" fmla="*/ 112 h 149"/>
                  <a:gd name="T10" fmla="*/ 21 w 165"/>
                  <a:gd name="T11" fmla="*/ 91 h 149"/>
                  <a:gd name="T12" fmla="*/ 144 w 165"/>
                  <a:gd name="T13" fmla="*/ 80 h 149"/>
                  <a:gd name="T14" fmla="*/ 26 w 165"/>
                  <a:gd name="T15" fmla="*/ 64 h 149"/>
                  <a:gd name="T16" fmla="*/ 128 w 165"/>
                  <a:gd name="T17" fmla="*/ 53 h 149"/>
                  <a:gd name="T18" fmla="*/ 26 w 165"/>
                  <a:gd name="T19" fmla="*/ 37 h 149"/>
                  <a:gd name="T20" fmla="*/ 128 w 165"/>
                  <a:gd name="T21" fmla="*/ 26 h 149"/>
                  <a:gd name="T22" fmla="*/ 16 w 165"/>
                  <a:gd name="T23" fmla="*/ 16 h 149"/>
                  <a:gd name="T24" fmla="*/ 122 w 165"/>
                  <a:gd name="T25" fmla="*/ 0 h 149"/>
                  <a:gd name="T26" fmla="*/ 5 w 165"/>
                  <a:gd name="T27" fmla="*/ 10 h 14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65"/>
                  <a:gd name="T43" fmla="*/ 0 h 149"/>
                  <a:gd name="T44" fmla="*/ 165 w 165"/>
                  <a:gd name="T45" fmla="*/ 149 h 14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65" h="149">
                    <a:moveTo>
                      <a:pt x="5" y="10"/>
                    </a:moveTo>
                    <a:lnTo>
                      <a:pt x="0" y="133"/>
                    </a:lnTo>
                    <a:lnTo>
                      <a:pt x="165" y="149"/>
                    </a:lnTo>
                    <a:lnTo>
                      <a:pt x="16" y="112"/>
                    </a:lnTo>
                    <a:lnTo>
                      <a:pt x="149" y="112"/>
                    </a:lnTo>
                    <a:lnTo>
                      <a:pt x="21" y="91"/>
                    </a:lnTo>
                    <a:lnTo>
                      <a:pt x="144" y="80"/>
                    </a:lnTo>
                    <a:lnTo>
                      <a:pt x="26" y="64"/>
                    </a:lnTo>
                    <a:lnTo>
                      <a:pt x="128" y="53"/>
                    </a:lnTo>
                    <a:lnTo>
                      <a:pt x="26" y="37"/>
                    </a:lnTo>
                    <a:lnTo>
                      <a:pt x="128" y="26"/>
                    </a:lnTo>
                    <a:lnTo>
                      <a:pt x="16" y="16"/>
                    </a:lnTo>
                    <a:lnTo>
                      <a:pt x="122" y="0"/>
                    </a:lnTo>
                    <a:lnTo>
                      <a:pt x="5" y="10"/>
                    </a:lnTo>
                    <a:close/>
                  </a:path>
                </a:pathLst>
              </a:custGeom>
              <a:solidFill>
                <a:srgbClr val="8462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19" name="Freeform 3830"/>
              <p:cNvSpPr>
                <a:spLocks/>
              </p:cNvSpPr>
              <p:nvPr/>
            </p:nvSpPr>
            <p:spPr bwMode="auto">
              <a:xfrm>
                <a:off x="4633" y="3006"/>
                <a:ext cx="240" cy="37"/>
              </a:xfrm>
              <a:custGeom>
                <a:avLst/>
                <a:gdLst>
                  <a:gd name="T0" fmla="*/ 0 w 240"/>
                  <a:gd name="T1" fmla="*/ 0 h 37"/>
                  <a:gd name="T2" fmla="*/ 0 w 240"/>
                  <a:gd name="T3" fmla="*/ 0 h 37"/>
                  <a:gd name="T4" fmla="*/ 0 w 240"/>
                  <a:gd name="T5" fmla="*/ 5 h 37"/>
                  <a:gd name="T6" fmla="*/ 6 w 240"/>
                  <a:gd name="T7" fmla="*/ 5 h 37"/>
                  <a:gd name="T8" fmla="*/ 16 w 240"/>
                  <a:gd name="T9" fmla="*/ 10 h 37"/>
                  <a:gd name="T10" fmla="*/ 27 w 240"/>
                  <a:gd name="T11" fmla="*/ 16 h 37"/>
                  <a:gd name="T12" fmla="*/ 38 w 240"/>
                  <a:gd name="T13" fmla="*/ 21 h 37"/>
                  <a:gd name="T14" fmla="*/ 48 w 240"/>
                  <a:gd name="T15" fmla="*/ 21 h 37"/>
                  <a:gd name="T16" fmla="*/ 64 w 240"/>
                  <a:gd name="T17" fmla="*/ 27 h 37"/>
                  <a:gd name="T18" fmla="*/ 80 w 240"/>
                  <a:gd name="T19" fmla="*/ 32 h 37"/>
                  <a:gd name="T20" fmla="*/ 102 w 240"/>
                  <a:gd name="T21" fmla="*/ 32 h 37"/>
                  <a:gd name="T22" fmla="*/ 118 w 240"/>
                  <a:gd name="T23" fmla="*/ 37 h 37"/>
                  <a:gd name="T24" fmla="*/ 139 w 240"/>
                  <a:gd name="T25" fmla="*/ 37 h 37"/>
                  <a:gd name="T26" fmla="*/ 166 w 240"/>
                  <a:gd name="T27" fmla="*/ 37 h 37"/>
                  <a:gd name="T28" fmla="*/ 187 w 240"/>
                  <a:gd name="T29" fmla="*/ 32 h 37"/>
                  <a:gd name="T30" fmla="*/ 214 w 240"/>
                  <a:gd name="T31" fmla="*/ 27 h 37"/>
                  <a:gd name="T32" fmla="*/ 240 w 240"/>
                  <a:gd name="T33" fmla="*/ 21 h 37"/>
                  <a:gd name="T34" fmla="*/ 240 w 240"/>
                  <a:gd name="T35" fmla="*/ 21 h 37"/>
                  <a:gd name="T36" fmla="*/ 235 w 240"/>
                  <a:gd name="T37" fmla="*/ 21 h 37"/>
                  <a:gd name="T38" fmla="*/ 230 w 240"/>
                  <a:gd name="T39" fmla="*/ 21 h 37"/>
                  <a:gd name="T40" fmla="*/ 219 w 240"/>
                  <a:gd name="T41" fmla="*/ 27 h 37"/>
                  <a:gd name="T42" fmla="*/ 208 w 240"/>
                  <a:gd name="T43" fmla="*/ 27 h 37"/>
                  <a:gd name="T44" fmla="*/ 192 w 240"/>
                  <a:gd name="T45" fmla="*/ 27 h 37"/>
                  <a:gd name="T46" fmla="*/ 176 w 240"/>
                  <a:gd name="T47" fmla="*/ 27 h 37"/>
                  <a:gd name="T48" fmla="*/ 160 w 240"/>
                  <a:gd name="T49" fmla="*/ 27 h 37"/>
                  <a:gd name="T50" fmla="*/ 144 w 240"/>
                  <a:gd name="T51" fmla="*/ 27 h 37"/>
                  <a:gd name="T52" fmla="*/ 123 w 240"/>
                  <a:gd name="T53" fmla="*/ 27 h 37"/>
                  <a:gd name="T54" fmla="*/ 102 w 240"/>
                  <a:gd name="T55" fmla="*/ 27 h 37"/>
                  <a:gd name="T56" fmla="*/ 80 w 240"/>
                  <a:gd name="T57" fmla="*/ 21 h 37"/>
                  <a:gd name="T58" fmla="*/ 59 w 240"/>
                  <a:gd name="T59" fmla="*/ 21 h 37"/>
                  <a:gd name="T60" fmla="*/ 38 w 240"/>
                  <a:gd name="T61" fmla="*/ 16 h 37"/>
                  <a:gd name="T62" fmla="*/ 22 w 240"/>
                  <a:gd name="T63" fmla="*/ 10 h 37"/>
                  <a:gd name="T64" fmla="*/ 0 w 240"/>
                  <a:gd name="T65" fmla="*/ 0 h 3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40"/>
                  <a:gd name="T100" fmla="*/ 0 h 37"/>
                  <a:gd name="T101" fmla="*/ 240 w 240"/>
                  <a:gd name="T102" fmla="*/ 37 h 3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40" h="37">
                    <a:moveTo>
                      <a:pt x="0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6" y="5"/>
                    </a:lnTo>
                    <a:lnTo>
                      <a:pt x="16" y="10"/>
                    </a:lnTo>
                    <a:lnTo>
                      <a:pt x="27" y="16"/>
                    </a:lnTo>
                    <a:lnTo>
                      <a:pt x="38" y="21"/>
                    </a:lnTo>
                    <a:lnTo>
                      <a:pt x="48" y="21"/>
                    </a:lnTo>
                    <a:lnTo>
                      <a:pt x="64" y="27"/>
                    </a:lnTo>
                    <a:lnTo>
                      <a:pt x="80" y="32"/>
                    </a:lnTo>
                    <a:lnTo>
                      <a:pt x="102" y="32"/>
                    </a:lnTo>
                    <a:lnTo>
                      <a:pt x="118" y="37"/>
                    </a:lnTo>
                    <a:lnTo>
                      <a:pt x="139" y="37"/>
                    </a:lnTo>
                    <a:lnTo>
                      <a:pt x="166" y="37"/>
                    </a:lnTo>
                    <a:lnTo>
                      <a:pt x="187" y="32"/>
                    </a:lnTo>
                    <a:lnTo>
                      <a:pt x="214" y="27"/>
                    </a:lnTo>
                    <a:lnTo>
                      <a:pt x="240" y="21"/>
                    </a:lnTo>
                    <a:lnTo>
                      <a:pt x="235" y="21"/>
                    </a:lnTo>
                    <a:lnTo>
                      <a:pt x="230" y="21"/>
                    </a:lnTo>
                    <a:lnTo>
                      <a:pt x="219" y="27"/>
                    </a:lnTo>
                    <a:lnTo>
                      <a:pt x="208" y="27"/>
                    </a:lnTo>
                    <a:lnTo>
                      <a:pt x="192" y="27"/>
                    </a:lnTo>
                    <a:lnTo>
                      <a:pt x="176" y="27"/>
                    </a:lnTo>
                    <a:lnTo>
                      <a:pt x="160" y="27"/>
                    </a:lnTo>
                    <a:lnTo>
                      <a:pt x="144" y="27"/>
                    </a:lnTo>
                    <a:lnTo>
                      <a:pt x="123" y="27"/>
                    </a:lnTo>
                    <a:lnTo>
                      <a:pt x="102" y="27"/>
                    </a:lnTo>
                    <a:lnTo>
                      <a:pt x="80" y="21"/>
                    </a:lnTo>
                    <a:lnTo>
                      <a:pt x="59" y="21"/>
                    </a:lnTo>
                    <a:lnTo>
                      <a:pt x="38" y="16"/>
                    </a:lnTo>
                    <a:lnTo>
                      <a:pt x="22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462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20" name="Freeform 3831"/>
              <p:cNvSpPr>
                <a:spLocks/>
              </p:cNvSpPr>
              <p:nvPr/>
            </p:nvSpPr>
            <p:spPr bwMode="auto">
              <a:xfrm>
                <a:off x="4623" y="2456"/>
                <a:ext cx="282" cy="21"/>
              </a:xfrm>
              <a:custGeom>
                <a:avLst/>
                <a:gdLst>
                  <a:gd name="T0" fmla="*/ 0 w 282"/>
                  <a:gd name="T1" fmla="*/ 21 h 21"/>
                  <a:gd name="T2" fmla="*/ 0 w 282"/>
                  <a:gd name="T3" fmla="*/ 21 h 21"/>
                  <a:gd name="T4" fmla="*/ 5 w 282"/>
                  <a:gd name="T5" fmla="*/ 21 h 21"/>
                  <a:gd name="T6" fmla="*/ 10 w 282"/>
                  <a:gd name="T7" fmla="*/ 21 h 21"/>
                  <a:gd name="T8" fmla="*/ 21 w 282"/>
                  <a:gd name="T9" fmla="*/ 16 h 21"/>
                  <a:gd name="T10" fmla="*/ 32 w 282"/>
                  <a:gd name="T11" fmla="*/ 16 h 21"/>
                  <a:gd name="T12" fmla="*/ 48 w 282"/>
                  <a:gd name="T13" fmla="*/ 10 h 21"/>
                  <a:gd name="T14" fmla="*/ 64 w 282"/>
                  <a:gd name="T15" fmla="*/ 5 h 21"/>
                  <a:gd name="T16" fmla="*/ 85 w 282"/>
                  <a:gd name="T17" fmla="*/ 5 h 21"/>
                  <a:gd name="T18" fmla="*/ 101 w 282"/>
                  <a:gd name="T19" fmla="*/ 5 h 21"/>
                  <a:gd name="T20" fmla="*/ 122 w 282"/>
                  <a:gd name="T21" fmla="*/ 0 h 21"/>
                  <a:gd name="T22" fmla="*/ 149 w 282"/>
                  <a:gd name="T23" fmla="*/ 0 h 21"/>
                  <a:gd name="T24" fmla="*/ 170 w 282"/>
                  <a:gd name="T25" fmla="*/ 0 h 21"/>
                  <a:gd name="T26" fmla="*/ 197 w 282"/>
                  <a:gd name="T27" fmla="*/ 5 h 21"/>
                  <a:gd name="T28" fmla="*/ 224 w 282"/>
                  <a:gd name="T29" fmla="*/ 5 h 21"/>
                  <a:gd name="T30" fmla="*/ 250 w 282"/>
                  <a:gd name="T31" fmla="*/ 10 h 21"/>
                  <a:gd name="T32" fmla="*/ 282 w 282"/>
                  <a:gd name="T33" fmla="*/ 21 h 21"/>
                  <a:gd name="T34" fmla="*/ 277 w 282"/>
                  <a:gd name="T35" fmla="*/ 21 h 21"/>
                  <a:gd name="T36" fmla="*/ 277 w 282"/>
                  <a:gd name="T37" fmla="*/ 21 h 21"/>
                  <a:gd name="T38" fmla="*/ 266 w 282"/>
                  <a:gd name="T39" fmla="*/ 16 h 21"/>
                  <a:gd name="T40" fmla="*/ 256 w 282"/>
                  <a:gd name="T41" fmla="*/ 16 h 21"/>
                  <a:gd name="T42" fmla="*/ 245 w 282"/>
                  <a:gd name="T43" fmla="*/ 16 h 21"/>
                  <a:gd name="T44" fmla="*/ 229 w 282"/>
                  <a:gd name="T45" fmla="*/ 16 h 21"/>
                  <a:gd name="T46" fmla="*/ 213 w 282"/>
                  <a:gd name="T47" fmla="*/ 16 h 21"/>
                  <a:gd name="T48" fmla="*/ 197 w 282"/>
                  <a:gd name="T49" fmla="*/ 16 h 21"/>
                  <a:gd name="T50" fmla="*/ 176 w 282"/>
                  <a:gd name="T51" fmla="*/ 16 h 21"/>
                  <a:gd name="T52" fmla="*/ 154 w 282"/>
                  <a:gd name="T53" fmla="*/ 10 h 21"/>
                  <a:gd name="T54" fmla="*/ 128 w 282"/>
                  <a:gd name="T55" fmla="*/ 16 h 21"/>
                  <a:gd name="T56" fmla="*/ 106 w 282"/>
                  <a:gd name="T57" fmla="*/ 16 h 21"/>
                  <a:gd name="T58" fmla="*/ 80 w 282"/>
                  <a:gd name="T59" fmla="*/ 16 h 21"/>
                  <a:gd name="T60" fmla="*/ 53 w 282"/>
                  <a:gd name="T61" fmla="*/ 16 h 21"/>
                  <a:gd name="T62" fmla="*/ 26 w 282"/>
                  <a:gd name="T63" fmla="*/ 21 h 21"/>
                  <a:gd name="T64" fmla="*/ 0 w 282"/>
                  <a:gd name="T65" fmla="*/ 21 h 2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82"/>
                  <a:gd name="T100" fmla="*/ 0 h 21"/>
                  <a:gd name="T101" fmla="*/ 282 w 282"/>
                  <a:gd name="T102" fmla="*/ 21 h 2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82" h="21">
                    <a:moveTo>
                      <a:pt x="0" y="21"/>
                    </a:moveTo>
                    <a:lnTo>
                      <a:pt x="0" y="21"/>
                    </a:lnTo>
                    <a:lnTo>
                      <a:pt x="5" y="21"/>
                    </a:lnTo>
                    <a:lnTo>
                      <a:pt x="10" y="21"/>
                    </a:lnTo>
                    <a:lnTo>
                      <a:pt x="21" y="16"/>
                    </a:lnTo>
                    <a:lnTo>
                      <a:pt x="32" y="16"/>
                    </a:lnTo>
                    <a:lnTo>
                      <a:pt x="48" y="10"/>
                    </a:lnTo>
                    <a:lnTo>
                      <a:pt x="64" y="5"/>
                    </a:lnTo>
                    <a:lnTo>
                      <a:pt x="85" y="5"/>
                    </a:lnTo>
                    <a:lnTo>
                      <a:pt x="101" y="5"/>
                    </a:lnTo>
                    <a:lnTo>
                      <a:pt x="122" y="0"/>
                    </a:lnTo>
                    <a:lnTo>
                      <a:pt x="149" y="0"/>
                    </a:lnTo>
                    <a:lnTo>
                      <a:pt x="170" y="0"/>
                    </a:lnTo>
                    <a:lnTo>
                      <a:pt x="197" y="5"/>
                    </a:lnTo>
                    <a:lnTo>
                      <a:pt x="224" y="5"/>
                    </a:lnTo>
                    <a:lnTo>
                      <a:pt x="250" y="10"/>
                    </a:lnTo>
                    <a:lnTo>
                      <a:pt x="282" y="21"/>
                    </a:lnTo>
                    <a:lnTo>
                      <a:pt x="277" y="21"/>
                    </a:lnTo>
                    <a:lnTo>
                      <a:pt x="266" y="16"/>
                    </a:lnTo>
                    <a:lnTo>
                      <a:pt x="256" y="16"/>
                    </a:lnTo>
                    <a:lnTo>
                      <a:pt x="245" y="16"/>
                    </a:lnTo>
                    <a:lnTo>
                      <a:pt x="229" y="16"/>
                    </a:lnTo>
                    <a:lnTo>
                      <a:pt x="213" y="16"/>
                    </a:lnTo>
                    <a:lnTo>
                      <a:pt x="197" y="16"/>
                    </a:lnTo>
                    <a:lnTo>
                      <a:pt x="176" y="16"/>
                    </a:lnTo>
                    <a:lnTo>
                      <a:pt x="154" y="10"/>
                    </a:lnTo>
                    <a:lnTo>
                      <a:pt x="128" y="16"/>
                    </a:lnTo>
                    <a:lnTo>
                      <a:pt x="106" y="16"/>
                    </a:lnTo>
                    <a:lnTo>
                      <a:pt x="80" y="16"/>
                    </a:lnTo>
                    <a:lnTo>
                      <a:pt x="53" y="16"/>
                    </a:lnTo>
                    <a:lnTo>
                      <a:pt x="26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8462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21" name="Freeform 3832"/>
              <p:cNvSpPr>
                <a:spLocks/>
              </p:cNvSpPr>
              <p:nvPr/>
            </p:nvSpPr>
            <p:spPr bwMode="auto">
              <a:xfrm>
                <a:off x="4628" y="2680"/>
                <a:ext cx="117" cy="123"/>
              </a:xfrm>
              <a:custGeom>
                <a:avLst/>
                <a:gdLst>
                  <a:gd name="T0" fmla="*/ 0 w 117"/>
                  <a:gd name="T1" fmla="*/ 0 h 123"/>
                  <a:gd name="T2" fmla="*/ 5 w 117"/>
                  <a:gd name="T3" fmla="*/ 117 h 123"/>
                  <a:gd name="T4" fmla="*/ 117 w 117"/>
                  <a:gd name="T5" fmla="*/ 123 h 123"/>
                  <a:gd name="T6" fmla="*/ 16 w 117"/>
                  <a:gd name="T7" fmla="*/ 101 h 123"/>
                  <a:gd name="T8" fmla="*/ 112 w 117"/>
                  <a:gd name="T9" fmla="*/ 96 h 123"/>
                  <a:gd name="T10" fmla="*/ 21 w 117"/>
                  <a:gd name="T11" fmla="*/ 80 h 123"/>
                  <a:gd name="T12" fmla="*/ 112 w 117"/>
                  <a:gd name="T13" fmla="*/ 69 h 123"/>
                  <a:gd name="T14" fmla="*/ 21 w 117"/>
                  <a:gd name="T15" fmla="*/ 59 h 123"/>
                  <a:gd name="T16" fmla="*/ 112 w 117"/>
                  <a:gd name="T17" fmla="*/ 43 h 123"/>
                  <a:gd name="T18" fmla="*/ 21 w 117"/>
                  <a:gd name="T19" fmla="*/ 37 h 123"/>
                  <a:gd name="T20" fmla="*/ 101 w 117"/>
                  <a:gd name="T21" fmla="*/ 21 h 123"/>
                  <a:gd name="T22" fmla="*/ 16 w 117"/>
                  <a:gd name="T23" fmla="*/ 16 h 123"/>
                  <a:gd name="T24" fmla="*/ 64 w 117"/>
                  <a:gd name="T25" fmla="*/ 11 h 123"/>
                  <a:gd name="T26" fmla="*/ 0 w 117"/>
                  <a:gd name="T27" fmla="*/ 0 h 12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17"/>
                  <a:gd name="T43" fmla="*/ 0 h 123"/>
                  <a:gd name="T44" fmla="*/ 117 w 117"/>
                  <a:gd name="T45" fmla="*/ 123 h 123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17" h="123">
                    <a:moveTo>
                      <a:pt x="0" y="0"/>
                    </a:moveTo>
                    <a:lnTo>
                      <a:pt x="5" y="117"/>
                    </a:lnTo>
                    <a:lnTo>
                      <a:pt x="117" y="123"/>
                    </a:lnTo>
                    <a:lnTo>
                      <a:pt x="16" y="101"/>
                    </a:lnTo>
                    <a:lnTo>
                      <a:pt x="112" y="96"/>
                    </a:lnTo>
                    <a:lnTo>
                      <a:pt x="21" y="80"/>
                    </a:lnTo>
                    <a:lnTo>
                      <a:pt x="112" y="69"/>
                    </a:lnTo>
                    <a:lnTo>
                      <a:pt x="21" y="59"/>
                    </a:lnTo>
                    <a:lnTo>
                      <a:pt x="112" y="43"/>
                    </a:lnTo>
                    <a:lnTo>
                      <a:pt x="21" y="37"/>
                    </a:lnTo>
                    <a:lnTo>
                      <a:pt x="101" y="21"/>
                    </a:lnTo>
                    <a:lnTo>
                      <a:pt x="16" y="16"/>
                    </a:lnTo>
                    <a:lnTo>
                      <a:pt x="64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462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22" name="Freeform 3833"/>
              <p:cNvSpPr>
                <a:spLocks/>
              </p:cNvSpPr>
              <p:nvPr/>
            </p:nvSpPr>
            <p:spPr bwMode="auto">
              <a:xfrm>
                <a:off x="4639" y="2872"/>
                <a:ext cx="96" cy="139"/>
              </a:xfrm>
              <a:custGeom>
                <a:avLst/>
                <a:gdLst>
                  <a:gd name="T0" fmla="*/ 0 w 96"/>
                  <a:gd name="T1" fmla="*/ 0 h 139"/>
                  <a:gd name="T2" fmla="*/ 0 w 96"/>
                  <a:gd name="T3" fmla="*/ 118 h 139"/>
                  <a:gd name="T4" fmla="*/ 96 w 96"/>
                  <a:gd name="T5" fmla="*/ 139 h 139"/>
                  <a:gd name="T6" fmla="*/ 16 w 96"/>
                  <a:gd name="T7" fmla="*/ 102 h 139"/>
                  <a:gd name="T8" fmla="*/ 90 w 96"/>
                  <a:gd name="T9" fmla="*/ 107 h 139"/>
                  <a:gd name="T10" fmla="*/ 16 w 96"/>
                  <a:gd name="T11" fmla="*/ 80 h 139"/>
                  <a:gd name="T12" fmla="*/ 90 w 96"/>
                  <a:gd name="T13" fmla="*/ 80 h 139"/>
                  <a:gd name="T14" fmla="*/ 16 w 96"/>
                  <a:gd name="T15" fmla="*/ 59 h 139"/>
                  <a:gd name="T16" fmla="*/ 90 w 96"/>
                  <a:gd name="T17" fmla="*/ 48 h 139"/>
                  <a:gd name="T18" fmla="*/ 16 w 96"/>
                  <a:gd name="T19" fmla="*/ 38 h 139"/>
                  <a:gd name="T20" fmla="*/ 85 w 96"/>
                  <a:gd name="T21" fmla="*/ 32 h 139"/>
                  <a:gd name="T22" fmla="*/ 16 w 96"/>
                  <a:gd name="T23" fmla="*/ 16 h 139"/>
                  <a:gd name="T24" fmla="*/ 74 w 96"/>
                  <a:gd name="T25" fmla="*/ 11 h 139"/>
                  <a:gd name="T26" fmla="*/ 0 w 96"/>
                  <a:gd name="T27" fmla="*/ 0 h 13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96"/>
                  <a:gd name="T43" fmla="*/ 0 h 139"/>
                  <a:gd name="T44" fmla="*/ 96 w 96"/>
                  <a:gd name="T45" fmla="*/ 139 h 13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96" h="139">
                    <a:moveTo>
                      <a:pt x="0" y="0"/>
                    </a:moveTo>
                    <a:lnTo>
                      <a:pt x="0" y="118"/>
                    </a:lnTo>
                    <a:lnTo>
                      <a:pt x="96" y="139"/>
                    </a:lnTo>
                    <a:lnTo>
                      <a:pt x="16" y="102"/>
                    </a:lnTo>
                    <a:lnTo>
                      <a:pt x="90" y="107"/>
                    </a:lnTo>
                    <a:lnTo>
                      <a:pt x="16" y="80"/>
                    </a:lnTo>
                    <a:lnTo>
                      <a:pt x="90" y="80"/>
                    </a:lnTo>
                    <a:lnTo>
                      <a:pt x="16" y="59"/>
                    </a:lnTo>
                    <a:lnTo>
                      <a:pt x="90" y="48"/>
                    </a:lnTo>
                    <a:lnTo>
                      <a:pt x="16" y="38"/>
                    </a:lnTo>
                    <a:lnTo>
                      <a:pt x="85" y="32"/>
                    </a:lnTo>
                    <a:lnTo>
                      <a:pt x="16" y="16"/>
                    </a:lnTo>
                    <a:lnTo>
                      <a:pt x="74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462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23" name="Freeform 3834"/>
              <p:cNvSpPr>
                <a:spLocks/>
              </p:cNvSpPr>
              <p:nvPr/>
            </p:nvSpPr>
            <p:spPr bwMode="auto">
              <a:xfrm>
                <a:off x="4868" y="2488"/>
                <a:ext cx="32" cy="149"/>
              </a:xfrm>
              <a:custGeom>
                <a:avLst/>
                <a:gdLst>
                  <a:gd name="T0" fmla="*/ 5 w 32"/>
                  <a:gd name="T1" fmla="*/ 0 h 149"/>
                  <a:gd name="T2" fmla="*/ 32 w 32"/>
                  <a:gd name="T3" fmla="*/ 0 h 149"/>
                  <a:gd name="T4" fmla="*/ 27 w 32"/>
                  <a:gd name="T5" fmla="*/ 149 h 149"/>
                  <a:gd name="T6" fmla="*/ 0 w 32"/>
                  <a:gd name="T7" fmla="*/ 149 h 149"/>
                  <a:gd name="T8" fmla="*/ 5 w 32"/>
                  <a:gd name="T9" fmla="*/ 0 h 14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"/>
                  <a:gd name="T16" fmla="*/ 0 h 149"/>
                  <a:gd name="T17" fmla="*/ 32 w 32"/>
                  <a:gd name="T18" fmla="*/ 149 h 14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" h="149">
                    <a:moveTo>
                      <a:pt x="5" y="0"/>
                    </a:moveTo>
                    <a:lnTo>
                      <a:pt x="32" y="0"/>
                    </a:lnTo>
                    <a:lnTo>
                      <a:pt x="27" y="149"/>
                    </a:lnTo>
                    <a:lnTo>
                      <a:pt x="0" y="149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CD8B6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24" name="Freeform 3835"/>
              <p:cNvSpPr>
                <a:spLocks/>
              </p:cNvSpPr>
              <p:nvPr/>
            </p:nvSpPr>
            <p:spPr bwMode="auto">
              <a:xfrm>
                <a:off x="4857" y="2685"/>
                <a:ext cx="32" cy="123"/>
              </a:xfrm>
              <a:custGeom>
                <a:avLst/>
                <a:gdLst>
                  <a:gd name="T0" fmla="*/ 11 w 32"/>
                  <a:gd name="T1" fmla="*/ 0 h 123"/>
                  <a:gd name="T2" fmla="*/ 32 w 32"/>
                  <a:gd name="T3" fmla="*/ 0 h 123"/>
                  <a:gd name="T4" fmla="*/ 22 w 32"/>
                  <a:gd name="T5" fmla="*/ 123 h 123"/>
                  <a:gd name="T6" fmla="*/ 0 w 32"/>
                  <a:gd name="T7" fmla="*/ 123 h 123"/>
                  <a:gd name="T8" fmla="*/ 11 w 32"/>
                  <a:gd name="T9" fmla="*/ 0 h 12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"/>
                  <a:gd name="T16" fmla="*/ 0 h 123"/>
                  <a:gd name="T17" fmla="*/ 32 w 32"/>
                  <a:gd name="T18" fmla="*/ 123 h 12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" h="123">
                    <a:moveTo>
                      <a:pt x="11" y="0"/>
                    </a:moveTo>
                    <a:lnTo>
                      <a:pt x="32" y="0"/>
                    </a:lnTo>
                    <a:lnTo>
                      <a:pt x="22" y="123"/>
                    </a:lnTo>
                    <a:lnTo>
                      <a:pt x="0" y="123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D8B6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25" name="Freeform 3836"/>
              <p:cNvSpPr>
                <a:spLocks/>
              </p:cNvSpPr>
              <p:nvPr/>
            </p:nvSpPr>
            <p:spPr bwMode="auto">
              <a:xfrm>
                <a:off x="4841" y="2872"/>
                <a:ext cx="32" cy="128"/>
              </a:xfrm>
              <a:custGeom>
                <a:avLst/>
                <a:gdLst>
                  <a:gd name="T0" fmla="*/ 11 w 32"/>
                  <a:gd name="T1" fmla="*/ 6 h 128"/>
                  <a:gd name="T2" fmla="*/ 32 w 32"/>
                  <a:gd name="T3" fmla="*/ 0 h 128"/>
                  <a:gd name="T4" fmla="*/ 16 w 32"/>
                  <a:gd name="T5" fmla="*/ 128 h 128"/>
                  <a:gd name="T6" fmla="*/ 0 w 32"/>
                  <a:gd name="T7" fmla="*/ 128 h 128"/>
                  <a:gd name="T8" fmla="*/ 11 w 32"/>
                  <a:gd name="T9" fmla="*/ 6 h 12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"/>
                  <a:gd name="T16" fmla="*/ 0 h 128"/>
                  <a:gd name="T17" fmla="*/ 32 w 32"/>
                  <a:gd name="T18" fmla="*/ 128 h 12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" h="128">
                    <a:moveTo>
                      <a:pt x="11" y="6"/>
                    </a:moveTo>
                    <a:lnTo>
                      <a:pt x="32" y="0"/>
                    </a:lnTo>
                    <a:lnTo>
                      <a:pt x="16" y="128"/>
                    </a:lnTo>
                    <a:lnTo>
                      <a:pt x="0" y="128"/>
                    </a:lnTo>
                    <a:lnTo>
                      <a:pt x="11" y="6"/>
                    </a:lnTo>
                    <a:close/>
                  </a:path>
                </a:pathLst>
              </a:custGeom>
              <a:solidFill>
                <a:srgbClr val="CD8B6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26" name="Freeform 3837"/>
              <p:cNvSpPr>
                <a:spLocks/>
              </p:cNvSpPr>
              <p:nvPr/>
            </p:nvSpPr>
            <p:spPr bwMode="auto">
              <a:xfrm>
                <a:off x="4553" y="2285"/>
                <a:ext cx="64" cy="112"/>
              </a:xfrm>
              <a:custGeom>
                <a:avLst/>
                <a:gdLst>
                  <a:gd name="T0" fmla="*/ 32 w 64"/>
                  <a:gd name="T1" fmla="*/ 112 h 112"/>
                  <a:gd name="T2" fmla="*/ 64 w 64"/>
                  <a:gd name="T3" fmla="*/ 101 h 112"/>
                  <a:gd name="T4" fmla="*/ 0 w 64"/>
                  <a:gd name="T5" fmla="*/ 0 h 112"/>
                  <a:gd name="T6" fmla="*/ 32 w 64"/>
                  <a:gd name="T7" fmla="*/ 112 h 1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112"/>
                  <a:gd name="T14" fmla="*/ 64 w 64"/>
                  <a:gd name="T15" fmla="*/ 112 h 1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112">
                    <a:moveTo>
                      <a:pt x="32" y="112"/>
                    </a:moveTo>
                    <a:lnTo>
                      <a:pt x="64" y="101"/>
                    </a:lnTo>
                    <a:lnTo>
                      <a:pt x="0" y="0"/>
                    </a:lnTo>
                    <a:lnTo>
                      <a:pt x="32" y="112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27" name="Freeform 3838"/>
              <p:cNvSpPr>
                <a:spLocks/>
              </p:cNvSpPr>
              <p:nvPr/>
            </p:nvSpPr>
            <p:spPr bwMode="auto">
              <a:xfrm>
                <a:off x="4665" y="2237"/>
                <a:ext cx="43" cy="133"/>
              </a:xfrm>
              <a:custGeom>
                <a:avLst/>
                <a:gdLst>
                  <a:gd name="T0" fmla="*/ 0 w 43"/>
                  <a:gd name="T1" fmla="*/ 133 h 133"/>
                  <a:gd name="T2" fmla="*/ 43 w 43"/>
                  <a:gd name="T3" fmla="*/ 123 h 133"/>
                  <a:gd name="T4" fmla="*/ 0 w 43"/>
                  <a:gd name="T5" fmla="*/ 0 h 133"/>
                  <a:gd name="T6" fmla="*/ 0 w 43"/>
                  <a:gd name="T7" fmla="*/ 133 h 13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3"/>
                  <a:gd name="T13" fmla="*/ 0 h 133"/>
                  <a:gd name="T14" fmla="*/ 43 w 43"/>
                  <a:gd name="T15" fmla="*/ 133 h 13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3" h="133">
                    <a:moveTo>
                      <a:pt x="0" y="133"/>
                    </a:moveTo>
                    <a:lnTo>
                      <a:pt x="43" y="123"/>
                    </a:lnTo>
                    <a:lnTo>
                      <a:pt x="0" y="0"/>
                    </a:lnTo>
                    <a:lnTo>
                      <a:pt x="0" y="133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28" name="Freeform 3839"/>
              <p:cNvSpPr>
                <a:spLocks/>
              </p:cNvSpPr>
              <p:nvPr/>
            </p:nvSpPr>
            <p:spPr bwMode="auto">
              <a:xfrm>
                <a:off x="4761" y="2205"/>
                <a:ext cx="43" cy="155"/>
              </a:xfrm>
              <a:custGeom>
                <a:avLst/>
                <a:gdLst>
                  <a:gd name="T0" fmla="*/ 0 w 43"/>
                  <a:gd name="T1" fmla="*/ 149 h 155"/>
                  <a:gd name="T2" fmla="*/ 43 w 43"/>
                  <a:gd name="T3" fmla="*/ 155 h 155"/>
                  <a:gd name="T4" fmla="*/ 16 w 43"/>
                  <a:gd name="T5" fmla="*/ 0 h 155"/>
                  <a:gd name="T6" fmla="*/ 0 w 43"/>
                  <a:gd name="T7" fmla="*/ 149 h 15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3"/>
                  <a:gd name="T13" fmla="*/ 0 h 155"/>
                  <a:gd name="T14" fmla="*/ 43 w 43"/>
                  <a:gd name="T15" fmla="*/ 155 h 15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3" h="155">
                    <a:moveTo>
                      <a:pt x="0" y="149"/>
                    </a:moveTo>
                    <a:lnTo>
                      <a:pt x="43" y="155"/>
                    </a:lnTo>
                    <a:lnTo>
                      <a:pt x="16" y="0"/>
                    </a:lnTo>
                    <a:lnTo>
                      <a:pt x="0" y="149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29" name="Freeform 3840"/>
              <p:cNvSpPr>
                <a:spLocks/>
              </p:cNvSpPr>
              <p:nvPr/>
            </p:nvSpPr>
            <p:spPr bwMode="auto">
              <a:xfrm>
                <a:off x="4857" y="2226"/>
                <a:ext cx="54" cy="144"/>
              </a:xfrm>
              <a:custGeom>
                <a:avLst/>
                <a:gdLst>
                  <a:gd name="T0" fmla="*/ 0 w 54"/>
                  <a:gd name="T1" fmla="*/ 134 h 144"/>
                  <a:gd name="T2" fmla="*/ 38 w 54"/>
                  <a:gd name="T3" fmla="*/ 144 h 144"/>
                  <a:gd name="T4" fmla="*/ 54 w 54"/>
                  <a:gd name="T5" fmla="*/ 0 h 144"/>
                  <a:gd name="T6" fmla="*/ 0 w 54"/>
                  <a:gd name="T7" fmla="*/ 134 h 14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4"/>
                  <a:gd name="T13" fmla="*/ 0 h 144"/>
                  <a:gd name="T14" fmla="*/ 54 w 54"/>
                  <a:gd name="T15" fmla="*/ 144 h 14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4" h="144">
                    <a:moveTo>
                      <a:pt x="0" y="134"/>
                    </a:moveTo>
                    <a:lnTo>
                      <a:pt x="38" y="144"/>
                    </a:lnTo>
                    <a:lnTo>
                      <a:pt x="54" y="0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30" name="Freeform 3841"/>
              <p:cNvSpPr>
                <a:spLocks/>
              </p:cNvSpPr>
              <p:nvPr/>
            </p:nvSpPr>
            <p:spPr bwMode="auto">
              <a:xfrm>
                <a:off x="4937" y="2290"/>
                <a:ext cx="86" cy="118"/>
              </a:xfrm>
              <a:custGeom>
                <a:avLst/>
                <a:gdLst>
                  <a:gd name="T0" fmla="*/ 0 w 86"/>
                  <a:gd name="T1" fmla="*/ 102 h 118"/>
                  <a:gd name="T2" fmla="*/ 38 w 86"/>
                  <a:gd name="T3" fmla="*/ 118 h 118"/>
                  <a:gd name="T4" fmla="*/ 86 w 86"/>
                  <a:gd name="T5" fmla="*/ 0 h 118"/>
                  <a:gd name="T6" fmla="*/ 0 w 86"/>
                  <a:gd name="T7" fmla="*/ 102 h 1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6"/>
                  <a:gd name="T13" fmla="*/ 0 h 118"/>
                  <a:gd name="T14" fmla="*/ 86 w 86"/>
                  <a:gd name="T15" fmla="*/ 118 h 1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6" h="118">
                    <a:moveTo>
                      <a:pt x="0" y="102"/>
                    </a:moveTo>
                    <a:lnTo>
                      <a:pt x="38" y="118"/>
                    </a:lnTo>
                    <a:lnTo>
                      <a:pt x="86" y="0"/>
                    </a:lnTo>
                    <a:lnTo>
                      <a:pt x="0" y="102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31" name="Freeform 3842"/>
              <p:cNvSpPr>
                <a:spLocks/>
              </p:cNvSpPr>
              <p:nvPr/>
            </p:nvSpPr>
            <p:spPr bwMode="auto">
              <a:xfrm>
                <a:off x="4548" y="3102"/>
                <a:ext cx="64" cy="112"/>
              </a:xfrm>
              <a:custGeom>
                <a:avLst/>
                <a:gdLst>
                  <a:gd name="T0" fmla="*/ 32 w 64"/>
                  <a:gd name="T1" fmla="*/ 0 h 112"/>
                  <a:gd name="T2" fmla="*/ 64 w 64"/>
                  <a:gd name="T3" fmla="*/ 11 h 112"/>
                  <a:gd name="T4" fmla="*/ 0 w 64"/>
                  <a:gd name="T5" fmla="*/ 112 h 112"/>
                  <a:gd name="T6" fmla="*/ 32 w 64"/>
                  <a:gd name="T7" fmla="*/ 0 h 1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112"/>
                  <a:gd name="T14" fmla="*/ 64 w 64"/>
                  <a:gd name="T15" fmla="*/ 112 h 1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112">
                    <a:moveTo>
                      <a:pt x="32" y="0"/>
                    </a:moveTo>
                    <a:lnTo>
                      <a:pt x="64" y="11"/>
                    </a:lnTo>
                    <a:lnTo>
                      <a:pt x="0" y="112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32" name="Freeform 3843"/>
              <p:cNvSpPr>
                <a:spLocks/>
              </p:cNvSpPr>
              <p:nvPr/>
            </p:nvSpPr>
            <p:spPr bwMode="auto">
              <a:xfrm>
                <a:off x="4660" y="3129"/>
                <a:ext cx="43" cy="133"/>
              </a:xfrm>
              <a:custGeom>
                <a:avLst/>
                <a:gdLst>
                  <a:gd name="T0" fmla="*/ 0 w 43"/>
                  <a:gd name="T1" fmla="*/ 0 h 133"/>
                  <a:gd name="T2" fmla="*/ 43 w 43"/>
                  <a:gd name="T3" fmla="*/ 10 h 133"/>
                  <a:gd name="T4" fmla="*/ 0 w 43"/>
                  <a:gd name="T5" fmla="*/ 133 h 133"/>
                  <a:gd name="T6" fmla="*/ 0 w 43"/>
                  <a:gd name="T7" fmla="*/ 0 h 13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3"/>
                  <a:gd name="T13" fmla="*/ 0 h 133"/>
                  <a:gd name="T14" fmla="*/ 43 w 43"/>
                  <a:gd name="T15" fmla="*/ 133 h 13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3" h="133">
                    <a:moveTo>
                      <a:pt x="0" y="0"/>
                    </a:moveTo>
                    <a:lnTo>
                      <a:pt x="43" y="10"/>
                    </a:lnTo>
                    <a:lnTo>
                      <a:pt x="0" y="1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33" name="Freeform 3844"/>
              <p:cNvSpPr>
                <a:spLocks/>
              </p:cNvSpPr>
              <p:nvPr/>
            </p:nvSpPr>
            <p:spPr bwMode="auto">
              <a:xfrm>
                <a:off x="4756" y="3139"/>
                <a:ext cx="43" cy="155"/>
              </a:xfrm>
              <a:custGeom>
                <a:avLst/>
                <a:gdLst>
                  <a:gd name="T0" fmla="*/ 0 w 43"/>
                  <a:gd name="T1" fmla="*/ 0 h 155"/>
                  <a:gd name="T2" fmla="*/ 43 w 43"/>
                  <a:gd name="T3" fmla="*/ 0 h 155"/>
                  <a:gd name="T4" fmla="*/ 16 w 43"/>
                  <a:gd name="T5" fmla="*/ 155 h 155"/>
                  <a:gd name="T6" fmla="*/ 0 w 43"/>
                  <a:gd name="T7" fmla="*/ 0 h 15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3"/>
                  <a:gd name="T13" fmla="*/ 0 h 155"/>
                  <a:gd name="T14" fmla="*/ 43 w 43"/>
                  <a:gd name="T15" fmla="*/ 155 h 15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3" h="155">
                    <a:moveTo>
                      <a:pt x="0" y="0"/>
                    </a:moveTo>
                    <a:lnTo>
                      <a:pt x="43" y="0"/>
                    </a:lnTo>
                    <a:lnTo>
                      <a:pt x="16" y="15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34" name="Freeform 3845"/>
              <p:cNvSpPr>
                <a:spLocks/>
              </p:cNvSpPr>
              <p:nvPr/>
            </p:nvSpPr>
            <p:spPr bwMode="auto">
              <a:xfrm>
                <a:off x="4852" y="3129"/>
                <a:ext cx="53" cy="144"/>
              </a:xfrm>
              <a:custGeom>
                <a:avLst/>
                <a:gdLst>
                  <a:gd name="T0" fmla="*/ 0 w 53"/>
                  <a:gd name="T1" fmla="*/ 10 h 144"/>
                  <a:gd name="T2" fmla="*/ 37 w 53"/>
                  <a:gd name="T3" fmla="*/ 0 h 144"/>
                  <a:gd name="T4" fmla="*/ 53 w 53"/>
                  <a:gd name="T5" fmla="*/ 144 h 144"/>
                  <a:gd name="T6" fmla="*/ 0 w 53"/>
                  <a:gd name="T7" fmla="*/ 10 h 14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3"/>
                  <a:gd name="T13" fmla="*/ 0 h 144"/>
                  <a:gd name="T14" fmla="*/ 53 w 53"/>
                  <a:gd name="T15" fmla="*/ 144 h 14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3" h="144">
                    <a:moveTo>
                      <a:pt x="0" y="10"/>
                    </a:moveTo>
                    <a:lnTo>
                      <a:pt x="37" y="0"/>
                    </a:lnTo>
                    <a:lnTo>
                      <a:pt x="53" y="144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35" name="Freeform 3846"/>
              <p:cNvSpPr>
                <a:spLocks/>
              </p:cNvSpPr>
              <p:nvPr/>
            </p:nvSpPr>
            <p:spPr bwMode="auto">
              <a:xfrm>
                <a:off x="4932" y="3091"/>
                <a:ext cx="85" cy="118"/>
              </a:xfrm>
              <a:custGeom>
                <a:avLst/>
                <a:gdLst>
                  <a:gd name="T0" fmla="*/ 0 w 85"/>
                  <a:gd name="T1" fmla="*/ 16 h 118"/>
                  <a:gd name="T2" fmla="*/ 37 w 85"/>
                  <a:gd name="T3" fmla="*/ 0 h 118"/>
                  <a:gd name="T4" fmla="*/ 85 w 85"/>
                  <a:gd name="T5" fmla="*/ 118 h 118"/>
                  <a:gd name="T6" fmla="*/ 0 w 85"/>
                  <a:gd name="T7" fmla="*/ 16 h 1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5"/>
                  <a:gd name="T13" fmla="*/ 0 h 118"/>
                  <a:gd name="T14" fmla="*/ 85 w 85"/>
                  <a:gd name="T15" fmla="*/ 118 h 1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5" h="118">
                    <a:moveTo>
                      <a:pt x="0" y="16"/>
                    </a:moveTo>
                    <a:lnTo>
                      <a:pt x="37" y="0"/>
                    </a:lnTo>
                    <a:lnTo>
                      <a:pt x="85" y="118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36" name="Freeform 3847"/>
              <p:cNvSpPr>
                <a:spLocks/>
              </p:cNvSpPr>
              <p:nvPr/>
            </p:nvSpPr>
            <p:spPr bwMode="auto">
              <a:xfrm>
                <a:off x="4719" y="2712"/>
                <a:ext cx="42" cy="5"/>
              </a:xfrm>
              <a:custGeom>
                <a:avLst/>
                <a:gdLst>
                  <a:gd name="T0" fmla="*/ 0 w 42"/>
                  <a:gd name="T1" fmla="*/ 5 h 5"/>
                  <a:gd name="T2" fmla="*/ 5 w 42"/>
                  <a:gd name="T3" fmla="*/ 5 h 5"/>
                  <a:gd name="T4" fmla="*/ 5 w 42"/>
                  <a:gd name="T5" fmla="*/ 5 h 5"/>
                  <a:gd name="T6" fmla="*/ 10 w 42"/>
                  <a:gd name="T7" fmla="*/ 5 h 5"/>
                  <a:gd name="T8" fmla="*/ 16 w 42"/>
                  <a:gd name="T9" fmla="*/ 5 h 5"/>
                  <a:gd name="T10" fmla="*/ 16 w 42"/>
                  <a:gd name="T11" fmla="*/ 0 h 5"/>
                  <a:gd name="T12" fmla="*/ 21 w 42"/>
                  <a:gd name="T13" fmla="*/ 0 h 5"/>
                  <a:gd name="T14" fmla="*/ 26 w 42"/>
                  <a:gd name="T15" fmla="*/ 0 h 5"/>
                  <a:gd name="T16" fmla="*/ 32 w 42"/>
                  <a:gd name="T17" fmla="*/ 5 h 5"/>
                  <a:gd name="T18" fmla="*/ 37 w 42"/>
                  <a:gd name="T19" fmla="*/ 5 h 5"/>
                  <a:gd name="T20" fmla="*/ 37 w 42"/>
                  <a:gd name="T21" fmla="*/ 5 h 5"/>
                  <a:gd name="T22" fmla="*/ 42 w 42"/>
                  <a:gd name="T23" fmla="*/ 5 h 5"/>
                  <a:gd name="T24" fmla="*/ 42 w 42"/>
                  <a:gd name="T25" fmla="*/ 5 h 5"/>
                  <a:gd name="T26" fmla="*/ 0 w 42"/>
                  <a:gd name="T27" fmla="*/ 5 h 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2"/>
                  <a:gd name="T43" fmla="*/ 0 h 5"/>
                  <a:gd name="T44" fmla="*/ 42 w 42"/>
                  <a:gd name="T45" fmla="*/ 5 h 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2" h="5">
                    <a:moveTo>
                      <a:pt x="0" y="5"/>
                    </a:moveTo>
                    <a:lnTo>
                      <a:pt x="5" y="5"/>
                    </a:lnTo>
                    <a:lnTo>
                      <a:pt x="10" y="5"/>
                    </a:lnTo>
                    <a:lnTo>
                      <a:pt x="16" y="5"/>
                    </a:lnTo>
                    <a:lnTo>
                      <a:pt x="16" y="0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2" y="5"/>
                    </a:lnTo>
                    <a:lnTo>
                      <a:pt x="37" y="5"/>
                    </a:lnTo>
                    <a:lnTo>
                      <a:pt x="42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37" name="Freeform 3848"/>
              <p:cNvSpPr>
                <a:spLocks/>
              </p:cNvSpPr>
              <p:nvPr/>
            </p:nvSpPr>
            <p:spPr bwMode="auto">
              <a:xfrm>
                <a:off x="4719" y="2717"/>
                <a:ext cx="48" cy="32"/>
              </a:xfrm>
              <a:custGeom>
                <a:avLst/>
                <a:gdLst>
                  <a:gd name="T0" fmla="*/ 0 w 48"/>
                  <a:gd name="T1" fmla="*/ 32 h 32"/>
                  <a:gd name="T2" fmla="*/ 0 w 48"/>
                  <a:gd name="T3" fmla="*/ 6 h 32"/>
                  <a:gd name="T4" fmla="*/ 0 w 48"/>
                  <a:gd name="T5" fmla="*/ 6 h 32"/>
                  <a:gd name="T6" fmla="*/ 0 w 48"/>
                  <a:gd name="T7" fmla="*/ 0 h 32"/>
                  <a:gd name="T8" fmla="*/ 0 w 48"/>
                  <a:gd name="T9" fmla="*/ 0 h 32"/>
                  <a:gd name="T10" fmla="*/ 42 w 48"/>
                  <a:gd name="T11" fmla="*/ 0 h 32"/>
                  <a:gd name="T12" fmla="*/ 42 w 48"/>
                  <a:gd name="T13" fmla="*/ 0 h 32"/>
                  <a:gd name="T14" fmla="*/ 48 w 48"/>
                  <a:gd name="T15" fmla="*/ 6 h 32"/>
                  <a:gd name="T16" fmla="*/ 48 w 48"/>
                  <a:gd name="T17" fmla="*/ 6 h 32"/>
                  <a:gd name="T18" fmla="*/ 48 w 48"/>
                  <a:gd name="T19" fmla="*/ 32 h 32"/>
                  <a:gd name="T20" fmla="*/ 26 w 48"/>
                  <a:gd name="T21" fmla="*/ 32 h 32"/>
                  <a:gd name="T22" fmla="*/ 26 w 48"/>
                  <a:gd name="T23" fmla="*/ 11 h 32"/>
                  <a:gd name="T24" fmla="*/ 26 w 48"/>
                  <a:gd name="T25" fmla="*/ 6 h 32"/>
                  <a:gd name="T26" fmla="*/ 26 w 48"/>
                  <a:gd name="T27" fmla="*/ 6 h 32"/>
                  <a:gd name="T28" fmla="*/ 26 w 48"/>
                  <a:gd name="T29" fmla="*/ 6 h 32"/>
                  <a:gd name="T30" fmla="*/ 21 w 48"/>
                  <a:gd name="T31" fmla="*/ 6 h 32"/>
                  <a:gd name="T32" fmla="*/ 21 w 48"/>
                  <a:gd name="T33" fmla="*/ 6 h 32"/>
                  <a:gd name="T34" fmla="*/ 16 w 48"/>
                  <a:gd name="T35" fmla="*/ 6 h 32"/>
                  <a:gd name="T36" fmla="*/ 16 w 48"/>
                  <a:gd name="T37" fmla="*/ 6 h 32"/>
                  <a:gd name="T38" fmla="*/ 16 w 48"/>
                  <a:gd name="T39" fmla="*/ 11 h 32"/>
                  <a:gd name="T40" fmla="*/ 16 w 48"/>
                  <a:gd name="T41" fmla="*/ 32 h 32"/>
                  <a:gd name="T42" fmla="*/ 0 w 48"/>
                  <a:gd name="T43" fmla="*/ 32 h 3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48"/>
                  <a:gd name="T67" fmla="*/ 0 h 32"/>
                  <a:gd name="T68" fmla="*/ 48 w 48"/>
                  <a:gd name="T69" fmla="*/ 32 h 32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48" h="32">
                    <a:moveTo>
                      <a:pt x="0" y="32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42" y="0"/>
                    </a:lnTo>
                    <a:lnTo>
                      <a:pt x="48" y="6"/>
                    </a:lnTo>
                    <a:lnTo>
                      <a:pt x="48" y="32"/>
                    </a:lnTo>
                    <a:lnTo>
                      <a:pt x="26" y="32"/>
                    </a:lnTo>
                    <a:lnTo>
                      <a:pt x="26" y="11"/>
                    </a:lnTo>
                    <a:lnTo>
                      <a:pt x="26" y="6"/>
                    </a:lnTo>
                    <a:lnTo>
                      <a:pt x="21" y="6"/>
                    </a:lnTo>
                    <a:lnTo>
                      <a:pt x="16" y="6"/>
                    </a:lnTo>
                    <a:lnTo>
                      <a:pt x="16" y="11"/>
                    </a:lnTo>
                    <a:lnTo>
                      <a:pt x="16" y="32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38" name="Freeform 3849"/>
              <p:cNvSpPr>
                <a:spLocks/>
              </p:cNvSpPr>
              <p:nvPr/>
            </p:nvSpPr>
            <p:spPr bwMode="auto">
              <a:xfrm>
                <a:off x="4719" y="2749"/>
                <a:ext cx="48" cy="32"/>
              </a:xfrm>
              <a:custGeom>
                <a:avLst/>
                <a:gdLst>
                  <a:gd name="T0" fmla="*/ 0 w 48"/>
                  <a:gd name="T1" fmla="*/ 0 h 32"/>
                  <a:gd name="T2" fmla="*/ 0 w 48"/>
                  <a:gd name="T3" fmla="*/ 22 h 32"/>
                  <a:gd name="T4" fmla="*/ 0 w 48"/>
                  <a:gd name="T5" fmla="*/ 27 h 32"/>
                  <a:gd name="T6" fmla="*/ 0 w 48"/>
                  <a:gd name="T7" fmla="*/ 27 h 32"/>
                  <a:gd name="T8" fmla="*/ 5 w 48"/>
                  <a:gd name="T9" fmla="*/ 32 h 32"/>
                  <a:gd name="T10" fmla="*/ 5 w 48"/>
                  <a:gd name="T11" fmla="*/ 32 h 32"/>
                  <a:gd name="T12" fmla="*/ 10 w 48"/>
                  <a:gd name="T13" fmla="*/ 32 h 32"/>
                  <a:gd name="T14" fmla="*/ 16 w 48"/>
                  <a:gd name="T15" fmla="*/ 32 h 32"/>
                  <a:gd name="T16" fmla="*/ 16 w 48"/>
                  <a:gd name="T17" fmla="*/ 32 h 32"/>
                  <a:gd name="T18" fmla="*/ 21 w 48"/>
                  <a:gd name="T19" fmla="*/ 32 h 32"/>
                  <a:gd name="T20" fmla="*/ 26 w 48"/>
                  <a:gd name="T21" fmla="*/ 32 h 32"/>
                  <a:gd name="T22" fmla="*/ 32 w 48"/>
                  <a:gd name="T23" fmla="*/ 32 h 32"/>
                  <a:gd name="T24" fmla="*/ 37 w 48"/>
                  <a:gd name="T25" fmla="*/ 32 h 32"/>
                  <a:gd name="T26" fmla="*/ 37 w 48"/>
                  <a:gd name="T27" fmla="*/ 32 h 32"/>
                  <a:gd name="T28" fmla="*/ 42 w 48"/>
                  <a:gd name="T29" fmla="*/ 32 h 32"/>
                  <a:gd name="T30" fmla="*/ 42 w 48"/>
                  <a:gd name="T31" fmla="*/ 27 h 32"/>
                  <a:gd name="T32" fmla="*/ 48 w 48"/>
                  <a:gd name="T33" fmla="*/ 27 h 32"/>
                  <a:gd name="T34" fmla="*/ 48 w 48"/>
                  <a:gd name="T35" fmla="*/ 22 h 32"/>
                  <a:gd name="T36" fmla="*/ 48 w 48"/>
                  <a:gd name="T37" fmla="*/ 0 h 32"/>
                  <a:gd name="T38" fmla="*/ 26 w 48"/>
                  <a:gd name="T39" fmla="*/ 0 h 32"/>
                  <a:gd name="T40" fmla="*/ 26 w 48"/>
                  <a:gd name="T41" fmla="*/ 22 h 32"/>
                  <a:gd name="T42" fmla="*/ 26 w 48"/>
                  <a:gd name="T43" fmla="*/ 27 h 32"/>
                  <a:gd name="T44" fmla="*/ 26 w 48"/>
                  <a:gd name="T45" fmla="*/ 27 h 32"/>
                  <a:gd name="T46" fmla="*/ 26 w 48"/>
                  <a:gd name="T47" fmla="*/ 27 h 32"/>
                  <a:gd name="T48" fmla="*/ 21 w 48"/>
                  <a:gd name="T49" fmla="*/ 27 h 32"/>
                  <a:gd name="T50" fmla="*/ 21 w 48"/>
                  <a:gd name="T51" fmla="*/ 27 h 32"/>
                  <a:gd name="T52" fmla="*/ 16 w 48"/>
                  <a:gd name="T53" fmla="*/ 27 h 32"/>
                  <a:gd name="T54" fmla="*/ 16 w 48"/>
                  <a:gd name="T55" fmla="*/ 27 h 32"/>
                  <a:gd name="T56" fmla="*/ 16 w 48"/>
                  <a:gd name="T57" fmla="*/ 22 h 32"/>
                  <a:gd name="T58" fmla="*/ 16 w 48"/>
                  <a:gd name="T59" fmla="*/ 0 h 32"/>
                  <a:gd name="T60" fmla="*/ 0 w 48"/>
                  <a:gd name="T61" fmla="*/ 0 h 32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48"/>
                  <a:gd name="T94" fmla="*/ 0 h 32"/>
                  <a:gd name="T95" fmla="*/ 48 w 48"/>
                  <a:gd name="T96" fmla="*/ 32 h 32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48" h="32">
                    <a:moveTo>
                      <a:pt x="0" y="0"/>
                    </a:moveTo>
                    <a:lnTo>
                      <a:pt x="0" y="22"/>
                    </a:lnTo>
                    <a:lnTo>
                      <a:pt x="0" y="27"/>
                    </a:lnTo>
                    <a:lnTo>
                      <a:pt x="5" y="32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21" y="32"/>
                    </a:lnTo>
                    <a:lnTo>
                      <a:pt x="26" y="32"/>
                    </a:lnTo>
                    <a:lnTo>
                      <a:pt x="32" y="32"/>
                    </a:lnTo>
                    <a:lnTo>
                      <a:pt x="37" y="32"/>
                    </a:lnTo>
                    <a:lnTo>
                      <a:pt x="42" y="32"/>
                    </a:lnTo>
                    <a:lnTo>
                      <a:pt x="42" y="27"/>
                    </a:lnTo>
                    <a:lnTo>
                      <a:pt x="48" y="27"/>
                    </a:lnTo>
                    <a:lnTo>
                      <a:pt x="48" y="22"/>
                    </a:lnTo>
                    <a:lnTo>
                      <a:pt x="48" y="0"/>
                    </a:lnTo>
                    <a:lnTo>
                      <a:pt x="26" y="0"/>
                    </a:lnTo>
                    <a:lnTo>
                      <a:pt x="26" y="22"/>
                    </a:lnTo>
                    <a:lnTo>
                      <a:pt x="26" y="27"/>
                    </a:lnTo>
                    <a:lnTo>
                      <a:pt x="21" y="27"/>
                    </a:lnTo>
                    <a:lnTo>
                      <a:pt x="16" y="27"/>
                    </a:lnTo>
                    <a:lnTo>
                      <a:pt x="16" y="22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39" name="Rectangle 3850"/>
              <p:cNvSpPr>
                <a:spLocks noChangeArrowheads="1"/>
              </p:cNvSpPr>
              <p:nvPr/>
            </p:nvSpPr>
            <p:spPr bwMode="auto">
              <a:xfrm>
                <a:off x="4783" y="2717"/>
                <a:ext cx="16" cy="64"/>
              </a:xfrm>
              <a:prstGeom prst="rect">
                <a:avLst/>
              </a:prstGeom>
              <a:solidFill>
                <a:srgbClr val="25221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40" name="Freeform 3851"/>
              <p:cNvSpPr>
                <a:spLocks/>
              </p:cNvSpPr>
              <p:nvPr/>
            </p:nvSpPr>
            <p:spPr bwMode="auto">
              <a:xfrm>
                <a:off x="4815" y="2717"/>
                <a:ext cx="42" cy="64"/>
              </a:xfrm>
              <a:custGeom>
                <a:avLst/>
                <a:gdLst>
                  <a:gd name="T0" fmla="*/ 0 w 42"/>
                  <a:gd name="T1" fmla="*/ 64 h 64"/>
                  <a:gd name="T2" fmla="*/ 0 w 42"/>
                  <a:gd name="T3" fmla="*/ 0 h 64"/>
                  <a:gd name="T4" fmla="*/ 16 w 42"/>
                  <a:gd name="T5" fmla="*/ 0 h 64"/>
                  <a:gd name="T6" fmla="*/ 16 w 42"/>
                  <a:gd name="T7" fmla="*/ 59 h 64"/>
                  <a:gd name="T8" fmla="*/ 42 w 42"/>
                  <a:gd name="T9" fmla="*/ 59 h 64"/>
                  <a:gd name="T10" fmla="*/ 42 w 42"/>
                  <a:gd name="T11" fmla="*/ 64 h 64"/>
                  <a:gd name="T12" fmla="*/ 0 w 42"/>
                  <a:gd name="T13" fmla="*/ 64 h 6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2"/>
                  <a:gd name="T22" fmla="*/ 0 h 64"/>
                  <a:gd name="T23" fmla="*/ 42 w 42"/>
                  <a:gd name="T24" fmla="*/ 64 h 6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2" h="64">
                    <a:moveTo>
                      <a:pt x="0" y="64"/>
                    </a:moveTo>
                    <a:lnTo>
                      <a:pt x="0" y="0"/>
                    </a:lnTo>
                    <a:lnTo>
                      <a:pt x="16" y="0"/>
                    </a:lnTo>
                    <a:lnTo>
                      <a:pt x="16" y="59"/>
                    </a:lnTo>
                    <a:lnTo>
                      <a:pt x="42" y="59"/>
                    </a:lnTo>
                    <a:lnTo>
                      <a:pt x="42" y="64"/>
                    </a:lnTo>
                    <a:lnTo>
                      <a:pt x="0" y="64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41" name="Freeform 3852"/>
              <p:cNvSpPr>
                <a:spLocks/>
              </p:cNvSpPr>
              <p:nvPr/>
            </p:nvSpPr>
            <p:spPr bwMode="auto">
              <a:xfrm>
                <a:off x="4724" y="2707"/>
                <a:ext cx="48" cy="10"/>
              </a:xfrm>
              <a:custGeom>
                <a:avLst/>
                <a:gdLst>
                  <a:gd name="T0" fmla="*/ 0 w 48"/>
                  <a:gd name="T1" fmla="*/ 10 h 10"/>
                  <a:gd name="T2" fmla="*/ 0 w 48"/>
                  <a:gd name="T3" fmla="*/ 10 h 10"/>
                  <a:gd name="T4" fmla="*/ 0 w 48"/>
                  <a:gd name="T5" fmla="*/ 5 h 10"/>
                  <a:gd name="T6" fmla="*/ 0 w 48"/>
                  <a:gd name="T7" fmla="*/ 5 h 10"/>
                  <a:gd name="T8" fmla="*/ 5 w 48"/>
                  <a:gd name="T9" fmla="*/ 5 h 10"/>
                  <a:gd name="T10" fmla="*/ 5 w 48"/>
                  <a:gd name="T11" fmla="*/ 0 h 10"/>
                  <a:gd name="T12" fmla="*/ 11 w 48"/>
                  <a:gd name="T13" fmla="*/ 0 h 10"/>
                  <a:gd name="T14" fmla="*/ 16 w 48"/>
                  <a:gd name="T15" fmla="*/ 0 h 10"/>
                  <a:gd name="T16" fmla="*/ 21 w 48"/>
                  <a:gd name="T17" fmla="*/ 0 h 10"/>
                  <a:gd name="T18" fmla="*/ 21 w 48"/>
                  <a:gd name="T19" fmla="*/ 0 h 10"/>
                  <a:gd name="T20" fmla="*/ 27 w 48"/>
                  <a:gd name="T21" fmla="*/ 0 h 10"/>
                  <a:gd name="T22" fmla="*/ 32 w 48"/>
                  <a:gd name="T23" fmla="*/ 0 h 10"/>
                  <a:gd name="T24" fmla="*/ 37 w 48"/>
                  <a:gd name="T25" fmla="*/ 0 h 10"/>
                  <a:gd name="T26" fmla="*/ 37 w 48"/>
                  <a:gd name="T27" fmla="*/ 0 h 10"/>
                  <a:gd name="T28" fmla="*/ 43 w 48"/>
                  <a:gd name="T29" fmla="*/ 5 h 10"/>
                  <a:gd name="T30" fmla="*/ 48 w 48"/>
                  <a:gd name="T31" fmla="*/ 5 h 10"/>
                  <a:gd name="T32" fmla="*/ 48 w 48"/>
                  <a:gd name="T33" fmla="*/ 5 h 10"/>
                  <a:gd name="T34" fmla="*/ 48 w 48"/>
                  <a:gd name="T35" fmla="*/ 10 h 10"/>
                  <a:gd name="T36" fmla="*/ 48 w 48"/>
                  <a:gd name="T37" fmla="*/ 10 h 10"/>
                  <a:gd name="T38" fmla="*/ 32 w 48"/>
                  <a:gd name="T39" fmla="*/ 10 h 10"/>
                  <a:gd name="T40" fmla="*/ 32 w 48"/>
                  <a:gd name="T41" fmla="*/ 10 h 10"/>
                  <a:gd name="T42" fmla="*/ 27 w 48"/>
                  <a:gd name="T43" fmla="*/ 10 h 10"/>
                  <a:gd name="T44" fmla="*/ 27 w 48"/>
                  <a:gd name="T45" fmla="*/ 5 h 10"/>
                  <a:gd name="T46" fmla="*/ 27 w 48"/>
                  <a:gd name="T47" fmla="*/ 5 h 10"/>
                  <a:gd name="T48" fmla="*/ 27 w 48"/>
                  <a:gd name="T49" fmla="*/ 5 h 10"/>
                  <a:gd name="T50" fmla="*/ 21 w 48"/>
                  <a:gd name="T51" fmla="*/ 5 h 10"/>
                  <a:gd name="T52" fmla="*/ 21 w 48"/>
                  <a:gd name="T53" fmla="*/ 5 h 10"/>
                  <a:gd name="T54" fmla="*/ 21 w 48"/>
                  <a:gd name="T55" fmla="*/ 10 h 10"/>
                  <a:gd name="T56" fmla="*/ 16 w 48"/>
                  <a:gd name="T57" fmla="*/ 10 h 10"/>
                  <a:gd name="T58" fmla="*/ 16 w 48"/>
                  <a:gd name="T59" fmla="*/ 10 h 10"/>
                  <a:gd name="T60" fmla="*/ 0 w 48"/>
                  <a:gd name="T61" fmla="*/ 10 h 1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48"/>
                  <a:gd name="T94" fmla="*/ 0 h 10"/>
                  <a:gd name="T95" fmla="*/ 48 w 48"/>
                  <a:gd name="T96" fmla="*/ 10 h 1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48" h="10">
                    <a:moveTo>
                      <a:pt x="0" y="10"/>
                    </a:moveTo>
                    <a:lnTo>
                      <a:pt x="0" y="10"/>
                    </a:lnTo>
                    <a:lnTo>
                      <a:pt x="0" y="5"/>
                    </a:lnTo>
                    <a:lnTo>
                      <a:pt x="5" y="5"/>
                    </a:lnTo>
                    <a:lnTo>
                      <a:pt x="5" y="0"/>
                    </a:lnTo>
                    <a:lnTo>
                      <a:pt x="11" y="0"/>
                    </a:lnTo>
                    <a:lnTo>
                      <a:pt x="16" y="0"/>
                    </a:lnTo>
                    <a:lnTo>
                      <a:pt x="21" y="0"/>
                    </a:lnTo>
                    <a:lnTo>
                      <a:pt x="27" y="0"/>
                    </a:lnTo>
                    <a:lnTo>
                      <a:pt x="32" y="0"/>
                    </a:lnTo>
                    <a:lnTo>
                      <a:pt x="37" y="0"/>
                    </a:lnTo>
                    <a:lnTo>
                      <a:pt x="43" y="5"/>
                    </a:lnTo>
                    <a:lnTo>
                      <a:pt x="48" y="5"/>
                    </a:lnTo>
                    <a:lnTo>
                      <a:pt x="48" y="10"/>
                    </a:lnTo>
                    <a:lnTo>
                      <a:pt x="32" y="10"/>
                    </a:lnTo>
                    <a:lnTo>
                      <a:pt x="27" y="10"/>
                    </a:lnTo>
                    <a:lnTo>
                      <a:pt x="27" y="5"/>
                    </a:lnTo>
                    <a:lnTo>
                      <a:pt x="21" y="5"/>
                    </a:lnTo>
                    <a:lnTo>
                      <a:pt x="21" y="10"/>
                    </a:lnTo>
                    <a:lnTo>
                      <a:pt x="16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42" name="Rectangle 3853"/>
              <p:cNvSpPr>
                <a:spLocks noChangeArrowheads="1"/>
              </p:cNvSpPr>
              <p:nvPr/>
            </p:nvSpPr>
            <p:spPr bwMode="auto">
              <a:xfrm>
                <a:off x="4724" y="2717"/>
                <a:ext cx="16" cy="22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43" name="Rectangle 3854"/>
              <p:cNvSpPr>
                <a:spLocks noChangeArrowheads="1"/>
              </p:cNvSpPr>
              <p:nvPr/>
            </p:nvSpPr>
            <p:spPr bwMode="auto">
              <a:xfrm>
                <a:off x="4756" y="2717"/>
                <a:ext cx="16" cy="22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44" name="Freeform 3855"/>
              <p:cNvSpPr>
                <a:spLocks/>
              </p:cNvSpPr>
              <p:nvPr/>
            </p:nvSpPr>
            <p:spPr bwMode="auto">
              <a:xfrm>
                <a:off x="4724" y="2739"/>
                <a:ext cx="48" cy="37"/>
              </a:xfrm>
              <a:custGeom>
                <a:avLst/>
                <a:gdLst>
                  <a:gd name="T0" fmla="*/ 0 w 48"/>
                  <a:gd name="T1" fmla="*/ 0 h 37"/>
                  <a:gd name="T2" fmla="*/ 0 w 48"/>
                  <a:gd name="T3" fmla="*/ 26 h 37"/>
                  <a:gd name="T4" fmla="*/ 0 w 48"/>
                  <a:gd name="T5" fmla="*/ 26 h 37"/>
                  <a:gd name="T6" fmla="*/ 0 w 48"/>
                  <a:gd name="T7" fmla="*/ 32 h 37"/>
                  <a:gd name="T8" fmla="*/ 5 w 48"/>
                  <a:gd name="T9" fmla="*/ 32 h 37"/>
                  <a:gd name="T10" fmla="*/ 5 w 48"/>
                  <a:gd name="T11" fmla="*/ 32 h 37"/>
                  <a:gd name="T12" fmla="*/ 11 w 48"/>
                  <a:gd name="T13" fmla="*/ 37 h 37"/>
                  <a:gd name="T14" fmla="*/ 16 w 48"/>
                  <a:gd name="T15" fmla="*/ 37 h 37"/>
                  <a:gd name="T16" fmla="*/ 21 w 48"/>
                  <a:gd name="T17" fmla="*/ 37 h 37"/>
                  <a:gd name="T18" fmla="*/ 21 w 48"/>
                  <a:gd name="T19" fmla="*/ 37 h 37"/>
                  <a:gd name="T20" fmla="*/ 27 w 48"/>
                  <a:gd name="T21" fmla="*/ 37 h 37"/>
                  <a:gd name="T22" fmla="*/ 32 w 48"/>
                  <a:gd name="T23" fmla="*/ 37 h 37"/>
                  <a:gd name="T24" fmla="*/ 37 w 48"/>
                  <a:gd name="T25" fmla="*/ 37 h 37"/>
                  <a:gd name="T26" fmla="*/ 37 w 48"/>
                  <a:gd name="T27" fmla="*/ 32 h 37"/>
                  <a:gd name="T28" fmla="*/ 43 w 48"/>
                  <a:gd name="T29" fmla="*/ 32 h 37"/>
                  <a:gd name="T30" fmla="*/ 48 w 48"/>
                  <a:gd name="T31" fmla="*/ 32 h 37"/>
                  <a:gd name="T32" fmla="*/ 48 w 48"/>
                  <a:gd name="T33" fmla="*/ 26 h 37"/>
                  <a:gd name="T34" fmla="*/ 48 w 48"/>
                  <a:gd name="T35" fmla="*/ 26 h 37"/>
                  <a:gd name="T36" fmla="*/ 48 w 48"/>
                  <a:gd name="T37" fmla="*/ 0 h 37"/>
                  <a:gd name="T38" fmla="*/ 32 w 48"/>
                  <a:gd name="T39" fmla="*/ 0 h 37"/>
                  <a:gd name="T40" fmla="*/ 32 w 48"/>
                  <a:gd name="T41" fmla="*/ 21 h 37"/>
                  <a:gd name="T42" fmla="*/ 27 w 48"/>
                  <a:gd name="T43" fmla="*/ 26 h 37"/>
                  <a:gd name="T44" fmla="*/ 27 w 48"/>
                  <a:gd name="T45" fmla="*/ 26 h 37"/>
                  <a:gd name="T46" fmla="*/ 27 w 48"/>
                  <a:gd name="T47" fmla="*/ 26 h 37"/>
                  <a:gd name="T48" fmla="*/ 27 w 48"/>
                  <a:gd name="T49" fmla="*/ 26 h 37"/>
                  <a:gd name="T50" fmla="*/ 21 w 48"/>
                  <a:gd name="T51" fmla="*/ 26 h 37"/>
                  <a:gd name="T52" fmla="*/ 21 w 48"/>
                  <a:gd name="T53" fmla="*/ 26 h 37"/>
                  <a:gd name="T54" fmla="*/ 21 w 48"/>
                  <a:gd name="T55" fmla="*/ 26 h 37"/>
                  <a:gd name="T56" fmla="*/ 16 w 48"/>
                  <a:gd name="T57" fmla="*/ 21 h 37"/>
                  <a:gd name="T58" fmla="*/ 16 w 48"/>
                  <a:gd name="T59" fmla="*/ 0 h 37"/>
                  <a:gd name="T60" fmla="*/ 0 w 48"/>
                  <a:gd name="T61" fmla="*/ 0 h 37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48"/>
                  <a:gd name="T94" fmla="*/ 0 h 37"/>
                  <a:gd name="T95" fmla="*/ 48 w 48"/>
                  <a:gd name="T96" fmla="*/ 37 h 37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48" h="37">
                    <a:moveTo>
                      <a:pt x="0" y="0"/>
                    </a:moveTo>
                    <a:lnTo>
                      <a:pt x="0" y="26"/>
                    </a:lnTo>
                    <a:lnTo>
                      <a:pt x="0" y="32"/>
                    </a:lnTo>
                    <a:lnTo>
                      <a:pt x="5" y="32"/>
                    </a:lnTo>
                    <a:lnTo>
                      <a:pt x="11" y="37"/>
                    </a:lnTo>
                    <a:lnTo>
                      <a:pt x="16" y="37"/>
                    </a:lnTo>
                    <a:lnTo>
                      <a:pt x="21" y="37"/>
                    </a:lnTo>
                    <a:lnTo>
                      <a:pt x="27" y="37"/>
                    </a:lnTo>
                    <a:lnTo>
                      <a:pt x="32" y="37"/>
                    </a:lnTo>
                    <a:lnTo>
                      <a:pt x="37" y="37"/>
                    </a:lnTo>
                    <a:lnTo>
                      <a:pt x="37" y="32"/>
                    </a:lnTo>
                    <a:lnTo>
                      <a:pt x="43" y="32"/>
                    </a:lnTo>
                    <a:lnTo>
                      <a:pt x="48" y="32"/>
                    </a:lnTo>
                    <a:lnTo>
                      <a:pt x="48" y="26"/>
                    </a:lnTo>
                    <a:lnTo>
                      <a:pt x="48" y="0"/>
                    </a:lnTo>
                    <a:lnTo>
                      <a:pt x="32" y="0"/>
                    </a:lnTo>
                    <a:lnTo>
                      <a:pt x="32" y="21"/>
                    </a:lnTo>
                    <a:lnTo>
                      <a:pt x="27" y="26"/>
                    </a:lnTo>
                    <a:lnTo>
                      <a:pt x="21" y="26"/>
                    </a:lnTo>
                    <a:lnTo>
                      <a:pt x="16" y="21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45" name="Rectangle 3856"/>
              <p:cNvSpPr>
                <a:spLocks noChangeArrowheads="1"/>
              </p:cNvSpPr>
              <p:nvPr/>
            </p:nvSpPr>
            <p:spPr bwMode="auto">
              <a:xfrm>
                <a:off x="4788" y="2707"/>
                <a:ext cx="16" cy="6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46" name="Freeform 3857"/>
              <p:cNvSpPr>
                <a:spLocks/>
              </p:cNvSpPr>
              <p:nvPr/>
            </p:nvSpPr>
            <p:spPr bwMode="auto">
              <a:xfrm>
                <a:off x="4820" y="2707"/>
                <a:ext cx="43" cy="69"/>
              </a:xfrm>
              <a:custGeom>
                <a:avLst/>
                <a:gdLst>
                  <a:gd name="T0" fmla="*/ 0 w 43"/>
                  <a:gd name="T1" fmla="*/ 69 h 69"/>
                  <a:gd name="T2" fmla="*/ 0 w 43"/>
                  <a:gd name="T3" fmla="*/ 0 h 69"/>
                  <a:gd name="T4" fmla="*/ 16 w 43"/>
                  <a:gd name="T5" fmla="*/ 0 h 69"/>
                  <a:gd name="T6" fmla="*/ 16 w 43"/>
                  <a:gd name="T7" fmla="*/ 58 h 69"/>
                  <a:gd name="T8" fmla="*/ 43 w 43"/>
                  <a:gd name="T9" fmla="*/ 58 h 69"/>
                  <a:gd name="T10" fmla="*/ 43 w 43"/>
                  <a:gd name="T11" fmla="*/ 69 h 69"/>
                  <a:gd name="T12" fmla="*/ 0 w 43"/>
                  <a:gd name="T13" fmla="*/ 69 h 6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3"/>
                  <a:gd name="T22" fmla="*/ 0 h 69"/>
                  <a:gd name="T23" fmla="*/ 43 w 43"/>
                  <a:gd name="T24" fmla="*/ 69 h 6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3" h="69">
                    <a:moveTo>
                      <a:pt x="0" y="69"/>
                    </a:moveTo>
                    <a:lnTo>
                      <a:pt x="0" y="0"/>
                    </a:lnTo>
                    <a:lnTo>
                      <a:pt x="16" y="0"/>
                    </a:lnTo>
                    <a:lnTo>
                      <a:pt x="16" y="58"/>
                    </a:lnTo>
                    <a:lnTo>
                      <a:pt x="43" y="58"/>
                    </a:lnTo>
                    <a:lnTo>
                      <a:pt x="43" y="69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47" name="Freeform 3858"/>
              <p:cNvSpPr>
                <a:spLocks/>
              </p:cNvSpPr>
              <p:nvPr/>
            </p:nvSpPr>
            <p:spPr bwMode="auto">
              <a:xfrm>
                <a:off x="4991" y="2931"/>
                <a:ext cx="101" cy="80"/>
              </a:xfrm>
              <a:custGeom>
                <a:avLst/>
                <a:gdLst>
                  <a:gd name="T0" fmla="*/ 0 w 101"/>
                  <a:gd name="T1" fmla="*/ 32 h 80"/>
                  <a:gd name="T2" fmla="*/ 16 w 101"/>
                  <a:gd name="T3" fmla="*/ 0 h 80"/>
                  <a:gd name="T4" fmla="*/ 101 w 101"/>
                  <a:gd name="T5" fmla="*/ 80 h 80"/>
                  <a:gd name="T6" fmla="*/ 0 w 101"/>
                  <a:gd name="T7" fmla="*/ 32 h 8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1"/>
                  <a:gd name="T13" fmla="*/ 0 h 80"/>
                  <a:gd name="T14" fmla="*/ 101 w 101"/>
                  <a:gd name="T15" fmla="*/ 80 h 8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1" h="80">
                    <a:moveTo>
                      <a:pt x="0" y="32"/>
                    </a:moveTo>
                    <a:lnTo>
                      <a:pt x="16" y="0"/>
                    </a:lnTo>
                    <a:lnTo>
                      <a:pt x="101" y="8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48" name="Freeform 3859"/>
              <p:cNvSpPr>
                <a:spLocks/>
              </p:cNvSpPr>
              <p:nvPr/>
            </p:nvSpPr>
            <p:spPr bwMode="auto">
              <a:xfrm>
                <a:off x="5023" y="2840"/>
                <a:ext cx="128" cy="59"/>
              </a:xfrm>
              <a:custGeom>
                <a:avLst/>
                <a:gdLst>
                  <a:gd name="T0" fmla="*/ 0 w 128"/>
                  <a:gd name="T1" fmla="*/ 43 h 59"/>
                  <a:gd name="T2" fmla="*/ 10 w 128"/>
                  <a:gd name="T3" fmla="*/ 0 h 59"/>
                  <a:gd name="T4" fmla="*/ 128 w 128"/>
                  <a:gd name="T5" fmla="*/ 59 h 59"/>
                  <a:gd name="T6" fmla="*/ 0 w 128"/>
                  <a:gd name="T7" fmla="*/ 43 h 5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28"/>
                  <a:gd name="T13" fmla="*/ 0 h 59"/>
                  <a:gd name="T14" fmla="*/ 128 w 128"/>
                  <a:gd name="T15" fmla="*/ 59 h 5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28" h="59">
                    <a:moveTo>
                      <a:pt x="0" y="43"/>
                    </a:moveTo>
                    <a:lnTo>
                      <a:pt x="10" y="0"/>
                    </a:lnTo>
                    <a:lnTo>
                      <a:pt x="128" y="59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49" name="Freeform 3860"/>
              <p:cNvSpPr>
                <a:spLocks/>
              </p:cNvSpPr>
              <p:nvPr/>
            </p:nvSpPr>
            <p:spPr bwMode="auto">
              <a:xfrm>
                <a:off x="5044" y="2733"/>
                <a:ext cx="144" cy="48"/>
              </a:xfrm>
              <a:custGeom>
                <a:avLst/>
                <a:gdLst>
                  <a:gd name="T0" fmla="*/ 0 w 144"/>
                  <a:gd name="T1" fmla="*/ 48 h 48"/>
                  <a:gd name="T2" fmla="*/ 5 w 144"/>
                  <a:gd name="T3" fmla="*/ 0 h 48"/>
                  <a:gd name="T4" fmla="*/ 144 w 144"/>
                  <a:gd name="T5" fmla="*/ 48 h 48"/>
                  <a:gd name="T6" fmla="*/ 0 w 144"/>
                  <a:gd name="T7" fmla="*/ 48 h 4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4"/>
                  <a:gd name="T13" fmla="*/ 0 h 48"/>
                  <a:gd name="T14" fmla="*/ 144 w 144"/>
                  <a:gd name="T15" fmla="*/ 48 h 4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4" h="48">
                    <a:moveTo>
                      <a:pt x="0" y="48"/>
                    </a:moveTo>
                    <a:lnTo>
                      <a:pt x="5" y="0"/>
                    </a:lnTo>
                    <a:lnTo>
                      <a:pt x="144" y="48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50" name="Freeform 3861"/>
              <p:cNvSpPr>
                <a:spLocks/>
              </p:cNvSpPr>
              <p:nvPr/>
            </p:nvSpPr>
            <p:spPr bwMode="auto">
              <a:xfrm>
                <a:off x="5049" y="2637"/>
                <a:ext cx="134" cy="43"/>
              </a:xfrm>
              <a:custGeom>
                <a:avLst/>
                <a:gdLst>
                  <a:gd name="T0" fmla="*/ 0 w 134"/>
                  <a:gd name="T1" fmla="*/ 43 h 43"/>
                  <a:gd name="T2" fmla="*/ 0 w 134"/>
                  <a:gd name="T3" fmla="*/ 0 h 43"/>
                  <a:gd name="T4" fmla="*/ 134 w 134"/>
                  <a:gd name="T5" fmla="*/ 0 h 43"/>
                  <a:gd name="T6" fmla="*/ 0 w 134"/>
                  <a:gd name="T7" fmla="*/ 43 h 4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4"/>
                  <a:gd name="T13" fmla="*/ 0 h 43"/>
                  <a:gd name="T14" fmla="*/ 134 w 134"/>
                  <a:gd name="T15" fmla="*/ 43 h 4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4" h="43">
                    <a:moveTo>
                      <a:pt x="0" y="43"/>
                    </a:moveTo>
                    <a:lnTo>
                      <a:pt x="0" y="0"/>
                    </a:lnTo>
                    <a:lnTo>
                      <a:pt x="134" y="0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51" name="Freeform 3862"/>
              <p:cNvSpPr>
                <a:spLocks/>
              </p:cNvSpPr>
              <p:nvPr/>
            </p:nvSpPr>
            <p:spPr bwMode="auto">
              <a:xfrm>
                <a:off x="5023" y="2514"/>
                <a:ext cx="117" cy="75"/>
              </a:xfrm>
              <a:custGeom>
                <a:avLst/>
                <a:gdLst>
                  <a:gd name="T0" fmla="*/ 10 w 117"/>
                  <a:gd name="T1" fmla="*/ 75 h 75"/>
                  <a:gd name="T2" fmla="*/ 0 w 117"/>
                  <a:gd name="T3" fmla="*/ 38 h 75"/>
                  <a:gd name="T4" fmla="*/ 117 w 117"/>
                  <a:gd name="T5" fmla="*/ 0 h 75"/>
                  <a:gd name="T6" fmla="*/ 10 w 117"/>
                  <a:gd name="T7" fmla="*/ 75 h 7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7"/>
                  <a:gd name="T13" fmla="*/ 0 h 75"/>
                  <a:gd name="T14" fmla="*/ 117 w 117"/>
                  <a:gd name="T15" fmla="*/ 75 h 7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7" h="75">
                    <a:moveTo>
                      <a:pt x="10" y="75"/>
                    </a:moveTo>
                    <a:lnTo>
                      <a:pt x="0" y="38"/>
                    </a:lnTo>
                    <a:lnTo>
                      <a:pt x="117" y="0"/>
                    </a:lnTo>
                    <a:lnTo>
                      <a:pt x="10" y="75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52" name="Freeform 3863"/>
              <p:cNvSpPr>
                <a:spLocks/>
              </p:cNvSpPr>
              <p:nvPr/>
            </p:nvSpPr>
            <p:spPr bwMode="auto">
              <a:xfrm>
                <a:off x="4463" y="2920"/>
                <a:ext cx="101" cy="80"/>
              </a:xfrm>
              <a:custGeom>
                <a:avLst/>
                <a:gdLst>
                  <a:gd name="T0" fmla="*/ 101 w 101"/>
                  <a:gd name="T1" fmla="*/ 32 h 80"/>
                  <a:gd name="T2" fmla="*/ 85 w 101"/>
                  <a:gd name="T3" fmla="*/ 0 h 80"/>
                  <a:gd name="T4" fmla="*/ 0 w 101"/>
                  <a:gd name="T5" fmla="*/ 80 h 80"/>
                  <a:gd name="T6" fmla="*/ 101 w 101"/>
                  <a:gd name="T7" fmla="*/ 32 h 8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1"/>
                  <a:gd name="T13" fmla="*/ 0 h 80"/>
                  <a:gd name="T14" fmla="*/ 101 w 101"/>
                  <a:gd name="T15" fmla="*/ 80 h 8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1" h="80">
                    <a:moveTo>
                      <a:pt x="101" y="32"/>
                    </a:moveTo>
                    <a:lnTo>
                      <a:pt x="85" y="0"/>
                    </a:lnTo>
                    <a:lnTo>
                      <a:pt x="0" y="80"/>
                    </a:lnTo>
                    <a:lnTo>
                      <a:pt x="101" y="32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53" name="Freeform 3864"/>
              <p:cNvSpPr>
                <a:spLocks/>
              </p:cNvSpPr>
              <p:nvPr/>
            </p:nvSpPr>
            <p:spPr bwMode="auto">
              <a:xfrm>
                <a:off x="4404" y="2830"/>
                <a:ext cx="123" cy="58"/>
              </a:xfrm>
              <a:custGeom>
                <a:avLst/>
                <a:gdLst>
                  <a:gd name="T0" fmla="*/ 123 w 123"/>
                  <a:gd name="T1" fmla="*/ 42 h 58"/>
                  <a:gd name="T2" fmla="*/ 112 w 123"/>
                  <a:gd name="T3" fmla="*/ 0 h 58"/>
                  <a:gd name="T4" fmla="*/ 0 w 123"/>
                  <a:gd name="T5" fmla="*/ 58 h 58"/>
                  <a:gd name="T6" fmla="*/ 123 w 123"/>
                  <a:gd name="T7" fmla="*/ 42 h 5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23"/>
                  <a:gd name="T13" fmla="*/ 0 h 58"/>
                  <a:gd name="T14" fmla="*/ 123 w 123"/>
                  <a:gd name="T15" fmla="*/ 58 h 5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23" h="58">
                    <a:moveTo>
                      <a:pt x="123" y="42"/>
                    </a:moveTo>
                    <a:lnTo>
                      <a:pt x="112" y="0"/>
                    </a:lnTo>
                    <a:lnTo>
                      <a:pt x="0" y="58"/>
                    </a:lnTo>
                    <a:lnTo>
                      <a:pt x="123" y="42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54" name="Freeform 3865"/>
              <p:cNvSpPr>
                <a:spLocks/>
              </p:cNvSpPr>
              <p:nvPr/>
            </p:nvSpPr>
            <p:spPr bwMode="auto">
              <a:xfrm>
                <a:off x="4361" y="2723"/>
                <a:ext cx="144" cy="48"/>
              </a:xfrm>
              <a:custGeom>
                <a:avLst/>
                <a:gdLst>
                  <a:gd name="T0" fmla="*/ 144 w 144"/>
                  <a:gd name="T1" fmla="*/ 48 h 48"/>
                  <a:gd name="T2" fmla="*/ 139 w 144"/>
                  <a:gd name="T3" fmla="*/ 0 h 48"/>
                  <a:gd name="T4" fmla="*/ 0 w 144"/>
                  <a:gd name="T5" fmla="*/ 48 h 48"/>
                  <a:gd name="T6" fmla="*/ 144 w 144"/>
                  <a:gd name="T7" fmla="*/ 48 h 4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4"/>
                  <a:gd name="T13" fmla="*/ 0 h 48"/>
                  <a:gd name="T14" fmla="*/ 144 w 144"/>
                  <a:gd name="T15" fmla="*/ 48 h 4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4" h="48">
                    <a:moveTo>
                      <a:pt x="144" y="48"/>
                    </a:moveTo>
                    <a:lnTo>
                      <a:pt x="139" y="0"/>
                    </a:lnTo>
                    <a:lnTo>
                      <a:pt x="0" y="48"/>
                    </a:lnTo>
                    <a:lnTo>
                      <a:pt x="144" y="48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55" name="Freeform 3866"/>
              <p:cNvSpPr>
                <a:spLocks/>
              </p:cNvSpPr>
              <p:nvPr/>
            </p:nvSpPr>
            <p:spPr bwMode="auto">
              <a:xfrm>
                <a:off x="4372" y="2627"/>
                <a:ext cx="133" cy="42"/>
              </a:xfrm>
              <a:custGeom>
                <a:avLst/>
                <a:gdLst>
                  <a:gd name="T0" fmla="*/ 128 w 133"/>
                  <a:gd name="T1" fmla="*/ 42 h 42"/>
                  <a:gd name="T2" fmla="*/ 133 w 133"/>
                  <a:gd name="T3" fmla="*/ 0 h 42"/>
                  <a:gd name="T4" fmla="*/ 0 w 133"/>
                  <a:gd name="T5" fmla="*/ 0 h 42"/>
                  <a:gd name="T6" fmla="*/ 128 w 133"/>
                  <a:gd name="T7" fmla="*/ 42 h 4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3"/>
                  <a:gd name="T13" fmla="*/ 0 h 42"/>
                  <a:gd name="T14" fmla="*/ 133 w 133"/>
                  <a:gd name="T15" fmla="*/ 42 h 4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3" h="42">
                    <a:moveTo>
                      <a:pt x="128" y="42"/>
                    </a:moveTo>
                    <a:lnTo>
                      <a:pt x="133" y="0"/>
                    </a:lnTo>
                    <a:lnTo>
                      <a:pt x="0" y="0"/>
                    </a:lnTo>
                    <a:lnTo>
                      <a:pt x="128" y="42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56" name="Freeform 3867"/>
              <p:cNvSpPr>
                <a:spLocks/>
              </p:cNvSpPr>
              <p:nvPr/>
            </p:nvSpPr>
            <p:spPr bwMode="auto">
              <a:xfrm>
                <a:off x="4415" y="2504"/>
                <a:ext cx="117" cy="75"/>
              </a:xfrm>
              <a:custGeom>
                <a:avLst/>
                <a:gdLst>
                  <a:gd name="T0" fmla="*/ 101 w 117"/>
                  <a:gd name="T1" fmla="*/ 75 h 75"/>
                  <a:gd name="T2" fmla="*/ 117 w 117"/>
                  <a:gd name="T3" fmla="*/ 37 h 75"/>
                  <a:gd name="T4" fmla="*/ 0 w 117"/>
                  <a:gd name="T5" fmla="*/ 0 h 75"/>
                  <a:gd name="T6" fmla="*/ 101 w 117"/>
                  <a:gd name="T7" fmla="*/ 75 h 7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7"/>
                  <a:gd name="T13" fmla="*/ 0 h 75"/>
                  <a:gd name="T14" fmla="*/ 117 w 117"/>
                  <a:gd name="T15" fmla="*/ 75 h 7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7" h="75">
                    <a:moveTo>
                      <a:pt x="101" y="75"/>
                    </a:moveTo>
                    <a:lnTo>
                      <a:pt x="117" y="37"/>
                    </a:lnTo>
                    <a:lnTo>
                      <a:pt x="0" y="0"/>
                    </a:lnTo>
                    <a:lnTo>
                      <a:pt x="101" y="75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57" name="Freeform 3868"/>
              <p:cNvSpPr>
                <a:spLocks/>
              </p:cNvSpPr>
              <p:nvPr/>
            </p:nvSpPr>
            <p:spPr bwMode="auto">
              <a:xfrm>
                <a:off x="4084" y="2856"/>
                <a:ext cx="368" cy="406"/>
              </a:xfrm>
              <a:custGeom>
                <a:avLst/>
                <a:gdLst>
                  <a:gd name="T0" fmla="*/ 224 w 368"/>
                  <a:gd name="T1" fmla="*/ 0 h 406"/>
                  <a:gd name="T2" fmla="*/ 256 w 368"/>
                  <a:gd name="T3" fmla="*/ 0 h 406"/>
                  <a:gd name="T4" fmla="*/ 299 w 368"/>
                  <a:gd name="T5" fmla="*/ 6 h 406"/>
                  <a:gd name="T6" fmla="*/ 315 w 368"/>
                  <a:gd name="T7" fmla="*/ 22 h 406"/>
                  <a:gd name="T8" fmla="*/ 320 w 368"/>
                  <a:gd name="T9" fmla="*/ 27 h 406"/>
                  <a:gd name="T10" fmla="*/ 331 w 368"/>
                  <a:gd name="T11" fmla="*/ 75 h 406"/>
                  <a:gd name="T12" fmla="*/ 336 w 368"/>
                  <a:gd name="T13" fmla="*/ 107 h 406"/>
                  <a:gd name="T14" fmla="*/ 347 w 368"/>
                  <a:gd name="T15" fmla="*/ 150 h 406"/>
                  <a:gd name="T16" fmla="*/ 352 w 368"/>
                  <a:gd name="T17" fmla="*/ 193 h 406"/>
                  <a:gd name="T18" fmla="*/ 352 w 368"/>
                  <a:gd name="T19" fmla="*/ 209 h 406"/>
                  <a:gd name="T20" fmla="*/ 347 w 368"/>
                  <a:gd name="T21" fmla="*/ 246 h 406"/>
                  <a:gd name="T22" fmla="*/ 352 w 368"/>
                  <a:gd name="T23" fmla="*/ 305 h 406"/>
                  <a:gd name="T24" fmla="*/ 352 w 368"/>
                  <a:gd name="T25" fmla="*/ 347 h 406"/>
                  <a:gd name="T26" fmla="*/ 368 w 368"/>
                  <a:gd name="T27" fmla="*/ 379 h 406"/>
                  <a:gd name="T28" fmla="*/ 336 w 368"/>
                  <a:gd name="T29" fmla="*/ 390 h 406"/>
                  <a:gd name="T30" fmla="*/ 304 w 368"/>
                  <a:gd name="T31" fmla="*/ 396 h 406"/>
                  <a:gd name="T32" fmla="*/ 277 w 368"/>
                  <a:gd name="T33" fmla="*/ 401 h 406"/>
                  <a:gd name="T34" fmla="*/ 240 w 368"/>
                  <a:gd name="T35" fmla="*/ 406 h 406"/>
                  <a:gd name="T36" fmla="*/ 208 w 368"/>
                  <a:gd name="T37" fmla="*/ 401 h 406"/>
                  <a:gd name="T38" fmla="*/ 166 w 368"/>
                  <a:gd name="T39" fmla="*/ 401 h 406"/>
                  <a:gd name="T40" fmla="*/ 107 w 368"/>
                  <a:gd name="T41" fmla="*/ 401 h 406"/>
                  <a:gd name="T42" fmla="*/ 54 w 368"/>
                  <a:gd name="T43" fmla="*/ 390 h 406"/>
                  <a:gd name="T44" fmla="*/ 32 w 368"/>
                  <a:gd name="T45" fmla="*/ 379 h 406"/>
                  <a:gd name="T46" fmla="*/ 16 w 368"/>
                  <a:gd name="T47" fmla="*/ 369 h 406"/>
                  <a:gd name="T48" fmla="*/ 6 w 368"/>
                  <a:gd name="T49" fmla="*/ 353 h 406"/>
                  <a:gd name="T50" fmla="*/ 6 w 368"/>
                  <a:gd name="T51" fmla="*/ 347 h 406"/>
                  <a:gd name="T52" fmla="*/ 22 w 368"/>
                  <a:gd name="T53" fmla="*/ 326 h 406"/>
                  <a:gd name="T54" fmla="*/ 22 w 368"/>
                  <a:gd name="T55" fmla="*/ 299 h 406"/>
                  <a:gd name="T56" fmla="*/ 27 w 368"/>
                  <a:gd name="T57" fmla="*/ 241 h 406"/>
                  <a:gd name="T58" fmla="*/ 22 w 368"/>
                  <a:gd name="T59" fmla="*/ 177 h 406"/>
                  <a:gd name="T60" fmla="*/ 27 w 368"/>
                  <a:gd name="T61" fmla="*/ 102 h 406"/>
                  <a:gd name="T62" fmla="*/ 27 w 368"/>
                  <a:gd name="T63" fmla="*/ 86 h 406"/>
                  <a:gd name="T64" fmla="*/ 27 w 368"/>
                  <a:gd name="T65" fmla="*/ 59 h 406"/>
                  <a:gd name="T66" fmla="*/ 32 w 368"/>
                  <a:gd name="T67" fmla="*/ 27 h 406"/>
                  <a:gd name="T68" fmla="*/ 64 w 368"/>
                  <a:gd name="T69" fmla="*/ 16 h 406"/>
                  <a:gd name="T70" fmla="*/ 86 w 368"/>
                  <a:gd name="T71" fmla="*/ 11 h 406"/>
                  <a:gd name="T72" fmla="*/ 96 w 368"/>
                  <a:gd name="T73" fmla="*/ 11 h 406"/>
                  <a:gd name="T74" fmla="*/ 134 w 368"/>
                  <a:gd name="T75" fmla="*/ 11 h 406"/>
                  <a:gd name="T76" fmla="*/ 182 w 368"/>
                  <a:gd name="T77" fmla="*/ 0 h 406"/>
                  <a:gd name="T78" fmla="*/ 213 w 368"/>
                  <a:gd name="T79" fmla="*/ 11 h 40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368"/>
                  <a:gd name="T121" fmla="*/ 0 h 406"/>
                  <a:gd name="T122" fmla="*/ 368 w 368"/>
                  <a:gd name="T123" fmla="*/ 406 h 40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368" h="406">
                    <a:moveTo>
                      <a:pt x="213" y="11"/>
                    </a:moveTo>
                    <a:lnTo>
                      <a:pt x="224" y="0"/>
                    </a:lnTo>
                    <a:lnTo>
                      <a:pt x="245" y="0"/>
                    </a:lnTo>
                    <a:lnTo>
                      <a:pt x="256" y="0"/>
                    </a:lnTo>
                    <a:lnTo>
                      <a:pt x="272" y="11"/>
                    </a:lnTo>
                    <a:lnTo>
                      <a:pt x="299" y="6"/>
                    </a:lnTo>
                    <a:lnTo>
                      <a:pt x="309" y="11"/>
                    </a:lnTo>
                    <a:lnTo>
                      <a:pt x="315" y="22"/>
                    </a:lnTo>
                    <a:lnTo>
                      <a:pt x="320" y="22"/>
                    </a:lnTo>
                    <a:lnTo>
                      <a:pt x="320" y="27"/>
                    </a:lnTo>
                    <a:lnTo>
                      <a:pt x="331" y="48"/>
                    </a:lnTo>
                    <a:lnTo>
                      <a:pt x="331" y="75"/>
                    </a:lnTo>
                    <a:lnTo>
                      <a:pt x="336" y="91"/>
                    </a:lnTo>
                    <a:lnTo>
                      <a:pt x="336" y="107"/>
                    </a:lnTo>
                    <a:lnTo>
                      <a:pt x="341" y="128"/>
                    </a:lnTo>
                    <a:lnTo>
                      <a:pt x="347" y="150"/>
                    </a:lnTo>
                    <a:lnTo>
                      <a:pt x="352" y="182"/>
                    </a:lnTo>
                    <a:lnTo>
                      <a:pt x="352" y="193"/>
                    </a:lnTo>
                    <a:lnTo>
                      <a:pt x="352" y="203"/>
                    </a:lnTo>
                    <a:lnTo>
                      <a:pt x="352" y="209"/>
                    </a:lnTo>
                    <a:lnTo>
                      <a:pt x="352" y="219"/>
                    </a:lnTo>
                    <a:lnTo>
                      <a:pt x="347" y="246"/>
                    </a:lnTo>
                    <a:lnTo>
                      <a:pt x="347" y="273"/>
                    </a:lnTo>
                    <a:lnTo>
                      <a:pt x="352" y="305"/>
                    </a:lnTo>
                    <a:lnTo>
                      <a:pt x="352" y="331"/>
                    </a:lnTo>
                    <a:lnTo>
                      <a:pt x="352" y="347"/>
                    </a:lnTo>
                    <a:lnTo>
                      <a:pt x="368" y="363"/>
                    </a:lnTo>
                    <a:lnTo>
                      <a:pt x="368" y="379"/>
                    </a:lnTo>
                    <a:lnTo>
                      <a:pt x="352" y="379"/>
                    </a:lnTo>
                    <a:lnTo>
                      <a:pt x="336" y="390"/>
                    </a:lnTo>
                    <a:lnTo>
                      <a:pt x="320" y="396"/>
                    </a:lnTo>
                    <a:lnTo>
                      <a:pt x="304" y="396"/>
                    </a:lnTo>
                    <a:lnTo>
                      <a:pt x="293" y="401"/>
                    </a:lnTo>
                    <a:lnTo>
                      <a:pt x="277" y="401"/>
                    </a:lnTo>
                    <a:lnTo>
                      <a:pt x="261" y="401"/>
                    </a:lnTo>
                    <a:lnTo>
                      <a:pt x="240" y="406"/>
                    </a:lnTo>
                    <a:lnTo>
                      <a:pt x="229" y="406"/>
                    </a:lnTo>
                    <a:lnTo>
                      <a:pt x="208" y="401"/>
                    </a:lnTo>
                    <a:lnTo>
                      <a:pt x="187" y="401"/>
                    </a:lnTo>
                    <a:lnTo>
                      <a:pt x="166" y="401"/>
                    </a:lnTo>
                    <a:lnTo>
                      <a:pt x="150" y="401"/>
                    </a:lnTo>
                    <a:lnTo>
                      <a:pt x="107" y="401"/>
                    </a:lnTo>
                    <a:lnTo>
                      <a:pt x="75" y="396"/>
                    </a:lnTo>
                    <a:lnTo>
                      <a:pt x="54" y="390"/>
                    </a:lnTo>
                    <a:lnTo>
                      <a:pt x="43" y="385"/>
                    </a:lnTo>
                    <a:lnTo>
                      <a:pt x="32" y="379"/>
                    </a:lnTo>
                    <a:lnTo>
                      <a:pt x="27" y="374"/>
                    </a:lnTo>
                    <a:lnTo>
                      <a:pt x="16" y="369"/>
                    </a:lnTo>
                    <a:lnTo>
                      <a:pt x="11" y="358"/>
                    </a:lnTo>
                    <a:lnTo>
                      <a:pt x="6" y="353"/>
                    </a:lnTo>
                    <a:lnTo>
                      <a:pt x="0" y="347"/>
                    </a:lnTo>
                    <a:lnTo>
                      <a:pt x="6" y="347"/>
                    </a:lnTo>
                    <a:lnTo>
                      <a:pt x="22" y="342"/>
                    </a:lnTo>
                    <a:lnTo>
                      <a:pt x="22" y="326"/>
                    </a:lnTo>
                    <a:lnTo>
                      <a:pt x="27" y="321"/>
                    </a:lnTo>
                    <a:lnTo>
                      <a:pt x="22" y="299"/>
                    </a:lnTo>
                    <a:lnTo>
                      <a:pt x="27" y="267"/>
                    </a:lnTo>
                    <a:lnTo>
                      <a:pt x="27" y="241"/>
                    </a:lnTo>
                    <a:lnTo>
                      <a:pt x="27" y="219"/>
                    </a:lnTo>
                    <a:lnTo>
                      <a:pt x="22" y="177"/>
                    </a:lnTo>
                    <a:lnTo>
                      <a:pt x="27" y="139"/>
                    </a:lnTo>
                    <a:lnTo>
                      <a:pt x="27" y="102"/>
                    </a:lnTo>
                    <a:lnTo>
                      <a:pt x="27" y="86"/>
                    </a:lnTo>
                    <a:lnTo>
                      <a:pt x="27" y="75"/>
                    </a:lnTo>
                    <a:lnTo>
                      <a:pt x="27" y="59"/>
                    </a:lnTo>
                    <a:lnTo>
                      <a:pt x="27" y="38"/>
                    </a:lnTo>
                    <a:lnTo>
                      <a:pt x="32" y="27"/>
                    </a:lnTo>
                    <a:lnTo>
                      <a:pt x="48" y="22"/>
                    </a:lnTo>
                    <a:lnTo>
                      <a:pt x="64" y="16"/>
                    </a:lnTo>
                    <a:lnTo>
                      <a:pt x="70" y="11"/>
                    </a:lnTo>
                    <a:lnTo>
                      <a:pt x="86" y="11"/>
                    </a:lnTo>
                    <a:lnTo>
                      <a:pt x="91" y="11"/>
                    </a:lnTo>
                    <a:lnTo>
                      <a:pt x="96" y="11"/>
                    </a:lnTo>
                    <a:lnTo>
                      <a:pt x="112" y="16"/>
                    </a:lnTo>
                    <a:lnTo>
                      <a:pt x="134" y="11"/>
                    </a:lnTo>
                    <a:lnTo>
                      <a:pt x="160" y="6"/>
                    </a:lnTo>
                    <a:lnTo>
                      <a:pt x="182" y="0"/>
                    </a:lnTo>
                    <a:lnTo>
                      <a:pt x="208" y="6"/>
                    </a:lnTo>
                    <a:lnTo>
                      <a:pt x="213" y="11"/>
                    </a:lnTo>
                    <a:close/>
                  </a:path>
                </a:pathLst>
              </a:custGeom>
              <a:solidFill>
                <a:srgbClr val="F7D5A0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58" name="Freeform 3869"/>
              <p:cNvSpPr>
                <a:spLocks/>
              </p:cNvSpPr>
              <p:nvPr/>
            </p:nvSpPr>
            <p:spPr bwMode="auto">
              <a:xfrm>
                <a:off x="4084" y="2920"/>
                <a:ext cx="368" cy="342"/>
              </a:xfrm>
              <a:custGeom>
                <a:avLst/>
                <a:gdLst>
                  <a:gd name="T0" fmla="*/ 331 w 368"/>
                  <a:gd name="T1" fmla="*/ 11 h 342"/>
                  <a:gd name="T2" fmla="*/ 336 w 368"/>
                  <a:gd name="T3" fmla="*/ 43 h 342"/>
                  <a:gd name="T4" fmla="*/ 347 w 368"/>
                  <a:gd name="T5" fmla="*/ 86 h 342"/>
                  <a:gd name="T6" fmla="*/ 352 w 368"/>
                  <a:gd name="T7" fmla="*/ 129 h 342"/>
                  <a:gd name="T8" fmla="*/ 352 w 368"/>
                  <a:gd name="T9" fmla="*/ 145 h 342"/>
                  <a:gd name="T10" fmla="*/ 347 w 368"/>
                  <a:gd name="T11" fmla="*/ 182 h 342"/>
                  <a:gd name="T12" fmla="*/ 352 w 368"/>
                  <a:gd name="T13" fmla="*/ 241 h 342"/>
                  <a:gd name="T14" fmla="*/ 352 w 368"/>
                  <a:gd name="T15" fmla="*/ 283 h 342"/>
                  <a:gd name="T16" fmla="*/ 368 w 368"/>
                  <a:gd name="T17" fmla="*/ 315 h 342"/>
                  <a:gd name="T18" fmla="*/ 336 w 368"/>
                  <a:gd name="T19" fmla="*/ 326 h 342"/>
                  <a:gd name="T20" fmla="*/ 304 w 368"/>
                  <a:gd name="T21" fmla="*/ 332 h 342"/>
                  <a:gd name="T22" fmla="*/ 277 w 368"/>
                  <a:gd name="T23" fmla="*/ 337 h 342"/>
                  <a:gd name="T24" fmla="*/ 240 w 368"/>
                  <a:gd name="T25" fmla="*/ 342 h 342"/>
                  <a:gd name="T26" fmla="*/ 208 w 368"/>
                  <a:gd name="T27" fmla="*/ 337 h 342"/>
                  <a:gd name="T28" fmla="*/ 166 w 368"/>
                  <a:gd name="T29" fmla="*/ 337 h 342"/>
                  <a:gd name="T30" fmla="*/ 107 w 368"/>
                  <a:gd name="T31" fmla="*/ 337 h 342"/>
                  <a:gd name="T32" fmla="*/ 54 w 368"/>
                  <a:gd name="T33" fmla="*/ 326 h 342"/>
                  <a:gd name="T34" fmla="*/ 32 w 368"/>
                  <a:gd name="T35" fmla="*/ 315 h 342"/>
                  <a:gd name="T36" fmla="*/ 16 w 368"/>
                  <a:gd name="T37" fmla="*/ 305 h 342"/>
                  <a:gd name="T38" fmla="*/ 6 w 368"/>
                  <a:gd name="T39" fmla="*/ 289 h 342"/>
                  <a:gd name="T40" fmla="*/ 6 w 368"/>
                  <a:gd name="T41" fmla="*/ 283 h 342"/>
                  <a:gd name="T42" fmla="*/ 16 w 368"/>
                  <a:gd name="T43" fmla="*/ 278 h 342"/>
                  <a:gd name="T44" fmla="*/ 22 w 368"/>
                  <a:gd name="T45" fmla="*/ 289 h 342"/>
                  <a:gd name="T46" fmla="*/ 43 w 368"/>
                  <a:gd name="T47" fmla="*/ 299 h 342"/>
                  <a:gd name="T48" fmla="*/ 59 w 368"/>
                  <a:gd name="T49" fmla="*/ 315 h 342"/>
                  <a:gd name="T50" fmla="*/ 86 w 368"/>
                  <a:gd name="T51" fmla="*/ 321 h 342"/>
                  <a:gd name="T52" fmla="*/ 134 w 368"/>
                  <a:gd name="T53" fmla="*/ 321 h 342"/>
                  <a:gd name="T54" fmla="*/ 176 w 368"/>
                  <a:gd name="T55" fmla="*/ 299 h 342"/>
                  <a:gd name="T56" fmla="*/ 213 w 368"/>
                  <a:gd name="T57" fmla="*/ 305 h 342"/>
                  <a:gd name="T58" fmla="*/ 245 w 368"/>
                  <a:gd name="T59" fmla="*/ 321 h 342"/>
                  <a:gd name="T60" fmla="*/ 267 w 368"/>
                  <a:gd name="T61" fmla="*/ 321 h 342"/>
                  <a:gd name="T62" fmla="*/ 283 w 368"/>
                  <a:gd name="T63" fmla="*/ 294 h 342"/>
                  <a:gd name="T64" fmla="*/ 272 w 368"/>
                  <a:gd name="T65" fmla="*/ 273 h 342"/>
                  <a:gd name="T66" fmla="*/ 267 w 368"/>
                  <a:gd name="T67" fmla="*/ 257 h 342"/>
                  <a:gd name="T68" fmla="*/ 272 w 368"/>
                  <a:gd name="T69" fmla="*/ 241 h 342"/>
                  <a:gd name="T70" fmla="*/ 288 w 368"/>
                  <a:gd name="T71" fmla="*/ 230 h 342"/>
                  <a:gd name="T72" fmla="*/ 272 w 368"/>
                  <a:gd name="T73" fmla="*/ 219 h 342"/>
                  <a:gd name="T74" fmla="*/ 267 w 368"/>
                  <a:gd name="T75" fmla="*/ 214 h 342"/>
                  <a:gd name="T76" fmla="*/ 267 w 368"/>
                  <a:gd name="T77" fmla="*/ 193 h 342"/>
                  <a:gd name="T78" fmla="*/ 272 w 368"/>
                  <a:gd name="T79" fmla="*/ 166 h 342"/>
                  <a:gd name="T80" fmla="*/ 304 w 368"/>
                  <a:gd name="T81" fmla="*/ 145 h 342"/>
                  <a:gd name="T82" fmla="*/ 304 w 368"/>
                  <a:gd name="T83" fmla="*/ 134 h 342"/>
                  <a:gd name="T84" fmla="*/ 304 w 368"/>
                  <a:gd name="T85" fmla="*/ 123 h 342"/>
                  <a:gd name="T86" fmla="*/ 299 w 368"/>
                  <a:gd name="T87" fmla="*/ 102 h 342"/>
                  <a:gd name="T88" fmla="*/ 277 w 368"/>
                  <a:gd name="T89" fmla="*/ 80 h 342"/>
                  <a:gd name="T90" fmla="*/ 277 w 368"/>
                  <a:gd name="T91" fmla="*/ 59 h 342"/>
                  <a:gd name="T92" fmla="*/ 288 w 368"/>
                  <a:gd name="T93" fmla="*/ 43 h 342"/>
                  <a:gd name="T94" fmla="*/ 315 w 368"/>
                  <a:gd name="T95" fmla="*/ 38 h 342"/>
                  <a:gd name="T96" fmla="*/ 320 w 368"/>
                  <a:gd name="T97" fmla="*/ 16 h 342"/>
                  <a:gd name="T98" fmla="*/ 325 w 368"/>
                  <a:gd name="T99" fmla="*/ 0 h 34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68"/>
                  <a:gd name="T151" fmla="*/ 0 h 342"/>
                  <a:gd name="T152" fmla="*/ 368 w 368"/>
                  <a:gd name="T153" fmla="*/ 342 h 34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68" h="342">
                    <a:moveTo>
                      <a:pt x="325" y="0"/>
                    </a:moveTo>
                    <a:lnTo>
                      <a:pt x="331" y="11"/>
                    </a:lnTo>
                    <a:lnTo>
                      <a:pt x="336" y="27"/>
                    </a:lnTo>
                    <a:lnTo>
                      <a:pt x="336" y="43"/>
                    </a:lnTo>
                    <a:lnTo>
                      <a:pt x="341" y="64"/>
                    </a:lnTo>
                    <a:lnTo>
                      <a:pt x="347" y="86"/>
                    </a:lnTo>
                    <a:lnTo>
                      <a:pt x="352" y="118"/>
                    </a:lnTo>
                    <a:lnTo>
                      <a:pt x="352" y="129"/>
                    </a:lnTo>
                    <a:lnTo>
                      <a:pt x="352" y="139"/>
                    </a:lnTo>
                    <a:lnTo>
                      <a:pt x="352" y="145"/>
                    </a:lnTo>
                    <a:lnTo>
                      <a:pt x="352" y="155"/>
                    </a:lnTo>
                    <a:lnTo>
                      <a:pt x="347" y="182"/>
                    </a:lnTo>
                    <a:lnTo>
                      <a:pt x="347" y="209"/>
                    </a:lnTo>
                    <a:lnTo>
                      <a:pt x="352" y="241"/>
                    </a:lnTo>
                    <a:lnTo>
                      <a:pt x="352" y="267"/>
                    </a:lnTo>
                    <a:lnTo>
                      <a:pt x="352" y="283"/>
                    </a:lnTo>
                    <a:lnTo>
                      <a:pt x="368" y="299"/>
                    </a:lnTo>
                    <a:lnTo>
                      <a:pt x="368" y="315"/>
                    </a:lnTo>
                    <a:lnTo>
                      <a:pt x="352" y="315"/>
                    </a:lnTo>
                    <a:lnTo>
                      <a:pt x="336" y="326"/>
                    </a:lnTo>
                    <a:lnTo>
                      <a:pt x="320" y="332"/>
                    </a:lnTo>
                    <a:lnTo>
                      <a:pt x="304" y="332"/>
                    </a:lnTo>
                    <a:lnTo>
                      <a:pt x="293" y="337"/>
                    </a:lnTo>
                    <a:lnTo>
                      <a:pt x="277" y="337"/>
                    </a:lnTo>
                    <a:lnTo>
                      <a:pt x="261" y="337"/>
                    </a:lnTo>
                    <a:lnTo>
                      <a:pt x="240" y="342"/>
                    </a:lnTo>
                    <a:lnTo>
                      <a:pt x="229" y="342"/>
                    </a:lnTo>
                    <a:lnTo>
                      <a:pt x="208" y="337"/>
                    </a:lnTo>
                    <a:lnTo>
                      <a:pt x="187" y="337"/>
                    </a:lnTo>
                    <a:lnTo>
                      <a:pt x="166" y="337"/>
                    </a:lnTo>
                    <a:lnTo>
                      <a:pt x="150" y="337"/>
                    </a:lnTo>
                    <a:lnTo>
                      <a:pt x="107" y="337"/>
                    </a:lnTo>
                    <a:lnTo>
                      <a:pt x="75" y="332"/>
                    </a:lnTo>
                    <a:lnTo>
                      <a:pt x="54" y="326"/>
                    </a:lnTo>
                    <a:lnTo>
                      <a:pt x="43" y="321"/>
                    </a:lnTo>
                    <a:lnTo>
                      <a:pt x="32" y="315"/>
                    </a:lnTo>
                    <a:lnTo>
                      <a:pt x="27" y="310"/>
                    </a:lnTo>
                    <a:lnTo>
                      <a:pt x="16" y="305"/>
                    </a:lnTo>
                    <a:lnTo>
                      <a:pt x="11" y="294"/>
                    </a:lnTo>
                    <a:lnTo>
                      <a:pt x="6" y="289"/>
                    </a:lnTo>
                    <a:lnTo>
                      <a:pt x="0" y="283"/>
                    </a:lnTo>
                    <a:lnTo>
                      <a:pt x="6" y="283"/>
                    </a:lnTo>
                    <a:lnTo>
                      <a:pt x="22" y="278"/>
                    </a:lnTo>
                    <a:lnTo>
                      <a:pt x="16" y="278"/>
                    </a:lnTo>
                    <a:lnTo>
                      <a:pt x="16" y="283"/>
                    </a:lnTo>
                    <a:lnTo>
                      <a:pt x="22" y="289"/>
                    </a:lnTo>
                    <a:lnTo>
                      <a:pt x="32" y="299"/>
                    </a:lnTo>
                    <a:lnTo>
                      <a:pt x="43" y="299"/>
                    </a:lnTo>
                    <a:lnTo>
                      <a:pt x="54" y="305"/>
                    </a:lnTo>
                    <a:lnTo>
                      <a:pt x="59" y="315"/>
                    </a:lnTo>
                    <a:lnTo>
                      <a:pt x="75" y="321"/>
                    </a:lnTo>
                    <a:lnTo>
                      <a:pt x="86" y="321"/>
                    </a:lnTo>
                    <a:lnTo>
                      <a:pt x="107" y="326"/>
                    </a:lnTo>
                    <a:lnTo>
                      <a:pt x="134" y="321"/>
                    </a:lnTo>
                    <a:lnTo>
                      <a:pt x="155" y="310"/>
                    </a:lnTo>
                    <a:lnTo>
                      <a:pt x="176" y="299"/>
                    </a:lnTo>
                    <a:lnTo>
                      <a:pt x="192" y="299"/>
                    </a:lnTo>
                    <a:lnTo>
                      <a:pt x="213" y="305"/>
                    </a:lnTo>
                    <a:lnTo>
                      <a:pt x="235" y="321"/>
                    </a:lnTo>
                    <a:lnTo>
                      <a:pt x="245" y="321"/>
                    </a:lnTo>
                    <a:lnTo>
                      <a:pt x="256" y="321"/>
                    </a:lnTo>
                    <a:lnTo>
                      <a:pt x="267" y="321"/>
                    </a:lnTo>
                    <a:lnTo>
                      <a:pt x="288" y="315"/>
                    </a:lnTo>
                    <a:lnTo>
                      <a:pt x="283" y="294"/>
                    </a:lnTo>
                    <a:lnTo>
                      <a:pt x="277" y="283"/>
                    </a:lnTo>
                    <a:lnTo>
                      <a:pt x="272" y="273"/>
                    </a:lnTo>
                    <a:lnTo>
                      <a:pt x="267" y="267"/>
                    </a:lnTo>
                    <a:lnTo>
                      <a:pt x="267" y="257"/>
                    </a:lnTo>
                    <a:lnTo>
                      <a:pt x="267" y="246"/>
                    </a:lnTo>
                    <a:lnTo>
                      <a:pt x="272" y="241"/>
                    </a:lnTo>
                    <a:lnTo>
                      <a:pt x="277" y="235"/>
                    </a:lnTo>
                    <a:lnTo>
                      <a:pt x="288" y="230"/>
                    </a:lnTo>
                    <a:lnTo>
                      <a:pt x="277" y="225"/>
                    </a:lnTo>
                    <a:lnTo>
                      <a:pt x="272" y="219"/>
                    </a:lnTo>
                    <a:lnTo>
                      <a:pt x="267" y="214"/>
                    </a:lnTo>
                    <a:lnTo>
                      <a:pt x="261" y="198"/>
                    </a:lnTo>
                    <a:lnTo>
                      <a:pt x="267" y="193"/>
                    </a:lnTo>
                    <a:lnTo>
                      <a:pt x="272" y="182"/>
                    </a:lnTo>
                    <a:lnTo>
                      <a:pt x="272" y="166"/>
                    </a:lnTo>
                    <a:lnTo>
                      <a:pt x="277" y="155"/>
                    </a:lnTo>
                    <a:lnTo>
                      <a:pt x="304" y="145"/>
                    </a:lnTo>
                    <a:lnTo>
                      <a:pt x="304" y="134"/>
                    </a:lnTo>
                    <a:lnTo>
                      <a:pt x="304" y="129"/>
                    </a:lnTo>
                    <a:lnTo>
                      <a:pt x="304" y="123"/>
                    </a:lnTo>
                    <a:lnTo>
                      <a:pt x="304" y="113"/>
                    </a:lnTo>
                    <a:lnTo>
                      <a:pt x="299" y="102"/>
                    </a:lnTo>
                    <a:lnTo>
                      <a:pt x="283" y="91"/>
                    </a:lnTo>
                    <a:lnTo>
                      <a:pt x="277" y="80"/>
                    </a:lnTo>
                    <a:lnTo>
                      <a:pt x="277" y="70"/>
                    </a:lnTo>
                    <a:lnTo>
                      <a:pt x="277" y="59"/>
                    </a:lnTo>
                    <a:lnTo>
                      <a:pt x="272" y="43"/>
                    </a:lnTo>
                    <a:lnTo>
                      <a:pt x="288" y="43"/>
                    </a:lnTo>
                    <a:lnTo>
                      <a:pt x="299" y="43"/>
                    </a:lnTo>
                    <a:lnTo>
                      <a:pt x="315" y="38"/>
                    </a:lnTo>
                    <a:lnTo>
                      <a:pt x="320" y="27"/>
                    </a:lnTo>
                    <a:lnTo>
                      <a:pt x="320" y="16"/>
                    </a:lnTo>
                    <a:lnTo>
                      <a:pt x="320" y="6"/>
                    </a:lnTo>
                    <a:lnTo>
                      <a:pt x="325" y="0"/>
                    </a:lnTo>
                    <a:close/>
                  </a:path>
                </a:pathLst>
              </a:custGeom>
              <a:solidFill>
                <a:srgbClr val="D8C19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59" name="Freeform 3870"/>
              <p:cNvSpPr>
                <a:spLocks noEditPoints="1"/>
              </p:cNvSpPr>
              <p:nvPr/>
            </p:nvSpPr>
            <p:spPr bwMode="auto">
              <a:xfrm>
                <a:off x="4106" y="2920"/>
                <a:ext cx="346" cy="315"/>
              </a:xfrm>
              <a:custGeom>
                <a:avLst/>
                <a:gdLst>
                  <a:gd name="T0" fmla="*/ 335 w 346"/>
                  <a:gd name="T1" fmla="*/ 310 h 315"/>
                  <a:gd name="T2" fmla="*/ 335 w 346"/>
                  <a:gd name="T3" fmla="*/ 299 h 315"/>
                  <a:gd name="T4" fmla="*/ 325 w 346"/>
                  <a:gd name="T5" fmla="*/ 294 h 315"/>
                  <a:gd name="T6" fmla="*/ 325 w 346"/>
                  <a:gd name="T7" fmla="*/ 278 h 315"/>
                  <a:gd name="T8" fmla="*/ 319 w 346"/>
                  <a:gd name="T9" fmla="*/ 230 h 315"/>
                  <a:gd name="T10" fmla="*/ 319 w 346"/>
                  <a:gd name="T11" fmla="*/ 187 h 315"/>
                  <a:gd name="T12" fmla="*/ 319 w 346"/>
                  <a:gd name="T13" fmla="*/ 150 h 315"/>
                  <a:gd name="T14" fmla="*/ 325 w 346"/>
                  <a:gd name="T15" fmla="*/ 102 h 315"/>
                  <a:gd name="T16" fmla="*/ 319 w 346"/>
                  <a:gd name="T17" fmla="*/ 64 h 315"/>
                  <a:gd name="T18" fmla="*/ 314 w 346"/>
                  <a:gd name="T19" fmla="*/ 43 h 315"/>
                  <a:gd name="T20" fmla="*/ 298 w 346"/>
                  <a:gd name="T21" fmla="*/ 11 h 315"/>
                  <a:gd name="T22" fmla="*/ 303 w 346"/>
                  <a:gd name="T23" fmla="*/ 0 h 315"/>
                  <a:gd name="T24" fmla="*/ 314 w 346"/>
                  <a:gd name="T25" fmla="*/ 27 h 315"/>
                  <a:gd name="T26" fmla="*/ 319 w 346"/>
                  <a:gd name="T27" fmla="*/ 64 h 315"/>
                  <a:gd name="T28" fmla="*/ 330 w 346"/>
                  <a:gd name="T29" fmla="*/ 118 h 315"/>
                  <a:gd name="T30" fmla="*/ 330 w 346"/>
                  <a:gd name="T31" fmla="*/ 139 h 315"/>
                  <a:gd name="T32" fmla="*/ 330 w 346"/>
                  <a:gd name="T33" fmla="*/ 155 h 315"/>
                  <a:gd name="T34" fmla="*/ 325 w 346"/>
                  <a:gd name="T35" fmla="*/ 209 h 315"/>
                  <a:gd name="T36" fmla="*/ 330 w 346"/>
                  <a:gd name="T37" fmla="*/ 267 h 315"/>
                  <a:gd name="T38" fmla="*/ 346 w 346"/>
                  <a:gd name="T39" fmla="*/ 299 h 315"/>
                  <a:gd name="T40" fmla="*/ 330 w 346"/>
                  <a:gd name="T41" fmla="*/ 315 h 315"/>
                  <a:gd name="T42" fmla="*/ 0 w 346"/>
                  <a:gd name="T43" fmla="*/ 262 h 315"/>
                  <a:gd name="T44" fmla="*/ 5 w 346"/>
                  <a:gd name="T45" fmla="*/ 241 h 315"/>
                  <a:gd name="T46" fmla="*/ 5 w 346"/>
                  <a:gd name="T47" fmla="*/ 225 h 315"/>
                  <a:gd name="T48" fmla="*/ 5 w 346"/>
                  <a:gd name="T49" fmla="*/ 198 h 315"/>
                  <a:gd name="T50" fmla="*/ 5 w 346"/>
                  <a:gd name="T51" fmla="*/ 150 h 315"/>
                  <a:gd name="T52" fmla="*/ 5 w 346"/>
                  <a:gd name="T53" fmla="*/ 91 h 315"/>
                  <a:gd name="T54" fmla="*/ 10 w 346"/>
                  <a:gd name="T55" fmla="*/ 27 h 315"/>
                  <a:gd name="T56" fmla="*/ 16 w 346"/>
                  <a:gd name="T57" fmla="*/ 11 h 315"/>
                  <a:gd name="T58" fmla="*/ 10 w 346"/>
                  <a:gd name="T59" fmla="*/ 16 h 315"/>
                  <a:gd name="T60" fmla="*/ 5 w 346"/>
                  <a:gd name="T61" fmla="*/ 27 h 315"/>
                  <a:gd name="T62" fmla="*/ 5 w 346"/>
                  <a:gd name="T63" fmla="*/ 75 h 315"/>
                  <a:gd name="T64" fmla="*/ 5 w 346"/>
                  <a:gd name="T65" fmla="*/ 155 h 315"/>
                  <a:gd name="T66" fmla="*/ 5 w 346"/>
                  <a:gd name="T67" fmla="*/ 203 h 315"/>
                  <a:gd name="T68" fmla="*/ 5 w 346"/>
                  <a:gd name="T69" fmla="*/ 257 h 315"/>
                  <a:gd name="T70" fmla="*/ 0 w 346"/>
                  <a:gd name="T71" fmla="*/ 278 h 31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46"/>
                  <a:gd name="T109" fmla="*/ 0 h 315"/>
                  <a:gd name="T110" fmla="*/ 346 w 346"/>
                  <a:gd name="T111" fmla="*/ 315 h 315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46" h="315">
                    <a:moveTo>
                      <a:pt x="330" y="315"/>
                    </a:moveTo>
                    <a:lnTo>
                      <a:pt x="335" y="310"/>
                    </a:lnTo>
                    <a:lnTo>
                      <a:pt x="341" y="310"/>
                    </a:lnTo>
                    <a:lnTo>
                      <a:pt x="335" y="299"/>
                    </a:lnTo>
                    <a:lnTo>
                      <a:pt x="330" y="299"/>
                    </a:lnTo>
                    <a:lnTo>
                      <a:pt x="325" y="294"/>
                    </a:lnTo>
                    <a:lnTo>
                      <a:pt x="325" y="289"/>
                    </a:lnTo>
                    <a:lnTo>
                      <a:pt x="325" y="278"/>
                    </a:lnTo>
                    <a:lnTo>
                      <a:pt x="325" y="257"/>
                    </a:lnTo>
                    <a:lnTo>
                      <a:pt x="319" y="230"/>
                    </a:lnTo>
                    <a:lnTo>
                      <a:pt x="314" y="209"/>
                    </a:lnTo>
                    <a:lnTo>
                      <a:pt x="319" y="187"/>
                    </a:lnTo>
                    <a:lnTo>
                      <a:pt x="319" y="171"/>
                    </a:lnTo>
                    <a:lnTo>
                      <a:pt x="319" y="150"/>
                    </a:lnTo>
                    <a:lnTo>
                      <a:pt x="325" y="118"/>
                    </a:lnTo>
                    <a:lnTo>
                      <a:pt x="325" y="102"/>
                    </a:lnTo>
                    <a:lnTo>
                      <a:pt x="319" y="86"/>
                    </a:lnTo>
                    <a:lnTo>
                      <a:pt x="319" y="64"/>
                    </a:lnTo>
                    <a:lnTo>
                      <a:pt x="319" y="54"/>
                    </a:lnTo>
                    <a:lnTo>
                      <a:pt x="314" y="43"/>
                    </a:lnTo>
                    <a:lnTo>
                      <a:pt x="309" y="32"/>
                    </a:lnTo>
                    <a:lnTo>
                      <a:pt x="298" y="11"/>
                    </a:lnTo>
                    <a:lnTo>
                      <a:pt x="298" y="6"/>
                    </a:lnTo>
                    <a:lnTo>
                      <a:pt x="303" y="0"/>
                    </a:lnTo>
                    <a:lnTo>
                      <a:pt x="309" y="11"/>
                    </a:lnTo>
                    <a:lnTo>
                      <a:pt x="314" y="27"/>
                    </a:lnTo>
                    <a:lnTo>
                      <a:pt x="314" y="43"/>
                    </a:lnTo>
                    <a:lnTo>
                      <a:pt x="319" y="64"/>
                    </a:lnTo>
                    <a:lnTo>
                      <a:pt x="325" y="86"/>
                    </a:lnTo>
                    <a:lnTo>
                      <a:pt x="330" y="118"/>
                    </a:lnTo>
                    <a:lnTo>
                      <a:pt x="330" y="129"/>
                    </a:lnTo>
                    <a:lnTo>
                      <a:pt x="330" y="139"/>
                    </a:lnTo>
                    <a:lnTo>
                      <a:pt x="330" y="145"/>
                    </a:lnTo>
                    <a:lnTo>
                      <a:pt x="330" y="155"/>
                    </a:lnTo>
                    <a:lnTo>
                      <a:pt x="325" y="182"/>
                    </a:lnTo>
                    <a:lnTo>
                      <a:pt x="325" y="209"/>
                    </a:lnTo>
                    <a:lnTo>
                      <a:pt x="330" y="241"/>
                    </a:lnTo>
                    <a:lnTo>
                      <a:pt x="330" y="267"/>
                    </a:lnTo>
                    <a:lnTo>
                      <a:pt x="330" y="283"/>
                    </a:lnTo>
                    <a:lnTo>
                      <a:pt x="346" y="299"/>
                    </a:lnTo>
                    <a:lnTo>
                      <a:pt x="346" y="315"/>
                    </a:lnTo>
                    <a:lnTo>
                      <a:pt x="330" y="315"/>
                    </a:lnTo>
                    <a:close/>
                    <a:moveTo>
                      <a:pt x="0" y="278"/>
                    </a:moveTo>
                    <a:lnTo>
                      <a:pt x="0" y="262"/>
                    </a:lnTo>
                    <a:lnTo>
                      <a:pt x="10" y="251"/>
                    </a:lnTo>
                    <a:lnTo>
                      <a:pt x="5" y="241"/>
                    </a:lnTo>
                    <a:lnTo>
                      <a:pt x="5" y="235"/>
                    </a:lnTo>
                    <a:lnTo>
                      <a:pt x="5" y="225"/>
                    </a:lnTo>
                    <a:lnTo>
                      <a:pt x="5" y="219"/>
                    </a:lnTo>
                    <a:lnTo>
                      <a:pt x="5" y="198"/>
                    </a:lnTo>
                    <a:lnTo>
                      <a:pt x="5" y="177"/>
                    </a:lnTo>
                    <a:lnTo>
                      <a:pt x="5" y="150"/>
                    </a:lnTo>
                    <a:lnTo>
                      <a:pt x="5" y="134"/>
                    </a:lnTo>
                    <a:lnTo>
                      <a:pt x="5" y="91"/>
                    </a:lnTo>
                    <a:lnTo>
                      <a:pt x="5" y="48"/>
                    </a:lnTo>
                    <a:lnTo>
                      <a:pt x="10" y="27"/>
                    </a:lnTo>
                    <a:lnTo>
                      <a:pt x="21" y="11"/>
                    </a:lnTo>
                    <a:lnTo>
                      <a:pt x="16" y="11"/>
                    </a:lnTo>
                    <a:lnTo>
                      <a:pt x="16" y="16"/>
                    </a:lnTo>
                    <a:lnTo>
                      <a:pt x="10" y="16"/>
                    </a:lnTo>
                    <a:lnTo>
                      <a:pt x="10" y="22"/>
                    </a:lnTo>
                    <a:lnTo>
                      <a:pt x="5" y="27"/>
                    </a:lnTo>
                    <a:lnTo>
                      <a:pt x="5" y="38"/>
                    </a:lnTo>
                    <a:lnTo>
                      <a:pt x="5" y="75"/>
                    </a:lnTo>
                    <a:lnTo>
                      <a:pt x="0" y="113"/>
                    </a:lnTo>
                    <a:lnTo>
                      <a:pt x="5" y="155"/>
                    </a:lnTo>
                    <a:lnTo>
                      <a:pt x="5" y="177"/>
                    </a:lnTo>
                    <a:lnTo>
                      <a:pt x="5" y="203"/>
                    </a:lnTo>
                    <a:lnTo>
                      <a:pt x="0" y="235"/>
                    </a:lnTo>
                    <a:lnTo>
                      <a:pt x="5" y="257"/>
                    </a:lnTo>
                    <a:lnTo>
                      <a:pt x="0" y="262"/>
                    </a:lnTo>
                    <a:lnTo>
                      <a:pt x="0" y="278"/>
                    </a:lnTo>
                    <a:close/>
                  </a:path>
                </a:pathLst>
              </a:custGeom>
              <a:solidFill>
                <a:srgbClr val="BCA6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60" name="Freeform 3871"/>
              <p:cNvSpPr>
                <a:spLocks noEditPoints="1"/>
              </p:cNvSpPr>
              <p:nvPr/>
            </p:nvSpPr>
            <p:spPr bwMode="auto">
              <a:xfrm>
                <a:off x="4116" y="2867"/>
                <a:ext cx="288" cy="69"/>
              </a:xfrm>
              <a:custGeom>
                <a:avLst/>
                <a:gdLst>
                  <a:gd name="T0" fmla="*/ 240 w 288"/>
                  <a:gd name="T1" fmla="*/ 32 h 69"/>
                  <a:gd name="T2" fmla="*/ 245 w 288"/>
                  <a:gd name="T3" fmla="*/ 27 h 69"/>
                  <a:gd name="T4" fmla="*/ 256 w 288"/>
                  <a:gd name="T5" fmla="*/ 21 h 69"/>
                  <a:gd name="T6" fmla="*/ 283 w 288"/>
                  <a:gd name="T7" fmla="*/ 27 h 69"/>
                  <a:gd name="T8" fmla="*/ 283 w 288"/>
                  <a:gd name="T9" fmla="*/ 21 h 69"/>
                  <a:gd name="T10" fmla="*/ 288 w 288"/>
                  <a:gd name="T11" fmla="*/ 21 h 69"/>
                  <a:gd name="T12" fmla="*/ 288 w 288"/>
                  <a:gd name="T13" fmla="*/ 27 h 69"/>
                  <a:gd name="T14" fmla="*/ 283 w 288"/>
                  <a:gd name="T15" fmla="*/ 37 h 69"/>
                  <a:gd name="T16" fmla="*/ 277 w 288"/>
                  <a:gd name="T17" fmla="*/ 48 h 69"/>
                  <a:gd name="T18" fmla="*/ 272 w 288"/>
                  <a:gd name="T19" fmla="*/ 64 h 69"/>
                  <a:gd name="T20" fmla="*/ 240 w 288"/>
                  <a:gd name="T21" fmla="*/ 64 h 69"/>
                  <a:gd name="T22" fmla="*/ 235 w 288"/>
                  <a:gd name="T23" fmla="*/ 64 h 69"/>
                  <a:gd name="T24" fmla="*/ 229 w 288"/>
                  <a:gd name="T25" fmla="*/ 69 h 69"/>
                  <a:gd name="T26" fmla="*/ 229 w 288"/>
                  <a:gd name="T27" fmla="*/ 59 h 69"/>
                  <a:gd name="T28" fmla="*/ 240 w 288"/>
                  <a:gd name="T29" fmla="*/ 53 h 69"/>
                  <a:gd name="T30" fmla="*/ 256 w 288"/>
                  <a:gd name="T31" fmla="*/ 43 h 69"/>
                  <a:gd name="T32" fmla="*/ 267 w 288"/>
                  <a:gd name="T33" fmla="*/ 37 h 69"/>
                  <a:gd name="T34" fmla="*/ 261 w 288"/>
                  <a:gd name="T35" fmla="*/ 32 h 69"/>
                  <a:gd name="T36" fmla="*/ 251 w 288"/>
                  <a:gd name="T37" fmla="*/ 32 h 69"/>
                  <a:gd name="T38" fmla="*/ 240 w 288"/>
                  <a:gd name="T39" fmla="*/ 32 h 69"/>
                  <a:gd name="T40" fmla="*/ 240 w 288"/>
                  <a:gd name="T41" fmla="*/ 32 h 69"/>
                  <a:gd name="T42" fmla="*/ 80 w 288"/>
                  <a:gd name="T43" fmla="*/ 5 h 69"/>
                  <a:gd name="T44" fmla="*/ 64 w 288"/>
                  <a:gd name="T45" fmla="*/ 0 h 69"/>
                  <a:gd name="T46" fmla="*/ 59 w 288"/>
                  <a:gd name="T47" fmla="*/ 0 h 69"/>
                  <a:gd name="T48" fmla="*/ 48 w 288"/>
                  <a:gd name="T49" fmla="*/ 0 h 69"/>
                  <a:gd name="T50" fmla="*/ 38 w 288"/>
                  <a:gd name="T51" fmla="*/ 0 h 69"/>
                  <a:gd name="T52" fmla="*/ 32 w 288"/>
                  <a:gd name="T53" fmla="*/ 5 h 69"/>
                  <a:gd name="T54" fmla="*/ 16 w 288"/>
                  <a:gd name="T55" fmla="*/ 11 h 69"/>
                  <a:gd name="T56" fmla="*/ 0 w 288"/>
                  <a:gd name="T57" fmla="*/ 16 h 69"/>
                  <a:gd name="T58" fmla="*/ 16 w 288"/>
                  <a:gd name="T59" fmla="*/ 16 h 69"/>
                  <a:gd name="T60" fmla="*/ 22 w 288"/>
                  <a:gd name="T61" fmla="*/ 16 h 69"/>
                  <a:gd name="T62" fmla="*/ 27 w 288"/>
                  <a:gd name="T63" fmla="*/ 27 h 69"/>
                  <a:gd name="T64" fmla="*/ 38 w 288"/>
                  <a:gd name="T65" fmla="*/ 16 h 69"/>
                  <a:gd name="T66" fmla="*/ 54 w 288"/>
                  <a:gd name="T67" fmla="*/ 16 h 69"/>
                  <a:gd name="T68" fmla="*/ 54 w 288"/>
                  <a:gd name="T69" fmla="*/ 11 h 69"/>
                  <a:gd name="T70" fmla="*/ 59 w 288"/>
                  <a:gd name="T71" fmla="*/ 11 h 69"/>
                  <a:gd name="T72" fmla="*/ 59 w 288"/>
                  <a:gd name="T73" fmla="*/ 5 h 69"/>
                  <a:gd name="T74" fmla="*/ 80 w 288"/>
                  <a:gd name="T75" fmla="*/ 5 h 6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88"/>
                  <a:gd name="T115" fmla="*/ 0 h 69"/>
                  <a:gd name="T116" fmla="*/ 288 w 288"/>
                  <a:gd name="T117" fmla="*/ 69 h 69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88" h="69">
                    <a:moveTo>
                      <a:pt x="240" y="32"/>
                    </a:moveTo>
                    <a:lnTo>
                      <a:pt x="245" y="27"/>
                    </a:lnTo>
                    <a:lnTo>
                      <a:pt x="256" y="21"/>
                    </a:lnTo>
                    <a:lnTo>
                      <a:pt x="283" y="27"/>
                    </a:lnTo>
                    <a:lnTo>
                      <a:pt x="283" y="21"/>
                    </a:lnTo>
                    <a:lnTo>
                      <a:pt x="288" y="21"/>
                    </a:lnTo>
                    <a:lnTo>
                      <a:pt x="288" y="27"/>
                    </a:lnTo>
                    <a:lnTo>
                      <a:pt x="283" y="37"/>
                    </a:lnTo>
                    <a:lnTo>
                      <a:pt x="277" y="48"/>
                    </a:lnTo>
                    <a:lnTo>
                      <a:pt x="272" y="64"/>
                    </a:lnTo>
                    <a:lnTo>
                      <a:pt x="240" y="64"/>
                    </a:lnTo>
                    <a:lnTo>
                      <a:pt x="235" y="64"/>
                    </a:lnTo>
                    <a:lnTo>
                      <a:pt x="229" y="69"/>
                    </a:lnTo>
                    <a:lnTo>
                      <a:pt x="229" y="59"/>
                    </a:lnTo>
                    <a:lnTo>
                      <a:pt x="240" y="53"/>
                    </a:lnTo>
                    <a:lnTo>
                      <a:pt x="256" y="43"/>
                    </a:lnTo>
                    <a:lnTo>
                      <a:pt x="267" y="37"/>
                    </a:lnTo>
                    <a:lnTo>
                      <a:pt x="261" y="32"/>
                    </a:lnTo>
                    <a:lnTo>
                      <a:pt x="251" y="32"/>
                    </a:lnTo>
                    <a:lnTo>
                      <a:pt x="240" y="32"/>
                    </a:lnTo>
                    <a:close/>
                    <a:moveTo>
                      <a:pt x="80" y="5"/>
                    </a:moveTo>
                    <a:lnTo>
                      <a:pt x="64" y="0"/>
                    </a:lnTo>
                    <a:lnTo>
                      <a:pt x="59" y="0"/>
                    </a:lnTo>
                    <a:lnTo>
                      <a:pt x="48" y="0"/>
                    </a:lnTo>
                    <a:lnTo>
                      <a:pt x="38" y="0"/>
                    </a:lnTo>
                    <a:lnTo>
                      <a:pt x="32" y="5"/>
                    </a:lnTo>
                    <a:lnTo>
                      <a:pt x="16" y="11"/>
                    </a:lnTo>
                    <a:lnTo>
                      <a:pt x="0" y="16"/>
                    </a:lnTo>
                    <a:lnTo>
                      <a:pt x="16" y="16"/>
                    </a:lnTo>
                    <a:lnTo>
                      <a:pt x="22" y="16"/>
                    </a:lnTo>
                    <a:lnTo>
                      <a:pt x="27" y="27"/>
                    </a:lnTo>
                    <a:lnTo>
                      <a:pt x="38" y="16"/>
                    </a:lnTo>
                    <a:lnTo>
                      <a:pt x="54" y="16"/>
                    </a:lnTo>
                    <a:lnTo>
                      <a:pt x="54" y="11"/>
                    </a:lnTo>
                    <a:lnTo>
                      <a:pt x="59" y="11"/>
                    </a:lnTo>
                    <a:lnTo>
                      <a:pt x="59" y="5"/>
                    </a:lnTo>
                    <a:lnTo>
                      <a:pt x="80" y="5"/>
                    </a:lnTo>
                    <a:close/>
                  </a:path>
                </a:pathLst>
              </a:custGeom>
              <a:solidFill>
                <a:srgbClr val="D8C19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61" name="Freeform 3872"/>
              <p:cNvSpPr>
                <a:spLocks/>
              </p:cNvSpPr>
              <p:nvPr/>
            </p:nvSpPr>
            <p:spPr bwMode="auto">
              <a:xfrm>
                <a:off x="4297" y="2856"/>
                <a:ext cx="96" cy="32"/>
              </a:xfrm>
              <a:custGeom>
                <a:avLst/>
                <a:gdLst>
                  <a:gd name="T0" fmla="*/ 91 w 96"/>
                  <a:gd name="T1" fmla="*/ 32 h 32"/>
                  <a:gd name="T2" fmla="*/ 75 w 96"/>
                  <a:gd name="T3" fmla="*/ 27 h 32"/>
                  <a:gd name="T4" fmla="*/ 70 w 96"/>
                  <a:gd name="T5" fmla="*/ 22 h 32"/>
                  <a:gd name="T6" fmla="*/ 54 w 96"/>
                  <a:gd name="T7" fmla="*/ 16 h 32"/>
                  <a:gd name="T8" fmla="*/ 38 w 96"/>
                  <a:gd name="T9" fmla="*/ 11 h 32"/>
                  <a:gd name="T10" fmla="*/ 22 w 96"/>
                  <a:gd name="T11" fmla="*/ 6 h 32"/>
                  <a:gd name="T12" fmla="*/ 16 w 96"/>
                  <a:gd name="T13" fmla="*/ 6 h 32"/>
                  <a:gd name="T14" fmla="*/ 6 w 96"/>
                  <a:gd name="T15" fmla="*/ 0 h 32"/>
                  <a:gd name="T16" fmla="*/ 0 w 96"/>
                  <a:gd name="T17" fmla="*/ 11 h 32"/>
                  <a:gd name="T18" fmla="*/ 11 w 96"/>
                  <a:gd name="T19" fmla="*/ 0 h 32"/>
                  <a:gd name="T20" fmla="*/ 27 w 96"/>
                  <a:gd name="T21" fmla="*/ 0 h 32"/>
                  <a:gd name="T22" fmla="*/ 43 w 96"/>
                  <a:gd name="T23" fmla="*/ 6 h 32"/>
                  <a:gd name="T24" fmla="*/ 59 w 96"/>
                  <a:gd name="T25" fmla="*/ 11 h 32"/>
                  <a:gd name="T26" fmla="*/ 75 w 96"/>
                  <a:gd name="T27" fmla="*/ 6 h 32"/>
                  <a:gd name="T28" fmla="*/ 96 w 96"/>
                  <a:gd name="T29" fmla="*/ 11 h 32"/>
                  <a:gd name="T30" fmla="*/ 86 w 96"/>
                  <a:gd name="T31" fmla="*/ 11 h 32"/>
                  <a:gd name="T32" fmla="*/ 80 w 96"/>
                  <a:gd name="T33" fmla="*/ 16 h 32"/>
                  <a:gd name="T34" fmla="*/ 86 w 96"/>
                  <a:gd name="T35" fmla="*/ 16 h 32"/>
                  <a:gd name="T36" fmla="*/ 96 w 96"/>
                  <a:gd name="T37" fmla="*/ 27 h 32"/>
                  <a:gd name="T38" fmla="*/ 91 w 96"/>
                  <a:gd name="T39" fmla="*/ 27 h 32"/>
                  <a:gd name="T40" fmla="*/ 91 w 96"/>
                  <a:gd name="T41" fmla="*/ 32 h 3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96"/>
                  <a:gd name="T64" fmla="*/ 0 h 32"/>
                  <a:gd name="T65" fmla="*/ 96 w 96"/>
                  <a:gd name="T66" fmla="*/ 32 h 3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96" h="32">
                    <a:moveTo>
                      <a:pt x="91" y="32"/>
                    </a:moveTo>
                    <a:lnTo>
                      <a:pt x="75" y="27"/>
                    </a:lnTo>
                    <a:lnTo>
                      <a:pt x="70" y="22"/>
                    </a:lnTo>
                    <a:lnTo>
                      <a:pt x="54" y="16"/>
                    </a:lnTo>
                    <a:lnTo>
                      <a:pt x="38" y="11"/>
                    </a:lnTo>
                    <a:lnTo>
                      <a:pt x="22" y="6"/>
                    </a:lnTo>
                    <a:lnTo>
                      <a:pt x="16" y="6"/>
                    </a:lnTo>
                    <a:lnTo>
                      <a:pt x="6" y="0"/>
                    </a:lnTo>
                    <a:lnTo>
                      <a:pt x="0" y="11"/>
                    </a:lnTo>
                    <a:lnTo>
                      <a:pt x="11" y="0"/>
                    </a:lnTo>
                    <a:lnTo>
                      <a:pt x="27" y="0"/>
                    </a:lnTo>
                    <a:lnTo>
                      <a:pt x="43" y="6"/>
                    </a:lnTo>
                    <a:lnTo>
                      <a:pt x="59" y="11"/>
                    </a:lnTo>
                    <a:lnTo>
                      <a:pt x="75" y="6"/>
                    </a:lnTo>
                    <a:lnTo>
                      <a:pt x="96" y="11"/>
                    </a:lnTo>
                    <a:lnTo>
                      <a:pt x="86" y="11"/>
                    </a:lnTo>
                    <a:lnTo>
                      <a:pt x="80" y="16"/>
                    </a:lnTo>
                    <a:lnTo>
                      <a:pt x="86" y="16"/>
                    </a:lnTo>
                    <a:lnTo>
                      <a:pt x="96" y="27"/>
                    </a:lnTo>
                    <a:lnTo>
                      <a:pt x="91" y="27"/>
                    </a:lnTo>
                    <a:lnTo>
                      <a:pt x="91" y="32"/>
                    </a:lnTo>
                    <a:close/>
                  </a:path>
                </a:pathLst>
              </a:custGeom>
              <a:solidFill>
                <a:srgbClr val="D8C19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62" name="Freeform 3873"/>
              <p:cNvSpPr>
                <a:spLocks/>
              </p:cNvSpPr>
              <p:nvPr/>
            </p:nvSpPr>
            <p:spPr bwMode="auto">
              <a:xfrm>
                <a:off x="4218" y="3011"/>
                <a:ext cx="32" cy="176"/>
              </a:xfrm>
              <a:custGeom>
                <a:avLst/>
                <a:gdLst>
                  <a:gd name="T0" fmla="*/ 0 w 32"/>
                  <a:gd name="T1" fmla="*/ 0 h 176"/>
                  <a:gd name="T2" fmla="*/ 16 w 32"/>
                  <a:gd name="T3" fmla="*/ 38 h 176"/>
                  <a:gd name="T4" fmla="*/ 26 w 32"/>
                  <a:gd name="T5" fmla="*/ 70 h 176"/>
                  <a:gd name="T6" fmla="*/ 26 w 32"/>
                  <a:gd name="T7" fmla="*/ 118 h 176"/>
                  <a:gd name="T8" fmla="*/ 32 w 32"/>
                  <a:gd name="T9" fmla="*/ 144 h 176"/>
                  <a:gd name="T10" fmla="*/ 32 w 32"/>
                  <a:gd name="T11" fmla="*/ 176 h 17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2"/>
                  <a:gd name="T19" fmla="*/ 0 h 176"/>
                  <a:gd name="T20" fmla="*/ 32 w 32"/>
                  <a:gd name="T21" fmla="*/ 176 h 17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2" h="176">
                    <a:moveTo>
                      <a:pt x="0" y="0"/>
                    </a:moveTo>
                    <a:lnTo>
                      <a:pt x="16" y="38"/>
                    </a:lnTo>
                    <a:lnTo>
                      <a:pt x="26" y="70"/>
                    </a:lnTo>
                    <a:lnTo>
                      <a:pt x="26" y="118"/>
                    </a:lnTo>
                    <a:lnTo>
                      <a:pt x="32" y="144"/>
                    </a:lnTo>
                    <a:lnTo>
                      <a:pt x="32" y="176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63" name="Freeform 3874"/>
              <p:cNvSpPr>
                <a:spLocks/>
              </p:cNvSpPr>
              <p:nvPr/>
            </p:nvSpPr>
            <p:spPr bwMode="auto">
              <a:xfrm>
                <a:off x="4244" y="3049"/>
                <a:ext cx="11" cy="21"/>
              </a:xfrm>
              <a:custGeom>
                <a:avLst/>
                <a:gdLst>
                  <a:gd name="T0" fmla="*/ 0 w 11"/>
                  <a:gd name="T1" fmla="*/ 21 h 21"/>
                  <a:gd name="T2" fmla="*/ 6 w 11"/>
                  <a:gd name="T3" fmla="*/ 10 h 21"/>
                  <a:gd name="T4" fmla="*/ 11 w 11"/>
                  <a:gd name="T5" fmla="*/ 0 h 21"/>
                  <a:gd name="T6" fmla="*/ 0 60000 65536"/>
                  <a:gd name="T7" fmla="*/ 0 60000 65536"/>
                  <a:gd name="T8" fmla="*/ 0 60000 65536"/>
                  <a:gd name="T9" fmla="*/ 0 w 11"/>
                  <a:gd name="T10" fmla="*/ 0 h 21"/>
                  <a:gd name="T11" fmla="*/ 11 w 11"/>
                  <a:gd name="T12" fmla="*/ 21 h 2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1" h="21">
                    <a:moveTo>
                      <a:pt x="0" y="21"/>
                    </a:moveTo>
                    <a:lnTo>
                      <a:pt x="6" y="10"/>
                    </a:lnTo>
                    <a:lnTo>
                      <a:pt x="11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64" name="Freeform 3875"/>
              <p:cNvSpPr>
                <a:spLocks/>
              </p:cNvSpPr>
              <p:nvPr/>
            </p:nvSpPr>
            <p:spPr bwMode="auto">
              <a:xfrm>
                <a:off x="4223" y="3070"/>
                <a:ext cx="16" cy="5"/>
              </a:xfrm>
              <a:custGeom>
                <a:avLst/>
                <a:gdLst>
                  <a:gd name="T0" fmla="*/ 16 w 16"/>
                  <a:gd name="T1" fmla="*/ 0 h 5"/>
                  <a:gd name="T2" fmla="*/ 11 w 16"/>
                  <a:gd name="T3" fmla="*/ 0 h 5"/>
                  <a:gd name="T4" fmla="*/ 0 w 16"/>
                  <a:gd name="T5" fmla="*/ 5 h 5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5"/>
                  <a:gd name="T11" fmla="*/ 16 w 16"/>
                  <a:gd name="T12" fmla="*/ 5 h 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5">
                    <a:moveTo>
                      <a:pt x="16" y="0"/>
                    </a:moveTo>
                    <a:lnTo>
                      <a:pt x="11" y="0"/>
                    </a:lnTo>
                    <a:lnTo>
                      <a:pt x="0" y="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65" name="Freeform 3876"/>
              <p:cNvSpPr>
                <a:spLocks/>
              </p:cNvSpPr>
              <p:nvPr/>
            </p:nvSpPr>
            <p:spPr bwMode="auto">
              <a:xfrm>
                <a:off x="4239" y="3038"/>
                <a:ext cx="11" cy="21"/>
              </a:xfrm>
              <a:custGeom>
                <a:avLst/>
                <a:gdLst>
                  <a:gd name="T0" fmla="*/ 0 w 11"/>
                  <a:gd name="T1" fmla="*/ 21 h 21"/>
                  <a:gd name="T2" fmla="*/ 5 w 11"/>
                  <a:gd name="T3" fmla="*/ 11 h 21"/>
                  <a:gd name="T4" fmla="*/ 11 w 11"/>
                  <a:gd name="T5" fmla="*/ 0 h 21"/>
                  <a:gd name="T6" fmla="*/ 0 60000 65536"/>
                  <a:gd name="T7" fmla="*/ 0 60000 65536"/>
                  <a:gd name="T8" fmla="*/ 0 60000 65536"/>
                  <a:gd name="T9" fmla="*/ 0 w 11"/>
                  <a:gd name="T10" fmla="*/ 0 h 21"/>
                  <a:gd name="T11" fmla="*/ 11 w 11"/>
                  <a:gd name="T12" fmla="*/ 21 h 2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1" h="21">
                    <a:moveTo>
                      <a:pt x="0" y="21"/>
                    </a:moveTo>
                    <a:lnTo>
                      <a:pt x="5" y="11"/>
                    </a:lnTo>
                    <a:lnTo>
                      <a:pt x="11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66" name="Freeform 3877"/>
              <p:cNvSpPr>
                <a:spLocks/>
              </p:cNvSpPr>
              <p:nvPr/>
            </p:nvSpPr>
            <p:spPr bwMode="auto">
              <a:xfrm>
                <a:off x="4223" y="3059"/>
                <a:ext cx="16" cy="6"/>
              </a:xfrm>
              <a:custGeom>
                <a:avLst/>
                <a:gdLst>
                  <a:gd name="T0" fmla="*/ 16 w 16"/>
                  <a:gd name="T1" fmla="*/ 0 h 6"/>
                  <a:gd name="T2" fmla="*/ 5 w 16"/>
                  <a:gd name="T3" fmla="*/ 6 h 6"/>
                  <a:gd name="T4" fmla="*/ 0 w 16"/>
                  <a:gd name="T5" fmla="*/ 6 h 6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6"/>
                  <a:gd name="T11" fmla="*/ 16 w 16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6">
                    <a:moveTo>
                      <a:pt x="16" y="0"/>
                    </a:moveTo>
                    <a:lnTo>
                      <a:pt x="5" y="6"/>
                    </a:lnTo>
                    <a:lnTo>
                      <a:pt x="0" y="6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67" name="Freeform 3878"/>
              <p:cNvSpPr>
                <a:spLocks/>
              </p:cNvSpPr>
              <p:nvPr/>
            </p:nvSpPr>
            <p:spPr bwMode="auto">
              <a:xfrm>
                <a:off x="4239" y="3027"/>
                <a:ext cx="5" cy="22"/>
              </a:xfrm>
              <a:custGeom>
                <a:avLst/>
                <a:gdLst>
                  <a:gd name="T0" fmla="*/ 0 w 5"/>
                  <a:gd name="T1" fmla="*/ 22 h 22"/>
                  <a:gd name="T2" fmla="*/ 0 w 5"/>
                  <a:gd name="T3" fmla="*/ 11 h 22"/>
                  <a:gd name="T4" fmla="*/ 5 w 5"/>
                  <a:gd name="T5" fmla="*/ 0 h 22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22"/>
                  <a:gd name="T11" fmla="*/ 5 w 5"/>
                  <a:gd name="T12" fmla="*/ 22 h 2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22">
                    <a:moveTo>
                      <a:pt x="0" y="22"/>
                    </a:moveTo>
                    <a:lnTo>
                      <a:pt x="0" y="11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68" name="Freeform 3879"/>
              <p:cNvSpPr>
                <a:spLocks/>
              </p:cNvSpPr>
              <p:nvPr/>
            </p:nvSpPr>
            <p:spPr bwMode="auto">
              <a:xfrm>
                <a:off x="4218" y="3054"/>
                <a:ext cx="16" cy="1"/>
              </a:xfrm>
              <a:custGeom>
                <a:avLst/>
                <a:gdLst>
                  <a:gd name="T0" fmla="*/ 16 w 16"/>
                  <a:gd name="T1" fmla="*/ 0 h 1"/>
                  <a:gd name="T2" fmla="*/ 5 w 16"/>
                  <a:gd name="T3" fmla="*/ 0 h 1"/>
                  <a:gd name="T4" fmla="*/ 0 w 16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1"/>
                  <a:gd name="T11" fmla="*/ 16 w 16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1">
                    <a:moveTo>
                      <a:pt x="16" y="0"/>
                    </a:moveTo>
                    <a:lnTo>
                      <a:pt x="5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69" name="Freeform 3880"/>
              <p:cNvSpPr>
                <a:spLocks/>
              </p:cNvSpPr>
              <p:nvPr/>
            </p:nvSpPr>
            <p:spPr bwMode="auto">
              <a:xfrm>
                <a:off x="4234" y="3016"/>
                <a:ext cx="5" cy="17"/>
              </a:xfrm>
              <a:custGeom>
                <a:avLst/>
                <a:gdLst>
                  <a:gd name="T0" fmla="*/ 0 w 5"/>
                  <a:gd name="T1" fmla="*/ 17 h 17"/>
                  <a:gd name="T2" fmla="*/ 0 w 5"/>
                  <a:gd name="T3" fmla="*/ 11 h 17"/>
                  <a:gd name="T4" fmla="*/ 5 w 5"/>
                  <a:gd name="T5" fmla="*/ 0 h 17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17"/>
                  <a:gd name="T11" fmla="*/ 5 w 5"/>
                  <a:gd name="T12" fmla="*/ 17 h 1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17">
                    <a:moveTo>
                      <a:pt x="0" y="17"/>
                    </a:moveTo>
                    <a:lnTo>
                      <a:pt x="0" y="11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70" name="Freeform 3881"/>
              <p:cNvSpPr>
                <a:spLocks/>
              </p:cNvSpPr>
              <p:nvPr/>
            </p:nvSpPr>
            <p:spPr bwMode="auto">
              <a:xfrm>
                <a:off x="4218" y="3043"/>
                <a:ext cx="10" cy="1"/>
              </a:xfrm>
              <a:custGeom>
                <a:avLst/>
                <a:gdLst>
                  <a:gd name="T0" fmla="*/ 10 w 10"/>
                  <a:gd name="T1" fmla="*/ 0 h 1"/>
                  <a:gd name="T2" fmla="*/ 5 w 10"/>
                  <a:gd name="T3" fmla="*/ 0 h 1"/>
                  <a:gd name="T4" fmla="*/ 0 w 10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0"/>
                  <a:gd name="T10" fmla="*/ 0 h 1"/>
                  <a:gd name="T11" fmla="*/ 10 w 10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0" h="1">
                    <a:moveTo>
                      <a:pt x="10" y="0"/>
                    </a:moveTo>
                    <a:lnTo>
                      <a:pt x="5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71" name="Freeform 3882"/>
              <p:cNvSpPr>
                <a:spLocks/>
              </p:cNvSpPr>
              <p:nvPr/>
            </p:nvSpPr>
            <p:spPr bwMode="auto">
              <a:xfrm>
                <a:off x="4228" y="3011"/>
                <a:ext cx="6" cy="16"/>
              </a:xfrm>
              <a:custGeom>
                <a:avLst/>
                <a:gdLst>
                  <a:gd name="T0" fmla="*/ 0 w 6"/>
                  <a:gd name="T1" fmla="*/ 16 h 16"/>
                  <a:gd name="T2" fmla="*/ 0 w 6"/>
                  <a:gd name="T3" fmla="*/ 5 h 16"/>
                  <a:gd name="T4" fmla="*/ 6 w 6"/>
                  <a:gd name="T5" fmla="*/ 0 h 16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16"/>
                  <a:gd name="T11" fmla="*/ 6 w 6"/>
                  <a:gd name="T12" fmla="*/ 16 h 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16">
                    <a:moveTo>
                      <a:pt x="0" y="16"/>
                    </a:moveTo>
                    <a:lnTo>
                      <a:pt x="0" y="5"/>
                    </a:lnTo>
                    <a:lnTo>
                      <a:pt x="6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72" name="Freeform 3883"/>
              <p:cNvSpPr>
                <a:spLocks/>
              </p:cNvSpPr>
              <p:nvPr/>
            </p:nvSpPr>
            <p:spPr bwMode="auto">
              <a:xfrm>
                <a:off x="4212" y="3027"/>
                <a:ext cx="11" cy="6"/>
              </a:xfrm>
              <a:custGeom>
                <a:avLst/>
                <a:gdLst>
                  <a:gd name="T0" fmla="*/ 11 w 11"/>
                  <a:gd name="T1" fmla="*/ 6 h 6"/>
                  <a:gd name="T2" fmla="*/ 6 w 11"/>
                  <a:gd name="T3" fmla="*/ 0 h 6"/>
                  <a:gd name="T4" fmla="*/ 0 w 11"/>
                  <a:gd name="T5" fmla="*/ 0 h 6"/>
                  <a:gd name="T6" fmla="*/ 0 60000 65536"/>
                  <a:gd name="T7" fmla="*/ 0 60000 65536"/>
                  <a:gd name="T8" fmla="*/ 0 60000 65536"/>
                  <a:gd name="T9" fmla="*/ 0 w 11"/>
                  <a:gd name="T10" fmla="*/ 0 h 6"/>
                  <a:gd name="T11" fmla="*/ 11 w 11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1" h="6">
                    <a:moveTo>
                      <a:pt x="11" y="6"/>
                    </a:moveTo>
                    <a:lnTo>
                      <a:pt x="6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73" name="Freeform 3884"/>
              <p:cNvSpPr>
                <a:spLocks/>
              </p:cNvSpPr>
              <p:nvPr/>
            </p:nvSpPr>
            <p:spPr bwMode="auto">
              <a:xfrm>
                <a:off x="4223" y="3011"/>
                <a:ext cx="5" cy="11"/>
              </a:xfrm>
              <a:custGeom>
                <a:avLst/>
                <a:gdLst>
                  <a:gd name="T0" fmla="*/ 0 w 5"/>
                  <a:gd name="T1" fmla="*/ 11 h 11"/>
                  <a:gd name="T2" fmla="*/ 0 w 5"/>
                  <a:gd name="T3" fmla="*/ 5 h 11"/>
                  <a:gd name="T4" fmla="*/ 5 w 5"/>
                  <a:gd name="T5" fmla="*/ 0 h 11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11"/>
                  <a:gd name="T11" fmla="*/ 5 w 5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11">
                    <a:moveTo>
                      <a:pt x="0" y="11"/>
                    </a:moveTo>
                    <a:lnTo>
                      <a:pt x="0" y="5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74" name="Freeform 3885"/>
              <p:cNvSpPr>
                <a:spLocks/>
              </p:cNvSpPr>
              <p:nvPr/>
            </p:nvSpPr>
            <p:spPr bwMode="auto">
              <a:xfrm>
                <a:off x="4212" y="3022"/>
                <a:ext cx="11" cy="1"/>
              </a:xfrm>
              <a:custGeom>
                <a:avLst/>
                <a:gdLst>
                  <a:gd name="T0" fmla="*/ 11 w 11"/>
                  <a:gd name="T1" fmla="*/ 0 h 1"/>
                  <a:gd name="T2" fmla="*/ 6 w 11"/>
                  <a:gd name="T3" fmla="*/ 0 h 1"/>
                  <a:gd name="T4" fmla="*/ 0 w 11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1"/>
                  <a:gd name="T10" fmla="*/ 0 h 1"/>
                  <a:gd name="T11" fmla="*/ 11 w 1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1" h="1">
                    <a:moveTo>
                      <a:pt x="11" y="0"/>
                    </a:moveTo>
                    <a:lnTo>
                      <a:pt x="6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75" name="Freeform 3886"/>
              <p:cNvSpPr>
                <a:spLocks/>
              </p:cNvSpPr>
              <p:nvPr/>
            </p:nvSpPr>
            <p:spPr bwMode="auto">
              <a:xfrm>
                <a:off x="4228" y="3022"/>
                <a:ext cx="75" cy="171"/>
              </a:xfrm>
              <a:custGeom>
                <a:avLst/>
                <a:gdLst>
                  <a:gd name="T0" fmla="*/ 75 w 75"/>
                  <a:gd name="T1" fmla="*/ 0 h 171"/>
                  <a:gd name="T2" fmla="*/ 48 w 75"/>
                  <a:gd name="T3" fmla="*/ 32 h 171"/>
                  <a:gd name="T4" fmla="*/ 27 w 75"/>
                  <a:gd name="T5" fmla="*/ 64 h 171"/>
                  <a:gd name="T6" fmla="*/ 11 w 75"/>
                  <a:gd name="T7" fmla="*/ 107 h 171"/>
                  <a:gd name="T8" fmla="*/ 0 w 75"/>
                  <a:gd name="T9" fmla="*/ 171 h 17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5"/>
                  <a:gd name="T16" fmla="*/ 0 h 171"/>
                  <a:gd name="T17" fmla="*/ 75 w 75"/>
                  <a:gd name="T18" fmla="*/ 171 h 17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5" h="171">
                    <a:moveTo>
                      <a:pt x="75" y="0"/>
                    </a:moveTo>
                    <a:lnTo>
                      <a:pt x="48" y="32"/>
                    </a:lnTo>
                    <a:lnTo>
                      <a:pt x="27" y="64"/>
                    </a:lnTo>
                    <a:lnTo>
                      <a:pt x="11" y="107"/>
                    </a:lnTo>
                    <a:lnTo>
                      <a:pt x="0" y="171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76" name="Freeform 3887"/>
              <p:cNvSpPr>
                <a:spLocks/>
              </p:cNvSpPr>
              <p:nvPr/>
            </p:nvSpPr>
            <p:spPr bwMode="auto">
              <a:xfrm>
                <a:off x="4260" y="3049"/>
                <a:ext cx="6" cy="26"/>
              </a:xfrm>
              <a:custGeom>
                <a:avLst/>
                <a:gdLst>
                  <a:gd name="T0" fmla="*/ 6 w 6"/>
                  <a:gd name="T1" fmla="*/ 26 h 26"/>
                  <a:gd name="T2" fmla="*/ 0 w 6"/>
                  <a:gd name="T3" fmla="*/ 16 h 26"/>
                  <a:gd name="T4" fmla="*/ 0 w 6"/>
                  <a:gd name="T5" fmla="*/ 0 h 26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26"/>
                  <a:gd name="T11" fmla="*/ 6 w 6"/>
                  <a:gd name="T12" fmla="*/ 26 h 2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26">
                    <a:moveTo>
                      <a:pt x="6" y="26"/>
                    </a:moveTo>
                    <a:lnTo>
                      <a:pt x="0" y="16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77" name="Freeform 3888"/>
              <p:cNvSpPr>
                <a:spLocks/>
              </p:cNvSpPr>
              <p:nvPr/>
            </p:nvSpPr>
            <p:spPr bwMode="auto">
              <a:xfrm>
                <a:off x="4266" y="3075"/>
                <a:ext cx="15" cy="11"/>
              </a:xfrm>
              <a:custGeom>
                <a:avLst/>
                <a:gdLst>
                  <a:gd name="T0" fmla="*/ 0 w 15"/>
                  <a:gd name="T1" fmla="*/ 0 h 11"/>
                  <a:gd name="T2" fmla="*/ 5 w 15"/>
                  <a:gd name="T3" fmla="*/ 6 h 11"/>
                  <a:gd name="T4" fmla="*/ 15 w 15"/>
                  <a:gd name="T5" fmla="*/ 11 h 11"/>
                  <a:gd name="T6" fmla="*/ 0 60000 65536"/>
                  <a:gd name="T7" fmla="*/ 0 60000 65536"/>
                  <a:gd name="T8" fmla="*/ 0 60000 65536"/>
                  <a:gd name="T9" fmla="*/ 0 w 15"/>
                  <a:gd name="T10" fmla="*/ 0 h 11"/>
                  <a:gd name="T11" fmla="*/ 15 w 15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" h="11">
                    <a:moveTo>
                      <a:pt x="0" y="0"/>
                    </a:moveTo>
                    <a:lnTo>
                      <a:pt x="5" y="6"/>
                    </a:lnTo>
                    <a:lnTo>
                      <a:pt x="15" y="11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78" name="Freeform 3889"/>
              <p:cNvSpPr>
                <a:spLocks/>
              </p:cNvSpPr>
              <p:nvPr/>
            </p:nvSpPr>
            <p:spPr bwMode="auto">
              <a:xfrm>
                <a:off x="4266" y="3038"/>
                <a:ext cx="5" cy="27"/>
              </a:xfrm>
              <a:custGeom>
                <a:avLst/>
                <a:gdLst>
                  <a:gd name="T0" fmla="*/ 5 w 5"/>
                  <a:gd name="T1" fmla="*/ 27 h 27"/>
                  <a:gd name="T2" fmla="*/ 0 w 5"/>
                  <a:gd name="T3" fmla="*/ 11 h 27"/>
                  <a:gd name="T4" fmla="*/ 5 w 5"/>
                  <a:gd name="T5" fmla="*/ 0 h 27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27"/>
                  <a:gd name="T11" fmla="*/ 5 w 5"/>
                  <a:gd name="T12" fmla="*/ 27 h 2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27">
                    <a:moveTo>
                      <a:pt x="5" y="27"/>
                    </a:moveTo>
                    <a:lnTo>
                      <a:pt x="0" y="11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79" name="Freeform 3890"/>
              <p:cNvSpPr>
                <a:spLocks/>
              </p:cNvSpPr>
              <p:nvPr/>
            </p:nvSpPr>
            <p:spPr bwMode="auto">
              <a:xfrm>
                <a:off x="4271" y="3065"/>
                <a:ext cx="16" cy="10"/>
              </a:xfrm>
              <a:custGeom>
                <a:avLst/>
                <a:gdLst>
                  <a:gd name="T0" fmla="*/ 0 w 16"/>
                  <a:gd name="T1" fmla="*/ 0 h 10"/>
                  <a:gd name="T2" fmla="*/ 5 w 16"/>
                  <a:gd name="T3" fmla="*/ 5 h 10"/>
                  <a:gd name="T4" fmla="*/ 16 w 16"/>
                  <a:gd name="T5" fmla="*/ 10 h 10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10"/>
                  <a:gd name="T11" fmla="*/ 16 w 16"/>
                  <a:gd name="T12" fmla="*/ 10 h 1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10">
                    <a:moveTo>
                      <a:pt x="0" y="0"/>
                    </a:moveTo>
                    <a:lnTo>
                      <a:pt x="5" y="5"/>
                    </a:lnTo>
                    <a:lnTo>
                      <a:pt x="16" y="1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80" name="Freeform 3891"/>
              <p:cNvSpPr>
                <a:spLocks/>
              </p:cNvSpPr>
              <p:nvPr/>
            </p:nvSpPr>
            <p:spPr bwMode="auto">
              <a:xfrm>
                <a:off x="4271" y="3027"/>
                <a:ext cx="5" cy="27"/>
              </a:xfrm>
              <a:custGeom>
                <a:avLst/>
                <a:gdLst>
                  <a:gd name="T0" fmla="*/ 5 w 5"/>
                  <a:gd name="T1" fmla="*/ 27 h 27"/>
                  <a:gd name="T2" fmla="*/ 0 w 5"/>
                  <a:gd name="T3" fmla="*/ 11 h 27"/>
                  <a:gd name="T4" fmla="*/ 5 w 5"/>
                  <a:gd name="T5" fmla="*/ 0 h 27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27"/>
                  <a:gd name="T11" fmla="*/ 5 w 5"/>
                  <a:gd name="T12" fmla="*/ 27 h 2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27">
                    <a:moveTo>
                      <a:pt x="5" y="27"/>
                    </a:moveTo>
                    <a:lnTo>
                      <a:pt x="0" y="11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81" name="Freeform 3892"/>
              <p:cNvSpPr>
                <a:spLocks/>
              </p:cNvSpPr>
              <p:nvPr/>
            </p:nvSpPr>
            <p:spPr bwMode="auto">
              <a:xfrm>
                <a:off x="4276" y="3059"/>
                <a:ext cx="16" cy="6"/>
              </a:xfrm>
              <a:custGeom>
                <a:avLst/>
                <a:gdLst>
                  <a:gd name="T0" fmla="*/ 0 w 16"/>
                  <a:gd name="T1" fmla="*/ 0 h 6"/>
                  <a:gd name="T2" fmla="*/ 5 w 16"/>
                  <a:gd name="T3" fmla="*/ 0 h 6"/>
                  <a:gd name="T4" fmla="*/ 16 w 16"/>
                  <a:gd name="T5" fmla="*/ 6 h 6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6"/>
                  <a:gd name="T11" fmla="*/ 16 w 16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6">
                    <a:moveTo>
                      <a:pt x="0" y="0"/>
                    </a:moveTo>
                    <a:lnTo>
                      <a:pt x="5" y="0"/>
                    </a:lnTo>
                    <a:lnTo>
                      <a:pt x="16" y="6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82" name="Freeform 3893"/>
              <p:cNvSpPr>
                <a:spLocks/>
              </p:cNvSpPr>
              <p:nvPr/>
            </p:nvSpPr>
            <p:spPr bwMode="auto">
              <a:xfrm>
                <a:off x="4281" y="3022"/>
                <a:ext cx="1" cy="21"/>
              </a:xfrm>
              <a:custGeom>
                <a:avLst/>
                <a:gdLst>
                  <a:gd name="T0" fmla="*/ 0 w 1"/>
                  <a:gd name="T1" fmla="*/ 21 h 21"/>
                  <a:gd name="T2" fmla="*/ 0 w 1"/>
                  <a:gd name="T3" fmla="*/ 11 h 21"/>
                  <a:gd name="T4" fmla="*/ 0 w 1"/>
                  <a:gd name="T5" fmla="*/ 0 h 2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21"/>
                  <a:gd name="T11" fmla="*/ 1 w 1"/>
                  <a:gd name="T12" fmla="*/ 21 h 2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21">
                    <a:moveTo>
                      <a:pt x="0" y="21"/>
                    </a:moveTo>
                    <a:lnTo>
                      <a:pt x="0" y="11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83" name="Freeform 3894"/>
              <p:cNvSpPr>
                <a:spLocks/>
              </p:cNvSpPr>
              <p:nvPr/>
            </p:nvSpPr>
            <p:spPr bwMode="auto">
              <a:xfrm>
                <a:off x="4287" y="3049"/>
                <a:ext cx="10" cy="5"/>
              </a:xfrm>
              <a:custGeom>
                <a:avLst/>
                <a:gdLst>
                  <a:gd name="T0" fmla="*/ 0 w 10"/>
                  <a:gd name="T1" fmla="*/ 0 h 5"/>
                  <a:gd name="T2" fmla="*/ 0 w 10"/>
                  <a:gd name="T3" fmla="*/ 0 h 5"/>
                  <a:gd name="T4" fmla="*/ 10 w 10"/>
                  <a:gd name="T5" fmla="*/ 5 h 5"/>
                  <a:gd name="T6" fmla="*/ 0 60000 65536"/>
                  <a:gd name="T7" fmla="*/ 0 60000 65536"/>
                  <a:gd name="T8" fmla="*/ 0 60000 65536"/>
                  <a:gd name="T9" fmla="*/ 0 w 10"/>
                  <a:gd name="T10" fmla="*/ 0 h 5"/>
                  <a:gd name="T11" fmla="*/ 10 w 10"/>
                  <a:gd name="T12" fmla="*/ 5 h 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0" h="5">
                    <a:moveTo>
                      <a:pt x="0" y="0"/>
                    </a:moveTo>
                    <a:lnTo>
                      <a:pt x="0" y="0"/>
                    </a:lnTo>
                    <a:lnTo>
                      <a:pt x="10" y="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84" name="Freeform 3895"/>
              <p:cNvSpPr>
                <a:spLocks/>
              </p:cNvSpPr>
              <p:nvPr/>
            </p:nvSpPr>
            <p:spPr bwMode="auto">
              <a:xfrm>
                <a:off x="4287" y="3016"/>
                <a:ext cx="5" cy="17"/>
              </a:xfrm>
              <a:custGeom>
                <a:avLst/>
                <a:gdLst>
                  <a:gd name="T0" fmla="*/ 0 w 5"/>
                  <a:gd name="T1" fmla="*/ 17 h 17"/>
                  <a:gd name="T2" fmla="*/ 0 w 5"/>
                  <a:gd name="T3" fmla="*/ 6 h 17"/>
                  <a:gd name="T4" fmla="*/ 5 w 5"/>
                  <a:gd name="T5" fmla="*/ 0 h 17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17"/>
                  <a:gd name="T11" fmla="*/ 5 w 5"/>
                  <a:gd name="T12" fmla="*/ 17 h 1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17">
                    <a:moveTo>
                      <a:pt x="0" y="17"/>
                    </a:moveTo>
                    <a:lnTo>
                      <a:pt x="0" y="6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85" name="Freeform 3896"/>
              <p:cNvSpPr>
                <a:spLocks/>
              </p:cNvSpPr>
              <p:nvPr/>
            </p:nvSpPr>
            <p:spPr bwMode="auto">
              <a:xfrm>
                <a:off x="4292" y="3038"/>
                <a:ext cx="11" cy="5"/>
              </a:xfrm>
              <a:custGeom>
                <a:avLst/>
                <a:gdLst>
                  <a:gd name="T0" fmla="*/ 0 w 11"/>
                  <a:gd name="T1" fmla="*/ 5 h 5"/>
                  <a:gd name="T2" fmla="*/ 0 w 11"/>
                  <a:gd name="T3" fmla="*/ 0 h 5"/>
                  <a:gd name="T4" fmla="*/ 11 w 11"/>
                  <a:gd name="T5" fmla="*/ 0 h 5"/>
                  <a:gd name="T6" fmla="*/ 0 60000 65536"/>
                  <a:gd name="T7" fmla="*/ 0 60000 65536"/>
                  <a:gd name="T8" fmla="*/ 0 60000 65536"/>
                  <a:gd name="T9" fmla="*/ 0 w 11"/>
                  <a:gd name="T10" fmla="*/ 0 h 5"/>
                  <a:gd name="T11" fmla="*/ 11 w 11"/>
                  <a:gd name="T12" fmla="*/ 5 h 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1" h="5">
                    <a:moveTo>
                      <a:pt x="0" y="5"/>
                    </a:moveTo>
                    <a:lnTo>
                      <a:pt x="0" y="0"/>
                    </a:lnTo>
                    <a:lnTo>
                      <a:pt x="11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86" name="Freeform 3897"/>
              <p:cNvSpPr>
                <a:spLocks/>
              </p:cNvSpPr>
              <p:nvPr/>
            </p:nvSpPr>
            <p:spPr bwMode="auto">
              <a:xfrm>
                <a:off x="4292" y="3016"/>
                <a:ext cx="5" cy="11"/>
              </a:xfrm>
              <a:custGeom>
                <a:avLst/>
                <a:gdLst>
                  <a:gd name="T0" fmla="*/ 0 w 5"/>
                  <a:gd name="T1" fmla="*/ 11 h 11"/>
                  <a:gd name="T2" fmla="*/ 0 w 5"/>
                  <a:gd name="T3" fmla="*/ 6 h 11"/>
                  <a:gd name="T4" fmla="*/ 5 w 5"/>
                  <a:gd name="T5" fmla="*/ 0 h 11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11"/>
                  <a:gd name="T11" fmla="*/ 5 w 5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11">
                    <a:moveTo>
                      <a:pt x="0" y="11"/>
                    </a:moveTo>
                    <a:lnTo>
                      <a:pt x="0" y="6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87" name="Freeform 3898"/>
              <p:cNvSpPr>
                <a:spLocks/>
              </p:cNvSpPr>
              <p:nvPr/>
            </p:nvSpPr>
            <p:spPr bwMode="auto">
              <a:xfrm>
                <a:off x="4297" y="3033"/>
                <a:ext cx="6" cy="1"/>
              </a:xfrm>
              <a:custGeom>
                <a:avLst/>
                <a:gdLst>
                  <a:gd name="T0" fmla="*/ 0 w 6"/>
                  <a:gd name="T1" fmla="*/ 0 h 1"/>
                  <a:gd name="T2" fmla="*/ 0 w 6"/>
                  <a:gd name="T3" fmla="*/ 0 h 1"/>
                  <a:gd name="T4" fmla="*/ 6 w 6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1"/>
                  <a:gd name="T11" fmla="*/ 6 w 6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1">
                    <a:moveTo>
                      <a:pt x="0" y="0"/>
                    </a:moveTo>
                    <a:lnTo>
                      <a:pt x="0" y="0"/>
                    </a:lnTo>
                    <a:lnTo>
                      <a:pt x="6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88" name="Freeform 3899"/>
              <p:cNvSpPr>
                <a:spLocks/>
              </p:cNvSpPr>
              <p:nvPr/>
            </p:nvSpPr>
            <p:spPr bwMode="auto">
              <a:xfrm>
                <a:off x="4175" y="3075"/>
                <a:ext cx="59" cy="112"/>
              </a:xfrm>
              <a:custGeom>
                <a:avLst/>
                <a:gdLst>
                  <a:gd name="T0" fmla="*/ 32 w 59"/>
                  <a:gd name="T1" fmla="*/ 0 h 112"/>
                  <a:gd name="T2" fmla="*/ 21 w 59"/>
                  <a:gd name="T3" fmla="*/ 6 h 112"/>
                  <a:gd name="T4" fmla="*/ 16 w 59"/>
                  <a:gd name="T5" fmla="*/ 22 h 112"/>
                  <a:gd name="T6" fmla="*/ 5 w 59"/>
                  <a:gd name="T7" fmla="*/ 43 h 112"/>
                  <a:gd name="T8" fmla="*/ 0 w 59"/>
                  <a:gd name="T9" fmla="*/ 70 h 112"/>
                  <a:gd name="T10" fmla="*/ 27 w 59"/>
                  <a:gd name="T11" fmla="*/ 16 h 112"/>
                  <a:gd name="T12" fmla="*/ 32 w 59"/>
                  <a:gd name="T13" fmla="*/ 27 h 112"/>
                  <a:gd name="T14" fmla="*/ 43 w 59"/>
                  <a:gd name="T15" fmla="*/ 43 h 112"/>
                  <a:gd name="T16" fmla="*/ 48 w 59"/>
                  <a:gd name="T17" fmla="*/ 54 h 112"/>
                  <a:gd name="T18" fmla="*/ 53 w 59"/>
                  <a:gd name="T19" fmla="*/ 64 h 112"/>
                  <a:gd name="T20" fmla="*/ 59 w 59"/>
                  <a:gd name="T21" fmla="*/ 86 h 112"/>
                  <a:gd name="T22" fmla="*/ 59 w 59"/>
                  <a:gd name="T23" fmla="*/ 112 h 112"/>
                  <a:gd name="T24" fmla="*/ 32 w 59"/>
                  <a:gd name="T25" fmla="*/ 0 h 11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9"/>
                  <a:gd name="T40" fmla="*/ 0 h 112"/>
                  <a:gd name="T41" fmla="*/ 59 w 59"/>
                  <a:gd name="T42" fmla="*/ 112 h 11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9" h="112">
                    <a:moveTo>
                      <a:pt x="32" y="0"/>
                    </a:moveTo>
                    <a:lnTo>
                      <a:pt x="21" y="6"/>
                    </a:lnTo>
                    <a:lnTo>
                      <a:pt x="16" y="22"/>
                    </a:lnTo>
                    <a:lnTo>
                      <a:pt x="5" y="43"/>
                    </a:lnTo>
                    <a:lnTo>
                      <a:pt x="0" y="70"/>
                    </a:lnTo>
                    <a:lnTo>
                      <a:pt x="27" y="16"/>
                    </a:lnTo>
                    <a:lnTo>
                      <a:pt x="32" y="27"/>
                    </a:lnTo>
                    <a:lnTo>
                      <a:pt x="43" y="43"/>
                    </a:lnTo>
                    <a:lnTo>
                      <a:pt x="48" y="54"/>
                    </a:lnTo>
                    <a:lnTo>
                      <a:pt x="53" y="64"/>
                    </a:lnTo>
                    <a:lnTo>
                      <a:pt x="59" y="86"/>
                    </a:lnTo>
                    <a:lnTo>
                      <a:pt x="59" y="112"/>
                    </a:lnTo>
                    <a:lnTo>
                      <a:pt x="32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89" name="Freeform 3900"/>
              <p:cNvSpPr>
                <a:spLocks/>
              </p:cNvSpPr>
              <p:nvPr/>
            </p:nvSpPr>
            <p:spPr bwMode="auto">
              <a:xfrm>
                <a:off x="4170" y="2894"/>
                <a:ext cx="85" cy="48"/>
              </a:xfrm>
              <a:custGeom>
                <a:avLst/>
                <a:gdLst>
                  <a:gd name="T0" fmla="*/ 85 w 85"/>
                  <a:gd name="T1" fmla="*/ 0 h 48"/>
                  <a:gd name="T2" fmla="*/ 58 w 85"/>
                  <a:gd name="T3" fmla="*/ 0 h 48"/>
                  <a:gd name="T4" fmla="*/ 42 w 85"/>
                  <a:gd name="T5" fmla="*/ 5 h 48"/>
                  <a:gd name="T6" fmla="*/ 21 w 85"/>
                  <a:gd name="T7" fmla="*/ 21 h 48"/>
                  <a:gd name="T8" fmla="*/ 10 w 85"/>
                  <a:gd name="T9" fmla="*/ 37 h 48"/>
                  <a:gd name="T10" fmla="*/ 0 w 85"/>
                  <a:gd name="T11" fmla="*/ 48 h 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5"/>
                  <a:gd name="T19" fmla="*/ 0 h 48"/>
                  <a:gd name="T20" fmla="*/ 85 w 85"/>
                  <a:gd name="T21" fmla="*/ 48 h 4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5" h="48">
                    <a:moveTo>
                      <a:pt x="85" y="0"/>
                    </a:moveTo>
                    <a:lnTo>
                      <a:pt x="58" y="0"/>
                    </a:lnTo>
                    <a:lnTo>
                      <a:pt x="42" y="5"/>
                    </a:lnTo>
                    <a:lnTo>
                      <a:pt x="21" y="21"/>
                    </a:lnTo>
                    <a:lnTo>
                      <a:pt x="10" y="37"/>
                    </a:lnTo>
                    <a:lnTo>
                      <a:pt x="0" y="48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90" name="Freeform 3901"/>
              <p:cNvSpPr>
                <a:spLocks/>
              </p:cNvSpPr>
              <p:nvPr/>
            </p:nvSpPr>
            <p:spPr bwMode="auto">
              <a:xfrm>
                <a:off x="4266" y="2867"/>
                <a:ext cx="63" cy="69"/>
              </a:xfrm>
              <a:custGeom>
                <a:avLst/>
                <a:gdLst>
                  <a:gd name="T0" fmla="*/ 63 w 63"/>
                  <a:gd name="T1" fmla="*/ 69 h 69"/>
                  <a:gd name="T2" fmla="*/ 47 w 63"/>
                  <a:gd name="T3" fmla="*/ 48 h 69"/>
                  <a:gd name="T4" fmla="*/ 26 w 63"/>
                  <a:gd name="T5" fmla="*/ 37 h 69"/>
                  <a:gd name="T6" fmla="*/ 5 w 63"/>
                  <a:gd name="T7" fmla="*/ 32 h 69"/>
                  <a:gd name="T8" fmla="*/ 0 w 63"/>
                  <a:gd name="T9" fmla="*/ 27 h 69"/>
                  <a:gd name="T10" fmla="*/ 0 w 63"/>
                  <a:gd name="T11" fmla="*/ 27 h 69"/>
                  <a:gd name="T12" fmla="*/ 15 w 63"/>
                  <a:gd name="T13" fmla="*/ 16 h 69"/>
                  <a:gd name="T14" fmla="*/ 26 w 63"/>
                  <a:gd name="T15" fmla="*/ 5 h 69"/>
                  <a:gd name="T16" fmla="*/ 37 w 63"/>
                  <a:gd name="T17" fmla="*/ 0 h 69"/>
                  <a:gd name="T18" fmla="*/ 47 w 63"/>
                  <a:gd name="T19" fmla="*/ 0 h 69"/>
                  <a:gd name="T20" fmla="*/ 63 w 63"/>
                  <a:gd name="T21" fmla="*/ 0 h 6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3"/>
                  <a:gd name="T34" fmla="*/ 0 h 69"/>
                  <a:gd name="T35" fmla="*/ 63 w 63"/>
                  <a:gd name="T36" fmla="*/ 69 h 6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3" h="69">
                    <a:moveTo>
                      <a:pt x="63" y="69"/>
                    </a:moveTo>
                    <a:lnTo>
                      <a:pt x="47" y="48"/>
                    </a:lnTo>
                    <a:lnTo>
                      <a:pt x="26" y="37"/>
                    </a:lnTo>
                    <a:lnTo>
                      <a:pt x="5" y="32"/>
                    </a:lnTo>
                    <a:lnTo>
                      <a:pt x="0" y="27"/>
                    </a:lnTo>
                    <a:lnTo>
                      <a:pt x="15" y="16"/>
                    </a:lnTo>
                    <a:lnTo>
                      <a:pt x="26" y="5"/>
                    </a:lnTo>
                    <a:lnTo>
                      <a:pt x="37" y="0"/>
                    </a:lnTo>
                    <a:lnTo>
                      <a:pt x="47" y="0"/>
                    </a:lnTo>
                    <a:lnTo>
                      <a:pt x="63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91" name="Freeform 3902"/>
              <p:cNvSpPr>
                <a:spLocks/>
              </p:cNvSpPr>
              <p:nvPr/>
            </p:nvSpPr>
            <p:spPr bwMode="auto">
              <a:xfrm>
                <a:off x="4143" y="2878"/>
                <a:ext cx="117" cy="16"/>
              </a:xfrm>
              <a:custGeom>
                <a:avLst/>
                <a:gdLst>
                  <a:gd name="T0" fmla="*/ 117 w 117"/>
                  <a:gd name="T1" fmla="*/ 16 h 16"/>
                  <a:gd name="T2" fmla="*/ 96 w 117"/>
                  <a:gd name="T3" fmla="*/ 5 h 16"/>
                  <a:gd name="T4" fmla="*/ 64 w 117"/>
                  <a:gd name="T5" fmla="*/ 0 h 16"/>
                  <a:gd name="T6" fmla="*/ 27 w 117"/>
                  <a:gd name="T7" fmla="*/ 0 h 16"/>
                  <a:gd name="T8" fmla="*/ 0 w 117"/>
                  <a:gd name="T9" fmla="*/ 5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7"/>
                  <a:gd name="T16" fmla="*/ 0 h 16"/>
                  <a:gd name="T17" fmla="*/ 117 w 117"/>
                  <a:gd name="T18" fmla="*/ 16 h 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7" h="16">
                    <a:moveTo>
                      <a:pt x="117" y="16"/>
                    </a:moveTo>
                    <a:lnTo>
                      <a:pt x="96" y="5"/>
                    </a:lnTo>
                    <a:lnTo>
                      <a:pt x="64" y="0"/>
                    </a:lnTo>
                    <a:lnTo>
                      <a:pt x="27" y="0"/>
                    </a:lnTo>
                    <a:lnTo>
                      <a:pt x="0" y="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92" name="Freeform 3903"/>
              <p:cNvSpPr>
                <a:spLocks/>
              </p:cNvSpPr>
              <p:nvPr/>
            </p:nvSpPr>
            <p:spPr bwMode="auto">
              <a:xfrm>
                <a:off x="4132" y="2915"/>
                <a:ext cx="139" cy="32"/>
              </a:xfrm>
              <a:custGeom>
                <a:avLst/>
                <a:gdLst>
                  <a:gd name="T0" fmla="*/ 0 w 139"/>
                  <a:gd name="T1" fmla="*/ 0 h 32"/>
                  <a:gd name="T2" fmla="*/ 6 w 139"/>
                  <a:gd name="T3" fmla="*/ 16 h 32"/>
                  <a:gd name="T4" fmla="*/ 22 w 139"/>
                  <a:gd name="T5" fmla="*/ 27 h 32"/>
                  <a:gd name="T6" fmla="*/ 59 w 139"/>
                  <a:gd name="T7" fmla="*/ 32 h 32"/>
                  <a:gd name="T8" fmla="*/ 102 w 139"/>
                  <a:gd name="T9" fmla="*/ 32 h 32"/>
                  <a:gd name="T10" fmla="*/ 139 w 139"/>
                  <a:gd name="T11" fmla="*/ 32 h 3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39"/>
                  <a:gd name="T19" fmla="*/ 0 h 32"/>
                  <a:gd name="T20" fmla="*/ 139 w 139"/>
                  <a:gd name="T21" fmla="*/ 32 h 3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39" h="32">
                    <a:moveTo>
                      <a:pt x="0" y="0"/>
                    </a:moveTo>
                    <a:lnTo>
                      <a:pt x="6" y="16"/>
                    </a:lnTo>
                    <a:lnTo>
                      <a:pt x="22" y="27"/>
                    </a:lnTo>
                    <a:lnTo>
                      <a:pt x="59" y="32"/>
                    </a:lnTo>
                    <a:lnTo>
                      <a:pt x="102" y="32"/>
                    </a:lnTo>
                    <a:lnTo>
                      <a:pt x="139" y="32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38756" name="Group 3907"/>
            <p:cNvGrpSpPr>
              <a:grpSpLocks/>
            </p:cNvGrpSpPr>
            <p:nvPr/>
          </p:nvGrpSpPr>
          <p:grpSpPr bwMode="auto">
            <a:xfrm>
              <a:off x="4084" y="2205"/>
              <a:ext cx="1104" cy="1089"/>
              <a:chOff x="4084" y="2205"/>
              <a:chExt cx="1104" cy="1089"/>
            </a:xfrm>
          </p:grpSpPr>
          <p:sp>
            <p:nvSpPr>
              <p:cNvPr id="34923" name="Freeform 3908"/>
              <p:cNvSpPr>
                <a:spLocks/>
              </p:cNvSpPr>
              <p:nvPr/>
            </p:nvSpPr>
            <p:spPr bwMode="auto">
              <a:xfrm>
                <a:off x="4457" y="2365"/>
                <a:ext cx="592" cy="774"/>
              </a:xfrm>
              <a:custGeom>
                <a:avLst/>
                <a:gdLst>
                  <a:gd name="T0" fmla="*/ 592 w 592"/>
                  <a:gd name="T1" fmla="*/ 422 h 774"/>
                  <a:gd name="T2" fmla="*/ 576 w 592"/>
                  <a:gd name="T3" fmla="*/ 347 h 774"/>
                  <a:gd name="T4" fmla="*/ 550 w 592"/>
                  <a:gd name="T5" fmla="*/ 272 h 774"/>
                  <a:gd name="T6" fmla="*/ 512 w 592"/>
                  <a:gd name="T7" fmla="*/ 203 h 774"/>
                  <a:gd name="T8" fmla="*/ 470 w 592"/>
                  <a:gd name="T9" fmla="*/ 144 h 774"/>
                  <a:gd name="T10" fmla="*/ 422 w 592"/>
                  <a:gd name="T11" fmla="*/ 91 h 774"/>
                  <a:gd name="T12" fmla="*/ 368 w 592"/>
                  <a:gd name="T13" fmla="*/ 48 h 774"/>
                  <a:gd name="T14" fmla="*/ 310 w 592"/>
                  <a:gd name="T15" fmla="*/ 16 h 774"/>
                  <a:gd name="T16" fmla="*/ 246 w 592"/>
                  <a:gd name="T17" fmla="*/ 5 h 774"/>
                  <a:gd name="T18" fmla="*/ 192 w 592"/>
                  <a:gd name="T19" fmla="*/ 5 h 774"/>
                  <a:gd name="T20" fmla="*/ 139 w 592"/>
                  <a:gd name="T21" fmla="*/ 21 h 774"/>
                  <a:gd name="T22" fmla="*/ 91 w 592"/>
                  <a:gd name="T23" fmla="*/ 48 h 774"/>
                  <a:gd name="T24" fmla="*/ 54 w 592"/>
                  <a:gd name="T25" fmla="*/ 91 h 774"/>
                  <a:gd name="T26" fmla="*/ 27 w 592"/>
                  <a:gd name="T27" fmla="*/ 139 h 774"/>
                  <a:gd name="T28" fmla="*/ 6 w 592"/>
                  <a:gd name="T29" fmla="*/ 203 h 774"/>
                  <a:gd name="T30" fmla="*/ 0 w 592"/>
                  <a:gd name="T31" fmla="*/ 272 h 774"/>
                  <a:gd name="T32" fmla="*/ 0 w 592"/>
                  <a:gd name="T33" fmla="*/ 352 h 774"/>
                  <a:gd name="T34" fmla="*/ 16 w 592"/>
                  <a:gd name="T35" fmla="*/ 427 h 774"/>
                  <a:gd name="T36" fmla="*/ 43 w 592"/>
                  <a:gd name="T37" fmla="*/ 502 h 774"/>
                  <a:gd name="T38" fmla="*/ 80 w 592"/>
                  <a:gd name="T39" fmla="*/ 571 h 774"/>
                  <a:gd name="T40" fmla="*/ 123 w 592"/>
                  <a:gd name="T41" fmla="*/ 630 h 774"/>
                  <a:gd name="T42" fmla="*/ 171 w 592"/>
                  <a:gd name="T43" fmla="*/ 684 h 774"/>
                  <a:gd name="T44" fmla="*/ 224 w 592"/>
                  <a:gd name="T45" fmla="*/ 726 h 774"/>
                  <a:gd name="T46" fmla="*/ 283 w 592"/>
                  <a:gd name="T47" fmla="*/ 753 h 774"/>
                  <a:gd name="T48" fmla="*/ 347 w 592"/>
                  <a:gd name="T49" fmla="*/ 769 h 774"/>
                  <a:gd name="T50" fmla="*/ 400 w 592"/>
                  <a:gd name="T51" fmla="*/ 769 h 774"/>
                  <a:gd name="T52" fmla="*/ 454 w 592"/>
                  <a:gd name="T53" fmla="*/ 753 h 774"/>
                  <a:gd name="T54" fmla="*/ 502 w 592"/>
                  <a:gd name="T55" fmla="*/ 726 h 774"/>
                  <a:gd name="T56" fmla="*/ 539 w 592"/>
                  <a:gd name="T57" fmla="*/ 684 h 774"/>
                  <a:gd name="T58" fmla="*/ 566 w 592"/>
                  <a:gd name="T59" fmla="*/ 630 h 774"/>
                  <a:gd name="T60" fmla="*/ 587 w 592"/>
                  <a:gd name="T61" fmla="*/ 571 h 774"/>
                  <a:gd name="T62" fmla="*/ 592 w 592"/>
                  <a:gd name="T63" fmla="*/ 497 h 77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592"/>
                  <a:gd name="T97" fmla="*/ 0 h 774"/>
                  <a:gd name="T98" fmla="*/ 592 w 592"/>
                  <a:gd name="T99" fmla="*/ 774 h 774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592" h="774">
                    <a:moveTo>
                      <a:pt x="592" y="459"/>
                    </a:moveTo>
                    <a:lnTo>
                      <a:pt x="592" y="422"/>
                    </a:lnTo>
                    <a:lnTo>
                      <a:pt x="582" y="384"/>
                    </a:lnTo>
                    <a:lnTo>
                      <a:pt x="576" y="347"/>
                    </a:lnTo>
                    <a:lnTo>
                      <a:pt x="566" y="310"/>
                    </a:lnTo>
                    <a:lnTo>
                      <a:pt x="550" y="272"/>
                    </a:lnTo>
                    <a:lnTo>
                      <a:pt x="534" y="235"/>
                    </a:lnTo>
                    <a:lnTo>
                      <a:pt x="512" y="203"/>
                    </a:lnTo>
                    <a:lnTo>
                      <a:pt x="491" y="171"/>
                    </a:lnTo>
                    <a:lnTo>
                      <a:pt x="470" y="144"/>
                    </a:lnTo>
                    <a:lnTo>
                      <a:pt x="448" y="112"/>
                    </a:lnTo>
                    <a:lnTo>
                      <a:pt x="422" y="91"/>
                    </a:lnTo>
                    <a:lnTo>
                      <a:pt x="395" y="69"/>
                    </a:lnTo>
                    <a:lnTo>
                      <a:pt x="368" y="48"/>
                    </a:lnTo>
                    <a:lnTo>
                      <a:pt x="336" y="32"/>
                    </a:lnTo>
                    <a:lnTo>
                      <a:pt x="310" y="16"/>
                    </a:lnTo>
                    <a:lnTo>
                      <a:pt x="278" y="11"/>
                    </a:lnTo>
                    <a:lnTo>
                      <a:pt x="246" y="5"/>
                    </a:lnTo>
                    <a:lnTo>
                      <a:pt x="219" y="0"/>
                    </a:lnTo>
                    <a:lnTo>
                      <a:pt x="192" y="5"/>
                    </a:lnTo>
                    <a:lnTo>
                      <a:pt x="166" y="11"/>
                    </a:lnTo>
                    <a:lnTo>
                      <a:pt x="139" y="21"/>
                    </a:lnTo>
                    <a:lnTo>
                      <a:pt x="112" y="32"/>
                    </a:lnTo>
                    <a:lnTo>
                      <a:pt x="91" y="48"/>
                    </a:lnTo>
                    <a:lnTo>
                      <a:pt x="75" y="69"/>
                    </a:lnTo>
                    <a:lnTo>
                      <a:pt x="54" y="91"/>
                    </a:lnTo>
                    <a:lnTo>
                      <a:pt x="38" y="112"/>
                    </a:lnTo>
                    <a:lnTo>
                      <a:pt x="27" y="139"/>
                    </a:lnTo>
                    <a:lnTo>
                      <a:pt x="16" y="171"/>
                    </a:lnTo>
                    <a:lnTo>
                      <a:pt x="6" y="203"/>
                    </a:lnTo>
                    <a:lnTo>
                      <a:pt x="0" y="240"/>
                    </a:lnTo>
                    <a:lnTo>
                      <a:pt x="0" y="272"/>
                    </a:lnTo>
                    <a:lnTo>
                      <a:pt x="0" y="315"/>
                    </a:lnTo>
                    <a:lnTo>
                      <a:pt x="0" y="352"/>
                    </a:lnTo>
                    <a:lnTo>
                      <a:pt x="6" y="390"/>
                    </a:lnTo>
                    <a:lnTo>
                      <a:pt x="16" y="427"/>
                    </a:lnTo>
                    <a:lnTo>
                      <a:pt x="27" y="465"/>
                    </a:lnTo>
                    <a:lnTo>
                      <a:pt x="43" y="502"/>
                    </a:lnTo>
                    <a:lnTo>
                      <a:pt x="59" y="534"/>
                    </a:lnTo>
                    <a:lnTo>
                      <a:pt x="80" y="571"/>
                    </a:lnTo>
                    <a:lnTo>
                      <a:pt x="96" y="603"/>
                    </a:lnTo>
                    <a:lnTo>
                      <a:pt x="123" y="630"/>
                    </a:lnTo>
                    <a:lnTo>
                      <a:pt x="144" y="657"/>
                    </a:lnTo>
                    <a:lnTo>
                      <a:pt x="171" y="684"/>
                    </a:lnTo>
                    <a:lnTo>
                      <a:pt x="198" y="705"/>
                    </a:lnTo>
                    <a:lnTo>
                      <a:pt x="224" y="726"/>
                    </a:lnTo>
                    <a:lnTo>
                      <a:pt x="256" y="742"/>
                    </a:lnTo>
                    <a:lnTo>
                      <a:pt x="283" y="753"/>
                    </a:lnTo>
                    <a:lnTo>
                      <a:pt x="315" y="764"/>
                    </a:lnTo>
                    <a:lnTo>
                      <a:pt x="347" y="769"/>
                    </a:lnTo>
                    <a:lnTo>
                      <a:pt x="374" y="774"/>
                    </a:lnTo>
                    <a:lnTo>
                      <a:pt x="400" y="769"/>
                    </a:lnTo>
                    <a:lnTo>
                      <a:pt x="427" y="764"/>
                    </a:lnTo>
                    <a:lnTo>
                      <a:pt x="454" y="753"/>
                    </a:lnTo>
                    <a:lnTo>
                      <a:pt x="480" y="742"/>
                    </a:lnTo>
                    <a:lnTo>
                      <a:pt x="502" y="726"/>
                    </a:lnTo>
                    <a:lnTo>
                      <a:pt x="518" y="705"/>
                    </a:lnTo>
                    <a:lnTo>
                      <a:pt x="539" y="684"/>
                    </a:lnTo>
                    <a:lnTo>
                      <a:pt x="555" y="662"/>
                    </a:lnTo>
                    <a:lnTo>
                      <a:pt x="566" y="630"/>
                    </a:lnTo>
                    <a:lnTo>
                      <a:pt x="576" y="603"/>
                    </a:lnTo>
                    <a:lnTo>
                      <a:pt x="587" y="571"/>
                    </a:lnTo>
                    <a:lnTo>
                      <a:pt x="592" y="534"/>
                    </a:lnTo>
                    <a:lnTo>
                      <a:pt x="592" y="497"/>
                    </a:lnTo>
                    <a:lnTo>
                      <a:pt x="592" y="459"/>
                    </a:lnTo>
                    <a:close/>
                  </a:path>
                </a:pathLst>
              </a:custGeom>
              <a:solidFill>
                <a:srgbClr val="FDFA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24" name="Freeform 3909"/>
              <p:cNvSpPr>
                <a:spLocks/>
              </p:cNvSpPr>
              <p:nvPr/>
            </p:nvSpPr>
            <p:spPr bwMode="auto">
              <a:xfrm>
                <a:off x="4559" y="2408"/>
                <a:ext cx="437" cy="689"/>
              </a:xfrm>
              <a:custGeom>
                <a:avLst/>
                <a:gdLst>
                  <a:gd name="T0" fmla="*/ 5 w 437"/>
                  <a:gd name="T1" fmla="*/ 48 h 689"/>
                  <a:gd name="T2" fmla="*/ 10 w 437"/>
                  <a:gd name="T3" fmla="*/ 42 h 689"/>
                  <a:gd name="T4" fmla="*/ 21 w 437"/>
                  <a:gd name="T5" fmla="*/ 32 h 689"/>
                  <a:gd name="T6" fmla="*/ 32 w 437"/>
                  <a:gd name="T7" fmla="*/ 32 h 689"/>
                  <a:gd name="T8" fmla="*/ 53 w 437"/>
                  <a:gd name="T9" fmla="*/ 21 h 689"/>
                  <a:gd name="T10" fmla="*/ 90 w 437"/>
                  <a:gd name="T11" fmla="*/ 10 h 689"/>
                  <a:gd name="T12" fmla="*/ 138 w 437"/>
                  <a:gd name="T13" fmla="*/ 5 h 689"/>
                  <a:gd name="T14" fmla="*/ 186 w 437"/>
                  <a:gd name="T15" fmla="*/ 0 h 689"/>
                  <a:gd name="T16" fmla="*/ 208 w 437"/>
                  <a:gd name="T17" fmla="*/ 0 h 689"/>
                  <a:gd name="T18" fmla="*/ 234 w 437"/>
                  <a:gd name="T19" fmla="*/ 0 h 689"/>
                  <a:gd name="T20" fmla="*/ 272 w 437"/>
                  <a:gd name="T21" fmla="*/ 0 h 689"/>
                  <a:gd name="T22" fmla="*/ 320 w 437"/>
                  <a:gd name="T23" fmla="*/ 5 h 689"/>
                  <a:gd name="T24" fmla="*/ 378 w 437"/>
                  <a:gd name="T25" fmla="*/ 21 h 689"/>
                  <a:gd name="T26" fmla="*/ 421 w 437"/>
                  <a:gd name="T27" fmla="*/ 42 h 689"/>
                  <a:gd name="T28" fmla="*/ 426 w 437"/>
                  <a:gd name="T29" fmla="*/ 48 h 689"/>
                  <a:gd name="T30" fmla="*/ 432 w 437"/>
                  <a:gd name="T31" fmla="*/ 58 h 689"/>
                  <a:gd name="T32" fmla="*/ 437 w 437"/>
                  <a:gd name="T33" fmla="*/ 69 h 689"/>
                  <a:gd name="T34" fmla="*/ 432 w 437"/>
                  <a:gd name="T35" fmla="*/ 85 h 689"/>
                  <a:gd name="T36" fmla="*/ 426 w 437"/>
                  <a:gd name="T37" fmla="*/ 138 h 689"/>
                  <a:gd name="T38" fmla="*/ 421 w 437"/>
                  <a:gd name="T39" fmla="*/ 208 h 689"/>
                  <a:gd name="T40" fmla="*/ 421 w 437"/>
                  <a:gd name="T41" fmla="*/ 229 h 689"/>
                  <a:gd name="T42" fmla="*/ 426 w 437"/>
                  <a:gd name="T43" fmla="*/ 245 h 689"/>
                  <a:gd name="T44" fmla="*/ 416 w 437"/>
                  <a:gd name="T45" fmla="*/ 267 h 689"/>
                  <a:gd name="T46" fmla="*/ 410 w 437"/>
                  <a:gd name="T47" fmla="*/ 309 h 689"/>
                  <a:gd name="T48" fmla="*/ 405 w 437"/>
                  <a:gd name="T49" fmla="*/ 384 h 689"/>
                  <a:gd name="T50" fmla="*/ 400 w 437"/>
                  <a:gd name="T51" fmla="*/ 416 h 689"/>
                  <a:gd name="T52" fmla="*/ 410 w 437"/>
                  <a:gd name="T53" fmla="*/ 427 h 689"/>
                  <a:gd name="T54" fmla="*/ 405 w 437"/>
                  <a:gd name="T55" fmla="*/ 448 h 689"/>
                  <a:gd name="T56" fmla="*/ 400 w 437"/>
                  <a:gd name="T57" fmla="*/ 480 h 689"/>
                  <a:gd name="T58" fmla="*/ 389 w 437"/>
                  <a:gd name="T59" fmla="*/ 550 h 689"/>
                  <a:gd name="T60" fmla="*/ 373 w 437"/>
                  <a:gd name="T61" fmla="*/ 619 h 689"/>
                  <a:gd name="T62" fmla="*/ 384 w 437"/>
                  <a:gd name="T63" fmla="*/ 641 h 689"/>
                  <a:gd name="T64" fmla="*/ 378 w 437"/>
                  <a:gd name="T65" fmla="*/ 651 h 689"/>
                  <a:gd name="T66" fmla="*/ 368 w 437"/>
                  <a:gd name="T67" fmla="*/ 657 h 689"/>
                  <a:gd name="T68" fmla="*/ 346 w 437"/>
                  <a:gd name="T69" fmla="*/ 667 h 689"/>
                  <a:gd name="T70" fmla="*/ 309 w 437"/>
                  <a:gd name="T71" fmla="*/ 678 h 689"/>
                  <a:gd name="T72" fmla="*/ 256 w 437"/>
                  <a:gd name="T73" fmla="*/ 683 h 689"/>
                  <a:gd name="T74" fmla="*/ 202 w 437"/>
                  <a:gd name="T75" fmla="*/ 689 h 689"/>
                  <a:gd name="T76" fmla="*/ 181 w 437"/>
                  <a:gd name="T77" fmla="*/ 683 h 689"/>
                  <a:gd name="T78" fmla="*/ 149 w 437"/>
                  <a:gd name="T79" fmla="*/ 683 h 689"/>
                  <a:gd name="T80" fmla="*/ 101 w 437"/>
                  <a:gd name="T81" fmla="*/ 673 h 689"/>
                  <a:gd name="T82" fmla="*/ 58 w 437"/>
                  <a:gd name="T83" fmla="*/ 662 h 689"/>
                  <a:gd name="T84" fmla="*/ 21 w 437"/>
                  <a:gd name="T85" fmla="*/ 635 h 689"/>
                  <a:gd name="T86" fmla="*/ 16 w 437"/>
                  <a:gd name="T87" fmla="*/ 625 h 689"/>
                  <a:gd name="T88" fmla="*/ 10 w 437"/>
                  <a:gd name="T89" fmla="*/ 603 h 689"/>
                  <a:gd name="T90" fmla="*/ 21 w 437"/>
                  <a:gd name="T91" fmla="*/ 582 h 689"/>
                  <a:gd name="T92" fmla="*/ 21 w 437"/>
                  <a:gd name="T93" fmla="*/ 443 h 689"/>
                  <a:gd name="T94" fmla="*/ 16 w 437"/>
                  <a:gd name="T95" fmla="*/ 438 h 689"/>
                  <a:gd name="T96" fmla="*/ 10 w 437"/>
                  <a:gd name="T97" fmla="*/ 416 h 689"/>
                  <a:gd name="T98" fmla="*/ 21 w 437"/>
                  <a:gd name="T99" fmla="*/ 384 h 689"/>
                  <a:gd name="T100" fmla="*/ 16 w 437"/>
                  <a:gd name="T101" fmla="*/ 251 h 689"/>
                  <a:gd name="T102" fmla="*/ 10 w 437"/>
                  <a:gd name="T103" fmla="*/ 245 h 689"/>
                  <a:gd name="T104" fmla="*/ 5 w 437"/>
                  <a:gd name="T105" fmla="*/ 229 h 689"/>
                  <a:gd name="T106" fmla="*/ 16 w 437"/>
                  <a:gd name="T107" fmla="*/ 208 h 689"/>
                  <a:gd name="T108" fmla="*/ 10 w 437"/>
                  <a:gd name="T109" fmla="*/ 160 h 689"/>
                  <a:gd name="T110" fmla="*/ 5 w 437"/>
                  <a:gd name="T111" fmla="*/ 96 h 689"/>
                  <a:gd name="T112" fmla="*/ 0 w 437"/>
                  <a:gd name="T113" fmla="*/ 69 h 68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37"/>
                  <a:gd name="T172" fmla="*/ 0 h 689"/>
                  <a:gd name="T173" fmla="*/ 437 w 437"/>
                  <a:gd name="T174" fmla="*/ 689 h 68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37" h="689">
                    <a:moveTo>
                      <a:pt x="5" y="53"/>
                    </a:moveTo>
                    <a:lnTo>
                      <a:pt x="5" y="53"/>
                    </a:lnTo>
                    <a:lnTo>
                      <a:pt x="5" y="48"/>
                    </a:lnTo>
                    <a:lnTo>
                      <a:pt x="10" y="42"/>
                    </a:lnTo>
                    <a:lnTo>
                      <a:pt x="16" y="37"/>
                    </a:lnTo>
                    <a:lnTo>
                      <a:pt x="21" y="32"/>
                    </a:lnTo>
                    <a:lnTo>
                      <a:pt x="26" y="32"/>
                    </a:lnTo>
                    <a:lnTo>
                      <a:pt x="32" y="32"/>
                    </a:lnTo>
                    <a:lnTo>
                      <a:pt x="37" y="26"/>
                    </a:lnTo>
                    <a:lnTo>
                      <a:pt x="48" y="26"/>
                    </a:lnTo>
                    <a:lnTo>
                      <a:pt x="53" y="21"/>
                    </a:lnTo>
                    <a:lnTo>
                      <a:pt x="64" y="16"/>
                    </a:lnTo>
                    <a:lnTo>
                      <a:pt x="80" y="16"/>
                    </a:lnTo>
                    <a:lnTo>
                      <a:pt x="90" y="10"/>
                    </a:lnTo>
                    <a:lnTo>
                      <a:pt x="106" y="10"/>
                    </a:lnTo>
                    <a:lnTo>
                      <a:pt x="122" y="5"/>
                    </a:lnTo>
                    <a:lnTo>
                      <a:pt x="138" y="5"/>
                    </a:lnTo>
                    <a:lnTo>
                      <a:pt x="154" y="0"/>
                    </a:lnTo>
                    <a:lnTo>
                      <a:pt x="170" y="0"/>
                    </a:lnTo>
                    <a:lnTo>
                      <a:pt x="186" y="0"/>
                    </a:lnTo>
                    <a:lnTo>
                      <a:pt x="202" y="0"/>
                    </a:lnTo>
                    <a:lnTo>
                      <a:pt x="208" y="0"/>
                    </a:lnTo>
                    <a:lnTo>
                      <a:pt x="213" y="0"/>
                    </a:lnTo>
                    <a:lnTo>
                      <a:pt x="224" y="0"/>
                    </a:lnTo>
                    <a:lnTo>
                      <a:pt x="234" y="0"/>
                    </a:lnTo>
                    <a:lnTo>
                      <a:pt x="245" y="0"/>
                    </a:lnTo>
                    <a:lnTo>
                      <a:pt x="256" y="0"/>
                    </a:lnTo>
                    <a:lnTo>
                      <a:pt x="272" y="0"/>
                    </a:lnTo>
                    <a:lnTo>
                      <a:pt x="288" y="0"/>
                    </a:lnTo>
                    <a:lnTo>
                      <a:pt x="304" y="5"/>
                    </a:lnTo>
                    <a:lnTo>
                      <a:pt x="320" y="5"/>
                    </a:lnTo>
                    <a:lnTo>
                      <a:pt x="341" y="10"/>
                    </a:lnTo>
                    <a:lnTo>
                      <a:pt x="357" y="16"/>
                    </a:lnTo>
                    <a:lnTo>
                      <a:pt x="378" y="21"/>
                    </a:lnTo>
                    <a:lnTo>
                      <a:pt x="400" y="32"/>
                    </a:lnTo>
                    <a:lnTo>
                      <a:pt x="416" y="37"/>
                    </a:lnTo>
                    <a:lnTo>
                      <a:pt x="421" y="42"/>
                    </a:lnTo>
                    <a:lnTo>
                      <a:pt x="426" y="48"/>
                    </a:lnTo>
                    <a:lnTo>
                      <a:pt x="432" y="53"/>
                    </a:lnTo>
                    <a:lnTo>
                      <a:pt x="432" y="58"/>
                    </a:lnTo>
                    <a:lnTo>
                      <a:pt x="432" y="64"/>
                    </a:lnTo>
                    <a:lnTo>
                      <a:pt x="437" y="64"/>
                    </a:lnTo>
                    <a:lnTo>
                      <a:pt x="437" y="69"/>
                    </a:lnTo>
                    <a:lnTo>
                      <a:pt x="437" y="74"/>
                    </a:lnTo>
                    <a:lnTo>
                      <a:pt x="432" y="80"/>
                    </a:lnTo>
                    <a:lnTo>
                      <a:pt x="432" y="85"/>
                    </a:lnTo>
                    <a:lnTo>
                      <a:pt x="432" y="96"/>
                    </a:lnTo>
                    <a:lnTo>
                      <a:pt x="432" y="117"/>
                    </a:lnTo>
                    <a:lnTo>
                      <a:pt x="426" y="138"/>
                    </a:lnTo>
                    <a:lnTo>
                      <a:pt x="426" y="165"/>
                    </a:lnTo>
                    <a:lnTo>
                      <a:pt x="421" y="187"/>
                    </a:lnTo>
                    <a:lnTo>
                      <a:pt x="421" y="208"/>
                    </a:lnTo>
                    <a:lnTo>
                      <a:pt x="416" y="224"/>
                    </a:lnTo>
                    <a:lnTo>
                      <a:pt x="421" y="229"/>
                    </a:lnTo>
                    <a:lnTo>
                      <a:pt x="426" y="235"/>
                    </a:lnTo>
                    <a:lnTo>
                      <a:pt x="426" y="240"/>
                    </a:lnTo>
                    <a:lnTo>
                      <a:pt x="426" y="245"/>
                    </a:lnTo>
                    <a:lnTo>
                      <a:pt x="426" y="251"/>
                    </a:lnTo>
                    <a:lnTo>
                      <a:pt x="426" y="261"/>
                    </a:lnTo>
                    <a:lnTo>
                      <a:pt x="416" y="267"/>
                    </a:lnTo>
                    <a:lnTo>
                      <a:pt x="416" y="272"/>
                    </a:lnTo>
                    <a:lnTo>
                      <a:pt x="416" y="288"/>
                    </a:lnTo>
                    <a:lnTo>
                      <a:pt x="410" y="309"/>
                    </a:lnTo>
                    <a:lnTo>
                      <a:pt x="410" y="336"/>
                    </a:lnTo>
                    <a:lnTo>
                      <a:pt x="405" y="363"/>
                    </a:lnTo>
                    <a:lnTo>
                      <a:pt x="405" y="384"/>
                    </a:lnTo>
                    <a:lnTo>
                      <a:pt x="400" y="406"/>
                    </a:lnTo>
                    <a:lnTo>
                      <a:pt x="400" y="416"/>
                    </a:lnTo>
                    <a:lnTo>
                      <a:pt x="405" y="416"/>
                    </a:lnTo>
                    <a:lnTo>
                      <a:pt x="405" y="422"/>
                    </a:lnTo>
                    <a:lnTo>
                      <a:pt x="410" y="427"/>
                    </a:lnTo>
                    <a:lnTo>
                      <a:pt x="410" y="432"/>
                    </a:lnTo>
                    <a:lnTo>
                      <a:pt x="410" y="438"/>
                    </a:lnTo>
                    <a:lnTo>
                      <a:pt x="405" y="448"/>
                    </a:lnTo>
                    <a:lnTo>
                      <a:pt x="400" y="459"/>
                    </a:lnTo>
                    <a:lnTo>
                      <a:pt x="400" y="464"/>
                    </a:lnTo>
                    <a:lnTo>
                      <a:pt x="400" y="480"/>
                    </a:lnTo>
                    <a:lnTo>
                      <a:pt x="394" y="502"/>
                    </a:lnTo>
                    <a:lnTo>
                      <a:pt x="394" y="523"/>
                    </a:lnTo>
                    <a:lnTo>
                      <a:pt x="389" y="550"/>
                    </a:lnTo>
                    <a:lnTo>
                      <a:pt x="384" y="576"/>
                    </a:lnTo>
                    <a:lnTo>
                      <a:pt x="378" y="603"/>
                    </a:lnTo>
                    <a:lnTo>
                      <a:pt x="373" y="619"/>
                    </a:lnTo>
                    <a:lnTo>
                      <a:pt x="378" y="625"/>
                    </a:lnTo>
                    <a:lnTo>
                      <a:pt x="378" y="630"/>
                    </a:lnTo>
                    <a:lnTo>
                      <a:pt x="384" y="641"/>
                    </a:lnTo>
                    <a:lnTo>
                      <a:pt x="378" y="651"/>
                    </a:lnTo>
                    <a:lnTo>
                      <a:pt x="373" y="657"/>
                    </a:lnTo>
                    <a:lnTo>
                      <a:pt x="368" y="657"/>
                    </a:lnTo>
                    <a:lnTo>
                      <a:pt x="362" y="662"/>
                    </a:lnTo>
                    <a:lnTo>
                      <a:pt x="357" y="667"/>
                    </a:lnTo>
                    <a:lnTo>
                      <a:pt x="346" y="667"/>
                    </a:lnTo>
                    <a:lnTo>
                      <a:pt x="336" y="673"/>
                    </a:lnTo>
                    <a:lnTo>
                      <a:pt x="325" y="678"/>
                    </a:lnTo>
                    <a:lnTo>
                      <a:pt x="309" y="678"/>
                    </a:lnTo>
                    <a:lnTo>
                      <a:pt x="293" y="683"/>
                    </a:lnTo>
                    <a:lnTo>
                      <a:pt x="272" y="683"/>
                    </a:lnTo>
                    <a:lnTo>
                      <a:pt x="256" y="683"/>
                    </a:lnTo>
                    <a:lnTo>
                      <a:pt x="229" y="689"/>
                    </a:lnTo>
                    <a:lnTo>
                      <a:pt x="202" y="689"/>
                    </a:lnTo>
                    <a:lnTo>
                      <a:pt x="197" y="689"/>
                    </a:lnTo>
                    <a:lnTo>
                      <a:pt x="192" y="689"/>
                    </a:lnTo>
                    <a:lnTo>
                      <a:pt x="181" y="683"/>
                    </a:lnTo>
                    <a:lnTo>
                      <a:pt x="170" y="683"/>
                    </a:lnTo>
                    <a:lnTo>
                      <a:pt x="160" y="683"/>
                    </a:lnTo>
                    <a:lnTo>
                      <a:pt x="149" y="683"/>
                    </a:lnTo>
                    <a:lnTo>
                      <a:pt x="133" y="683"/>
                    </a:lnTo>
                    <a:lnTo>
                      <a:pt x="117" y="678"/>
                    </a:lnTo>
                    <a:lnTo>
                      <a:pt x="101" y="673"/>
                    </a:lnTo>
                    <a:lnTo>
                      <a:pt x="90" y="673"/>
                    </a:lnTo>
                    <a:lnTo>
                      <a:pt x="74" y="667"/>
                    </a:lnTo>
                    <a:lnTo>
                      <a:pt x="58" y="662"/>
                    </a:lnTo>
                    <a:lnTo>
                      <a:pt x="42" y="651"/>
                    </a:lnTo>
                    <a:lnTo>
                      <a:pt x="32" y="646"/>
                    </a:lnTo>
                    <a:lnTo>
                      <a:pt x="21" y="635"/>
                    </a:lnTo>
                    <a:lnTo>
                      <a:pt x="16" y="630"/>
                    </a:lnTo>
                    <a:lnTo>
                      <a:pt x="16" y="625"/>
                    </a:lnTo>
                    <a:lnTo>
                      <a:pt x="10" y="619"/>
                    </a:lnTo>
                    <a:lnTo>
                      <a:pt x="10" y="614"/>
                    </a:lnTo>
                    <a:lnTo>
                      <a:pt x="10" y="603"/>
                    </a:lnTo>
                    <a:lnTo>
                      <a:pt x="16" y="598"/>
                    </a:lnTo>
                    <a:lnTo>
                      <a:pt x="21" y="592"/>
                    </a:lnTo>
                    <a:lnTo>
                      <a:pt x="21" y="582"/>
                    </a:lnTo>
                    <a:lnTo>
                      <a:pt x="21" y="544"/>
                    </a:lnTo>
                    <a:lnTo>
                      <a:pt x="21" y="496"/>
                    </a:lnTo>
                    <a:lnTo>
                      <a:pt x="21" y="443"/>
                    </a:lnTo>
                    <a:lnTo>
                      <a:pt x="16" y="443"/>
                    </a:lnTo>
                    <a:lnTo>
                      <a:pt x="16" y="438"/>
                    </a:lnTo>
                    <a:lnTo>
                      <a:pt x="10" y="432"/>
                    </a:lnTo>
                    <a:lnTo>
                      <a:pt x="10" y="422"/>
                    </a:lnTo>
                    <a:lnTo>
                      <a:pt x="10" y="416"/>
                    </a:lnTo>
                    <a:lnTo>
                      <a:pt x="16" y="406"/>
                    </a:lnTo>
                    <a:lnTo>
                      <a:pt x="21" y="400"/>
                    </a:lnTo>
                    <a:lnTo>
                      <a:pt x="21" y="384"/>
                    </a:lnTo>
                    <a:lnTo>
                      <a:pt x="16" y="341"/>
                    </a:lnTo>
                    <a:lnTo>
                      <a:pt x="16" y="293"/>
                    </a:lnTo>
                    <a:lnTo>
                      <a:pt x="16" y="251"/>
                    </a:lnTo>
                    <a:lnTo>
                      <a:pt x="10" y="251"/>
                    </a:lnTo>
                    <a:lnTo>
                      <a:pt x="10" y="245"/>
                    </a:lnTo>
                    <a:lnTo>
                      <a:pt x="5" y="240"/>
                    </a:lnTo>
                    <a:lnTo>
                      <a:pt x="5" y="235"/>
                    </a:lnTo>
                    <a:lnTo>
                      <a:pt x="5" y="229"/>
                    </a:lnTo>
                    <a:lnTo>
                      <a:pt x="10" y="219"/>
                    </a:lnTo>
                    <a:lnTo>
                      <a:pt x="16" y="213"/>
                    </a:lnTo>
                    <a:lnTo>
                      <a:pt x="16" y="208"/>
                    </a:lnTo>
                    <a:lnTo>
                      <a:pt x="16" y="197"/>
                    </a:lnTo>
                    <a:lnTo>
                      <a:pt x="10" y="181"/>
                    </a:lnTo>
                    <a:lnTo>
                      <a:pt x="10" y="160"/>
                    </a:lnTo>
                    <a:lnTo>
                      <a:pt x="5" y="138"/>
                    </a:lnTo>
                    <a:lnTo>
                      <a:pt x="5" y="117"/>
                    </a:lnTo>
                    <a:lnTo>
                      <a:pt x="5" y="96"/>
                    </a:lnTo>
                    <a:lnTo>
                      <a:pt x="5" y="74"/>
                    </a:lnTo>
                    <a:lnTo>
                      <a:pt x="0" y="69"/>
                    </a:lnTo>
                    <a:lnTo>
                      <a:pt x="0" y="64"/>
                    </a:lnTo>
                    <a:lnTo>
                      <a:pt x="5" y="53"/>
                    </a:lnTo>
                    <a:close/>
                  </a:path>
                </a:pathLst>
              </a:custGeom>
              <a:solidFill>
                <a:srgbClr val="009EE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25" name="Freeform 3910"/>
              <p:cNvSpPr>
                <a:spLocks/>
              </p:cNvSpPr>
              <p:nvPr/>
            </p:nvSpPr>
            <p:spPr bwMode="auto">
              <a:xfrm>
                <a:off x="4585" y="2424"/>
                <a:ext cx="390" cy="657"/>
              </a:xfrm>
              <a:custGeom>
                <a:avLst/>
                <a:gdLst>
                  <a:gd name="T0" fmla="*/ 0 w 390"/>
                  <a:gd name="T1" fmla="*/ 48 h 657"/>
                  <a:gd name="T2" fmla="*/ 6 w 390"/>
                  <a:gd name="T3" fmla="*/ 37 h 657"/>
                  <a:gd name="T4" fmla="*/ 16 w 390"/>
                  <a:gd name="T5" fmla="*/ 32 h 657"/>
                  <a:gd name="T6" fmla="*/ 22 w 390"/>
                  <a:gd name="T7" fmla="*/ 32 h 657"/>
                  <a:gd name="T8" fmla="*/ 48 w 390"/>
                  <a:gd name="T9" fmla="*/ 21 h 657"/>
                  <a:gd name="T10" fmla="*/ 80 w 390"/>
                  <a:gd name="T11" fmla="*/ 10 h 657"/>
                  <a:gd name="T12" fmla="*/ 118 w 390"/>
                  <a:gd name="T13" fmla="*/ 5 h 657"/>
                  <a:gd name="T14" fmla="*/ 166 w 390"/>
                  <a:gd name="T15" fmla="*/ 0 h 657"/>
                  <a:gd name="T16" fmla="*/ 187 w 390"/>
                  <a:gd name="T17" fmla="*/ 0 h 657"/>
                  <a:gd name="T18" fmla="*/ 208 w 390"/>
                  <a:gd name="T19" fmla="*/ 0 h 657"/>
                  <a:gd name="T20" fmla="*/ 240 w 390"/>
                  <a:gd name="T21" fmla="*/ 0 h 657"/>
                  <a:gd name="T22" fmla="*/ 288 w 390"/>
                  <a:gd name="T23" fmla="*/ 10 h 657"/>
                  <a:gd name="T24" fmla="*/ 342 w 390"/>
                  <a:gd name="T25" fmla="*/ 21 h 657"/>
                  <a:gd name="T26" fmla="*/ 374 w 390"/>
                  <a:gd name="T27" fmla="*/ 37 h 657"/>
                  <a:gd name="T28" fmla="*/ 384 w 390"/>
                  <a:gd name="T29" fmla="*/ 48 h 657"/>
                  <a:gd name="T30" fmla="*/ 390 w 390"/>
                  <a:gd name="T31" fmla="*/ 58 h 657"/>
                  <a:gd name="T32" fmla="*/ 390 w 390"/>
                  <a:gd name="T33" fmla="*/ 69 h 657"/>
                  <a:gd name="T34" fmla="*/ 384 w 390"/>
                  <a:gd name="T35" fmla="*/ 85 h 657"/>
                  <a:gd name="T36" fmla="*/ 374 w 390"/>
                  <a:gd name="T37" fmla="*/ 213 h 657"/>
                  <a:gd name="T38" fmla="*/ 379 w 390"/>
                  <a:gd name="T39" fmla="*/ 224 h 657"/>
                  <a:gd name="T40" fmla="*/ 384 w 390"/>
                  <a:gd name="T41" fmla="*/ 240 h 657"/>
                  <a:gd name="T42" fmla="*/ 374 w 390"/>
                  <a:gd name="T43" fmla="*/ 277 h 657"/>
                  <a:gd name="T44" fmla="*/ 363 w 390"/>
                  <a:gd name="T45" fmla="*/ 400 h 657"/>
                  <a:gd name="T46" fmla="*/ 368 w 390"/>
                  <a:gd name="T47" fmla="*/ 406 h 657"/>
                  <a:gd name="T48" fmla="*/ 368 w 390"/>
                  <a:gd name="T49" fmla="*/ 422 h 657"/>
                  <a:gd name="T50" fmla="*/ 358 w 390"/>
                  <a:gd name="T51" fmla="*/ 443 h 657"/>
                  <a:gd name="T52" fmla="*/ 352 w 390"/>
                  <a:gd name="T53" fmla="*/ 502 h 657"/>
                  <a:gd name="T54" fmla="*/ 342 w 390"/>
                  <a:gd name="T55" fmla="*/ 576 h 657"/>
                  <a:gd name="T56" fmla="*/ 336 w 390"/>
                  <a:gd name="T57" fmla="*/ 603 h 657"/>
                  <a:gd name="T58" fmla="*/ 331 w 390"/>
                  <a:gd name="T59" fmla="*/ 625 h 657"/>
                  <a:gd name="T60" fmla="*/ 326 w 390"/>
                  <a:gd name="T61" fmla="*/ 630 h 657"/>
                  <a:gd name="T62" fmla="*/ 315 w 390"/>
                  <a:gd name="T63" fmla="*/ 635 h 657"/>
                  <a:gd name="T64" fmla="*/ 288 w 390"/>
                  <a:gd name="T65" fmla="*/ 646 h 657"/>
                  <a:gd name="T66" fmla="*/ 246 w 390"/>
                  <a:gd name="T67" fmla="*/ 651 h 657"/>
                  <a:gd name="T68" fmla="*/ 182 w 390"/>
                  <a:gd name="T69" fmla="*/ 657 h 657"/>
                  <a:gd name="T70" fmla="*/ 171 w 390"/>
                  <a:gd name="T71" fmla="*/ 657 h 657"/>
                  <a:gd name="T72" fmla="*/ 139 w 390"/>
                  <a:gd name="T73" fmla="*/ 651 h 657"/>
                  <a:gd name="T74" fmla="*/ 102 w 390"/>
                  <a:gd name="T75" fmla="*/ 646 h 657"/>
                  <a:gd name="T76" fmla="*/ 64 w 390"/>
                  <a:gd name="T77" fmla="*/ 635 h 657"/>
                  <a:gd name="T78" fmla="*/ 27 w 390"/>
                  <a:gd name="T79" fmla="*/ 614 h 657"/>
                  <a:gd name="T80" fmla="*/ 16 w 390"/>
                  <a:gd name="T81" fmla="*/ 603 h 657"/>
                  <a:gd name="T82" fmla="*/ 11 w 390"/>
                  <a:gd name="T83" fmla="*/ 587 h 657"/>
                  <a:gd name="T84" fmla="*/ 27 w 390"/>
                  <a:gd name="T85" fmla="*/ 566 h 657"/>
                  <a:gd name="T86" fmla="*/ 16 w 390"/>
                  <a:gd name="T87" fmla="*/ 475 h 657"/>
                  <a:gd name="T88" fmla="*/ 11 w 390"/>
                  <a:gd name="T89" fmla="*/ 422 h 657"/>
                  <a:gd name="T90" fmla="*/ 6 w 390"/>
                  <a:gd name="T91" fmla="*/ 406 h 657"/>
                  <a:gd name="T92" fmla="*/ 16 w 390"/>
                  <a:gd name="T93" fmla="*/ 379 h 657"/>
                  <a:gd name="T94" fmla="*/ 11 w 390"/>
                  <a:gd name="T95" fmla="*/ 283 h 657"/>
                  <a:gd name="T96" fmla="*/ 6 w 390"/>
                  <a:gd name="T97" fmla="*/ 240 h 657"/>
                  <a:gd name="T98" fmla="*/ 0 w 390"/>
                  <a:gd name="T99" fmla="*/ 224 h 657"/>
                  <a:gd name="T100" fmla="*/ 11 w 390"/>
                  <a:gd name="T101" fmla="*/ 208 h 657"/>
                  <a:gd name="T102" fmla="*/ 11 w 390"/>
                  <a:gd name="T103" fmla="*/ 112 h 657"/>
                  <a:gd name="T104" fmla="*/ 6 w 390"/>
                  <a:gd name="T105" fmla="*/ 69 h 657"/>
                  <a:gd name="T106" fmla="*/ 0 w 390"/>
                  <a:gd name="T107" fmla="*/ 64 h 657"/>
                  <a:gd name="T108" fmla="*/ 0 w 390"/>
                  <a:gd name="T109" fmla="*/ 53 h 657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90"/>
                  <a:gd name="T166" fmla="*/ 0 h 657"/>
                  <a:gd name="T167" fmla="*/ 390 w 390"/>
                  <a:gd name="T168" fmla="*/ 657 h 657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90" h="657">
                    <a:moveTo>
                      <a:pt x="0" y="53"/>
                    </a:moveTo>
                    <a:lnTo>
                      <a:pt x="0" y="48"/>
                    </a:lnTo>
                    <a:lnTo>
                      <a:pt x="6" y="42"/>
                    </a:lnTo>
                    <a:lnTo>
                      <a:pt x="6" y="37"/>
                    </a:lnTo>
                    <a:lnTo>
                      <a:pt x="11" y="37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32" y="26"/>
                    </a:lnTo>
                    <a:lnTo>
                      <a:pt x="38" y="26"/>
                    </a:lnTo>
                    <a:lnTo>
                      <a:pt x="48" y="21"/>
                    </a:lnTo>
                    <a:lnTo>
                      <a:pt x="54" y="21"/>
                    </a:lnTo>
                    <a:lnTo>
                      <a:pt x="70" y="16"/>
                    </a:lnTo>
                    <a:lnTo>
                      <a:pt x="80" y="10"/>
                    </a:lnTo>
                    <a:lnTo>
                      <a:pt x="91" y="10"/>
                    </a:lnTo>
                    <a:lnTo>
                      <a:pt x="107" y="5"/>
                    </a:lnTo>
                    <a:lnTo>
                      <a:pt x="118" y="5"/>
                    </a:lnTo>
                    <a:lnTo>
                      <a:pt x="134" y="5"/>
                    </a:lnTo>
                    <a:lnTo>
                      <a:pt x="150" y="0"/>
                    </a:lnTo>
                    <a:lnTo>
                      <a:pt x="166" y="0"/>
                    </a:lnTo>
                    <a:lnTo>
                      <a:pt x="182" y="0"/>
                    </a:lnTo>
                    <a:lnTo>
                      <a:pt x="187" y="0"/>
                    </a:lnTo>
                    <a:lnTo>
                      <a:pt x="192" y="0"/>
                    </a:lnTo>
                    <a:lnTo>
                      <a:pt x="198" y="0"/>
                    </a:lnTo>
                    <a:lnTo>
                      <a:pt x="208" y="0"/>
                    </a:lnTo>
                    <a:lnTo>
                      <a:pt x="219" y="0"/>
                    </a:lnTo>
                    <a:lnTo>
                      <a:pt x="230" y="0"/>
                    </a:lnTo>
                    <a:lnTo>
                      <a:pt x="240" y="0"/>
                    </a:lnTo>
                    <a:lnTo>
                      <a:pt x="256" y="5"/>
                    </a:lnTo>
                    <a:lnTo>
                      <a:pt x="272" y="5"/>
                    </a:lnTo>
                    <a:lnTo>
                      <a:pt x="288" y="10"/>
                    </a:lnTo>
                    <a:lnTo>
                      <a:pt x="304" y="10"/>
                    </a:lnTo>
                    <a:lnTo>
                      <a:pt x="320" y="16"/>
                    </a:lnTo>
                    <a:lnTo>
                      <a:pt x="342" y="21"/>
                    </a:lnTo>
                    <a:lnTo>
                      <a:pt x="358" y="32"/>
                    </a:lnTo>
                    <a:lnTo>
                      <a:pt x="374" y="37"/>
                    </a:lnTo>
                    <a:lnTo>
                      <a:pt x="379" y="42"/>
                    </a:lnTo>
                    <a:lnTo>
                      <a:pt x="384" y="48"/>
                    </a:lnTo>
                    <a:lnTo>
                      <a:pt x="390" y="53"/>
                    </a:lnTo>
                    <a:lnTo>
                      <a:pt x="390" y="58"/>
                    </a:lnTo>
                    <a:lnTo>
                      <a:pt x="390" y="64"/>
                    </a:lnTo>
                    <a:lnTo>
                      <a:pt x="390" y="69"/>
                    </a:lnTo>
                    <a:lnTo>
                      <a:pt x="390" y="74"/>
                    </a:lnTo>
                    <a:lnTo>
                      <a:pt x="379" y="74"/>
                    </a:lnTo>
                    <a:lnTo>
                      <a:pt x="384" y="85"/>
                    </a:lnTo>
                    <a:lnTo>
                      <a:pt x="379" y="117"/>
                    </a:lnTo>
                    <a:lnTo>
                      <a:pt x="379" y="160"/>
                    </a:lnTo>
                    <a:lnTo>
                      <a:pt x="374" y="213"/>
                    </a:lnTo>
                    <a:lnTo>
                      <a:pt x="379" y="219"/>
                    </a:lnTo>
                    <a:lnTo>
                      <a:pt x="379" y="224"/>
                    </a:lnTo>
                    <a:lnTo>
                      <a:pt x="384" y="229"/>
                    </a:lnTo>
                    <a:lnTo>
                      <a:pt x="384" y="235"/>
                    </a:lnTo>
                    <a:lnTo>
                      <a:pt x="384" y="240"/>
                    </a:lnTo>
                    <a:lnTo>
                      <a:pt x="379" y="251"/>
                    </a:lnTo>
                    <a:lnTo>
                      <a:pt x="374" y="256"/>
                    </a:lnTo>
                    <a:lnTo>
                      <a:pt x="374" y="277"/>
                    </a:lnTo>
                    <a:lnTo>
                      <a:pt x="368" y="320"/>
                    </a:lnTo>
                    <a:lnTo>
                      <a:pt x="368" y="368"/>
                    </a:lnTo>
                    <a:lnTo>
                      <a:pt x="363" y="400"/>
                    </a:lnTo>
                    <a:lnTo>
                      <a:pt x="368" y="406"/>
                    </a:lnTo>
                    <a:lnTo>
                      <a:pt x="368" y="411"/>
                    </a:lnTo>
                    <a:lnTo>
                      <a:pt x="368" y="416"/>
                    </a:lnTo>
                    <a:lnTo>
                      <a:pt x="368" y="422"/>
                    </a:lnTo>
                    <a:lnTo>
                      <a:pt x="363" y="427"/>
                    </a:lnTo>
                    <a:lnTo>
                      <a:pt x="358" y="438"/>
                    </a:lnTo>
                    <a:lnTo>
                      <a:pt x="358" y="443"/>
                    </a:lnTo>
                    <a:lnTo>
                      <a:pt x="358" y="459"/>
                    </a:lnTo>
                    <a:lnTo>
                      <a:pt x="352" y="475"/>
                    </a:lnTo>
                    <a:lnTo>
                      <a:pt x="352" y="502"/>
                    </a:lnTo>
                    <a:lnTo>
                      <a:pt x="347" y="528"/>
                    </a:lnTo>
                    <a:lnTo>
                      <a:pt x="342" y="550"/>
                    </a:lnTo>
                    <a:lnTo>
                      <a:pt x="342" y="576"/>
                    </a:lnTo>
                    <a:lnTo>
                      <a:pt x="336" y="592"/>
                    </a:lnTo>
                    <a:lnTo>
                      <a:pt x="336" y="598"/>
                    </a:lnTo>
                    <a:lnTo>
                      <a:pt x="336" y="603"/>
                    </a:lnTo>
                    <a:lnTo>
                      <a:pt x="336" y="614"/>
                    </a:lnTo>
                    <a:lnTo>
                      <a:pt x="331" y="625"/>
                    </a:lnTo>
                    <a:lnTo>
                      <a:pt x="326" y="630"/>
                    </a:lnTo>
                    <a:lnTo>
                      <a:pt x="320" y="635"/>
                    </a:lnTo>
                    <a:lnTo>
                      <a:pt x="315" y="635"/>
                    </a:lnTo>
                    <a:lnTo>
                      <a:pt x="304" y="641"/>
                    </a:lnTo>
                    <a:lnTo>
                      <a:pt x="299" y="646"/>
                    </a:lnTo>
                    <a:lnTo>
                      <a:pt x="288" y="646"/>
                    </a:lnTo>
                    <a:lnTo>
                      <a:pt x="272" y="651"/>
                    </a:lnTo>
                    <a:lnTo>
                      <a:pt x="262" y="651"/>
                    </a:lnTo>
                    <a:lnTo>
                      <a:pt x="246" y="651"/>
                    </a:lnTo>
                    <a:lnTo>
                      <a:pt x="224" y="657"/>
                    </a:lnTo>
                    <a:lnTo>
                      <a:pt x="203" y="657"/>
                    </a:lnTo>
                    <a:lnTo>
                      <a:pt x="182" y="657"/>
                    </a:lnTo>
                    <a:lnTo>
                      <a:pt x="176" y="657"/>
                    </a:lnTo>
                    <a:lnTo>
                      <a:pt x="171" y="657"/>
                    </a:lnTo>
                    <a:lnTo>
                      <a:pt x="160" y="657"/>
                    </a:lnTo>
                    <a:lnTo>
                      <a:pt x="150" y="651"/>
                    </a:lnTo>
                    <a:lnTo>
                      <a:pt x="139" y="651"/>
                    </a:lnTo>
                    <a:lnTo>
                      <a:pt x="128" y="651"/>
                    </a:lnTo>
                    <a:lnTo>
                      <a:pt x="118" y="651"/>
                    </a:lnTo>
                    <a:lnTo>
                      <a:pt x="102" y="646"/>
                    </a:lnTo>
                    <a:lnTo>
                      <a:pt x="91" y="646"/>
                    </a:lnTo>
                    <a:lnTo>
                      <a:pt x="75" y="641"/>
                    </a:lnTo>
                    <a:lnTo>
                      <a:pt x="64" y="635"/>
                    </a:lnTo>
                    <a:lnTo>
                      <a:pt x="48" y="630"/>
                    </a:lnTo>
                    <a:lnTo>
                      <a:pt x="38" y="625"/>
                    </a:lnTo>
                    <a:lnTo>
                      <a:pt x="27" y="614"/>
                    </a:lnTo>
                    <a:lnTo>
                      <a:pt x="16" y="609"/>
                    </a:lnTo>
                    <a:lnTo>
                      <a:pt x="16" y="603"/>
                    </a:lnTo>
                    <a:lnTo>
                      <a:pt x="11" y="598"/>
                    </a:lnTo>
                    <a:lnTo>
                      <a:pt x="11" y="592"/>
                    </a:lnTo>
                    <a:lnTo>
                      <a:pt x="11" y="587"/>
                    </a:lnTo>
                    <a:lnTo>
                      <a:pt x="11" y="576"/>
                    </a:lnTo>
                    <a:lnTo>
                      <a:pt x="16" y="571"/>
                    </a:lnTo>
                    <a:lnTo>
                      <a:pt x="27" y="566"/>
                    </a:lnTo>
                    <a:lnTo>
                      <a:pt x="27" y="555"/>
                    </a:lnTo>
                    <a:lnTo>
                      <a:pt x="22" y="523"/>
                    </a:lnTo>
                    <a:lnTo>
                      <a:pt x="16" y="475"/>
                    </a:lnTo>
                    <a:lnTo>
                      <a:pt x="16" y="427"/>
                    </a:lnTo>
                    <a:lnTo>
                      <a:pt x="16" y="422"/>
                    </a:lnTo>
                    <a:lnTo>
                      <a:pt x="11" y="422"/>
                    </a:lnTo>
                    <a:lnTo>
                      <a:pt x="11" y="416"/>
                    </a:lnTo>
                    <a:lnTo>
                      <a:pt x="6" y="411"/>
                    </a:lnTo>
                    <a:lnTo>
                      <a:pt x="6" y="406"/>
                    </a:lnTo>
                    <a:lnTo>
                      <a:pt x="6" y="395"/>
                    </a:lnTo>
                    <a:lnTo>
                      <a:pt x="6" y="390"/>
                    </a:lnTo>
                    <a:lnTo>
                      <a:pt x="16" y="379"/>
                    </a:lnTo>
                    <a:lnTo>
                      <a:pt x="16" y="363"/>
                    </a:lnTo>
                    <a:lnTo>
                      <a:pt x="11" y="325"/>
                    </a:lnTo>
                    <a:lnTo>
                      <a:pt x="11" y="283"/>
                    </a:lnTo>
                    <a:lnTo>
                      <a:pt x="11" y="240"/>
                    </a:lnTo>
                    <a:lnTo>
                      <a:pt x="6" y="240"/>
                    </a:lnTo>
                    <a:lnTo>
                      <a:pt x="6" y="235"/>
                    </a:lnTo>
                    <a:lnTo>
                      <a:pt x="0" y="229"/>
                    </a:lnTo>
                    <a:lnTo>
                      <a:pt x="0" y="224"/>
                    </a:lnTo>
                    <a:lnTo>
                      <a:pt x="0" y="219"/>
                    </a:lnTo>
                    <a:lnTo>
                      <a:pt x="6" y="213"/>
                    </a:lnTo>
                    <a:lnTo>
                      <a:pt x="11" y="208"/>
                    </a:lnTo>
                    <a:lnTo>
                      <a:pt x="11" y="192"/>
                    </a:lnTo>
                    <a:lnTo>
                      <a:pt x="11" y="155"/>
                    </a:lnTo>
                    <a:lnTo>
                      <a:pt x="11" y="112"/>
                    </a:lnTo>
                    <a:lnTo>
                      <a:pt x="11" y="74"/>
                    </a:lnTo>
                    <a:lnTo>
                      <a:pt x="6" y="69"/>
                    </a:lnTo>
                    <a:lnTo>
                      <a:pt x="0" y="64"/>
                    </a:lnTo>
                    <a:lnTo>
                      <a:pt x="0" y="58"/>
                    </a:lnTo>
                    <a:lnTo>
                      <a:pt x="0" y="53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26" name="Freeform 3911"/>
              <p:cNvSpPr>
                <a:spLocks/>
              </p:cNvSpPr>
              <p:nvPr/>
            </p:nvSpPr>
            <p:spPr bwMode="auto">
              <a:xfrm>
                <a:off x="4601" y="2445"/>
                <a:ext cx="347" cy="614"/>
              </a:xfrm>
              <a:custGeom>
                <a:avLst/>
                <a:gdLst>
                  <a:gd name="T0" fmla="*/ 22 w 347"/>
                  <a:gd name="T1" fmla="*/ 555 h 614"/>
                  <a:gd name="T2" fmla="*/ 11 w 347"/>
                  <a:gd name="T3" fmla="*/ 566 h 614"/>
                  <a:gd name="T4" fmla="*/ 16 w 347"/>
                  <a:gd name="T5" fmla="*/ 571 h 614"/>
                  <a:gd name="T6" fmla="*/ 22 w 347"/>
                  <a:gd name="T7" fmla="*/ 582 h 614"/>
                  <a:gd name="T8" fmla="*/ 48 w 347"/>
                  <a:gd name="T9" fmla="*/ 593 h 614"/>
                  <a:gd name="T10" fmla="*/ 91 w 347"/>
                  <a:gd name="T11" fmla="*/ 604 h 614"/>
                  <a:gd name="T12" fmla="*/ 160 w 347"/>
                  <a:gd name="T13" fmla="*/ 614 h 614"/>
                  <a:gd name="T14" fmla="*/ 171 w 347"/>
                  <a:gd name="T15" fmla="*/ 614 h 614"/>
                  <a:gd name="T16" fmla="*/ 198 w 347"/>
                  <a:gd name="T17" fmla="*/ 614 h 614"/>
                  <a:gd name="T18" fmla="*/ 235 w 347"/>
                  <a:gd name="T19" fmla="*/ 614 h 614"/>
                  <a:gd name="T20" fmla="*/ 272 w 347"/>
                  <a:gd name="T21" fmla="*/ 604 h 614"/>
                  <a:gd name="T22" fmla="*/ 294 w 347"/>
                  <a:gd name="T23" fmla="*/ 593 h 614"/>
                  <a:gd name="T24" fmla="*/ 294 w 347"/>
                  <a:gd name="T25" fmla="*/ 582 h 614"/>
                  <a:gd name="T26" fmla="*/ 315 w 347"/>
                  <a:gd name="T27" fmla="*/ 422 h 614"/>
                  <a:gd name="T28" fmla="*/ 320 w 347"/>
                  <a:gd name="T29" fmla="*/ 411 h 614"/>
                  <a:gd name="T30" fmla="*/ 326 w 347"/>
                  <a:gd name="T31" fmla="*/ 395 h 614"/>
                  <a:gd name="T32" fmla="*/ 320 w 347"/>
                  <a:gd name="T33" fmla="*/ 374 h 614"/>
                  <a:gd name="T34" fmla="*/ 331 w 347"/>
                  <a:gd name="T35" fmla="*/ 235 h 614"/>
                  <a:gd name="T36" fmla="*/ 336 w 347"/>
                  <a:gd name="T37" fmla="*/ 230 h 614"/>
                  <a:gd name="T38" fmla="*/ 336 w 347"/>
                  <a:gd name="T39" fmla="*/ 208 h 614"/>
                  <a:gd name="T40" fmla="*/ 331 w 347"/>
                  <a:gd name="T41" fmla="*/ 187 h 614"/>
                  <a:gd name="T42" fmla="*/ 342 w 347"/>
                  <a:gd name="T43" fmla="*/ 48 h 614"/>
                  <a:gd name="T44" fmla="*/ 347 w 347"/>
                  <a:gd name="T45" fmla="*/ 37 h 614"/>
                  <a:gd name="T46" fmla="*/ 336 w 347"/>
                  <a:gd name="T47" fmla="*/ 27 h 614"/>
                  <a:gd name="T48" fmla="*/ 320 w 347"/>
                  <a:gd name="T49" fmla="*/ 21 h 614"/>
                  <a:gd name="T50" fmla="*/ 294 w 347"/>
                  <a:gd name="T51" fmla="*/ 11 h 614"/>
                  <a:gd name="T52" fmla="*/ 256 w 347"/>
                  <a:gd name="T53" fmla="*/ 5 h 614"/>
                  <a:gd name="T54" fmla="*/ 208 w 347"/>
                  <a:gd name="T55" fmla="*/ 0 h 614"/>
                  <a:gd name="T56" fmla="*/ 176 w 347"/>
                  <a:gd name="T57" fmla="*/ 0 h 614"/>
                  <a:gd name="T58" fmla="*/ 166 w 347"/>
                  <a:gd name="T59" fmla="*/ 0 h 614"/>
                  <a:gd name="T60" fmla="*/ 134 w 347"/>
                  <a:gd name="T61" fmla="*/ 0 h 614"/>
                  <a:gd name="T62" fmla="*/ 102 w 347"/>
                  <a:gd name="T63" fmla="*/ 0 h 614"/>
                  <a:gd name="T64" fmla="*/ 59 w 347"/>
                  <a:gd name="T65" fmla="*/ 11 h 614"/>
                  <a:gd name="T66" fmla="*/ 16 w 347"/>
                  <a:gd name="T67" fmla="*/ 21 h 614"/>
                  <a:gd name="T68" fmla="*/ 11 w 347"/>
                  <a:gd name="T69" fmla="*/ 27 h 614"/>
                  <a:gd name="T70" fmla="*/ 6 w 347"/>
                  <a:gd name="T71" fmla="*/ 37 h 614"/>
                  <a:gd name="T72" fmla="*/ 11 w 347"/>
                  <a:gd name="T73" fmla="*/ 59 h 614"/>
                  <a:gd name="T74" fmla="*/ 11 w 347"/>
                  <a:gd name="T75" fmla="*/ 187 h 614"/>
                  <a:gd name="T76" fmla="*/ 6 w 347"/>
                  <a:gd name="T77" fmla="*/ 192 h 614"/>
                  <a:gd name="T78" fmla="*/ 6 w 347"/>
                  <a:gd name="T79" fmla="*/ 203 h 614"/>
                  <a:gd name="T80" fmla="*/ 11 w 347"/>
                  <a:gd name="T81" fmla="*/ 230 h 614"/>
                  <a:gd name="T82" fmla="*/ 16 w 347"/>
                  <a:gd name="T83" fmla="*/ 363 h 614"/>
                  <a:gd name="T84" fmla="*/ 11 w 347"/>
                  <a:gd name="T85" fmla="*/ 369 h 614"/>
                  <a:gd name="T86" fmla="*/ 6 w 347"/>
                  <a:gd name="T87" fmla="*/ 385 h 614"/>
                  <a:gd name="T88" fmla="*/ 16 w 347"/>
                  <a:gd name="T89" fmla="*/ 411 h 614"/>
                  <a:gd name="T90" fmla="*/ 27 w 347"/>
                  <a:gd name="T91" fmla="*/ 550 h 61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47"/>
                  <a:gd name="T139" fmla="*/ 0 h 614"/>
                  <a:gd name="T140" fmla="*/ 347 w 347"/>
                  <a:gd name="T141" fmla="*/ 614 h 61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47" h="614">
                    <a:moveTo>
                      <a:pt x="27" y="550"/>
                    </a:moveTo>
                    <a:lnTo>
                      <a:pt x="22" y="550"/>
                    </a:lnTo>
                    <a:lnTo>
                      <a:pt x="22" y="555"/>
                    </a:lnTo>
                    <a:lnTo>
                      <a:pt x="16" y="561"/>
                    </a:lnTo>
                    <a:lnTo>
                      <a:pt x="11" y="566"/>
                    </a:lnTo>
                    <a:lnTo>
                      <a:pt x="16" y="571"/>
                    </a:lnTo>
                    <a:lnTo>
                      <a:pt x="16" y="577"/>
                    </a:lnTo>
                    <a:lnTo>
                      <a:pt x="22" y="577"/>
                    </a:lnTo>
                    <a:lnTo>
                      <a:pt x="22" y="582"/>
                    </a:lnTo>
                    <a:lnTo>
                      <a:pt x="32" y="588"/>
                    </a:lnTo>
                    <a:lnTo>
                      <a:pt x="38" y="588"/>
                    </a:lnTo>
                    <a:lnTo>
                      <a:pt x="48" y="593"/>
                    </a:lnTo>
                    <a:lnTo>
                      <a:pt x="59" y="598"/>
                    </a:lnTo>
                    <a:lnTo>
                      <a:pt x="75" y="604"/>
                    </a:lnTo>
                    <a:lnTo>
                      <a:pt x="91" y="604"/>
                    </a:lnTo>
                    <a:lnTo>
                      <a:pt x="112" y="609"/>
                    </a:lnTo>
                    <a:lnTo>
                      <a:pt x="134" y="614"/>
                    </a:lnTo>
                    <a:lnTo>
                      <a:pt x="160" y="614"/>
                    </a:lnTo>
                    <a:lnTo>
                      <a:pt x="166" y="614"/>
                    </a:lnTo>
                    <a:lnTo>
                      <a:pt x="171" y="614"/>
                    </a:lnTo>
                    <a:lnTo>
                      <a:pt x="176" y="614"/>
                    </a:lnTo>
                    <a:lnTo>
                      <a:pt x="187" y="614"/>
                    </a:lnTo>
                    <a:lnTo>
                      <a:pt x="198" y="614"/>
                    </a:lnTo>
                    <a:lnTo>
                      <a:pt x="214" y="614"/>
                    </a:lnTo>
                    <a:lnTo>
                      <a:pt x="224" y="614"/>
                    </a:lnTo>
                    <a:lnTo>
                      <a:pt x="235" y="614"/>
                    </a:lnTo>
                    <a:lnTo>
                      <a:pt x="246" y="609"/>
                    </a:lnTo>
                    <a:lnTo>
                      <a:pt x="262" y="609"/>
                    </a:lnTo>
                    <a:lnTo>
                      <a:pt x="272" y="604"/>
                    </a:lnTo>
                    <a:lnTo>
                      <a:pt x="278" y="604"/>
                    </a:lnTo>
                    <a:lnTo>
                      <a:pt x="288" y="598"/>
                    </a:lnTo>
                    <a:lnTo>
                      <a:pt x="294" y="593"/>
                    </a:lnTo>
                    <a:lnTo>
                      <a:pt x="299" y="588"/>
                    </a:lnTo>
                    <a:lnTo>
                      <a:pt x="299" y="582"/>
                    </a:lnTo>
                    <a:lnTo>
                      <a:pt x="294" y="582"/>
                    </a:lnTo>
                    <a:lnTo>
                      <a:pt x="294" y="577"/>
                    </a:lnTo>
                    <a:lnTo>
                      <a:pt x="288" y="577"/>
                    </a:lnTo>
                    <a:lnTo>
                      <a:pt x="315" y="422"/>
                    </a:lnTo>
                    <a:lnTo>
                      <a:pt x="315" y="417"/>
                    </a:lnTo>
                    <a:lnTo>
                      <a:pt x="320" y="417"/>
                    </a:lnTo>
                    <a:lnTo>
                      <a:pt x="320" y="411"/>
                    </a:lnTo>
                    <a:lnTo>
                      <a:pt x="326" y="406"/>
                    </a:lnTo>
                    <a:lnTo>
                      <a:pt x="326" y="401"/>
                    </a:lnTo>
                    <a:lnTo>
                      <a:pt x="326" y="395"/>
                    </a:lnTo>
                    <a:lnTo>
                      <a:pt x="320" y="390"/>
                    </a:lnTo>
                    <a:lnTo>
                      <a:pt x="320" y="385"/>
                    </a:lnTo>
                    <a:lnTo>
                      <a:pt x="320" y="374"/>
                    </a:lnTo>
                    <a:lnTo>
                      <a:pt x="320" y="342"/>
                    </a:lnTo>
                    <a:lnTo>
                      <a:pt x="326" y="294"/>
                    </a:lnTo>
                    <a:lnTo>
                      <a:pt x="331" y="235"/>
                    </a:lnTo>
                    <a:lnTo>
                      <a:pt x="331" y="230"/>
                    </a:lnTo>
                    <a:lnTo>
                      <a:pt x="336" y="230"/>
                    </a:lnTo>
                    <a:lnTo>
                      <a:pt x="336" y="224"/>
                    </a:lnTo>
                    <a:lnTo>
                      <a:pt x="336" y="219"/>
                    </a:lnTo>
                    <a:lnTo>
                      <a:pt x="336" y="208"/>
                    </a:lnTo>
                    <a:lnTo>
                      <a:pt x="336" y="203"/>
                    </a:lnTo>
                    <a:lnTo>
                      <a:pt x="331" y="198"/>
                    </a:lnTo>
                    <a:lnTo>
                      <a:pt x="331" y="187"/>
                    </a:lnTo>
                    <a:lnTo>
                      <a:pt x="336" y="155"/>
                    </a:lnTo>
                    <a:lnTo>
                      <a:pt x="342" y="107"/>
                    </a:lnTo>
                    <a:lnTo>
                      <a:pt x="342" y="48"/>
                    </a:lnTo>
                    <a:lnTo>
                      <a:pt x="347" y="43"/>
                    </a:lnTo>
                    <a:lnTo>
                      <a:pt x="347" y="37"/>
                    </a:lnTo>
                    <a:lnTo>
                      <a:pt x="342" y="27"/>
                    </a:lnTo>
                    <a:lnTo>
                      <a:pt x="336" y="27"/>
                    </a:lnTo>
                    <a:lnTo>
                      <a:pt x="331" y="27"/>
                    </a:lnTo>
                    <a:lnTo>
                      <a:pt x="326" y="21"/>
                    </a:lnTo>
                    <a:lnTo>
                      <a:pt x="320" y="21"/>
                    </a:lnTo>
                    <a:lnTo>
                      <a:pt x="310" y="16"/>
                    </a:lnTo>
                    <a:lnTo>
                      <a:pt x="304" y="16"/>
                    </a:lnTo>
                    <a:lnTo>
                      <a:pt x="294" y="11"/>
                    </a:lnTo>
                    <a:lnTo>
                      <a:pt x="283" y="11"/>
                    </a:lnTo>
                    <a:lnTo>
                      <a:pt x="267" y="5"/>
                    </a:lnTo>
                    <a:lnTo>
                      <a:pt x="256" y="5"/>
                    </a:lnTo>
                    <a:lnTo>
                      <a:pt x="240" y="0"/>
                    </a:lnTo>
                    <a:lnTo>
                      <a:pt x="224" y="0"/>
                    </a:lnTo>
                    <a:lnTo>
                      <a:pt x="208" y="0"/>
                    </a:lnTo>
                    <a:lnTo>
                      <a:pt x="192" y="0"/>
                    </a:lnTo>
                    <a:lnTo>
                      <a:pt x="176" y="0"/>
                    </a:lnTo>
                    <a:lnTo>
                      <a:pt x="171" y="0"/>
                    </a:lnTo>
                    <a:lnTo>
                      <a:pt x="166" y="0"/>
                    </a:lnTo>
                    <a:lnTo>
                      <a:pt x="155" y="0"/>
                    </a:lnTo>
                    <a:lnTo>
                      <a:pt x="144" y="0"/>
                    </a:lnTo>
                    <a:lnTo>
                      <a:pt x="134" y="0"/>
                    </a:lnTo>
                    <a:lnTo>
                      <a:pt x="123" y="0"/>
                    </a:lnTo>
                    <a:lnTo>
                      <a:pt x="112" y="0"/>
                    </a:lnTo>
                    <a:lnTo>
                      <a:pt x="102" y="0"/>
                    </a:lnTo>
                    <a:lnTo>
                      <a:pt x="86" y="5"/>
                    </a:lnTo>
                    <a:lnTo>
                      <a:pt x="70" y="5"/>
                    </a:lnTo>
                    <a:lnTo>
                      <a:pt x="59" y="11"/>
                    </a:lnTo>
                    <a:lnTo>
                      <a:pt x="43" y="16"/>
                    </a:lnTo>
                    <a:lnTo>
                      <a:pt x="32" y="16"/>
                    </a:lnTo>
                    <a:lnTo>
                      <a:pt x="16" y="21"/>
                    </a:lnTo>
                    <a:lnTo>
                      <a:pt x="16" y="27"/>
                    </a:lnTo>
                    <a:lnTo>
                      <a:pt x="11" y="27"/>
                    </a:lnTo>
                    <a:lnTo>
                      <a:pt x="6" y="27"/>
                    </a:lnTo>
                    <a:lnTo>
                      <a:pt x="6" y="32"/>
                    </a:lnTo>
                    <a:lnTo>
                      <a:pt x="6" y="37"/>
                    </a:lnTo>
                    <a:lnTo>
                      <a:pt x="6" y="43"/>
                    </a:lnTo>
                    <a:lnTo>
                      <a:pt x="16" y="48"/>
                    </a:lnTo>
                    <a:lnTo>
                      <a:pt x="11" y="59"/>
                    </a:lnTo>
                    <a:lnTo>
                      <a:pt x="11" y="91"/>
                    </a:lnTo>
                    <a:lnTo>
                      <a:pt x="11" y="134"/>
                    </a:lnTo>
                    <a:lnTo>
                      <a:pt x="11" y="187"/>
                    </a:lnTo>
                    <a:lnTo>
                      <a:pt x="6" y="192"/>
                    </a:lnTo>
                    <a:lnTo>
                      <a:pt x="0" y="198"/>
                    </a:lnTo>
                    <a:lnTo>
                      <a:pt x="6" y="203"/>
                    </a:lnTo>
                    <a:lnTo>
                      <a:pt x="6" y="208"/>
                    </a:lnTo>
                    <a:lnTo>
                      <a:pt x="11" y="214"/>
                    </a:lnTo>
                    <a:lnTo>
                      <a:pt x="11" y="230"/>
                    </a:lnTo>
                    <a:lnTo>
                      <a:pt x="11" y="272"/>
                    </a:lnTo>
                    <a:lnTo>
                      <a:pt x="11" y="320"/>
                    </a:lnTo>
                    <a:lnTo>
                      <a:pt x="16" y="363"/>
                    </a:lnTo>
                    <a:lnTo>
                      <a:pt x="11" y="369"/>
                    </a:lnTo>
                    <a:lnTo>
                      <a:pt x="6" y="374"/>
                    </a:lnTo>
                    <a:lnTo>
                      <a:pt x="6" y="379"/>
                    </a:lnTo>
                    <a:lnTo>
                      <a:pt x="6" y="385"/>
                    </a:lnTo>
                    <a:lnTo>
                      <a:pt x="11" y="390"/>
                    </a:lnTo>
                    <a:lnTo>
                      <a:pt x="16" y="390"/>
                    </a:lnTo>
                    <a:lnTo>
                      <a:pt x="16" y="411"/>
                    </a:lnTo>
                    <a:lnTo>
                      <a:pt x="22" y="454"/>
                    </a:lnTo>
                    <a:lnTo>
                      <a:pt x="22" y="507"/>
                    </a:lnTo>
                    <a:lnTo>
                      <a:pt x="27" y="550"/>
                    </a:lnTo>
                    <a:close/>
                  </a:path>
                </a:pathLst>
              </a:custGeom>
              <a:solidFill>
                <a:srgbClr val="AA795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27" name="Freeform 3912"/>
              <p:cNvSpPr>
                <a:spLocks/>
              </p:cNvSpPr>
              <p:nvPr/>
            </p:nvSpPr>
            <p:spPr bwMode="auto">
              <a:xfrm>
                <a:off x="4623" y="2830"/>
                <a:ext cx="293" cy="32"/>
              </a:xfrm>
              <a:custGeom>
                <a:avLst/>
                <a:gdLst>
                  <a:gd name="T0" fmla="*/ 0 w 293"/>
                  <a:gd name="T1" fmla="*/ 0 h 32"/>
                  <a:gd name="T2" fmla="*/ 0 w 293"/>
                  <a:gd name="T3" fmla="*/ 5 h 32"/>
                  <a:gd name="T4" fmla="*/ 5 w 293"/>
                  <a:gd name="T5" fmla="*/ 5 h 32"/>
                  <a:gd name="T6" fmla="*/ 10 w 293"/>
                  <a:gd name="T7" fmla="*/ 5 h 32"/>
                  <a:gd name="T8" fmla="*/ 21 w 293"/>
                  <a:gd name="T9" fmla="*/ 10 h 32"/>
                  <a:gd name="T10" fmla="*/ 32 w 293"/>
                  <a:gd name="T11" fmla="*/ 16 h 32"/>
                  <a:gd name="T12" fmla="*/ 42 w 293"/>
                  <a:gd name="T13" fmla="*/ 21 h 32"/>
                  <a:gd name="T14" fmla="*/ 58 w 293"/>
                  <a:gd name="T15" fmla="*/ 26 h 32"/>
                  <a:gd name="T16" fmla="*/ 80 w 293"/>
                  <a:gd name="T17" fmla="*/ 26 h 32"/>
                  <a:gd name="T18" fmla="*/ 101 w 293"/>
                  <a:gd name="T19" fmla="*/ 32 h 32"/>
                  <a:gd name="T20" fmla="*/ 122 w 293"/>
                  <a:gd name="T21" fmla="*/ 32 h 32"/>
                  <a:gd name="T22" fmla="*/ 144 w 293"/>
                  <a:gd name="T23" fmla="*/ 32 h 32"/>
                  <a:gd name="T24" fmla="*/ 170 w 293"/>
                  <a:gd name="T25" fmla="*/ 32 h 32"/>
                  <a:gd name="T26" fmla="*/ 197 w 293"/>
                  <a:gd name="T27" fmla="*/ 32 h 32"/>
                  <a:gd name="T28" fmla="*/ 229 w 293"/>
                  <a:gd name="T29" fmla="*/ 26 h 32"/>
                  <a:gd name="T30" fmla="*/ 261 w 293"/>
                  <a:gd name="T31" fmla="*/ 21 h 32"/>
                  <a:gd name="T32" fmla="*/ 293 w 293"/>
                  <a:gd name="T33" fmla="*/ 10 h 32"/>
                  <a:gd name="T34" fmla="*/ 288 w 293"/>
                  <a:gd name="T35" fmla="*/ 10 h 32"/>
                  <a:gd name="T36" fmla="*/ 282 w 293"/>
                  <a:gd name="T37" fmla="*/ 10 h 32"/>
                  <a:gd name="T38" fmla="*/ 272 w 293"/>
                  <a:gd name="T39" fmla="*/ 16 h 32"/>
                  <a:gd name="T40" fmla="*/ 261 w 293"/>
                  <a:gd name="T41" fmla="*/ 16 h 32"/>
                  <a:gd name="T42" fmla="*/ 245 w 293"/>
                  <a:gd name="T43" fmla="*/ 16 h 32"/>
                  <a:gd name="T44" fmla="*/ 224 w 293"/>
                  <a:gd name="T45" fmla="*/ 16 h 32"/>
                  <a:gd name="T46" fmla="*/ 208 w 293"/>
                  <a:gd name="T47" fmla="*/ 16 h 32"/>
                  <a:gd name="T48" fmla="*/ 186 w 293"/>
                  <a:gd name="T49" fmla="*/ 16 h 32"/>
                  <a:gd name="T50" fmla="*/ 160 w 293"/>
                  <a:gd name="T51" fmla="*/ 16 h 32"/>
                  <a:gd name="T52" fmla="*/ 138 w 293"/>
                  <a:gd name="T53" fmla="*/ 16 h 32"/>
                  <a:gd name="T54" fmla="*/ 112 w 293"/>
                  <a:gd name="T55" fmla="*/ 16 h 32"/>
                  <a:gd name="T56" fmla="*/ 90 w 293"/>
                  <a:gd name="T57" fmla="*/ 16 h 32"/>
                  <a:gd name="T58" fmla="*/ 64 w 293"/>
                  <a:gd name="T59" fmla="*/ 16 h 32"/>
                  <a:gd name="T60" fmla="*/ 42 w 293"/>
                  <a:gd name="T61" fmla="*/ 10 h 32"/>
                  <a:gd name="T62" fmla="*/ 21 w 293"/>
                  <a:gd name="T63" fmla="*/ 5 h 32"/>
                  <a:gd name="T64" fmla="*/ 0 w 293"/>
                  <a:gd name="T65" fmla="*/ 0 h 3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93"/>
                  <a:gd name="T100" fmla="*/ 0 h 32"/>
                  <a:gd name="T101" fmla="*/ 293 w 293"/>
                  <a:gd name="T102" fmla="*/ 32 h 3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93" h="32">
                    <a:moveTo>
                      <a:pt x="0" y="0"/>
                    </a:moveTo>
                    <a:lnTo>
                      <a:pt x="0" y="5"/>
                    </a:lnTo>
                    <a:lnTo>
                      <a:pt x="5" y="5"/>
                    </a:lnTo>
                    <a:lnTo>
                      <a:pt x="10" y="5"/>
                    </a:lnTo>
                    <a:lnTo>
                      <a:pt x="21" y="10"/>
                    </a:lnTo>
                    <a:lnTo>
                      <a:pt x="32" y="16"/>
                    </a:lnTo>
                    <a:lnTo>
                      <a:pt x="42" y="21"/>
                    </a:lnTo>
                    <a:lnTo>
                      <a:pt x="58" y="26"/>
                    </a:lnTo>
                    <a:lnTo>
                      <a:pt x="80" y="26"/>
                    </a:lnTo>
                    <a:lnTo>
                      <a:pt x="101" y="32"/>
                    </a:lnTo>
                    <a:lnTo>
                      <a:pt x="122" y="32"/>
                    </a:lnTo>
                    <a:lnTo>
                      <a:pt x="144" y="32"/>
                    </a:lnTo>
                    <a:lnTo>
                      <a:pt x="170" y="32"/>
                    </a:lnTo>
                    <a:lnTo>
                      <a:pt x="197" y="32"/>
                    </a:lnTo>
                    <a:lnTo>
                      <a:pt x="229" y="26"/>
                    </a:lnTo>
                    <a:lnTo>
                      <a:pt x="261" y="21"/>
                    </a:lnTo>
                    <a:lnTo>
                      <a:pt x="293" y="10"/>
                    </a:lnTo>
                    <a:lnTo>
                      <a:pt x="288" y="10"/>
                    </a:lnTo>
                    <a:lnTo>
                      <a:pt x="282" y="10"/>
                    </a:lnTo>
                    <a:lnTo>
                      <a:pt x="272" y="16"/>
                    </a:lnTo>
                    <a:lnTo>
                      <a:pt x="261" y="16"/>
                    </a:lnTo>
                    <a:lnTo>
                      <a:pt x="245" y="16"/>
                    </a:lnTo>
                    <a:lnTo>
                      <a:pt x="224" y="16"/>
                    </a:lnTo>
                    <a:lnTo>
                      <a:pt x="208" y="16"/>
                    </a:lnTo>
                    <a:lnTo>
                      <a:pt x="186" y="16"/>
                    </a:lnTo>
                    <a:lnTo>
                      <a:pt x="160" y="16"/>
                    </a:lnTo>
                    <a:lnTo>
                      <a:pt x="138" y="16"/>
                    </a:lnTo>
                    <a:lnTo>
                      <a:pt x="112" y="16"/>
                    </a:lnTo>
                    <a:lnTo>
                      <a:pt x="90" y="16"/>
                    </a:lnTo>
                    <a:lnTo>
                      <a:pt x="64" y="16"/>
                    </a:lnTo>
                    <a:lnTo>
                      <a:pt x="42" y="10"/>
                    </a:lnTo>
                    <a:lnTo>
                      <a:pt x="21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462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28" name="Freeform 3913"/>
              <p:cNvSpPr>
                <a:spLocks/>
              </p:cNvSpPr>
              <p:nvPr/>
            </p:nvSpPr>
            <p:spPr bwMode="auto">
              <a:xfrm>
                <a:off x="4628" y="2653"/>
                <a:ext cx="293" cy="27"/>
              </a:xfrm>
              <a:custGeom>
                <a:avLst/>
                <a:gdLst>
                  <a:gd name="T0" fmla="*/ 0 w 293"/>
                  <a:gd name="T1" fmla="*/ 0 h 27"/>
                  <a:gd name="T2" fmla="*/ 0 w 293"/>
                  <a:gd name="T3" fmla="*/ 0 h 27"/>
                  <a:gd name="T4" fmla="*/ 5 w 293"/>
                  <a:gd name="T5" fmla="*/ 6 h 27"/>
                  <a:gd name="T6" fmla="*/ 11 w 293"/>
                  <a:gd name="T7" fmla="*/ 6 h 27"/>
                  <a:gd name="T8" fmla="*/ 21 w 293"/>
                  <a:gd name="T9" fmla="*/ 6 h 27"/>
                  <a:gd name="T10" fmla="*/ 32 w 293"/>
                  <a:gd name="T11" fmla="*/ 11 h 27"/>
                  <a:gd name="T12" fmla="*/ 43 w 293"/>
                  <a:gd name="T13" fmla="*/ 16 h 27"/>
                  <a:gd name="T14" fmla="*/ 59 w 293"/>
                  <a:gd name="T15" fmla="*/ 16 h 27"/>
                  <a:gd name="T16" fmla="*/ 75 w 293"/>
                  <a:gd name="T17" fmla="*/ 22 h 27"/>
                  <a:gd name="T18" fmla="*/ 96 w 293"/>
                  <a:gd name="T19" fmla="*/ 22 h 27"/>
                  <a:gd name="T20" fmla="*/ 117 w 293"/>
                  <a:gd name="T21" fmla="*/ 22 h 27"/>
                  <a:gd name="T22" fmla="*/ 144 w 293"/>
                  <a:gd name="T23" fmla="*/ 27 h 27"/>
                  <a:gd name="T24" fmla="*/ 171 w 293"/>
                  <a:gd name="T25" fmla="*/ 27 h 27"/>
                  <a:gd name="T26" fmla="*/ 197 w 293"/>
                  <a:gd name="T27" fmla="*/ 22 h 27"/>
                  <a:gd name="T28" fmla="*/ 224 w 293"/>
                  <a:gd name="T29" fmla="*/ 22 h 27"/>
                  <a:gd name="T30" fmla="*/ 256 w 293"/>
                  <a:gd name="T31" fmla="*/ 16 h 27"/>
                  <a:gd name="T32" fmla="*/ 293 w 293"/>
                  <a:gd name="T33" fmla="*/ 11 h 27"/>
                  <a:gd name="T34" fmla="*/ 288 w 293"/>
                  <a:gd name="T35" fmla="*/ 11 h 27"/>
                  <a:gd name="T36" fmla="*/ 283 w 293"/>
                  <a:gd name="T37" fmla="*/ 11 h 27"/>
                  <a:gd name="T38" fmla="*/ 272 w 293"/>
                  <a:gd name="T39" fmla="*/ 11 h 27"/>
                  <a:gd name="T40" fmla="*/ 261 w 293"/>
                  <a:gd name="T41" fmla="*/ 11 h 27"/>
                  <a:gd name="T42" fmla="*/ 245 w 293"/>
                  <a:gd name="T43" fmla="*/ 11 h 27"/>
                  <a:gd name="T44" fmla="*/ 229 w 293"/>
                  <a:gd name="T45" fmla="*/ 16 h 27"/>
                  <a:gd name="T46" fmla="*/ 208 w 293"/>
                  <a:gd name="T47" fmla="*/ 16 h 27"/>
                  <a:gd name="T48" fmla="*/ 187 w 293"/>
                  <a:gd name="T49" fmla="*/ 16 h 27"/>
                  <a:gd name="T50" fmla="*/ 160 w 293"/>
                  <a:gd name="T51" fmla="*/ 16 h 27"/>
                  <a:gd name="T52" fmla="*/ 139 w 293"/>
                  <a:gd name="T53" fmla="*/ 16 h 27"/>
                  <a:gd name="T54" fmla="*/ 112 w 293"/>
                  <a:gd name="T55" fmla="*/ 11 h 27"/>
                  <a:gd name="T56" fmla="*/ 91 w 293"/>
                  <a:gd name="T57" fmla="*/ 11 h 27"/>
                  <a:gd name="T58" fmla="*/ 64 w 293"/>
                  <a:gd name="T59" fmla="*/ 11 h 27"/>
                  <a:gd name="T60" fmla="*/ 43 w 293"/>
                  <a:gd name="T61" fmla="*/ 6 h 27"/>
                  <a:gd name="T62" fmla="*/ 21 w 293"/>
                  <a:gd name="T63" fmla="*/ 6 h 27"/>
                  <a:gd name="T64" fmla="*/ 0 w 293"/>
                  <a:gd name="T65" fmla="*/ 0 h 2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93"/>
                  <a:gd name="T100" fmla="*/ 0 h 27"/>
                  <a:gd name="T101" fmla="*/ 293 w 293"/>
                  <a:gd name="T102" fmla="*/ 27 h 2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93" h="27">
                    <a:moveTo>
                      <a:pt x="0" y="0"/>
                    </a:moveTo>
                    <a:lnTo>
                      <a:pt x="0" y="0"/>
                    </a:lnTo>
                    <a:lnTo>
                      <a:pt x="5" y="6"/>
                    </a:lnTo>
                    <a:lnTo>
                      <a:pt x="11" y="6"/>
                    </a:lnTo>
                    <a:lnTo>
                      <a:pt x="21" y="6"/>
                    </a:lnTo>
                    <a:lnTo>
                      <a:pt x="32" y="11"/>
                    </a:lnTo>
                    <a:lnTo>
                      <a:pt x="43" y="16"/>
                    </a:lnTo>
                    <a:lnTo>
                      <a:pt x="59" y="16"/>
                    </a:lnTo>
                    <a:lnTo>
                      <a:pt x="75" y="22"/>
                    </a:lnTo>
                    <a:lnTo>
                      <a:pt x="96" y="22"/>
                    </a:lnTo>
                    <a:lnTo>
                      <a:pt x="117" y="22"/>
                    </a:lnTo>
                    <a:lnTo>
                      <a:pt x="144" y="27"/>
                    </a:lnTo>
                    <a:lnTo>
                      <a:pt x="171" y="27"/>
                    </a:lnTo>
                    <a:lnTo>
                      <a:pt x="197" y="22"/>
                    </a:lnTo>
                    <a:lnTo>
                      <a:pt x="224" y="22"/>
                    </a:lnTo>
                    <a:lnTo>
                      <a:pt x="256" y="16"/>
                    </a:lnTo>
                    <a:lnTo>
                      <a:pt x="293" y="11"/>
                    </a:lnTo>
                    <a:lnTo>
                      <a:pt x="288" y="11"/>
                    </a:lnTo>
                    <a:lnTo>
                      <a:pt x="283" y="11"/>
                    </a:lnTo>
                    <a:lnTo>
                      <a:pt x="272" y="11"/>
                    </a:lnTo>
                    <a:lnTo>
                      <a:pt x="261" y="11"/>
                    </a:lnTo>
                    <a:lnTo>
                      <a:pt x="245" y="11"/>
                    </a:lnTo>
                    <a:lnTo>
                      <a:pt x="229" y="16"/>
                    </a:lnTo>
                    <a:lnTo>
                      <a:pt x="208" y="16"/>
                    </a:lnTo>
                    <a:lnTo>
                      <a:pt x="187" y="16"/>
                    </a:lnTo>
                    <a:lnTo>
                      <a:pt x="160" y="16"/>
                    </a:lnTo>
                    <a:lnTo>
                      <a:pt x="139" y="16"/>
                    </a:lnTo>
                    <a:lnTo>
                      <a:pt x="112" y="11"/>
                    </a:lnTo>
                    <a:lnTo>
                      <a:pt x="91" y="11"/>
                    </a:lnTo>
                    <a:lnTo>
                      <a:pt x="64" y="11"/>
                    </a:lnTo>
                    <a:lnTo>
                      <a:pt x="43" y="6"/>
                    </a:lnTo>
                    <a:lnTo>
                      <a:pt x="21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462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29" name="Freeform 3914"/>
              <p:cNvSpPr>
                <a:spLocks/>
              </p:cNvSpPr>
              <p:nvPr/>
            </p:nvSpPr>
            <p:spPr bwMode="auto">
              <a:xfrm>
                <a:off x="4628" y="2643"/>
                <a:ext cx="288" cy="16"/>
              </a:xfrm>
              <a:custGeom>
                <a:avLst/>
                <a:gdLst>
                  <a:gd name="T0" fmla="*/ 0 w 288"/>
                  <a:gd name="T1" fmla="*/ 0 h 16"/>
                  <a:gd name="T2" fmla="*/ 0 w 288"/>
                  <a:gd name="T3" fmla="*/ 0 h 16"/>
                  <a:gd name="T4" fmla="*/ 5 w 288"/>
                  <a:gd name="T5" fmla="*/ 0 h 16"/>
                  <a:gd name="T6" fmla="*/ 11 w 288"/>
                  <a:gd name="T7" fmla="*/ 5 h 16"/>
                  <a:gd name="T8" fmla="*/ 21 w 288"/>
                  <a:gd name="T9" fmla="*/ 5 h 16"/>
                  <a:gd name="T10" fmla="*/ 32 w 288"/>
                  <a:gd name="T11" fmla="*/ 5 h 16"/>
                  <a:gd name="T12" fmla="*/ 48 w 288"/>
                  <a:gd name="T13" fmla="*/ 10 h 16"/>
                  <a:gd name="T14" fmla="*/ 64 w 288"/>
                  <a:gd name="T15" fmla="*/ 10 h 16"/>
                  <a:gd name="T16" fmla="*/ 80 w 288"/>
                  <a:gd name="T17" fmla="*/ 16 h 16"/>
                  <a:gd name="T18" fmla="*/ 101 w 288"/>
                  <a:gd name="T19" fmla="*/ 16 h 16"/>
                  <a:gd name="T20" fmla="*/ 123 w 288"/>
                  <a:gd name="T21" fmla="*/ 16 h 16"/>
                  <a:gd name="T22" fmla="*/ 144 w 288"/>
                  <a:gd name="T23" fmla="*/ 16 h 16"/>
                  <a:gd name="T24" fmla="*/ 171 w 288"/>
                  <a:gd name="T25" fmla="*/ 16 h 16"/>
                  <a:gd name="T26" fmla="*/ 197 w 288"/>
                  <a:gd name="T27" fmla="*/ 16 h 16"/>
                  <a:gd name="T28" fmla="*/ 224 w 288"/>
                  <a:gd name="T29" fmla="*/ 16 h 16"/>
                  <a:gd name="T30" fmla="*/ 256 w 288"/>
                  <a:gd name="T31" fmla="*/ 10 h 16"/>
                  <a:gd name="T32" fmla="*/ 288 w 288"/>
                  <a:gd name="T33" fmla="*/ 5 h 16"/>
                  <a:gd name="T34" fmla="*/ 283 w 288"/>
                  <a:gd name="T35" fmla="*/ 5 h 16"/>
                  <a:gd name="T36" fmla="*/ 277 w 288"/>
                  <a:gd name="T37" fmla="*/ 5 h 16"/>
                  <a:gd name="T38" fmla="*/ 261 w 288"/>
                  <a:gd name="T39" fmla="*/ 5 h 16"/>
                  <a:gd name="T40" fmla="*/ 251 w 288"/>
                  <a:gd name="T41" fmla="*/ 5 h 16"/>
                  <a:gd name="T42" fmla="*/ 229 w 288"/>
                  <a:gd name="T43" fmla="*/ 5 h 16"/>
                  <a:gd name="T44" fmla="*/ 208 w 288"/>
                  <a:gd name="T45" fmla="*/ 5 h 16"/>
                  <a:gd name="T46" fmla="*/ 187 w 288"/>
                  <a:gd name="T47" fmla="*/ 5 h 16"/>
                  <a:gd name="T48" fmla="*/ 160 w 288"/>
                  <a:gd name="T49" fmla="*/ 5 h 16"/>
                  <a:gd name="T50" fmla="*/ 139 w 288"/>
                  <a:gd name="T51" fmla="*/ 5 h 16"/>
                  <a:gd name="T52" fmla="*/ 112 w 288"/>
                  <a:gd name="T53" fmla="*/ 5 h 16"/>
                  <a:gd name="T54" fmla="*/ 85 w 288"/>
                  <a:gd name="T55" fmla="*/ 5 h 16"/>
                  <a:gd name="T56" fmla="*/ 64 w 288"/>
                  <a:gd name="T57" fmla="*/ 5 h 16"/>
                  <a:gd name="T58" fmla="*/ 43 w 288"/>
                  <a:gd name="T59" fmla="*/ 0 h 16"/>
                  <a:gd name="T60" fmla="*/ 27 w 288"/>
                  <a:gd name="T61" fmla="*/ 0 h 16"/>
                  <a:gd name="T62" fmla="*/ 11 w 288"/>
                  <a:gd name="T63" fmla="*/ 0 h 16"/>
                  <a:gd name="T64" fmla="*/ 0 w 288"/>
                  <a:gd name="T65" fmla="*/ 0 h 1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88"/>
                  <a:gd name="T100" fmla="*/ 0 h 16"/>
                  <a:gd name="T101" fmla="*/ 288 w 288"/>
                  <a:gd name="T102" fmla="*/ 16 h 1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88" h="16">
                    <a:moveTo>
                      <a:pt x="0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11" y="5"/>
                    </a:lnTo>
                    <a:lnTo>
                      <a:pt x="21" y="5"/>
                    </a:lnTo>
                    <a:lnTo>
                      <a:pt x="32" y="5"/>
                    </a:lnTo>
                    <a:lnTo>
                      <a:pt x="48" y="10"/>
                    </a:lnTo>
                    <a:lnTo>
                      <a:pt x="64" y="10"/>
                    </a:lnTo>
                    <a:lnTo>
                      <a:pt x="80" y="16"/>
                    </a:lnTo>
                    <a:lnTo>
                      <a:pt x="101" y="16"/>
                    </a:lnTo>
                    <a:lnTo>
                      <a:pt x="123" y="16"/>
                    </a:lnTo>
                    <a:lnTo>
                      <a:pt x="144" y="16"/>
                    </a:lnTo>
                    <a:lnTo>
                      <a:pt x="171" y="16"/>
                    </a:lnTo>
                    <a:lnTo>
                      <a:pt x="197" y="16"/>
                    </a:lnTo>
                    <a:lnTo>
                      <a:pt x="224" y="16"/>
                    </a:lnTo>
                    <a:lnTo>
                      <a:pt x="256" y="10"/>
                    </a:lnTo>
                    <a:lnTo>
                      <a:pt x="288" y="5"/>
                    </a:lnTo>
                    <a:lnTo>
                      <a:pt x="283" y="5"/>
                    </a:lnTo>
                    <a:lnTo>
                      <a:pt x="277" y="5"/>
                    </a:lnTo>
                    <a:lnTo>
                      <a:pt x="261" y="5"/>
                    </a:lnTo>
                    <a:lnTo>
                      <a:pt x="251" y="5"/>
                    </a:lnTo>
                    <a:lnTo>
                      <a:pt x="229" y="5"/>
                    </a:lnTo>
                    <a:lnTo>
                      <a:pt x="208" y="5"/>
                    </a:lnTo>
                    <a:lnTo>
                      <a:pt x="187" y="5"/>
                    </a:lnTo>
                    <a:lnTo>
                      <a:pt x="160" y="5"/>
                    </a:lnTo>
                    <a:lnTo>
                      <a:pt x="139" y="5"/>
                    </a:lnTo>
                    <a:lnTo>
                      <a:pt x="112" y="5"/>
                    </a:lnTo>
                    <a:lnTo>
                      <a:pt x="85" y="5"/>
                    </a:lnTo>
                    <a:lnTo>
                      <a:pt x="64" y="5"/>
                    </a:lnTo>
                    <a:lnTo>
                      <a:pt x="43" y="0"/>
                    </a:lnTo>
                    <a:lnTo>
                      <a:pt x="27" y="0"/>
                    </a:lnTo>
                    <a:lnTo>
                      <a:pt x="1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D8B6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30" name="Freeform 3915"/>
              <p:cNvSpPr>
                <a:spLocks/>
              </p:cNvSpPr>
              <p:nvPr/>
            </p:nvSpPr>
            <p:spPr bwMode="auto">
              <a:xfrm>
                <a:off x="4623" y="2819"/>
                <a:ext cx="282" cy="21"/>
              </a:xfrm>
              <a:custGeom>
                <a:avLst/>
                <a:gdLst>
                  <a:gd name="T0" fmla="*/ 0 w 282"/>
                  <a:gd name="T1" fmla="*/ 0 h 21"/>
                  <a:gd name="T2" fmla="*/ 0 w 282"/>
                  <a:gd name="T3" fmla="*/ 0 h 21"/>
                  <a:gd name="T4" fmla="*/ 5 w 282"/>
                  <a:gd name="T5" fmla="*/ 0 h 21"/>
                  <a:gd name="T6" fmla="*/ 10 w 282"/>
                  <a:gd name="T7" fmla="*/ 5 h 21"/>
                  <a:gd name="T8" fmla="*/ 21 w 282"/>
                  <a:gd name="T9" fmla="*/ 5 h 21"/>
                  <a:gd name="T10" fmla="*/ 32 w 282"/>
                  <a:gd name="T11" fmla="*/ 11 h 21"/>
                  <a:gd name="T12" fmla="*/ 42 w 282"/>
                  <a:gd name="T13" fmla="*/ 11 h 21"/>
                  <a:gd name="T14" fmla="*/ 58 w 282"/>
                  <a:gd name="T15" fmla="*/ 16 h 21"/>
                  <a:gd name="T16" fmla="*/ 74 w 282"/>
                  <a:gd name="T17" fmla="*/ 16 h 21"/>
                  <a:gd name="T18" fmla="*/ 96 w 282"/>
                  <a:gd name="T19" fmla="*/ 21 h 21"/>
                  <a:gd name="T20" fmla="*/ 117 w 282"/>
                  <a:gd name="T21" fmla="*/ 21 h 21"/>
                  <a:gd name="T22" fmla="*/ 144 w 282"/>
                  <a:gd name="T23" fmla="*/ 21 h 21"/>
                  <a:gd name="T24" fmla="*/ 165 w 282"/>
                  <a:gd name="T25" fmla="*/ 21 h 21"/>
                  <a:gd name="T26" fmla="*/ 192 w 282"/>
                  <a:gd name="T27" fmla="*/ 21 h 21"/>
                  <a:gd name="T28" fmla="*/ 224 w 282"/>
                  <a:gd name="T29" fmla="*/ 16 h 21"/>
                  <a:gd name="T30" fmla="*/ 250 w 282"/>
                  <a:gd name="T31" fmla="*/ 11 h 21"/>
                  <a:gd name="T32" fmla="*/ 282 w 282"/>
                  <a:gd name="T33" fmla="*/ 5 h 21"/>
                  <a:gd name="T34" fmla="*/ 282 w 282"/>
                  <a:gd name="T35" fmla="*/ 5 h 21"/>
                  <a:gd name="T36" fmla="*/ 272 w 282"/>
                  <a:gd name="T37" fmla="*/ 5 h 21"/>
                  <a:gd name="T38" fmla="*/ 261 w 282"/>
                  <a:gd name="T39" fmla="*/ 5 h 21"/>
                  <a:gd name="T40" fmla="*/ 245 w 282"/>
                  <a:gd name="T41" fmla="*/ 5 h 21"/>
                  <a:gd name="T42" fmla="*/ 229 w 282"/>
                  <a:gd name="T43" fmla="*/ 5 h 21"/>
                  <a:gd name="T44" fmla="*/ 208 w 282"/>
                  <a:gd name="T45" fmla="*/ 5 h 21"/>
                  <a:gd name="T46" fmla="*/ 181 w 282"/>
                  <a:gd name="T47" fmla="*/ 5 h 21"/>
                  <a:gd name="T48" fmla="*/ 160 w 282"/>
                  <a:gd name="T49" fmla="*/ 5 h 21"/>
                  <a:gd name="T50" fmla="*/ 133 w 282"/>
                  <a:gd name="T51" fmla="*/ 5 h 21"/>
                  <a:gd name="T52" fmla="*/ 112 w 282"/>
                  <a:gd name="T53" fmla="*/ 5 h 21"/>
                  <a:gd name="T54" fmla="*/ 85 w 282"/>
                  <a:gd name="T55" fmla="*/ 5 h 21"/>
                  <a:gd name="T56" fmla="*/ 64 w 282"/>
                  <a:gd name="T57" fmla="*/ 0 h 21"/>
                  <a:gd name="T58" fmla="*/ 42 w 282"/>
                  <a:gd name="T59" fmla="*/ 0 h 21"/>
                  <a:gd name="T60" fmla="*/ 26 w 282"/>
                  <a:gd name="T61" fmla="*/ 0 h 21"/>
                  <a:gd name="T62" fmla="*/ 10 w 282"/>
                  <a:gd name="T63" fmla="*/ 0 h 21"/>
                  <a:gd name="T64" fmla="*/ 0 w 282"/>
                  <a:gd name="T65" fmla="*/ 0 h 2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82"/>
                  <a:gd name="T100" fmla="*/ 0 h 21"/>
                  <a:gd name="T101" fmla="*/ 282 w 282"/>
                  <a:gd name="T102" fmla="*/ 21 h 2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82" h="21">
                    <a:moveTo>
                      <a:pt x="0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10" y="5"/>
                    </a:lnTo>
                    <a:lnTo>
                      <a:pt x="21" y="5"/>
                    </a:lnTo>
                    <a:lnTo>
                      <a:pt x="32" y="11"/>
                    </a:lnTo>
                    <a:lnTo>
                      <a:pt x="42" y="11"/>
                    </a:lnTo>
                    <a:lnTo>
                      <a:pt x="58" y="16"/>
                    </a:lnTo>
                    <a:lnTo>
                      <a:pt x="74" y="16"/>
                    </a:lnTo>
                    <a:lnTo>
                      <a:pt x="96" y="21"/>
                    </a:lnTo>
                    <a:lnTo>
                      <a:pt x="117" y="21"/>
                    </a:lnTo>
                    <a:lnTo>
                      <a:pt x="144" y="21"/>
                    </a:lnTo>
                    <a:lnTo>
                      <a:pt x="165" y="21"/>
                    </a:lnTo>
                    <a:lnTo>
                      <a:pt x="192" y="21"/>
                    </a:lnTo>
                    <a:lnTo>
                      <a:pt x="224" y="16"/>
                    </a:lnTo>
                    <a:lnTo>
                      <a:pt x="250" y="11"/>
                    </a:lnTo>
                    <a:lnTo>
                      <a:pt x="282" y="5"/>
                    </a:lnTo>
                    <a:lnTo>
                      <a:pt x="272" y="5"/>
                    </a:lnTo>
                    <a:lnTo>
                      <a:pt x="261" y="5"/>
                    </a:lnTo>
                    <a:lnTo>
                      <a:pt x="245" y="5"/>
                    </a:lnTo>
                    <a:lnTo>
                      <a:pt x="229" y="5"/>
                    </a:lnTo>
                    <a:lnTo>
                      <a:pt x="208" y="5"/>
                    </a:lnTo>
                    <a:lnTo>
                      <a:pt x="181" y="5"/>
                    </a:lnTo>
                    <a:lnTo>
                      <a:pt x="160" y="5"/>
                    </a:lnTo>
                    <a:lnTo>
                      <a:pt x="133" y="5"/>
                    </a:lnTo>
                    <a:lnTo>
                      <a:pt x="112" y="5"/>
                    </a:lnTo>
                    <a:lnTo>
                      <a:pt x="85" y="5"/>
                    </a:lnTo>
                    <a:lnTo>
                      <a:pt x="64" y="0"/>
                    </a:lnTo>
                    <a:lnTo>
                      <a:pt x="42" y="0"/>
                    </a:lnTo>
                    <a:lnTo>
                      <a:pt x="26" y="0"/>
                    </a:lnTo>
                    <a:lnTo>
                      <a:pt x="1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D8B6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31" name="Freeform 3916"/>
              <p:cNvSpPr>
                <a:spLocks/>
              </p:cNvSpPr>
              <p:nvPr/>
            </p:nvSpPr>
            <p:spPr bwMode="auto">
              <a:xfrm>
                <a:off x="4623" y="2488"/>
                <a:ext cx="165" cy="149"/>
              </a:xfrm>
              <a:custGeom>
                <a:avLst/>
                <a:gdLst>
                  <a:gd name="T0" fmla="*/ 5 w 165"/>
                  <a:gd name="T1" fmla="*/ 10 h 149"/>
                  <a:gd name="T2" fmla="*/ 0 w 165"/>
                  <a:gd name="T3" fmla="*/ 133 h 149"/>
                  <a:gd name="T4" fmla="*/ 165 w 165"/>
                  <a:gd name="T5" fmla="*/ 149 h 149"/>
                  <a:gd name="T6" fmla="*/ 16 w 165"/>
                  <a:gd name="T7" fmla="*/ 112 h 149"/>
                  <a:gd name="T8" fmla="*/ 149 w 165"/>
                  <a:gd name="T9" fmla="*/ 112 h 149"/>
                  <a:gd name="T10" fmla="*/ 21 w 165"/>
                  <a:gd name="T11" fmla="*/ 91 h 149"/>
                  <a:gd name="T12" fmla="*/ 144 w 165"/>
                  <a:gd name="T13" fmla="*/ 80 h 149"/>
                  <a:gd name="T14" fmla="*/ 26 w 165"/>
                  <a:gd name="T15" fmla="*/ 64 h 149"/>
                  <a:gd name="T16" fmla="*/ 128 w 165"/>
                  <a:gd name="T17" fmla="*/ 53 h 149"/>
                  <a:gd name="T18" fmla="*/ 26 w 165"/>
                  <a:gd name="T19" fmla="*/ 37 h 149"/>
                  <a:gd name="T20" fmla="*/ 128 w 165"/>
                  <a:gd name="T21" fmla="*/ 26 h 149"/>
                  <a:gd name="T22" fmla="*/ 16 w 165"/>
                  <a:gd name="T23" fmla="*/ 16 h 149"/>
                  <a:gd name="T24" fmla="*/ 122 w 165"/>
                  <a:gd name="T25" fmla="*/ 0 h 149"/>
                  <a:gd name="T26" fmla="*/ 5 w 165"/>
                  <a:gd name="T27" fmla="*/ 10 h 14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65"/>
                  <a:gd name="T43" fmla="*/ 0 h 149"/>
                  <a:gd name="T44" fmla="*/ 165 w 165"/>
                  <a:gd name="T45" fmla="*/ 149 h 14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65" h="149">
                    <a:moveTo>
                      <a:pt x="5" y="10"/>
                    </a:moveTo>
                    <a:lnTo>
                      <a:pt x="0" y="133"/>
                    </a:lnTo>
                    <a:lnTo>
                      <a:pt x="165" y="149"/>
                    </a:lnTo>
                    <a:lnTo>
                      <a:pt x="16" y="112"/>
                    </a:lnTo>
                    <a:lnTo>
                      <a:pt x="149" y="112"/>
                    </a:lnTo>
                    <a:lnTo>
                      <a:pt x="21" y="91"/>
                    </a:lnTo>
                    <a:lnTo>
                      <a:pt x="144" y="80"/>
                    </a:lnTo>
                    <a:lnTo>
                      <a:pt x="26" y="64"/>
                    </a:lnTo>
                    <a:lnTo>
                      <a:pt x="128" y="53"/>
                    </a:lnTo>
                    <a:lnTo>
                      <a:pt x="26" y="37"/>
                    </a:lnTo>
                    <a:lnTo>
                      <a:pt x="128" y="26"/>
                    </a:lnTo>
                    <a:lnTo>
                      <a:pt x="16" y="16"/>
                    </a:lnTo>
                    <a:lnTo>
                      <a:pt x="122" y="0"/>
                    </a:lnTo>
                    <a:lnTo>
                      <a:pt x="5" y="10"/>
                    </a:lnTo>
                    <a:close/>
                  </a:path>
                </a:pathLst>
              </a:custGeom>
              <a:solidFill>
                <a:srgbClr val="8462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32" name="Freeform 3917"/>
              <p:cNvSpPr>
                <a:spLocks/>
              </p:cNvSpPr>
              <p:nvPr/>
            </p:nvSpPr>
            <p:spPr bwMode="auto">
              <a:xfrm>
                <a:off x="4633" y="3006"/>
                <a:ext cx="240" cy="37"/>
              </a:xfrm>
              <a:custGeom>
                <a:avLst/>
                <a:gdLst>
                  <a:gd name="T0" fmla="*/ 0 w 240"/>
                  <a:gd name="T1" fmla="*/ 0 h 37"/>
                  <a:gd name="T2" fmla="*/ 0 w 240"/>
                  <a:gd name="T3" fmla="*/ 0 h 37"/>
                  <a:gd name="T4" fmla="*/ 0 w 240"/>
                  <a:gd name="T5" fmla="*/ 5 h 37"/>
                  <a:gd name="T6" fmla="*/ 6 w 240"/>
                  <a:gd name="T7" fmla="*/ 5 h 37"/>
                  <a:gd name="T8" fmla="*/ 16 w 240"/>
                  <a:gd name="T9" fmla="*/ 10 h 37"/>
                  <a:gd name="T10" fmla="*/ 27 w 240"/>
                  <a:gd name="T11" fmla="*/ 16 h 37"/>
                  <a:gd name="T12" fmla="*/ 38 w 240"/>
                  <a:gd name="T13" fmla="*/ 21 h 37"/>
                  <a:gd name="T14" fmla="*/ 48 w 240"/>
                  <a:gd name="T15" fmla="*/ 21 h 37"/>
                  <a:gd name="T16" fmla="*/ 64 w 240"/>
                  <a:gd name="T17" fmla="*/ 27 h 37"/>
                  <a:gd name="T18" fmla="*/ 80 w 240"/>
                  <a:gd name="T19" fmla="*/ 32 h 37"/>
                  <a:gd name="T20" fmla="*/ 102 w 240"/>
                  <a:gd name="T21" fmla="*/ 32 h 37"/>
                  <a:gd name="T22" fmla="*/ 118 w 240"/>
                  <a:gd name="T23" fmla="*/ 37 h 37"/>
                  <a:gd name="T24" fmla="*/ 139 w 240"/>
                  <a:gd name="T25" fmla="*/ 37 h 37"/>
                  <a:gd name="T26" fmla="*/ 166 w 240"/>
                  <a:gd name="T27" fmla="*/ 37 h 37"/>
                  <a:gd name="T28" fmla="*/ 187 w 240"/>
                  <a:gd name="T29" fmla="*/ 32 h 37"/>
                  <a:gd name="T30" fmla="*/ 214 w 240"/>
                  <a:gd name="T31" fmla="*/ 27 h 37"/>
                  <a:gd name="T32" fmla="*/ 240 w 240"/>
                  <a:gd name="T33" fmla="*/ 21 h 37"/>
                  <a:gd name="T34" fmla="*/ 240 w 240"/>
                  <a:gd name="T35" fmla="*/ 21 h 37"/>
                  <a:gd name="T36" fmla="*/ 235 w 240"/>
                  <a:gd name="T37" fmla="*/ 21 h 37"/>
                  <a:gd name="T38" fmla="*/ 230 w 240"/>
                  <a:gd name="T39" fmla="*/ 21 h 37"/>
                  <a:gd name="T40" fmla="*/ 219 w 240"/>
                  <a:gd name="T41" fmla="*/ 27 h 37"/>
                  <a:gd name="T42" fmla="*/ 208 w 240"/>
                  <a:gd name="T43" fmla="*/ 27 h 37"/>
                  <a:gd name="T44" fmla="*/ 192 w 240"/>
                  <a:gd name="T45" fmla="*/ 27 h 37"/>
                  <a:gd name="T46" fmla="*/ 176 w 240"/>
                  <a:gd name="T47" fmla="*/ 27 h 37"/>
                  <a:gd name="T48" fmla="*/ 160 w 240"/>
                  <a:gd name="T49" fmla="*/ 27 h 37"/>
                  <a:gd name="T50" fmla="*/ 144 w 240"/>
                  <a:gd name="T51" fmla="*/ 27 h 37"/>
                  <a:gd name="T52" fmla="*/ 123 w 240"/>
                  <a:gd name="T53" fmla="*/ 27 h 37"/>
                  <a:gd name="T54" fmla="*/ 102 w 240"/>
                  <a:gd name="T55" fmla="*/ 27 h 37"/>
                  <a:gd name="T56" fmla="*/ 80 w 240"/>
                  <a:gd name="T57" fmla="*/ 21 h 37"/>
                  <a:gd name="T58" fmla="*/ 59 w 240"/>
                  <a:gd name="T59" fmla="*/ 21 h 37"/>
                  <a:gd name="T60" fmla="*/ 38 w 240"/>
                  <a:gd name="T61" fmla="*/ 16 h 37"/>
                  <a:gd name="T62" fmla="*/ 22 w 240"/>
                  <a:gd name="T63" fmla="*/ 10 h 37"/>
                  <a:gd name="T64" fmla="*/ 0 w 240"/>
                  <a:gd name="T65" fmla="*/ 0 h 3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40"/>
                  <a:gd name="T100" fmla="*/ 0 h 37"/>
                  <a:gd name="T101" fmla="*/ 240 w 240"/>
                  <a:gd name="T102" fmla="*/ 37 h 3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40" h="37">
                    <a:moveTo>
                      <a:pt x="0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6" y="5"/>
                    </a:lnTo>
                    <a:lnTo>
                      <a:pt x="16" y="10"/>
                    </a:lnTo>
                    <a:lnTo>
                      <a:pt x="27" y="16"/>
                    </a:lnTo>
                    <a:lnTo>
                      <a:pt x="38" y="21"/>
                    </a:lnTo>
                    <a:lnTo>
                      <a:pt x="48" y="21"/>
                    </a:lnTo>
                    <a:lnTo>
                      <a:pt x="64" y="27"/>
                    </a:lnTo>
                    <a:lnTo>
                      <a:pt x="80" y="32"/>
                    </a:lnTo>
                    <a:lnTo>
                      <a:pt x="102" y="32"/>
                    </a:lnTo>
                    <a:lnTo>
                      <a:pt x="118" y="37"/>
                    </a:lnTo>
                    <a:lnTo>
                      <a:pt x="139" y="37"/>
                    </a:lnTo>
                    <a:lnTo>
                      <a:pt x="166" y="37"/>
                    </a:lnTo>
                    <a:lnTo>
                      <a:pt x="187" y="32"/>
                    </a:lnTo>
                    <a:lnTo>
                      <a:pt x="214" y="27"/>
                    </a:lnTo>
                    <a:lnTo>
                      <a:pt x="240" y="21"/>
                    </a:lnTo>
                    <a:lnTo>
                      <a:pt x="235" y="21"/>
                    </a:lnTo>
                    <a:lnTo>
                      <a:pt x="230" y="21"/>
                    </a:lnTo>
                    <a:lnTo>
                      <a:pt x="219" y="27"/>
                    </a:lnTo>
                    <a:lnTo>
                      <a:pt x="208" y="27"/>
                    </a:lnTo>
                    <a:lnTo>
                      <a:pt x="192" y="27"/>
                    </a:lnTo>
                    <a:lnTo>
                      <a:pt x="176" y="27"/>
                    </a:lnTo>
                    <a:lnTo>
                      <a:pt x="160" y="27"/>
                    </a:lnTo>
                    <a:lnTo>
                      <a:pt x="144" y="27"/>
                    </a:lnTo>
                    <a:lnTo>
                      <a:pt x="123" y="27"/>
                    </a:lnTo>
                    <a:lnTo>
                      <a:pt x="102" y="27"/>
                    </a:lnTo>
                    <a:lnTo>
                      <a:pt x="80" y="21"/>
                    </a:lnTo>
                    <a:lnTo>
                      <a:pt x="59" y="21"/>
                    </a:lnTo>
                    <a:lnTo>
                      <a:pt x="38" y="16"/>
                    </a:lnTo>
                    <a:lnTo>
                      <a:pt x="22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462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33" name="Freeform 3918"/>
              <p:cNvSpPr>
                <a:spLocks/>
              </p:cNvSpPr>
              <p:nvPr/>
            </p:nvSpPr>
            <p:spPr bwMode="auto">
              <a:xfrm>
                <a:off x="4623" y="2456"/>
                <a:ext cx="282" cy="21"/>
              </a:xfrm>
              <a:custGeom>
                <a:avLst/>
                <a:gdLst>
                  <a:gd name="T0" fmla="*/ 0 w 282"/>
                  <a:gd name="T1" fmla="*/ 21 h 21"/>
                  <a:gd name="T2" fmla="*/ 0 w 282"/>
                  <a:gd name="T3" fmla="*/ 21 h 21"/>
                  <a:gd name="T4" fmla="*/ 5 w 282"/>
                  <a:gd name="T5" fmla="*/ 21 h 21"/>
                  <a:gd name="T6" fmla="*/ 10 w 282"/>
                  <a:gd name="T7" fmla="*/ 21 h 21"/>
                  <a:gd name="T8" fmla="*/ 21 w 282"/>
                  <a:gd name="T9" fmla="*/ 16 h 21"/>
                  <a:gd name="T10" fmla="*/ 32 w 282"/>
                  <a:gd name="T11" fmla="*/ 16 h 21"/>
                  <a:gd name="T12" fmla="*/ 48 w 282"/>
                  <a:gd name="T13" fmla="*/ 10 h 21"/>
                  <a:gd name="T14" fmla="*/ 64 w 282"/>
                  <a:gd name="T15" fmla="*/ 5 h 21"/>
                  <a:gd name="T16" fmla="*/ 85 w 282"/>
                  <a:gd name="T17" fmla="*/ 5 h 21"/>
                  <a:gd name="T18" fmla="*/ 101 w 282"/>
                  <a:gd name="T19" fmla="*/ 5 h 21"/>
                  <a:gd name="T20" fmla="*/ 122 w 282"/>
                  <a:gd name="T21" fmla="*/ 0 h 21"/>
                  <a:gd name="T22" fmla="*/ 149 w 282"/>
                  <a:gd name="T23" fmla="*/ 0 h 21"/>
                  <a:gd name="T24" fmla="*/ 170 w 282"/>
                  <a:gd name="T25" fmla="*/ 0 h 21"/>
                  <a:gd name="T26" fmla="*/ 197 w 282"/>
                  <a:gd name="T27" fmla="*/ 5 h 21"/>
                  <a:gd name="T28" fmla="*/ 224 w 282"/>
                  <a:gd name="T29" fmla="*/ 5 h 21"/>
                  <a:gd name="T30" fmla="*/ 250 w 282"/>
                  <a:gd name="T31" fmla="*/ 10 h 21"/>
                  <a:gd name="T32" fmla="*/ 282 w 282"/>
                  <a:gd name="T33" fmla="*/ 21 h 21"/>
                  <a:gd name="T34" fmla="*/ 277 w 282"/>
                  <a:gd name="T35" fmla="*/ 21 h 21"/>
                  <a:gd name="T36" fmla="*/ 277 w 282"/>
                  <a:gd name="T37" fmla="*/ 21 h 21"/>
                  <a:gd name="T38" fmla="*/ 266 w 282"/>
                  <a:gd name="T39" fmla="*/ 16 h 21"/>
                  <a:gd name="T40" fmla="*/ 256 w 282"/>
                  <a:gd name="T41" fmla="*/ 16 h 21"/>
                  <a:gd name="T42" fmla="*/ 245 w 282"/>
                  <a:gd name="T43" fmla="*/ 16 h 21"/>
                  <a:gd name="T44" fmla="*/ 229 w 282"/>
                  <a:gd name="T45" fmla="*/ 16 h 21"/>
                  <a:gd name="T46" fmla="*/ 213 w 282"/>
                  <a:gd name="T47" fmla="*/ 16 h 21"/>
                  <a:gd name="T48" fmla="*/ 197 w 282"/>
                  <a:gd name="T49" fmla="*/ 16 h 21"/>
                  <a:gd name="T50" fmla="*/ 176 w 282"/>
                  <a:gd name="T51" fmla="*/ 16 h 21"/>
                  <a:gd name="T52" fmla="*/ 154 w 282"/>
                  <a:gd name="T53" fmla="*/ 10 h 21"/>
                  <a:gd name="T54" fmla="*/ 128 w 282"/>
                  <a:gd name="T55" fmla="*/ 16 h 21"/>
                  <a:gd name="T56" fmla="*/ 106 w 282"/>
                  <a:gd name="T57" fmla="*/ 16 h 21"/>
                  <a:gd name="T58" fmla="*/ 80 w 282"/>
                  <a:gd name="T59" fmla="*/ 16 h 21"/>
                  <a:gd name="T60" fmla="*/ 53 w 282"/>
                  <a:gd name="T61" fmla="*/ 16 h 21"/>
                  <a:gd name="T62" fmla="*/ 26 w 282"/>
                  <a:gd name="T63" fmla="*/ 21 h 21"/>
                  <a:gd name="T64" fmla="*/ 0 w 282"/>
                  <a:gd name="T65" fmla="*/ 21 h 2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82"/>
                  <a:gd name="T100" fmla="*/ 0 h 21"/>
                  <a:gd name="T101" fmla="*/ 282 w 282"/>
                  <a:gd name="T102" fmla="*/ 21 h 2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82" h="21">
                    <a:moveTo>
                      <a:pt x="0" y="21"/>
                    </a:moveTo>
                    <a:lnTo>
                      <a:pt x="0" y="21"/>
                    </a:lnTo>
                    <a:lnTo>
                      <a:pt x="5" y="21"/>
                    </a:lnTo>
                    <a:lnTo>
                      <a:pt x="10" y="21"/>
                    </a:lnTo>
                    <a:lnTo>
                      <a:pt x="21" y="16"/>
                    </a:lnTo>
                    <a:lnTo>
                      <a:pt x="32" y="16"/>
                    </a:lnTo>
                    <a:lnTo>
                      <a:pt x="48" y="10"/>
                    </a:lnTo>
                    <a:lnTo>
                      <a:pt x="64" y="5"/>
                    </a:lnTo>
                    <a:lnTo>
                      <a:pt x="85" y="5"/>
                    </a:lnTo>
                    <a:lnTo>
                      <a:pt x="101" y="5"/>
                    </a:lnTo>
                    <a:lnTo>
                      <a:pt x="122" y="0"/>
                    </a:lnTo>
                    <a:lnTo>
                      <a:pt x="149" y="0"/>
                    </a:lnTo>
                    <a:lnTo>
                      <a:pt x="170" y="0"/>
                    </a:lnTo>
                    <a:lnTo>
                      <a:pt x="197" y="5"/>
                    </a:lnTo>
                    <a:lnTo>
                      <a:pt x="224" y="5"/>
                    </a:lnTo>
                    <a:lnTo>
                      <a:pt x="250" y="10"/>
                    </a:lnTo>
                    <a:lnTo>
                      <a:pt x="282" y="21"/>
                    </a:lnTo>
                    <a:lnTo>
                      <a:pt x="277" y="21"/>
                    </a:lnTo>
                    <a:lnTo>
                      <a:pt x="266" y="16"/>
                    </a:lnTo>
                    <a:lnTo>
                      <a:pt x="256" y="16"/>
                    </a:lnTo>
                    <a:lnTo>
                      <a:pt x="245" y="16"/>
                    </a:lnTo>
                    <a:lnTo>
                      <a:pt x="229" y="16"/>
                    </a:lnTo>
                    <a:lnTo>
                      <a:pt x="213" y="16"/>
                    </a:lnTo>
                    <a:lnTo>
                      <a:pt x="197" y="16"/>
                    </a:lnTo>
                    <a:lnTo>
                      <a:pt x="176" y="16"/>
                    </a:lnTo>
                    <a:lnTo>
                      <a:pt x="154" y="10"/>
                    </a:lnTo>
                    <a:lnTo>
                      <a:pt x="128" y="16"/>
                    </a:lnTo>
                    <a:lnTo>
                      <a:pt x="106" y="16"/>
                    </a:lnTo>
                    <a:lnTo>
                      <a:pt x="80" y="16"/>
                    </a:lnTo>
                    <a:lnTo>
                      <a:pt x="53" y="16"/>
                    </a:lnTo>
                    <a:lnTo>
                      <a:pt x="26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8462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34" name="Freeform 3919"/>
              <p:cNvSpPr>
                <a:spLocks/>
              </p:cNvSpPr>
              <p:nvPr/>
            </p:nvSpPr>
            <p:spPr bwMode="auto">
              <a:xfrm>
                <a:off x="4628" y="2680"/>
                <a:ext cx="117" cy="123"/>
              </a:xfrm>
              <a:custGeom>
                <a:avLst/>
                <a:gdLst>
                  <a:gd name="T0" fmla="*/ 0 w 117"/>
                  <a:gd name="T1" fmla="*/ 0 h 123"/>
                  <a:gd name="T2" fmla="*/ 5 w 117"/>
                  <a:gd name="T3" fmla="*/ 117 h 123"/>
                  <a:gd name="T4" fmla="*/ 117 w 117"/>
                  <a:gd name="T5" fmla="*/ 123 h 123"/>
                  <a:gd name="T6" fmla="*/ 16 w 117"/>
                  <a:gd name="T7" fmla="*/ 101 h 123"/>
                  <a:gd name="T8" fmla="*/ 112 w 117"/>
                  <a:gd name="T9" fmla="*/ 96 h 123"/>
                  <a:gd name="T10" fmla="*/ 21 w 117"/>
                  <a:gd name="T11" fmla="*/ 80 h 123"/>
                  <a:gd name="T12" fmla="*/ 112 w 117"/>
                  <a:gd name="T13" fmla="*/ 69 h 123"/>
                  <a:gd name="T14" fmla="*/ 21 w 117"/>
                  <a:gd name="T15" fmla="*/ 59 h 123"/>
                  <a:gd name="T16" fmla="*/ 112 w 117"/>
                  <a:gd name="T17" fmla="*/ 43 h 123"/>
                  <a:gd name="T18" fmla="*/ 21 w 117"/>
                  <a:gd name="T19" fmla="*/ 37 h 123"/>
                  <a:gd name="T20" fmla="*/ 101 w 117"/>
                  <a:gd name="T21" fmla="*/ 21 h 123"/>
                  <a:gd name="T22" fmla="*/ 16 w 117"/>
                  <a:gd name="T23" fmla="*/ 16 h 123"/>
                  <a:gd name="T24" fmla="*/ 64 w 117"/>
                  <a:gd name="T25" fmla="*/ 11 h 123"/>
                  <a:gd name="T26" fmla="*/ 0 w 117"/>
                  <a:gd name="T27" fmla="*/ 0 h 12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17"/>
                  <a:gd name="T43" fmla="*/ 0 h 123"/>
                  <a:gd name="T44" fmla="*/ 117 w 117"/>
                  <a:gd name="T45" fmla="*/ 123 h 123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17" h="123">
                    <a:moveTo>
                      <a:pt x="0" y="0"/>
                    </a:moveTo>
                    <a:lnTo>
                      <a:pt x="5" y="117"/>
                    </a:lnTo>
                    <a:lnTo>
                      <a:pt x="117" y="123"/>
                    </a:lnTo>
                    <a:lnTo>
                      <a:pt x="16" y="101"/>
                    </a:lnTo>
                    <a:lnTo>
                      <a:pt x="112" y="96"/>
                    </a:lnTo>
                    <a:lnTo>
                      <a:pt x="21" y="80"/>
                    </a:lnTo>
                    <a:lnTo>
                      <a:pt x="112" y="69"/>
                    </a:lnTo>
                    <a:lnTo>
                      <a:pt x="21" y="59"/>
                    </a:lnTo>
                    <a:lnTo>
                      <a:pt x="112" y="43"/>
                    </a:lnTo>
                    <a:lnTo>
                      <a:pt x="21" y="37"/>
                    </a:lnTo>
                    <a:lnTo>
                      <a:pt x="101" y="21"/>
                    </a:lnTo>
                    <a:lnTo>
                      <a:pt x="16" y="16"/>
                    </a:lnTo>
                    <a:lnTo>
                      <a:pt x="64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462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35" name="Freeform 3920"/>
              <p:cNvSpPr>
                <a:spLocks/>
              </p:cNvSpPr>
              <p:nvPr/>
            </p:nvSpPr>
            <p:spPr bwMode="auto">
              <a:xfrm>
                <a:off x="4639" y="2872"/>
                <a:ext cx="96" cy="139"/>
              </a:xfrm>
              <a:custGeom>
                <a:avLst/>
                <a:gdLst>
                  <a:gd name="T0" fmla="*/ 0 w 96"/>
                  <a:gd name="T1" fmla="*/ 0 h 139"/>
                  <a:gd name="T2" fmla="*/ 0 w 96"/>
                  <a:gd name="T3" fmla="*/ 118 h 139"/>
                  <a:gd name="T4" fmla="*/ 96 w 96"/>
                  <a:gd name="T5" fmla="*/ 139 h 139"/>
                  <a:gd name="T6" fmla="*/ 16 w 96"/>
                  <a:gd name="T7" fmla="*/ 102 h 139"/>
                  <a:gd name="T8" fmla="*/ 90 w 96"/>
                  <a:gd name="T9" fmla="*/ 107 h 139"/>
                  <a:gd name="T10" fmla="*/ 16 w 96"/>
                  <a:gd name="T11" fmla="*/ 80 h 139"/>
                  <a:gd name="T12" fmla="*/ 90 w 96"/>
                  <a:gd name="T13" fmla="*/ 80 h 139"/>
                  <a:gd name="T14" fmla="*/ 16 w 96"/>
                  <a:gd name="T15" fmla="*/ 59 h 139"/>
                  <a:gd name="T16" fmla="*/ 90 w 96"/>
                  <a:gd name="T17" fmla="*/ 48 h 139"/>
                  <a:gd name="T18" fmla="*/ 16 w 96"/>
                  <a:gd name="T19" fmla="*/ 38 h 139"/>
                  <a:gd name="T20" fmla="*/ 85 w 96"/>
                  <a:gd name="T21" fmla="*/ 32 h 139"/>
                  <a:gd name="T22" fmla="*/ 16 w 96"/>
                  <a:gd name="T23" fmla="*/ 16 h 139"/>
                  <a:gd name="T24" fmla="*/ 74 w 96"/>
                  <a:gd name="T25" fmla="*/ 11 h 139"/>
                  <a:gd name="T26" fmla="*/ 0 w 96"/>
                  <a:gd name="T27" fmla="*/ 0 h 13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96"/>
                  <a:gd name="T43" fmla="*/ 0 h 139"/>
                  <a:gd name="T44" fmla="*/ 96 w 96"/>
                  <a:gd name="T45" fmla="*/ 139 h 13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96" h="139">
                    <a:moveTo>
                      <a:pt x="0" y="0"/>
                    </a:moveTo>
                    <a:lnTo>
                      <a:pt x="0" y="118"/>
                    </a:lnTo>
                    <a:lnTo>
                      <a:pt x="96" y="139"/>
                    </a:lnTo>
                    <a:lnTo>
                      <a:pt x="16" y="102"/>
                    </a:lnTo>
                    <a:lnTo>
                      <a:pt x="90" y="107"/>
                    </a:lnTo>
                    <a:lnTo>
                      <a:pt x="16" y="80"/>
                    </a:lnTo>
                    <a:lnTo>
                      <a:pt x="90" y="80"/>
                    </a:lnTo>
                    <a:lnTo>
                      <a:pt x="16" y="59"/>
                    </a:lnTo>
                    <a:lnTo>
                      <a:pt x="90" y="48"/>
                    </a:lnTo>
                    <a:lnTo>
                      <a:pt x="16" y="38"/>
                    </a:lnTo>
                    <a:lnTo>
                      <a:pt x="85" y="32"/>
                    </a:lnTo>
                    <a:lnTo>
                      <a:pt x="16" y="16"/>
                    </a:lnTo>
                    <a:lnTo>
                      <a:pt x="74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462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36" name="Freeform 3921"/>
              <p:cNvSpPr>
                <a:spLocks/>
              </p:cNvSpPr>
              <p:nvPr/>
            </p:nvSpPr>
            <p:spPr bwMode="auto">
              <a:xfrm>
                <a:off x="4868" y="2488"/>
                <a:ext cx="32" cy="149"/>
              </a:xfrm>
              <a:custGeom>
                <a:avLst/>
                <a:gdLst>
                  <a:gd name="T0" fmla="*/ 5 w 32"/>
                  <a:gd name="T1" fmla="*/ 0 h 149"/>
                  <a:gd name="T2" fmla="*/ 32 w 32"/>
                  <a:gd name="T3" fmla="*/ 0 h 149"/>
                  <a:gd name="T4" fmla="*/ 27 w 32"/>
                  <a:gd name="T5" fmla="*/ 149 h 149"/>
                  <a:gd name="T6" fmla="*/ 0 w 32"/>
                  <a:gd name="T7" fmla="*/ 149 h 149"/>
                  <a:gd name="T8" fmla="*/ 5 w 32"/>
                  <a:gd name="T9" fmla="*/ 0 h 14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"/>
                  <a:gd name="T16" fmla="*/ 0 h 149"/>
                  <a:gd name="T17" fmla="*/ 32 w 32"/>
                  <a:gd name="T18" fmla="*/ 149 h 14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" h="149">
                    <a:moveTo>
                      <a:pt x="5" y="0"/>
                    </a:moveTo>
                    <a:lnTo>
                      <a:pt x="32" y="0"/>
                    </a:lnTo>
                    <a:lnTo>
                      <a:pt x="27" y="149"/>
                    </a:lnTo>
                    <a:lnTo>
                      <a:pt x="0" y="149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CD8B6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37" name="Freeform 3922"/>
              <p:cNvSpPr>
                <a:spLocks/>
              </p:cNvSpPr>
              <p:nvPr/>
            </p:nvSpPr>
            <p:spPr bwMode="auto">
              <a:xfrm>
                <a:off x="4857" y="2685"/>
                <a:ext cx="32" cy="123"/>
              </a:xfrm>
              <a:custGeom>
                <a:avLst/>
                <a:gdLst>
                  <a:gd name="T0" fmla="*/ 11 w 32"/>
                  <a:gd name="T1" fmla="*/ 0 h 123"/>
                  <a:gd name="T2" fmla="*/ 32 w 32"/>
                  <a:gd name="T3" fmla="*/ 0 h 123"/>
                  <a:gd name="T4" fmla="*/ 22 w 32"/>
                  <a:gd name="T5" fmla="*/ 123 h 123"/>
                  <a:gd name="T6" fmla="*/ 0 w 32"/>
                  <a:gd name="T7" fmla="*/ 123 h 123"/>
                  <a:gd name="T8" fmla="*/ 11 w 32"/>
                  <a:gd name="T9" fmla="*/ 0 h 12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"/>
                  <a:gd name="T16" fmla="*/ 0 h 123"/>
                  <a:gd name="T17" fmla="*/ 32 w 32"/>
                  <a:gd name="T18" fmla="*/ 123 h 12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" h="123">
                    <a:moveTo>
                      <a:pt x="11" y="0"/>
                    </a:moveTo>
                    <a:lnTo>
                      <a:pt x="32" y="0"/>
                    </a:lnTo>
                    <a:lnTo>
                      <a:pt x="22" y="123"/>
                    </a:lnTo>
                    <a:lnTo>
                      <a:pt x="0" y="123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D8B6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38" name="Freeform 3923"/>
              <p:cNvSpPr>
                <a:spLocks/>
              </p:cNvSpPr>
              <p:nvPr/>
            </p:nvSpPr>
            <p:spPr bwMode="auto">
              <a:xfrm>
                <a:off x="4841" y="2872"/>
                <a:ext cx="32" cy="128"/>
              </a:xfrm>
              <a:custGeom>
                <a:avLst/>
                <a:gdLst>
                  <a:gd name="T0" fmla="*/ 11 w 32"/>
                  <a:gd name="T1" fmla="*/ 6 h 128"/>
                  <a:gd name="T2" fmla="*/ 32 w 32"/>
                  <a:gd name="T3" fmla="*/ 0 h 128"/>
                  <a:gd name="T4" fmla="*/ 16 w 32"/>
                  <a:gd name="T5" fmla="*/ 128 h 128"/>
                  <a:gd name="T6" fmla="*/ 0 w 32"/>
                  <a:gd name="T7" fmla="*/ 128 h 128"/>
                  <a:gd name="T8" fmla="*/ 11 w 32"/>
                  <a:gd name="T9" fmla="*/ 6 h 12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"/>
                  <a:gd name="T16" fmla="*/ 0 h 128"/>
                  <a:gd name="T17" fmla="*/ 32 w 32"/>
                  <a:gd name="T18" fmla="*/ 128 h 12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" h="128">
                    <a:moveTo>
                      <a:pt x="11" y="6"/>
                    </a:moveTo>
                    <a:lnTo>
                      <a:pt x="32" y="0"/>
                    </a:lnTo>
                    <a:lnTo>
                      <a:pt x="16" y="128"/>
                    </a:lnTo>
                    <a:lnTo>
                      <a:pt x="0" y="128"/>
                    </a:lnTo>
                    <a:lnTo>
                      <a:pt x="11" y="6"/>
                    </a:lnTo>
                    <a:close/>
                  </a:path>
                </a:pathLst>
              </a:custGeom>
              <a:solidFill>
                <a:srgbClr val="CD8B6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39" name="Freeform 3924"/>
              <p:cNvSpPr>
                <a:spLocks/>
              </p:cNvSpPr>
              <p:nvPr/>
            </p:nvSpPr>
            <p:spPr bwMode="auto">
              <a:xfrm>
                <a:off x="4553" y="2285"/>
                <a:ext cx="64" cy="112"/>
              </a:xfrm>
              <a:custGeom>
                <a:avLst/>
                <a:gdLst>
                  <a:gd name="T0" fmla="*/ 32 w 64"/>
                  <a:gd name="T1" fmla="*/ 112 h 112"/>
                  <a:gd name="T2" fmla="*/ 64 w 64"/>
                  <a:gd name="T3" fmla="*/ 101 h 112"/>
                  <a:gd name="T4" fmla="*/ 0 w 64"/>
                  <a:gd name="T5" fmla="*/ 0 h 112"/>
                  <a:gd name="T6" fmla="*/ 32 w 64"/>
                  <a:gd name="T7" fmla="*/ 112 h 1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112"/>
                  <a:gd name="T14" fmla="*/ 64 w 64"/>
                  <a:gd name="T15" fmla="*/ 112 h 1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112">
                    <a:moveTo>
                      <a:pt x="32" y="112"/>
                    </a:moveTo>
                    <a:lnTo>
                      <a:pt x="64" y="101"/>
                    </a:lnTo>
                    <a:lnTo>
                      <a:pt x="0" y="0"/>
                    </a:lnTo>
                    <a:lnTo>
                      <a:pt x="32" y="112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40" name="Freeform 3925"/>
              <p:cNvSpPr>
                <a:spLocks/>
              </p:cNvSpPr>
              <p:nvPr/>
            </p:nvSpPr>
            <p:spPr bwMode="auto">
              <a:xfrm>
                <a:off x="4665" y="2237"/>
                <a:ext cx="43" cy="133"/>
              </a:xfrm>
              <a:custGeom>
                <a:avLst/>
                <a:gdLst>
                  <a:gd name="T0" fmla="*/ 0 w 43"/>
                  <a:gd name="T1" fmla="*/ 133 h 133"/>
                  <a:gd name="T2" fmla="*/ 43 w 43"/>
                  <a:gd name="T3" fmla="*/ 123 h 133"/>
                  <a:gd name="T4" fmla="*/ 0 w 43"/>
                  <a:gd name="T5" fmla="*/ 0 h 133"/>
                  <a:gd name="T6" fmla="*/ 0 w 43"/>
                  <a:gd name="T7" fmla="*/ 133 h 13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3"/>
                  <a:gd name="T13" fmla="*/ 0 h 133"/>
                  <a:gd name="T14" fmla="*/ 43 w 43"/>
                  <a:gd name="T15" fmla="*/ 133 h 13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3" h="133">
                    <a:moveTo>
                      <a:pt x="0" y="133"/>
                    </a:moveTo>
                    <a:lnTo>
                      <a:pt x="43" y="123"/>
                    </a:lnTo>
                    <a:lnTo>
                      <a:pt x="0" y="0"/>
                    </a:lnTo>
                    <a:lnTo>
                      <a:pt x="0" y="133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41" name="Freeform 3926"/>
              <p:cNvSpPr>
                <a:spLocks/>
              </p:cNvSpPr>
              <p:nvPr/>
            </p:nvSpPr>
            <p:spPr bwMode="auto">
              <a:xfrm>
                <a:off x="4761" y="2205"/>
                <a:ext cx="43" cy="155"/>
              </a:xfrm>
              <a:custGeom>
                <a:avLst/>
                <a:gdLst>
                  <a:gd name="T0" fmla="*/ 0 w 43"/>
                  <a:gd name="T1" fmla="*/ 149 h 155"/>
                  <a:gd name="T2" fmla="*/ 43 w 43"/>
                  <a:gd name="T3" fmla="*/ 155 h 155"/>
                  <a:gd name="T4" fmla="*/ 16 w 43"/>
                  <a:gd name="T5" fmla="*/ 0 h 155"/>
                  <a:gd name="T6" fmla="*/ 0 w 43"/>
                  <a:gd name="T7" fmla="*/ 149 h 15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3"/>
                  <a:gd name="T13" fmla="*/ 0 h 155"/>
                  <a:gd name="T14" fmla="*/ 43 w 43"/>
                  <a:gd name="T15" fmla="*/ 155 h 15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3" h="155">
                    <a:moveTo>
                      <a:pt x="0" y="149"/>
                    </a:moveTo>
                    <a:lnTo>
                      <a:pt x="43" y="155"/>
                    </a:lnTo>
                    <a:lnTo>
                      <a:pt x="16" y="0"/>
                    </a:lnTo>
                    <a:lnTo>
                      <a:pt x="0" y="149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42" name="Freeform 3927"/>
              <p:cNvSpPr>
                <a:spLocks/>
              </p:cNvSpPr>
              <p:nvPr/>
            </p:nvSpPr>
            <p:spPr bwMode="auto">
              <a:xfrm>
                <a:off x="4857" y="2226"/>
                <a:ext cx="54" cy="144"/>
              </a:xfrm>
              <a:custGeom>
                <a:avLst/>
                <a:gdLst>
                  <a:gd name="T0" fmla="*/ 0 w 54"/>
                  <a:gd name="T1" fmla="*/ 134 h 144"/>
                  <a:gd name="T2" fmla="*/ 38 w 54"/>
                  <a:gd name="T3" fmla="*/ 144 h 144"/>
                  <a:gd name="T4" fmla="*/ 54 w 54"/>
                  <a:gd name="T5" fmla="*/ 0 h 144"/>
                  <a:gd name="T6" fmla="*/ 0 w 54"/>
                  <a:gd name="T7" fmla="*/ 134 h 14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4"/>
                  <a:gd name="T13" fmla="*/ 0 h 144"/>
                  <a:gd name="T14" fmla="*/ 54 w 54"/>
                  <a:gd name="T15" fmla="*/ 144 h 14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4" h="144">
                    <a:moveTo>
                      <a:pt x="0" y="134"/>
                    </a:moveTo>
                    <a:lnTo>
                      <a:pt x="38" y="144"/>
                    </a:lnTo>
                    <a:lnTo>
                      <a:pt x="54" y="0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43" name="Freeform 3928"/>
              <p:cNvSpPr>
                <a:spLocks/>
              </p:cNvSpPr>
              <p:nvPr/>
            </p:nvSpPr>
            <p:spPr bwMode="auto">
              <a:xfrm>
                <a:off x="4937" y="2290"/>
                <a:ext cx="86" cy="118"/>
              </a:xfrm>
              <a:custGeom>
                <a:avLst/>
                <a:gdLst>
                  <a:gd name="T0" fmla="*/ 0 w 86"/>
                  <a:gd name="T1" fmla="*/ 102 h 118"/>
                  <a:gd name="T2" fmla="*/ 38 w 86"/>
                  <a:gd name="T3" fmla="*/ 118 h 118"/>
                  <a:gd name="T4" fmla="*/ 86 w 86"/>
                  <a:gd name="T5" fmla="*/ 0 h 118"/>
                  <a:gd name="T6" fmla="*/ 0 w 86"/>
                  <a:gd name="T7" fmla="*/ 102 h 1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6"/>
                  <a:gd name="T13" fmla="*/ 0 h 118"/>
                  <a:gd name="T14" fmla="*/ 86 w 86"/>
                  <a:gd name="T15" fmla="*/ 118 h 1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6" h="118">
                    <a:moveTo>
                      <a:pt x="0" y="102"/>
                    </a:moveTo>
                    <a:lnTo>
                      <a:pt x="38" y="118"/>
                    </a:lnTo>
                    <a:lnTo>
                      <a:pt x="86" y="0"/>
                    </a:lnTo>
                    <a:lnTo>
                      <a:pt x="0" y="102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44" name="Freeform 3929"/>
              <p:cNvSpPr>
                <a:spLocks/>
              </p:cNvSpPr>
              <p:nvPr/>
            </p:nvSpPr>
            <p:spPr bwMode="auto">
              <a:xfrm>
                <a:off x="4548" y="3102"/>
                <a:ext cx="64" cy="112"/>
              </a:xfrm>
              <a:custGeom>
                <a:avLst/>
                <a:gdLst>
                  <a:gd name="T0" fmla="*/ 32 w 64"/>
                  <a:gd name="T1" fmla="*/ 0 h 112"/>
                  <a:gd name="T2" fmla="*/ 64 w 64"/>
                  <a:gd name="T3" fmla="*/ 11 h 112"/>
                  <a:gd name="T4" fmla="*/ 0 w 64"/>
                  <a:gd name="T5" fmla="*/ 112 h 112"/>
                  <a:gd name="T6" fmla="*/ 32 w 64"/>
                  <a:gd name="T7" fmla="*/ 0 h 1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112"/>
                  <a:gd name="T14" fmla="*/ 64 w 64"/>
                  <a:gd name="T15" fmla="*/ 112 h 1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112">
                    <a:moveTo>
                      <a:pt x="32" y="0"/>
                    </a:moveTo>
                    <a:lnTo>
                      <a:pt x="64" y="11"/>
                    </a:lnTo>
                    <a:lnTo>
                      <a:pt x="0" y="112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45" name="Freeform 3930"/>
              <p:cNvSpPr>
                <a:spLocks/>
              </p:cNvSpPr>
              <p:nvPr/>
            </p:nvSpPr>
            <p:spPr bwMode="auto">
              <a:xfrm>
                <a:off x="4660" y="3129"/>
                <a:ext cx="43" cy="133"/>
              </a:xfrm>
              <a:custGeom>
                <a:avLst/>
                <a:gdLst>
                  <a:gd name="T0" fmla="*/ 0 w 43"/>
                  <a:gd name="T1" fmla="*/ 0 h 133"/>
                  <a:gd name="T2" fmla="*/ 43 w 43"/>
                  <a:gd name="T3" fmla="*/ 10 h 133"/>
                  <a:gd name="T4" fmla="*/ 0 w 43"/>
                  <a:gd name="T5" fmla="*/ 133 h 133"/>
                  <a:gd name="T6" fmla="*/ 0 w 43"/>
                  <a:gd name="T7" fmla="*/ 0 h 13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3"/>
                  <a:gd name="T13" fmla="*/ 0 h 133"/>
                  <a:gd name="T14" fmla="*/ 43 w 43"/>
                  <a:gd name="T15" fmla="*/ 133 h 13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3" h="133">
                    <a:moveTo>
                      <a:pt x="0" y="0"/>
                    </a:moveTo>
                    <a:lnTo>
                      <a:pt x="43" y="10"/>
                    </a:lnTo>
                    <a:lnTo>
                      <a:pt x="0" y="1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46" name="Freeform 3931"/>
              <p:cNvSpPr>
                <a:spLocks/>
              </p:cNvSpPr>
              <p:nvPr/>
            </p:nvSpPr>
            <p:spPr bwMode="auto">
              <a:xfrm>
                <a:off x="4756" y="3139"/>
                <a:ext cx="43" cy="155"/>
              </a:xfrm>
              <a:custGeom>
                <a:avLst/>
                <a:gdLst>
                  <a:gd name="T0" fmla="*/ 0 w 43"/>
                  <a:gd name="T1" fmla="*/ 0 h 155"/>
                  <a:gd name="T2" fmla="*/ 43 w 43"/>
                  <a:gd name="T3" fmla="*/ 0 h 155"/>
                  <a:gd name="T4" fmla="*/ 16 w 43"/>
                  <a:gd name="T5" fmla="*/ 155 h 155"/>
                  <a:gd name="T6" fmla="*/ 0 w 43"/>
                  <a:gd name="T7" fmla="*/ 0 h 15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3"/>
                  <a:gd name="T13" fmla="*/ 0 h 155"/>
                  <a:gd name="T14" fmla="*/ 43 w 43"/>
                  <a:gd name="T15" fmla="*/ 155 h 15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3" h="155">
                    <a:moveTo>
                      <a:pt x="0" y="0"/>
                    </a:moveTo>
                    <a:lnTo>
                      <a:pt x="43" y="0"/>
                    </a:lnTo>
                    <a:lnTo>
                      <a:pt x="16" y="15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47" name="Freeform 3932"/>
              <p:cNvSpPr>
                <a:spLocks/>
              </p:cNvSpPr>
              <p:nvPr/>
            </p:nvSpPr>
            <p:spPr bwMode="auto">
              <a:xfrm>
                <a:off x="4852" y="3129"/>
                <a:ext cx="53" cy="144"/>
              </a:xfrm>
              <a:custGeom>
                <a:avLst/>
                <a:gdLst>
                  <a:gd name="T0" fmla="*/ 0 w 53"/>
                  <a:gd name="T1" fmla="*/ 10 h 144"/>
                  <a:gd name="T2" fmla="*/ 37 w 53"/>
                  <a:gd name="T3" fmla="*/ 0 h 144"/>
                  <a:gd name="T4" fmla="*/ 53 w 53"/>
                  <a:gd name="T5" fmla="*/ 144 h 144"/>
                  <a:gd name="T6" fmla="*/ 0 w 53"/>
                  <a:gd name="T7" fmla="*/ 10 h 14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3"/>
                  <a:gd name="T13" fmla="*/ 0 h 144"/>
                  <a:gd name="T14" fmla="*/ 53 w 53"/>
                  <a:gd name="T15" fmla="*/ 144 h 14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3" h="144">
                    <a:moveTo>
                      <a:pt x="0" y="10"/>
                    </a:moveTo>
                    <a:lnTo>
                      <a:pt x="37" y="0"/>
                    </a:lnTo>
                    <a:lnTo>
                      <a:pt x="53" y="144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48" name="Freeform 3933"/>
              <p:cNvSpPr>
                <a:spLocks/>
              </p:cNvSpPr>
              <p:nvPr/>
            </p:nvSpPr>
            <p:spPr bwMode="auto">
              <a:xfrm>
                <a:off x="4932" y="3091"/>
                <a:ext cx="85" cy="118"/>
              </a:xfrm>
              <a:custGeom>
                <a:avLst/>
                <a:gdLst>
                  <a:gd name="T0" fmla="*/ 0 w 85"/>
                  <a:gd name="T1" fmla="*/ 16 h 118"/>
                  <a:gd name="T2" fmla="*/ 37 w 85"/>
                  <a:gd name="T3" fmla="*/ 0 h 118"/>
                  <a:gd name="T4" fmla="*/ 85 w 85"/>
                  <a:gd name="T5" fmla="*/ 118 h 118"/>
                  <a:gd name="T6" fmla="*/ 0 w 85"/>
                  <a:gd name="T7" fmla="*/ 16 h 1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5"/>
                  <a:gd name="T13" fmla="*/ 0 h 118"/>
                  <a:gd name="T14" fmla="*/ 85 w 85"/>
                  <a:gd name="T15" fmla="*/ 118 h 1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5" h="118">
                    <a:moveTo>
                      <a:pt x="0" y="16"/>
                    </a:moveTo>
                    <a:lnTo>
                      <a:pt x="37" y="0"/>
                    </a:lnTo>
                    <a:lnTo>
                      <a:pt x="85" y="118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49" name="Freeform 3934"/>
              <p:cNvSpPr>
                <a:spLocks/>
              </p:cNvSpPr>
              <p:nvPr/>
            </p:nvSpPr>
            <p:spPr bwMode="auto">
              <a:xfrm>
                <a:off x="4719" y="2712"/>
                <a:ext cx="42" cy="5"/>
              </a:xfrm>
              <a:custGeom>
                <a:avLst/>
                <a:gdLst>
                  <a:gd name="T0" fmla="*/ 0 w 42"/>
                  <a:gd name="T1" fmla="*/ 5 h 5"/>
                  <a:gd name="T2" fmla="*/ 5 w 42"/>
                  <a:gd name="T3" fmla="*/ 5 h 5"/>
                  <a:gd name="T4" fmla="*/ 5 w 42"/>
                  <a:gd name="T5" fmla="*/ 5 h 5"/>
                  <a:gd name="T6" fmla="*/ 10 w 42"/>
                  <a:gd name="T7" fmla="*/ 5 h 5"/>
                  <a:gd name="T8" fmla="*/ 16 w 42"/>
                  <a:gd name="T9" fmla="*/ 5 h 5"/>
                  <a:gd name="T10" fmla="*/ 16 w 42"/>
                  <a:gd name="T11" fmla="*/ 0 h 5"/>
                  <a:gd name="T12" fmla="*/ 21 w 42"/>
                  <a:gd name="T13" fmla="*/ 0 h 5"/>
                  <a:gd name="T14" fmla="*/ 26 w 42"/>
                  <a:gd name="T15" fmla="*/ 0 h 5"/>
                  <a:gd name="T16" fmla="*/ 32 w 42"/>
                  <a:gd name="T17" fmla="*/ 5 h 5"/>
                  <a:gd name="T18" fmla="*/ 37 w 42"/>
                  <a:gd name="T19" fmla="*/ 5 h 5"/>
                  <a:gd name="T20" fmla="*/ 37 w 42"/>
                  <a:gd name="T21" fmla="*/ 5 h 5"/>
                  <a:gd name="T22" fmla="*/ 42 w 42"/>
                  <a:gd name="T23" fmla="*/ 5 h 5"/>
                  <a:gd name="T24" fmla="*/ 42 w 42"/>
                  <a:gd name="T25" fmla="*/ 5 h 5"/>
                  <a:gd name="T26" fmla="*/ 0 w 42"/>
                  <a:gd name="T27" fmla="*/ 5 h 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2"/>
                  <a:gd name="T43" fmla="*/ 0 h 5"/>
                  <a:gd name="T44" fmla="*/ 42 w 42"/>
                  <a:gd name="T45" fmla="*/ 5 h 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2" h="5">
                    <a:moveTo>
                      <a:pt x="0" y="5"/>
                    </a:moveTo>
                    <a:lnTo>
                      <a:pt x="5" y="5"/>
                    </a:lnTo>
                    <a:lnTo>
                      <a:pt x="10" y="5"/>
                    </a:lnTo>
                    <a:lnTo>
                      <a:pt x="16" y="5"/>
                    </a:lnTo>
                    <a:lnTo>
                      <a:pt x="16" y="0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2" y="5"/>
                    </a:lnTo>
                    <a:lnTo>
                      <a:pt x="37" y="5"/>
                    </a:lnTo>
                    <a:lnTo>
                      <a:pt x="42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50" name="Freeform 3935"/>
              <p:cNvSpPr>
                <a:spLocks/>
              </p:cNvSpPr>
              <p:nvPr/>
            </p:nvSpPr>
            <p:spPr bwMode="auto">
              <a:xfrm>
                <a:off x="4719" y="2717"/>
                <a:ext cx="48" cy="32"/>
              </a:xfrm>
              <a:custGeom>
                <a:avLst/>
                <a:gdLst>
                  <a:gd name="T0" fmla="*/ 0 w 48"/>
                  <a:gd name="T1" fmla="*/ 32 h 32"/>
                  <a:gd name="T2" fmla="*/ 0 w 48"/>
                  <a:gd name="T3" fmla="*/ 6 h 32"/>
                  <a:gd name="T4" fmla="*/ 0 w 48"/>
                  <a:gd name="T5" fmla="*/ 6 h 32"/>
                  <a:gd name="T6" fmla="*/ 0 w 48"/>
                  <a:gd name="T7" fmla="*/ 0 h 32"/>
                  <a:gd name="T8" fmla="*/ 0 w 48"/>
                  <a:gd name="T9" fmla="*/ 0 h 32"/>
                  <a:gd name="T10" fmla="*/ 42 w 48"/>
                  <a:gd name="T11" fmla="*/ 0 h 32"/>
                  <a:gd name="T12" fmla="*/ 42 w 48"/>
                  <a:gd name="T13" fmla="*/ 0 h 32"/>
                  <a:gd name="T14" fmla="*/ 48 w 48"/>
                  <a:gd name="T15" fmla="*/ 6 h 32"/>
                  <a:gd name="T16" fmla="*/ 48 w 48"/>
                  <a:gd name="T17" fmla="*/ 6 h 32"/>
                  <a:gd name="T18" fmla="*/ 48 w 48"/>
                  <a:gd name="T19" fmla="*/ 32 h 32"/>
                  <a:gd name="T20" fmla="*/ 26 w 48"/>
                  <a:gd name="T21" fmla="*/ 32 h 32"/>
                  <a:gd name="T22" fmla="*/ 26 w 48"/>
                  <a:gd name="T23" fmla="*/ 11 h 32"/>
                  <a:gd name="T24" fmla="*/ 26 w 48"/>
                  <a:gd name="T25" fmla="*/ 6 h 32"/>
                  <a:gd name="T26" fmla="*/ 26 w 48"/>
                  <a:gd name="T27" fmla="*/ 6 h 32"/>
                  <a:gd name="T28" fmla="*/ 26 w 48"/>
                  <a:gd name="T29" fmla="*/ 6 h 32"/>
                  <a:gd name="T30" fmla="*/ 21 w 48"/>
                  <a:gd name="T31" fmla="*/ 6 h 32"/>
                  <a:gd name="T32" fmla="*/ 21 w 48"/>
                  <a:gd name="T33" fmla="*/ 6 h 32"/>
                  <a:gd name="T34" fmla="*/ 16 w 48"/>
                  <a:gd name="T35" fmla="*/ 6 h 32"/>
                  <a:gd name="T36" fmla="*/ 16 w 48"/>
                  <a:gd name="T37" fmla="*/ 6 h 32"/>
                  <a:gd name="T38" fmla="*/ 16 w 48"/>
                  <a:gd name="T39" fmla="*/ 11 h 32"/>
                  <a:gd name="T40" fmla="*/ 16 w 48"/>
                  <a:gd name="T41" fmla="*/ 32 h 32"/>
                  <a:gd name="T42" fmla="*/ 0 w 48"/>
                  <a:gd name="T43" fmla="*/ 32 h 3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48"/>
                  <a:gd name="T67" fmla="*/ 0 h 32"/>
                  <a:gd name="T68" fmla="*/ 48 w 48"/>
                  <a:gd name="T69" fmla="*/ 32 h 32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48" h="32">
                    <a:moveTo>
                      <a:pt x="0" y="32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42" y="0"/>
                    </a:lnTo>
                    <a:lnTo>
                      <a:pt x="48" y="6"/>
                    </a:lnTo>
                    <a:lnTo>
                      <a:pt x="48" y="32"/>
                    </a:lnTo>
                    <a:lnTo>
                      <a:pt x="26" y="32"/>
                    </a:lnTo>
                    <a:lnTo>
                      <a:pt x="26" y="11"/>
                    </a:lnTo>
                    <a:lnTo>
                      <a:pt x="26" y="6"/>
                    </a:lnTo>
                    <a:lnTo>
                      <a:pt x="21" y="6"/>
                    </a:lnTo>
                    <a:lnTo>
                      <a:pt x="16" y="6"/>
                    </a:lnTo>
                    <a:lnTo>
                      <a:pt x="16" y="11"/>
                    </a:lnTo>
                    <a:lnTo>
                      <a:pt x="16" y="32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51" name="Freeform 3936"/>
              <p:cNvSpPr>
                <a:spLocks/>
              </p:cNvSpPr>
              <p:nvPr/>
            </p:nvSpPr>
            <p:spPr bwMode="auto">
              <a:xfrm>
                <a:off x="4719" y="2749"/>
                <a:ext cx="48" cy="32"/>
              </a:xfrm>
              <a:custGeom>
                <a:avLst/>
                <a:gdLst>
                  <a:gd name="T0" fmla="*/ 0 w 48"/>
                  <a:gd name="T1" fmla="*/ 0 h 32"/>
                  <a:gd name="T2" fmla="*/ 0 w 48"/>
                  <a:gd name="T3" fmla="*/ 22 h 32"/>
                  <a:gd name="T4" fmla="*/ 0 w 48"/>
                  <a:gd name="T5" fmla="*/ 27 h 32"/>
                  <a:gd name="T6" fmla="*/ 0 w 48"/>
                  <a:gd name="T7" fmla="*/ 27 h 32"/>
                  <a:gd name="T8" fmla="*/ 5 w 48"/>
                  <a:gd name="T9" fmla="*/ 32 h 32"/>
                  <a:gd name="T10" fmla="*/ 5 w 48"/>
                  <a:gd name="T11" fmla="*/ 32 h 32"/>
                  <a:gd name="T12" fmla="*/ 10 w 48"/>
                  <a:gd name="T13" fmla="*/ 32 h 32"/>
                  <a:gd name="T14" fmla="*/ 16 w 48"/>
                  <a:gd name="T15" fmla="*/ 32 h 32"/>
                  <a:gd name="T16" fmla="*/ 16 w 48"/>
                  <a:gd name="T17" fmla="*/ 32 h 32"/>
                  <a:gd name="T18" fmla="*/ 21 w 48"/>
                  <a:gd name="T19" fmla="*/ 32 h 32"/>
                  <a:gd name="T20" fmla="*/ 26 w 48"/>
                  <a:gd name="T21" fmla="*/ 32 h 32"/>
                  <a:gd name="T22" fmla="*/ 32 w 48"/>
                  <a:gd name="T23" fmla="*/ 32 h 32"/>
                  <a:gd name="T24" fmla="*/ 37 w 48"/>
                  <a:gd name="T25" fmla="*/ 32 h 32"/>
                  <a:gd name="T26" fmla="*/ 37 w 48"/>
                  <a:gd name="T27" fmla="*/ 32 h 32"/>
                  <a:gd name="T28" fmla="*/ 42 w 48"/>
                  <a:gd name="T29" fmla="*/ 32 h 32"/>
                  <a:gd name="T30" fmla="*/ 42 w 48"/>
                  <a:gd name="T31" fmla="*/ 27 h 32"/>
                  <a:gd name="T32" fmla="*/ 48 w 48"/>
                  <a:gd name="T33" fmla="*/ 27 h 32"/>
                  <a:gd name="T34" fmla="*/ 48 w 48"/>
                  <a:gd name="T35" fmla="*/ 22 h 32"/>
                  <a:gd name="T36" fmla="*/ 48 w 48"/>
                  <a:gd name="T37" fmla="*/ 0 h 32"/>
                  <a:gd name="T38" fmla="*/ 26 w 48"/>
                  <a:gd name="T39" fmla="*/ 0 h 32"/>
                  <a:gd name="T40" fmla="*/ 26 w 48"/>
                  <a:gd name="T41" fmla="*/ 22 h 32"/>
                  <a:gd name="T42" fmla="*/ 26 w 48"/>
                  <a:gd name="T43" fmla="*/ 27 h 32"/>
                  <a:gd name="T44" fmla="*/ 26 w 48"/>
                  <a:gd name="T45" fmla="*/ 27 h 32"/>
                  <a:gd name="T46" fmla="*/ 26 w 48"/>
                  <a:gd name="T47" fmla="*/ 27 h 32"/>
                  <a:gd name="T48" fmla="*/ 21 w 48"/>
                  <a:gd name="T49" fmla="*/ 27 h 32"/>
                  <a:gd name="T50" fmla="*/ 21 w 48"/>
                  <a:gd name="T51" fmla="*/ 27 h 32"/>
                  <a:gd name="T52" fmla="*/ 16 w 48"/>
                  <a:gd name="T53" fmla="*/ 27 h 32"/>
                  <a:gd name="T54" fmla="*/ 16 w 48"/>
                  <a:gd name="T55" fmla="*/ 27 h 32"/>
                  <a:gd name="T56" fmla="*/ 16 w 48"/>
                  <a:gd name="T57" fmla="*/ 22 h 32"/>
                  <a:gd name="T58" fmla="*/ 16 w 48"/>
                  <a:gd name="T59" fmla="*/ 0 h 32"/>
                  <a:gd name="T60" fmla="*/ 0 w 48"/>
                  <a:gd name="T61" fmla="*/ 0 h 32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48"/>
                  <a:gd name="T94" fmla="*/ 0 h 32"/>
                  <a:gd name="T95" fmla="*/ 48 w 48"/>
                  <a:gd name="T96" fmla="*/ 32 h 32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48" h="32">
                    <a:moveTo>
                      <a:pt x="0" y="0"/>
                    </a:moveTo>
                    <a:lnTo>
                      <a:pt x="0" y="22"/>
                    </a:lnTo>
                    <a:lnTo>
                      <a:pt x="0" y="27"/>
                    </a:lnTo>
                    <a:lnTo>
                      <a:pt x="5" y="32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21" y="32"/>
                    </a:lnTo>
                    <a:lnTo>
                      <a:pt x="26" y="32"/>
                    </a:lnTo>
                    <a:lnTo>
                      <a:pt x="32" y="32"/>
                    </a:lnTo>
                    <a:lnTo>
                      <a:pt x="37" y="32"/>
                    </a:lnTo>
                    <a:lnTo>
                      <a:pt x="42" y="32"/>
                    </a:lnTo>
                    <a:lnTo>
                      <a:pt x="42" y="27"/>
                    </a:lnTo>
                    <a:lnTo>
                      <a:pt x="48" y="27"/>
                    </a:lnTo>
                    <a:lnTo>
                      <a:pt x="48" y="22"/>
                    </a:lnTo>
                    <a:lnTo>
                      <a:pt x="48" y="0"/>
                    </a:lnTo>
                    <a:lnTo>
                      <a:pt x="26" y="0"/>
                    </a:lnTo>
                    <a:lnTo>
                      <a:pt x="26" y="22"/>
                    </a:lnTo>
                    <a:lnTo>
                      <a:pt x="26" y="27"/>
                    </a:lnTo>
                    <a:lnTo>
                      <a:pt x="21" y="27"/>
                    </a:lnTo>
                    <a:lnTo>
                      <a:pt x="16" y="27"/>
                    </a:lnTo>
                    <a:lnTo>
                      <a:pt x="16" y="22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52" name="Rectangle 3937"/>
              <p:cNvSpPr>
                <a:spLocks noChangeArrowheads="1"/>
              </p:cNvSpPr>
              <p:nvPr/>
            </p:nvSpPr>
            <p:spPr bwMode="auto">
              <a:xfrm>
                <a:off x="4783" y="2717"/>
                <a:ext cx="16" cy="64"/>
              </a:xfrm>
              <a:prstGeom prst="rect">
                <a:avLst/>
              </a:prstGeom>
              <a:solidFill>
                <a:srgbClr val="25221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53" name="Freeform 3938"/>
              <p:cNvSpPr>
                <a:spLocks/>
              </p:cNvSpPr>
              <p:nvPr/>
            </p:nvSpPr>
            <p:spPr bwMode="auto">
              <a:xfrm>
                <a:off x="4815" y="2717"/>
                <a:ext cx="42" cy="64"/>
              </a:xfrm>
              <a:custGeom>
                <a:avLst/>
                <a:gdLst>
                  <a:gd name="T0" fmla="*/ 0 w 42"/>
                  <a:gd name="T1" fmla="*/ 64 h 64"/>
                  <a:gd name="T2" fmla="*/ 0 w 42"/>
                  <a:gd name="T3" fmla="*/ 0 h 64"/>
                  <a:gd name="T4" fmla="*/ 16 w 42"/>
                  <a:gd name="T5" fmla="*/ 0 h 64"/>
                  <a:gd name="T6" fmla="*/ 16 w 42"/>
                  <a:gd name="T7" fmla="*/ 59 h 64"/>
                  <a:gd name="T8" fmla="*/ 42 w 42"/>
                  <a:gd name="T9" fmla="*/ 59 h 64"/>
                  <a:gd name="T10" fmla="*/ 42 w 42"/>
                  <a:gd name="T11" fmla="*/ 64 h 64"/>
                  <a:gd name="T12" fmla="*/ 0 w 42"/>
                  <a:gd name="T13" fmla="*/ 64 h 6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2"/>
                  <a:gd name="T22" fmla="*/ 0 h 64"/>
                  <a:gd name="T23" fmla="*/ 42 w 42"/>
                  <a:gd name="T24" fmla="*/ 64 h 6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2" h="64">
                    <a:moveTo>
                      <a:pt x="0" y="64"/>
                    </a:moveTo>
                    <a:lnTo>
                      <a:pt x="0" y="0"/>
                    </a:lnTo>
                    <a:lnTo>
                      <a:pt x="16" y="0"/>
                    </a:lnTo>
                    <a:lnTo>
                      <a:pt x="16" y="59"/>
                    </a:lnTo>
                    <a:lnTo>
                      <a:pt x="42" y="59"/>
                    </a:lnTo>
                    <a:lnTo>
                      <a:pt x="42" y="64"/>
                    </a:lnTo>
                    <a:lnTo>
                      <a:pt x="0" y="64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54" name="Freeform 3939"/>
              <p:cNvSpPr>
                <a:spLocks/>
              </p:cNvSpPr>
              <p:nvPr/>
            </p:nvSpPr>
            <p:spPr bwMode="auto">
              <a:xfrm>
                <a:off x="4724" y="2707"/>
                <a:ext cx="48" cy="10"/>
              </a:xfrm>
              <a:custGeom>
                <a:avLst/>
                <a:gdLst>
                  <a:gd name="T0" fmla="*/ 0 w 48"/>
                  <a:gd name="T1" fmla="*/ 10 h 10"/>
                  <a:gd name="T2" fmla="*/ 0 w 48"/>
                  <a:gd name="T3" fmla="*/ 10 h 10"/>
                  <a:gd name="T4" fmla="*/ 0 w 48"/>
                  <a:gd name="T5" fmla="*/ 5 h 10"/>
                  <a:gd name="T6" fmla="*/ 0 w 48"/>
                  <a:gd name="T7" fmla="*/ 5 h 10"/>
                  <a:gd name="T8" fmla="*/ 5 w 48"/>
                  <a:gd name="T9" fmla="*/ 5 h 10"/>
                  <a:gd name="T10" fmla="*/ 5 w 48"/>
                  <a:gd name="T11" fmla="*/ 0 h 10"/>
                  <a:gd name="T12" fmla="*/ 11 w 48"/>
                  <a:gd name="T13" fmla="*/ 0 h 10"/>
                  <a:gd name="T14" fmla="*/ 16 w 48"/>
                  <a:gd name="T15" fmla="*/ 0 h 10"/>
                  <a:gd name="T16" fmla="*/ 21 w 48"/>
                  <a:gd name="T17" fmla="*/ 0 h 10"/>
                  <a:gd name="T18" fmla="*/ 21 w 48"/>
                  <a:gd name="T19" fmla="*/ 0 h 10"/>
                  <a:gd name="T20" fmla="*/ 27 w 48"/>
                  <a:gd name="T21" fmla="*/ 0 h 10"/>
                  <a:gd name="T22" fmla="*/ 32 w 48"/>
                  <a:gd name="T23" fmla="*/ 0 h 10"/>
                  <a:gd name="T24" fmla="*/ 37 w 48"/>
                  <a:gd name="T25" fmla="*/ 0 h 10"/>
                  <a:gd name="T26" fmla="*/ 37 w 48"/>
                  <a:gd name="T27" fmla="*/ 0 h 10"/>
                  <a:gd name="T28" fmla="*/ 43 w 48"/>
                  <a:gd name="T29" fmla="*/ 5 h 10"/>
                  <a:gd name="T30" fmla="*/ 48 w 48"/>
                  <a:gd name="T31" fmla="*/ 5 h 10"/>
                  <a:gd name="T32" fmla="*/ 48 w 48"/>
                  <a:gd name="T33" fmla="*/ 5 h 10"/>
                  <a:gd name="T34" fmla="*/ 48 w 48"/>
                  <a:gd name="T35" fmla="*/ 10 h 10"/>
                  <a:gd name="T36" fmla="*/ 48 w 48"/>
                  <a:gd name="T37" fmla="*/ 10 h 10"/>
                  <a:gd name="T38" fmla="*/ 32 w 48"/>
                  <a:gd name="T39" fmla="*/ 10 h 10"/>
                  <a:gd name="T40" fmla="*/ 32 w 48"/>
                  <a:gd name="T41" fmla="*/ 10 h 10"/>
                  <a:gd name="T42" fmla="*/ 27 w 48"/>
                  <a:gd name="T43" fmla="*/ 10 h 10"/>
                  <a:gd name="T44" fmla="*/ 27 w 48"/>
                  <a:gd name="T45" fmla="*/ 5 h 10"/>
                  <a:gd name="T46" fmla="*/ 27 w 48"/>
                  <a:gd name="T47" fmla="*/ 5 h 10"/>
                  <a:gd name="T48" fmla="*/ 27 w 48"/>
                  <a:gd name="T49" fmla="*/ 5 h 10"/>
                  <a:gd name="T50" fmla="*/ 21 w 48"/>
                  <a:gd name="T51" fmla="*/ 5 h 10"/>
                  <a:gd name="T52" fmla="*/ 21 w 48"/>
                  <a:gd name="T53" fmla="*/ 5 h 10"/>
                  <a:gd name="T54" fmla="*/ 21 w 48"/>
                  <a:gd name="T55" fmla="*/ 10 h 10"/>
                  <a:gd name="T56" fmla="*/ 16 w 48"/>
                  <a:gd name="T57" fmla="*/ 10 h 10"/>
                  <a:gd name="T58" fmla="*/ 16 w 48"/>
                  <a:gd name="T59" fmla="*/ 10 h 10"/>
                  <a:gd name="T60" fmla="*/ 0 w 48"/>
                  <a:gd name="T61" fmla="*/ 10 h 1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48"/>
                  <a:gd name="T94" fmla="*/ 0 h 10"/>
                  <a:gd name="T95" fmla="*/ 48 w 48"/>
                  <a:gd name="T96" fmla="*/ 10 h 1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48" h="10">
                    <a:moveTo>
                      <a:pt x="0" y="10"/>
                    </a:moveTo>
                    <a:lnTo>
                      <a:pt x="0" y="10"/>
                    </a:lnTo>
                    <a:lnTo>
                      <a:pt x="0" y="5"/>
                    </a:lnTo>
                    <a:lnTo>
                      <a:pt x="5" y="5"/>
                    </a:lnTo>
                    <a:lnTo>
                      <a:pt x="5" y="0"/>
                    </a:lnTo>
                    <a:lnTo>
                      <a:pt x="11" y="0"/>
                    </a:lnTo>
                    <a:lnTo>
                      <a:pt x="16" y="0"/>
                    </a:lnTo>
                    <a:lnTo>
                      <a:pt x="21" y="0"/>
                    </a:lnTo>
                    <a:lnTo>
                      <a:pt x="27" y="0"/>
                    </a:lnTo>
                    <a:lnTo>
                      <a:pt x="32" y="0"/>
                    </a:lnTo>
                    <a:lnTo>
                      <a:pt x="37" y="0"/>
                    </a:lnTo>
                    <a:lnTo>
                      <a:pt x="43" y="5"/>
                    </a:lnTo>
                    <a:lnTo>
                      <a:pt x="48" y="5"/>
                    </a:lnTo>
                    <a:lnTo>
                      <a:pt x="48" y="10"/>
                    </a:lnTo>
                    <a:lnTo>
                      <a:pt x="32" y="10"/>
                    </a:lnTo>
                    <a:lnTo>
                      <a:pt x="27" y="10"/>
                    </a:lnTo>
                    <a:lnTo>
                      <a:pt x="27" y="5"/>
                    </a:lnTo>
                    <a:lnTo>
                      <a:pt x="21" y="5"/>
                    </a:lnTo>
                    <a:lnTo>
                      <a:pt x="21" y="10"/>
                    </a:lnTo>
                    <a:lnTo>
                      <a:pt x="16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55" name="Rectangle 3940"/>
              <p:cNvSpPr>
                <a:spLocks noChangeArrowheads="1"/>
              </p:cNvSpPr>
              <p:nvPr/>
            </p:nvSpPr>
            <p:spPr bwMode="auto">
              <a:xfrm>
                <a:off x="4724" y="2717"/>
                <a:ext cx="16" cy="22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56" name="Rectangle 3941"/>
              <p:cNvSpPr>
                <a:spLocks noChangeArrowheads="1"/>
              </p:cNvSpPr>
              <p:nvPr/>
            </p:nvSpPr>
            <p:spPr bwMode="auto">
              <a:xfrm>
                <a:off x="4756" y="2717"/>
                <a:ext cx="16" cy="22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57" name="Freeform 3942"/>
              <p:cNvSpPr>
                <a:spLocks/>
              </p:cNvSpPr>
              <p:nvPr/>
            </p:nvSpPr>
            <p:spPr bwMode="auto">
              <a:xfrm>
                <a:off x="4724" y="2739"/>
                <a:ext cx="48" cy="37"/>
              </a:xfrm>
              <a:custGeom>
                <a:avLst/>
                <a:gdLst>
                  <a:gd name="T0" fmla="*/ 0 w 48"/>
                  <a:gd name="T1" fmla="*/ 0 h 37"/>
                  <a:gd name="T2" fmla="*/ 0 w 48"/>
                  <a:gd name="T3" fmla="*/ 26 h 37"/>
                  <a:gd name="T4" fmla="*/ 0 w 48"/>
                  <a:gd name="T5" fmla="*/ 26 h 37"/>
                  <a:gd name="T6" fmla="*/ 0 w 48"/>
                  <a:gd name="T7" fmla="*/ 32 h 37"/>
                  <a:gd name="T8" fmla="*/ 5 w 48"/>
                  <a:gd name="T9" fmla="*/ 32 h 37"/>
                  <a:gd name="T10" fmla="*/ 5 w 48"/>
                  <a:gd name="T11" fmla="*/ 32 h 37"/>
                  <a:gd name="T12" fmla="*/ 11 w 48"/>
                  <a:gd name="T13" fmla="*/ 37 h 37"/>
                  <a:gd name="T14" fmla="*/ 16 w 48"/>
                  <a:gd name="T15" fmla="*/ 37 h 37"/>
                  <a:gd name="T16" fmla="*/ 21 w 48"/>
                  <a:gd name="T17" fmla="*/ 37 h 37"/>
                  <a:gd name="T18" fmla="*/ 21 w 48"/>
                  <a:gd name="T19" fmla="*/ 37 h 37"/>
                  <a:gd name="T20" fmla="*/ 27 w 48"/>
                  <a:gd name="T21" fmla="*/ 37 h 37"/>
                  <a:gd name="T22" fmla="*/ 32 w 48"/>
                  <a:gd name="T23" fmla="*/ 37 h 37"/>
                  <a:gd name="T24" fmla="*/ 37 w 48"/>
                  <a:gd name="T25" fmla="*/ 37 h 37"/>
                  <a:gd name="T26" fmla="*/ 37 w 48"/>
                  <a:gd name="T27" fmla="*/ 32 h 37"/>
                  <a:gd name="T28" fmla="*/ 43 w 48"/>
                  <a:gd name="T29" fmla="*/ 32 h 37"/>
                  <a:gd name="T30" fmla="*/ 48 w 48"/>
                  <a:gd name="T31" fmla="*/ 32 h 37"/>
                  <a:gd name="T32" fmla="*/ 48 w 48"/>
                  <a:gd name="T33" fmla="*/ 26 h 37"/>
                  <a:gd name="T34" fmla="*/ 48 w 48"/>
                  <a:gd name="T35" fmla="*/ 26 h 37"/>
                  <a:gd name="T36" fmla="*/ 48 w 48"/>
                  <a:gd name="T37" fmla="*/ 0 h 37"/>
                  <a:gd name="T38" fmla="*/ 32 w 48"/>
                  <a:gd name="T39" fmla="*/ 0 h 37"/>
                  <a:gd name="T40" fmla="*/ 32 w 48"/>
                  <a:gd name="T41" fmla="*/ 21 h 37"/>
                  <a:gd name="T42" fmla="*/ 27 w 48"/>
                  <a:gd name="T43" fmla="*/ 26 h 37"/>
                  <a:gd name="T44" fmla="*/ 27 w 48"/>
                  <a:gd name="T45" fmla="*/ 26 h 37"/>
                  <a:gd name="T46" fmla="*/ 27 w 48"/>
                  <a:gd name="T47" fmla="*/ 26 h 37"/>
                  <a:gd name="T48" fmla="*/ 27 w 48"/>
                  <a:gd name="T49" fmla="*/ 26 h 37"/>
                  <a:gd name="T50" fmla="*/ 21 w 48"/>
                  <a:gd name="T51" fmla="*/ 26 h 37"/>
                  <a:gd name="T52" fmla="*/ 21 w 48"/>
                  <a:gd name="T53" fmla="*/ 26 h 37"/>
                  <a:gd name="T54" fmla="*/ 21 w 48"/>
                  <a:gd name="T55" fmla="*/ 26 h 37"/>
                  <a:gd name="T56" fmla="*/ 16 w 48"/>
                  <a:gd name="T57" fmla="*/ 21 h 37"/>
                  <a:gd name="T58" fmla="*/ 16 w 48"/>
                  <a:gd name="T59" fmla="*/ 0 h 37"/>
                  <a:gd name="T60" fmla="*/ 0 w 48"/>
                  <a:gd name="T61" fmla="*/ 0 h 37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48"/>
                  <a:gd name="T94" fmla="*/ 0 h 37"/>
                  <a:gd name="T95" fmla="*/ 48 w 48"/>
                  <a:gd name="T96" fmla="*/ 37 h 37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48" h="37">
                    <a:moveTo>
                      <a:pt x="0" y="0"/>
                    </a:moveTo>
                    <a:lnTo>
                      <a:pt x="0" y="26"/>
                    </a:lnTo>
                    <a:lnTo>
                      <a:pt x="0" y="32"/>
                    </a:lnTo>
                    <a:lnTo>
                      <a:pt x="5" y="32"/>
                    </a:lnTo>
                    <a:lnTo>
                      <a:pt x="11" y="37"/>
                    </a:lnTo>
                    <a:lnTo>
                      <a:pt x="16" y="37"/>
                    </a:lnTo>
                    <a:lnTo>
                      <a:pt x="21" y="37"/>
                    </a:lnTo>
                    <a:lnTo>
                      <a:pt x="27" y="37"/>
                    </a:lnTo>
                    <a:lnTo>
                      <a:pt x="32" y="37"/>
                    </a:lnTo>
                    <a:lnTo>
                      <a:pt x="37" y="37"/>
                    </a:lnTo>
                    <a:lnTo>
                      <a:pt x="37" y="32"/>
                    </a:lnTo>
                    <a:lnTo>
                      <a:pt x="43" y="32"/>
                    </a:lnTo>
                    <a:lnTo>
                      <a:pt x="48" y="32"/>
                    </a:lnTo>
                    <a:lnTo>
                      <a:pt x="48" y="26"/>
                    </a:lnTo>
                    <a:lnTo>
                      <a:pt x="48" y="0"/>
                    </a:lnTo>
                    <a:lnTo>
                      <a:pt x="32" y="0"/>
                    </a:lnTo>
                    <a:lnTo>
                      <a:pt x="32" y="21"/>
                    </a:lnTo>
                    <a:lnTo>
                      <a:pt x="27" y="26"/>
                    </a:lnTo>
                    <a:lnTo>
                      <a:pt x="21" y="26"/>
                    </a:lnTo>
                    <a:lnTo>
                      <a:pt x="16" y="21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58" name="Rectangle 3943"/>
              <p:cNvSpPr>
                <a:spLocks noChangeArrowheads="1"/>
              </p:cNvSpPr>
              <p:nvPr/>
            </p:nvSpPr>
            <p:spPr bwMode="auto">
              <a:xfrm>
                <a:off x="4788" y="2707"/>
                <a:ext cx="16" cy="6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59" name="Freeform 3944"/>
              <p:cNvSpPr>
                <a:spLocks/>
              </p:cNvSpPr>
              <p:nvPr/>
            </p:nvSpPr>
            <p:spPr bwMode="auto">
              <a:xfrm>
                <a:off x="4820" y="2707"/>
                <a:ext cx="43" cy="69"/>
              </a:xfrm>
              <a:custGeom>
                <a:avLst/>
                <a:gdLst>
                  <a:gd name="T0" fmla="*/ 0 w 43"/>
                  <a:gd name="T1" fmla="*/ 69 h 69"/>
                  <a:gd name="T2" fmla="*/ 0 w 43"/>
                  <a:gd name="T3" fmla="*/ 0 h 69"/>
                  <a:gd name="T4" fmla="*/ 16 w 43"/>
                  <a:gd name="T5" fmla="*/ 0 h 69"/>
                  <a:gd name="T6" fmla="*/ 16 w 43"/>
                  <a:gd name="T7" fmla="*/ 58 h 69"/>
                  <a:gd name="T8" fmla="*/ 43 w 43"/>
                  <a:gd name="T9" fmla="*/ 58 h 69"/>
                  <a:gd name="T10" fmla="*/ 43 w 43"/>
                  <a:gd name="T11" fmla="*/ 69 h 69"/>
                  <a:gd name="T12" fmla="*/ 0 w 43"/>
                  <a:gd name="T13" fmla="*/ 69 h 6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3"/>
                  <a:gd name="T22" fmla="*/ 0 h 69"/>
                  <a:gd name="T23" fmla="*/ 43 w 43"/>
                  <a:gd name="T24" fmla="*/ 69 h 6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3" h="69">
                    <a:moveTo>
                      <a:pt x="0" y="69"/>
                    </a:moveTo>
                    <a:lnTo>
                      <a:pt x="0" y="0"/>
                    </a:lnTo>
                    <a:lnTo>
                      <a:pt x="16" y="0"/>
                    </a:lnTo>
                    <a:lnTo>
                      <a:pt x="16" y="58"/>
                    </a:lnTo>
                    <a:lnTo>
                      <a:pt x="43" y="58"/>
                    </a:lnTo>
                    <a:lnTo>
                      <a:pt x="43" y="69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60" name="Freeform 3945"/>
              <p:cNvSpPr>
                <a:spLocks/>
              </p:cNvSpPr>
              <p:nvPr/>
            </p:nvSpPr>
            <p:spPr bwMode="auto">
              <a:xfrm>
                <a:off x="4991" y="2931"/>
                <a:ext cx="101" cy="80"/>
              </a:xfrm>
              <a:custGeom>
                <a:avLst/>
                <a:gdLst>
                  <a:gd name="T0" fmla="*/ 0 w 101"/>
                  <a:gd name="T1" fmla="*/ 32 h 80"/>
                  <a:gd name="T2" fmla="*/ 16 w 101"/>
                  <a:gd name="T3" fmla="*/ 0 h 80"/>
                  <a:gd name="T4" fmla="*/ 101 w 101"/>
                  <a:gd name="T5" fmla="*/ 80 h 80"/>
                  <a:gd name="T6" fmla="*/ 0 w 101"/>
                  <a:gd name="T7" fmla="*/ 32 h 8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1"/>
                  <a:gd name="T13" fmla="*/ 0 h 80"/>
                  <a:gd name="T14" fmla="*/ 101 w 101"/>
                  <a:gd name="T15" fmla="*/ 80 h 8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1" h="80">
                    <a:moveTo>
                      <a:pt x="0" y="32"/>
                    </a:moveTo>
                    <a:lnTo>
                      <a:pt x="16" y="0"/>
                    </a:lnTo>
                    <a:lnTo>
                      <a:pt x="101" y="8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61" name="Freeform 3946"/>
              <p:cNvSpPr>
                <a:spLocks/>
              </p:cNvSpPr>
              <p:nvPr/>
            </p:nvSpPr>
            <p:spPr bwMode="auto">
              <a:xfrm>
                <a:off x="5023" y="2840"/>
                <a:ext cx="128" cy="59"/>
              </a:xfrm>
              <a:custGeom>
                <a:avLst/>
                <a:gdLst>
                  <a:gd name="T0" fmla="*/ 0 w 128"/>
                  <a:gd name="T1" fmla="*/ 43 h 59"/>
                  <a:gd name="T2" fmla="*/ 10 w 128"/>
                  <a:gd name="T3" fmla="*/ 0 h 59"/>
                  <a:gd name="T4" fmla="*/ 128 w 128"/>
                  <a:gd name="T5" fmla="*/ 59 h 59"/>
                  <a:gd name="T6" fmla="*/ 0 w 128"/>
                  <a:gd name="T7" fmla="*/ 43 h 5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28"/>
                  <a:gd name="T13" fmla="*/ 0 h 59"/>
                  <a:gd name="T14" fmla="*/ 128 w 128"/>
                  <a:gd name="T15" fmla="*/ 59 h 5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28" h="59">
                    <a:moveTo>
                      <a:pt x="0" y="43"/>
                    </a:moveTo>
                    <a:lnTo>
                      <a:pt x="10" y="0"/>
                    </a:lnTo>
                    <a:lnTo>
                      <a:pt x="128" y="59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62" name="Freeform 3947"/>
              <p:cNvSpPr>
                <a:spLocks/>
              </p:cNvSpPr>
              <p:nvPr/>
            </p:nvSpPr>
            <p:spPr bwMode="auto">
              <a:xfrm>
                <a:off x="5044" y="2733"/>
                <a:ext cx="144" cy="48"/>
              </a:xfrm>
              <a:custGeom>
                <a:avLst/>
                <a:gdLst>
                  <a:gd name="T0" fmla="*/ 0 w 144"/>
                  <a:gd name="T1" fmla="*/ 48 h 48"/>
                  <a:gd name="T2" fmla="*/ 5 w 144"/>
                  <a:gd name="T3" fmla="*/ 0 h 48"/>
                  <a:gd name="T4" fmla="*/ 144 w 144"/>
                  <a:gd name="T5" fmla="*/ 48 h 48"/>
                  <a:gd name="T6" fmla="*/ 0 w 144"/>
                  <a:gd name="T7" fmla="*/ 48 h 4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4"/>
                  <a:gd name="T13" fmla="*/ 0 h 48"/>
                  <a:gd name="T14" fmla="*/ 144 w 144"/>
                  <a:gd name="T15" fmla="*/ 48 h 4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4" h="48">
                    <a:moveTo>
                      <a:pt x="0" y="48"/>
                    </a:moveTo>
                    <a:lnTo>
                      <a:pt x="5" y="0"/>
                    </a:lnTo>
                    <a:lnTo>
                      <a:pt x="144" y="48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63" name="Freeform 3948"/>
              <p:cNvSpPr>
                <a:spLocks/>
              </p:cNvSpPr>
              <p:nvPr/>
            </p:nvSpPr>
            <p:spPr bwMode="auto">
              <a:xfrm>
                <a:off x="5049" y="2637"/>
                <a:ext cx="134" cy="43"/>
              </a:xfrm>
              <a:custGeom>
                <a:avLst/>
                <a:gdLst>
                  <a:gd name="T0" fmla="*/ 0 w 134"/>
                  <a:gd name="T1" fmla="*/ 43 h 43"/>
                  <a:gd name="T2" fmla="*/ 0 w 134"/>
                  <a:gd name="T3" fmla="*/ 0 h 43"/>
                  <a:gd name="T4" fmla="*/ 134 w 134"/>
                  <a:gd name="T5" fmla="*/ 0 h 43"/>
                  <a:gd name="T6" fmla="*/ 0 w 134"/>
                  <a:gd name="T7" fmla="*/ 43 h 4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4"/>
                  <a:gd name="T13" fmla="*/ 0 h 43"/>
                  <a:gd name="T14" fmla="*/ 134 w 134"/>
                  <a:gd name="T15" fmla="*/ 43 h 4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4" h="43">
                    <a:moveTo>
                      <a:pt x="0" y="43"/>
                    </a:moveTo>
                    <a:lnTo>
                      <a:pt x="0" y="0"/>
                    </a:lnTo>
                    <a:lnTo>
                      <a:pt x="134" y="0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64" name="Freeform 3949"/>
              <p:cNvSpPr>
                <a:spLocks/>
              </p:cNvSpPr>
              <p:nvPr/>
            </p:nvSpPr>
            <p:spPr bwMode="auto">
              <a:xfrm>
                <a:off x="5023" y="2514"/>
                <a:ext cx="117" cy="75"/>
              </a:xfrm>
              <a:custGeom>
                <a:avLst/>
                <a:gdLst>
                  <a:gd name="T0" fmla="*/ 10 w 117"/>
                  <a:gd name="T1" fmla="*/ 75 h 75"/>
                  <a:gd name="T2" fmla="*/ 0 w 117"/>
                  <a:gd name="T3" fmla="*/ 38 h 75"/>
                  <a:gd name="T4" fmla="*/ 117 w 117"/>
                  <a:gd name="T5" fmla="*/ 0 h 75"/>
                  <a:gd name="T6" fmla="*/ 10 w 117"/>
                  <a:gd name="T7" fmla="*/ 75 h 7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7"/>
                  <a:gd name="T13" fmla="*/ 0 h 75"/>
                  <a:gd name="T14" fmla="*/ 117 w 117"/>
                  <a:gd name="T15" fmla="*/ 75 h 7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7" h="75">
                    <a:moveTo>
                      <a:pt x="10" y="75"/>
                    </a:moveTo>
                    <a:lnTo>
                      <a:pt x="0" y="38"/>
                    </a:lnTo>
                    <a:lnTo>
                      <a:pt x="117" y="0"/>
                    </a:lnTo>
                    <a:lnTo>
                      <a:pt x="10" y="75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65" name="Freeform 3950"/>
              <p:cNvSpPr>
                <a:spLocks/>
              </p:cNvSpPr>
              <p:nvPr/>
            </p:nvSpPr>
            <p:spPr bwMode="auto">
              <a:xfrm>
                <a:off x="4463" y="2920"/>
                <a:ext cx="101" cy="80"/>
              </a:xfrm>
              <a:custGeom>
                <a:avLst/>
                <a:gdLst>
                  <a:gd name="T0" fmla="*/ 101 w 101"/>
                  <a:gd name="T1" fmla="*/ 32 h 80"/>
                  <a:gd name="T2" fmla="*/ 85 w 101"/>
                  <a:gd name="T3" fmla="*/ 0 h 80"/>
                  <a:gd name="T4" fmla="*/ 0 w 101"/>
                  <a:gd name="T5" fmla="*/ 80 h 80"/>
                  <a:gd name="T6" fmla="*/ 101 w 101"/>
                  <a:gd name="T7" fmla="*/ 32 h 8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1"/>
                  <a:gd name="T13" fmla="*/ 0 h 80"/>
                  <a:gd name="T14" fmla="*/ 101 w 101"/>
                  <a:gd name="T15" fmla="*/ 80 h 8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1" h="80">
                    <a:moveTo>
                      <a:pt x="101" y="32"/>
                    </a:moveTo>
                    <a:lnTo>
                      <a:pt x="85" y="0"/>
                    </a:lnTo>
                    <a:lnTo>
                      <a:pt x="0" y="80"/>
                    </a:lnTo>
                    <a:lnTo>
                      <a:pt x="101" y="32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66" name="Freeform 3951"/>
              <p:cNvSpPr>
                <a:spLocks/>
              </p:cNvSpPr>
              <p:nvPr/>
            </p:nvSpPr>
            <p:spPr bwMode="auto">
              <a:xfrm>
                <a:off x="4404" y="2830"/>
                <a:ext cx="123" cy="58"/>
              </a:xfrm>
              <a:custGeom>
                <a:avLst/>
                <a:gdLst>
                  <a:gd name="T0" fmla="*/ 123 w 123"/>
                  <a:gd name="T1" fmla="*/ 42 h 58"/>
                  <a:gd name="T2" fmla="*/ 112 w 123"/>
                  <a:gd name="T3" fmla="*/ 0 h 58"/>
                  <a:gd name="T4" fmla="*/ 0 w 123"/>
                  <a:gd name="T5" fmla="*/ 58 h 58"/>
                  <a:gd name="T6" fmla="*/ 123 w 123"/>
                  <a:gd name="T7" fmla="*/ 42 h 5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23"/>
                  <a:gd name="T13" fmla="*/ 0 h 58"/>
                  <a:gd name="T14" fmla="*/ 123 w 123"/>
                  <a:gd name="T15" fmla="*/ 58 h 5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23" h="58">
                    <a:moveTo>
                      <a:pt x="123" y="42"/>
                    </a:moveTo>
                    <a:lnTo>
                      <a:pt x="112" y="0"/>
                    </a:lnTo>
                    <a:lnTo>
                      <a:pt x="0" y="58"/>
                    </a:lnTo>
                    <a:lnTo>
                      <a:pt x="123" y="42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67" name="Freeform 3952"/>
              <p:cNvSpPr>
                <a:spLocks/>
              </p:cNvSpPr>
              <p:nvPr/>
            </p:nvSpPr>
            <p:spPr bwMode="auto">
              <a:xfrm>
                <a:off x="4361" y="2723"/>
                <a:ext cx="144" cy="48"/>
              </a:xfrm>
              <a:custGeom>
                <a:avLst/>
                <a:gdLst>
                  <a:gd name="T0" fmla="*/ 144 w 144"/>
                  <a:gd name="T1" fmla="*/ 48 h 48"/>
                  <a:gd name="T2" fmla="*/ 139 w 144"/>
                  <a:gd name="T3" fmla="*/ 0 h 48"/>
                  <a:gd name="T4" fmla="*/ 0 w 144"/>
                  <a:gd name="T5" fmla="*/ 48 h 48"/>
                  <a:gd name="T6" fmla="*/ 144 w 144"/>
                  <a:gd name="T7" fmla="*/ 48 h 4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4"/>
                  <a:gd name="T13" fmla="*/ 0 h 48"/>
                  <a:gd name="T14" fmla="*/ 144 w 144"/>
                  <a:gd name="T15" fmla="*/ 48 h 4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4" h="48">
                    <a:moveTo>
                      <a:pt x="144" y="48"/>
                    </a:moveTo>
                    <a:lnTo>
                      <a:pt x="139" y="0"/>
                    </a:lnTo>
                    <a:lnTo>
                      <a:pt x="0" y="48"/>
                    </a:lnTo>
                    <a:lnTo>
                      <a:pt x="144" y="48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68" name="Freeform 3953"/>
              <p:cNvSpPr>
                <a:spLocks/>
              </p:cNvSpPr>
              <p:nvPr/>
            </p:nvSpPr>
            <p:spPr bwMode="auto">
              <a:xfrm>
                <a:off x="4372" y="2627"/>
                <a:ext cx="133" cy="42"/>
              </a:xfrm>
              <a:custGeom>
                <a:avLst/>
                <a:gdLst>
                  <a:gd name="T0" fmla="*/ 128 w 133"/>
                  <a:gd name="T1" fmla="*/ 42 h 42"/>
                  <a:gd name="T2" fmla="*/ 133 w 133"/>
                  <a:gd name="T3" fmla="*/ 0 h 42"/>
                  <a:gd name="T4" fmla="*/ 0 w 133"/>
                  <a:gd name="T5" fmla="*/ 0 h 42"/>
                  <a:gd name="T6" fmla="*/ 128 w 133"/>
                  <a:gd name="T7" fmla="*/ 42 h 4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3"/>
                  <a:gd name="T13" fmla="*/ 0 h 42"/>
                  <a:gd name="T14" fmla="*/ 133 w 133"/>
                  <a:gd name="T15" fmla="*/ 42 h 4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3" h="42">
                    <a:moveTo>
                      <a:pt x="128" y="42"/>
                    </a:moveTo>
                    <a:lnTo>
                      <a:pt x="133" y="0"/>
                    </a:lnTo>
                    <a:lnTo>
                      <a:pt x="0" y="0"/>
                    </a:lnTo>
                    <a:lnTo>
                      <a:pt x="128" y="42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69" name="Freeform 3954"/>
              <p:cNvSpPr>
                <a:spLocks/>
              </p:cNvSpPr>
              <p:nvPr/>
            </p:nvSpPr>
            <p:spPr bwMode="auto">
              <a:xfrm>
                <a:off x="4415" y="2504"/>
                <a:ext cx="117" cy="75"/>
              </a:xfrm>
              <a:custGeom>
                <a:avLst/>
                <a:gdLst>
                  <a:gd name="T0" fmla="*/ 101 w 117"/>
                  <a:gd name="T1" fmla="*/ 75 h 75"/>
                  <a:gd name="T2" fmla="*/ 117 w 117"/>
                  <a:gd name="T3" fmla="*/ 37 h 75"/>
                  <a:gd name="T4" fmla="*/ 0 w 117"/>
                  <a:gd name="T5" fmla="*/ 0 h 75"/>
                  <a:gd name="T6" fmla="*/ 101 w 117"/>
                  <a:gd name="T7" fmla="*/ 75 h 7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7"/>
                  <a:gd name="T13" fmla="*/ 0 h 75"/>
                  <a:gd name="T14" fmla="*/ 117 w 117"/>
                  <a:gd name="T15" fmla="*/ 75 h 7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7" h="75">
                    <a:moveTo>
                      <a:pt x="101" y="75"/>
                    </a:moveTo>
                    <a:lnTo>
                      <a:pt x="117" y="37"/>
                    </a:lnTo>
                    <a:lnTo>
                      <a:pt x="0" y="0"/>
                    </a:lnTo>
                    <a:lnTo>
                      <a:pt x="101" y="75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70" name="Freeform 3955"/>
              <p:cNvSpPr>
                <a:spLocks/>
              </p:cNvSpPr>
              <p:nvPr/>
            </p:nvSpPr>
            <p:spPr bwMode="auto">
              <a:xfrm>
                <a:off x="4084" y="2856"/>
                <a:ext cx="368" cy="406"/>
              </a:xfrm>
              <a:custGeom>
                <a:avLst/>
                <a:gdLst>
                  <a:gd name="T0" fmla="*/ 224 w 368"/>
                  <a:gd name="T1" fmla="*/ 0 h 406"/>
                  <a:gd name="T2" fmla="*/ 256 w 368"/>
                  <a:gd name="T3" fmla="*/ 0 h 406"/>
                  <a:gd name="T4" fmla="*/ 299 w 368"/>
                  <a:gd name="T5" fmla="*/ 6 h 406"/>
                  <a:gd name="T6" fmla="*/ 315 w 368"/>
                  <a:gd name="T7" fmla="*/ 22 h 406"/>
                  <a:gd name="T8" fmla="*/ 320 w 368"/>
                  <a:gd name="T9" fmla="*/ 27 h 406"/>
                  <a:gd name="T10" fmla="*/ 331 w 368"/>
                  <a:gd name="T11" fmla="*/ 75 h 406"/>
                  <a:gd name="T12" fmla="*/ 336 w 368"/>
                  <a:gd name="T13" fmla="*/ 107 h 406"/>
                  <a:gd name="T14" fmla="*/ 347 w 368"/>
                  <a:gd name="T15" fmla="*/ 150 h 406"/>
                  <a:gd name="T16" fmla="*/ 352 w 368"/>
                  <a:gd name="T17" fmla="*/ 193 h 406"/>
                  <a:gd name="T18" fmla="*/ 352 w 368"/>
                  <a:gd name="T19" fmla="*/ 209 h 406"/>
                  <a:gd name="T20" fmla="*/ 347 w 368"/>
                  <a:gd name="T21" fmla="*/ 246 h 406"/>
                  <a:gd name="T22" fmla="*/ 352 w 368"/>
                  <a:gd name="T23" fmla="*/ 305 h 406"/>
                  <a:gd name="T24" fmla="*/ 352 w 368"/>
                  <a:gd name="T25" fmla="*/ 347 h 406"/>
                  <a:gd name="T26" fmla="*/ 368 w 368"/>
                  <a:gd name="T27" fmla="*/ 379 h 406"/>
                  <a:gd name="T28" fmla="*/ 336 w 368"/>
                  <a:gd name="T29" fmla="*/ 390 h 406"/>
                  <a:gd name="T30" fmla="*/ 304 w 368"/>
                  <a:gd name="T31" fmla="*/ 396 h 406"/>
                  <a:gd name="T32" fmla="*/ 277 w 368"/>
                  <a:gd name="T33" fmla="*/ 401 h 406"/>
                  <a:gd name="T34" fmla="*/ 240 w 368"/>
                  <a:gd name="T35" fmla="*/ 406 h 406"/>
                  <a:gd name="T36" fmla="*/ 208 w 368"/>
                  <a:gd name="T37" fmla="*/ 401 h 406"/>
                  <a:gd name="T38" fmla="*/ 166 w 368"/>
                  <a:gd name="T39" fmla="*/ 401 h 406"/>
                  <a:gd name="T40" fmla="*/ 107 w 368"/>
                  <a:gd name="T41" fmla="*/ 401 h 406"/>
                  <a:gd name="T42" fmla="*/ 54 w 368"/>
                  <a:gd name="T43" fmla="*/ 390 h 406"/>
                  <a:gd name="T44" fmla="*/ 32 w 368"/>
                  <a:gd name="T45" fmla="*/ 379 h 406"/>
                  <a:gd name="T46" fmla="*/ 16 w 368"/>
                  <a:gd name="T47" fmla="*/ 369 h 406"/>
                  <a:gd name="T48" fmla="*/ 6 w 368"/>
                  <a:gd name="T49" fmla="*/ 353 h 406"/>
                  <a:gd name="T50" fmla="*/ 6 w 368"/>
                  <a:gd name="T51" fmla="*/ 347 h 406"/>
                  <a:gd name="T52" fmla="*/ 22 w 368"/>
                  <a:gd name="T53" fmla="*/ 326 h 406"/>
                  <a:gd name="T54" fmla="*/ 22 w 368"/>
                  <a:gd name="T55" fmla="*/ 299 h 406"/>
                  <a:gd name="T56" fmla="*/ 27 w 368"/>
                  <a:gd name="T57" fmla="*/ 241 h 406"/>
                  <a:gd name="T58" fmla="*/ 22 w 368"/>
                  <a:gd name="T59" fmla="*/ 177 h 406"/>
                  <a:gd name="T60" fmla="*/ 27 w 368"/>
                  <a:gd name="T61" fmla="*/ 102 h 406"/>
                  <a:gd name="T62" fmla="*/ 27 w 368"/>
                  <a:gd name="T63" fmla="*/ 86 h 406"/>
                  <a:gd name="T64" fmla="*/ 27 w 368"/>
                  <a:gd name="T65" fmla="*/ 59 h 406"/>
                  <a:gd name="T66" fmla="*/ 32 w 368"/>
                  <a:gd name="T67" fmla="*/ 27 h 406"/>
                  <a:gd name="T68" fmla="*/ 64 w 368"/>
                  <a:gd name="T69" fmla="*/ 16 h 406"/>
                  <a:gd name="T70" fmla="*/ 86 w 368"/>
                  <a:gd name="T71" fmla="*/ 11 h 406"/>
                  <a:gd name="T72" fmla="*/ 96 w 368"/>
                  <a:gd name="T73" fmla="*/ 11 h 406"/>
                  <a:gd name="T74" fmla="*/ 134 w 368"/>
                  <a:gd name="T75" fmla="*/ 11 h 406"/>
                  <a:gd name="T76" fmla="*/ 182 w 368"/>
                  <a:gd name="T77" fmla="*/ 0 h 406"/>
                  <a:gd name="T78" fmla="*/ 213 w 368"/>
                  <a:gd name="T79" fmla="*/ 11 h 40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368"/>
                  <a:gd name="T121" fmla="*/ 0 h 406"/>
                  <a:gd name="T122" fmla="*/ 368 w 368"/>
                  <a:gd name="T123" fmla="*/ 406 h 40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368" h="406">
                    <a:moveTo>
                      <a:pt x="213" y="11"/>
                    </a:moveTo>
                    <a:lnTo>
                      <a:pt x="224" y="0"/>
                    </a:lnTo>
                    <a:lnTo>
                      <a:pt x="245" y="0"/>
                    </a:lnTo>
                    <a:lnTo>
                      <a:pt x="256" y="0"/>
                    </a:lnTo>
                    <a:lnTo>
                      <a:pt x="272" y="11"/>
                    </a:lnTo>
                    <a:lnTo>
                      <a:pt x="299" y="6"/>
                    </a:lnTo>
                    <a:lnTo>
                      <a:pt x="309" y="11"/>
                    </a:lnTo>
                    <a:lnTo>
                      <a:pt x="315" y="22"/>
                    </a:lnTo>
                    <a:lnTo>
                      <a:pt x="320" y="22"/>
                    </a:lnTo>
                    <a:lnTo>
                      <a:pt x="320" y="27"/>
                    </a:lnTo>
                    <a:lnTo>
                      <a:pt x="331" y="48"/>
                    </a:lnTo>
                    <a:lnTo>
                      <a:pt x="331" y="75"/>
                    </a:lnTo>
                    <a:lnTo>
                      <a:pt x="336" y="91"/>
                    </a:lnTo>
                    <a:lnTo>
                      <a:pt x="336" y="107"/>
                    </a:lnTo>
                    <a:lnTo>
                      <a:pt x="341" y="128"/>
                    </a:lnTo>
                    <a:lnTo>
                      <a:pt x="347" y="150"/>
                    </a:lnTo>
                    <a:lnTo>
                      <a:pt x="352" y="182"/>
                    </a:lnTo>
                    <a:lnTo>
                      <a:pt x="352" y="193"/>
                    </a:lnTo>
                    <a:lnTo>
                      <a:pt x="352" y="203"/>
                    </a:lnTo>
                    <a:lnTo>
                      <a:pt x="352" y="209"/>
                    </a:lnTo>
                    <a:lnTo>
                      <a:pt x="352" y="219"/>
                    </a:lnTo>
                    <a:lnTo>
                      <a:pt x="347" y="246"/>
                    </a:lnTo>
                    <a:lnTo>
                      <a:pt x="347" y="273"/>
                    </a:lnTo>
                    <a:lnTo>
                      <a:pt x="352" y="305"/>
                    </a:lnTo>
                    <a:lnTo>
                      <a:pt x="352" y="331"/>
                    </a:lnTo>
                    <a:lnTo>
                      <a:pt x="352" y="347"/>
                    </a:lnTo>
                    <a:lnTo>
                      <a:pt x="368" y="363"/>
                    </a:lnTo>
                    <a:lnTo>
                      <a:pt x="368" y="379"/>
                    </a:lnTo>
                    <a:lnTo>
                      <a:pt x="352" y="379"/>
                    </a:lnTo>
                    <a:lnTo>
                      <a:pt x="336" y="390"/>
                    </a:lnTo>
                    <a:lnTo>
                      <a:pt x="320" y="396"/>
                    </a:lnTo>
                    <a:lnTo>
                      <a:pt x="304" y="396"/>
                    </a:lnTo>
                    <a:lnTo>
                      <a:pt x="293" y="401"/>
                    </a:lnTo>
                    <a:lnTo>
                      <a:pt x="277" y="401"/>
                    </a:lnTo>
                    <a:lnTo>
                      <a:pt x="261" y="401"/>
                    </a:lnTo>
                    <a:lnTo>
                      <a:pt x="240" y="406"/>
                    </a:lnTo>
                    <a:lnTo>
                      <a:pt x="229" y="406"/>
                    </a:lnTo>
                    <a:lnTo>
                      <a:pt x="208" y="401"/>
                    </a:lnTo>
                    <a:lnTo>
                      <a:pt x="187" y="401"/>
                    </a:lnTo>
                    <a:lnTo>
                      <a:pt x="166" y="401"/>
                    </a:lnTo>
                    <a:lnTo>
                      <a:pt x="150" y="401"/>
                    </a:lnTo>
                    <a:lnTo>
                      <a:pt x="107" y="401"/>
                    </a:lnTo>
                    <a:lnTo>
                      <a:pt x="75" y="396"/>
                    </a:lnTo>
                    <a:lnTo>
                      <a:pt x="54" y="390"/>
                    </a:lnTo>
                    <a:lnTo>
                      <a:pt x="43" y="385"/>
                    </a:lnTo>
                    <a:lnTo>
                      <a:pt x="32" y="379"/>
                    </a:lnTo>
                    <a:lnTo>
                      <a:pt x="27" y="374"/>
                    </a:lnTo>
                    <a:lnTo>
                      <a:pt x="16" y="369"/>
                    </a:lnTo>
                    <a:lnTo>
                      <a:pt x="11" y="358"/>
                    </a:lnTo>
                    <a:lnTo>
                      <a:pt x="6" y="353"/>
                    </a:lnTo>
                    <a:lnTo>
                      <a:pt x="0" y="347"/>
                    </a:lnTo>
                    <a:lnTo>
                      <a:pt x="6" y="347"/>
                    </a:lnTo>
                    <a:lnTo>
                      <a:pt x="22" y="342"/>
                    </a:lnTo>
                    <a:lnTo>
                      <a:pt x="22" y="326"/>
                    </a:lnTo>
                    <a:lnTo>
                      <a:pt x="27" y="321"/>
                    </a:lnTo>
                    <a:lnTo>
                      <a:pt x="22" y="299"/>
                    </a:lnTo>
                    <a:lnTo>
                      <a:pt x="27" y="267"/>
                    </a:lnTo>
                    <a:lnTo>
                      <a:pt x="27" y="241"/>
                    </a:lnTo>
                    <a:lnTo>
                      <a:pt x="27" y="219"/>
                    </a:lnTo>
                    <a:lnTo>
                      <a:pt x="22" y="177"/>
                    </a:lnTo>
                    <a:lnTo>
                      <a:pt x="27" y="139"/>
                    </a:lnTo>
                    <a:lnTo>
                      <a:pt x="27" y="102"/>
                    </a:lnTo>
                    <a:lnTo>
                      <a:pt x="27" y="86"/>
                    </a:lnTo>
                    <a:lnTo>
                      <a:pt x="27" y="75"/>
                    </a:lnTo>
                    <a:lnTo>
                      <a:pt x="27" y="59"/>
                    </a:lnTo>
                    <a:lnTo>
                      <a:pt x="27" y="38"/>
                    </a:lnTo>
                    <a:lnTo>
                      <a:pt x="32" y="27"/>
                    </a:lnTo>
                    <a:lnTo>
                      <a:pt x="48" y="22"/>
                    </a:lnTo>
                    <a:lnTo>
                      <a:pt x="64" y="16"/>
                    </a:lnTo>
                    <a:lnTo>
                      <a:pt x="70" y="11"/>
                    </a:lnTo>
                    <a:lnTo>
                      <a:pt x="86" y="11"/>
                    </a:lnTo>
                    <a:lnTo>
                      <a:pt x="91" y="11"/>
                    </a:lnTo>
                    <a:lnTo>
                      <a:pt x="96" y="11"/>
                    </a:lnTo>
                    <a:lnTo>
                      <a:pt x="112" y="16"/>
                    </a:lnTo>
                    <a:lnTo>
                      <a:pt x="134" y="11"/>
                    </a:lnTo>
                    <a:lnTo>
                      <a:pt x="160" y="6"/>
                    </a:lnTo>
                    <a:lnTo>
                      <a:pt x="182" y="0"/>
                    </a:lnTo>
                    <a:lnTo>
                      <a:pt x="208" y="6"/>
                    </a:lnTo>
                    <a:lnTo>
                      <a:pt x="213" y="11"/>
                    </a:lnTo>
                    <a:close/>
                  </a:path>
                </a:pathLst>
              </a:custGeom>
              <a:solidFill>
                <a:srgbClr val="F7D5A0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71" name="Freeform 3956"/>
              <p:cNvSpPr>
                <a:spLocks/>
              </p:cNvSpPr>
              <p:nvPr/>
            </p:nvSpPr>
            <p:spPr bwMode="auto">
              <a:xfrm>
                <a:off x="4084" y="2920"/>
                <a:ext cx="368" cy="342"/>
              </a:xfrm>
              <a:custGeom>
                <a:avLst/>
                <a:gdLst>
                  <a:gd name="T0" fmla="*/ 331 w 368"/>
                  <a:gd name="T1" fmla="*/ 11 h 342"/>
                  <a:gd name="T2" fmla="*/ 336 w 368"/>
                  <a:gd name="T3" fmla="*/ 43 h 342"/>
                  <a:gd name="T4" fmla="*/ 347 w 368"/>
                  <a:gd name="T5" fmla="*/ 86 h 342"/>
                  <a:gd name="T6" fmla="*/ 352 w 368"/>
                  <a:gd name="T7" fmla="*/ 129 h 342"/>
                  <a:gd name="T8" fmla="*/ 352 w 368"/>
                  <a:gd name="T9" fmla="*/ 145 h 342"/>
                  <a:gd name="T10" fmla="*/ 347 w 368"/>
                  <a:gd name="T11" fmla="*/ 182 h 342"/>
                  <a:gd name="T12" fmla="*/ 352 w 368"/>
                  <a:gd name="T13" fmla="*/ 241 h 342"/>
                  <a:gd name="T14" fmla="*/ 352 w 368"/>
                  <a:gd name="T15" fmla="*/ 283 h 342"/>
                  <a:gd name="T16" fmla="*/ 368 w 368"/>
                  <a:gd name="T17" fmla="*/ 315 h 342"/>
                  <a:gd name="T18" fmla="*/ 336 w 368"/>
                  <a:gd name="T19" fmla="*/ 326 h 342"/>
                  <a:gd name="T20" fmla="*/ 304 w 368"/>
                  <a:gd name="T21" fmla="*/ 332 h 342"/>
                  <a:gd name="T22" fmla="*/ 277 w 368"/>
                  <a:gd name="T23" fmla="*/ 337 h 342"/>
                  <a:gd name="T24" fmla="*/ 240 w 368"/>
                  <a:gd name="T25" fmla="*/ 342 h 342"/>
                  <a:gd name="T26" fmla="*/ 208 w 368"/>
                  <a:gd name="T27" fmla="*/ 337 h 342"/>
                  <a:gd name="T28" fmla="*/ 166 w 368"/>
                  <a:gd name="T29" fmla="*/ 337 h 342"/>
                  <a:gd name="T30" fmla="*/ 107 w 368"/>
                  <a:gd name="T31" fmla="*/ 337 h 342"/>
                  <a:gd name="T32" fmla="*/ 54 w 368"/>
                  <a:gd name="T33" fmla="*/ 326 h 342"/>
                  <a:gd name="T34" fmla="*/ 32 w 368"/>
                  <a:gd name="T35" fmla="*/ 315 h 342"/>
                  <a:gd name="T36" fmla="*/ 16 w 368"/>
                  <a:gd name="T37" fmla="*/ 305 h 342"/>
                  <a:gd name="T38" fmla="*/ 6 w 368"/>
                  <a:gd name="T39" fmla="*/ 289 h 342"/>
                  <a:gd name="T40" fmla="*/ 6 w 368"/>
                  <a:gd name="T41" fmla="*/ 283 h 342"/>
                  <a:gd name="T42" fmla="*/ 16 w 368"/>
                  <a:gd name="T43" fmla="*/ 278 h 342"/>
                  <a:gd name="T44" fmla="*/ 22 w 368"/>
                  <a:gd name="T45" fmla="*/ 289 h 342"/>
                  <a:gd name="T46" fmla="*/ 43 w 368"/>
                  <a:gd name="T47" fmla="*/ 299 h 342"/>
                  <a:gd name="T48" fmla="*/ 59 w 368"/>
                  <a:gd name="T49" fmla="*/ 315 h 342"/>
                  <a:gd name="T50" fmla="*/ 86 w 368"/>
                  <a:gd name="T51" fmla="*/ 321 h 342"/>
                  <a:gd name="T52" fmla="*/ 134 w 368"/>
                  <a:gd name="T53" fmla="*/ 321 h 342"/>
                  <a:gd name="T54" fmla="*/ 176 w 368"/>
                  <a:gd name="T55" fmla="*/ 299 h 342"/>
                  <a:gd name="T56" fmla="*/ 213 w 368"/>
                  <a:gd name="T57" fmla="*/ 305 h 342"/>
                  <a:gd name="T58" fmla="*/ 245 w 368"/>
                  <a:gd name="T59" fmla="*/ 321 h 342"/>
                  <a:gd name="T60" fmla="*/ 267 w 368"/>
                  <a:gd name="T61" fmla="*/ 321 h 342"/>
                  <a:gd name="T62" fmla="*/ 283 w 368"/>
                  <a:gd name="T63" fmla="*/ 294 h 342"/>
                  <a:gd name="T64" fmla="*/ 272 w 368"/>
                  <a:gd name="T65" fmla="*/ 273 h 342"/>
                  <a:gd name="T66" fmla="*/ 267 w 368"/>
                  <a:gd name="T67" fmla="*/ 257 h 342"/>
                  <a:gd name="T68" fmla="*/ 272 w 368"/>
                  <a:gd name="T69" fmla="*/ 241 h 342"/>
                  <a:gd name="T70" fmla="*/ 288 w 368"/>
                  <a:gd name="T71" fmla="*/ 230 h 342"/>
                  <a:gd name="T72" fmla="*/ 272 w 368"/>
                  <a:gd name="T73" fmla="*/ 219 h 342"/>
                  <a:gd name="T74" fmla="*/ 267 w 368"/>
                  <a:gd name="T75" fmla="*/ 214 h 342"/>
                  <a:gd name="T76" fmla="*/ 267 w 368"/>
                  <a:gd name="T77" fmla="*/ 193 h 342"/>
                  <a:gd name="T78" fmla="*/ 272 w 368"/>
                  <a:gd name="T79" fmla="*/ 166 h 342"/>
                  <a:gd name="T80" fmla="*/ 304 w 368"/>
                  <a:gd name="T81" fmla="*/ 145 h 342"/>
                  <a:gd name="T82" fmla="*/ 304 w 368"/>
                  <a:gd name="T83" fmla="*/ 134 h 342"/>
                  <a:gd name="T84" fmla="*/ 304 w 368"/>
                  <a:gd name="T85" fmla="*/ 123 h 342"/>
                  <a:gd name="T86" fmla="*/ 299 w 368"/>
                  <a:gd name="T87" fmla="*/ 102 h 342"/>
                  <a:gd name="T88" fmla="*/ 277 w 368"/>
                  <a:gd name="T89" fmla="*/ 80 h 342"/>
                  <a:gd name="T90" fmla="*/ 277 w 368"/>
                  <a:gd name="T91" fmla="*/ 59 h 342"/>
                  <a:gd name="T92" fmla="*/ 288 w 368"/>
                  <a:gd name="T93" fmla="*/ 43 h 342"/>
                  <a:gd name="T94" fmla="*/ 315 w 368"/>
                  <a:gd name="T95" fmla="*/ 38 h 342"/>
                  <a:gd name="T96" fmla="*/ 320 w 368"/>
                  <a:gd name="T97" fmla="*/ 16 h 342"/>
                  <a:gd name="T98" fmla="*/ 325 w 368"/>
                  <a:gd name="T99" fmla="*/ 0 h 34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68"/>
                  <a:gd name="T151" fmla="*/ 0 h 342"/>
                  <a:gd name="T152" fmla="*/ 368 w 368"/>
                  <a:gd name="T153" fmla="*/ 342 h 34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68" h="342">
                    <a:moveTo>
                      <a:pt x="325" y="0"/>
                    </a:moveTo>
                    <a:lnTo>
                      <a:pt x="331" y="11"/>
                    </a:lnTo>
                    <a:lnTo>
                      <a:pt x="336" y="27"/>
                    </a:lnTo>
                    <a:lnTo>
                      <a:pt x="336" y="43"/>
                    </a:lnTo>
                    <a:lnTo>
                      <a:pt x="341" y="64"/>
                    </a:lnTo>
                    <a:lnTo>
                      <a:pt x="347" y="86"/>
                    </a:lnTo>
                    <a:lnTo>
                      <a:pt x="352" y="118"/>
                    </a:lnTo>
                    <a:lnTo>
                      <a:pt x="352" y="129"/>
                    </a:lnTo>
                    <a:lnTo>
                      <a:pt x="352" y="139"/>
                    </a:lnTo>
                    <a:lnTo>
                      <a:pt x="352" y="145"/>
                    </a:lnTo>
                    <a:lnTo>
                      <a:pt x="352" y="155"/>
                    </a:lnTo>
                    <a:lnTo>
                      <a:pt x="347" y="182"/>
                    </a:lnTo>
                    <a:lnTo>
                      <a:pt x="347" y="209"/>
                    </a:lnTo>
                    <a:lnTo>
                      <a:pt x="352" y="241"/>
                    </a:lnTo>
                    <a:lnTo>
                      <a:pt x="352" y="267"/>
                    </a:lnTo>
                    <a:lnTo>
                      <a:pt x="352" y="283"/>
                    </a:lnTo>
                    <a:lnTo>
                      <a:pt x="368" y="299"/>
                    </a:lnTo>
                    <a:lnTo>
                      <a:pt x="368" y="315"/>
                    </a:lnTo>
                    <a:lnTo>
                      <a:pt x="352" y="315"/>
                    </a:lnTo>
                    <a:lnTo>
                      <a:pt x="336" y="326"/>
                    </a:lnTo>
                    <a:lnTo>
                      <a:pt x="320" y="332"/>
                    </a:lnTo>
                    <a:lnTo>
                      <a:pt x="304" y="332"/>
                    </a:lnTo>
                    <a:lnTo>
                      <a:pt x="293" y="337"/>
                    </a:lnTo>
                    <a:lnTo>
                      <a:pt x="277" y="337"/>
                    </a:lnTo>
                    <a:lnTo>
                      <a:pt x="261" y="337"/>
                    </a:lnTo>
                    <a:lnTo>
                      <a:pt x="240" y="342"/>
                    </a:lnTo>
                    <a:lnTo>
                      <a:pt x="229" y="342"/>
                    </a:lnTo>
                    <a:lnTo>
                      <a:pt x="208" y="337"/>
                    </a:lnTo>
                    <a:lnTo>
                      <a:pt x="187" y="337"/>
                    </a:lnTo>
                    <a:lnTo>
                      <a:pt x="166" y="337"/>
                    </a:lnTo>
                    <a:lnTo>
                      <a:pt x="150" y="337"/>
                    </a:lnTo>
                    <a:lnTo>
                      <a:pt x="107" y="337"/>
                    </a:lnTo>
                    <a:lnTo>
                      <a:pt x="75" y="332"/>
                    </a:lnTo>
                    <a:lnTo>
                      <a:pt x="54" y="326"/>
                    </a:lnTo>
                    <a:lnTo>
                      <a:pt x="43" y="321"/>
                    </a:lnTo>
                    <a:lnTo>
                      <a:pt x="32" y="315"/>
                    </a:lnTo>
                    <a:lnTo>
                      <a:pt x="27" y="310"/>
                    </a:lnTo>
                    <a:lnTo>
                      <a:pt x="16" y="305"/>
                    </a:lnTo>
                    <a:lnTo>
                      <a:pt x="11" y="294"/>
                    </a:lnTo>
                    <a:lnTo>
                      <a:pt x="6" y="289"/>
                    </a:lnTo>
                    <a:lnTo>
                      <a:pt x="0" y="283"/>
                    </a:lnTo>
                    <a:lnTo>
                      <a:pt x="6" y="283"/>
                    </a:lnTo>
                    <a:lnTo>
                      <a:pt x="22" y="278"/>
                    </a:lnTo>
                    <a:lnTo>
                      <a:pt x="16" y="278"/>
                    </a:lnTo>
                    <a:lnTo>
                      <a:pt x="16" y="283"/>
                    </a:lnTo>
                    <a:lnTo>
                      <a:pt x="22" y="289"/>
                    </a:lnTo>
                    <a:lnTo>
                      <a:pt x="32" y="299"/>
                    </a:lnTo>
                    <a:lnTo>
                      <a:pt x="43" y="299"/>
                    </a:lnTo>
                    <a:lnTo>
                      <a:pt x="54" y="305"/>
                    </a:lnTo>
                    <a:lnTo>
                      <a:pt x="59" y="315"/>
                    </a:lnTo>
                    <a:lnTo>
                      <a:pt x="75" y="321"/>
                    </a:lnTo>
                    <a:lnTo>
                      <a:pt x="86" y="321"/>
                    </a:lnTo>
                    <a:lnTo>
                      <a:pt x="107" y="326"/>
                    </a:lnTo>
                    <a:lnTo>
                      <a:pt x="134" y="321"/>
                    </a:lnTo>
                    <a:lnTo>
                      <a:pt x="155" y="310"/>
                    </a:lnTo>
                    <a:lnTo>
                      <a:pt x="176" y="299"/>
                    </a:lnTo>
                    <a:lnTo>
                      <a:pt x="192" y="299"/>
                    </a:lnTo>
                    <a:lnTo>
                      <a:pt x="213" y="305"/>
                    </a:lnTo>
                    <a:lnTo>
                      <a:pt x="235" y="321"/>
                    </a:lnTo>
                    <a:lnTo>
                      <a:pt x="245" y="321"/>
                    </a:lnTo>
                    <a:lnTo>
                      <a:pt x="256" y="321"/>
                    </a:lnTo>
                    <a:lnTo>
                      <a:pt x="267" y="321"/>
                    </a:lnTo>
                    <a:lnTo>
                      <a:pt x="288" y="315"/>
                    </a:lnTo>
                    <a:lnTo>
                      <a:pt x="283" y="294"/>
                    </a:lnTo>
                    <a:lnTo>
                      <a:pt x="277" y="283"/>
                    </a:lnTo>
                    <a:lnTo>
                      <a:pt x="272" y="273"/>
                    </a:lnTo>
                    <a:lnTo>
                      <a:pt x="267" y="267"/>
                    </a:lnTo>
                    <a:lnTo>
                      <a:pt x="267" y="257"/>
                    </a:lnTo>
                    <a:lnTo>
                      <a:pt x="267" y="246"/>
                    </a:lnTo>
                    <a:lnTo>
                      <a:pt x="272" y="241"/>
                    </a:lnTo>
                    <a:lnTo>
                      <a:pt x="277" y="235"/>
                    </a:lnTo>
                    <a:lnTo>
                      <a:pt x="288" y="230"/>
                    </a:lnTo>
                    <a:lnTo>
                      <a:pt x="277" y="225"/>
                    </a:lnTo>
                    <a:lnTo>
                      <a:pt x="272" y="219"/>
                    </a:lnTo>
                    <a:lnTo>
                      <a:pt x="267" y="214"/>
                    </a:lnTo>
                    <a:lnTo>
                      <a:pt x="261" y="198"/>
                    </a:lnTo>
                    <a:lnTo>
                      <a:pt x="267" y="193"/>
                    </a:lnTo>
                    <a:lnTo>
                      <a:pt x="272" y="182"/>
                    </a:lnTo>
                    <a:lnTo>
                      <a:pt x="272" y="166"/>
                    </a:lnTo>
                    <a:lnTo>
                      <a:pt x="277" y="155"/>
                    </a:lnTo>
                    <a:lnTo>
                      <a:pt x="304" y="145"/>
                    </a:lnTo>
                    <a:lnTo>
                      <a:pt x="304" y="134"/>
                    </a:lnTo>
                    <a:lnTo>
                      <a:pt x="304" y="129"/>
                    </a:lnTo>
                    <a:lnTo>
                      <a:pt x="304" y="123"/>
                    </a:lnTo>
                    <a:lnTo>
                      <a:pt x="304" y="113"/>
                    </a:lnTo>
                    <a:lnTo>
                      <a:pt x="299" y="102"/>
                    </a:lnTo>
                    <a:lnTo>
                      <a:pt x="283" y="91"/>
                    </a:lnTo>
                    <a:lnTo>
                      <a:pt x="277" y="80"/>
                    </a:lnTo>
                    <a:lnTo>
                      <a:pt x="277" y="70"/>
                    </a:lnTo>
                    <a:lnTo>
                      <a:pt x="277" y="59"/>
                    </a:lnTo>
                    <a:lnTo>
                      <a:pt x="272" y="43"/>
                    </a:lnTo>
                    <a:lnTo>
                      <a:pt x="288" y="43"/>
                    </a:lnTo>
                    <a:lnTo>
                      <a:pt x="299" y="43"/>
                    </a:lnTo>
                    <a:lnTo>
                      <a:pt x="315" y="38"/>
                    </a:lnTo>
                    <a:lnTo>
                      <a:pt x="320" y="27"/>
                    </a:lnTo>
                    <a:lnTo>
                      <a:pt x="320" y="16"/>
                    </a:lnTo>
                    <a:lnTo>
                      <a:pt x="320" y="6"/>
                    </a:lnTo>
                    <a:lnTo>
                      <a:pt x="325" y="0"/>
                    </a:lnTo>
                    <a:close/>
                  </a:path>
                </a:pathLst>
              </a:custGeom>
              <a:solidFill>
                <a:srgbClr val="D8C19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72" name="Freeform 3957"/>
              <p:cNvSpPr>
                <a:spLocks noEditPoints="1"/>
              </p:cNvSpPr>
              <p:nvPr/>
            </p:nvSpPr>
            <p:spPr bwMode="auto">
              <a:xfrm>
                <a:off x="4106" y="2920"/>
                <a:ext cx="346" cy="315"/>
              </a:xfrm>
              <a:custGeom>
                <a:avLst/>
                <a:gdLst>
                  <a:gd name="T0" fmla="*/ 335 w 346"/>
                  <a:gd name="T1" fmla="*/ 310 h 315"/>
                  <a:gd name="T2" fmla="*/ 335 w 346"/>
                  <a:gd name="T3" fmla="*/ 299 h 315"/>
                  <a:gd name="T4" fmla="*/ 325 w 346"/>
                  <a:gd name="T5" fmla="*/ 294 h 315"/>
                  <a:gd name="T6" fmla="*/ 325 w 346"/>
                  <a:gd name="T7" fmla="*/ 278 h 315"/>
                  <a:gd name="T8" fmla="*/ 319 w 346"/>
                  <a:gd name="T9" fmla="*/ 230 h 315"/>
                  <a:gd name="T10" fmla="*/ 319 w 346"/>
                  <a:gd name="T11" fmla="*/ 187 h 315"/>
                  <a:gd name="T12" fmla="*/ 319 w 346"/>
                  <a:gd name="T13" fmla="*/ 150 h 315"/>
                  <a:gd name="T14" fmla="*/ 325 w 346"/>
                  <a:gd name="T15" fmla="*/ 102 h 315"/>
                  <a:gd name="T16" fmla="*/ 319 w 346"/>
                  <a:gd name="T17" fmla="*/ 64 h 315"/>
                  <a:gd name="T18" fmla="*/ 314 w 346"/>
                  <a:gd name="T19" fmla="*/ 43 h 315"/>
                  <a:gd name="T20" fmla="*/ 298 w 346"/>
                  <a:gd name="T21" fmla="*/ 11 h 315"/>
                  <a:gd name="T22" fmla="*/ 303 w 346"/>
                  <a:gd name="T23" fmla="*/ 0 h 315"/>
                  <a:gd name="T24" fmla="*/ 314 w 346"/>
                  <a:gd name="T25" fmla="*/ 27 h 315"/>
                  <a:gd name="T26" fmla="*/ 319 w 346"/>
                  <a:gd name="T27" fmla="*/ 64 h 315"/>
                  <a:gd name="T28" fmla="*/ 330 w 346"/>
                  <a:gd name="T29" fmla="*/ 118 h 315"/>
                  <a:gd name="T30" fmla="*/ 330 w 346"/>
                  <a:gd name="T31" fmla="*/ 139 h 315"/>
                  <a:gd name="T32" fmla="*/ 330 w 346"/>
                  <a:gd name="T33" fmla="*/ 155 h 315"/>
                  <a:gd name="T34" fmla="*/ 325 w 346"/>
                  <a:gd name="T35" fmla="*/ 209 h 315"/>
                  <a:gd name="T36" fmla="*/ 330 w 346"/>
                  <a:gd name="T37" fmla="*/ 267 h 315"/>
                  <a:gd name="T38" fmla="*/ 346 w 346"/>
                  <a:gd name="T39" fmla="*/ 299 h 315"/>
                  <a:gd name="T40" fmla="*/ 330 w 346"/>
                  <a:gd name="T41" fmla="*/ 315 h 315"/>
                  <a:gd name="T42" fmla="*/ 0 w 346"/>
                  <a:gd name="T43" fmla="*/ 262 h 315"/>
                  <a:gd name="T44" fmla="*/ 5 w 346"/>
                  <a:gd name="T45" fmla="*/ 241 h 315"/>
                  <a:gd name="T46" fmla="*/ 5 w 346"/>
                  <a:gd name="T47" fmla="*/ 225 h 315"/>
                  <a:gd name="T48" fmla="*/ 5 w 346"/>
                  <a:gd name="T49" fmla="*/ 198 h 315"/>
                  <a:gd name="T50" fmla="*/ 5 w 346"/>
                  <a:gd name="T51" fmla="*/ 150 h 315"/>
                  <a:gd name="T52" fmla="*/ 5 w 346"/>
                  <a:gd name="T53" fmla="*/ 91 h 315"/>
                  <a:gd name="T54" fmla="*/ 10 w 346"/>
                  <a:gd name="T55" fmla="*/ 27 h 315"/>
                  <a:gd name="T56" fmla="*/ 16 w 346"/>
                  <a:gd name="T57" fmla="*/ 11 h 315"/>
                  <a:gd name="T58" fmla="*/ 10 w 346"/>
                  <a:gd name="T59" fmla="*/ 16 h 315"/>
                  <a:gd name="T60" fmla="*/ 5 w 346"/>
                  <a:gd name="T61" fmla="*/ 27 h 315"/>
                  <a:gd name="T62" fmla="*/ 5 w 346"/>
                  <a:gd name="T63" fmla="*/ 75 h 315"/>
                  <a:gd name="T64" fmla="*/ 5 w 346"/>
                  <a:gd name="T65" fmla="*/ 155 h 315"/>
                  <a:gd name="T66" fmla="*/ 5 w 346"/>
                  <a:gd name="T67" fmla="*/ 203 h 315"/>
                  <a:gd name="T68" fmla="*/ 5 w 346"/>
                  <a:gd name="T69" fmla="*/ 257 h 315"/>
                  <a:gd name="T70" fmla="*/ 0 w 346"/>
                  <a:gd name="T71" fmla="*/ 278 h 31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46"/>
                  <a:gd name="T109" fmla="*/ 0 h 315"/>
                  <a:gd name="T110" fmla="*/ 346 w 346"/>
                  <a:gd name="T111" fmla="*/ 315 h 315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46" h="315">
                    <a:moveTo>
                      <a:pt x="330" y="315"/>
                    </a:moveTo>
                    <a:lnTo>
                      <a:pt x="335" y="310"/>
                    </a:lnTo>
                    <a:lnTo>
                      <a:pt x="341" y="310"/>
                    </a:lnTo>
                    <a:lnTo>
                      <a:pt x="335" y="299"/>
                    </a:lnTo>
                    <a:lnTo>
                      <a:pt x="330" y="299"/>
                    </a:lnTo>
                    <a:lnTo>
                      <a:pt x="325" y="294"/>
                    </a:lnTo>
                    <a:lnTo>
                      <a:pt x="325" y="289"/>
                    </a:lnTo>
                    <a:lnTo>
                      <a:pt x="325" y="278"/>
                    </a:lnTo>
                    <a:lnTo>
                      <a:pt x="325" y="257"/>
                    </a:lnTo>
                    <a:lnTo>
                      <a:pt x="319" y="230"/>
                    </a:lnTo>
                    <a:lnTo>
                      <a:pt x="314" y="209"/>
                    </a:lnTo>
                    <a:lnTo>
                      <a:pt x="319" y="187"/>
                    </a:lnTo>
                    <a:lnTo>
                      <a:pt x="319" y="171"/>
                    </a:lnTo>
                    <a:lnTo>
                      <a:pt x="319" y="150"/>
                    </a:lnTo>
                    <a:lnTo>
                      <a:pt x="325" y="118"/>
                    </a:lnTo>
                    <a:lnTo>
                      <a:pt x="325" y="102"/>
                    </a:lnTo>
                    <a:lnTo>
                      <a:pt x="319" y="86"/>
                    </a:lnTo>
                    <a:lnTo>
                      <a:pt x="319" y="64"/>
                    </a:lnTo>
                    <a:lnTo>
                      <a:pt x="319" y="54"/>
                    </a:lnTo>
                    <a:lnTo>
                      <a:pt x="314" y="43"/>
                    </a:lnTo>
                    <a:lnTo>
                      <a:pt x="309" y="32"/>
                    </a:lnTo>
                    <a:lnTo>
                      <a:pt x="298" y="11"/>
                    </a:lnTo>
                    <a:lnTo>
                      <a:pt x="298" y="6"/>
                    </a:lnTo>
                    <a:lnTo>
                      <a:pt x="303" y="0"/>
                    </a:lnTo>
                    <a:lnTo>
                      <a:pt x="309" y="11"/>
                    </a:lnTo>
                    <a:lnTo>
                      <a:pt x="314" y="27"/>
                    </a:lnTo>
                    <a:lnTo>
                      <a:pt x="314" y="43"/>
                    </a:lnTo>
                    <a:lnTo>
                      <a:pt x="319" y="64"/>
                    </a:lnTo>
                    <a:lnTo>
                      <a:pt x="325" y="86"/>
                    </a:lnTo>
                    <a:lnTo>
                      <a:pt x="330" y="118"/>
                    </a:lnTo>
                    <a:lnTo>
                      <a:pt x="330" y="129"/>
                    </a:lnTo>
                    <a:lnTo>
                      <a:pt x="330" y="139"/>
                    </a:lnTo>
                    <a:lnTo>
                      <a:pt x="330" y="145"/>
                    </a:lnTo>
                    <a:lnTo>
                      <a:pt x="330" y="155"/>
                    </a:lnTo>
                    <a:lnTo>
                      <a:pt x="325" y="182"/>
                    </a:lnTo>
                    <a:lnTo>
                      <a:pt x="325" y="209"/>
                    </a:lnTo>
                    <a:lnTo>
                      <a:pt x="330" y="241"/>
                    </a:lnTo>
                    <a:lnTo>
                      <a:pt x="330" y="267"/>
                    </a:lnTo>
                    <a:lnTo>
                      <a:pt x="330" y="283"/>
                    </a:lnTo>
                    <a:lnTo>
                      <a:pt x="346" y="299"/>
                    </a:lnTo>
                    <a:lnTo>
                      <a:pt x="346" y="315"/>
                    </a:lnTo>
                    <a:lnTo>
                      <a:pt x="330" y="315"/>
                    </a:lnTo>
                    <a:close/>
                    <a:moveTo>
                      <a:pt x="0" y="278"/>
                    </a:moveTo>
                    <a:lnTo>
                      <a:pt x="0" y="262"/>
                    </a:lnTo>
                    <a:lnTo>
                      <a:pt x="10" y="251"/>
                    </a:lnTo>
                    <a:lnTo>
                      <a:pt x="5" y="241"/>
                    </a:lnTo>
                    <a:lnTo>
                      <a:pt x="5" y="235"/>
                    </a:lnTo>
                    <a:lnTo>
                      <a:pt x="5" y="225"/>
                    </a:lnTo>
                    <a:lnTo>
                      <a:pt x="5" y="219"/>
                    </a:lnTo>
                    <a:lnTo>
                      <a:pt x="5" y="198"/>
                    </a:lnTo>
                    <a:lnTo>
                      <a:pt x="5" y="177"/>
                    </a:lnTo>
                    <a:lnTo>
                      <a:pt x="5" y="150"/>
                    </a:lnTo>
                    <a:lnTo>
                      <a:pt x="5" y="134"/>
                    </a:lnTo>
                    <a:lnTo>
                      <a:pt x="5" y="91"/>
                    </a:lnTo>
                    <a:lnTo>
                      <a:pt x="5" y="48"/>
                    </a:lnTo>
                    <a:lnTo>
                      <a:pt x="10" y="27"/>
                    </a:lnTo>
                    <a:lnTo>
                      <a:pt x="21" y="11"/>
                    </a:lnTo>
                    <a:lnTo>
                      <a:pt x="16" y="11"/>
                    </a:lnTo>
                    <a:lnTo>
                      <a:pt x="16" y="16"/>
                    </a:lnTo>
                    <a:lnTo>
                      <a:pt x="10" y="16"/>
                    </a:lnTo>
                    <a:lnTo>
                      <a:pt x="10" y="22"/>
                    </a:lnTo>
                    <a:lnTo>
                      <a:pt x="5" y="27"/>
                    </a:lnTo>
                    <a:lnTo>
                      <a:pt x="5" y="38"/>
                    </a:lnTo>
                    <a:lnTo>
                      <a:pt x="5" y="75"/>
                    </a:lnTo>
                    <a:lnTo>
                      <a:pt x="0" y="113"/>
                    </a:lnTo>
                    <a:lnTo>
                      <a:pt x="5" y="155"/>
                    </a:lnTo>
                    <a:lnTo>
                      <a:pt x="5" y="177"/>
                    </a:lnTo>
                    <a:lnTo>
                      <a:pt x="5" y="203"/>
                    </a:lnTo>
                    <a:lnTo>
                      <a:pt x="0" y="235"/>
                    </a:lnTo>
                    <a:lnTo>
                      <a:pt x="5" y="257"/>
                    </a:lnTo>
                    <a:lnTo>
                      <a:pt x="0" y="262"/>
                    </a:lnTo>
                    <a:lnTo>
                      <a:pt x="0" y="278"/>
                    </a:lnTo>
                    <a:close/>
                  </a:path>
                </a:pathLst>
              </a:custGeom>
              <a:solidFill>
                <a:srgbClr val="BCA6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73" name="Freeform 3958"/>
              <p:cNvSpPr>
                <a:spLocks noEditPoints="1"/>
              </p:cNvSpPr>
              <p:nvPr/>
            </p:nvSpPr>
            <p:spPr bwMode="auto">
              <a:xfrm>
                <a:off x="4116" y="2867"/>
                <a:ext cx="288" cy="69"/>
              </a:xfrm>
              <a:custGeom>
                <a:avLst/>
                <a:gdLst>
                  <a:gd name="T0" fmla="*/ 240 w 288"/>
                  <a:gd name="T1" fmla="*/ 32 h 69"/>
                  <a:gd name="T2" fmla="*/ 245 w 288"/>
                  <a:gd name="T3" fmla="*/ 27 h 69"/>
                  <a:gd name="T4" fmla="*/ 256 w 288"/>
                  <a:gd name="T5" fmla="*/ 21 h 69"/>
                  <a:gd name="T6" fmla="*/ 283 w 288"/>
                  <a:gd name="T7" fmla="*/ 27 h 69"/>
                  <a:gd name="T8" fmla="*/ 283 w 288"/>
                  <a:gd name="T9" fmla="*/ 21 h 69"/>
                  <a:gd name="T10" fmla="*/ 288 w 288"/>
                  <a:gd name="T11" fmla="*/ 21 h 69"/>
                  <a:gd name="T12" fmla="*/ 288 w 288"/>
                  <a:gd name="T13" fmla="*/ 27 h 69"/>
                  <a:gd name="T14" fmla="*/ 283 w 288"/>
                  <a:gd name="T15" fmla="*/ 37 h 69"/>
                  <a:gd name="T16" fmla="*/ 277 w 288"/>
                  <a:gd name="T17" fmla="*/ 48 h 69"/>
                  <a:gd name="T18" fmla="*/ 272 w 288"/>
                  <a:gd name="T19" fmla="*/ 64 h 69"/>
                  <a:gd name="T20" fmla="*/ 240 w 288"/>
                  <a:gd name="T21" fmla="*/ 64 h 69"/>
                  <a:gd name="T22" fmla="*/ 235 w 288"/>
                  <a:gd name="T23" fmla="*/ 64 h 69"/>
                  <a:gd name="T24" fmla="*/ 229 w 288"/>
                  <a:gd name="T25" fmla="*/ 69 h 69"/>
                  <a:gd name="T26" fmla="*/ 229 w 288"/>
                  <a:gd name="T27" fmla="*/ 59 h 69"/>
                  <a:gd name="T28" fmla="*/ 240 w 288"/>
                  <a:gd name="T29" fmla="*/ 53 h 69"/>
                  <a:gd name="T30" fmla="*/ 256 w 288"/>
                  <a:gd name="T31" fmla="*/ 43 h 69"/>
                  <a:gd name="T32" fmla="*/ 267 w 288"/>
                  <a:gd name="T33" fmla="*/ 37 h 69"/>
                  <a:gd name="T34" fmla="*/ 261 w 288"/>
                  <a:gd name="T35" fmla="*/ 32 h 69"/>
                  <a:gd name="T36" fmla="*/ 251 w 288"/>
                  <a:gd name="T37" fmla="*/ 32 h 69"/>
                  <a:gd name="T38" fmla="*/ 240 w 288"/>
                  <a:gd name="T39" fmla="*/ 32 h 69"/>
                  <a:gd name="T40" fmla="*/ 240 w 288"/>
                  <a:gd name="T41" fmla="*/ 32 h 69"/>
                  <a:gd name="T42" fmla="*/ 80 w 288"/>
                  <a:gd name="T43" fmla="*/ 5 h 69"/>
                  <a:gd name="T44" fmla="*/ 64 w 288"/>
                  <a:gd name="T45" fmla="*/ 0 h 69"/>
                  <a:gd name="T46" fmla="*/ 59 w 288"/>
                  <a:gd name="T47" fmla="*/ 0 h 69"/>
                  <a:gd name="T48" fmla="*/ 48 w 288"/>
                  <a:gd name="T49" fmla="*/ 0 h 69"/>
                  <a:gd name="T50" fmla="*/ 38 w 288"/>
                  <a:gd name="T51" fmla="*/ 0 h 69"/>
                  <a:gd name="T52" fmla="*/ 32 w 288"/>
                  <a:gd name="T53" fmla="*/ 5 h 69"/>
                  <a:gd name="T54" fmla="*/ 16 w 288"/>
                  <a:gd name="T55" fmla="*/ 11 h 69"/>
                  <a:gd name="T56" fmla="*/ 0 w 288"/>
                  <a:gd name="T57" fmla="*/ 16 h 69"/>
                  <a:gd name="T58" fmla="*/ 16 w 288"/>
                  <a:gd name="T59" fmla="*/ 16 h 69"/>
                  <a:gd name="T60" fmla="*/ 22 w 288"/>
                  <a:gd name="T61" fmla="*/ 16 h 69"/>
                  <a:gd name="T62" fmla="*/ 27 w 288"/>
                  <a:gd name="T63" fmla="*/ 27 h 69"/>
                  <a:gd name="T64" fmla="*/ 38 w 288"/>
                  <a:gd name="T65" fmla="*/ 16 h 69"/>
                  <a:gd name="T66" fmla="*/ 54 w 288"/>
                  <a:gd name="T67" fmla="*/ 16 h 69"/>
                  <a:gd name="T68" fmla="*/ 54 w 288"/>
                  <a:gd name="T69" fmla="*/ 11 h 69"/>
                  <a:gd name="T70" fmla="*/ 59 w 288"/>
                  <a:gd name="T71" fmla="*/ 11 h 69"/>
                  <a:gd name="T72" fmla="*/ 59 w 288"/>
                  <a:gd name="T73" fmla="*/ 5 h 69"/>
                  <a:gd name="T74" fmla="*/ 80 w 288"/>
                  <a:gd name="T75" fmla="*/ 5 h 6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88"/>
                  <a:gd name="T115" fmla="*/ 0 h 69"/>
                  <a:gd name="T116" fmla="*/ 288 w 288"/>
                  <a:gd name="T117" fmla="*/ 69 h 69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88" h="69">
                    <a:moveTo>
                      <a:pt x="240" y="32"/>
                    </a:moveTo>
                    <a:lnTo>
                      <a:pt x="245" y="27"/>
                    </a:lnTo>
                    <a:lnTo>
                      <a:pt x="256" y="21"/>
                    </a:lnTo>
                    <a:lnTo>
                      <a:pt x="283" y="27"/>
                    </a:lnTo>
                    <a:lnTo>
                      <a:pt x="283" y="21"/>
                    </a:lnTo>
                    <a:lnTo>
                      <a:pt x="288" y="21"/>
                    </a:lnTo>
                    <a:lnTo>
                      <a:pt x="288" y="27"/>
                    </a:lnTo>
                    <a:lnTo>
                      <a:pt x="283" y="37"/>
                    </a:lnTo>
                    <a:lnTo>
                      <a:pt x="277" y="48"/>
                    </a:lnTo>
                    <a:lnTo>
                      <a:pt x="272" y="64"/>
                    </a:lnTo>
                    <a:lnTo>
                      <a:pt x="240" y="64"/>
                    </a:lnTo>
                    <a:lnTo>
                      <a:pt x="235" y="64"/>
                    </a:lnTo>
                    <a:lnTo>
                      <a:pt x="229" y="69"/>
                    </a:lnTo>
                    <a:lnTo>
                      <a:pt x="229" y="59"/>
                    </a:lnTo>
                    <a:lnTo>
                      <a:pt x="240" y="53"/>
                    </a:lnTo>
                    <a:lnTo>
                      <a:pt x="256" y="43"/>
                    </a:lnTo>
                    <a:lnTo>
                      <a:pt x="267" y="37"/>
                    </a:lnTo>
                    <a:lnTo>
                      <a:pt x="261" y="32"/>
                    </a:lnTo>
                    <a:lnTo>
                      <a:pt x="251" y="32"/>
                    </a:lnTo>
                    <a:lnTo>
                      <a:pt x="240" y="32"/>
                    </a:lnTo>
                    <a:close/>
                    <a:moveTo>
                      <a:pt x="80" y="5"/>
                    </a:moveTo>
                    <a:lnTo>
                      <a:pt x="64" y="0"/>
                    </a:lnTo>
                    <a:lnTo>
                      <a:pt x="59" y="0"/>
                    </a:lnTo>
                    <a:lnTo>
                      <a:pt x="48" y="0"/>
                    </a:lnTo>
                    <a:lnTo>
                      <a:pt x="38" y="0"/>
                    </a:lnTo>
                    <a:lnTo>
                      <a:pt x="32" y="5"/>
                    </a:lnTo>
                    <a:lnTo>
                      <a:pt x="16" y="11"/>
                    </a:lnTo>
                    <a:lnTo>
                      <a:pt x="0" y="16"/>
                    </a:lnTo>
                    <a:lnTo>
                      <a:pt x="16" y="16"/>
                    </a:lnTo>
                    <a:lnTo>
                      <a:pt x="22" y="16"/>
                    </a:lnTo>
                    <a:lnTo>
                      <a:pt x="27" y="27"/>
                    </a:lnTo>
                    <a:lnTo>
                      <a:pt x="38" y="16"/>
                    </a:lnTo>
                    <a:lnTo>
                      <a:pt x="54" y="16"/>
                    </a:lnTo>
                    <a:lnTo>
                      <a:pt x="54" y="11"/>
                    </a:lnTo>
                    <a:lnTo>
                      <a:pt x="59" y="11"/>
                    </a:lnTo>
                    <a:lnTo>
                      <a:pt x="59" y="5"/>
                    </a:lnTo>
                    <a:lnTo>
                      <a:pt x="80" y="5"/>
                    </a:lnTo>
                    <a:close/>
                  </a:path>
                </a:pathLst>
              </a:custGeom>
              <a:solidFill>
                <a:srgbClr val="D8C19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74" name="Freeform 3959"/>
              <p:cNvSpPr>
                <a:spLocks/>
              </p:cNvSpPr>
              <p:nvPr/>
            </p:nvSpPr>
            <p:spPr bwMode="auto">
              <a:xfrm>
                <a:off x="4297" y="2856"/>
                <a:ext cx="96" cy="32"/>
              </a:xfrm>
              <a:custGeom>
                <a:avLst/>
                <a:gdLst>
                  <a:gd name="T0" fmla="*/ 91 w 96"/>
                  <a:gd name="T1" fmla="*/ 32 h 32"/>
                  <a:gd name="T2" fmla="*/ 75 w 96"/>
                  <a:gd name="T3" fmla="*/ 27 h 32"/>
                  <a:gd name="T4" fmla="*/ 70 w 96"/>
                  <a:gd name="T5" fmla="*/ 22 h 32"/>
                  <a:gd name="T6" fmla="*/ 54 w 96"/>
                  <a:gd name="T7" fmla="*/ 16 h 32"/>
                  <a:gd name="T8" fmla="*/ 38 w 96"/>
                  <a:gd name="T9" fmla="*/ 11 h 32"/>
                  <a:gd name="T10" fmla="*/ 22 w 96"/>
                  <a:gd name="T11" fmla="*/ 6 h 32"/>
                  <a:gd name="T12" fmla="*/ 16 w 96"/>
                  <a:gd name="T13" fmla="*/ 6 h 32"/>
                  <a:gd name="T14" fmla="*/ 6 w 96"/>
                  <a:gd name="T15" fmla="*/ 0 h 32"/>
                  <a:gd name="T16" fmla="*/ 0 w 96"/>
                  <a:gd name="T17" fmla="*/ 11 h 32"/>
                  <a:gd name="T18" fmla="*/ 11 w 96"/>
                  <a:gd name="T19" fmla="*/ 0 h 32"/>
                  <a:gd name="T20" fmla="*/ 27 w 96"/>
                  <a:gd name="T21" fmla="*/ 0 h 32"/>
                  <a:gd name="T22" fmla="*/ 43 w 96"/>
                  <a:gd name="T23" fmla="*/ 6 h 32"/>
                  <a:gd name="T24" fmla="*/ 59 w 96"/>
                  <a:gd name="T25" fmla="*/ 11 h 32"/>
                  <a:gd name="T26" fmla="*/ 75 w 96"/>
                  <a:gd name="T27" fmla="*/ 6 h 32"/>
                  <a:gd name="T28" fmla="*/ 96 w 96"/>
                  <a:gd name="T29" fmla="*/ 11 h 32"/>
                  <a:gd name="T30" fmla="*/ 86 w 96"/>
                  <a:gd name="T31" fmla="*/ 11 h 32"/>
                  <a:gd name="T32" fmla="*/ 80 w 96"/>
                  <a:gd name="T33" fmla="*/ 16 h 32"/>
                  <a:gd name="T34" fmla="*/ 86 w 96"/>
                  <a:gd name="T35" fmla="*/ 16 h 32"/>
                  <a:gd name="T36" fmla="*/ 96 w 96"/>
                  <a:gd name="T37" fmla="*/ 27 h 32"/>
                  <a:gd name="T38" fmla="*/ 91 w 96"/>
                  <a:gd name="T39" fmla="*/ 27 h 32"/>
                  <a:gd name="T40" fmla="*/ 91 w 96"/>
                  <a:gd name="T41" fmla="*/ 32 h 3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96"/>
                  <a:gd name="T64" fmla="*/ 0 h 32"/>
                  <a:gd name="T65" fmla="*/ 96 w 96"/>
                  <a:gd name="T66" fmla="*/ 32 h 3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96" h="32">
                    <a:moveTo>
                      <a:pt x="91" y="32"/>
                    </a:moveTo>
                    <a:lnTo>
                      <a:pt x="75" y="27"/>
                    </a:lnTo>
                    <a:lnTo>
                      <a:pt x="70" y="22"/>
                    </a:lnTo>
                    <a:lnTo>
                      <a:pt x="54" y="16"/>
                    </a:lnTo>
                    <a:lnTo>
                      <a:pt x="38" y="11"/>
                    </a:lnTo>
                    <a:lnTo>
                      <a:pt x="22" y="6"/>
                    </a:lnTo>
                    <a:lnTo>
                      <a:pt x="16" y="6"/>
                    </a:lnTo>
                    <a:lnTo>
                      <a:pt x="6" y="0"/>
                    </a:lnTo>
                    <a:lnTo>
                      <a:pt x="0" y="11"/>
                    </a:lnTo>
                    <a:lnTo>
                      <a:pt x="11" y="0"/>
                    </a:lnTo>
                    <a:lnTo>
                      <a:pt x="27" y="0"/>
                    </a:lnTo>
                    <a:lnTo>
                      <a:pt x="43" y="6"/>
                    </a:lnTo>
                    <a:lnTo>
                      <a:pt x="59" y="11"/>
                    </a:lnTo>
                    <a:lnTo>
                      <a:pt x="75" y="6"/>
                    </a:lnTo>
                    <a:lnTo>
                      <a:pt x="96" y="11"/>
                    </a:lnTo>
                    <a:lnTo>
                      <a:pt x="86" y="11"/>
                    </a:lnTo>
                    <a:lnTo>
                      <a:pt x="80" y="16"/>
                    </a:lnTo>
                    <a:lnTo>
                      <a:pt x="86" y="16"/>
                    </a:lnTo>
                    <a:lnTo>
                      <a:pt x="96" y="27"/>
                    </a:lnTo>
                    <a:lnTo>
                      <a:pt x="91" y="27"/>
                    </a:lnTo>
                    <a:lnTo>
                      <a:pt x="91" y="32"/>
                    </a:lnTo>
                    <a:close/>
                  </a:path>
                </a:pathLst>
              </a:custGeom>
              <a:solidFill>
                <a:srgbClr val="D8C19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75" name="Freeform 3960"/>
              <p:cNvSpPr>
                <a:spLocks/>
              </p:cNvSpPr>
              <p:nvPr/>
            </p:nvSpPr>
            <p:spPr bwMode="auto">
              <a:xfrm>
                <a:off x="4218" y="3011"/>
                <a:ext cx="32" cy="176"/>
              </a:xfrm>
              <a:custGeom>
                <a:avLst/>
                <a:gdLst>
                  <a:gd name="T0" fmla="*/ 0 w 32"/>
                  <a:gd name="T1" fmla="*/ 0 h 176"/>
                  <a:gd name="T2" fmla="*/ 16 w 32"/>
                  <a:gd name="T3" fmla="*/ 38 h 176"/>
                  <a:gd name="T4" fmla="*/ 26 w 32"/>
                  <a:gd name="T5" fmla="*/ 70 h 176"/>
                  <a:gd name="T6" fmla="*/ 26 w 32"/>
                  <a:gd name="T7" fmla="*/ 118 h 176"/>
                  <a:gd name="T8" fmla="*/ 32 w 32"/>
                  <a:gd name="T9" fmla="*/ 144 h 176"/>
                  <a:gd name="T10" fmla="*/ 32 w 32"/>
                  <a:gd name="T11" fmla="*/ 176 h 17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2"/>
                  <a:gd name="T19" fmla="*/ 0 h 176"/>
                  <a:gd name="T20" fmla="*/ 32 w 32"/>
                  <a:gd name="T21" fmla="*/ 176 h 17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2" h="176">
                    <a:moveTo>
                      <a:pt x="0" y="0"/>
                    </a:moveTo>
                    <a:lnTo>
                      <a:pt x="16" y="38"/>
                    </a:lnTo>
                    <a:lnTo>
                      <a:pt x="26" y="70"/>
                    </a:lnTo>
                    <a:lnTo>
                      <a:pt x="26" y="118"/>
                    </a:lnTo>
                    <a:lnTo>
                      <a:pt x="32" y="144"/>
                    </a:lnTo>
                    <a:lnTo>
                      <a:pt x="32" y="176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76" name="Freeform 3961"/>
              <p:cNvSpPr>
                <a:spLocks/>
              </p:cNvSpPr>
              <p:nvPr/>
            </p:nvSpPr>
            <p:spPr bwMode="auto">
              <a:xfrm>
                <a:off x="4244" y="3049"/>
                <a:ext cx="11" cy="21"/>
              </a:xfrm>
              <a:custGeom>
                <a:avLst/>
                <a:gdLst>
                  <a:gd name="T0" fmla="*/ 0 w 11"/>
                  <a:gd name="T1" fmla="*/ 21 h 21"/>
                  <a:gd name="T2" fmla="*/ 6 w 11"/>
                  <a:gd name="T3" fmla="*/ 10 h 21"/>
                  <a:gd name="T4" fmla="*/ 11 w 11"/>
                  <a:gd name="T5" fmla="*/ 0 h 21"/>
                  <a:gd name="T6" fmla="*/ 0 60000 65536"/>
                  <a:gd name="T7" fmla="*/ 0 60000 65536"/>
                  <a:gd name="T8" fmla="*/ 0 60000 65536"/>
                  <a:gd name="T9" fmla="*/ 0 w 11"/>
                  <a:gd name="T10" fmla="*/ 0 h 21"/>
                  <a:gd name="T11" fmla="*/ 11 w 11"/>
                  <a:gd name="T12" fmla="*/ 21 h 2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1" h="21">
                    <a:moveTo>
                      <a:pt x="0" y="21"/>
                    </a:moveTo>
                    <a:lnTo>
                      <a:pt x="6" y="10"/>
                    </a:lnTo>
                    <a:lnTo>
                      <a:pt x="11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77" name="Freeform 3962"/>
              <p:cNvSpPr>
                <a:spLocks/>
              </p:cNvSpPr>
              <p:nvPr/>
            </p:nvSpPr>
            <p:spPr bwMode="auto">
              <a:xfrm>
                <a:off x="4223" y="3070"/>
                <a:ext cx="16" cy="5"/>
              </a:xfrm>
              <a:custGeom>
                <a:avLst/>
                <a:gdLst>
                  <a:gd name="T0" fmla="*/ 16 w 16"/>
                  <a:gd name="T1" fmla="*/ 0 h 5"/>
                  <a:gd name="T2" fmla="*/ 11 w 16"/>
                  <a:gd name="T3" fmla="*/ 0 h 5"/>
                  <a:gd name="T4" fmla="*/ 0 w 16"/>
                  <a:gd name="T5" fmla="*/ 5 h 5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5"/>
                  <a:gd name="T11" fmla="*/ 16 w 16"/>
                  <a:gd name="T12" fmla="*/ 5 h 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5">
                    <a:moveTo>
                      <a:pt x="16" y="0"/>
                    </a:moveTo>
                    <a:lnTo>
                      <a:pt x="11" y="0"/>
                    </a:lnTo>
                    <a:lnTo>
                      <a:pt x="0" y="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78" name="Freeform 3963"/>
              <p:cNvSpPr>
                <a:spLocks/>
              </p:cNvSpPr>
              <p:nvPr/>
            </p:nvSpPr>
            <p:spPr bwMode="auto">
              <a:xfrm>
                <a:off x="4239" y="3038"/>
                <a:ext cx="11" cy="21"/>
              </a:xfrm>
              <a:custGeom>
                <a:avLst/>
                <a:gdLst>
                  <a:gd name="T0" fmla="*/ 0 w 11"/>
                  <a:gd name="T1" fmla="*/ 21 h 21"/>
                  <a:gd name="T2" fmla="*/ 5 w 11"/>
                  <a:gd name="T3" fmla="*/ 11 h 21"/>
                  <a:gd name="T4" fmla="*/ 11 w 11"/>
                  <a:gd name="T5" fmla="*/ 0 h 21"/>
                  <a:gd name="T6" fmla="*/ 0 60000 65536"/>
                  <a:gd name="T7" fmla="*/ 0 60000 65536"/>
                  <a:gd name="T8" fmla="*/ 0 60000 65536"/>
                  <a:gd name="T9" fmla="*/ 0 w 11"/>
                  <a:gd name="T10" fmla="*/ 0 h 21"/>
                  <a:gd name="T11" fmla="*/ 11 w 11"/>
                  <a:gd name="T12" fmla="*/ 21 h 2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1" h="21">
                    <a:moveTo>
                      <a:pt x="0" y="21"/>
                    </a:moveTo>
                    <a:lnTo>
                      <a:pt x="5" y="11"/>
                    </a:lnTo>
                    <a:lnTo>
                      <a:pt x="11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79" name="Freeform 3964"/>
              <p:cNvSpPr>
                <a:spLocks/>
              </p:cNvSpPr>
              <p:nvPr/>
            </p:nvSpPr>
            <p:spPr bwMode="auto">
              <a:xfrm>
                <a:off x="4223" y="3059"/>
                <a:ext cx="16" cy="6"/>
              </a:xfrm>
              <a:custGeom>
                <a:avLst/>
                <a:gdLst>
                  <a:gd name="T0" fmla="*/ 16 w 16"/>
                  <a:gd name="T1" fmla="*/ 0 h 6"/>
                  <a:gd name="T2" fmla="*/ 5 w 16"/>
                  <a:gd name="T3" fmla="*/ 6 h 6"/>
                  <a:gd name="T4" fmla="*/ 0 w 16"/>
                  <a:gd name="T5" fmla="*/ 6 h 6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6"/>
                  <a:gd name="T11" fmla="*/ 16 w 16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6">
                    <a:moveTo>
                      <a:pt x="16" y="0"/>
                    </a:moveTo>
                    <a:lnTo>
                      <a:pt x="5" y="6"/>
                    </a:lnTo>
                    <a:lnTo>
                      <a:pt x="0" y="6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80" name="Freeform 3965"/>
              <p:cNvSpPr>
                <a:spLocks/>
              </p:cNvSpPr>
              <p:nvPr/>
            </p:nvSpPr>
            <p:spPr bwMode="auto">
              <a:xfrm>
                <a:off x="4239" y="3027"/>
                <a:ext cx="5" cy="22"/>
              </a:xfrm>
              <a:custGeom>
                <a:avLst/>
                <a:gdLst>
                  <a:gd name="T0" fmla="*/ 0 w 5"/>
                  <a:gd name="T1" fmla="*/ 22 h 22"/>
                  <a:gd name="T2" fmla="*/ 0 w 5"/>
                  <a:gd name="T3" fmla="*/ 11 h 22"/>
                  <a:gd name="T4" fmla="*/ 5 w 5"/>
                  <a:gd name="T5" fmla="*/ 0 h 22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22"/>
                  <a:gd name="T11" fmla="*/ 5 w 5"/>
                  <a:gd name="T12" fmla="*/ 22 h 2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22">
                    <a:moveTo>
                      <a:pt x="0" y="22"/>
                    </a:moveTo>
                    <a:lnTo>
                      <a:pt x="0" y="11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81" name="Freeform 3966"/>
              <p:cNvSpPr>
                <a:spLocks/>
              </p:cNvSpPr>
              <p:nvPr/>
            </p:nvSpPr>
            <p:spPr bwMode="auto">
              <a:xfrm>
                <a:off x="4218" y="3054"/>
                <a:ext cx="16" cy="1"/>
              </a:xfrm>
              <a:custGeom>
                <a:avLst/>
                <a:gdLst>
                  <a:gd name="T0" fmla="*/ 16 w 16"/>
                  <a:gd name="T1" fmla="*/ 0 h 1"/>
                  <a:gd name="T2" fmla="*/ 5 w 16"/>
                  <a:gd name="T3" fmla="*/ 0 h 1"/>
                  <a:gd name="T4" fmla="*/ 0 w 16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1"/>
                  <a:gd name="T11" fmla="*/ 16 w 16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1">
                    <a:moveTo>
                      <a:pt x="16" y="0"/>
                    </a:moveTo>
                    <a:lnTo>
                      <a:pt x="5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82" name="Freeform 3967"/>
              <p:cNvSpPr>
                <a:spLocks/>
              </p:cNvSpPr>
              <p:nvPr/>
            </p:nvSpPr>
            <p:spPr bwMode="auto">
              <a:xfrm>
                <a:off x="4234" y="3016"/>
                <a:ext cx="5" cy="17"/>
              </a:xfrm>
              <a:custGeom>
                <a:avLst/>
                <a:gdLst>
                  <a:gd name="T0" fmla="*/ 0 w 5"/>
                  <a:gd name="T1" fmla="*/ 17 h 17"/>
                  <a:gd name="T2" fmla="*/ 0 w 5"/>
                  <a:gd name="T3" fmla="*/ 11 h 17"/>
                  <a:gd name="T4" fmla="*/ 5 w 5"/>
                  <a:gd name="T5" fmla="*/ 0 h 17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17"/>
                  <a:gd name="T11" fmla="*/ 5 w 5"/>
                  <a:gd name="T12" fmla="*/ 17 h 1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17">
                    <a:moveTo>
                      <a:pt x="0" y="17"/>
                    </a:moveTo>
                    <a:lnTo>
                      <a:pt x="0" y="11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83" name="Freeform 3968"/>
              <p:cNvSpPr>
                <a:spLocks/>
              </p:cNvSpPr>
              <p:nvPr/>
            </p:nvSpPr>
            <p:spPr bwMode="auto">
              <a:xfrm>
                <a:off x="4218" y="3043"/>
                <a:ext cx="10" cy="1"/>
              </a:xfrm>
              <a:custGeom>
                <a:avLst/>
                <a:gdLst>
                  <a:gd name="T0" fmla="*/ 10 w 10"/>
                  <a:gd name="T1" fmla="*/ 0 h 1"/>
                  <a:gd name="T2" fmla="*/ 5 w 10"/>
                  <a:gd name="T3" fmla="*/ 0 h 1"/>
                  <a:gd name="T4" fmla="*/ 0 w 10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0"/>
                  <a:gd name="T10" fmla="*/ 0 h 1"/>
                  <a:gd name="T11" fmla="*/ 10 w 10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0" h="1">
                    <a:moveTo>
                      <a:pt x="10" y="0"/>
                    </a:moveTo>
                    <a:lnTo>
                      <a:pt x="5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84" name="Freeform 3969"/>
              <p:cNvSpPr>
                <a:spLocks/>
              </p:cNvSpPr>
              <p:nvPr/>
            </p:nvSpPr>
            <p:spPr bwMode="auto">
              <a:xfrm>
                <a:off x="4228" y="3011"/>
                <a:ext cx="6" cy="16"/>
              </a:xfrm>
              <a:custGeom>
                <a:avLst/>
                <a:gdLst>
                  <a:gd name="T0" fmla="*/ 0 w 6"/>
                  <a:gd name="T1" fmla="*/ 16 h 16"/>
                  <a:gd name="T2" fmla="*/ 0 w 6"/>
                  <a:gd name="T3" fmla="*/ 5 h 16"/>
                  <a:gd name="T4" fmla="*/ 6 w 6"/>
                  <a:gd name="T5" fmla="*/ 0 h 16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16"/>
                  <a:gd name="T11" fmla="*/ 6 w 6"/>
                  <a:gd name="T12" fmla="*/ 16 h 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16">
                    <a:moveTo>
                      <a:pt x="0" y="16"/>
                    </a:moveTo>
                    <a:lnTo>
                      <a:pt x="0" y="5"/>
                    </a:lnTo>
                    <a:lnTo>
                      <a:pt x="6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85" name="Freeform 3970"/>
              <p:cNvSpPr>
                <a:spLocks/>
              </p:cNvSpPr>
              <p:nvPr/>
            </p:nvSpPr>
            <p:spPr bwMode="auto">
              <a:xfrm>
                <a:off x="4212" y="3027"/>
                <a:ext cx="11" cy="6"/>
              </a:xfrm>
              <a:custGeom>
                <a:avLst/>
                <a:gdLst>
                  <a:gd name="T0" fmla="*/ 11 w 11"/>
                  <a:gd name="T1" fmla="*/ 6 h 6"/>
                  <a:gd name="T2" fmla="*/ 6 w 11"/>
                  <a:gd name="T3" fmla="*/ 0 h 6"/>
                  <a:gd name="T4" fmla="*/ 0 w 11"/>
                  <a:gd name="T5" fmla="*/ 0 h 6"/>
                  <a:gd name="T6" fmla="*/ 0 60000 65536"/>
                  <a:gd name="T7" fmla="*/ 0 60000 65536"/>
                  <a:gd name="T8" fmla="*/ 0 60000 65536"/>
                  <a:gd name="T9" fmla="*/ 0 w 11"/>
                  <a:gd name="T10" fmla="*/ 0 h 6"/>
                  <a:gd name="T11" fmla="*/ 11 w 11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1" h="6">
                    <a:moveTo>
                      <a:pt x="11" y="6"/>
                    </a:moveTo>
                    <a:lnTo>
                      <a:pt x="6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86" name="Freeform 3971"/>
              <p:cNvSpPr>
                <a:spLocks/>
              </p:cNvSpPr>
              <p:nvPr/>
            </p:nvSpPr>
            <p:spPr bwMode="auto">
              <a:xfrm>
                <a:off x="4223" y="3011"/>
                <a:ext cx="5" cy="11"/>
              </a:xfrm>
              <a:custGeom>
                <a:avLst/>
                <a:gdLst>
                  <a:gd name="T0" fmla="*/ 0 w 5"/>
                  <a:gd name="T1" fmla="*/ 11 h 11"/>
                  <a:gd name="T2" fmla="*/ 0 w 5"/>
                  <a:gd name="T3" fmla="*/ 5 h 11"/>
                  <a:gd name="T4" fmla="*/ 5 w 5"/>
                  <a:gd name="T5" fmla="*/ 0 h 11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11"/>
                  <a:gd name="T11" fmla="*/ 5 w 5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11">
                    <a:moveTo>
                      <a:pt x="0" y="11"/>
                    </a:moveTo>
                    <a:lnTo>
                      <a:pt x="0" y="5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87" name="Freeform 3972"/>
              <p:cNvSpPr>
                <a:spLocks/>
              </p:cNvSpPr>
              <p:nvPr/>
            </p:nvSpPr>
            <p:spPr bwMode="auto">
              <a:xfrm>
                <a:off x="4212" y="3022"/>
                <a:ext cx="11" cy="1"/>
              </a:xfrm>
              <a:custGeom>
                <a:avLst/>
                <a:gdLst>
                  <a:gd name="T0" fmla="*/ 11 w 11"/>
                  <a:gd name="T1" fmla="*/ 0 h 1"/>
                  <a:gd name="T2" fmla="*/ 6 w 11"/>
                  <a:gd name="T3" fmla="*/ 0 h 1"/>
                  <a:gd name="T4" fmla="*/ 0 w 11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1"/>
                  <a:gd name="T10" fmla="*/ 0 h 1"/>
                  <a:gd name="T11" fmla="*/ 11 w 1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1" h="1">
                    <a:moveTo>
                      <a:pt x="11" y="0"/>
                    </a:moveTo>
                    <a:lnTo>
                      <a:pt x="6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88" name="Freeform 3973"/>
              <p:cNvSpPr>
                <a:spLocks/>
              </p:cNvSpPr>
              <p:nvPr/>
            </p:nvSpPr>
            <p:spPr bwMode="auto">
              <a:xfrm>
                <a:off x="4228" y="3022"/>
                <a:ext cx="75" cy="171"/>
              </a:xfrm>
              <a:custGeom>
                <a:avLst/>
                <a:gdLst>
                  <a:gd name="T0" fmla="*/ 75 w 75"/>
                  <a:gd name="T1" fmla="*/ 0 h 171"/>
                  <a:gd name="T2" fmla="*/ 48 w 75"/>
                  <a:gd name="T3" fmla="*/ 32 h 171"/>
                  <a:gd name="T4" fmla="*/ 27 w 75"/>
                  <a:gd name="T5" fmla="*/ 64 h 171"/>
                  <a:gd name="T6" fmla="*/ 11 w 75"/>
                  <a:gd name="T7" fmla="*/ 107 h 171"/>
                  <a:gd name="T8" fmla="*/ 0 w 75"/>
                  <a:gd name="T9" fmla="*/ 171 h 17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5"/>
                  <a:gd name="T16" fmla="*/ 0 h 171"/>
                  <a:gd name="T17" fmla="*/ 75 w 75"/>
                  <a:gd name="T18" fmla="*/ 171 h 17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5" h="171">
                    <a:moveTo>
                      <a:pt x="75" y="0"/>
                    </a:moveTo>
                    <a:lnTo>
                      <a:pt x="48" y="32"/>
                    </a:lnTo>
                    <a:lnTo>
                      <a:pt x="27" y="64"/>
                    </a:lnTo>
                    <a:lnTo>
                      <a:pt x="11" y="107"/>
                    </a:lnTo>
                    <a:lnTo>
                      <a:pt x="0" y="171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89" name="Freeform 3974"/>
              <p:cNvSpPr>
                <a:spLocks/>
              </p:cNvSpPr>
              <p:nvPr/>
            </p:nvSpPr>
            <p:spPr bwMode="auto">
              <a:xfrm>
                <a:off x="4260" y="3049"/>
                <a:ext cx="6" cy="26"/>
              </a:xfrm>
              <a:custGeom>
                <a:avLst/>
                <a:gdLst>
                  <a:gd name="T0" fmla="*/ 6 w 6"/>
                  <a:gd name="T1" fmla="*/ 26 h 26"/>
                  <a:gd name="T2" fmla="*/ 0 w 6"/>
                  <a:gd name="T3" fmla="*/ 16 h 26"/>
                  <a:gd name="T4" fmla="*/ 0 w 6"/>
                  <a:gd name="T5" fmla="*/ 0 h 26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26"/>
                  <a:gd name="T11" fmla="*/ 6 w 6"/>
                  <a:gd name="T12" fmla="*/ 26 h 2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26">
                    <a:moveTo>
                      <a:pt x="6" y="26"/>
                    </a:moveTo>
                    <a:lnTo>
                      <a:pt x="0" y="16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90" name="Freeform 3975"/>
              <p:cNvSpPr>
                <a:spLocks/>
              </p:cNvSpPr>
              <p:nvPr/>
            </p:nvSpPr>
            <p:spPr bwMode="auto">
              <a:xfrm>
                <a:off x="4266" y="3075"/>
                <a:ext cx="15" cy="11"/>
              </a:xfrm>
              <a:custGeom>
                <a:avLst/>
                <a:gdLst>
                  <a:gd name="T0" fmla="*/ 0 w 15"/>
                  <a:gd name="T1" fmla="*/ 0 h 11"/>
                  <a:gd name="T2" fmla="*/ 5 w 15"/>
                  <a:gd name="T3" fmla="*/ 6 h 11"/>
                  <a:gd name="T4" fmla="*/ 15 w 15"/>
                  <a:gd name="T5" fmla="*/ 11 h 11"/>
                  <a:gd name="T6" fmla="*/ 0 60000 65536"/>
                  <a:gd name="T7" fmla="*/ 0 60000 65536"/>
                  <a:gd name="T8" fmla="*/ 0 60000 65536"/>
                  <a:gd name="T9" fmla="*/ 0 w 15"/>
                  <a:gd name="T10" fmla="*/ 0 h 11"/>
                  <a:gd name="T11" fmla="*/ 15 w 15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" h="11">
                    <a:moveTo>
                      <a:pt x="0" y="0"/>
                    </a:moveTo>
                    <a:lnTo>
                      <a:pt x="5" y="6"/>
                    </a:lnTo>
                    <a:lnTo>
                      <a:pt x="15" y="11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91" name="Freeform 3976"/>
              <p:cNvSpPr>
                <a:spLocks/>
              </p:cNvSpPr>
              <p:nvPr/>
            </p:nvSpPr>
            <p:spPr bwMode="auto">
              <a:xfrm>
                <a:off x="4266" y="3038"/>
                <a:ext cx="5" cy="27"/>
              </a:xfrm>
              <a:custGeom>
                <a:avLst/>
                <a:gdLst>
                  <a:gd name="T0" fmla="*/ 5 w 5"/>
                  <a:gd name="T1" fmla="*/ 27 h 27"/>
                  <a:gd name="T2" fmla="*/ 0 w 5"/>
                  <a:gd name="T3" fmla="*/ 11 h 27"/>
                  <a:gd name="T4" fmla="*/ 5 w 5"/>
                  <a:gd name="T5" fmla="*/ 0 h 27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27"/>
                  <a:gd name="T11" fmla="*/ 5 w 5"/>
                  <a:gd name="T12" fmla="*/ 27 h 2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27">
                    <a:moveTo>
                      <a:pt x="5" y="27"/>
                    </a:moveTo>
                    <a:lnTo>
                      <a:pt x="0" y="11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92" name="Freeform 3977"/>
              <p:cNvSpPr>
                <a:spLocks/>
              </p:cNvSpPr>
              <p:nvPr/>
            </p:nvSpPr>
            <p:spPr bwMode="auto">
              <a:xfrm>
                <a:off x="4271" y="3065"/>
                <a:ext cx="16" cy="10"/>
              </a:xfrm>
              <a:custGeom>
                <a:avLst/>
                <a:gdLst>
                  <a:gd name="T0" fmla="*/ 0 w 16"/>
                  <a:gd name="T1" fmla="*/ 0 h 10"/>
                  <a:gd name="T2" fmla="*/ 5 w 16"/>
                  <a:gd name="T3" fmla="*/ 5 h 10"/>
                  <a:gd name="T4" fmla="*/ 16 w 16"/>
                  <a:gd name="T5" fmla="*/ 10 h 10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10"/>
                  <a:gd name="T11" fmla="*/ 16 w 16"/>
                  <a:gd name="T12" fmla="*/ 10 h 1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10">
                    <a:moveTo>
                      <a:pt x="0" y="0"/>
                    </a:moveTo>
                    <a:lnTo>
                      <a:pt x="5" y="5"/>
                    </a:lnTo>
                    <a:lnTo>
                      <a:pt x="16" y="1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93" name="Freeform 3978"/>
              <p:cNvSpPr>
                <a:spLocks/>
              </p:cNvSpPr>
              <p:nvPr/>
            </p:nvSpPr>
            <p:spPr bwMode="auto">
              <a:xfrm>
                <a:off x="4271" y="3027"/>
                <a:ext cx="5" cy="27"/>
              </a:xfrm>
              <a:custGeom>
                <a:avLst/>
                <a:gdLst>
                  <a:gd name="T0" fmla="*/ 5 w 5"/>
                  <a:gd name="T1" fmla="*/ 27 h 27"/>
                  <a:gd name="T2" fmla="*/ 0 w 5"/>
                  <a:gd name="T3" fmla="*/ 11 h 27"/>
                  <a:gd name="T4" fmla="*/ 5 w 5"/>
                  <a:gd name="T5" fmla="*/ 0 h 27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27"/>
                  <a:gd name="T11" fmla="*/ 5 w 5"/>
                  <a:gd name="T12" fmla="*/ 27 h 2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27">
                    <a:moveTo>
                      <a:pt x="5" y="27"/>
                    </a:moveTo>
                    <a:lnTo>
                      <a:pt x="0" y="11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94" name="Freeform 3979"/>
              <p:cNvSpPr>
                <a:spLocks/>
              </p:cNvSpPr>
              <p:nvPr/>
            </p:nvSpPr>
            <p:spPr bwMode="auto">
              <a:xfrm>
                <a:off x="4276" y="3059"/>
                <a:ext cx="16" cy="6"/>
              </a:xfrm>
              <a:custGeom>
                <a:avLst/>
                <a:gdLst>
                  <a:gd name="T0" fmla="*/ 0 w 16"/>
                  <a:gd name="T1" fmla="*/ 0 h 6"/>
                  <a:gd name="T2" fmla="*/ 5 w 16"/>
                  <a:gd name="T3" fmla="*/ 0 h 6"/>
                  <a:gd name="T4" fmla="*/ 16 w 16"/>
                  <a:gd name="T5" fmla="*/ 6 h 6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6"/>
                  <a:gd name="T11" fmla="*/ 16 w 16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6">
                    <a:moveTo>
                      <a:pt x="0" y="0"/>
                    </a:moveTo>
                    <a:lnTo>
                      <a:pt x="5" y="0"/>
                    </a:lnTo>
                    <a:lnTo>
                      <a:pt x="16" y="6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95" name="Freeform 3980"/>
              <p:cNvSpPr>
                <a:spLocks/>
              </p:cNvSpPr>
              <p:nvPr/>
            </p:nvSpPr>
            <p:spPr bwMode="auto">
              <a:xfrm>
                <a:off x="4281" y="3022"/>
                <a:ext cx="1" cy="21"/>
              </a:xfrm>
              <a:custGeom>
                <a:avLst/>
                <a:gdLst>
                  <a:gd name="T0" fmla="*/ 0 w 1"/>
                  <a:gd name="T1" fmla="*/ 21 h 21"/>
                  <a:gd name="T2" fmla="*/ 0 w 1"/>
                  <a:gd name="T3" fmla="*/ 11 h 21"/>
                  <a:gd name="T4" fmla="*/ 0 w 1"/>
                  <a:gd name="T5" fmla="*/ 0 h 2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21"/>
                  <a:gd name="T11" fmla="*/ 1 w 1"/>
                  <a:gd name="T12" fmla="*/ 21 h 2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21">
                    <a:moveTo>
                      <a:pt x="0" y="21"/>
                    </a:moveTo>
                    <a:lnTo>
                      <a:pt x="0" y="11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96" name="Freeform 3981"/>
              <p:cNvSpPr>
                <a:spLocks/>
              </p:cNvSpPr>
              <p:nvPr/>
            </p:nvSpPr>
            <p:spPr bwMode="auto">
              <a:xfrm>
                <a:off x="4287" y="3049"/>
                <a:ext cx="10" cy="5"/>
              </a:xfrm>
              <a:custGeom>
                <a:avLst/>
                <a:gdLst>
                  <a:gd name="T0" fmla="*/ 0 w 10"/>
                  <a:gd name="T1" fmla="*/ 0 h 5"/>
                  <a:gd name="T2" fmla="*/ 0 w 10"/>
                  <a:gd name="T3" fmla="*/ 0 h 5"/>
                  <a:gd name="T4" fmla="*/ 10 w 10"/>
                  <a:gd name="T5" fmla="*/ 5 h 5"/>
                  <a:gd name="T6" fmla="*/ 0 60000 65536"/>
                  <a:gd name="T7" fmla="*/ 0 60000 65536"/>
                  <a:gd name="T8" fmla="*/ 0 60000 65536"/>
                  <a:gd name="T9" fmla="*/ 0 w 10"/>
                  <a:gd name="T10" fmla="*/ 0 h 5"/>
                  <a:gd name="T11" fmla="*/ 10 w 10"/>
                  <a:gd name="T12" fmla="*/ 5 h 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0" h="5">
                    <a:moveTo>
                      <a:pt x="0" y="0"/>
                    </a:moveTo>
                    <a:lnTo>
                      <a:pt x="0" y="0"/>
                    </a:lnTo>
                    <a:lnTo>
                      <a:pt x="10" y="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97" name="Freeform 3982"/>
              <p:cNvSpPr>
                <a:spLocks/>
              </p:cNvSpPr>
              <p:nvPr/>
            </p:nvSpPr>
            <p:spPr bwMode="auto">
              <a:xfrm>
                <a:off x="4287" y="3016"/>
                <a:ext cx="5" cy="17"/>
              </a:xfrm>
              <a:custGeom>
                <a:avLst/>
                <a:gdLst>
                  <a:gd name="T0" fmla="*/ 0 w 5"/>
                  <a:gd name="T1" fmla="*/ 17 h 17"/>
                  <a:gd name="T2" fmla="*/ 0 w 5"/>
                  <a:gd name="T3" fmla="*/ 6 h 17"/>
                  <a:gd name="T4" fmla="*/ 5 w 5"/>
                  <a:gd name="T5" fmla="*/ 0 h 17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17"/>
                  <a:gd name="T11" fmla="*/ 5 w 5"/>
                  <a:gd name="T12" fmla="*/ 17 h 1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17">
                    <a:moveTo>
                      <a:pt x="0" y="17"/>
                    </a:moveTo>
                    <a:lnTo>
                      <a:pt x="0" y="6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98" name="Freeform 3983"/>
              <p:cNvSpPr>
                <a:spLocks/>
              </p:cNvSpPr>
              <p:nvPr/>
            </p:nvSpPr>
            <p:spPr bwMode="auto">
              <a:xfrm>
                <a:off x="4292" y="3038"/>
                <a:ext cx="11" cy="5"/>
              </a:xfrm>
              <a:custGeom>
                <a:avLst/>
                <a:gdLst>
                  <a:gd name="T0" fmla="*/ 0 w 11"/>
                  <a:gd name="T1" fmla="*/ 5 h 5"/>
                  <a:gd name="T2" fmla="*/ 0 w 11"/>
                  <a:gd name="T3" fmla="*/ 0 h 5"/>
                  <a:gd name="T4" fmla="*/ 11 w 11"/>
                  <a:gd name="T5" fmla="*/ 0 h 5"/>
                  <a:gd name="T6" fmla="*/ 0 60000 65536"/>
                  <a:gd name="T7" fmla="*/ 0 60000 65536"/>
                  <a:gd name="T8" fmla="*/ 0 60000 65536"/>
                  <a:gd name="T9" fmla="*/ 0 w 11"/>
                  <a:gd name="T10" fmla="*/ 0 h 5"/>
                  <a:gd name="T11" fmla="*/ 11 w 11"/>
                  <a:gd name="T12" fmla="*/ 5 h 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1" h="5">
                    <a:moveTo>
                      <a:pt x="0" y="5"/>
                    </a:moveTo>
                    <a:lnTo>
                      <a:pt x="0" y="0"/>
                    </a:lnTo>
                    <a:lnTo>
                      <a:pt x="11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99" name="Freeform 3984"/>
              <p:cNvSpPr>
                <a:spLocks/>
              </p:cNvSpPr>
              <p:nvPr/>
            </p:nvSpPr>
            <p:spPr bwMode="auto">
              <a:xfrm>
                <a:off x="4292" y="3016"/>
                <a:ext cx="5" cy="11"/>
              </a:xfrm>
              <a:custGeom>
                <a:avLst/>
                <a:gdLst>
                  <a:gd name="T0" fmla="*/ 0 w 5"/>
                  <a:gd name="T1" fmla="*/ 11 h 11"/>
                  <a:gd name="T2" fmla="*/ 0 w 5"/>
                  <a:gd name="T3" fmla="*/ 6 h 11"/>
                  <a:gd name="T4" fmla="*/ 5 w 5"/>
                  <a:gd name="T5" fmla="*/ 0 h 11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11"/>
                  <a:gd name="T11" fmla="*/ 5 w 5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11">
                    <a:moveTo>
                      <a:pt x="0" y="11"/>
                    </a:moveTo>
                    <a:lnTo>
                      <a:pt x="0" y="6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00" name="Freeform 3985"/>
              <p:cNvSpPr>
                <a:spLocks/>
              </p:cNvSpPr>
              <p:nvPr/>
            </p:nvSpPr>
            <p:spPr bwMode="auto">
              <a:xfrm>
                <a:off x="4297" y="3033"/>
                <a:ext cx="6" cy="1"/>
              </a:xfrm>
              <a:custGeom>
                <a:avLst/>
                <a:gdLst>
                  <a:gd name="T0" fmla="*/ 0 w 6"/>
                  <a:gd name="T1" fmla="*/ 0 h 1"/>
                  <a:gd name="T2" fmla="*/ 0 w 6"/>
                  <a:gd name="T3" fmla="*/ 0 h 1"/>
                  <a:gd name="T4" fmla="*/ 6 w 6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1"/>
                  <a:gd name="T11" fmla="*/ 6 w 6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1">
                    <a:moveTo>
                      <a:pt x="0" y="0"/>
                    </a:moveTo>
                    <a:lnTo>
                      <a:pt x="0" y="0"/>
                    </a:lnTo>
                    <a:lnTo>
                      <a:pt x="6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01" name="Freeform 3986"/>
              <p:cNvSpPr>
                <a:spLocks/>
              </p:cNvSpPr>
              <p:nvPr/>
            </p:nvSpPr>
            <p:spPr bwMode="auto">
              <a:xfrm>
                <a:off x="4175" y="3075"/>
                <a:ext cx="59" cy="112"/>
              </a:xfrm>
              <a:custGeom>
                <a:avLst/>
                <a:gdLst>
                  <a:gd name="T0" fmla="*/ 32 w 59"/>
                  <a:gd name="T1" fmla="*/ 0 h 112"/>
                  <a:gd name="T2" fmla="*/ 21 w 59"/>
                  <a:gd name="T3" fmla="*/ 6 h 112"/>
                  <a:gd name="T4" fmla="*/ 16 w 59"/>
                  <a:gd name="T5" fmla="*/ 22 h 112"/>
                  <a:gd name="T6" fmla="*/ 5 w 59"/>
                  <a:gd name="T7" fmla="*/ 43 h 112"/>
                  <a:gd name="T8" fmla="*/ 0 w 59"/>
                  <a:gd name="T9" fmla="*/ 70 h 112"/>
                  <a:gd name="T10" fmla="*/ 27 w 59"/>
                  <a:gd name="T11" fmla="*/ 16 h 112"/>
                  <a:gd name="T12" fmla="*/ 32 w 59"/>
                  <a:gd name="T13" fmla="*/ 27 h 112"/>
                  <a:gd name="T14" fmla="*/ 43 w 59"/>
                  <a:gd name="T15" fmla="*/ 43 h 112"/>
                  <a:gd name="T16" fmla="*/ 48 w 59"/>
                  <a:gd name="T17" fmla="*/ 54 h 112"/>
                  <a:gd name="T18" fmla="*/ 53 w 59"/>
                  <a:gd name="T19" fmla="*/ 64 h 112"/>
                  <a:gd name="T20" fmla="*/ 59 w 59"/>
                  <a:gd name="T21" fmla="*/ 86 h 112"/>
                  <a:gd name="T22" fmla="*/ 59 w 59"/>
                  <a:gd name="T23" fmla="*/ 112 h 112"/>
                  <a:gd name="T24" fmla="*/ 32 w 59"/>
                  <a:gd name="T25" fmla="*/ 0 h 11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9"/>
                  <a:gd name="T40" fmla="*/ 0 h 112"/>
                  <a:gd name="T41" fmla="*/ 59 w 59"/>
                  <a:gd name="T42" fmla="*/ 112 h 11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9" h="112">
                    <a:moveTo>
                      <a:pt x="32" y="0"/>
                    </a:moveTo>
                    <a:lnTo>
                      <a:pt x="21" y="6"/>
                    </a:lnTo>
                    <a:lnTo>
                      <a:pt x="16" y="22"/>
                    </a:lnTo>
                    <a:lnTo>
                      <a:pt x="5" y="43"/>
                    </a:lnTo>
                    <a:lnTo>
                      <a:pt x="0" y="70"/>
                    </a:lnTo>
                    <a:lnTo>
                      <a:pt x="27" y="16"/>
                    </a:lnTo>
                    <a:lnTo>
                      <a:pt x="32" y="27"/>
                    </a:lnTo>
                    <a:lnTo>
                      <a:pt x="43" y="43"/>
                    </a:lnTo>
                    <a:lnTo>
                      <a:pt x="48" y="54"/>
                    </a:lnTo>
                    <a:lnTo>
                      <a:pt x="53" y="64"/>
                    </a:lnTo>
                    <a:lnTo>
                      <a:pt x="59" y="86"/>
                    </a:lnTo>
                    <a:lnTo>
                      <a:pt x="59" y="112"/>
                    </a:lnTo>
                    <a:lnTo>
                      <a:pt x="32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02" name="Freeform 3987"/>
              <p:cNvSpPr>
                <a:spLocks/>
              </p:cNvSpPr>
              <p:nvPr/>
            </p:nvSpPr>
            <p:spPr bwMode="auto">
              <a:xfrm>
                <a:off x="4170" y="2894"/>
                <a:ext cx="85" cy="48"/>
              </a:xfrm>
              <a:custGeom>
                <a:avLst/>
                <a:gdLst>
                  <a:gd name="T0" fmla="*/ 85 w 85"/>
                  <a:gd name="T1" fmla="*/ 0 h 48"/>
                  <a:gd name="T2" fmla="*/ 58 w 85"/>
                  <a:gd name="T3" fmla="*/ 0 h 48"/>
                  <a:gd name="T4" fmla="*/ 42 w 85"/>
                  <a:gd name="T5" fmla="*/ 5 h 48"/>
                  <a:gd name="T6" fmla="*/ 21 w 85"/>
                  <a:gd name="T7" fmla="*/ 21 h 48"/>
                  <a:gd name="T8" fmla="*/ 10 w 85"/>
                  <a:gd name="T9" fmla="*/ 37 h 48"/>
                  <a:gd name="T10" fmla="*/ 0 w 85"/>
                  <a:gd name="T11" fmla="*/ 48 h 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5"/>
                  <a:gd name="T19" fmla="*/ 0 h 48"/>
                  <a:gd name="T20" fmla="*/ 85 w 85"/>
                  <a:gd name="T21" fmla="*/ 48 h 4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5" h="48">
                    <a:moveTo>
                      <a:pt x="85" y="0"/>
                    </a:moveTo>
                    <a:lnTo>
                      <a:pt x="58" y="0"/>
                    </a:lnTo>
                    <a:lnTo>
                      <a:pt x="42" y="5"/>
                    </a:lnTo>
                    <a:lnTo>
                      <a:pt x="21" y="21"/>
                    </a:lnTo>
                    <a:lnTo>
                      <a:pt x="10" y="37"/>
                    </a:lnTo>
                    <a:lnTo>
                      <a:pt x="0" y="48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03" name="Freeform 3988"/>
              <p:cNvSpPr>
                <a:spLocks/>
              </p:cNvSpPr>
              <p:nvPr/>
            </p:nvSpPr>
            <p:spPr bwMode="auto">
              <a:xfrm>
                <a:off x="4266" y="2867"/>
                <a:ext cx="63" cy="69"/>
              </a:xfrm>
              <a:custGeom>
                <a:avLst/>
                <a:gdLst>
                  <a:gd name="T0" fmla="*/ 63 w 63"/>
                  <a:gd name="T1" fmla="*/ 69 h 69"/>
                  <a:gd name="T2" fmla="*/ 47 w 63"/>
                  <a:gd name="T3" fmla="*/ 48 h 69"/>
                  <a:gd name="T4" fmla="*/ 26 w 63"/>
                  <a:gd name="T5" fmla="*/ 37 h 69"/>
                  <a:gd name="T6" fmla="*/ 5 w 63"/>
                  <a:gd name="T7" fmla="*/ 32 h 69"/>
                  <a:gd name="T8" fmla="*/ 0 w 63"/>
                  <a:gd name="T9" fmla="*/ 27 h 69"/>
                  <a:gd name="T10" fmla="*/ 0 w 63"/>
                  <a:gd name="T11" fmla="*/ 27 h 69"/>
                  <a:gd name="T12" fmla="*/ 15 w 63"/>
                  <a:gd name="T13" fmla="*/ 16 h 69"/>
                  <a:gd name="T14" fmla="*/ 26 w 63"/>
                  <a:gd name="T15" fmla="*/ 5 h 69"/>
                  <a:gd name="T16" fmla="*/ 37 w 63"/>
                  <a:gd name="T17" fmla="*/ 0 h 69"/>
                  <a:gd name="T18" fmla="*/ 47 w 63"/>
                  <a:gd name="T19" fmla="*/ 0 h 69"/>
                  <a:gd name="T20" fmla="*/ 63 w 63"/>
                  <a:gd name="T21" fmla="*/ 0 h 6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3"/>
                  <a:gd name="T34" fmla="*/ 0 h 69"/>
                  <a:gd name="T35" fmla="*/ 63 w 63"/>
                  <a:gd name="T36" fmla="*/ 69 h 6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3" h="69">
                    <a:moveTo>
                      <a:pt x="63" y="69"/>
                    </a:moveTo>
                    <a:lnTo>
                      <a:pt x="47" y="48"/>
                    </a:lnTo>
                    <a:lnTo>
                      <a:pt x="26" y="37"/>
                    </a:lnTo>
                    <a:lnTo>
                      <a:pt x="5" y="32"/>
                    </a:lnTo>
                    <a:lnTo>
                      <a:pt x="0" y="27"/>
                    </a:lnTo>
                    <a:lnTo>
                      <a:pt x="15" y="16"/>
                    </a:lnTo>
                    <a:lnTo>
                      <a:pt x="26" y="5"/>
                    </a:lnTo>
                    <a:lnTo>
                      <a:pt x="37" y="0"/>
                    </a:lnTo>
                    <a:lnTo>
                      <a:pt x="47" y="0"/>
                    </a:lnTo>
                    <a:lnTo>
                      <a:pt x="63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04" name="Freeform 3989"/>
              <p:cNvSpPr>
                <a:spLocks/>
              </p:cNvSpPr>
              <p:nvPr/>
            </p:nvSpPr>
            <p:spPr bwMode="auto">
              <a:xfrm>
                <a:off x="4143" y="2878"/>
                <a:ext cx="117" cy="16"/>
              </a:xfrm>
              <a:custGeom>
                <a:avLst/>
                <a:gdLst>
                  <a:gd name="T0" fmla="*/ 117 w 117"/>
                  <a:gd name="T1" fmla="*/ 16 h 16"/>
                  <a:gd name="T2" fmla="*/ 96 w 117"/>
                  <a:gd name="T3" fmla="*/ 5 h 16"/>
                  <a:gd name="T4" fmla="*/ 64 w 117"/>
                  <a:gd name="T5" fmla="*/ 0 h 16"/>
                  <a:gd name="T6" fmla="*/ 27 w 117"/>
                  <a:gd name="T7" fmla="*/ 0 h 16"/>
                  <a:gd name="T8" fmla="*/ 0 w 117"/>
                  <a:gd name="T9" fmla="*/ 5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7"/>
                  <a:gd name="T16" fmla="*/ 0 h 16"/>
                  <a:gd name="T17" fmla="*/ 117 w 117"/>
                  <a:gd name="T18" fmla="*/ 16 h 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7" h="16">
                    <a:moveTo>
                      <a:pt x="117" y="16"/>
                    </a:moveTo>
                    <a:lnTo>
                      <a:pt x="96" y="5"/>
                    </a:lnTo>
                    <a:lnTo>
                      <a:pt x="64" y="0"/>
                    </a:lnTo>
                    <a:lnTo>
                      <a:pt x="27" y="0"/>
                    </a:lnTo>
                    <a:lnTo>
                      <a:pt x="0" y="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5005" name="Freeform 3990"/>
              <p:cNvSpPr>
                <a:spLocks/>
              </p:cNvSpPr>
              <p:nvPr/>
            </p:nvSpPr>
            <p:spPr bwMode="auto">
              <a:xfrm>
                <a:off x="4132" y="2915"/>
                <a:ext cx="139" cy="32"/>
              </a:xfrm>
              <a:custGeom>
                <a:avLst/>
                <a:gdLst>
                  <a:gd name="T0" fmla="*/ 0 w 139"/>
                  <a:gd name="T1" fmla="*/ 0 h 32"/>
                  <a:gd name="T2" fmla="*/ 6 w 139"/>
                  <a:gd name="T3" fmla="*/ 16 h 32"/>
                  <a:gd name="T4" fmla="*/ 22 w 139"/>
                  <a:gd name="T5" fmla="*/ 27 h 32"/>
                  <a:gd name="T6" fmla="*/ 59 w 139"/>
                  <a:gd name="T7" fmla="*/ 32 h 32"/>
                  <a:gd name="T8" fmla="*/ 102 w 139"/>
                  <a:gd name="T9" fmla="*/ 32 h 32"/>
                  <a:gd name="T10" fmla="*/ 139 w 139"/>
                  <a:gd name="T11" fmla="*/ 32 h 3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39"/>
                  <a:gd name="T19" fmla="*/ 0 h 32"/>
                  <a:gd name="T20" fmla="*/ 139 w 139"/>
                  <a:gd name="T21" fmla="*/ 32 h 3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39" h="32">
                    <a:moveTo>
                      <a:pt x="0" y="0"/>
                    </a:moveTo>
                    <a:lnTo>
                      <a:pt x="6" y="16"/>
                    </a:lnTo>
                    <a:lnTo>
                      <a:pt x="22" y="27"/>
                    </a:lnTo>
                    <a:lnTo>
                      <a:pt x="59" y="32"/>
                    </a:lnTo>
                    <a:lnTo>
                      <a:pt x="102" y="32"/>
                    </a:lnTo>
                    <a:lnTo>
                      <a:pt x="139" y="32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34837" name="Rectangle 3992"/>
            <p:cNvSpPr>
              <a:spLocks noChangeArrowheads="1"/>
            </p:cNvSpPr>
            <p:nvPr/>
          </p:nvSpPr>
          <p:spPr bwMode="auto">
            <a:xfrm>
              <a:off x="3580" y="2431"/>
              <a:ext cx="598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</a:rPr>
                <a:t>Commodities </a:t>
              </a:r>
              <a:endParaRPr lang="en-US" sz="1400" b="1" dirty="0"/>
            </a:p>
          </p:txBody>
        </p:sp>
        <p:sp>
          <p:nvSpPr>
            <p:cNvPr id="34838" name="Rectangle 3993"/>
            <p:cNvSpPr>
              <a:spLocks noChangeArrowheads="1"/>
            </p:cNvSpPr>
            <p:nvPr/>
          </p:nvSpPr>
          <p:spPr bwMode="auto">
            <a:xfrm>
              <a:off x="3582" y="2568"/>
              <a:ext cx="612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en-US" sz="1400" b="1" dirty="0">
                  <a:solidFill>
                    <a:srgbClr val="000000"/>
                  </a:solidFill>
                </a:rPr>
                <a:t>(Grain, oil etc)</a:t>
              </a:r>
              <a:endParaRPr lang="en-US" sz="1400" b="1" dirty="0"/>
            </a:p>
          </p:txBody>
        </p:sp>
        <p:grpSp>
          <p:nvGrpSpPr>
            <p:cNvPr id="38757" name="Group 3994"/>
            <p:cNvGrpSpPr>
              <a:grpSpLocks/>
            </p:cNvGrpSpPr>
            <p:nvPr/>
          </p:nvGrpSpPr>
          <p:grpSpPr bwMode="auto">
            <a:xfrm>
              <a:off x="4084" y="2205"/>
              <a:ext cx="1104" cy="1089"/>
              <a:chOff x="4084" y="2205"/>
              <a:chExt cx="1104" cy="1089"/>
            </a:xfrm>
          </p:grpSpPr>
          <p:sp>
            <p:nvSpPr>
              <p:cNvPr id="34840" name="Freeform 3995"/>
              <p:cNvSpPr>
                <a:spLocks/>
              </p:cNvSpPr>
              <p:nvPr/>
            </p:nvSpPr>
            <p:spPr bwMode="auto">
              <a:xfrm>
                <a:off x="4457" y="2365"/>
                <a:ext cx="592" cy="774"/>
              </a:xfrm>
              <a:custGeom>
                <a:avLst/>
                <a:gdLst>
                  <a:gd name="T0" fmla="*/ 592 w 592"/>
                  <a:gd name="T1" fmla="*/ 422 h 774"/>
                  <a:gd name="T2" fmla="*/ 576 w 592"/>
                  <a:gd name="T3" fmla="*/ 347 h 774"/>
                  <a:gd name="T4" fmla="*/ 550 w 592"/>
                  <a:gd name="T5" fmla="*/ 272 h 774"/>
                  <a:gd name="T6" fmla="*/ 512 w 592"/>
                  <a:gd name="T7" fmla="*/ 203 h 774"/>
                  <a:gd name="T8" fmla="*/ 470 w 592"/>
                  <a:gd name="T9" fmla="*/ 144 h 774"/>
                  <a:gd name="T10" fmla="*/ 422 w 592"/>
                  <a:gd name="T11" fmla="*/ 91 h 774"/>
                  <a:gd name="T12" fmla="*/ 368 w 592"/>
                  <a:gd name="T13" fmla="*/ 48 h 774"/>
                  <a:gd name="T14" fmla="*/ 310 w 592"/>
                  <a:gd name="T15" fmla="*/ 16 h 774"/>
                  <a:gd name="T16" fmla="*/ 246 w 592"/>
                  <a:gd name="T17" fmla="*/ 5 h 774"/>
                  <a:gd name="T18" fmla="*/ 192 w 592"/>
                  <a:gd name="T19" fmla="*/ 5 h 774"/>
                  <a:gd name="T20" fmla="*/ 139 w 592"/>
                  <a:gd name="T21" fmla="*/ 21 h 774"/>
                  <a:gd name="T22" fmla="*/ 91 w 592"/>
                  <a:gd name="T23" fmla="*/ 48 h 774"/>
                  <a:gd name="T24" fmla="*/ 54 w 592"/>
                  <a:gd name="T25" fmla="*/ 91 h 774"/>
                  <a:gd name="T26" fmla="*/ 27 w 592"/>
                  <a:gd name="T27" fmla="*/ 139 h 774"/>
                  <a:gd name="T28" fmla="*/ 6 w 592"/>
                  <a:gd name="T29" fmla="*/ 203 h 774"/>
                  <a:gd name="T30" fmla="*/ 0 w 592"/>
                  <a:gd name="T31" fmla="*/ 272 h 774"/>
                  <a:gd name="T32" fmla="*/ 0 w 592"/>
                  <a:gd name="T33" fmla="*/ 352 h 774"/>
                  <a:gd name="T34" fmla="*/ 16 w 592"/>
                  <a:gd name="T35" fmla="*/ 427 h 774"/>
                  <a:gd name="T36" fmla="*/ 43 w 592"/>
                  <a:gd name="T37" fmla="*/ 502 h 774"/>
                  <a:gd name="T38" fmla="*/ 80 w 592"/>
                  <a:gd name="T39" fmla="*/ 571 h 774"/>
                  <a:gd name="T40" fmla="*/ 123 w 592"/>
                  <a:gd name="T41" fmla="*/ 630 h 774"/>
                  <a:gd name="T42" fmla="*/ 171 w 592"/>
                  <a:gd name="T43" fmla="*/ 684 h 774"/>
                  <a:gd name="T44" fmla="*/ 224 w 592"/>
                  <a:gd name="T45" fmla="*/ 726 h 774"/>
                  <a:gd name="T46" fmla="*/ 283 w 592"/>
                  <a:gd name="T47" fmla="*/ 753 h 774"/>
                  <a:gd name="T48" fmla="*/ 347 w 592"/>
                  <a:gd name="T49" fmla="*/ 769 h 774"/>
                  <a:gd name="T50" fmla="*/ 400 w 592"/>
                  <a:gd name="T51" fmla="*/ 769 h 774"/>
                  <a:gd name="T52" fmla="*/ 454 w 592"/>
                  <a:gd name="T53" fmla="*/ 753 h 774"/>
                  <a:gd name="T54" fmla="*/ 502 w 592"/>
                  <a:gd name="T55" fmla="*/ 726 h 774"/>
                  <a:gd name="T56" fmla="*/ 539 w 592"/>
                  <a:gd name="T57" fmla="*/ 684 h 774"/>
                  <a:gd name="T58" fmla="*/ 566 w 592"/>
                  <a:gd name="T59" fmla="*/ 630 h 774"/>
                  <a:gd name="T60" fmla="*/ 587 w 592"/>
                  <a:gd name="T61" fmla="*/ 571 h 774"/>
                  <a:gd name="T62" fmla="*/ 592 w 592"/>
                  <a:gd name="T63" fmla="*/ 497 h 774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592"/>
                  <a:gd name="T97" fmla="*/ 0 h 774"/>
                  <a:gd name="T98" fmla="*/ 592 w 592"/>
                  <a:gd name="T99" fmla="*/ 774 h 774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592" h="774">
                    <a:moveTo>
                      <a:pt x="592" y="459"/>
                    </a:moveTo>
                    <a:lnTo>
                      <a:pt x="592" y="422"/>
                    </a:lnTo>
                    <a:lnTo>
                      <a:pt x="582" y="384"/>
                    </a:lnTo>
                    <a:lnTo>
                      <a:pt x="576" y="347"/>
                    </a:lnTo>
                    <a:lnTo>
                      <a:pt x="566" y="310"/>
                    </a:lnTo>
                    <a:lnTo>
                      <a:pt x="550" y="272"/>
                    </a:lnTo>
                    <a:lnTo>
                      <a:pt x="534" y="235"/>
                    </a:lnTo>
                    <a:lnTo>
                      <a:pt x="512" y="203"/>
                    </a:lnTo>
                    <a:lnTo>
                      <a:pt x="491" y="171"/>
                    </a:lnTo>
                    <a:lnTo>
                      <a:pt x="470" y="144"/>
                    </a:lnTo>
                    <a:lnTo>
                      <a:pt x="448" y="112"/>
                    </a:lnTo>
                    <a:lnTo>
                      <a:pt x="422" y="91"/>
                    </a:lnTo>
                    <a:lnTo>
                      <a:pt x="395" y="69"/>
                    </a:lnTo>
                    <a:lnTo>
                      <a:pt x="368" y="48"/>
                    </a:lnTo>
                    <a:lnTo>
                      <a:pt x="336" y="32"/>
                    </a:lnTo>
                    <a:lnTo>
                      <a:pt x="310" y="16"/>
                    </a:lnTo>
                    <a:lnTo>
                      <a:pt x="278" y="11"/>
                    </a:lnTo>
                    <a:lnTo>
                      <a:pt x="246" y="5"/>
                    </a:lnTo>
                    <a:lnTo>
                      <a:pt x="219" y="0"/>
                    </a:lnTo>
                    <a:lnTo>
                      <a:pt x="192" y="5"/>
                    </a:lnTo>
                    <a:lnTo>
                      <a:pt x="166" y="11"/>
                    </a:lnTo>
                    <a:lnTo>
                      <a:pt x="139" y="21"/>
                    </a:lnTo>
                    <a:lnTo>
                      <a:pt x="112" y="32"/>
                    </a:lnTo>
                    <a:lnTo>
                      <a:pt x="91" y="48"/>
                    </a:lnTo>
                    <a:lnTo>
                      <a:pt x="75" y="69"/>
                    </a:lnTo>
                    <a:lnTo>
                      <a:pt x="54" y="91"/>
                    </a:lnTo>
                    <a:lnTo>
                      <a:pt x="38" y="112"/>
                    </a:lnTo>
                    <a:lnTo>
                      <a:pt x="27" y="139"/>
                    </a:lnTo>
                    <a:lnTo>
                      <a:pt x="16" y="171"/>
                    </a:lnTo>
                    <a:lnTo>
                      <a:pt x="6" y="203"/>
                    </a:lnTo>
                    <a:lnTo>
                      <a:pt x="0" y="240"/>
                    </a:lnTo>
                    <a:lnTo>
                      <a:pt x="0" y="272"/>
                    </a:lnTo>
                    <a:lnTo>
                      <a:pt x="0" y="315"/>
                    </a:lnTo>
                    <a:lnTo>
                      <a:pt x="0" y="352"/>
                    </a:lnTo>
                    <a:lnTo>
                      <a:pt x="6" y="390"/>
                    </a:lnTo>
                    <a:lnTo>
                      <a:pt x="16" y="427"/>
                    </a:lnTo>
                    <a:lnTo>
                      <a:pt x="27" y="465"/>
                    </a:lnTo>
                    <a:lnTo>
                      <a:pt x="43" y="502"/>
                    </a:lnTo>
                    <a:lnTo>
                      <a:pt x="59" y="534"/>
                    </a:lnTo>
                    <a:lnTo>
                      <a:pt x="80" y="571"/>
                    </a:lnTo>
                    <a:lnTo>
                      <a:pt x="96" y="603"/>
                    </a:lnTo>
                    <a:lnTo>
                      <a:pt x="123" y="630"/>
                    </a:lnTo>
                    <a:lnTo>
                      <a:pt x="144" y="657"/>
                    </a:lnTo>
                    <a:lnTo>
                      <a:pt x="171" y="684"/>
                    </a:lnTo>
                    <a:lnTo>
                      <a:pt x="198" y="705"/>
                    </a:lnTo>
                    <a:lnTo>
                      <a:pt x="224" y="726"/>
                    </a:lnTo>
                    <a:lnTo>
                      <a:pt x="256" y="742"/>
                    </a:lnTo>
                    <a:lnTo>
                      <a:pt x="283" y="753"/>
                    </a:lnTo>
                    <a:lnTo>
                      <a:pt x="315" y="764"/>
                    </a:lnTo>
                    <a:lnTo>
                      <a:pt x="347" y="769"/>
                    </a:lnTo>
                    <a:lnTo>
                      <a:pt x="374" y="774"/>
                    </a:lnTo>
                    <a:lnTo>
                      <a:pt x="400" y="769"/>
                    </a:lnTo>
                    <a:lnTo>
                      <a:pt x="427" y="764"/>
                    </a:lnTo>
                    <a:lnTo>
                      <a:pt x="454" y="753"/>
                    </a:lnTo>
                    <a:lnTo>
                      <a:pt x="480" y="742"/>
                    </a:lnTo>
                    <a:lnTo>
                      <a:pt x="502" y="726"/>
                    </a:lnTo>
                    <a:lnTo>
                      <a:pt x="518" y="705"/>
                    </a:lnTo>
                    <a:lnTo>
                      <a:pt x="539" y="684"/>
                    </a:lnTo>
                    <a:lnTo>
                      <a:pt x="555" y="662"/>
                    </a:lnTo>
                    <a:lnTo>
                      <a:pt x="566" y="630"/>
                    </a:lnTo>
                    <a:lnTo>
                      <a:pt x="576" y="603"/>
                    </a:lnTo>
                    <a:lnTo>
                      <a:pt x="587" y="571"/>
                    </a:lnTo>
                    <a:lnTo>
                      <a:pt x="592" y="534"/>
                    </a:lnTo>
                    <a:lnTo>
                      <a:pt x="592" y="497"/>
                    </a:lnTo>
                    <a:lnTo>
                      <a:pt x="592" y="459"/>
                    </a:lnTo>
                    <a:close/>
                  </a:path>
                </a:pathLst>
              </a:custGeom>
              <a:solidFill>
                <a:srgbClr val="FDFA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41" name="Freeform 3996"/>
              <p:cNvSpPr>
                <a:spLocks/>
              </p:cNvSpPr>
              <p:nvPr/>
            </p:nvSpPr>
            <p:spPr bwMode="auto">
              <a:xfrm>
                <a:off x="4559" y="2408"/>
                <a:ext cx="437" cy="689"/>
              </a:xfrm>
              <a:custGeom>
                <a:avLst/>
                <a:gdLst>
                  <a:gd name="T0" fmla="*/ 5 w 437"/>
                  <a:gd name="T1" fmla="*/ 48 h 689"/>
                  <a:gd name="T2" fmla="*/ 10 w 437"/>
                  <a:gd name="T3" fmla="*/ 42 h 689"/>
                  <a:gd name="T4" fmla="*/ 21 w 437"/>
                  <a:gd name="T5" fmla="*/ 32 h 689"/>
                  <a:gd name="T6" fmla="*/ 32 w 437"/>
                  <a:gd name="T7" fmla="*/ 32 h 689"/>
                  <a:gd name="T8" fmla="*/ 53 w 437"/>
                  <a:gd name="T9" fmla="*/ 21 h 689"/>
                  <a:gd name="T10" fmla="*/ 90 w 437"/>
                  <a:gd name="T11" fmla="*/ 10 h 689"/>
                  <a:gd name="T12" fmla="*/ 138 w 437"/>
                  <a:gd name="T13" fmla="*/ 5 h 689"/>
                  <a:gd name="T14" fmla="*/ 186 w 437"/>
                  <a:gd name="T15" fmla="*/ 0 h 689"/>
                  <a:gd name="T16" fmla="*/ 208 w 437"/>
                  <a:gd name="T17" fmla="*/ 0 h 689"/>
                  <a:gd name="T18" fmla="*/ 234 w 437"/>
                  <a:gd name="T19" fmla="*/ 0 h 689"/>
                  <a:gd name="T20" fmla="*/ 272 w 437"/>
                  <a:gd name="T21" fmla="*/ 0 h 689"/>
                  <a:gd name="T22" fmla="*/ 320 w 437"/>
                  <a:gd name="T23" fmla="*/ 5 h 689"/>
                  <a:gd name="T24" fmla="*/ 378 w 437"/>
                  <a:gd name="T25" fmla="*/ 21 h 689"/>
                  <a:gd name="T26" fmla="*/ 421 w 437"/>
                  <a:gd name="T27" fmla="*/ 42 h 689"/>
                  <a:gd name="T28" fmla="*/ 426 w 437"/>
                  <a:gd name="T29" fmla="*/ 48 h 689"/>
                  <a:gd name="T30" fmla="*/ 432 w 437"/>
                  <a:gd name="T31" fmla="*/ 58 h 689"/>
                  <a:gd name="T32" fmla="*/ 437 w 437"/>
                  <a:gd name="T33" fmla="*/ 69 h 689"/>
                  <a:gd name="T34" fmla="*/ 432 w 437"/>
                  <a:gd name="T35" fmla="*/ 85 h 689"/>
                  <a:gd name="T36" fmla="*/ 426 w 437"/>
                  <a:gd name="T37" fmla="*/ 138 h 689"/>
                  <a:gd name="T38" fmla="*/ 421 w 437"/>
                  <a:gd name="T39" fmla="*/ 208 h 689"/>
                  <a:gd name="T40" fmla="*/ 421 w 437"/>
                  <a:gd name="T41" fmla="*/ 229 h 689"/>
                  <a:gd name="T42" fmla="*/ 426 w 437"/>
                  <a:gd name="T43" fmla="*/ 245 h 689"/>
                  <a:gd name="T44" fmla="*/ 416 w 437"/>
                  <a:gd name="T45" fmla="*/ 267 h 689"/>
                  <a:gd name="T46" fmla="*/ 410 w 437"/>
                  <a:gd name="T47" fmla="*/ 309 h 689"/>
                  <a:gd name="T48" fmla="*/ 405 w 437"/>
                  <a:gd name="T49" fmla="*/ 384 h 689"/>
                  <a:gd name="T50" fmla="*/ 400 w 437"/>
                  <a:gd name="T51" fmla="*/ 416 h 689"/>
                  <a:gd name="T52" fmla="*/ 410 w 437"/>
                  <a:gd name="T53" fmla="*/ 427 h 689"/>
                  <a:gd name="T54" fmla="*/ 405 w 437"/>
                  <a:gd name="T55" fmla="*/ 448 h 689"/>
                  <a:gd name="T56" fmla="*/ 400 w 437"/>
                  <a:gd name="T57" fmla="*/ 480 h 689"/>
                  <a:gd name="T58" fmla="*/ 389 w 437"/>
                  <a:gd name="T59" fmla="*/ 550 h 689"/>
                  <a:gd name="T60" fmla="*/ 373 w 437"/>
                  <a:gd name="T61" fmla="*/ 619 h 689"/>
                  <a:gd name="T62" fmla="*/ 384 w 437"/>
                  <a:gd name="T63" fmla="*/ 641 h 689"/>
                  <a:gd name="T64" fmla="*/ 378 w 437"/>
                  <a:gd name="T65" fmla="*/ 651 h 689"/>
                  <a:gd name="T66" fmla="*/ 368 w 437"/>
                  <a:gd name="T67" fmla="*/ 657 h 689"/>
                  <a:gd name="T68" fmla="*/ 346 w 437"/>
                  <a:gd name="T69" fmla="*/ 667 h 689"/>
                  <a:gd name="T70" fmla="*/ 309 w 437"/>
                  <a:gd name="T71" fmla="*/ 678 h 689"/>
                  <a:gd name="T72" fmla="*/ 256 w 437"/>
                  <a:gd name="T73" fmla="*/ 683 h 689"/>
                  <a:gd name="T74" fmla="*/ 202 w 437"/>
                  <a:gd name="T75" fmla="*/ 689 h 689"/>
                  <a:gd name="T76" fmla="*/ 181 w 437"/>
                  <a:gd name="T77" fmla="*/ 683 h 689"/>
                  <a:gd name="T78" fmla="*/ 149 w 437"/>
                  <a:gd name="T79" fmla="*/ 683 h 689"/>
                  <a:gd name="T80" fmla="*/ 101 w 437"/>
                  <a:gd name="T81" fmla="*/ 673 h 689"/>
                  <a:gd name="T82" fmla="*/ 58 w 437"/>
                  <a:gd name="T83" fmla="*/ 662 h 689"/>
                  <a:gd name="T84" fmla="*/ 21 w 437"/>
                  <a:gd name="T85" fmla="*/ 635 h 689"/>
                  <a:gd name="T86" fmla="*/ 16 w 437"/>
                  <a:gd name="T87" fmla="*/ 625 h 689"/>
                  <a:gd name="T88" fmla="*/ 10 w 437"/>
                  <a:gd name="T89" fmla="*/ 603 h 689"/>
                  <a:gd name="T90" fmla="*/ 21 w 437"/>
                  <a:gd name="T91" fmla="*/ 582 h 689"/>
                  <a:gd name="T92" fmla="*/ 21 w 437"/>
                  <a:gd name="T93" fmla="*/ 443 h 689"/>
                  <a:gd name="T94" fmla="*/ 16 w 437"/>
                  <a:gd name="T95" fmla="*/ 438 h 689"/>
                  <a:gd name="T96" fmla="*/ 10 w 437"/>
                  <a:gd name="T97" fmla="*/ 416 h 689"/>
                  <a:gd name="T98" fmla="*/ 21 w 437"/>
                  <a:gd name="T99" fmla="*/ 384 h 689"/>
                  <a:gd name="T100" fmla="*/ 16 w 437"/>
                  <a:gd name="T101" fmla="*/ 251 h 689"/>
                  <a:gd name="T102" fmla="*/ 10 w 437"/>
                  <a:gd name="T103" fmla="*/ 245 h 689"/>
                  <a:gd name="T104" fmla="*/ 5 w 437"/>
                  <a:gd name="T105" fmla="*/ 229 h 689"/>
                  <a:gd name="T106" fmla="*/ 16 w 437"/>
                  <a:gd name="T107" fmla="*/ 208 h 689"/>
                  <a:gd name="T108" fmla="*/ 10 w 437"/>
                  <a:gd name="T109" fmla="*/ 160 h 689"/>
                  <a:gd name="T110" fmla="*/ 5 w 437"/>
                  <a:gd name="T111" fmla="*/ 96 h 689"/>
                  <a:gd name="T112" fmla="*/ 0 w 437"/>
                  <a:gd name="T113" fmla="*/ 69 h 68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37"/>
                  <a:gd name="T172" fmla="*/ 0 h 689"/>
                  <a:gd name="T173" fmla="*/ 437 w 437"/>
                  <a:gd name="T174" fmla="*/ 689 h 68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37" h="689">
                    <a:moveTo>
                      <a:pt x="5" y="53"/>
                    </a:moveTo>
                    <a:lnTo>
                      <a:pt x="5" y="53"/>
                    </a:lnTo>
                    <a:lnTo>
                      <a:pt x="5" y="48"/>
                    </a:lnTo>
                    <a:lnTo>
                      <a:pt x="10" y="42"/>
                    </a:lnTo>
                    <a:lnTo>
                      <a:pt x="16" y="37"/>
                    </a:lnTo>
                    <a:lnTo>
                      <a:pt x="21" y="32"/>
                    </a:lnTo>
                    <a:lnTo>
                      <a:pt x="26" y="32"/>
                    </a:lnTo>
                    <a:lnTo>
                      <a:pt x="32" y="32"/>
                    </a:lnTo>
                    <a:lnTo>
                      <a:pt x="37" y="26"/>
                    </a:lnTo>
                    <a:lnTo>
                      <a:pt x="48" y="26"/>
                    </a:lnTo>
                    <a:lnTo>
                      <a:pt x="53" y="21"/>
                    </a:lnTo>
                    <a:lnTo>
                      <a:pt x="64" y="16"/>
                    </a:lnTo>
                    <a:lnTo>
                      <a:pt x="80" y="16"/>
                    </a:lnTo>
                    <a:lnTo>
                      <a:pt x="90" y="10"/>
                    </a:lnTo>
                    <a:lnTo>
                      <a:pt x="106" y="10"/>
                    </a:lnTo>
                    <a:lnTo>
                      <a:pt x="122" y="5"/>
                    </a:lnTo>
                    <a:lnTo>
                      <a:pt x="138" y="5"/>
                    </a:lnTo>
                    <a:lnTo>
                      <a:pt x="154" y="0"/>
                    </a:lnTo>
                    <a:lnTo>
                      <a:pt x="170" y="0"/>
                    </a:lnTo>
                    <a:lnTo>
                      <a:pt x="186" y="0"/>
                    </a:lnTo>
                    <a:lnTo>
                      <a:pt x="202" y="0"/>
                    </a:lnTo>
                    <a:lnTo>
                      <a:pt x="208" y="0"/>
                    </a:lnTo>
                    <a:lnTo>
                      <a:pt x="213" y="0"/>
                    </a:lnTo>
                    <a:lnTo>
                      <a:pt x="224" y="0"/>
                    </a:lnTo>
                    <a:lnTo>
                      <a:pt x="234" y="0"/>
                    </a:lnTo>
                    <a:lnTo>
                      <a:pt x="245" y="0"/>
                    </a:lnTo>
                    <a:lnTo>
                      <a:pt x="256" y="0"/>
                    </a:lnTo>
                    <a:lnTo>
                      <a:pt x="272" y="0"/>
                    </a:lnTo>
                    <a:lnTo>
                      <a:pt x="288" y="0"/>
                    </a:lnTo>
                    <a:lnTo>
                      <a:pt x="304" y="5"/>
                    </a:lnTo>
                    <a:lnTo>
                      <a:pt x="320" y="5"/>
                    </a:lnTo>
                    <a:lnTo>
                      <a:pt x="341" y="10"/>
                    </a:lnTo>
                    <a:lnTo>
                      <a:pt x="357" y="16"/>
                    </a:lnTo>
                    <a:lnTo>
                      <a:pt x="378" y="21"/>
                    </a:lnTo>
                    <a:lnTo>
                      <a:pt x="400" y="32"/>
                    </a:lnTo>
                    <a:lnTo>
                      <a:pt x="416" y="37"/>
                    </a:lnTo>
                    <a:lnTo>
                      <a:pt x="421" y="42"/>
                    </a:lnTo>
                    <a:lnTo>
                      <a:pt x="426" y="48"/>
                    </a:lnTo>
                    <a:lnTo>
                      <a:pt x="432" y="53"/>
                    </a:lnTo>
                    <a:lnTo>
                      <a:pt x="432" y="58"/>
                    </a:lnTo>
                    <a:lnTo>
                      <a:pt x="432" y="64"/>
                    </a:lnTo>
                    <a:lnTo>
                      <a:pt x="437" y="64"/>
                    </a:lnTo>
                    <a:lnTo>
                      <a:pt x="437" y="69"/>
                    </a:lnTo>
                    <a:lnTo>
                      <a:pt x="437" y="74"/>
                    </a:lnTo>
                    <a:lnTo>
                      <a:pt x="432" y="80"/>
                    </a:lnTo>
                    <a:lnTo>
                      <a:pt x="432" y="85"/>
                    </a:lnTo>
                    <a:lnTo>
                      <a:pt x="432" y="96"/>
                    </a:lnTo>
                    <a:lnTo>
                      <a:pt x="432" y="117"/>
                    </a:lnTo>
                    <a:lnTo>
                      <a:pt x="426" y="138"/>
                    </a:lnTo>
                    <a:lnTo>
                      <a:pt x="426" y="165"/>
                    </a:lnTo>
                    <a:lnTo>
                      <a:pt x="421" y="187"/>
                    </a:lnTo>
                    <a:lnTo>
                      <a:pt x="421" y="208"/>
                    </a:lnTo>
                    <a:lnTo>
                      <a:pt x="416" y="224"/>
                    </a:lnTo>
                    <a:lnTo>
                      <a:pt x="421" y="229"/>
                    </a:lnTo>
                    <a:lnTo>
                      <a:pt x="426" y="235"/>
                    </a:lnTo>
                    <a:lnTo>
                      <a:pt x="426" y="240"/>
                    </a:lnTo>
                    <a:lnTo>
                      <a:pt x="426" y="245"/>
                    </a:lnTo>
                    <a:lnTo>
                      <a:pt x="426" y="251"/>
                    </a:lnTo>
                    <a:lnTo>
                      <a:pt x="426" y="261"/>
                    </a:lnTo>
                    <a:lnTo>
                      <a:pt x="416" y="267"/>
                    </a:lnTo>
                    <a:lnTo>
                      <a:pt x="416" y="272"/>
                    </a:lnTo>
                    <a:lnTo>
                      <a:pt x="416" y="288"/>
                    </a:lnTo>
                    <a:lnTo>
                      <a:pt x="410" y="309"/>
                    </a:lnTo>
                    <a:lnTo>
                      <a:pt x="410" y="336"/>
                    </a:lnTo>
                    <a:lnTo>
                      <a:pt x="405" y="363"/>
                    </a:lnTo>
                    <a:lnTo>
                      <a:pt x="405" y="384"/>
                    </a:lnTo>
                    <a:lnTo>
                      <a:pt x="400" y="406"/>
                    </a:lnTo>
                    <a:lnTo>
                      <a:pt x="400" y="416"/>
                    </a:lnTo>
                    <a:lnTo>
                      <a:pt x="405" y="416"/>
                    </a:lnTo>
                    <a:lnTo>
                      <a:pt x="405" y="422"/>
                    </a:lnTo>
                    <a:lnTo>
                      <a:pt x="410" y="427"/>
                    </a:lnTo>
                    <a:lnTo>
                      <a:pt x="410" y="432"/>
                    </a:lnTo>
                    <a:lnTo>
                      <a:pt x="410" y="438"/>
                    </a:lnTo>
                    <a:lnTo>
                      <a:pt x="405" y="448"/>
                    </a:lnTo>
                    <a:lnTo>
                      <a:pt x="400" y="459"/>
                    </a:lnTo>
                    <a:lnTo>
                      <a:pt x="400" y="464"/>
                    </a:lnTo>
                    <a:lnTo>
                      <a:pt x="400" y="480"/>
                    </a:lnTo>
                    <a:lnTo>
                      <a:pt x="394" y="502"/>
                    </a:lnTo>
                    <a:lnTo>
                      <a:pt x="394" y="523"/>
                    </a:lnTo>
                    <a:lnTo>
                      <a:pt x="389" y="550"/>
                    </a:lnTo>
                    <a:lnTo>
                      <a:pt x="384" y="576"/>
                    </a:lnTo>
                    <a:lnTo>
                      <a:pt x="378" y="603"/>
                    </a:lnTo>
                    <a:lnTo>
                      <a:pt x="373" y="619"/>
                    </a:lnTo>
                    <a:lnTo>
                      <a:pt x="378" y="625"/>
                    </a:lnTo>
                    <a:lnTo>
                      <a:pt x="378" y="630"/>
                    </a:lnTo>
                    <a:lnTo>
                      <a:pt x="384" y="641"/>
                    </a:lnTo>
                    <a:lnTo>
                      <a:pt x="378" y="651"/>
                    </a:lnTo>
                    <a:lnTo>
                      <a:pt x="373" y="657"/>
                    </a:lnTo>
                    <a:lnTo>
                      <a:pt x="368" y="657"/>
                    </a:lnTo>
                    <a:lnTo>
                      <a:pt x="362" y="662"/>
                    </a:lnTo>
                    <a:lnTo>
                      <a:pt x="357" y="667"/>
                    </a:lnTo>
                    <a:lnTo>
                      <a:pt x="346" y="667"/>
                    </a:lnTo>
                    <a:lnTo>
                      <a:pt x="336" y="673"/>
                    </a:lnTo>
                    <a:lnTo>
                      <a:pt x="325" y="678"/>
                    </a:lnTo>
                    <a:lnTo>
                      <a:pt x="309" y="678"/>
                    </a:lnTo>
                    <a:lnTo>
                      <a:pt x="293" y="683"/>
                    </a:lnTo>
                    <a:lnTo>
                      <a:pt x="272" y="683"/>
                    </a:lnTo>
                    <a:lnTo>
                      <a:pt x="256" y="683"/>
                    </a:lnTo>
                    <a:lnTo>
                      <a:pt x="229" y="689"/>
                    </a:lnTo>
                    <a:lnTo>
                      <a:pt x="202" y="689"/>
                    </a:lnTo>
                    <a:lnTo>
                      <a:pt x="197" y="689"/>
                    </a:lnTo>
                    <a:lnTo>
                      <a:pt x="192" y="689"/>
                    </a:lnTo>
                    <a:lnTo>
                      <a:pt x="181" y="683"/>
                    </a:lnTo>
                    <a:lnTo>
                      <a:pt x="170" y="683"/>
                    </a:lnTo>
                    <a:lnTo>
                      <a:pt x="160" y="683"/>
                    </a:lnTo>
                    <a:lnTo>
                      <a:pt x="149" y="683"/>
                    </a:lnTo>
                    <a:lnTo>
                      <a:pt x="133" y="683"/>
                    </a:lnTo>
                    <a:lnTo>
                      <a:pt x="117" y="678"/>
                    </a:lnTo>
                    <a:lnTo>
                      <a:pt x="101" y="673"/>
                    </a:lnTo>
                    <a:lnTo>
                      <a:pt x="90" y="673"/>
                    </a:lnTo>
                    <a:lnTo>
                      <a:pt x="74" y="667"/>
                    </a:lnTo>
                    <a:lnTo>
                      <a:pt x="58" y="662"/>
                    </a:lnTo>
                    <a:lnTo>
                      <a:pt x="42" y="651"/>
                    </a:lnTo>
                    <a:lnTo>
                      <a:pt x="32" y="646"/>
                    </a:lnTo>
                    <a:lnTo>
                      <a:pt x="21" y="635"/>
                    </a:lnTo>
                    <a:lnTo>
                      <a:pt x="16" y="630"/>
                    </a:lnTo>
                    <a:lnTo>
                      <a:pt x="16" y="625"/>
                    </a:lnTo>
                    <a:lnTo>
                      <a:pt x="10" y="619"/>
                    </a:lnTo>
                    <a:lnTo>
                      <a:pt x="10" y="614"/>
                    </a:lnTo>
                    <a:lnTo>
                      <a:pt x="10" y="603"/>
                    </a:lnTo>
                    <a:lnTo>
                      <a:pt x="16" y="598"/>
                    </a:lnTo>
                    <a:lnTo>
                      <a:pt x="21" y="592"/>
                    </a:lnTo>
                    <a:lnTo>
                      <a:pt x="21" y="582"/>
                    </a:lnTo>
                    <a:lnTo>
                      <a:pt x="21" y="544"/>
                    </a:lnTo>
                    <a:lnTo>
                      <a:pt x="21" y="496"/>
                    </a:lnTo>
                    <a:lnTo>
                      <a:pt x="21" y="443"/>
                    </a:lnTo>
                    <a:lnTo>
                      <a:pt x="16" y="443"/>
                    </a:lnTo>
                    <a:lnTo>
                      <a:pt x="16" y="438"/>
                    </a:lnTo>
                    <a:lnTo>
                      <a:pt x="10" y="432"/>
                    </a:lnTo>
                    <a:lnTo>
                      <a:pt x="10" y="422"/>
                    </a:lnTo>
                    <a:lnTo>
                      <a:pt x="10" y="416"/>
                    </a:lnTo>
                    <a:lnTo>
                      <a:pt x="16" y="406"/>
                    </a:lnTo>
                    <a:lnTo>
                      <a:pt x="21" y="400"/>
                    </a:lnTo>
                    <a:lnTo>
                      <a:pt x="21" y="384"/>
                    </a:lnTo>
                    <a:lnTo>
                      <a:pt x="16" y="341"/>
                    </a:lnTo>
                    <a:lnTo>
                      <a:pt x="16" y="293"/>
                    </a:lnTo>
                    <a:lnTo>
                      <a:pt x="16" y="251"/>
                    </a:lnTo>
                    <a:lnTo>
                      <a:pt x="10" y="251"/>
                    </a:lnTo>
                    <a:lnTo>
                      <a:pt x="10" y="245"/>
                    </a:lnTo>
                    <a:lnTo>
                      <a:pt x="5" y="240"/>
                    </a:lnTo>
                    <a:lnTo>
                      <a:pt x="5" y="235"/>
                    </a:lnTo>
                    <a:lnTo>
                      <a:pt x="5" y="229"/>
                    </a:lnTo>
                    <a:lnTo>
                      <a:pt x="10" y="219"/>
                    </a:lnTo>
                    <a:lnTo>
                      <a:pt x="16" y="213"/>
                    </a:lnTo>
                    <a:lnTo>
                      <a:pt x="16" y="208"/>
                    </a:lnTo>
                    <a:lnTo>
                      <a:pt x="16" y="197"/>
                    </a:lnTo>
                    <a:lnTo>
                      <a:pt x="10" y="181"/>
                    </a:lnTo>
                    <a:lnTo>
                      <a:pt x="10" y="160"/>
                    </a:lnTo>
                    <a:lnTo>
                      <a:pt x="5" y="138"/>
                    </a:lnTo>
                    <a:lnTo>
                      <a:pt x="5" y="117"/>
                    </a:lnTo>
                    <a:lnTo>
                      <a:pt x="5" y="96"/>
                    </a:lnTo>
                    <a:lnTo>
                      <a:pt x="5" y="74"/>
                    </a:lnTo>
                    <a:lnTo>
                      <a:pt x="0" y="69"/>
                    </a:lnTo>
                    <a:lnTo>
                      <a:pt x="0" y="64"/>
                    </a:lnTo>
                    <a:lnTo>
                      <a:pt x="5" y="53"/>
                    </a:lnTo>
                    <a:close/>
                  </a:path>
                </a:pathLst>
              </a:custGeom>
              <a:solidFill>
                <a:srgbClr val="009EE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42" name="Freeform 3997"/>
              <p:cNvSpPr>
                <a:spLocks/>
              </p:cNvSpPr>
              <p:nvPr/>
            </p:nvSpPr>
            <p:spPr bwMode="auto">
              <a:xfrm>
                <a:off x="4585" y="2424"/>
                <a:ext cx="390" cy="657"/>
              </a:xfrm>
              <a:custGeom>
                <a:avLst/>
                <a:gdLst>
                  <a:gd name="T0" fmla="*/ 0 w 390"/>
                  <a:gd name="T1" fmla="*/ 48 h 657"/>
                  <a:gd name="T2" fmla="*/ 6 w 390"/>
                  <a:gd name="T3" fmla="*/ 37 h 657"/>
                  <a:gd name="T4" fmla="*/ 16 w 390"/>
                  <a:gd name="T5" fmla="*/ 32 h 657"/>
                  <a:gd name="T6" fmla="*/ 22 w 390"/>
                  <a:gd name="T7" fmla="*/ 32 h 657"/>
                  <a:gd name="T8" fmla="*/ 48 w 390"/>
                  <a:gd name="T9" fmla="*/ 21 h 657"/>
                  <a:gd name="T10" fmla="*/ 80 w 390"/>
                  <a:gd name="T11" fmla="*/ 10 h 657"/>
                  <a:gd name="T12" fmla="*/ 118 w 390"/>
                  <a:gd name="T13" fmla="*/ 5 h 657"/>
                  <a:gd name="T14" fmla="*/ 166 w 390"/>
                  <a:gd name="T15" fmla="*/ 0 h 657"/>
                  <a:gd name="T16" fmla="*/ 187 w 390"/>
                  <a:gd name="T17" fmla="*/ 0 h 657"/>
                  <a:gd name="T18" fmla="*/ 208 w 390"/>
                  <a:gd name="T19" fmla="*/ 0 h 657"/>
                  <a:gd name="T20" fmla="*/ 240 w 390"/>
                  <a:gd name="T21" fmla="*/ 0 h 657"/>
                  <a:gd name="T22" fmla="*/ 288 w 390"/>
                  <a:gd name="T23" fmla="*/ 10 h 657"/>
                  <a:gd name="T24" fmla="*/ 342 w 390"/>
                  <a:gd name="T25" fmla="*/ 21 h 657"/>
                  <a:gd name="T26" fmla="*/ 374 w 390"/>
                  <a:gd name="T27" fmla="*/ 37 h 657"/>
                  <a:gd name="T28" fmla="*/ 384 w 390"/>
                  <a:gd name="T29" fmla="*/ 48 h 657"/>
                  <a:gd name="T30" fmla="*/ 390 w 390"/>
                  <a:gd name="T31" fmla="*/ 58 h 657"/>
                  <a:gd name="T32" fmla="*/ 390 w 390"/>
                  <a:gd name="T33" fmla="*/ 69 h 657"/>
                  <a:gd name="T34" fmla="*/ 384 w 390"/>
                  <a:gd name="T35" fmla="*/ 85 h 657"/>
                  <a:gd name="T36" fmla="*/ 374 w 390"/>
                  <a:gd name="T37" fmla="*/ 213 h 657"/>
                  <a:gd name="T38" fmla="*/ 379 w 390"/>
                  <a:gd name="T39" fmla="*/ 224 h 657"/>
                  <a:gd name="T40" fmla="*/ 384 w 390"/>
                  <a:gd name="T41" fmla="*/ 240 h 657"/>
                  <a:gd name="T42" fmla="*/ 374 w 390"/>
                  <a:gd name="T43" fmla="*/ 277 h 657"/>
                  <a:gd name="T44" fmla="*/ 363 w 390"/>
                  <a:gd name="T45" fmla="*/ 400 h 657"/>
                  <a:gd name="T46" fmla="*/ 368 w 390"/>
                  <a:gd name="T47" fmla="*/ 406 h 657"/>
                  <a:gd name="T48" fmla="*/ 368 w 390"/>
                  <a:gd name="T49" fmla="*/ 422 h 657"/>
                  <a:gd name="T50" fmla="*/ 358 w 390"/>
                  <a:gd name="T51" fmla="*/ 443 h 657"/>
                  <a:gd name="T52" fmla="*/ 352 w 390"/>
                  <a:gd name="T53" fmla="*/ 502 h 657"/>
                  <a:gd name="T54" fmla="*/ 342 w 390"/>
                  <a:gd name="T55" fmla="*/ 576 h 657"/>
                  <a:gd name="T56" fmla="*/ 336 w 390"/>
                  <a:gd name="T57" fmla="*/ 603 h 657"/>
                  <a:gd name="T58" fmla="*/ 331 w 390"/>
                  <a:gd name="T59" fmla="*/ 625 h 657"/>
                  <a:gd name="T60" fmla="*/ 326 w 390"/>
                  <a:gd name="T61" fmla="*/ 630 h 657"/>
                  <a:gd name="T62" fmla="*/ 315 w 390"/>
                  <a:gd name="T63" fmla="*/ 635 h 657"/>
                  <a:gd name="T64" fmla="*/ 288 w 390"/>
                  <a:gd name="T65" fmla="*/ 646 h 657"/>
                  <a:gd name="T66" fmla="*/ 246 w 390"/>
                  <a:gd name="T67" fmla="*/ 651 h 657"/>
                  <a:gd name="T68" fmla="*/ 182 w 390"/>
                  <a:gd name="T69" fmla="*/ 657 h 657"/>
                  <a:gd name="T70" fmla="*/ 171 w 390"/>
                  <a:gd name="T71" fmla="*/ 657 h 657"/>
                  <a:gd name="T72" fmla="*/ 139 w 390"/>
                  <a:gd name="T73" fmla="*/ 651 h 657"/>
                  <a:gd name="T74" fmla="*/ 102 w 390"/>
                  <a:gd name="T75" fmla="*/ 646 h 657"/>
                  <a:gd name="T76" fmla="*/ 64 w 390"/>
                  <a:gd name="T77" fmla="*/ 635 h 657"/>
                  <a:gd name="T78" fmla="*/ 27 w 390"/>
                  <a:gd name="T79" fmla="*/ 614 h 657"/>
                  <a:gd name="T80" fmla="*/ 16 w 390"/>
                  <a:gd name="T81" fmla="*/ 603 h 657"/>
                  <a:gd name="T82" fmla="*/ 11 w 390"/>
                  <a:gd name="T83" fmla="*/ 587 h 657"/>
                  <a:gd name="T84" fmla="*/ 27 w 390"/>
                  <a:gd name="T85" fmla="*/ 566 h 657"/>
                  <a:gd name="T86" fmla="*/ 16 w 390"/>
                  <a:gd name="T87" fmla="*/ 475 h 657"/>
                  <a:gd name="T88" fmla="*/ 11 w 390"/>
                  <a:gd name="T89" fmla="*/ 422 h 657"/>
                  <a:gd name="T90" fmla="*/ 6 w 390"/>
                  <a:gd name="T91" fmla="*/ 406 h 657"/>
                  <a:gd name="T92" fmla="*/ 16 w 390"/>
                  <a:gd name="T93" fmla="*/ 379 h 657"/>
                  <a:gd name="T94" fmla="*/ 11 w 390"/>
                  <a:gd name="T95" fmla="*/ 283 h 657"/>
                  <a:gd name="T96" fmla="*/ 6 w 390"/>
                  <a:gd name="T97" fmla="*/ 240 h 657"/>
                  <a:gd name="T98" fmla="*/ 0 w 390"/>
                  <a:gd name="T99" fmla="*/ 224 h 657"/>
                  <a:gd name="T100" fmla="*/ 11 w 390"/>
                  <a:gd name="T101" fmla="*/ 208 h 657"/>
                  <a:gd name="T102" fmla="*/ 11 w 390"/>
                  <a:gd name="T103" fmla="*/ 112 h 657"/>
                  <a:gd name="T104" fmla="*/ 6 w 390"/>
                  <a:gd name="T105" fmla="*/ 69 h 657"/>
                  <a:gd name="T106" fmla="*/ 0 w 390"/>
                  <a:gd name="T107" fmla="*/ 64 h 657"/>
                  <a:gd name="T108" fmla="*/ 0 w 390"/>
                  <a:gd name="T109" fmla="*/ 53 h 657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390"/>
                  <a:gd name="T166" fmla="*/ 0 h 657"/>
                  <a:gd name="T167" fmla="*/ 390 w 390"/>
                  <a:gd name="T168" fmla="*/ 657 h 657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390" h="657">
                    <a:moveTo>
                      <a:pt x="0" y="53"/>
                    </a:moveTo>
                    <a:lnTo>
                      <a:pt x="0" y="48"/>
                    </a:lnTo>
                    <a:lnTo>
                      <a:pt x="6" y="42"/>
                    </a:lnTo>
                    <a:lnTo>
                      <a:pt x="6" y="37"/>
                    </a:lnTo>
                    <a:lnTo>
                      <a:pt x="11" y="37"/>
                    </a:lnTo>
                    <a:lnTo>
                      <a:pt x="16" y="32"/>
                    </a:lnTo>
                    <a:lnTo>
                      <a:pt x="22" y="32"/>
                    </a:lnTo>
                    <a:lnTo>
                      <a:pt x="32" y="26"/>
                    </a:lnTo>
                    <a:lnTo>
                      <a:pt x="38" y="26"/>
                    </a:lnTo>
                    <a:lnTo>
                      <a:pt x="48" y="21"/>
                    </a:lnTo>
                    <a:lnTo>
                      <a:pt x="54" y="21"/>
                    </a:lnTo>
                    <a:lnTo>
                      <a:pt x="70" y="16"/>
                    </a:lnTo>
                    <a:lnTo>
                      <a:pt x="80" y="10"/>
                    </a:lnTo>
                    <a:lnTo>
                      <a:pt x="91" y="10"/>
                    </a:lnTo>
                    <a:lnTo>
                      <a:pt x="107" y="5"/>
                    </a:lnTo>
                    <a:lnTo>
                      <a:pt x="118" y="5"/>
                    </a:lnTo>
                    <a:lnTo>
                      <a:pt x="134" y="5"/>
                    </a:lnTo>
                    <a:lnTo>
                      <a:pt x="150" y="0"/>
                    </a:lnTo>
                    <a:lnTo>
                      <a:pt x="166" y="0"/>
                    </a:lnTo>
                    <a:lnTo>
                      <a:pt x="182" y="0"/>
                    </a:lnTo>
                    <a:lnTo>
                      <a:pt x="187" y="0"/>
                    </a:lnTo>
                    <a:lnTo>
                      <a:pt x="192" y="0"/>
                    </a:lnTo>
                    <a:lnTo>
                      <a:pt x="198" y="0"/>
                    </a:lnTo>
                    <a:lnTo>
                      <a:pt x="208" y="0"/>
                    </a:lnTo>
                    <a:lnTo>
                      <a:pt x="219" y="0"/>
                    </a:lnTo>
                    <a:lnTo>
                      <a:pt x="230" y="0"/>
                    </a:lnTo>
                    <a:lnTo>
                      <a:pt x="240" y="0"/>
                    </a:lnTo>
                    <a:lnTo>
                      <a:pt x="256" y="5"/>
                    </a:lnTo>
                    <a:lnTo>
                      <a:pt x="272" y="5"/>
                    </a:lnTo>
                    <a:lnTo>
                      <a:pt x="288" y="10"/>
                    </a:lnTo>
                    <a:lnTo>
                      <a:pt x="304" y="10"/>
                    </a:lnTo>
                    <a:lnTo>
                      <a:pt x="320" y="16"/>
                    </a:lnTo>
                    <a:lnTo>
                      <a:pt x="342" y="21"/>
                    </a:lnTo>
                    <a:lnTo>
                      <a:pt x="358" y="32"/>
                    </a:lnTo>
                    <a:lnTo>
                      <a:pt x="374" y="37"/>
                    </a:lnTo>
                    <a:lnTo>
                      <a:pt x="379" y="42"/>
                    </a:lnTo>
                    <a:lnTo>
                      <a:pt x="384" y="48"/>
                    </a:lnTo>
                    <a:lnTo>
                      <a:pt x="390" y="53"/>
                    </a:lnTo>
                    <a:lnTo>
                      <a:pt x="390" y="58"/>
                    </a:lnTo>
                    <a:lnTo>
                      <a:pt x="390" y="64"/>
                    </a:lnTo>
                    <a:lnTo>
                      <a:pt x="390" y="69"/>
                    </a:lnTo>
                    <a:lnTo>
                      <a:pt x="390" y="74"/>
                    </a:lnTo>
                    <a:lnTo>
                      <a:pt x="379" y="74"/>
                    </a:lnTo>
                    <a:lnTo>
                      <a:pt x="384" y="85"/>
                    </a:lnTo>
                    <a:lnTo>
                      <a:pt x="379" y="117"/>
                    </a:lnTo>
                    <a:lnTo>
                      <a:pt x="379" y="160"/>
                    </a:lnTo>
                    <a:lnTo>
                      <a:pt x="374" y="213"/>
                    </a:lnTo>
                    <a:lnTo>
                      <a:pt x="379" y="219"/>
                    </a:lnTo>
                    <a:lnTo>
                      <a:pt x="379" y="224"/>
                    </a:lnTo>
                    <a:lnTo>
                      <a:pt x="384" y="229"/>
                    </a:lnTo>
                    <a:lnTo>
                      <a:pt x="384" y="235"/>
                    </a:lnTo>
                    <a:lnTo>
                      <a:pt x="384" y="240"/>
                    </a:lnTo>
                    <a:lnTo>
                      <a:pt x="379" y="251"/>
                    </a:lnTo>
                    <a:lnTo>
                      <a:pt x="374" y="256"/>
                    </a:lnTo>
                    <a:lnTo>
                      <a:pt x="374" y="277"/>
                    </a:lnTo>
                    <a:lnTo>
                      <a:pt x="368" y="320"/>
                    </a:lnTo>
                    <a:lnTo>
                      <a:pt x="368" y="368"/>
                    </a:lnTo>
                    <a:lnTo>
                      <a:pt x="363" y="400"/>
                    </a:lnTo>
                    <a:lnTo>
                      <a:pt x="368" y="406"/>
                    </a:lnTo>
                    <a:lnTo>
                      <a:pt x="368" y="411"/>
                    </a:lnTo>
                    <a:lnTo>
                      <a:pt x="368" y="416"/>
                    </a:lnTo>
                    <a:lnTo>
                      <a:pt x="368" y="422"/>
                    </a:lnTo>
                    <a:lnTo>
                      <a:pt x="363" y="427"/>
                    </a:lnTo>
                    <a:lnTo>
                      <a:pt x="358" y="438"/>
                    </a:lnTo>
                    <a:lnTo>
                      <a:pt x="358" y="443"/>
                    </a:lnTo>
                    <a:lnTo>
                      <a:pt x="358" y="459"/>
                    </a:lnTo>
                    <a:lnTo>
                      <a:pt x="352" y="475"/>
                    </a:lnTo>
                    <a:lnTo>
                      <a:pt x="352" y="502"/>
                    </a:lnTo>
                    <a:lnTo>
                      <a:pt x="347" y="528"/>
                    </a:lnTo>
                    <a:lnTo>
                      <a:pt x="342" y="550"/>
                    </a:lnTo>
                    <a:lnTo>
                      <a:pt x="342" y="576"/>
                    </a:lnTo>
                    <a:lnTo>
                      <a:pt x="336" y="592"/>
                    </a:lnTo>
                    <a:lnTo>
                      <a:pt x="336" y="598"/>
                    </a:lnTo>
                    <a:lnTo>
                      <a:pt x="336" y="603"/>
                    </a:lnTo>
                    <a:lnTo>
                      <a:pt x="336" y="614"/>
                    </a:lnTo>
                    <a:lnTo>
                      <a:pt x="331" y="625"/>
                    </a:lnTo>
                    <a:lnTo>
                      <a:pt x="326" y="630"/>
                    </a:lnTo>
                    <a:lnTo>
                      <a:pt x="320" y="635"/>
                    </a:lnTo>
                    <a:lnTo>
                      <a:pt x="315" y="635"/>
                    </a:lnTo>
                    <a:lnTo>
                      <a:pt x="304" y="641"/>
                    </a:lnTo>
                    <a:lnTo>
                      <a:pt x="299" y="646"/>
                    </a:lnTo>
                    <a:lnTo>
                      <a:pt x="288" y="646"/>
                    </a:lnTo>
                    <a:lnTo>
                      <a:pt x="272" y="651"/>
                    </a:lnTo>
                    <a:lnTo>
                      <a:pt x="262" y="651"/>
                    </a:lnTo>
                    <a:lnTo>
                      <a:pt x="246" y="651"/>
                    </a:lnTo>
                    <a:lnTo>
                      <a:pt x="224" y="657"/>
                    </a:lnTo>
                    <a:lnTo>
                      <a:pt x="203" y="657"/>
                    </a:lnTo>
                    <a:lnTo>
                      <a:pt x="182" y="657"/>
                    </a:lnTo>
                    <a:lnTo>
                      <a:pt x="176" y="657"/>
                    </a:lnTo>
                    <a:lnTo>
                      <a:pt x="171" y="657"/>
                    </a:lnTo>
                    <a:lnTo>
                      <a:pt x="160" y="657"/>
                    </a:lnTo>
                    <a:lnTo>
                      <a:pt x="150" y="651"/>
                    </a:lnTo>
                    <a:lnTo>
                      <a:pt x="139" y="651"/>
                    </a:lnTo>
                    <a:lnTo>
                      <a:pt x="128" y="651"/>
                    </a:lnTo>
                    <a:lnTo>
                      <a:pt x="118" y="651"/>
                    </a:lnTo>
                    <a:lnTo>
                      <a:pt x="102" y="646"/>
                    </a:lnTo>
                    <a:lnTo>
                      <a:pt x="91" y="646"/>
                    </a:lnTo>
                    <a:lnTo>
                      <a:pt x="75" y="641"/>
                    </a:lnTo>
                    <a:lnTo>
                      <a:pt x="64" y="635"/>
                    </a:lnTo>
                    <a:lnTo>
                      <a:pt x="48" y="630"/>
                    </a:lnTo>
                    <a:lnTo>
                      <a:pt x="38" y="625"/>
                    </a:lnTo>
                    <a:lnTo>
                      <a:pt x="27" y="614"/>
                    </a:lnTo>
                    <a:lnTo>
                      <a:pt x="16" y="609"/>
                    </a:lnTo>
                    <a:lnTo>
                      <a:pt x="16" y="603"/>
                    </a:lnTo>
                    <a:lnTo>
                      <a:pt x="11" y="598"/>
                    </a:lnTo>
                    <a:lnTo>
                      <a:pt x="11" y="592"/>
                    </a:lnTo>
                    <a:lnTo>
                      <a:pt x="11" y="587"/>
                    </a:lnTo>
                    <a:lnTo>
                      <a:pt x="11" y="576"/>
                    </a:lnTo>
                    <a:lnTo>
                      <a:pt x="16" y="571"/>
                    </a:lnTo>
                    <a:lnTo>
                      <a:pt x="27" y="566"/>
                    </a:lnTo>
                    <a:lnTo>
                      <a:pt x="27" y="555"/>
                    </a:lnTo>
                    <a:lnTo>
                      <a:pt x="22" y="523"/>
                    </a:lnTo>
                    <a:lnTo>
                      <a:pt x="16" y="475"/>
                    </a:lnTo>
                    <a:lnTo>
                      <a:pt x="16" y="427"/>
                    </a:lnTo>
                    <a:lnTo>
                      <a:pt x="16" y="422"/>
                    </a:lnTo>
                    <a:lnTo>
                      <a:pt x="11" y="422"/>
                    </a:lnTo>
                    <a:lnTo>
                      <a:pt x="11" y="416"/>
                    </a:lnTo>
                    <a:lnTo>
                      <a:pt x="6" y="411"/>
                    </a:lnTo>
                    <a:lnTo>
                      <a:pt x="6" y="406"/>
                    </a:lnTo>
                    <a:lnTo>
                      <a:pt x="6" y="395"/>
                    </a:lnTo>
                    <a:lnTo>
                      <a:pt x="6" y="390"/>
                    </a:lnTo>
                    <a:lnTo>
                      <a:pt x="16" y="379"/>
                    </a:lnTo>
                    <a:lnTo>
                      <a:pt x="16" y="363"/>
                    </a:lnTo>
                    <a:lnTo>
                      <a:pt x="11" y="325"/>
                    </a:lnTo>
                    <a:lnTo>
                      <a:pt x="11" y="283"/>
                    </a:lnTo>
                    <a:lnTo>
                      <a:pt x="11" y="240"/>
                    </a:lnTo>
                    <a:lnTo>
                      <a:pt x="6" y="240"/>
                    </a:lnTo>
                    <a:lnTo>
                      <a:pt x="6" y="235"/>
                    </a:lnTo>
                    <a:lnTo>
                      <a:pt x="0" y="229"/>
                    </a:lnTo>
                    <a:lnTo>
                      <a:pt x="0" y="224"/>
                    </a:lnTo>
                    <a:lnTo>
                      <a:pt x="0" y="219"/>
                    </a:lnTo>
                    <a:lnTo>
                      <a:pt x="6" y="213"/>
                    </a:lnTo>
                    <a:lnTo>
                      <a:pt x="11" y="208"/>
                    </a:lnTo>
                    <a:lnTo>
                      <a:pt x="11" y="192"/>
                    </a:lnTo>
                    <a:lnTo>
                      <a:pt x="11" y="155"/>
                    </a:lnTo>
                    <a:lnTo>
                      <a:pt x="11" y="112"/>
                    </a:lnTo>
                    <a:lnTo>
                      <a:pt x="11" y="74"/>
                    </a:lnTo>
                    <a:lnTo>
                      <a:pt x="6" y="69"/>
                    </a:lnTo>
                    <a:lnTo>
                      <a:pt x="0" y="64"/>
                    </a:lnTo>
                    <a:lnTo>
                      <a:pt x="0" y="58"/>
                    </a:lnTo>
                    <a:lnTo>
                      <a:pt x="0" y="53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43" name="Freeform 3998"/>
              <p:cNvSpPr>
                <a:spLocks/>
              </p:cNvSpPr>
              <p:nvPr/>
            </p:nvSpPr>
            <p:spPr bwMode="auto">
              <a:xfrm>
                <a:off x="4601" y="2445"/>
                <a:ext cx="347" cy="614"/>
              </a:xfrm>
              <a:custGeom>
                <a:avLst/>
                <a:gdLst>
                  <a:gd name="T0" fmla="*/ 22 w 347"/>
                  <a:gd name="T1" fmla="*/ 555 h 614"/>
                  <a:gd name="T2" fmla="*/ 11 w 347"/>
                  <a:gd name="T3" fmla="*/ 566 h 614"/>
                  <a:gd name="T4" fmla="*/ 16 w 347"/>
                  <a:gd name="T5" fmla="*/ 571 h 614"/>
                  <a:gd name="T6" fmla="*/ 22 w 347"/>
                  <a:gd name="T7" fmla="*/ 582 h 614"/>
                  <a:gd name="T8" fmla="*/ 48 w 347"/>
                  <a:gd name="T9" fmla="*/ 593 h 614"/>
                  <a:gd name="T10" fmla="*/ 91 w 347"/>
                  <a:gd name="T11" fmla="*/ 604 h 614"/>
                  <a:gd name="T12" fmla="*/ 160 w 347"/>
                  <a:gd name="T13" fmla="*/ 614 h 614"/>
                  <a:gd name="T14" fmla="*/ 171 w 347"/>
                  <a:gd name="T15" fmla="*/ 614 h 614"/>
                  <a:gd name="T16" fmla="*/ 198 w 347"/>
                  <a:gd name="T17" fmla="*/ 614 h 614"/>
                  <a:gd name="T18" fmla="*/ 235 w 347"/>
                  <a:gd name="T19" fmla="*/ 614 h 614"/>
                  <a:gd name="T20" fmla="*/ 272 w 347"/>
                  <a:gd name="T21" fmla="*/ 604 h 614"/>
                  <a:gd name="T22" fmla="*/ 294 w 347"/>
                  <a:gd name="T23" fmla="*/ 593 h 614"/>
                  <a:gd name="T24" fmla="*/ 294 w 347"/>
                  <a:gd name="T25" fmla="*/ 582 h 614"/>
                  <a:gd name="T26" fmla="*/ 315 w 347"/>
                  <a:gd name="T27" fmla="*/ 422 h 614"/>
                  <a:gd name="T28" fmla="*/ 320 w 347"/>
                  <a:gd name="T29" fmla="*/ 411 h 614"/>
                  <a:gd name="T30" fmla="*/ 326 w 347"/>
                  <a:gd name="T31" fmla="*/ 395 h 614"/>
                  <a:gd name="T32" fmla="*/ 320 w 347"/>
                  <a:gd name="T33" fmla="*/ 374 h 614"/>
                  <a:gd name="T34" fmla="*/ 331 w 347"/>
                  <a:gd name="T35" fmla="*/ 235 h 614"/>
                  <a:gd name="T36" fmla="*/ 336 w 347"/>
                  <a:gd name="T37" fmla="*/ 230 h 614"/>
                  <a:gd name="T38" fmla="*/ 336 w 347"/>
                  <a:gd name="T39" fmla="*/ 208 h 614"/>
                  <a:gd name="T40" fmla="*/ 331 w 347"/>
                  <a:gd name="T41" fmla="*/ 187 h 614"/>
                  <a:gd name="T42" fmla="*/ 342 w 347"/>
                  <a:gd name="T43" fmla="*/ 48 h 614"/>
                  <a:gd name="T44" fmla="*/ 347 w 347"/>
                  <a:gd name="T45" fmla="*/ 37 h 614"/>
                  <a:gd name="T46" fmla="*/ 336 w 347"/>
                  <a:gd name="T47" fmla="*/ 27 h 614"/>
                  <a:gd name="T48" fmla="*/ 320 w 347"/>
                  <a:gd name="T49" fmla="*/ 21 h 614"/>
                  <a:gd name="T50" fmla="*/ 294 w 347"/>
                  <a:gd name="T51" fmla="*/ 11 h 614"/>
                  <a:gd name="T52" fmla="*/ 256 w 347"/>
                  <a:gd name="T53" fmla="*/ 5 h 614"/>
                  <a:gd name="T54" fmla="*/ 208 w 347"/>
                  <a:gd name="T55" fmla="*/ 0 h 614"/>
                  <a:gd name="T56" fmla="*/ 176 w 347"/>
                  <a:gd name="T57" fmla="*/ 0 h 614"/>
                  <a:gd name="T58" fmla="*/ 166 w 347"/>
                  <a:gd name="T59" fmla="*/ 0 h 614"/>
                  <a:gd name="T60" fmla="*/ 134 w 347"/>
                  <a:gd name="T61" fmla="*/ 0 h 614"/>
                  <a:gd name="T62" fmla="*/ 102 w 347"/>
                  <a:gd name="T63" fmla="*/ 0 h 614"/>
                  <a:gd name="T64" fmla="*/ 59 w 347"/>
                  <a:gd name="T65" fmla="*/ 11 h 614"/>
                  <a:gd name="T66" fmla="*/ 16 w 347"/>
                  <a:gd name="T67" fmla="*/ 21 h 614"/>
                  <a:gd name="T68" fmla="*/ 11 w 347"/>
                  <a:gd name="T69" fmla="*/ 27 h 614"/>
                  <a:gd name="T70" fmla="*/ 6 w 347"/>
                  <a:gd name="T71" fmla="*/ 37 h 614"/>
                  <a:gd name="T72" fmla="*/ 11 w 347"/>
                  <a:gd name="T73" fmla="*/ 59 h 614"/>
                  <a:gd name="T74" fmla="*/ 11 w 347"/>
                  <a:gd name="T75" fmla="*/ 187 h 614"/>
                  <a:gd name="T76" fmla="*/ 6 w 347"/>
                  <a:gd name="T77" fmla="*/ 192 h 614"/>
                  <a:gd name="T78" fmla="*/ 6 w 347"/>
                  <a:gd name="T79" fmla="*/ 203 h 614"/>
                  <a:gd name="T80" fmla="*/ 11 w 347"/>
                  <a:gd name="T81" fmla="*/ 230 h 614"/>
                  <a:gd name="T82" fmla="*/ 16 w 347"/>
                  <a:gd name="T83" fmla="*/ 363 h 614"/>
                  <a:gd name="T84" fmla="*/ 11 w 347"/>
                  <a:gd name="T85" fmla="*/ 369 h 614"/>
                  <a:gd name="T86" fmla="*/ 6 w 347"/>
                  <a:gd name="T87" fmla="*/ 385 h 614"/>
                  <a:gd name="T88" fmla="*/ 16 w 347"/>
                  <a:gd name="T89" fmla="*/ 411 h 614"/>
                  <a:gd name="T90" fmla="*/ 27 w 347"/>
                  <a:gd name="T91" fmla="*/ 550 h 61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347"/>
                  <a:gd name="T139" fmla="*/ 0 h 614"/>
                  <a:gd name="T140" fmla="*/ 347 w 347"/>
                  <a:gd name="T141" fmla="*/ 614 h 61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347" h="614">
                    <a:moveTo>
                      <a:pt x="27" y="550"/>
                    </a:moveTo>
                    <a:lnTo>
                      <a:pt x="22" y="550"/>
                    </a:lnTo>
                    <a:lnTo>
                      <a:pt x="22" y="555"/>
                    </a:lnTo>
                    <a:lnTo>
                      <a:pt x="16" y="561"/>
                    </a:lnTo>
                    <a:lnTo>
                      <a:pt x="11" y="566"/>
                    </a:lnTo>
                    <a:lnTo>
                      <a:pt x="16" y="571"/>
                    </a:lnTo>
                    <a:lnTo>
                      <a:pt x="16" y="577"/>
                    </a:lnTo>
                    <a:lnTo>
                      <a:pt x="22" y="577"/>
                    </a:lnTo>
                    <a:lnTo>
                      <a:pt x="22" y="582"/>
                    </a:lnTo>
                    <a:lnTo>
                      <a:pt x="32" y="588"/>
                    </a:lnTo>
                    <a:lnTo>
                      <a:pt x="38" y="588"/>
                    </a:lnTo>
                    <a:lnTo>
                      <a:pt x="48" y="593"/>
                    </a:lnTo>
                    <a:lnTo>
                      <a:pt x="59" y="598"/>
                    </a:lnTo>
                    <a:lnTo>
                      <a:pt x="75" y="604"/>
                    </a:lnTo>
                    <a:lnTo>
                      <a:pt x="91" y="604"/>
                    </a:lnTo>
                    <a:lnTo>
                      <a:pt x="112" y="609"/>
                    </a:lnTo>
                    <a:lnTo>
                      <a:pt x="134" y="614"/>
                    </a:lnTo>
                    <a:lnTo>
                      <a:pt x="160" y="614"/>
                    </a:lnTo>
                    <a:lnTo>
                      <a:pt x="166" y="614"/>
                    </a:lnTo>
                    <a:lnTo>
                      <a:pt x="171" y="614"/>
                    </a:lnTo>
                    <a:lnTo>
                      <a:pt x="176" y="614"/>
                    </a:lnTo>
                    <a:lnTo>
                      <a:pt x="187" y="614"/>
                    </a:lnTo>
                    <a:lnTo>
                      <a:pt x="198" y="614"/>
                    </a:lnTo>
                    <a:lnTo>
                      <a:pt x="214" y="614"/>
                    </a:lnTo>
                    <a:lnTo>
                      <a:pt x="224" y="614"/>
                    </a:lnTo>
                    <a:lnTo>
                      <a:pt x="235" y="614"/>
                    </a:lnTo>
                    <a:lnTo>
                      <a:pt x="246" y="609"/>
                    </a:lnTo>
                    <a:lnTo>
                      <a:pt x="262" y="609"/>
                    </a:lnTo>
                    <a:lnTo>
                      <a:pt x="272" y="604"/>
                    </a:lnTo>
                    <a:lnTo>
                      <a:pt x="278" y="604"/>
                    </a:lnTo>
                    <a:lnTo>
                      <a:pt x="288" y="598"/>
                    </a:lnTo>
                    <a:lnTo>
                      <a:pt x="294" y="593"/>
                    </a:lnTo>
                    <a:lnTo>
                      <a:pt x="299" y="588"/>
                    </a:lnTo>
                    <a:lnTo>
                      <a:pt x="299" y="582"/>
                    </a:lnTo>
                    <a:lnTo>
                      <a:pt x="294" y="582"/>
                    </a:lnTo>
                    <a:lnTo>
                      <a:pt x="294" y="577"/>
                    </a:lnTo>
                    <a:lnTo>
                      <a:pt x="288" y="577"/>
                    </a:lnTo>
                    <a:lnTo>
                      <a:pt x="315" y="422"/>
                    </a:lnTo>
                    <a:lnTo>
                      <a:pt x="315" y="417"/>
                    </a:lnTo>
                    <a:lnTo>
                      <a:pt x="320" y="417"/>
                    </a:lnTo>
                    <a:lnTo>
                      <a:pt x="320" y="411"/>
                    </a:lnTo>
                    <a:lnTo>
                      <a:pt x="326" y="406"/>
                    </a:lnTo>
                    <a:lnTo>
                      <a:pt x="326" y="401"/>
                    </a:lnTo>
                    <a:lnTo>
                      <a:pt x="326" y="395"/>
                    </a:lnTo>
                    <a:lnTo>
                      <a:pt x="320" y="390"/>
                    </a:lnTo>
                    <a:lnTo>
                      <a:pt x="320" y="385"/>
                    </a:lnTo>
                    <a:lnTo>
                      <a:pt x="320" y="374"/>
                    </a:lnTo>
                    <a:lnTo>
                      <a:pt x="320" y="342"/>
                    </a:lnTo>
                    <a:lnTo>
                      <a:pt x="326" y="294"/>
                    </a:lnTo>
                    <a:lnTo>
                      <a:pt x="331" y="235"/>
                    </a:lnTo>
                    <a:lnTo>
                      <a:pt x="331" y="230"/>
                    </a:lnTo>
                    <a:lnTo>
                      <a:pt x="336" y="230"/>
                    </a:lnTo>
                    <a:lnTo>
                      <a:pt x="336" y="224"/>
                    </a:lnTo>
                    <a:lnTo>
                      <a:pt x="336" y="219"/>
                    </a:lnTo>
                    <a:lnTo>
                      <a:pt x="336" y="208"/>
                    </a:lnTo>
                    <a:lnTo>
                      <a:pt x="336" y="203"/>
                    </a:lnTo>
                    <a:lnTo>
                      <a:pt x="331" y="198"/>
                    </a:lnTo>
                    <a:lnTo>
                      <a:pt x="331" y="187"/>
                    </a:lnTo>
                    <a:lnTo>
                      <a:pt x="336" y="155"/>
                    </a:lnTo>
                    <a:lnTo>
                      <a:pt x="342" y="107"/>
                    </a:lnTo>
                    <a:lnTo>
                      <a:pt x="342" y="48"/>
                    </a:lnTo>
                    <a:lnTo>
                      <a:pt x="347" y="43"/>
                    </a:lnTo>
                    <a:lnTo>
                      <a:pt x="347" y="37"/>
                    </a:lnTo>
                    <a:lnTo>
                      <a:pt x="342" y="27"/>
                    </a:lnTo>
                    <a:lnTo>
                      <a:pt x="336" y="27"/>
                    </a:lnTo>
                    <a:lnTo>
                      <a:pt x="331" y="27"/>
                    </a:lnTo>
                    <a:lnTo>
                      <a:pt x="326" y="21"/>
                    </a:lnTo>
                    <a:lnTo>
                      <a:pt x="320" y="21"/>
                    </a:lnTo>
                    <a:lnTo>
                      <a:pt x="310" y="16"/>
                    </a:lnTo>
                    <a:lnTo>
                      <a:pt x="304" y="16"/>
                    </a:lnTo>
                    <a:lnTo>
                      <a:pt x="294" y="11"/>
                    </a:lnTo>
                    <a:lnTo>
                      <a:pt x="283" y="11"/>
                    </a:lnTo>
                    <a:lnTo>
                      <a:pt x="267" y="5"/>
                    </a:lnTo>
                    <a:lnTo>
                      <a:pt x="256" y="5"/>
                    </a:lnTo>
                    <a:lnTo>
                      <a:pt x="240" y="0"/>
                    </a:lnTo>
                    <a:lnTo>
                      <a:pt x="224" y="0"/>
                    </a:lnTo>
                    <a:lnTo>
                      <a:pt x="208" y="0"/>
                    </a:lnTo>
                    <a:lnTo>
                      <a:pt x="192" y="0"/>
                    </a:lnTo>
                    <a:lnTo>
                      <a:pt x="176" y="0"/>
                    </a:lnTo>
                    <a:lnTo>
                      <a:pt x="171" y="0"/>
                    </a:lnTo>
                    <a:lnTo>
                      <a:pt x="166" y="0"/>
                    </a:lnTo>
                    <a:lnTo>
                      <a:pt x="155" y="0"/>
                    </a:lnTo>
                    <a:lnTo>
                      <a:pt x="144" y="0"/>
                    </a:lnTo>
                    <a:lnTo>
                      <a:pt x="134" y="0"/>
                    </a:lnTo>
                    <a:lnTo>
                      <a:pt x="123" y="0"/>
                    </a:lnTo>
                    <a:lnTo>
                      <a:pt x="112" y="0"/>
                    </a:lnTo>
                    <a:lnTo>
                      <a:pt x="102" y="0"/>
                    </a:lnTo>
                    <a:lnTo>
                      <a:pt x="86" y="5"/>
                    </a:lnTo>
                    <a:lnTo>
                      <a:pt x="70" y="5"/>
                    </a:lnTo>
                    <a:lnTo>
                      <a:pt x="59" y="11"/>
                    </a:lnTo>
                    <a:lnTo>
                      <a:pt x="43" y="16"/>
                    </a:lnTo>
                    <a:lnTo>
                      <a:pt x="32" y="16"/>
                    </a:lnTo>
                    <a:lnTo>
                      <a:pt x="16" y="21"/>
                    </a:lnTo>
                    <a:lnTo>
                      <a:pt x="16" y="27"/>
                    </a:lnTo>
                    <a:lnTo>
                      <a:pt x="11" y="27"/>
                    </a:lnTo>
                    <a:lnTo>
                      <a:pt x="6" y="27"/>
                    </a:lnTo>
                    <a:lnTo>
                      <a:pt x="6" y="32"/>
                    </a:lnTo>
                    <a:lnTo>
                      <a:pt x="6" y="37"/>
                    </a:lnTo>
                    <a:lnTo>
                      <a:pt x="6" y="43"/>
                    </a:lnTo>
                    <a:lnTo>
                      <a:pt x="16" y="48"/>
                    </a:lnTo>
                    <a:lnTo>
                      <a:pt x="11" y="59"/>
                    </a:lnTo>
                    <a:lnTo>
                      <a:pt x="11" y="91"/>
                    </a:lnTo>
                    <a:lnTo>
                      <a:pt x="11" y="134"/>
                    </a:lnTo>
                    <a:lnTo>
                      <a:pt x="11" y="187"/>
                    </a:lnTo>
                    <a:lnTo>
                      <a:pt x="6" y="192"/>
                    </a:lnTo>
                    <a:lnTo>
                      <a:pt x="0" y="198"/>
                    </a:lnTo>
                    <a:lnTo>
                      <a:pt x="6" y="203"/>
                    </a:lnTo>
                    <a:lnTo>
                      <a:pt x="6" y="208"/>
                    </a:lnTo>
                    <a:lnTo>
                      <a:pt x="11" y="214"/>
                    </a:lnTo>
                    <a:lnTo>
                      <a:pt x="11" y="230"/>
                    </a:lnTo>
                    <a:lnTo>
                      <a:pt x="11" y="272"/>
                    </a:lnTo>
                    <a:lnTo>
                      <a:pt x="11" y="320"/>
                    </a:lnTo>
                    <a:lnTo>
                      <a:pt x="16" y="363"/>
                    </a:lnTo>
                    <a:lnTo>
                      <a:pt x="11" y="369"/>
                    </a:lnTo>
                    <a:lnTo>
                      <a:pt x="6" y="374"/>
                    </a:lnTo>
                    <a:lnTo>
                      <a:pt x="6" y="379"/>
                    </a:lnTo>
                    <a:lnTo>
                      <a:pt x="6" y="385"/>
                    </a:lnTo>
                    <a:lnTo>
                      <a:pt x="11" y="390"/>
                    </a:lnTo>
                    <a:lnTo>
                      <a:pt x="16" y="390"/>
                    </a:lnTo>
                    <a:lnTo>
                      <a:pt x="16" y="411"/>
                    </a:lnTo>
                    <a:lnTo>
                      <a:pt x="22" y="454"/>
                    </a:lnTo>
                    <a:lnTo>
                      <a:pt x="22" y="507"/>
                    </a:lnTo>
                    <a:lnTo>
                      <a:pt x="27" y="550"/>
                    </a:lnTo>
                    <a:close/>
                  </a:path>
                </a:pathLst>
              </a:custGeom>
              <a:solidFill>
                <a:srgbClr val="AA7956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44" name="Freeform 3999"/>
              <p:cNvSpPr>
                <a:spLocks/>
              </p:cNvSpPr>
              <p:nvPr/>
            </p:nvSpPr>
            <p:spPr bwMode="auto">
              <a:xfrm>
                <a:off x="4623" y="2830"/>
                <a:ext cx="293" cy="32"/>
              </a:xfrm>
              <a:custGeom>
                <a:avLst/>
                <a:gdLst>
                  <a:gd name="T0" fmla="*/ 0 w 293"/>
                  <a:gd name="T1" fmla="*/ 0 h 32"/>
                  <a:gd name="T2" fmla="*/ 0 w 293"/>
                  <a:gd name="T3" fmla="*/ 5 h 32"/>
                  <a:gd name="T4" fmla="*/ 5 w 293"/>
                  <a:gd name="T5" fmla="*/ 5 h 32"/>
                  <a:gd name="T6" fmla="*/ 10 w 293"/>
                  <a:gd name="T7" fmla="*/ 5 h 32"/>
                  <a:gd name="T8" fmla="*/ 21 w 293"/>
                  <a:gd name="T9" fmla="*/ 10 h 32"/>
                  <a:gd name="T10" fmla="*/ 32 w 293"/>
                  <a:gd name="T11" fmla="*/ 16 h 32"/>
                  <a:gd name="T12" fmla="*/ 42 w 293"/>
                  <a:gd name="T13" fmla="*/ 21 h 32"/>
                  <a:gd name="T14" fmla="*/ 58 w 293"/>
                  <a:gd name="T15" fmla="*/ 26 h 32"/>
                  <a:gd name="T16" fmla="*/ 80 w 293"/>
                  <a:gd name="T17" fmla="*/ 26 h 32"/>
                  <a:gd name="T18" fmla="*/ 101 w 293"/>
                  <a:gd name="T19" fmla="*/ 32 h 32"/>
                  <a:gd name="T20" fmla="*/ 122 w 293"/>
                  <a:gd name="T21" fmla="*/ 32 h 32"/>
                  <a:gd name="T22" fmla="*/ 144 w 293"/>
                  <a:gd name="T23" fmla="*/ 32 h 32"/>
                  <a:gd name="T24" fmla="*/ 170 w 293"/>
                  <a:gd name="T25" fmla="*/ 32 h 32"/>
                  <a:gd name="T26" fmla="*/ 197 w 293"/>
                  <a:gd name="T27" fmla="*/ 32 h 32"/>
                  <a:gd name="T28" fmla="*/ 229 w 293"/>
                  <a:gd name="T29" fmla="*/ 26 h 32"/>
                  <a:gd name="T30" fmla="*/ 261 w 293"/>
                  <a:gd name="T31" fmla="*/ 21 h 32"/>
                  <a:gd name="T32" fmla="*/ 293 w 293"/>
                  <a:gd name="T33" fmla="*/ 10 h 32"/>
                  <a:gd name="T34" fmla="*/ 288 w 293"/>
                  <a:gd name="T35" fmla="*/ 10 h 32"/>
                  <a:gd name="T36" fmla="*/ 282 w 293"/>
                  <a:gd name="T37" fmla="*/ 10 h 32"/>
                  <a:gd name="T38" fmla="*/ 272 w 293"/>
                  <a:gd name="T39" fmla="*/ 16 h 32"/>
                  <a:gd name="T40" fmla="*/ 261 w 293"/>
                  <a:gd name="T41" fmla="*/ 16 h 32"/>
                  <a:gd name="T42" fmla="*/ 245 w 293"/>
                  <a:gd name="T43" fmla="*/ 16 h 32"/>
                  <a:gd name="T44" fmla="*/ 224 w 293"/>
                  <a:gd name="T45" fmla="*/ 16 h 32"/>
                  <a:gd name="T46" fmla="*/ 208 w 293"/>
                  <a:gd name="T47" fmla="*/ 16 h 32"/>
                  <a:gd name="T48" fmla="*/ 186 w 293"/>
                  <a:gd name="T49" fmla="*/ 16 h 32"/>
                  <a:gd name="T50" fmla="*/ 160 w 293"/>
                  <a:gd name="T51" fmla="*/ 16 h 32"/>
                  <a:gd name="T52" fmla="*/ 138 w 293"/>
                  <a:gd name="T53" fmla="*/ 16 h 32"/>
                  <a:gd name="T54" fmla="*/ 112 w 293"/>
                  <a:gd name="T55" fmla="*/ 16 h 32"/>
                  <a:gd name="T56" fmla="*/ 90 w 293"/>
                  <a:gd name="T57" fmla="*/ 16 h 32"/>
                  <a:gd name="T58" fmla="*/ 64 w 293"/>
                  <a:gd name="T59" fmla="*/ 16 h 32"/>
                  <a:gd name="T60" fmla="*/ 42 w 293"/>
                  <a:gd name="T61" fmla="*/ 10 h 32"/>
                  <a:gd name="T62" fmla="*/ 21 w 293"/>
                  <a:gd name="T63" fmla="*/ 5 h 32"/>
                  <a:gd name="T64" fmla="*/ 0 w 293"/>
                  <a:gd name="T65" fmla="*/ 0 h 3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93"/>
                  <a:gd name="T100" fmla="*/ 0 h 32"/>
                  <a:gd name="T101" fmla="*/ 293 w 293"/>
                  <a:gd name="T102" fmla="*/ 32 h 3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93" h="32">
                    <a:moveTo>
                      <a:pt x="0" y="0"/>
                    </a:moveTo>
                    <a:lnTo>
                      <a:pt x="0" y="5"/>
                    </a:lnTo>
                    <a:lnTo>
                      <a:pt x="5" y="5"/>
                    </a:lnTo>
                    <a:lnTo>
                      <a:pt x="10" y="5"/>
                    </a:lnTo>
                    <a:lnTo>
                      <a:pt x="21" y="10"/>
                    </a:lnTo>
                    <a:lnTo>
                      <a:pt x="32" y="16"/>
                    </a:lnTo>
                    <a:lnTo>
                      <a:pt x="42" y="21"/>
                    </a:lnTo>
                    <a:lnTo>
                      <a:pt x="58" y="26"/>
                    </a:lnTo>
                    <a:lnTo>
                      <a:pt x="80" y="26"/>
                    </a:lnTo>
                    <a:lnTo>
                      <a:pt x="101" y="32"/>
                    </a:lnTo>
                    <a:lnTo>
                      <a:pt x="122" y="32"/>
                    </a:lnTo>
                    <a:lnTo>
                      <a:pt x="144" y="32"/>
                    </a:lnTo>
                    <a:lnTo>
                      <a:pt x="170" y="32"/>
                    </a:lnTo>
                    <a:lnTo>
                      <a:pt x="197" y="32"/>
                    </a:lnTo>
                    <a:lnTo>
                      <a:pt x="229" y="26"/>
                    </a:lnTo>
                    <a:lnTo>
                      <a:pt x="261" y="21"/>
                    </a:lnTo>
                    <a:lnTo>
                      <a:pt x="293" y="10"/>
                    </a:lnTo>
                    <a:lnTo>
                      <a:pt x="288" y="10"/>
                    </a:lnTo>
                    <a:lnTo>
                      <a:pt x="282" y="10"/>
                    </a:lnTo>
                    <a:lnTo>
                      <a:pt x="272" y="16"/>
                    </a:lnTo>
                    <a:lnTo>
                      <a:pt x="261" y="16"/>
                    </a:lnTo>
                    <a:lnTo>
                      <a:pt x="245" y="16"/>
                    </a:lnTo>
                    <a:lnTo>
                      <a:pt x="224" y="16"/>
                    </a:lnTo>
                    <a:lnTo>
                      <a:pt x="208" y="16"/>
                    </a:lnTo>
                    <a:lnTo>
                      <a:pt x="186" y="16"/>
                    </a:lnTo>
                    <a:lnTo>
                      <a:pt x="160" y="16"/>
                    </a:lnTo>
                    <a:lnTo>
                      <a:pt x="138" y="16"/>
                    </a:lnTo>
                    <a:lnTo>
                      <a:pt x="112" y="16"/>
                    </a:lnTo>
                    <a:lnTo>
                      <a:pt x="90" y="16"/>
                    </a:lnTo>
                    <a:lnTo>
                      <a:pt x="64" y="16"/>
                    </a:lnTo>
                    <a:lnTo>
                      <a:pt x="42" y="10"/>
                    </a:lnTo>
                    <a:lnTo>
                      <a:pt x="21" y="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462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45" name="Freeform 4000"/>
              <p:cNvSpPr>
                <a:spLocks/>
              </p:cNvSpPr>
              <p:nvPr/>
            </p:nvSpPr>
            <p:spPr bwMode="auto">
              <a:xfrm>
                <a:off x="4628" y="2653"/>
                <a:ext cx="293" cy="27"/>
              </a:xfrm>
              <a:custGeom>
                <a:avLst/>
                <a:gdLst>
                  <a:gd name="T0" fmla="*/ 0 w 293"/>
                  <a:gd name="T1" fmla="*/ 0 h 27"/>
                  <a:gd name="T2" fmla="*/ 0 w 293"/>
                  <a:gd name="T3" fmla="*/ 0 h 27"/>
                  <a:gd name="T4" fmla="*/ 5 w 293"/>
                  <a:gd name="T5" fmla="*/ 6 h 27"/>
                  <a:gd name="T6" fmla="*/ 11 w 293"/>
                  <a:gd name="T7" fmla="*/ 6 h 27"/>
                  <a:gd name="T8" fmla="*/ 21 w 293"/>
                  <a:gd name="T9" fmla="*/ 6 h 27"/>
                  <a:gd name="T10" fmla="*/ 32 w 293"/>
                  <a:gd name="T11" fmla="*/ 11 h 27"/>
                  <a:gd name="T12" fmla="*/ 43 w 293"/>
                  <a:gd name="T13" fmla="*/ 16 h 27"/>
                  <a:gd name="T14" fmla="*/ 59 w 293"/>
                  <a:gd name="T15" fmla="*/ 16 h 27"/>
                  <a:gd name="T16" fmla="*/ 75 w 293"/>
                  <a:gd name="T17" fmla="*/ 22 h 27"/>
                  <a:gd name="T18" fmla="*/ 96 w 293"/>
                  <a:gd name="T19" fmla="*/ 22 h 27"/>
                  <a:gd name="T20" fmla="*/ 117 w 293"/>
                  <a:gd name="T21" fmla="*/ 22 h 27"/>
                  <a:gd name="T22" fmla="*/ 144 w 293"/>
                  <a:gd name="T23" fmla="*/ 27 h 27"/>
                  <a:gd name="T24" fmla="*/ 171 w 293"/>
                  <a:gd name="T25" fmla="*/ 27 h 27"/>
                  <a:gd name="T26" fmla="*/ 197 w 293"/>
                  <a:gd name="T27" fmla="*/ 22 h 27"/>
                  <a:gd name="T28" fmla="*/ 224 w 293"/>
                  <a:gd name="T29" fmla="*/ 22 h 27"/>
                  <a:gd name="T30" fmla="*/ 256 w 293"/>
                  <a:gd name="T31" fmla="*/ 16 h 27"/>
                  <a:gd name="T32" fmla="*/ 293 w 293"/>
                  <a:gd name="T33" fmla="*/ 11 h 27"/>
                  <a:gd name="T34" fmla="*/ 288 w 293"/>
                  <a:gd name="T35" fmla="*/ 11 h 27"/>
                  <a:gd name="T36" fmla="*/ 283 w 293"/>
                  <a:gd name="T37" fmla="*/ 11 h 27"/>
                  <a:gd name="T38" fmla="*/ 272 w 293"/>
                  <a:gd name="T39" fmla="*/ 11 h 27"/>
                  <a:gd name="T40" fmla="*/ 261 w 293"/>
                  <a:gd name="T41" fmla="*/ 11 h 27"/>
                  <a:gd name="T42" fmla="*/ 245 w 293"/>
                  <a:gd name="T43" fmla="*/ 11 h 27"/>
                  <a:gd name="T44" fmla="*/ 229 w 293"/>
                  <a:gd name="T45" fmla="*/ 16 h 27"/>
                  <a:gd name="T46" fmla="*/ 208 w 293"/>
                  <a:gd name="T47" fmla="*/ 16 h 27"/>
                  <a:gd name="T48" fmla="*/ 187 w 293"/>
                  <a:gd name="T49" fmla="*/ 16 h 27"/>
                  <a:gd name="T50" fmla="*/ 160 w 293"/>
                  <a:gd name="T51" fmla="*/ 16 h 27"/>
                  <a:gd name="T52" fmla="*/ 139 w 293"/>
                  <a:gd name="T53" fmla="*/ 16 h 27"/>
                  <a:gd name="T54" fmla="*/ 112 w 293"/>
                  <a:gd name="T55" fmla="*/ 11 h 27"/>
                  <a:gd name="T56" fmla="*/ 91 w 293"/>
                  <a:gd name="T57" fmla="*/ 11 h 27"/>
                  <a:gd name="T58" fmla="*/ 64 w 293"/>
                  <a:gd name="T59" fmla="*/ 11 h 27"/>
                  <a:gd name="T60" fmla="*/ 43 w 293"/>
                  <a:gd name="T61" fmla="*/ 6 h 27"/>
                  <a:gd name="T62" fmla="*/ 21 w 293"/>
                  <a:gd name="T63" fmla="*/ 6 h 27"/>
                  <a:gd name="T64" fmla="*/ 0 w 293"/>
                  <a:gd name="T65" fmla="*/ 0 h 2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93"/>
                  <a:gd name="T100" fmla="*/ 0 h 27"/>
                  <a:gd name="T101" fmla="*/ 293 w 293"/>
                  <a:gd name="T102" fmla="*/ 27 h 2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93" h="27">
                    <a:moveTo>
                      <a:pt x="0" y="0"/>
                    </a:moveTo>
                    <a:lnTo>
                      <a:pt x="0" y="0"/>
                    </a:lnTo>
                    <a:lnTo>
                      <a:pt x="5" y="6"/>
                    </a:lnTo>
                    <a:lnTo>
                      <a:pt x="11" y="6"/>
                    </a:lnTo>
                    <a:lnTo>
                      <a:pt x="21" y="6"/>
                    </a:lnTo>
                    <a:lnTo>
                      <a:pt x="32" y="11"/>
                    </a:lnTo>
                    <a:lnTo>
                      <a:pt x="43" y="16"/>
                    </a:lnTo>
                    <a:lnTo>
                      <a:pt x="59" y="16"/>
                    </a:lnTo>
                    <a:lnTo>
                      <a:pt x="75" y="22"/>
                    </a:lnTo>
                    <a:lnTo>
                      <a:pt x="96" y="22"/>
                    </a:lnTo>
                    <a:lnTo>
                      <a:pt x="117" y="22"/>
                    </a:lnTo>
                    <a:lnTo>
                      <a:pt x="144" y="27"/>
                    </a:lnTo>
                    <a:lnTo>
                      <a:pt x="171" y="27"/>
                    </a:lnTo>
                    <a:lnTo>
                      <a:pt x="197" y="22"/>
                    </a:lnTo>
                    <a:lnTo>
                      <a:pt x="224" y="22"/>
                    </a:lnTo>
                    <a:lnTo>
                      <a:pt x="256" y="16"/>
                    </a:lnTo>
                    <a:lnTo>
                      <a:pt x="293" y="11"/>
                    </a:lnTo>
                    <a:lnTo>
                      <a:pt x="288" y="11"/>
                    </a:lnTo>
                    <a:lnTo>
                      <a:pt x="283" y="11"/>
                    </a:lnTo>
                    <a:lnTo>
                      <a:pt x="272" y="11"/>
                    </a:lnTo>
                    <a:lnTo>
                      <a:pt x="261" y="11"/>
                    </a:lnTo>
                    <a:lnTo>
                      <a:pt x="245" y="11"/>
                    </a:lnTo>
                    <a:lnTo>
                      <a:pt x="229" y="16"/>
                    </a:lnTo>
                    <a:lnTo>
                      <a:pt x="208" y="16"/>
                    </a:lnTo>
                    <a:lnTo>
                      <a:pt x="187" y="16"/>
                    </a:lnTo>
                    <a:lnTo>
                      <a:pt x="160" y="16"/>
                    </a:lnTo>
                    <a:lnTo>
                      <a:pt x="139" y="16"/>
                    </a:lnTo>
                    <a:lnTo>
                      <a:pt x="112" y="11"/>
                    </a:lnTo>
                    <a:lnTo>
                      <a:pt x="91" y="11"/>
                    </a:lnTo>
                    <a:lnTo>
                      <a:pt x="64" y="11"/>
                    </a:lnTo>
                    <a:lnTo>
                      <a:pt x="43" y="6"/>
                    </a:lnTo>
                    <a:lnTo>
                      <a:pt x="21" y="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462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46" name="Freeform 4001"/>
              <p:cNvSpPr>
                <a:spLocks/>
              </p:cNvSpPr>
              <p:nvPr/>
            </p:nvSpPr>
            <p:spPr bwMode="auto">
              <a:xfrm>
                <a:off x="4628" y="2643"/>
                <a:ext cx="288" cy="16"/>
              </a:xfrm>
              <a:custGeom>
                <a:avLst/>
                <a:gdLst>
                  <a:gd name="T0" fmla="*/ 0 w 288"/>
                  <a:gd name="T1" fmla="*/ 0 h 16"/>
                  <a:gd name="T2" fmla="*/ 0 w 288"/>
                  <a:gd name="T3" fmla="*/ 0 h 16"/>
                  <a:gd name="T4" fmla="*/ 5 w 288"/>
                  <a:gd name="T5" fmla="*/ 0 h 16"/>
                  <a:gd name="T6" fmla="*/ 11 w 288"/>
                  <a:gd name="T7" fmla="*/ 5 h 16"/>
                  <a:gd name="T8" fmla="*/ 21 w 288"/>
                  <a:gd name="T9" fmla="*/ 5 h 16"/>
                  <a:gd name="T10" fmla="*/ 32 w 288"/>
                  <a:gd name="T11" fmla="*/ 5 h 16"/>
                  <a:gd name="T12" fmla="*/ 48 w 288"/>
                  <a:gd name="T13" fmla="*/ 10 h 16"/>
                  <a:gd name="T14" fmla="*/ 64 w 288"/>
                  <a:gd name="T15" fmla="*/ 10 h 16"/>
                  <a:gd name="T16" fmla="*/ 80 w 288"/>
                  <a:gd name="T17" fmla="*/ 16 h 16"/>
                  <a:gd name="T18" fmla="*/ 101 w 288"/>
                  <a:gd name="T19" fmla="*/ 16 h 16"/>
                  <a:gd name="T20" fmla="*/ 123 w 288"/>
                  <a:gd name="T21" fmla="*/ 16 h 16"/>
                  <a:gd name="T22" fmla="*/ 144 w 288"/>
                  <a:gd name="T23" fmla="*/ 16 h 16"/>
                  <a:gd name="T24" fmla="*/ 171 w 288"/>
                  <a:gd name="T25" fmla="*/ 16 h 16"/>
                  <a:gd name="T26" fmla="*/ 197 w 288"/>
                  <a:gd name="T27" fmla="*/ 16 h 16"/>
                  <a:gd name="T28" fmla="*/ 224 w 288"/>
                  <a:gd name="T29" fmla="*/ 16 h 16"/>
                  <a:gd name="T30" fmla="*/ 256 w 288"/>
                  <a:gd name="T31" fmla="*/ 10 h 16"/>
                  <a:gd name="T32" fmla="*/ 288 w 288"/>
                  <a:gd name="T33" fmla="*/ 5 h 16"/>
                  <a:gd name="T34" fmla="*/ 283 w 288"/>
                  <a:gd name="T35" fmla="*/ 5 h 16"/>
                  <a:gd name="T36" fmla="*/ 277 w 288"/>
                  <a:gd name="T37" fmla="*/ 5 h 16"/>
                  <a:gd name="T38" fmla="*/ 261 w 288"/>
                  <a:gd name="T39" fmla="*/ 5 h 16"/>
                  <a:gd name="T40" fmla="*/ 251 w 288"/>
                  <a:gd name="T41" fmla="*/ 5 h 16"/>
                  <a:gd name="T42" fmla="*/ 229 w 288"/>
                  <a:gd name="T43" fmla="*/ 5 h 16"/>
                  <a:gd name="T44" fmla="*/ 208 w 288"/>
                  <a:gd name="T45" fmla="*/ 5 h 16"/>
                  <a:gd name="T46" fmla="*/ 187 w 288"/>
                  <a:gd name="T47" fmla="*/ 5 h 16"/>
                  <a:gd name="T48" fmla="*/ 160 w 288"/>
                  <a:gd name="T49" fmla="*/ 5 h 16"/>
                  <a:gd name="T50" fmla="*/ 139 w 288"/>
                  <a:gd name="T51" fmla="*/ 5 h 16"/>
                  <a:gd name="T52" fmla="*/ 112 w 288"/>
                  <a:gd name="T53" fmla="*/ 5 h 16"/>
                  <a:gd name="T54" fmla="*/ 85 w 288"/>
                  <a:gd name="T55" fmla="*/ 5 h 16"/>
                  <a:gd name="T56" fmla="*/ 64 w 288"/>
                  <a:gd name="T57" fmla="*/ 5 h 16"/>
                  <a:gd name="T58" fmla="*/ 43 w 288"/>
                  <a:gd name="T59" fmla="*/ 0 h 16"/>
                  <a:gd name="T60" fmla="*/ 27 w 288"/>
                  <a:gd name="T61" fmla="*/ 0 h 16"/>
                  <a:gd name="T62" fmla="*/ 11 w 288"/>
                  <a:gd name="T63" fmla="*/ 0 h 16"/>
                  <a:gd name="T64" fmla="*/ 0 w 288"/>
                  <a:gd name="T65" fmla="*/ 0 h 1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88"/>
                  <a:gd name="T100" fmla="*/ 0 h 16"/>
                  <a:gd name="T101" fmla="*/ 288 w 288"/>
                  <a:gd name="T102" fmla="*/ 16 h 1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88" h="16">
                    <a:moveTo>
                      <a:pt x="0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11" y="5"/>
                    </a:lnTo>
                    <a:lnTo>
                      <a:pt x="21" y="5"/>
                    </a:lnTo>
                    <a:lnTo>
                      <a:pt x="32" y="5"/>
                    </a:lnTo>
                    <a:lnTo>
                      <a:pt x="48" y="10"/>
                    </a:lnTo>
                    <a:lnTo>
                      <a:pt x="64" y="10"/>
                    </a:lnTo>
                    <a:lnTo>
                      <a:pt x="80" y="16"/>
                    </a:lnTo>
                    <a:lnTo>
                      <a:pt x="101" y="16"/>
                    </a:lnTo>
                    <a:lnTo>
                      <a:pt x="123" y="16"/>
                    </a:lnTo>
                    <a:lnTo>
                      <a:pt x="144" y="16"/>
                    </a:lnTo>
                    <a:lnTo>
                      <a:pt x="171" y="16"/>
                    </a:lnTo>
                    <a:lnTo>
                      <a:pt x="197" y="16"/>
                    </a:lnTo>
                    <a:lnTo>
                      <a:pt x="224" y="16"/>
                    </a:lnTo>
                    <a:lnTo>
                      <a:pt x="256" y="10"/>
                    </a:lnTo>
                    <a:lnTo>
                      <a:pt x="288" y="5"/>
                    </a:lnTo>
                    <a:lnTo>
                      <a:pt x="283" y="5"/>
                    </a:lnTo>
                    <a:lnTo>
                      <a:pt x="277" y="5"/>
                    </a:lnTo>
                    <a:lnTo>
                      <a:pt x="261" y="5"/>
                    </a:lnTo>
                    <a:lnTo>
                      <a:pt x="251" y="5"/>
                    </a:lnTo>
                    <a:lnTo>
                      <a:pt x="229" y="5"/>
                    </a:lnTo>
                    <a:lnTo>
                      <a:pt x="208" y="5"/>
                    </a:lnTo>
                    <a:lnTo>
                      <a:pt x="187" y="5"/>
                    </a:lnTo>
                    <a:lnTo>
                      <a:pt x="160" y="5"/>
                    </a:lnTo>
                    <a:lnTo>
                      <a:pt x="139" y="5"/>
                    </a:lnTo>
                    <a:lnTo>
                      <a:pt x="112" y="5"/>
                    </a:lnTo>
                    <a:lnTo>
                      <a:pt x="85" y="5"/>
                    </a:lnTo>
                    <a:lnTo>
                      <a:pt x="64" y="5"/>
                    </a:lnTo>
                    <a:lnTo>
                      <a:pt x="43" y="0"/>
                    </a:lnTo>
                    <a:lnTo>
                      <a:pt x="27" y="0"/>
                    </a:lnTo>
                    <a:lnTo>
                      <a:pt x="11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D8B6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47" name="Freeform 4002"/>
              <p:cNvSpPr>
                <a:spLocks/>
              </p:cNvSpPr>
              <p:nvPr/>
            </p:nvSpPr>
            <p:spPr bwMode="auto">
              <a:xfrm>
                <a:off x="4623" y="2819"/>
                <a:ext cx="282" cy="21"/>
              </a:xfrm>
              <a:custGeom>
                <a:avLst/>
                <a:gdLst>
                  <a:gd name="T0" fmla="*/ 0 w 282"/>
                  <a:gd name="T1" fmla="*/ 0 h 21"/>
                  <a:gd name="T2" fmla="*/ 0 w 282"/>
                  <a:gd name="T3" fmla="*/ 0 h 21"/>
                  <a:gd name="T4" fmla="*/ 5 w 282"/>
                  <a:gd name="T5" fmla="*/ 0 h 21"/>
                  <a:gd name="T6" fmla="*/ 10 w 282"/>
                  <a:gd name="T7" fmla="*/ 5 h 21"/>
                  <a:gd name="T8" fmla="*/ 21 w 282"/>
                  <a:gd name="T9" fmla="*/ 5 h 21"/>
                  <a:gd name="T10" fmla="*/ 32 w 282"/>
                  <a:gd name="T11" fmla="*/ 11 h 21"/>
                  <a:gd name="T12" fmla="*/ 42 w 282"/>
                  <a:gd name="T13" fmla="*/ 11 h 21"/>
                  <a:gd name="T14" fmla="*/ 58 w 282"/>
                  <a:gd name="T15" fmla="*/ 16 h 21"/>
                  <a:gd name="T16" fmla="*/ 74 w 282"/>
                  <a:gd name="T17" fmla="*/ 16 h 21"/>
                  <a:gd name="T18" fmla="*/ 96 w 282"/>
                  <a:gd name="T19" fmla="*/ 21 h 21"/>
                  <a:gd name="T20" fmla="*/ 117 w 282"/>
                  <a:gd name="T21" fmla="*/ 21 h 21"/>
                  <a:gd name="T22" fmla="*/ 144 w 282"/>
                  <a:gd name="T23" fmla="*/ 21 h 21"/>
                  <a:gd name="T24" fmla="*/ 165 w 282"/>
                  <a:gd name="T25" fmla="*/ 21 h 21"/>
                  <a:gd name="T26" fmla="*/ 192 w 282"/>
                  <a:gd name="T27" fmla="*/ 21 h 21"/>
                  <a:gd name="T28" fmla="*/ 224 w 282"/>
                  <a:gd name="T29" fmla="*/ 16 h 21"/>
                  <a:gd name="T30" fmla="*/ 250 w 282"/>
                  <a:gd name="T31" fmla="*/ 11 h 21"/>
                  <a:gd name="T32" fmla="*/ 282 w 282"/>
                  <a:gd name="T33" fmla="*/ 5 h 21"/>
                  <a:gd name="T34" fmla="*/ 282 w 282"/>
                  <a:gd name="T35" fmla="*/ 5 h 21"/>
                  <a:gd name="T36" fmla="*/ 272 w 282"/>
                  <a:gd name="T37" fmla="*/ 5 h 21"/>
                  <a:gd name="T38" fmla="*/ 261 w 282"/>
                  <a:gd name="T39" fmla="*/ 5 h 21"/>
                  <a:gd name="T40" fmla="*/ 245 w 282"/>
                  <a:gd name="T41" fmla="*/ 5 h 21"/>
                  <a:gd name="T42" fmla="*/ 229 w 282"/>
                  <a:gd name="T43" fmla="*/ 5 h 21"/>
                  <a:gd name="T44" fmla="*/ 208 w 282"/>
                  <a:gd name="T45" fmla="*/ 5 h 21"/>
                  <a:gd name="T46" fmla="*/ 181 w 282"/>
                  <a:gd name="T47" fmla="*/ 5 h 21"/>
                  <a:gd name="T48" fmla="*/ 160 w 282"/>
                  <a:gd name="T49" fmla="*/ 5 h 21"/>
                  <a:gd name="T50" fmla="*/ 133 w 282"/>
                  <a:gd name="T51" fmla="*/ 5 h 21"/>
                  <a:gd name="T52" fmla="*/ 112 w 282"/>
                  <a:gd name="T53" fmla="*/ 5 h 21"/>
                  <a:gd name="T54" fmla="*/ 85 w 282"/>
                  <a:gd name="T55" fmla="*/ 5 h 21"/>
                  <a:gd name="T56" fmla="*/ 64 w 282"/>
                  <a:gd name="T57" fmla="*/ 0 h 21"/>
                  <a:gd name="T58" fmla="*/ 42 w 282"/>
                  <a:gd name="T59" fmla="*/ 0 h 21"/>
                  <a:gd name="T60" fmla="*/ 26 w 282"/>
                  <a:gd name="T61" fmla="*/ 0 h 21"/>
                  <a:gd name="T62" fmla="*/ 10 w 282"/>
                  <a:gd name="T63" fmla="*/ 0 h 21"/>
                  <a:gd name="T64" fmla="*/ 0 w 282"/>
                  <a:gd name="T65" fmla="*/ 0 h 2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82"/>
                  <a:gd name="T100" fmla="*/ 0 h 21"/>
                  <a:gd name="T101" fmla="*/ 282 w 282"/>
                  <a:gd name="T102" fmla="*/ 21 h 2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82" h="21">
                    <a:moveTo>
                      <a:pt x="0" y="0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10" y="5"/>
                    </a:lnTo>
                    <a:lnTo>
                      <a:pt x="21" y="5"/>
                    </a:lnTo>
                    <a:lnTo>
                      <a:pt x="32" y="11"/>
                    </a:lnTo>
                    <a:lnTo>
                      <a:pt x="42" y="11"/>
                    </a:lnTo>
                    <a:lnTo>
                      <a:pt x="58" y="16"/>
                    </a:lnTo>
                    <a:lnTo>
                      <a:pt x="74" y="16"/>
                    </a:lnTo>
                    <a:lnTo>
                      <a:pt x="96" y="21"/>
                    </a:lnTo>
                    <a:lnTo>
                      <a:pt x="117" y="21"/>
                    </a:lnTo>
                    <a:lnTo>
                      <a:pt x="144" y="21"/>
                    </a:lnTo>
                    <a:lnTo>
                      <a:pt x="165" y="21"/>
                    </a:lnTo>
                    <a:lnTo>
                      <a:pt x="192" y="21"/>
                    </a:lnTo>
                    <a:lnTo>
                      <a:pt x="224" y="16"/>
                    </a:lnTo>
                    <a:lnTo>
                      <a:pt x="250" y="11"/>
                    </a:lnTo>
                    <a:lnTo>
                      <a:pt x="282" y="5"/>
                    </a:lnTo>
                    <a:lnTo>
                      <a:pt x="272" y="5"/>
                    </a:lnTo>
                    <a:lnTo>
                      <a:pt x="261" y="5"/>
                    </a:lnTo>
                    <a:lnTo>
                      <a:pt x="245" y="5"/>
                    </a:lnTo>
                    <a:lnTo>
                      <a:pt x="229" y="5"/>
                    </a:lnTo>
                    <a:lnTo>
                      <a:pt x="208" y="5"/>
                    </a:lnTo>
                    <a:lnTo>
                      <a:pt x="181" y="5"/>
                    </a:lnTo>
                    <a:lnTo>
                      <a:pt x="160" y="5"/>
                    </a:lnTo>
                    <a:lnTo>
                      <a:pt x="133" y="5"/>
                    </a:lnTo>
                    <a:lnTo>
                      <a:pt x="112" y="5"/>
                    </a:lnTo>
                    <a:lnTo>
                      <a:pt x="85" y="5"/>
                    </a:lnTo>
                    <a:lnTo>
                      <a:pt x="64" y="0"/>
                    </a:lnTo>
                    <a:lnTo>
                      <a:pt x="42" y="0"/>
                    </a:lnTo>
                    <a:lnTo>
                      <a:pt x="26" y="0"/>
                    </a:lnTo>
                    <a:lnTo>
                      <a:pt x="1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D8B6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48" name="Freeform 4003"/>
              <p:cNvSpPr>
                <a:spLocks/>
              </p:cNvSpPr>
              <p:nvPr/>
            </p:nvSpPr>
            <p:spPr bwMode="auto">
              <a:xfrm>
                <a:off x="4623" y="2488"/>
                <a:ext cx="165" cy="149"/>
              </a:xfrm>
              <a:custGeom>
                <a:avLst/>
                <a:gdLst>
                  <a:gd name="T0" fmla="*/ 5 w 165"/>
                  <a:gd name="T1" fmla="*/ 10 h 149"/>
                  <a:gd name="T2" fmla="*/ 0 w 165"/>
                  <a:gd name="T3" fmla="*/ 133 h 149"/>
                  <a:gd name="T4" fmla="*/ 165 w 165"/>
                  <a:gd name="T5" fmla="*/ 149 h 149"/>
                  <a:gd name="T6" fmla="*/ 16 w 165"/>
                  <a:gd name="T7" fmla="*/ 112 h 149"/>
                  <a:gd name="T8" fmla="*/ 149 w 165"/>
                  <a:gd name="T9" fmla="*/ 112 h 149"/>
                  <a:gd name="T10" fmla="*/ 21 w 165"/>
                  <a:gd name="T11" fmla="*/ 91 h 149"/>
                  <a:gd name="T12" fmla="*/ 144 w 165"/>
                  <a:gd name="T13" fmla="*/ 80 h 149"/>
                  <a:gd name="T14" fmla="*/ 26 w 165"/>
                  <a:gd name="T15" fmla="*/ 64 h 149"/>
                  <a:gd name="T16" fmla="*/ 128 w 165"/>
                  <a:gd name="T17" fmla="*/ 53 h 149"/>
                  <a:gd name="T18" fmla="*/ 26 w 165"/>
                  <a:gd name="T19" fmla="*/ 37 h 149"/>
                  <a:gd name="T20" fmla="*/ 128 w 165"/>
                  <a:gd name="T21" fmla="*/ 26 h 149"/>
                  <a:gd name="T22" fmla="*/ 16 w 165"/>
                  <a:gd name="T23" fmla="*/ 16 h 149"/>
                  <a:gd name="T24" fmla="*/ 122 w 165"/>
                  <a:gd name="T25" fmla="*/ 0 h 149"/>
                  <a:gd name="T26" fmla="*/ 5 w 165"/>
                  <a:gd name="T27" fmla="*/ 10 h 14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65"/>
                  <a:gd name="T43" fmla="*/ 0 h 149"/>
                  <a:gd name="T44" fmla="*/ 165 w 165"/>
                  <a:gd name="T45" fmla="*/ 149 h 14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65" h="149">
                    <a:moveTo>
                      <a:pt x="5" y="10"/>
                    </a:moveTo>
                    <a:lnTo>
                      <a:pt x="0" y="133"/>
                    </a:lnTo>
                    <a:lnTo>
                      <a:pt x="165" y="149"/>
                    </a:lnTo>
                    <a:lnTo>
                      <a:pt x="16" y="112"/>
                    </a:lnTo>
                    <a:lnTo>
                      <a:pt x="149" y="112"/>
                    </a:lnTo>
                    <a:lnTo>
                      <a:pt x="21" y="91"/>
                    </a:lnTo>
                    <a:lnTo>
                      <a:pt x="144" y="80"/>
                    </a:lnTo>
                    <a:lnTo>
                      <a:pt x="26" y="64"/>
                    </a:lnTo>
                    <a:lnTo>
                      <a:pt x="128" y="53"/>
                    </a:lnTo>
                    <a:lnTo>
                      <a:pt x="26" y="37"/>
                    </a:lnTo>
                    <a:lnTo>
                      <a:pt x="128" y="26"/>
                    </a:lnTo>
                    <a:lnTo>
                      <a:pt x="16" y="16"/>
                    </a:lnTo>
                    <a:lnTo>
                      <a:pt x="122" y="0"/>
                    </a:lnTo>
                    <a:lnTo>
                      <a:pt x="5" y="10"/>
                    </a:lnTo>
                    <a:close/>
                  </a:path>
                </a:pathLst>
              </a:custGeom>
              <a:solidFill>
                <a:srgbClr val="8462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49" name="Freeform 4004"/>
              <p:cNvSpPr>
                <a:spLocks/>
              </p:cNvSpPr>
              <p:nvPr/>
            </p:nvSpPr>
            <p:spPr bwMode="auto">
              <a:xfrm>
                <a:off x="4633" y="3006"/>
                <a:ext cx="240" cy="37"/>
              </a:xfrm>
              <a:custGeom>
                <a:avLst/>
                <a:gdLst>
                  <a:gd name="T0" fmla="*/ 0 w 240"/>
                  <a:gd name="T1" fmla="*/ 0 h 37"/>
                  <a:gd name="T2" fmla="*/ 0 w 240"/>
                  <a:gd name="T3" fmla="*/ 0 h 37"/>
                  <a:gd name="T4" fmla="*/ 0 w 240"/>
                  <a:gd name="T5" fmla="*/ 5 h 37"/>
                  <a:gd name="T6" fmla="*/ 6 w 240"/>
                  <a:gd name="T7" fmla="*/ 5 h 37"/>
                  <a:gd name="T8" fmla="*/ 16 w 240"/>
                  <a:gd name="T9" fmla="*/ 10 h 37"/>
                  <a:gd name="T10" fmla="*/ 27 w 240"/>
                  <a:gd name="T11" fmla="*/ 16 h 37"/>
                  <a:gd name="T12" fmla="*/ 38 w 240"/>
                  <a:gd name="T13" fmla="*/ 21 h 37"/>
                  <a:gd name="T14" fmla="*/ 48 w 240"/>
                  <a:gd name="T15" fmla="*/ 21 h 37"/>
                  <a:gd name="T16" fmla="*/ 64 w 240"/>
                  <a:gd name="T17" fmla="*/ 27 h 37"/>
                  <a:gd name="T18" fmla="*/ 80 w 240"/>
                  <a:gd name="T19" fmla="*/ 32 h 37"/>
                  <a:gd name="T20" fmla="*/ 102 w 240"/>
                  <a:gd name="T21" fmla="*/ 32 h 37"/>
                  <a:gd name="T22" fmla="*/ 118 w 240"/>
                  <a:gd name="T23" fmla="*/ 37 h 37"/>
                  <a:gd name="T24" fmla="*/ 139 w 240"/>
                  <a:gd name="T25" fmla="*/ 37 h 37"/>
                  <a:gd name="T26" fmla="*/ 166 w 240"/>
                  <a:gd name="T27" fmla="*/ 37 h 37"/>
                  <a:gd name="T28" fmla="*/ 187 w 240"/>
                  <a:gd name="T29" fmla="*/ 32 h 37"/>
                  <a:gd name="T30" fmla="*/ 214 w 240"/>
                  <a:gd name="T31" fmla="*/ 27 h 37"/>
                  <a:gd name="T32" fmla="*/ 240 w 240"/>
                  <a:gd name="T33" fmla="*/ 21 h 37"/>
                  <a:gd name="T34" fmla="*/ 240 w 240"/>
                  <a:gd name="T35" fmla="*/ 21 h 37"/>
                  <a:gd name="T36" fmla="*/ 235 w 240"/>
                  <a:gd name="T37" fmla="*/ 21 h 37"/>
                  <a:gd name="T38" fmla="*/ 230 w 240"/>
                  <a:gd name="T39" fmla="*/ 21 h 37"/>
                  <a:gd name="T40" fmla="*/ 219 w 240"/>
                  <a:gd name="T41" fmla="*/ 27 h 37"/>
                  <a:gd name="T42" fmla="*/ 208 w 240"/>
                  <a:gd name="T43" fmla="*/ 27 h 37"/>
                  <a:gd name="T44" fmla="*/ 192 w 240"/>
                  <a:gd name="T45" fmla="*/ 27 h 37"/>
                  <a:gd name="T46" fmla="*/ 176 w 240"/>
                  <a:gd name="T47" fmla="*/ 27 h 37"/>
                  <a:gd name="T48" fmla="*/ 160 w 240"/>
                  <a:gd name="T49" fmla="*/ 27 h 37"/>
                  <a:gd name="T50" fmla="*/ 144 w 240"/>
                  <a:gd name="T51" fmla="*/ 27 h 37"/>
                  <a:gd name="T52" fmla="*/ 123 w 240"/>
                  <a:gd name="T53" fmla="*/ 27 h 37"/>
                  <a:gd name="T54" fmla="*/ 102 w 240"/>
                  <a:gd name="T55" fmla="*/ 27 h 37"/>
                  <a:gd name="T56" fmla="*/ 80 w 240"/>
                  <a:gd name="T57" fmla="*/ 21 h 37"/>
                  <a:gd name="T58" fmla="*/ 59 w 240"/>
                  <a:gd name="T59" fmla="*/ 21 h 37"/>
                  <a:gd name="T60" fmla="*/ 38 w 240"/>
                  <a:gd name="T61" fmla="*/ 16 h 37"/>
                  <a:gd name="T62" fmla="*/ 22 w 240"/>
                  <a:gd name="T63" fmla="*/ 10 h 37"/>
                  <a:gd name="T64" fmla="*/ 0 w 240"/>
                  <a:gd name="T65" fmla="*/ 0 h 3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40"/>
                  <a:gd name="T100" fmla="*/ 0 h 37"/>
                  <a:gd name="T101" fmla="*/ 240 w 240"/>
                  <a:gd name="T102" fmla="*/ 37 h 37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40" h="37">
                    <a:moveTo>
                      <a:pt x="0" y="0"/>
                    </a:moveTo>
                    <a:lnTo>
                      <a:pt x="0" y="0"/>
                    </a:lnTo>
                    <a:lnTo>
                      <a:pt x="0" y="5"/>
                    </a:lnTo>
                    <a:lnTo>
                      <a:pt x="6" y="5"/>
                    </a:lnTo>
                    <a:lnTo>
                      <a:pt x="16" y="10"/>
                    </a:lnTo>
                    <a:lnTo>
                      <a:pt x="27" y="16"/>
                    </a:lnTo>
                    <a:lnTo>
                      <a:pt x="38" y="21"/>
                    </a:lnTo>
                    <a:lnTo>
                      <a:pt x="48" y="21"/>
                    </a:lnTo>
                    <a:lnTo>
                      <a:pt x="64" y="27"/>
                    </a:lnTo>
                    <a:lnTo>
                      <a:pt x="80" y="32"/>
                    </a:lnTo>
                    <a:lnTo>
                      <a:pt x="102" y="32"/>
                    </a:lnTo>
                    <a:lnTo>
                      <a:pt x="118" y="37"/>
                    </a:lnTo>
                    <a:lnTo>
                      <a:pt x="139" y="37"/>
                    </a:lnTo>
                    <a:lnTo>
                      <a:pt x="166" y="37"/>
                    </a:lnTo>
                    <a:lnTo>
                      <a:pt x="187" y="32"/>
                    </a:lnTo>
                    <a:lnTo>
                      <a:pt x="214" y="27"/>
                    </a:lnTo>
                    <a:lnTo>
                      <a:pt x="240" y="21"/>
                    </a:lnTo>
                    <a:lnTo>
                      <a:pt x="235" y="21"/>
                    </a:lnTo>
                    <a:lnTo>
                      <a:pt x="230" y="21"/>
                    </a:lnTo>
                    <a:lnTo>
                      <a:pt x="219" y="27"/>
                    </a:lnTo>
                    <a:lnTo>
                      <a:pt x="208" y="27"/>
                    </a:lnTo>
                    <a:lnTo>
                      <a:pt x="192" y="27"/>
                    </a:lnTo>
                    <a:lnTo>
                      <a:pt x="176" y="27"/>
                    </a:lnTo>
                    <a:lnTo>
                      <a:pt x="160" y="27"/>
                    </a:lnTo>
                    <a:lnTo>
                      <a:pt x="144" y="27"/>
                    </a:lnTo>
                    <a:lnTo>
                      <a:pt x="123" y="27"/>
                    </a:lnTo>
                    <a:lnTo>
                      <a:pt x="102" y="27"/>
                    </a:lnTo>
                    <a:lnTo>
                      <a:pt x="80" y="21"/>
                    </a:lnTo>
                    <a:lnTo>
                      <a:pt x="59" y="21"/>
                    </a:lnTo>
                    <a:lnTo>
                      <a:pt x="38" y="16"/>
                    </a:lnTo>
                    <a:lnTo>
                      <a:pt x="22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462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50" name="Freeform 4005"/>
              <p:cNvSpPr>
                <a:spLocks/>
              </p:cNvSpPr>
              <p:nvPr/>
            </p:nvSpPr>
            <p:spPr bwMode="auto">
              <a:xfrm>
                <a:off x="4623" y="2456"/>
                <a:ext cx="282" cy="21"/>
              </a:xfrm>
              <a:custGeom>
                <a:avLst/>
                <a:gdLst>
                  <a:gd name="T0" fmla="*/ 0 w 282"/>
                  <a:gd name="T1" fmla="*/ 21 h 21"/>
                  <a:gd name="T2" fmla="*/ 0 w 282"/>
                  <a:gd name="T3" fmla="*/ 21 h 21"/>
                  <a:gd name="T4" fmla="*/ 5 w 282"/>
                  <a:gd name="T5" fmla="*/ 21 h 21"/>
                  <a:gd name="T6" fmla="*/ 10 w 282"/>
                  <a:gd name="T7" fmla="*/ 21 h 21"/>
                  <a:gd name="T8" fmla="*/ 21 w 282"/>
                  <a:gd name="T9" fmla="*/ 16 h 21"/>
                  <a:gd name="T10" fmla="*/ 32 w 282"/>
                  <a:gd name="T11" fmla="*/ 16 h 21"/>
                  <a:gd name="T12" fmla="*/ 48 w 282"/>
                  <a:gd name="T13" fmla="*/ 10 h 21"/>
                  <a:gd name="T14" fmla="*/ 64 w 282"/>
                  <a:gd name="T15" fmla="*/ 5 h 21"/>
                  <a:gd name="T16" fmla="*/ 85 w 282"/>
                  <a:gd name="T17" fmla="*/ 5 h 21"/>
                  <a:gd name="T18" fmla="*/ 101 w 282"/>
                  <a:gd name="T19" fmla="*/ 5 h 21"/>
                  <a:gd name="T20" fmla="*/ 122 w 282"/>
                  <a:gd name="T21" fmla="*/ 0 h 21"/>
                  <a:gd name="T22" fmla="*/ 149 w 282"/>
                  <a:gd name="T23" fmla="*/ 0 h 21"/>
                  <a:gd name="T24" fmla="*/ 170 w 282"/>
                  <a:gd name="T25" fmla="*/ 0 h 21"/>
                  <a:gd name="T26" fmla="*/ 197 w 282"/>
                  <a:gd name="T27" fmla="*/ 5 h 21"/>
                  <a:gd name="T28" fmla="*/ 224 w 282"/>
                  <a:gd name="T29" fmla="*/ 5 h 21"/>
                  <a:gd name="T30" fmla="*/ 250 w 282"/>
                  <a:gd name="T31" fmla="*/ 10 h 21"/>
                  <a:gd name="T32" fmla="*/ 282 w 282"/>
                  <a:gd name="T33" fmla="*/ 21 h 21"/>
                  <a:gd name="T34" fmla="*/ 277 w 282"/>
                  <a:gd name="T35" fmla="*/ 21 h 21"/>
                  <a:gd name="T36" fmla="*/ 277 w 282"/>
                  <a:gd name="T37" fmla="*/ 21 h 21"/>
                  <a:gd name="T38" fmla="*/ 266 w 282"/>
                  <a:gd name="T39" fmla="*/ 16 h 21"/>
                  <a:gd name="T40" fmla="*/ 256 w 282"/>
                  <a:gd name="T41" fmla="*/ 16 h 21"/>
                  <a:gd name="T42" fmla="*/ 245 w 282"/>
                  <a:gd name="T43" fmla="*/ 16 h 21"/>
                  <a:gd name="T44" fmla="*/ 229 w 282"/>
                  <a:gd name="T45" fmla="*/ 16 h 21"/>
                  <a:gd name="T46" fmla="*/ 213 w 282"/>
                  <a:gd name="T47" fmla="*/ 16 h 21"/>
                  <a:gd name="T48" fmla="*/ 197 w 282"/>
                  <a:gd name="T49" fmla="*/ 16 h 21"/>
                  <a:gd name="T50" fmla="*/ 176 w 282"/>
                  <a:gd name="T51" fmla="*/ 16 h 21"/>
                  <a:gd name="T52" fmla="*/ 154 w 282"/>
                  <a:gd name="T53" fmla="*/ 10 h 21"/>
                  <a:gd name="T54" fmla="*/ 128 w 282"/>
                  <a:gd name="T55" fmla="*/ 16 h 21"/>
                  <a:gd name="T56" fmla="*/ 106 w 282"/>
                  <a:gd name="T57" fmla="*/ 16 h 21"/>
                  <a:gd name="T58" fmla="*/ 80 w 282"/>
                  <a:gd name="T59" fmla="*/ 16 h 21"/>
                  <a:gd name="T60" fmla="*/ 53 w 282"/>
                  <a:gd name="T61" fmla="*/ 16 h 21"/>
                  <a:gd name="T62" fmla="*/ 26 w 282"/>
                  <a:gd name="T63" fmla="*/ 21 h 21"/>
                  <a:gd name="T64" fmla="*/ 0 w 282"/>
                  <a:gd name="T65" fmla="*/ 21 h 2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282"/>
                  <a:gd name="T100" fmla="*/ 0 h 21"/>
                  <a:gd name="T101" fmla="*/ 282 w 282"/>
                  <a:gd name="T102" fmla="*/ 21 h 2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282" h="21">
                    <a:moveTo>
                      <a:pt x="0" y="21"/>
                    </a:moveTo>
                    <a:lnTo>
                      <a:pt x="0" y="21"/>
                    </a:lnTo>
                    <a:lnTo>
                      <a:pt x="5" y="21"/>
                    </a:lnTo>
                    <a:lnTo>
                      <a:pt x="10" y="21"/>
                    </a:lnTo>
                    <a:lnTo>
                      <a:pt x="21" y="16"/>
                    </a:lnTo>
                    <a:lnTo>
                      <a:pt x="32" y="16"/>
                    </a:lnTo>
                    <a:lnTo>
                      <a:pt x="48" y="10"/>
                    </a:lnTo>
                    <a:lnTo>
                      <a:pt x="64" y="5"/>
                    </a:lnTo>
                    <a:lnTo>
                      <a:pt x="85" y="5"/>
                    </a:lnTo>
                    <a:lnTo>
                      <a:pt x="101" y="5"/>
                    </a:lnTo>
                    <a:lnTo>
                      <a:pt x="122" y="0"/>
                    </a:lnTo>
                    <a:lnTo>
                      <a:pt x="149" y="0"/>
                    </a:lnTo>
                    <a:lnTo>
                      <a:pt x="170" y="0"/>
                    </a:lnTo>
                    <a:lnTo>
                      <a:pt x="197" y="5"/>
                    </a:lnTo>
                    <a:lnTo>
                      <a:pt x="224" y="5"/>
                    </a:lnTo>
                    <a:lnTo>
                      <a:pt x="250" y="10"/>
                    </a:lnTo>
                    <a:lnTo>
                      <a:pt x="282" y="21"/>
                    </a:lnTo>
                    <a:lnTo>
                      <a:pt x="277" y="21"/>
                    </a:lnTo>
                    <a:lnTo>
                      <a:pt x="266" y="16"/>
                    </a:lnTo>
                    <a:lnTo>
                      <a:pt x="256" y="16"/>
                    </a:lnTo>
                    <a:lnTo>
                      <a:pt x="245" y="16"/>
                    </a:lnTo>
                    <a:lnTo>
                      <a:pt x="229" y="16"/>
                    </a:lnTo>
                    <a:lnTo>
                      <a:pt x="213" y="16"/>
                    </a:lnTo>
                    <a:lnTo>
                      <a:pt x="197" y="16"/>
                    </a:lnTo>
                    <a:lnTo>
                      <a:pt x="176" y="16"/>
                    </a:lnTo>
                    <a:lnTo>
                      <a:pt x="154" y="10"/>
                    </a:lnTo>
                    <a:lnTo>
                      <a:pt x="128" y="16"/>
                    </a:lnTo>
                    <a:lnTo>
                      <a:pt x="106" y="16"/>
                    </a:lnTo>
                    <a:lnTo>
                      <a:pt x="80" y="16"/>
                    </a:lnTo>
                    <a:lnTo>
                      <a:pt x="53" y="16"/>
                    </a:lnTo>
                    <a:lnTo>
                      <a:pt x="26" y="21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8462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51" name="Freeform 4006"/>
              <p:cNvSpPr>
                <a:spLocks/>
              </p:cNvSpPr>
              <p:nvPr/>
            </p:nvSpPr>
            <p:spPr bwMode="auto">
              <a:xfrm>
                <a:off x="4628" y="2680"/>
                <a:ext cx="117" cy="123"/>
              </a:xfrm>
              <a:custGeom>
                <a:avLst/>
                <a:gdLst>
                  <a:gd name="T0" fmla="*/ 0 w 117"/>
                  <a:gd name="T1" fmla="*/ 0 h 123"/>
                  <a:gd name="T2" fmla="*/ 5 w 117"/>
                  <a:gd name="T3" fmla="*/ 117 h 123"/>
                  <a:gd name="T4" fmla="*/ 117 w 117"/>
                  <a:gd name="T5" fmla="*/ 123 h 123"/>
                  <a:gd name="T6" fmla="*/ 16 w 117"/>
                  <a:gd name="T7" fmla="*/ 101 h 123"/>
                  <a:gd name="T8" fmla="*/ 112 w 117"/>
                  <a:gd name="T9" fmla="*/ 96 h 123"/>
                  <a:gd name="T10" fmla="*/ 21 w 117"/>
                  <a:gd name="T11" fmla="*/ 80 h 123"/>
                  <a:gd name="T12" fmla="*/ 112 w 117"/>
                  <a:gd name="T13" fmla="*/ 69 h 123"/>
                  <a:gd name="T14" fmla="*/ 21 w 117"/>
                  <a:gd name="T15" fmla="*/ 59 h 123"/>
                  <a:gd name="T16" fmla="*/ 112 w 117"/>
                  <a:gd name="T17" fmla="*/ 43 h 123"/>
                  <a:gd name="T18" fmla="*/ 21 w 117"/>
                  <a:gd name="T19" fmla="*/ 37 h 123"/>
                  <a:gd name="T20" fmla="*/ 101 w 117"/>
                  <a:gd name="T21" fmla="*/ 21 h 123"/>
                  <a:gd name="T22" fmla="*/ 16 w 117"/>
                  <a:gd name="T23" fmla="*/ 16 h 123"/>
                  <a:gd name="T24" fmla="*/ 64 w 117"/>
                  <a:gd name="T25" fmla="*/ 11 h 123"/>
                  <a:gd name="T26" fmla="*/ 0 w 117"/>
                  <a:gd name="T27" fmla="*/ 0 h 12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17"/>
                  <a:gd name="T43" fmla="*/ 0 h 123"/>
                  <a:gd name="T44" fmla="*/ 117 w 117"/>
                  <a:gd name="T45" fmla="*/ 123 h 123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17" h="123">
                    <a:moveTo>
                      <a:pt x="0" y="0"/>
                    </a:moveTo>
                    <a:lnTo>
                      <a:pt x="5" y="117"/>
                    </a:lnTo>
                    <a:lnTo>
                      <a:pt x="117" y="123"/>
                    </a:lnTo>
                    <a:lnTo>
                      <a:pt x="16" y="101"/>
                    </a:lnTo>
                    <a:lnTo>
                      <a:pt x="112" y="96"/>
                    </a:lnTo>
                    <a:lnTo>
                      <a:pt x="21" y="80"/>
                    </a:lnTo>
                    <a:lnTo>
                      <a:pt x="112" y="69"/>
                    </a:lnTo>
                    <a:lnTo>
                      <a:pt x="21" y="59"/>
                    </a:lnTo>
                    <a:lnTo>
                      <a:pt x="112" y="43"/>
                    </a:lnTo>
                    <a:lnTo>
                      <a:pt x="21" y="37"/>
                    </a:lnTo>
                    <a:lnTo>
                      <a:pt x="101" y="21"/>
                    </a:lnTo>
                    <a:lnTo>
                      <a:pt x="16" y="16"/>
                    </a:lnTo>
                    <a:lnTo>
                      <a:pt x="64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462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52" name="Freeform 4007"/>
              <p:cNvSpPr>
                <a:spLocks/>
              </p:cNvSpPr>
              <p:nvPr/>
            </p:nvSpPr>
            <p:spPr bwMode="auto">
              <a:xfrm>
                <a:off x="4639" y="2872"/>
                <a:ext cx="96" cy="139"/>
              </a:xfrm>
              <a:custGeom>
                <a:avLst/>
                <a:gdLst>
                  <a:gd name="T0" fmla="*/ 0 w 96"/>
                  <a:gd name="T1" fmla="*/ 0 h 139"/>
                  <a:gd name="T2" fmla="*/ 0 w 96"/>
                  <a:gd name="T3" fmla="*/ 118 h 139"/>
                  <a:gd name="T4" fmla="*/ 96 w 96"/>
                  <a:gd name="T5" fmla="*/ 139 h 139"/>
                  <a:gd name="T6" fmla="*/ 16 w 96"/>
                  <a:gd name="T7" fmla="*/ 102 h 139"/>
                  <a:gd name="T8" fmla="*/ 90 w 96"/>
                  <a:gd name="T9" fmla="*/ 107 h 139"/>
                  <a:gd name="T10" fmla="*/ 16 w 96"/>
                  <a:gd name="T11" fmla="*/ 80 h 139"/>
                  <a:gd name="T12" fmla="*/ 90 w 96"/>
                  <a:gd name="T13" fmla="*/ 80 h 139"/>
                  <a:gd name="T14" fmla="*/ 16 w 96"/>
                  <a:gd name="T15" fmla="*/ 59 h 139"/>
                  <a:gd name="T16" fmla="*/ 90 w 96"/>
                  <a:gd name="T17" fmla="*/ 48 h 139"/>
                  <a:gd name="T18" fmla="*/ 16 w 96"/>
                  <a:gd name="T19" fmla="*/ 38 h 139"/>
                  <a:gd name="T20" fmla="*/ 85 w 96"/>
                  <a:gd name="T21" fmla="*/ 32 h 139"/>
                  <a:gd name="T22" fmla="*/ 16 w 96"/>
                  <a:gd name="T23" fmla="*/ 16 h 139"/>
                  <a:gd name="T24" fmla="*/ 74 w 96"/>
                  <a:gd name="T25" fmla="*/ 11 h 139"/>
                  <a:gd name="T26" fmla="*/ 0 w 96"/>
                  <a:gd name="T27" fmla="*/ 0 h 139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96"/>
                  <a:gd name="T43" fmla="*/ 0 h 139"/>
                  <a:gd name="T44" fmla="*/ 96 w 96"/>
                  <a:gd name="T45" fmla="*/ 139 h 139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96" h="139">
                    <a:moveTo>
                      <a:pt x="0" y="0"/>
                    </a:moveTo>
                    <a:lnTo>
                      <a:pt x="0" y="118"/>
                    </a:lnTo>
                    <a:lnTo>
                      <a:pt x="96" y="139"/>
                    </a:lnTo>
                    <a:lnTo>
                      <a:pt x="16" y="102"/>
                    </a:lnTo>
                    <a:lnTo>
                      <a:pt x="90" y="107"/>
                    </a:lnTo>
                    <a:lnTo>
                      <a:pt x="16" y="80"/>
                    </a:lnTo>
                    <a:lnTo>
                      <a:pt x="90" y="80"/>
                    </a:lnTo>
                    <a:lnTo>
                      <a:pt x="16" y="59"/>
                    </a:lnTo>
                    <a:lnTo>
                      <a:pt x="90" y="48"/>
                    </a:lnTo>
                    <a:lnTo>
                      <a:pt x="16" y="38"/>
                    </a:lnTo>
                    <a:lnTo>
                      <a:pt x="85" y="32"/>
                    </a:lnTo>
                    <a:lnTo>
                      <a:pt x="16" y="16"/>
                    </a:lnTo>
                    <a:lnTo>
                      <a:pt x="74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4624C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53" name="Freeform 4008"/>
              <p:cNvSpPr>
                <a:spLocks/>
              </p:cNvSpPr>
              <p:nvPr/>
            </p:nvSpPr>
            <p:spPr bwMode="auto">
              <a:xfrm>
                <a:off x="4868" y="2488"/>
                <a:ext cx="32" cy="149"/>
              </a:xfrm>
              <a:custGeom>
                <a:avLst/>
                <a:gdLst>
                  <a:gd name="T0" fmla="*/ 5 w 32"/>
                  <a:gd name="T1" fmla="*/ 0 h 149"/>
                  <a:gd name="T2" fmla="*/ 32 w 32"/>
                  <a:gd name="T3" fmla="*/ 0 h 149"/>
                  <a:gd name="T4" fmla="*/ 27 w 32"/>
                  <a:gd name="T5" fmla="*/ 149 h 149"/>
                  <a:gd name="T6" fmla="*/ 0 w 32"/>
                  <a:gd name="T7" fmla="*/ 149 h 149"/>
                  <a:gd name="T8" fmla="*/ 5 w 32"/>
                  <a:gd name="T9" fmla="*/ 0 h 14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"/>
                  <a:gd name="T16" fmla="*/ 0 h 149"/>
                  <a:gd name="T17" fmla="*/ 32 w 32"/>
                  <a:gd name="T18" fmla="*/ 149 h 14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" h="149">
                    <a:moveTo>
                      <a:pt x="5" y="0"/>
                    </a:moveTo>
                    <a:lnTo>
                      <a:pt x="32" y="0"/>
                    </a:lnTo>
                    <a:lnTo>
                      <a:pt x="27" y="149"/>
                    </a:lnTo>
                    <a:lnTo>
                      <a:pt x="0" y="149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CD8B6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54" name="Freeform 4009"/>
              <p:cNvSpPr>
                <a:spLocks/>
              </p:cNvSpPr>
              <p:nvPr/>
            </p:nvSpPr>
            <p:spPr bwMode="auto">
              <a:xfrm>
                <a:off x="4857" y="2685"/>
                <a:ext cx="32" cy="123"/>
              </a:xfrm>
              <a:custGeom>
                <a:avLst/>
                <a:gdLst>
                  <a:gd name="T0" fmla="*/ 11 w 32"/>
                  <a:gd name="T1" fmla="*/ 0 h 123"/>
                  <a:gd name="T2" fmla="*/ 32 w 32"/>
                  <a:gd name="T3" fmla="*/ 0 h 123"/>
                  <a:gd name="T4" fmla="*/ 22 w 32"/>
                  <a:gd name="T5" fmla="*/ 123 h 123"/>
                  <a:gd name="T6" fmla="*/ 0 w 32"/>
                  <a:gd name="T7" fmla="*/ 123 h 123"/>
                  <a:gd name="T8" fmla="*/ 11 w 32"/>
                  <a:gd name="T9" fmla="*/ 0 h 12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"/>
                  <a:gd name="T16" fmla="*/ 0 h 123"/>
                  <a:gd name="T17" fmla="*/ 32 w 32"/>
                  <a:gd name="T18" fmla="*/ 123 h 12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" h="123">
                    <a:moveTo>
                      <a:pt x="11" y="0"/>
                    </a:moveTo>
                    <a:lnTo>
                      <a:pt x="32" y="0"/>
                    </a:lnTo>
                    <a:lnTo>
                      <a:pt x="22" y="123"/>
                    </a:lnTo>
                    <a:lnTo>
                      <a:pt x="0" y="123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D8B6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55" name="Freeform 4010"/>
              <p:cNvSpPr>
                <a:spLocks/>
              </p:cNvSpPr>
              <p:nvPr/>
            </p:nvSpPr>
            <p:spPr bwMode="auto">
              <a:xfrm>
                <a:off x="4841" y="2872"/>
                <a:ext cx="32" cy="128"/>
              </a:xfrm>
              <a:custGeom>
                <a:avLst/>
                <a:gdLst>
                  <a:gd name="T0" fmla="*/ 11 w 32"/>
                  <a:gd name="T1" fmla="*/ 6 h 128"/>
                  <a:gd name="T2" fmla="*/ 32 w 32"/>
                  <a:gd name="T3" fmla="*/ 0 h 128"/>
                  <a:gd name="T4" fmla="*/ 16 w 32"/>
                  <a:gd name="T5" fmla="*/ 128 h 128"/>
                  <a:gd name="T6" fmla="*/ 0 w 32"/>
                  <a:gd name="T7" fmla="*/ 128 h 128"/>
                  <a:gd name="T8" fmla="*/ 11 w 32"/>
                  <a:gd name="T9" fmla="*/ 6 h 12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2"/>
                  <a:gd name="T16" fmla="*/ 0 h 128"/>
                  <a:gd name="T17" fmla="*/ 32 w 32"/>
                  <a:gd name="T18" fmla="*/ 128 h 12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2" h="128">
                    <a:moveTo>
                      <a:pt x="11" y="6"/>
                    </a:moveTo>
                    <a:lnTo>
                      <a:pt x="32" y="0"/>
                    </a:lnTo>
                    <a:lnTo>
                      <a:pt x="16" y="128"/>
                    </a:lnTo>
                    <a:lnTo>
                      <a:pt x="0" y="128"/>
                    </a:lnTo>
                    <a:lnTo>
                      <a:pt x="11" y="6"/>
                    </a:lnTo>
                    <a:close/>
                  </a:path>
                </a:pathLst>
              </a:custGeom>
              <a:solidFill>
                <a:srgbClr val="CD8B6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56" name="Freeform 4011"/>
              <p:cNvSpPr>
                <a:spLocks/>
              </p:cNvSpPr>
              <p:nvPr/>
            </p:nvSpPr>
            <p:spPr bwMode="auto">
              <a:xfrm>
                <a:off x="4553" y="2285"/>
                <a:ext cx="64" cy="112"/>
              </a:xfrm>
              <a:custGeom>
                <a:avLst/>
                <a:gdLst>
                  <a:gd name="T0" fmla="*/ 32 w 64"/>
                  <a:gd name="T1" fmla="*/ 112 h 112"/>
                  <a:gd name="T2" fmla="*/ 64 w 64"/>
                  <a:gd name="T3" fmla="*/ 101 h 112"/>
                  <a:gd name="T4" fmla="*/ 0 w 64"/>
                  <a:gd name="T5" fmla="*/ 0 h 112"/>
                  <a:gd name="T6" fmla="*/ 32 w 64"/>
                  <a:gd name="T7" fmla="*/ 112 h 1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112"/>
                  <a:gd name="T14" fmla="*/ 64 w 64"/>
                  <a:gd name="T15" fmla="*/ 112 h 1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112">
                    <a:moveTo>
                      <a:pt x="32" y="112"/>
                    </a:moveTo>
                    <a:lnTo>
                      <a:pt x="64" y="101"/>
                    </a:lnTo>
                    <a:lnTo>
                      <a:pt x="0" y="0"/>
                    </a:lnTo>
                    <a:lnTo>
                      <a:pt x="32" y="112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57" name="Freeform 4012"/>
              <p:cNvSpPr>
                <a:spLocks/>
              </p:cNvSpPr>
              <p:nvPr/>
            </p:nvSpPr>
            <p:spPr bwMode="auto">
              <a:xfrm>
                <a:off x="4665" y="2237"/>
                <a:ext cx="43" cy="133"/>
              </a:xfrm>
              <a:custGeom>
                <a:avLst/>
                <a:gdLst>
                  <a:gd name="T0" fmla="*/ 0 w 43"/>
                  <a:gd name="T1" fmla="*/ 133 h 133"/>
                  <a:gd name="T2" fmla="*/ 43 w 43"/>
                  <a:gd name="T3" fmla="*/ 123 h 133"/>
                  <a:gd name="T4" fmla="*/ 0 w 43"/>
                  <a:gd name="T5" fmla="*/ 0 h 133"/>
                  <a:gd name="T6" fmla="*/ 0 w 43"/>
                  <a:gd name="T7" fmla="*/ 133 h 13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3"/>
                  <a:gd name="T13" fmla="*/ 0 h 133"/>
                  <a:gd name="T14" fmla="*/ 43 w 43"/>
                  <a:gd name="T15" fmla="*/ 133 h 13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3" h="133">
                    <a:moveTo>
                      <a:pt x="0" y="133"/>
                    </a:moveTo>
                    <a:lnTo>
                      <a:pt x="43" y="123"/>
                    </a:lnTo>
                    <a:lnTo>
                      <a:pt x="0" y="0"/>
                    </a:lnTo>
                    <a:lnTo>
                      <a:pt x="0" y="133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58" name="Freeform 4013"/>
              <p:cNvSpPr>
                <a:spLocks/>
              </p:cNvSpPr>
              <p:nvPr/>
            </p:nvSpPr>
            <p:spPr bwMode="auto">
              <a:xfrm>
                <a:off x="4761" y="2205"/>
                <a:ext cx="43" cy="155"/>
              </a:xfrm>
              <a:custGeom>
                <a:avLst/>
                <a:gdLst>
                  <a:gd name="T0" fmla="*/ 0 w 43"/>
                  <a:gd name="T1" fmla="*/ 149 h 155"/>
                  <a:gd name="T2" fmla="*/ 43 w 43"/>
                  <a:gd name="T3" fmla="*/ 155 h 155"/>
                  <a:gd name="T4" fmla="*/ 16 w 43"/>
                  <a:gd name="T5" fmla="*/ 0 h 155"/>
                  <a:gd name="T6" fmla="*/ 0 w 43"/>
                  <a:gd name="T7" fmla="*/ 149 h 15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3"/>
                  <a:gd name="T13" fmla="*/ 0 h 155"/>
                  <a:gd name="T14" fmla="*/ 43 w 43"/>
                  <a:gd name="T15" fmla="*/ 155 h 15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3" h="155">
                    <a:moveTo>
                      <a:pt x="0" y="149"/>
                    </a:moveTo>
                    <a:lnTo>
                      <a:pt x="43" y="155"/>
                    </a:lnTo>
                    <a:lnTo>
                      <a:pt x="16" y="0"/>
                    </a:lnTo>
                    <a:lnTo>
                      <a:pt x="0" y="149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59" name="Freeform 4014"/>
              <p:cNvSpPr>
                <a:spLocks/>
              </p:cNvSpPr>
              <p:nvPr/>
            </p:nvSpPr>
            <p:spPr bwMode="auto">
              <a:xfrm>
                <a:off x="4857" y="2226"/>
                <a:ext cx="54" cy="144"/>
              </a:xfrm>
              <a:custGeom>
                <a:avLst/>
                <a:gdLst>
                  <a:gd name="T0" fmla="*/ 0 w 54"/>
                  <a:gd name="T1" fmla="*/ 134 h 144"/>
                  <a:gd name="T2" fmla="*/ 38 w 54"/>
                  <a:gd name="T3" fmla="*/ 144 h 144"/>
                  <a:gd name="T4" fmla="*/ 54 w 54"/>
                  <a:gd name="T5" fmla="*/ 0 h 144"/>
                  <a:gd name="T6" fmla="*/ 0 w 54"/>
                  <a:gd name="T7" fmla="*/ 134 h 14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4"/>
                  <a:gd name="T13" fmla="*/ 0 h 144"/>
                  <a:gd name="T14" fmla="*/ 54 w 54"/>
                  <a:gd name="T15" fmla="*/ 144 h 14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4" h="144">
                    <a:moveTo>
                      <a:pt x="0" y="134"/>
                    </a:moveTo>
                    <a:lnTo>
                      <a:pt x="38" y="144"/>
                    </a:lnTo>
                    <a:lnTo>
                      <a:pt x="54" y="0"/>
                    </a:lnTo>
                    <a:lnTo>
                      <a:pt x="0" y="134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60" name="Freeform 4015"/>
              <p:cNvSpPr>
                <a:spLocks/>
              </p:cNvSpPr>
              <p:nvPr/>
            </p:nvSpPr>
            <p:spPr bwMode="auto">
              <a:xfrm>
                <a:off x="4937" y="2290"/>
                <a:ext cx="86" cy="118"/>
              </a:xfrm>
              <a:custGeom>
                <a:avLst/>
                <a:gdLst>
                  <a:gd name="T0" fmla="*/ 0 w 86"/>
                  <a:gd name="T1" fmla="*/ 102 h 118"/>
                  <a:gd name="T2" fmla="*/ 38 w 86"/>
                  <a:gd name="T3" fmla="*/ 118 h 118"/>
                  <a:gd name="T4" fmla="*/ 86 w 86"/>
                  <a:gd name="T5" fmla="*/ 0 h 118"/>
                  <a:gd name="T6" fmla="*/ 0 w 86"/>
                  <a:gd name="T7" fmla="*/ 102 h 1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6"/>
                  <a:gd name="T13" fmla="*/ 0 h 118"/>
                  <a:gd name="T14" fmla="*/ 86 w 86"/>
                  <a:gd name="T15" fmla="*/ 118 h 1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6" h="118">
                    <a:moveTo>
                      <a:pt x="0" y="102"/>
                    </a:moveTo>
                    <a:lnTo>
                      <a:pt x="38" y="118"/>
                    </a:lnTo>
                    <a:lnTo>
                      <a:pt x="86" y="0"/>
                    </a:lnTo>
                    <a:lnTo>
                      <a:pt x="0" y="102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61" name="Freeform 4016"/>
              <p:cNvSpPr>
                <a:spLocks/>
              </p:cNvSpPr>
              <p:nvPr/>
            </p:nvSpPr>
            <p:spPr bwMode="auto">
              <a:xfrm>
                <a:off x="4548" y="3102"/>
                <a:ext cx="64" cy="112"/>
              </a:xfrm>
              <a:custGeom>
                <a:avLst/>
                <a:gdLst>
                  <a:gd name="T0" fmla="*/ 32 w 64"/>
                  <a:gd name="T1" fmla="*/ 0 h 112"/>
                  <a:gd name="T2" fmla="*/ 64 w 64"/>
                  <a:gd name="T3" fmla="*/ 11 h 112"/>
                  <a:gd name="T4" fmla="*/ 0 w 64"/>
                  <a:gd name="T5" fmla="*/ 112 h 112"/>
                  <a:gd name="T6" fmla="*/ 32 w 64"/>
                  <a:gd name="T7" fmla="*/ 0 h 11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4"/>
                  <a:gd name="T13" fmla="*/ 0 h 112"/>
                  <a:gd name="T14" fmla="*/ 64 w 64"/>
                  <a:gd name="T15" fmla="*/ 112 h 11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4" h="112">
                    <a:moveTo>
                      <a:pt x="32" y="0"/>
                    </a:moveTo>
                    <a:lnTo>
                      <a:pt x="64" y="11"/>
                    </a:lnTo>
                    <a:lnTo>
                      <a:pt x="0" y="112"/>
                    </a:lnTo>
                    <a:lnTo>
                      <a:pt x="32" y="0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62" name="Freeform 4017"/>
              <p:cNvSpPr>
                <a:spLocks/>
              </p:cNvSpPr>
              <p:nvPr/>
            </p:nvSpPr>
            <p:spPr bwMode="auto">
              <a:xfrm>
                <a:off x="4660" y="3129"/>
                <a:ext cx="43" cy="133"/>
              </a:xfrm>
              <a:custGeom>
                <a:avLst/>
                <a:gdLst>
                  <a:gd name="T0" fmla="*/ 0 w 43"/>
                  <a:gd name="T1" fmla="*/ 0 h 133"/>
                  <a:gd name="T2" fmla="*/ 43 w 43"/>
                  <a:gd name="T3" fmla="*/ 10 h 133"/>
                  <a:gd name="T4" fmla="*/ 0 w 43"/>
                  <a:gd name="T5" fmla="*/ 133 h 133"/>
                  <a:gd name="T6" fmla="*/ 0 w 43"/>
                  <a:gd name="T7" fmla="*/ 0 h 13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3"/>
                  <a:gd name="T13" fmla="*/ 0 h 133"/>
                  <a:gd name="T14" fmla="*/ 43 w 43"/>
                  <a:gd name="T15" fmla="*/ 133 h 13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3" h="133">
                    <a:moveTo>
                      <a:pt x="0" y="0"/>
                    </a:moveTo>
                    <a:lnTo>
                      <a:pt x="43" y="10"/>
                    </a:lnTo>
                    <a:lnTo>
                      <a:pt x="0" y="1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63" name="Freeform 4018"/>
              <p:cNvSpPr>
                <a:spLocks/>
              </p:cNvSpPr>
              <p:nvPr/>
            </p:nvSpPr>
            <p:spPr bwMode="auto">
              <a:xfrm>
                <a:off x="4756" y="3139"/>
                <a:ext cx="43" cy="155"/>
              </a:xfrm>
              <a:custGeom>
                <a:avLst/>
                <a:gdLst>
                  <a:gd name="T0" fmla="*/ 0 w 43"/>
                  <a:gd name="T1" fmla="*/ 0 h 155"/>
                  <a:gd name="T2" fmla="*/ 43 w 43"/>
                  <a:gd name="T3" fmla="*/ 0 h 155"/>
                  <a:gd name="T4" fmla="*/ 16 w 43"/>
                  <a:gd name="T5" fmla="*/ 155 h 155"/>
                  <a:gd name="T6" fmla="*/ 0 w 43"/>
                  <a:gd name="T7" fmla="*/ 0 h 15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3"/>
                  <a:gd name="T13" fmla="*/ 0 h 155"/>
                  <a:gd name="T14" fmla="*/ 43 w 43"/>
                  <a:gd name="T15" fmla="*/ 155 h 15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3" h="155">
                    <a:moveTo>
                      <a:pt x="0" y="0"/>
                    </a:moveTo>
                    <a:lnTo>
                      <a:pt x="43" y="0"/>
                    </a:lnTo>
                    <a:lnTo>
                      <a:pt x="16" y="15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64" name="Freeform 4019"/>
              <p:cNvSpPr>
                <a:spLocks/>
              </p:cNvSpPr>
              <p:nvPr/>
            </p:nvSpPr>
            <p:spPr bwMode="auto">
              <a:xfrm>
                <a:off x="4852" y="3129"/>
                <a:ext cx="53" cy="144"/>
              </a:xfrm>
              <a:custGeom>
                <a:avLst/>
                <a:gdLst>
                  <a:gd name="T0" fmla="*/ 0 w 53"/>
                  <a:gd name="T1" fmla="*/ 10 h 144"/>
                  <a:gd name="T2" fmla="*/ 37 w 53"/>
                  <a:gd name="T3" fmla="*/ 0 h 144"/>
                  <a:gd name="T4" fmla="*/ 53 w 53"/>
                  <a:gd name="T5" fmla="*/ 144 h 144"/>
                  <a:gd name="T6" fmla="*/ 0 w 53"/>
                  <a:gd name="T7" fmla="*/ 10 h 14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3"/>
                  <a:gd name="T13" fmla="*/ 0 h 144"/>
                  <a:gd name="T14" fmla="*/ 53 w 53"/>
                  <a:gd name="T15" fmla="*/ 144 h 14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3" h="144">
                    <a:moveTo>
                      <a:pt x="0" y="10"/>
                    </a:moveTo>
                    <a:lnTo>
                      <a:pt x="37" y="0"/>
                    </a:lnTo>
                    <a:lnTo>
                      <a:pt x="53" y="144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65" name="Freeform 4020"/>
              <p:cNvSpPr>
                <a:spLocks/>
              </p:cNvSpPr>
              <p:nvPr/>
            </p:nvSpPr>
            <p:spPr bwMode="auto">
              <a:xfrm>
                <a:off x="4932" y="3091"/>
                <a:ext cx="85" cy="118"/>
              </a:xfrm>
              <a:custGeom>
                <a:avLst/>
                <a:gdLst>
                  <a:gd name="T0" fmla="*/ 0 w 85"/>
                  <a:gd name="T1" fmla="*/ 16 h 118"/>
                  <a:gd name="T2" fmla="*/ 37 w 85"/>
                  <a:gd name="T3" fmla="*/ 0 h 118"/>
                  <a:gd name="T4" fmla="*/ 85 w 85"/>
                  <a:gd name="T5" fmla="*/ 118 h 118"/>
                  <a:gd name="T6" fmla="*/ 0 w 85"/>
                  <a:gd name="T7" fmla="*/ 16 h 1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5"/>
                  <a:gd name="T13" fmla="*/ 0 h 118"/>
                  <a:gd name="T14" fmla="*/ 85 w 85"/>
                  <a:gd name="T15" fmla="*/ 118 h 1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5" h="118">
                    <a:moveTo>
                      <a:pt x="0" y="16"/>
                    </a:moveTo>
                    <a:lnTo>
                      <a:pt x="37" y="0"/>
                    </a:lnTo>
                    <a:lnTo>
                      <a:pt x="85" y="118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66" name="Freeform 4021"/>
              <p:cNvSpPr>
                <a:spLocks/>
              </p:cNvSpPr>
              <p:nvPr/>
            </p:nvSpPr>
            <p:spPr bwMode="auto">
              <a:xfrm>
                <a:off x="4719" y="2712"/>
                <a:ext cx="42" cy="5"/>
              </a:xfrm>
              <a:custGeom>
                <a:avLst/>
                <a:gdLst>
                  <a:gd name="T0" fmla="*/ 0 w 42"/>
                  <a:gd name="T1" fmla="*/ 5 h 5"/>
                  <a:gd name="T2" fmla="*/ 5 w 42"/>
                  <a:gd name="T3" fmla="*/ 5 h 5"/>
                  <a:gd name="T4" fmla="*/ 5 w 42"/>
                  <a:gd name="T5" fmla="*/ 5 h 5"/>
                  <a:gd name="T6" fmla="*/ 10 w 42"/>
                  <a:gd name="T7" fmla="*/ 5 h 5"/>
                  <a:gd name="T8" fmla="*/ 16 w 42"/>
                  <a:gd name="T9" fmla="*/ 5 h 5"/>
                  <a:gd name="T10" fmla="*/ 16 w 42"/>
                  <a:gd name="T11" fmla="*/ 0 h 5"/>
                  <a:gd name="T12" fmla="*/ 21 w 42"/>
                  <a:gd name="T13" fmla="*/ 0 h 5"/>
                  <a:gd name="T14" fmla="*/ 26 w 42"/>
                  <a:gd name="T15" fmla="*/ 0 h 5"/>
                  <a:gd name="T16" fmla="*/ 32 w 42"/>
                  <a:gd name="T17" fmla="*/ 5 h 5"/>
                  <a:gd name="T18" fmla="*/ 37 w 42"/>
                  <a:gd name="T19" fmla="*/ 5 h 5"/>
                  <a:gd name="T20" fmla="*/ 37 w 42"/>
                  <a:gd name="T21" fmla="*/ 5 h 5"/>
                  <a:gd name="T22" fmla="*/ 42 w 42"/>
                  <a:gd name="T23" fmla="*/ 5 h 5"/>
                  <a:gd name="T24" fmla="*/ 42 w 42"/>
                  <a:gd name="T25" fmla="*/ 5 h 5"/>
                  <a:gd name="T26" fmla="*/ 0 w 42"/>
                  <a:gd name="T27" fmla="*/ 5 h 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2"/>
                  <a:gd name="T43" fmla="*/ 0 h 5"/>
                  <a:gd name="T44" fmla="*/ 42 w 42"/>
                  <a:gd name="T45" fmla="*/ 5 h 5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2" h="5">
                    <a:moveTo>
                      <a:pt x="0" y="5"/>
                    </a:moveTo>
                    <a:lnTo>
                      <a:pt x="5" y="5"/>
                    </a:lnTo>
                    <a:lnTo>
                      <a:pt x="10" y="5"/>
                    </a:lnTo>
                    <a:lnTo>
                      <a:pt x="16" y="5"/>
                    </a:lnTo>
                    <a:lnTo>
                      <a:pt x="16" y="0"/>
                    </a:lnTo>
                    <a:lnTo>
                      <a:pt x="21" y="0"/>
                    </a:lnTo>
                    <a:lnTo>
                      <a:pt x="26" y="0"/>
                    </a:lnTo>
                    <a:lnTo>
                      <a:pt x="32" y="5"/>
                    </a:lnTo>
                    <a:lnTo>
                      <a:pt x="37" y="5"/>
                    </a:lnTo>
                    <a:lnTo>
                      <a:pt x="42" y="5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67" name="Freeform 4022"/>
              <p:cNvSpPr>
                <a:spLocks/>
              </p:cNvSpPr>
              <p:nvPr/>
            </p:nvSpPr>
            <p:spPr bwMode="auto">
              <a:xfrm>
                <a:off x="4719" y="2717"/>
                <a:ext cx="48" cy="32"/>
              </a:xfrm>
              <a:custGeom>
                <a:avLst/>
                <a:gdLst>
                  <a:gd name="T0" fmla="*/ 0 w 48"/>
                  <a:gd name="T1" fmla="*/ 32 h 32"/>
                  <a:gd name="T2" fmla="*/ 0 w 48"/>
                  <a:gd name="T3" fmla="*/ 6 h 32"/>
                  <a:gd name="T4" fmla="*/ 0 w 48"/>
                  <a:gd name="T5" fmla="*/ 6 h 32"/>
                  <a:gd name="T6" fmla="*/ 0 w 48"/>
                  <a:gd name="T7" fmla="*/ 0 h 32"/>
                  <a:gd name="T8" fmla="*/ 0 w 48"/>
                  <a:gd name="T9" fmla="*/ 0 h 32"/>
                  <a:gd name="T10" fmla="*/ 42 w 48"/>
                  <a:gd name="T11" fmla="*/ 0 h 32"/>
                  <a:gd name="T12" fmla="*/ 42 w 48"/>
                  <a:gd name="T13" fmla="*/ 0 h 32"/>
                  <a:gd name="T14" fmla="*/ 48 w 48"/>
                  <a:gd name="T15" fmla="*/ 6 h 32"/>
                  <a:gd name="T16" fmla="*/ 48 w 48"/>
                  <a:gd name="T17" fmla="*/ 6 h 32"/>
                  <a:gd name="T18" fmla="*/ 48 w 48"/>
                  <a:gd name="T19" fmla="*/ 32 h 32"/>
                  <a:gd name="T20" fmla="*/ 26 w 48"/>
                  <a:gd name="T21" fmla="*/ 32 h 32"/>
                  <a:gd name="T22" fmla="*/ 26 w 48"/>
                  <a:gd name="T23" fmla="*/ 11 h 32"/>
                  <a:gd name="T24" fmla="*/ 26 w 48"/>
                  <a:gd name="T25" fmla="*/ 6 h 32"/>
                  <a:gd name="T26" fmla="*/ 26 w 48"/>
                  <a:gd name="T27" fmla="*/ 6 h 32"/>
                  <a:gd name="T28" fmla="*/ 26 w 48"/>
                  <a:gd name="T29" fmla="*/ 6 h 32"/>
                  <a:gd name="T30" fmla="*/ 21 w 48"/>
                  <a:gd name="T31" fmla="*/ 6 h 32"/>
                  <a:gd name="T32" fmla="*/ 21 w 48"/>
                  <a:gd name="T33" fmla="*/ 6 h 32"/>
                  <a:gd name="T34" fmla="*/ 16 w 48"/>
                  <a:gd name="T35" fmla="*/ 6 h 32"/>
                  <a:gd name="T36" fmla="*/ 16 w 48"/>
                  <a:gd name="T37" fmla="*/ 6 h 32"/>
                  <a:gd name="T38" fmla="*/ 16 w 48"/>
                  <a:gd name="T39" fmla="*/ 11 h 32"/>
                  <a:gd name="T40" fmla="*/ 16 w 48"/>
                  <a:gd name="T41" fmla="*/ 32 h 32"/>
                  <a:gd name="T42" fmla="*/ 0 w 48"/>
                  <a:gd name="T43" fmla="*/ 32 h 3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48"/>
                  <a:gd name="T67" fmla="*/ 0 h 32"/>
                  <a:gd name="T68" fmla="*/ 48 w 48"/>
                  <a:gd name="T69" fmla="*/ 32 h 32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48" h="32">
                    <a:moveTo>
                      <a:pt x="0" y="32"/>
                    </a:moveTo>
                    <a:lnTo>
                      <a:pt x="0" y="6"/>
                    </a:lnTo>
                    <a:lnTo>
                      <a:pt x="0" y="0"/>
                    </a:lnTo>
                    <a:lnTo>
                      <a:pt x="42" y="0"/>
                    </a:lnTo>
                    <a:lnTo>
                      <a:pt x="48" y="6"/>
                    </a:lnTo>
                    <a:lnTo>
                      <a:pt x="48" y="32"/>
                    </a:lnTo>
                    <a:lnTo>
                      <a:pt x="26" y="32"/>
                    </a:lnTo>
                    <a:lnTo>
                      <a:pt x="26" y="11"/>
                    </a:lnTo>
                    <a:lnTo>
                      <a:pt x="26" y="6"/>
                    </a:lnTo>
                    <a:lnTo>
                      <a:pt x="21" y="6"/>
                    </a:lnTo>
                    <a:lnTo>
                      <a:pt x="16" y="6"/>
                    </a:lnTo>
                    <a:lnTo>
                      <a:pt x="16" y="11"/>
                    </a:lnTo>
                    <a:lnTo>
                      <a:pt x="16" y="32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68" name="Freeform 4023"/>
              <p:cNvSpPr>
                <a:spLocks/>
              </p:cNvSpPr>
              <p:nvPr/>
            </p:nvSpPr>
            <p:spPr bwMode="auto">
              <a:xfrm>
                <a:off x="4719" y="2749"/>
                <a:ext cx="48" cy="32"/>
              </a:xfrm>
              <a:custGeom>
                <a:avLst/>
                <a:gdLst>
                  <a:gd name="T0" fmla="*/ 0 w 48"/>
                  <a:gd name="T1" fmla="*/ 0 h 32"/>
                  <a:gd name="T2" fmla="*/ 0 w 48"/>
                  <a:gd name="T3" fmla="*/ 22 h 32"/>
                  <a:gd name="T4" fmla="*/ 0 w 48"/>
                  <a:gd name="T5" fmla="*/ 27 h 32"/>
                  <a:gd name="T6" fmla="*/ 0 w 48"/>
                  <a:gd name="T7" fmla="*/ 27 h 32"/>
                  <a:gd name="T8" fmla="*/ 5 w 48"/>
                  <a:gd name="T9" fmla="*/ 32 h 32"/>
                  <a:gd name="T10" fmla="*/ 5 w 48"/>
                  <a:gd name="T11" fmla="*/ 32 h 32"/>
                  <a:gd name="T12" fmla="*/ 10 w 48"/>
                  <a:gd name="T13" fmla="*/ 32 h 32"/>
                  <a:gd name="T14" fmla="*/ 16 w 48"/>
                  <a:gd name="T15" fmla="*/ 32 h 32"/>
                  <a:gd name="T16" fmla="*/ 16 w 48"/>
                  <a:gd name="T17" fmla="*/ 32 h 32"/>
                  <a:gd name="T18" fmla="*/ 21 w 48"/>
                  <a:gd name="T19" fmla="*/ 32 h 32"/>
                  <a:gd name="T20" fmla="*/ 26 w 48"/>
                  <a:gd name="T21" fmla="*/ 32 h 32"/>
                  <a:gd name="T22" fmla="*/ 32 w 48"/>
                  <a:gd name="T23" fmla="*/ 32 h 32"/>
                  <a:gd name="T24" fmla="*/ 37 w 48"/>
                  <a:gd name="T25" fmla="*/ 32 h 32"/>
                  <a:gd name="T26" fmla="*/ 37 w 48"/>
                  <a:gd name="T27" fmla="*/ 32 h 32"/>
                  <a:gd name="T28" fmla="*/ 42 w 48"/>
                  <a:gd name="T29" fmla="*/ 32 h 32"/>
                  <a:gd name="T30" fmla="*/ 42 w 48"/>
                  <a:gd name="T31" fmla="*/ 27 h 32"/>
                  <a:gd name="T32" fmla="*/ 48 w 48"/>
                  <a:gd name="T33" fmla="*/ 27 h 32"/>
                  <a:gd name="T34" fmla="*/ 48 w 48"/>
                  <a:gd name="T35" fmla="*/ 22 h 32"/>
                  <a:gd name="T36" fmla="*/ 48 w 48"/>
                  <a:gd name="T37" fmla="*/ 0 h 32"/>
                  <a:gd name="T38" fmla="*/ 26 w 48"/>
                  <a:gd name="T39" fmla="*/ 0 h 32"/>
                  <a:gd name="T40" fmla="*/ 26 w 48"/>
                  <a:gd name="T41" fmla="*/ 22 h 32"/>
                  <a:gd name="T42" fmla="*/ 26 w 48"/>
                  <a:gd name="T43" fmla="*/ 27 h 32"/>
                  <a:gd name="T44" fmla="*/ 26 w 48"/>
                  <a:gd name="T45" fmla="*/ 27 h 32"/>
                  <a:gd name="T46" fmla="*/ 26 w 48"/>
                  <a:gd name="T47" fmla="*/ 27 h 32"/>
                  <a:gd name="T48" fmla="*/ 21 w 48"/>
                  <a:gd name="T49" fmla="*/ 27 h 32"/>
                  <a:gd name="T50" fmla="*/ 21 w 48"/>
                  <a:gd name="T51" fmla="*/ 27 h 32"/>
                  <a:gd name="T52" fmla="*/ 16 w 48"/>
                  <a:gd name="T53" fmla="*/ 27 h 32"/>
                  <a:gd name="T54" fmla="*/ 16 w 48"/>
                  <a:gd name="T55" fmla="*/ 27 h 32"/>
                  <a:gd name="T56" fmla="*/ 16 w 48"/>
                  <a:gd name="T57" fmla="*/ 22 h 32"/>
                  <a:gd name="T58" fmla="*/ 16 w 48"/>
                  <a:gd name="T59" fmla="*/ 0 h 32"/>
                  <a:gd name="T60" fmla="*/ 0 w 48"/>
                  <a:gd name="T61" fmla="*/ 0 h 32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48"/>
                  <a:gd name="T94" fmla="*/ 0 h 32"/>
                  <a:gd name="T95" fmla="*/ 48 w 48"/>
                  <a:gd name="T96" fmla="*/ 32 h 32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48" h="32">
                    <a:moveTo>
                      <a:pt x="0" y="0"/>
                    </a:moveTo>
                    <a:lnTo>
                      <a:pt x="0" y="22"/>
                    </a:lnTo>
                    <a:lnTo>
                      <a:pt x="0" y="27"/>
                    </a:lnTo>
                    <a:lnTo>
                      <a:pt x="5" y="32"/>
                    </a:lnTo>
                    <a:lnTo>
                      <a:pt x="10" y="32"/>
                    </a:lnTo>
                    <a:lnTo>
                      <a:pt x="16" y="32"/>
                    </a:lnTo>
                    <a:lnTo>
                      <a:pt x="21" y="32"/>
                    </a:lnTo>
                    <a:lnTo>
                      <a:pt x="26" y="32"/>
                    </a:lnTo>
                    <a:lnTo>
                      <a:pt x="32" y="32"/>
                    </a:lnTo>
                    <a:lnTo>
                      <a:pt x="37" y="32"/>
                    </a:lnTo>
                    <a:lnTo>
                      <a:pt x="42" y="32"/>
                    </a:lnTo>
                    <a:lnTo>
                      <a:pt x="42" y="27"/>
                    </a:lnTo>
                    <a:lnTo>
                      <a:pt x="48" y="27"/>
                    </a:lnTo>
                    <a:lnTo>
                      <a:pt x="48" y="22"/>
                    </a:lnTo>
                    <a:lnTo>
                      <a:pt x="48" y="0"/>
                    </a:lnTo>
                    <a:lnTo>
                      <a:pt x="26" y="0"/>
                    </a:lnTo>
                    <a:lnTo>
                      <a:pt x="26" y="22"/>
                    </a:lnTo>
                    <a:lnTo>
                      <a:pt x="26" y="27"/>
                    </a:lnTo>
                    <a:lnTo>
                      <a:pt x="21" y="27"/>
                    </a:lnTo>
                    <a:lnTo>
                      <a:pt x="16" y="27"/>
                    </a:lnTo>
                    <a:lnTo>
                      <a:pt x="16" y="22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69" name="Rectangle 4024"/>
              <p:cNvSpPr>
                <a:spLocks noChangeArrowheads="1"/>
              </p:cNvSpPr>
              <p:nvPr/>
            </p:nvSpPr>
            <p:spPr bwMode="auto">
              <a:xfrm>
                <a:off x="4783" y="2717"/>
                <a:ext cx="16" cy="64"/>
              </a:xfrm>
              <a:prstGeom prst="rect">
                <a:avLst/>
              </a:prstGeom>
              <a:solidFill>
                <a:srgbClr val="25221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70" name="Freeform 4025"/>
              <p:cNvSpPr>
                <a:spLocks/>
              </p:cNvSpPr>
              <p:nvPr/>
            </p:nvSpPr>
            <p:spPr bwMode="auto">
              <a:xfrm>
                <a:off x="4815" y="2717"/>
                <a:ext cx="42" cy="64"/>
              </a:xfrm>
              <a:custGeom>
                <a:avLst/>
                <a:gdLst>
                  <a:gd name="T0" fmla="*/ 0 w 42"/>
                  <a:gd name="T1" fmla="*/ 64 h 64"/>
                  <a:gd name="T2" fmla="*/ 0 w 42"/>
                  <a:gd name="T3" fmla="*/ 0 h 64"/>
                  <a:gd name="T4" fmla="*/ 16 w 42"/>
                  <a:gd name="T5" fmla="*/ 0 h 64"/>
                  <a:gd name="T6" fmla="*/ 16 w 42"/>
                  <a:gd name="T7" fmla="*/ 59 h 64"/>
                  <a:gd name="T8" fmla="*/ 42 w 42"/>
                  <a:gd name="T9" fmla="*/ 59 h 64"/>
                  <a:gd name="T10" fmla="*/ 42 w 42"/>
                  <a:gd name="T11" fmla="*/ 64 h 64"/>
                  <a:gd name="T12" fmla="*/ 0 w 42"/>
                  <a:gd name="T13" fmla="*/ 64 h 6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2"/>
                  <a:gd name="T22" fmla="*/ 0 h 64"/>
                  <a:gd name="T23" fmla="*/ 42 w 42"/>
                  <a:gd name="T24" fmla="*/ 64 h 6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2" h="64">
                    <a:moveTo>
                      <a:pt x="0" y="64"/>
                    </a:moveTo>
                    <a:lnTo>
                      <a:pt x="0" y="0"/>
                    </a:lnTo>
                    <a:lnTo>
                      <a:pt x="16" y="0"/>
                    </a:lnTo>
                    <a:lnTo>
                      <a:pt x="16" y="59"/>
                    </a:lnTo>
                    <a:lnTo>
                      <a:pt x="42" y="59"/>
                    </a:lnTo>
                    <a:lnTo>
                      <a:pt x="42" y="64"/>
                    </a:lnTo>
                    <a:lnTo>
                      <a:pt x="0" y="64"/>
                    </a:lnTo>
                    <a:close/>
                  </a:path>
                </a:pathLst>
              </a:custGeom>
              <a:solidFill>
                <a:srgbClr val="25221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71" name="Freeform 4026"/>
              <p:cNvSpPr>
                <a:spLocks/>
              </p:cNvSpPr>
              <p:nvPr/>
            </p:nvSpPr>
            <p:spPr bwMode="auto">
              <a:xfrm>
                <a:off x="4724" y="2707"/>
                <a:ext cx="48" cy="10"/>
              </a:xfrm>
              <a:custGeom>
                <a:avLst/>
                <a:gdLst>
                  <a:gd name="T0" fmla="*/ 0 w 48"/>
                  <a:gd name="T1" fmla="*/ 10 h 10"/>
                  <a:gd name="T2" fmla="*/ 0 w 48"/>
                  <a:gd name="T3" fmla="*/ 10 h 10"/>
                  <a:gd name="T4" fmla="*/ 0 w 48"/>
                  <a:gd name="T5" fmla="*/ 5 h 10"/>
                  <a:gd name="T6" fmla="*/ 0 w 48"/>
                  <a:gd name="T7" fmla="*/ 5 h 10"/>
                  <a:gd name="T8" fmla="*/ 5 w 48"/>
                  <a:gd name="T9" fmla="*/ 5 h 10"/>
                  <a:gd name="T10" fmla="*/ 5 w 48"/>
                  <a:gd name="T11" fmla="*/ 0 h 10"/>
                  <a:gd name="T12" fmla="*/ 11 w 48"/>
                  <a:gd name="T13" fmla="*/ 0 h 10"/>
                  <a:gd name="T14" fmla="*/ 16 w 48"/>
                  <a:gd name="T15" fmla="*/ 0 h 10"/>
                  <a:gd name="T16" fmla="*/ 21 w 48"/>
                  <a:gd name="T17" fmla="*/ 0 h 10"/>
                  <a:gd name="T18" fmla="*/ 21 w 48"/>
                  <a:gd name="T19" fmla="*/ 0 h 10"/>
                  <a:gd name="T20" fmla="*/ 27 w 48"/>
                  <a:gd name="T21" fmla="*/ 0 h 10"/>
                  <a:gd name="T22" fmla="*/ 32 w 48"/>
                  <a:gd name="T23" fmla="*/ 0 h 10"/>
                  <a:gd name="T24" fmla="*/ 37 w 48"/>
                  <a:gd name="T25" fmla="*/ 0 h 10"/>
                  <a:gd name="T26" fmla="*/ 37 w 48"/>
                  <a:gd name="T27" fmla="*/ 0 h 10"/>
                  <a:gd name="T28" fmla="*/ 43 w 48"/>
                  <a:gd name="T29" fmla="*/ 5 h 10"/>
                  <a:gd name="T30" fmla="*/ 48 w 48"/>
                  <a:gd name="T31" fmla="*/ 5 h 10"/>
                  <a:gd name="T32" fmla="*/ 48 w 48"/>
                  <a:gd name="T33" fmla="*/ 5 h 10"/>
                  <a:gd name="T34" fmla="*/ 48 w 48"/>
                  <a:gd name="T35" fmla="*/ 10 h 10"/>
                  <a:gd name="T36" fmla="*/ 48 w 48"/>
                  <a:gd name="T37" fmla="*/ 10 h 10"/>
                  <a:gd name="T38" fmla="*/ 32 w 48"/>
                  <a:gd name="T39" fmla="*/ 10 h 10"/>
                  <a:gd name="T40" fmla="*/ 32 w 48"/>
                  <a:gd name="T41" fmla="*/ 10 h 10"/>
                  <a:gd name="T42" fmla="*/ 27 w 48"/>
                  <a:gd name="T43" fmla="*/ 10 h 10"/>
                  <a:gd name="T44" fmla="*/ 27 w 48"/>
                  <a:gd name="T45" fmla="*/ 5 h 10"/>
                  <a:gd name="T46" fmla="*/ 27 w 48"/>
                  <a:gd name="T47" fmla="*/ 5 h 10"/>
                  <a:gd name="T48" fmla="*/ 27 w 48"/>
                  <a:gd name="T49" fmla="*/ 5 h 10"/>
                  <a:gd name="T50" fmla="*/ 21 w 48"/>
                  <a:gd name="T51" fmla="*/ 5 h 10"/>
                  <a:gd name="T52" fmla="*/ 21 w 48"/>
                  <a:gd name="T53" fmla="*/ 5 h 10"/>
                  <a:gd name="T54" fmla="*/ 21 w 48"/>
                  <a:gd name="T55" fmla="*/ 10 h 10"/>
                  <a:gd name="T56" fmla="*/ 16 w 48"/>
                  <a:gd name="T57" fmla="*/ 10 h 10"/>
                  <a:gd name="T58" fmla="*/ 16 w 48"/>
                  <a:gd name="T59" fmla="*/ 10 h 10"/>
                  <a:gd name="T60" fmla="*/ 0 w 48"/>
                  <a:gd name="T61" fmla="*/ 10 h 10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48"/>
                  <a:gd name="T94" fmla="*/ 0 h 10"/>
                  <a:gd name="T95" fmla="*/ 48 w 48"/>
                  <a:gd name="T96" fmla="*/ 10 h 10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48" h="10">
                    <a:moveTo>
                      <a:pt x="0" y="10"/>
                    </a:moveTo>
                    <a:lnTo>
                      <a:pt x="0" y="10"/>
                    </a:lnTo>
                    <a:lnTo>
                      <a:pt x="0" y="5"/>
                    </a:lnTo>
                    <a:lnTo>
                      <a:pt x="5" y="5"/>
                    </a:lnTo>
                    <a:lnTo>
                      <a:pt x="5" y="0"/>
                    </a:lnTo>
                    <a:lnTo>
                      <a:pt x="11" y="0"/>
                    </a:lnTo>
                    <a:lnTo>
                      <a:pt x="16" y="0"/>
                    </a:lnTo>
                    <a:lnTo>
                      <a:pt x="21" y="0"/>
                    </a:lnTo>
                    <a:lnTo>
                      <a:pt x="27" y="0"/>
                    </a:lnTo>
                    <a:lnTo>
                      <a:pt x="32" y="0"/>
                    </a:lnTo>
                    <a:lnTo>
                      <a:pt x="37" y="0"/>
                    </a:lnTo>
                    <a:lnTo>
                      <a:pt x="43" y="5"/>
                    </a:lnTo>
                    <a:lnTo>
                      <a:pt x="48" y="5"/>
                    </a:lnTo>
                    <a:lnTo>
                      <a:pt x="48" y="10"/>
                    </a:lnTo>
                    <a:lnTo>
                      <a:pt x="32" y="10"/>
                    </a:lnTo>
                    <a:lnTo>
                      <a:pt x="27" y="10"/>
                    </a:lnTo>
                    <a:lnTo>
                      <a:pt x="27" y="5"/>
                    </a:lnTo>
                    <a:lnTo>
                      <a:pt x="21" y="5"/>
                    </a:lnTo>
                    <a:lnTo>
                      <a:pt x="21" y="10"/>
                    </a:lnTo>
                    <a:lnTo>
                      <a:pt x="16" y="10"/>
                    </a:lnTo>
                    <a:lnTo>
                      <a:pt x="0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72" name="Rectangle 4027"/>
              <p:cNvSpPr>
                <a:spLocks noChangeArrowheads="1"/>
              </p:cNvSpPr>
              <p:nvPr/>
            </p:nvSpPr>
            <p:spPr bwMode="auto">
              <a:xfrm>
                <a:off x="4724" y="2717"/>
                <a:ext cx="16" cy="22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73" name="Rectangle 4028"/>
              <p:cNvSpPr>
                <a:spLocks noChangeArrowheads="1"/>
              </p:cNvSpPr>
              <p:nvPr/>
            </p:nvSpPr>
            <p:spPr bwMode="auto">
              <a:xfrm>
                <a:off x="4756" y="2717"/>
                <a:ext cx="16" cy="22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74" name="Freeform 4029"/>
              <p:cNvSpPr>
                <a:spLocks/>
              </p:cNvSpPr>
              <p:nvPr/>
            </p:nvSpPr>
            <p:spPr bwMode="auto">
              <a:xfrm>
                <a:off x="4724" y="2739"/>
                <a:ext cx="48" cy="37"/>
              </a:xfrm>
              <a:custGeom>
                <a:avLst/>
                <a:gdLst>
                  <a:gd name="T0" fmla="*/ 0 w 48"/>
                  <a:gd name="T1" fmla="*/ 0 h 37"/>
                  <a:gd name="T2" fmla="*/ 0 w 48"/>
                  <a:gd name="T3" fmla="*/ 26 h 37"/>
                  <a:gd name="T4" fmla="*/ 0 w 48"/>
                  <a:gd name="T5" fmla="*/ 26 h 37"/>
                  <a:gd name="T6" fmla="*/ 0 w 48"/>
                  <a:gd name="T7" fmla="*/ 32 h 37"/>
                  <a:gd name="T8" fmla="*/ 5 w 48"/>
                  <a:gd name="T9" fmla="*/ 32 h 37"/>
                  <a:gd name="T10" fmla="*/ 5 w 48"/>
                  <a:gd name="T11" fmla="*/ 32 h 37"/>
                  <a:gd name="T12" fmla="*/ 11 w 48"/>
                  <a:gd name="T13" fmla="*/ 37 h 37"/>
                  <a:gd name="T14" fmla="*/ 16 w 48"/>
                  <a:gd name="T15" fmla="*/ 37 h 37"/>
                  <a:gd name="T16" fmla="*/ 21 w 48"/>
                  <a:gd name="T17" fmla="*/ 37 h 37"/>
                  <a:gd name="T18" fmla="*/ 21 w 48"/>
                  <a:gd name="T19" fmla="*/ 37 h 37"/>
                  <a:gd name="T20" fmla="*/ 27 w 48"/>
                  <a:gd name="T21" fmla="*/ 37 h 37"/>
                  <a:gd name="T22" fmla="*/ 32 w 48"/>
                  <a:gd name="T23" fmla="*/ 37 h 37"/>
                  <a:gd name="T24" fmla="*/ 37 w 48"/>
                  <a:gd name="T25" fmla="*/ 37 h 37"/>
                  <a:gd name="T26" fmla="*/ 37 w 48"/>
                  <a:gd name="T27" fmla="*/ 32 h 37"/>
                  <a:gd name="T28" fmla="*/ 43 w 48"/>
                  <a:gd name="T29" fmla="*/ 32 h 37"/>
                  <a:gd name="T30" fmla="*/ 48 w 48"/>
                  <a:gd name="T31" fmla="*/ 32 h 37"/>
                  <a:gd name="T32" fmla="*/ 48 w 48"/>
                  <a:gd name="T33" fmla="*/ 26 h 37"/>
                  <a:gd name="T34" fmla="*/ 48 w 48"/>
                  <a:gd name="T35" fmla="*/ 26 h 37"/>
                  <a:gd name="T36" fmla="*/ 48 w 48"/>
                  <a:gd name="T37" fmla="*/ 0 h 37"/>
                  <a:gd name="T38" fmla="*/ 32 w 48"/>
                  <a:gd name="T39" fmla="*/ 0 h 37"/>
                  <a:gd name="T40" fmla="*/ 32 w 48"/>
                  <a:gd name="T41" fmla="*/ 21 h 37"/>
                  <a:gd name="T42" fmla="*/ 27 w 48"/>
                  <a:gd name="T43" fmla="*/ 26 h 37"/>
                  <a:gd name="T44" fmla="*/ 27 w 48"/>
                  <a:gd name="T45" fmla="*/ 26 h 37"/>
                  <a:gd name="T46" fmla="*/ 27 w 48"/>
                  <a:gd name="T47" fmla="*/ 26 h 37"/>
                  <a:gd name="T48" fmla="*/ 27 w 48"/>
                  <a:gd name="T49" fmla="*/ 26 h 37"/>
                  <a:gd name="T50" fmla="*/ 21 w 48"/>
                  <a:gd name="T51" fmla="*/ 26 h 37"/>
                  <a:gd name="T52" fmla="*/ 21 w 48"/>
                  <a:gd name="T53" fmla="*/ 26 h 37"/>
                  <a:gd name="T54" fmla="*/ 21 w 48"/>
                  <a:gd name="T55" fmla="*/ 26 h 37"/>
                  <a:gd name="T56" fmla="*/ 16 w 48"/>
                  <a:gd name="T57" fmla="*/ 21 h 37"/>
                  <a:gd name="T58" fmla="*/ 16 w 48"/>
                  <a:gd name="T59" fmla="*/ 0 h 37"/>
                  <a:gd name="T60" fmla="*/ 0 w 48"/>
                  <a:gd name="T61" fmla="*/ 0 h 37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48"/>
                  <a:gd name="T94" fmla="*/ 0 h 37"/>
                  <a:gd name="T95" fmla="*/ 48 w 48"/>
                  <a:gd name="T96" fmla="*/ 37 h 37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48" h="37">
                    <a:moveTo>
                      <a:pt x="0" y="0"/>
                    </a:moveTo>
                    <a:lnTo>
                      <a:pt x="0" y="26"/>
                    </a:lnTo>
                    <a:lnTo>
                      <a:pt x="0" y="32"/>
                    </a:lnTo>
                    <a:lnTo>
                      <a:pt x="5" y="32"/>
                    </a:lnTo>
                    <a:lnTo>
                      <a:pt x="11" y="37"/>
                    </a:lnTo>
                    <a:lnTo>
                      <a:pt x="16" y="37"/>
                    </a:lnTo>
                    <a:lnTo>
                      <a:pt x="21" y="37"/>
                    </a:lnTo>
                    <a:lnTo>
                      <a:pt x="27" y="37"/>
                    </a:lnTo>
                    <a:lnTo>
                      <a:pt x="32" y="37"/>
                    </a:lnTo>
                    <a:lnTo>
                      <a:pt x="37" y="37"/>
                    </a:lnTo>
                    <a:lnTo>
                      <a:pt x="37" y="32"/>
                    </a:lnTo>
                    <a:lnTo>
                      <a:pt x="43" y="32"/>
                    </a:lnTo>
                    <a:lnTo>
                      <a:pt x="48" y="32"/>
                    </a:lnTo>
                    <a:lnTo>
                      <a:pt x="48" y="26"/>
                    </a:lnTo>
                    <a:lnTo>
                      <a:pt x="48" y="0"/>
                    </a:lnTo>
                    <a:lnTo>
                      <a:pt x="32" y="0"/>
                    </a:lnTo>
                    <a:lnTo>
                      <a:pt x="32" y="21"/>
                    </a:lnTo>
                    <a:lnTo>
                      <a:pt x="27" y="26"/>
                    </a:lnTo>
                    <a:lnTo>
                      <a:pt x="21" y="26"/>
                    </a:lnTo>
                    <a:lnTo>
                      <a:pt x="16" y="21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75" name="Rectangle 4030"/>
              <p:cNvSpPr>
                <a:spLocks noChangeArrowheads="1"/>
              </p:cNvSpPr>
              <p:nvPr/>
            </p:nvSpPr>
            <p:spPr bwMode="auto">
              <a:xfrm>
                <a:off x="4788" y="2707"/>
                <a:ext cx="16" cy="69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76" name="Freeform 4031"/>
              <p:cNvSpPr>
                <a:spLocks/>
              </p:cNvSpPr>
              <p:nvPr/>
            </p:nvSpPr>
            <p:spPr bwMode="auto">
              <a:xfrm>
                <a:off x="4820" y="2707"/>
                <a:ext cx="43" cy="69"/>
              </a:xfrm>
              <a:custGeom>
                <a:avLst/>
                <a:gdLst>
                  <a:gd name="T0" fmla="*/ 0 w 43"/>
                  <a:gd name="T1" fmla="*/ 69 h 69"/>
                  <a:gd name="T2" fmla="*/ 0 w 43"/>
                  <a:gd name="T3" fmla="*/ 0 h 69"/>
                  <a:gd name="T4" fmla="*/ 16 w 43"/>
                  <a:gd name="T5" fmla="*/ 0 h 69"/>
                  <a:gd name="T6" fmla="*/ 16 w 43"/>
                  <a:gd name="T7" fmla="*/ 58 h 69"/>
                  <a:gd name="T8" fmla="*/ 43 w 43"/>
                  <a:gd name="T9" fmla="*/ 58 h 69"/>
                  <a:gd name="T10" fmla="*/ 43 w 43"/>
                  <a:gd name="T11" fmla="*/ 69 h 69"/>
                  <a:gd name="T12" fmla="*/ 0 w 43"/>
                  <a:gd name="T13" fmla="*/ 69 h 6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3"/>
                  <a:gd name="T22" fmla="*/ 0 h 69"/>
                  <a:gd name="T23" fmla="*/ 43 w 43"/>
                  <a:gd name="T24" fmla="*/ 69 h 6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3" h="69">
                    <a:moveTo>
                      <a:pt x="0" y="69"/>
                    </a:moveTo>
                    <a:lnTo>
                      <a:pt x="0" y="0"/>
                    </a:lnTo>
                    <a:lnTo>
                      <a:pt x="16" y="0"/>
                    </a:lnTo>
                    <a:lnTo>
                      <a:pt x="16" y="58"/>
                    </a:lnTo>
                    <a:lnTo>
                      <a:pt x="43" y="58"/>
                    </a:lnTo>
                    <a:lnTo>
                      <a:pt x="43" y="69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77" name="Freeform 4032"/>
              <p:cNvSpPr>
                <a:spLocks/>
              </p:cNvSpPr>
              <p:nvPr/>
            </p:nvSpPr>
            <p:spPr bwMode="auto">
              <a:xfrm>
                <a:off x="4991" y="2931"/>
                <a:ext cx="101" cy="80"/>
              </a:xfrm>
              <a:custGeom>
                <a:avLst/>
                <a:gdLst>
                  <a:gd name="T0" fmla="*/ 0 w 101"/>
                  <a:gd name="T1" fmla="*/ 32 h 80"/>
                  <a:gd name="T2" fmla="*/ 16 w 101"/>
                  <a:gd name="T3" fmla="*/ 0 h 80"/>
                  <a:gd name="T4" fmla="*/ 101 w 101"/>
                  <a:gd name="T5" fmla="*/ 80 h 80"/>
                  <a:gd name="T6" fmla="*/ 0 w 101"/>
                  <a:gd name="T7" fmla="*/ 32 h 8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1"/>
                  <a:gd name="T13" fmla="*/ 0 h 80"/>
                  <a:gd name="T14" fmla="*/ 101 w 101"/>
                  <a:gd name="T15" fmla="*/ 80 h 8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1" h="80">
                    <a:moveTo>
                      <a:pt x="0" y="32"/>
                    </a:moveTo>
                    <a:lnTo>
                      <a:pt x="16" y="0"/>
                    </a:lnTo>
                    <a:lnTo>
                      <a:pt x="101" y="80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78" name="Freeform 4033"/>
              <p:cNvSpPr>
                <a:spLocks/>
              </p:cNvSpPr>
              <p:nvPr/>
            </p:nvSpPr>
            <p:spPr bwMode="auto">
              <a:xfrm>
                <a:off x="5023" y="2840"/>
                <a:ext cx="128" cy="59"/>
              </a:xfrm>
              <a:custGeom>
                <a:avLst/>
                <a:gdLst>
                  <a:gd name="T0" fmla="*/ 0 w 128"/>
                  <a:gd name="T1" fmla="*/ 43 h 59"/>
                  <a:gd name="T2" fmla="*/ 10 w 128"/>
                  <a:gd name="T3" fmla="*/ 0 h 59"/>
                  <a:gd name="T4" fmla="*/ 128 w 128"/>
                  <a:gd name="T5" fmla="*/ 59 h 59"/>
                  <a:gd name="T6" fmla="*/ 0 w 128"/>
                  <a:gd name="T7" fmla="*/ 43 h 5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28"/>
                  <a:gd name="T13" fmla="*/ 0 h 59"/>
                  <a:gd name="T14" fmla="*/ 128 w 128"/>
                  <a:gd name="T15" fmla="*/ 59 h 5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28" h="59">
                    <a:moveTo>
                      <a:pt x="0" y="43"/>
                    </a:moveTo>
                    <a:lnTo>
                      <a:pt x="10" y="0"/>
                    </a:lnTo>
                    <a:lnTo>
                      <a:pt x="128" y="59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79" name="Freeform 4034"/>
              <p:cNvSpPr>
                <a:spLocks/>
              </p:cNvSpPr>
              <p:nvPr/>
            </p:nvSpPr>
            <p:spPr bwMode="auto">
              <a:xfrm>
                <a:off x="5044" y="2733"/>
                <a:ext cx="144" cy="48"/>
              </a:xfrm>
              <a:custGeom>
                <a:avLst/>
                <a:gdLst>
                  <a:gd name="T0" fmla="*/ 0 w 144"/>
                  <a:gd name="T1" fmla="*/ 48 h 48"/>
                  <a:gd name="T2" fmla="*/ 5 w 144"/>
                  <a:gd name="T3" fmla="*/ 0 h 48"/>
                  <a:gd name="T4" fmla="*/ 144 w 144"/>
                  <a:gd name="T5" fmla="*/ 48 h 48"/>
                  <a:gd name="T6" fmla="*/ 0 w 144"/>
                  <a:gd name="T7" fmla="*/ 48 h 4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4"/>
                  <a:gd name="T13" fmla="*/ 0 h 48"/>
                  <a:gd name="T14" fmla="*/ 144 w 144"/>
                  <a:gd name="T15" fmla="*/ 48 h 4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4" h="48">
                    <a:moveTo>
                      <a:pt x="0" y="48"/>
                    </a:moveTo>
                    <a:lnTo>
                      <a:pt x="5" y="0"/>
                    </a:lnTo>
                    <a:lnTo>
                      <a:pt x="144" y="48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80" name="Freeform 4035"/>
              <p:cNvSpPr>
                <a:spLocks/>
              </p:cNvSpPr>
              <p:nvPr/>
            </p:nvSpPr>
            <p:spPr bwMode="auto">
              <a:xfrm>
                <a:off x="5049" y="2637"/>
                <a:ext cx="134" cy="43"/>
              </a:xfrm>
              <a:custGeom>
                <a:avLst/>
                <a:gdLst>
                  <a:gd name="T0" fmla="*/ 0 w 134"/>
                  <a:gd name="T1" fmla="*/ 43 h 43"/>
                  <a:gd name="T2" fmla="*/ 0 w 134"/>
                  <a:gd name="T3" fmla="*/ 0 h 43"/>
                  <a:gd name="T4" fmla="*/ 134 w 134"/>
                  <a:gd name="T5" fmla="*/ 0 h 43"/>
                  <a:gd name="T6" fmla="*/ 0 w 134"/>
                  <a:gd name="T7" fmla="*/ 43 h 4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4"/>
                  <a:gd name="T13" fmla="*/ 0 h 43"/>
                  <a:gd name="T14" fmla="*/ 134 w 134"/>
                  <a:gd name="T15" fmla="*/ 43 h 4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4" h="43">
                    <a:moveTo>
                      <a:pt x="0" y="43"/>
                    </a:moveTo>
                    <a:lnTo>
                      <a:pt x="0" y="0"/>
                    </a:lnTo>
                    <a:lnTo>
                      <a:pt x="134" y="0"/>
                    </a:lnTo>
                    <a:lnTo>
                      <a:pt x="0" y="43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81" name="Freeform 4036"/>
              <p:cNvSpPr>
                <a:spLocks/>
              </p:cNvSpPr>
              <p:nvPr/>
            </p:nvSpPr>
            <p:spPr bwMode="auto">
              <a:xfrm>
                <a:off x="5023" y="2514"/>
                <a:ext cx="117" cy="75"/>
              </a:xfrm>
              <a:custGeom>
                <a:avLst/>
                <a:gdLst>
                  <a:gd name="T0" fmla="*/ 10 w 117"/>
                  <a:gd name="T1" fmla="*/ 75 h 75"/>
                  <a:gd name="T2" fmla="*/ 0 w 117"/>
                  <a:gd name="T3" fmla="*/ 38 h 75"/>
                  <a:gd name="T4" fmla="*/ 117 w 117"/>
                  <a:gd name="T5" fmla="*/ 0 h 75"/>
                  <a:gd name="T6" fmla="*/ 10 w 117"/>
                  <a:gd name="T7" fmla="*/ 75 h 7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7"/>
                  <a:gd name="T13" fmla="*/ 0 h 75"/>
                  <a:gd name="T14" fmla="*/ 117 w 117"/>
                  <a:gd name="T15" fmla="*/ 75 h 7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7" h="75">
                    <a:moveTo>
                      <a:pt x="10" y="75"/>
                    </a:moveTo>
                    <a:lnTo>
                      <a:pt x="0" y="38"/>
                    </a:lnTo>
                    <a:lnTo>
                      <a:pt x="117" y="0"/>
                    </a:lnTo>
                    <a:lnTo>
                      <a:pt x="10" y="75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82" name="Freeform 4037"/>
              <p:cNvSpPr>
                <a:spLocks/>
              </p:cNvSpPr>
              <p:nvPr/>
            </p:nvSpPr>
            <p:spPr bwMode="auto">
              <a:xfrm>
                <a:off x="4463" y="2920"/>
                <a:ext cx="101" cy="80"/>
              </a:xfrm>
              <a:custGeom>
                <a:avLst/>
                <a:gdLst>
                  <a:gd name="T0" fmla="*/ 101 w 101"/>
                  <a:gd name="T1" fmla="*/ 32 h 80"/>
                  <a:gd name="T2" fmla="*/ 85 w 101"/>
                  <a:gd name="T3" fmla="*/ 0 h 80"/>
                  <a:gd name="T4" fmla="*/ 0 w 101"/>
                  <a:gd name="T5" fmla="*/ 80 h 80"/>
                  <a:gd name="T6" fmla="*/ 101 w 101"/>
                  <a:gd name="T7" fmla="*/ 32 h 8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1"/>
                  <a:gd name="T13" fmla="*/ 0 h 80"/>
                  <a:gd name="T14" fmla="*/ 101 w 101"/>
                  <a:gd name="T15" fmla="*/ 80 h 8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1" h="80">
                    <a:moveTo>
                      <a:pt x="101" y="32"/>
                    </a:moveTo>
                    <a:lnTo>
                      <a:pt x="85" y="0"/>
                    </a:lnTo>
                    <a:lnTo>
                      <a:pt x="0" y="80"/>
                    </a:lnTo>
                    <a:lnTo>
                      <a:pt x="101" y="32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83" name="Freeform 4038"/>
              <p:cNvSpPr>
                <a:spLocks/>
              </p:cNvSpPr>
              <p:nvPr/>
            </p:nvSpPr>
            <p:spPr bwMode="auto">
              <a:xfrm>
                <a:off x="4404" y="2830"/>
                <a:ext cx="123" cy="58"/>
              </a:xfrm>
              <a:custGeom>
                <a:avLst/>
                <a:gdLst>
                  <a:gd name="T0" fmla="*/ 123 w 123"/>
                  <a:gd name="T1" fmla="*/ 42 h 58"/>
                  <a:gd name="T2" fmla="*/ 112 w 123"/>
                  <a:gd name="T3" fmla="*/ 0 h 58"/>
                  <a:gd name="T4" fmla="*/ 0 w 123"/>
                  <a:gd name="T5" fmla="*/ 58 h 58"/>
                  <a:gd name="T6" fmla="*/ 123 w 123"/>
                  <a:gd name="T7" fmla="*/ 42 h 5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23"/>
                  <a:gd name="T13" fmla="*/ 0 h 58"/>
                  <a:gd name="T14" fmla="*/ 123 w 123"/>
                  <a:gd name="T15" fmla="*/ 58 h 5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23" h="58">
                    <a:moveTo>
                      <a:pt x="123" y="42"/>
                    </a:moveTo>
                    <a:lnTo>
                      <a:pt x="112" y="0"/>
                    </a:lnTo>
                    <a:lnTo>
                      <a:pt x="0" y="58"/>
                    </a:lnTo>
                    <a:lnTo>
                      <a:pt x="123" y="42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84" name="Freeform 4039"/>
              <p:cNvSpPr>
                <a:spLocks/>
              </p:cNvSpPr>
              <p:nvPr/>
            </p:nvSpPr>
            <p:spPr bwMode="auto">
              <a:xfrm>
                <a:off x="4361" y="2723"/>
                <a:ext cx="144" cy="48"/>
              </a:xfrm>
              <a:custGeom>
                <a:avLst/>
                <a:gdLst>
                  <a:gd name="T0" fmla="*/ 144 w 144"/>
                  <a:gd name="T1" fmla="*/ 48 h 48"/>
                  <a:gd name="T2" fmla="*/ 139 w 144"/>
                  <a:gd name="T3" fmla="*/ 0 h 48"/>
                  <a:gd name="T4" fmla="*/ 0 w 144"/>
                  <a:gd name="T5" fmla="*/ 48 h 48"/>
                  <a:gd name="T6" fmla="*/ 144 w 144"/>
                  <a:gd name="T7" fmla="*/ 48 h 4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4"/>
                  <a:gd name="T13" fmla="*/ 0 h 48"/>
                  <a:gd name="T14" fmla="*/ 144 w 144"/>
                  <a:gd name="T15" fmla="*/ 48 h 4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4" h="48">
                    <a:moveTo>
                      <a:pt x="144" y="48"/>
                    </a:moveTo>
                    <a:lnTo>
                      <a:pt x="139" y="0"/>
                    </a:lnTo>
                    <a:lnTo>
                      <a:pt x="0" y="48"/>
                    </a:lnTo>
                    <a:lnTo>
                      <a:pt x="144" y="48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85" name="Freeform 4040"/>
              <p:cNvSpPr>
                <a:spLocks/>
              </p:cNvSpPr>
              <p:nvPr/>
            </p:nvSpPr>
            <p:spPr bwMode="auto">
              <a:xfrm>
                <a:off x="4372" y="2627"/>
                <a:ext cx="133" cy="42"/>
              </a:xfrm>
              <a:custGeom>
                <a:avLst/>
                <a:gdLst>
                  <a:gd name="T0" fmla="*/ 128 w 133"/>
                  <a:gd name="T1" fmla="*/ 42 h 42"/>
                  <a:gd name="T2" fmla="*/ 133 w 133"/>
                  <a:gd name="T3" fmla="*/ 0 h 42"/>
                  <a:gd name="T4" fmla="*/ 0 w 133"/>
                  <a:gd name="T5" fmla="*/ 0 h 42"/>
                  <a:gd name="T6" fmla="*/ 128 w 133"/>
                  <a:gd name="T7" fmla="*/ 42 h 4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3"/>
                  <a:gd name="T13" fmla="*/ 0 h 42"/>
                  <a:gd name="T14" fmla="*/ 133 w 133"/>
                  <a:gd name="T15" fmla="*/ 42 h 4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3" h="42">
                    <a:moveTo>
                      <a:pt x="128" y="42"/>
                    </a:moveTo>
                    <a:lnTo>
                      <a:pt x="133" y="0"/>
                    </a:lnTo>
                    <a:lnTo>
                      <a:pt x="0" y="0"/>
                    </a:lnTo>
                    <a:lnTo>
                      <a:pt x="128" y="42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86" name="Freeform 4041"/>
              <p:cNvSpPr>
                <a:spLocks/>
              </p:cNvSpPr>
              <p:nvPr/>
            </p:nvSpPr>
            <p:spPr bwMode="auto">
              <a:xfrm>
                <a:off x="4415" y="2504"/>
                <a:ext cx="117" cy="75"/>
              </a:xfrm>
              <a:custGeom>
                <a:avLst/>
                <a:gdLst>
                  <a:gd name="T0" fmla="*/ 101 w 117"/>
                  <a:gd name="T1" fmla="*/ 75 h 75"/>
                  <a:gd name="T2" fmla="*/ 117 w 117"/>
                  <a:gd name="T3" fmla="*/ 37 h 75"/>
                  <a:gd name="T4" fmla="*/ 0 w 117"/>
                  <a:gd name="T5" fmla="*/ 0 h 75"/>
                  <a:gd name="T6" fmla="*/ 101 w 117"/>
                  <a:gd name="T7" fmla="*/ 75 h 7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7"/>
                  <a:gd name="T13" fmla="*/ 0 h 75"/>
                  <a:gd name="T14" fmla="*/ 117 w 117"/>
                  <a:gd name="T15" fmla="*/ 75 h 7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7" h="75">
                    <a:moveTo>
                      <a:pt x="101" y="75"/>
                    </a:moveTo>
                    <a:lnTo>
                      <a:pt x="117" y="37"/>
                    </a:lnTo>
                    <a:lnTo>
                      <a:pt x="0" y="0"/>
                    </a:lnTo>
                    <a:lnTo>
                      <a:pt x="101" y="75"/>
                    </a:lnTo>
                    <a:close/>
                  </a:path>
                </a:pathLst>
              </a:custGeom>
              <a:solidFill>
                <a:srgbClr val="00A36E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87" name="Freeform 4042"/>
              <p:cNvSpPr>
                <a:spLocks/>
              </p:cNvSpPr>
              <p:nvPr/>
            </p:nvSpPr>
            <p:spPr bwMode="auto">
              <a:xfrm>
                <a:off x="4084" y="2856"/>
                <a:ext cx="368" cy="406"/>
              </a:xfrm>
              <a:custGeom>
                <a:avLst/>
                <a:gdLst>
                  <a:gd name="T0" fmla="*/ 224 w 368"/>
                  <a:gd name="T1" fmla="*/ 0 h 406"/>
                  <a:gd name="T2" fmla="*/ 256 w 368"/>
                  <a:gd name="T3" fmla="*/ 0 h 406"/>
                  <a:gd name="T4" fmla="*/ 299 w 368"/>
                  <a:gd name="T5" fmla="*/ 6 h 406"/>
                  <a:gd name="T6" fmla="*/ 315 w 368"/>
                  <a:gd name="T7" fmla="*/ 22 h 406"/>
                  <a:gd name="T8" fmla="*/ 320 w 368"/>
                  <a:gd name="T9" fmla="*/ 27 h 406"/>
                  <a:gd name="T10" fmla="*/ 331 w 368"/>
                  <a:gd name="T11" fmla="*/ 75 h 406"/>
                  <a:gd name="T12" fmla="*/ 336 w 368"/>
                  <a:gd name="T13" fmla="*/ 107 h 406"/>
                  <a:gd name="T14" fmla="*/ 347 w 368"/>
                  <a:gd name="T15" fmla="*/ 150 h 406"/>
                  <a:gd name="T16" fmla="*/ 352 w 368"/>
                  <a:gd name="T17" fmla="*/ 193 h 406"/>
                  <a:gd name="T18" fmla="*/ 352 w 368"/>
                  <a:gd name="T19" fmla="*/ 209 h 406"/>
                  <a:gd name="T20" fmla="*/ 347 w 368"/>
                  <a:gd name="T21" fmla="*/ 246 h 406"/>
                  <a:gd name="T22" fmla="*/ 352 w 368"/>
                  <a:gd name="T23" fmla="*/ 305 h 406"/>
                  <a:gd name="T24" fmla="*/ 352 w 368"/>
                  <a:gd name="T25" fmla="*/ 347 h 406"/>
                  <a:gd name="T26" fmla="*/ 368 w 368"/>
                  <a:gd name="T27" fmla="*/ 379 h 406"/>
                  <a:gd name="T28" fmla="*/ 336 w 368"/>
                  <a:gd name="T29" fmla="*/ 390 h 406"/>
                  <a:gd name="T30" fmla="*/ 304 w 368"/>
                  <a:gd name="T31" fmla="*/ 396 h 406"/>
                  <a:gd name="T32" fmla="*/ 277 w 368"/>
                  <a:gd name="T33" fmla="*/ 401 h 406"/>
                  <a:gd name="T34" fmla="*/ 240 w 368"/>
                  <a:gd name="T35" fmla="*/ 406 h 406"/>
                  <a:gd name="T36" fmla="*/ 208 w 368"/>
                  <a:gd name="T37" fmla="*/ 401 h 406"/>
                  <a:gd name="T38" fmla="*/ 166 w 368"/>
                  <a:gd name="T39" fmla="*/ 401 h 406"/>
                  <a:gd name="T40" fmla="*/ 107 w 368"/>
                  <a:gd name="T41" fmla="*/ 401 h 406"/>
                  <a:gd name="T42" fmla="*/ 54 w 368"/>
                  <a:gd name="T43" fmla="*/ 390 h 406"/>
                  <a:gd name="T44" fmla="*/ 32 w 368"/>
                  <a:gd name="T45" fmla="*/ 379 h 406"/>
                  <a:gd name="T46" fmla="*/ 16 w 368"/>
                  <a:gd name="T47" fmla="*/ 369 h 406"/>
                  <a:gd name="T48" fmla="*/ 6 w 368"/>
                  <a:gd name="T49" fmla="*/ 353 h 406"/>
                  <a:gd name="T50" fmla="*/ 6 w 368"/>
                  <a:gd name="T51" fmla="*/ 347 h 406"/>
                  <a:gd name="T52" fmla="*/ 22 w 368"/>
                  <a:gd name="T53" fmla="*/ 326 h 406"/>
                  <a:gd name="T54" fmla="*/ 22 w 368"/>
                  <a:gd name="T55" fmla="*/ 299 h 406"/>
                  <a:gd name="T56" fmla="*/ 27 w 368"/>
                  <a:gd name="T57" fmla="*/ 241 h 406"/>
                  <a:gd name="T58" fmla="*/ 22 w 368"/>
                  <a:gd name="T59" fmla="*/ 177 h 406"/>
                  <a:gd name="T60" fmla="*/ 27 w 368"/>
                  <a:gd name="T61" fmla="*/ 102 h 406"/>
                  <a:gd name="T62" fmla="*/ 27 w 368"/>
                  <a:gd name="T63" fmla="*/ 86 h 406"/>
                  <a:gd name="T64" fmla="*/ 27 w 368"/>
                  <a:gd name="T65" fmla="*/ 59 h 406"/>
                  <a:gd name="T66" fmla="*/ 32 w 368"/>
                  <a:gd name="T67" fmla="*/ 27 h 406"/>
                  <a:gd name="T68" fmla="*/ 64 w 368"/>
                  <a:gd name="T69" fmla="*/ 16 h 406"/>
                  <a:gd name="T70" fmla="*/ 86 w 368"/>
                  <a:gd name="T71" fmla="*/ 11 h 406"/>
                  <a:gd name="T72" fmla="*/ 96 w 368"/>
                  <a:gd name="T73" fmla="*/ 11 h 406"/>
                  <a:gd name="T74" fmla="*/ 134 w 368"/>
                  <a:gd name="T75" fmla="*/ 11 h 406"/>
                  <a:gd name="T76" fmla="*/ 182 w 368"/>
                  <a:gd name="T77" fmla="*/ 0 h 406"/>
                  <a:gd name="T78" fmla="*/ 213 w 368"/>
                  <a:gd name="T79" fmla="*/ 11 h 40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368"/>
                  <a:gd name="T121" fmla="*/ 0 h 406"/>
                  <a:gd name="T122" fmla="*/ 368 w 368"/>
                  <a:gd name="T123" fmla="*/ 406 h 40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368" h="406">
                    <a:moveTo>
                      <a:pt x="213" y="11"/>
                    </a:moveTo>
                    <a:lnTo>
                      <a:pt x="224" y="0"/>
                    </a:lnTo>
                    <a:lnTo>
                      <a:pt x="245" y="0"/>
                    </a:lnTo>
                    <a:lnTo>
                      <a:pt x="256" y="0"/>
                    </a:lnTo>
                    <a:lnTo>
                      <a:pt x="272" y="11"/>
                    </a:lnTo>
                    <a:lnTo>
                      <a:pt x="299" y="6"/>
                    </a:lnTo>
                    <a:lnTo>
                      <a:pt x="309" y="11"/>
                    </a:lnTo>
                    <a:lnTo>
                      <a:pt x="315" y="22"/>
                    </a:lnTo>
                    <a:lnTo>
                      <a:pt x="320" y="22"/>
                    </a:lnTo>
                    <a:lnTo>
                      <a:pt x="320" y="27"/>
                    </a:lnTo>
                    <a:lnTo>
                      <a:pt x="331" y="48"/>
                    </a:lnTo>
                    <a:lnTo>
                      <a:pt x="331" y="75"/>
                    </a:lnTo>
                    <a:lnTo>
                      <a:pt x="336" y="91"/>
                    </a:lnTo>
                    <a:lnTo>
                      <a:pt x="336" y="107"/>
                    </a:lnTo>
                    <a:lnTo>
                      <a:pt x="341" y="128"/>
                    </a:lnTo>
                    <a:lnTo>
                      <a:pt x="347" y="150"/>
                    </a:lnTo>
                    <a:lnTo>
                      <a:pt x="352" y="182"/>
                    </a:lnTo>
                    <a:lnTo>
                      <a:pt x="352" y="193"/>
                    </a:lnTo>
                    <a:lnTo>
                      <a:pt x="352" y="203"/>
                    </a:lnTo>
                    <a:lnTo>
                      <a:pt x="352" y="209"/>
                    </a:lnTo>
                    <a:lnTo>
                      <a:pt x="352" y="219"/>
                    </a:lnTo>
                    <a:lnTo>
                      <a:pt x="347" y="246"/>
                    </a:lnTo>
                    <a:lnTo>
                      <a:pt x="347" y="273"/>
                    </a:lnTo>
                    <a:lnTo>
                      <a:pt x="352" y="305"/>
                    </a:lnTo>
                    <a:lnTo>
                      <a:pt x="352" y="331"/>
                    </a:lnTo>
                    <a:lnTo>
                      <a:pt x="352" y="347"/>
                    </a:lnTo>
                    <a:lnTo>
                      <a:pt x="368" y="363"/>
                    </a:lnTo>
                    <a:lnTo>
                      <a:pt x="368" y="379"/>
                    </a:lnTo>
                    <a:lnTo>
                      <a:pt x="352" y="379"/>
                    </a:lnTo>
                    <a:lnTo>
                      <a:pt x="336" y="390"/>
                    </a:lnTo>
                    <a:lnTo>
                      <a:pt x="320" y="396"/>
                    </a:lnTo>
                    <a:lnTo>
                      <a:pt x="304" y="396"/>
                    </a:lnTo>
                    <a:lnTo>
                      <a:pt x="293" y="401"/>
                    </a:lnTo>
                    <a:lnTo>
                      <a:pt x="277" y="401"/>
                    </a:lnTo>
                    <a:lnTo>
                      <a:pt x="261" y="401"/>
                    </a:lnTo>
                    <a:lnTo>
                      <a:pt x="240" y="406"/>
                    </a:lnTo>
                    <a:lnTo>
                      <a:pt x="229" y="406"/>
                    </a:lnTo>
                    <a:lnTo>
                      <a:pt x="208" y="401"/>
                    </a:lnTo>
                    <a:lnTo>
                      <a:pt x="187" y="401"/>
                    </a:lnTo>
                    <a:lnTo>
                      <a:pt x="166" y="401"/>
                    </a:lnTo>
                    <a:lnTo>
                      <a:pt x="150" y="401"/>
                    </a:lnTo>
                    <a:lnTo>
                      <a:pt x="107" y="401"/>
                    </a:lnTo>
                    <a:lnTo>
                      <a:pt x="75" y="396"/>
                    </a:lnTo>
                    <a:lnTo>
                      <a:pt x="54" y="390"/>
                    </a:lnTo>
                    <a:lnTo>
                      <a:pt x="43" y="385"/>
                    </a:lnTo>
                    <a:lnTo>
                      <a:pt x="32" y="379"/>
                    </a:lnTo>
                    <a:lnTo>
                      <a:pt x="27" y="374"/>
                    </a:lnTo>
                    <a:lnTo>
                      <a:pt x="16" y="369"/>
                    </a:lnTo>
                    <a:lnTo>
                      <a:pt x="11" y="358"/>
                    </a:lnTo>
                    <a:lnTo>
                      <a:pt x="6" y="353"/>
                    </a:lnTo>
                    <a:lnTo>
                      <a:pt x="0" y="347"/>
                    </a:lnTo>
                    <a:lnTo>
                      <a:pt x="6" y="347"/>
                    </a:lnTo>
                    <a:lnTo>
                      <a:pt x="22" y="342"/>
                    </a:lnTo>
                    <a:lnTo>
                      <a:pt x="22" y="326"/>
                    </a:lnTo>
                    <a:lnTo>
                      <a:pt x="27" y="321"/>
                    </a:lnTo>
                    <a:lnTo>
                      <a:pt x="22" y="299"/>
                    </a:lnTo>
                    <a:lnTo>
                      <a:pt x="27" y="267"/>
                    </a:lnTo>
                    <a:lnTo>
                      <a:pt x="27" y="241"/>
                    </a:lnTo>
                    <a:lnTo>
                      <a:pt x="27" y="219"/>
                    </a:lnTo>
                    <a:lnTo>
                      <a:pt x="22" y="177"/>
                    </a:lnTo>
                    <a:lnTo>
                      <a:pt x="27" y="139"/>
                    </a:lnTo>
                    <a:lnTo>
                      <a:pt x="27" y="102"/>
                    </a:lnTo>
                    <a:lnTo>
                      <a:pt x="27" y="86"/>
                    </a:lnTo>
                    <a:lnTo>
                      <a:pt x="27" y="75"/>
                    </a:lnTo>
                    <a:lnTo>
                      <a:pt x="27" y="59"/>
                    </a:lnTo>
                    <a:lnTo>
                      <a:pt x="27" y="38"/>
                    </a:lnTo>
                    <a:lnTo>
                      <a:pt x="32" y="27"/>
                    </a:lnTo>
                    <a:lnTo>
                      <a:pt x="48" y="22"/>
                    </a:lnTo>
                    <a:lnTo>
                      <a:pt x="64" y="16"/>
                    </a:lnTo>
                    <a:lnTo>
                      <a:pt x="70" y="11"/>
                    </a:lnTo>
                    <a:lnTo>
                      <a:pt x="86" y="11"/>
                    </a:lnTo>
                    <a:lnTo>
                      <a:pt x="91" y="11"/>
                    </a:lnTo>
                    <a:lnTo>
                      <a:pt x="96" y="11"/>
                    </a:lnTo>
                    <a:lnTo>
                      <a:pt x="112" y="16"/>
                    </a:lnTo>
                    <a:lnTo>
                      <a:pt x="134" y="11"/>
                    </a:lnTo>
                    <a:lnTo>
                      <a:pt x="160" y="6"/>
                    </a:lnTo>
                    <a:lnTo>
                      <a:pt x="182" y="0"/>
                    </a:lnTo>
                    <a:lnTo>
                      <a:pt x="208" y="6"/>
                    </a:lnTo>
                    <a:lnTo>
                      <a:pt x="213" y="11"/>
                    </a:lnTo>
                    <a:close/>
                  </a:path>
                </a:pathLst>
              </a:custGeom>
              <a:solidFill>
                <a:srgbClr val="F7D5A0"/>
              </a:solidFill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88" name="Freeform 4043"/>
              <p:cNvSpPr>
                <a:spLocks/>
              </p:cNvSpPr>
              <p:nvPr/>
            </p:nvSpPr>
            <p:spPr bwMode="auto">
              <a:xfrm>
                <a:off x="4084" y="2920"/>
                <a:ext cx="368" cy="342"/>
              </a:xfrm>
              <a:custGeom>
                <a:avLst/>
                <a:gdLst>
                  <a:gd name="T0" fmla="*/ 331 w 368"/>
                  <a:gd name="T1" fmla="*/ 11 h 342"/>
                  <a:gd name="T2" fmla="*/ 336 w 368"/>
                  <a:gd name="T3" fmla="*/ 43 h 342"/>
                  <a:gd name="T4" fmla="*/ 347 w 368"/>
                  <a:gd name="T5" fmla="*/ 86 h 342"/>
                  <a:gd name="T6" fmla="*/ 352 w 368"/>
                  <a:gd name="T7" fmla="*/ 129 h 342"/>
                  <a:gd name="T8" fmla="*/ 352 w 368"/>
                  <a:gd name="T9" fmla="*/ 145 h 342"/>
                  <a:gd name="T10" fmla="*/ 347 w 368"/>
                  <a:gd name="T11" fmla="*/ 182 h 342"/>
                  <a:gd name="T12" fmla="*/ 352 w 368"/>
                  <a:gd name="T13" fmla="*/ 241 h 342"/>
                  <a:gd name="T14" fmla="*/ 352 w 368"/>
                  <a:gd name="T15" fmla="*/ 283 h 342"/>
                  <a:gd name="T16" fmla="*/ 368 w 368"/>
                  <a:gd name="T17" fmla="*/ 315 h 342"/>
                  <a:gd name="T18" fmla="*/ 336 w 368"/>
                  <a:gd name="T19" fmla="*/ 326 h 342"/>
                  <a:gd name="T20" fmla="*/ 304 w 368"/>
                  <a:gd name="T21" fmla="*/ 332 h 342"/>
                  <a:gd name="T22" fmla="*/ 277 w 368"/>
                  <a:gd name="T23" fmla="*/ 337 h 342"/>
                  <a:gd name="T24" fmla="*/ 240 w 368"/>
                  <a:gd name="T25" fmla="*/ 342 h 342"/>
                  <a:gd name="T26" fmla="*/ 208 w 368"/>
                  <a:gd name="T27" fmla="*/ 337 h 342"/>
                  <a:gd name="T28" fmla="*/ 166 w 368"/>
                  <a:gd name="T29" fmla="*/ 337 h 342"/>
                  <a:gd name="T30" fmla="*/ 107 w 368"/>
                  <a:gd name="T31" fmla="*/ 337 h 342"/>
                  <a:gd name="T32" fmla="*/ 54 w 368"/>
                  <a:gd name="T33" fmla="*/ 326 h 342"/>
                  <a:gd name="T34" fmla="*/ 32 w 368"/>
                  <a:gd name="T35" fmla="*/ 315 h 342"/>
                  <a:gd name="T36" fmla="*/ 16 w 368"/>
                  <a:gd name="T37" fmla="*/ 305 h 342"/>
                  <a:gd name="T38" fmla="*/ 6 w 368"/>
                  <a:gd name="T39" fmla="*/ 289 h 342"/>
                  <a:gd name="T40" fmla="*/ 6 w 368"/>
                  <a:gd name="T41" fmla="*/ 283 h 342"/>
                  <a:gd name="T42" fmla="*/ 16 w 368"/>
                  <a:gd name="T43" fmla="*/ 278 h 342"/>
                  <a:gd name="T44" fmla="*/ 22 w 368"/>
                  <a:gd name="T45" fmla="*/ 289 h 342"/>
                  <a:gd name="T46" fmla="*/ 43 w 368"/>
                  <a:gd name="T47" fmla="*/ 299 h 342"/>
                  <a:gd name="T48" fmla="*/ 59 w 368"/>
                  <a:gd name="T49" fmla="*/ 315 h 342"/>
                  <a:gd name="T50" fmla="*/ 86 w 368"/>
                  <a:gd name="T51" fmla="*/ 321 h 342"/>
                  <a:gd name="T52" fmla="*/ 134 w 368"/>
                  <a:gd name="T53" fmla="*/ 321 h 342"/>
                  <a:gd name="T54" fmla="*/ 176 w 368"/>
                  <a:gd name="T55" fmla="*/ 299 h 342"/>
                  <a:gd name="T56" fmla="*/ 213 w 368"/>
                  <a:gd name="T57" fmla="*/ 305 h 342"/>
                  <a:gd name="T58" fmla="*/ 245 w 368"/>
                  <a:gd name="T59" fmla="*/ 321 h 342"/>
                  <a:gd name="T60" fmla="*/ 267 w 368"/>
                  <a:gd name="T61" fmla="*/ 321 h 342"/>
                  <a:gd name="T62" fmla="*/ 283 w 368"/>
                  <a:gd name="T63" fmla="*/ 294 h 342"/>
                  <a:gd name="T64" fmla="*/ 272 w 368"/>
                  <a:gd name="T65" fmla="*/ 273 h 342"/>
                  <a:gd name="T66" fmla="*/ 267 w 368"/>
                  <a:gd name="T67" fmla="*/ 257 h 342"/>
                  <a:gd name="T68" fmla="*/ 272 w 368"/>
                  <a:gd name="T69" fmla="*/ 241 h 342"/>
                  <a:gd name="T70" fmla="*/ 288 w 368"/>
                  <a:gd name="T71" fmla="*/ 230 h 342"/>
                  <a:gd name="T72" fmla="*/ 272 w 368"/>
                  <a:gd name="T73" fmla="*/ 219 h 342"/>
                  <a:gd name="T74" fmla="*/ 267 w 368"/>
                  <a:gd name="T75" fmla="*/ 214 h 342"/>
                  <a:gd name="T76" fmla="*/ 267 w 368"/>
                  <a:gd name="T77" fmla="*/ 193 h 342"/>
                  <a:gd name="T78" fmla="*/ 272 w 368"/>
                  <a:gd name="T79" fmla="*/ 166 h 342"/>
                  <a:gd name="T80" fmla="*/ 304 w 368"/>
                  <a:gd name="T81" fmla="*/ 145 h 342"/>
                  <a:gd name="T82" fmla="*/ 304 w 368"/>
                  <a:gd name="T83" fmla="*/ 134 h 342"/>
                  <a:gd name="T84" fmla="*/ 304 w 368"/>
                  <a:gd name="T85" fmla="*/ 123 h 342"/>
                  <a:gd name="T86" fmla="*/ 299 w 368"/>
                  <a:gd name="T87" fmla="*/ 102 h 342"/>
                  <a:gd name="T88" fmla="*/ 277 w 368"/>
                  <a:gd name="T89" fmla="*/ 80 h 342"/>
                  <a:gd name="T90" fmla="*/ 277 w 368"/>
                  <a:gd name="T91" fmla="*/ 59 h 342"/>
                  <a:gd name="T92" fmla="*/ 288 w 368"/>
                  <a:gd name="T93" fmla="*/ 43 h 342"/>
                  <a:gd name="T94" fmla="*/ 315 w 368"/>
                  <a:gd name="T95" fmla="*/ 38 h 342"/>
                  <a:gd name="T96" fmla="*/ 320 w 368"/>
                  <a:gd name="T97" fmla="*/ 16 h 342"/>
                  <a:gd name="T98" fmla="*/ 325 w 368"/>
                  <a:gd name="T99" fmla="*/ 0 h 34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68"/>
                  <a:gd name="T151" fmla="*/ 0 h 342"/>
                  <a:gd name="T152" fmla="*/ 368 w 368"/>
                  <a:gd name="T153" fmla="*/ 342 h 34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68" h="342">
                    <a:moveTo>
                      <a:pt x="325" y="0"/>
                    </a:moveTo>
                    <a:lnTo>
                      <a:pt x="331" y="11"/>
                    </a:lnTo>
                    <a:lnTo>
                      <a:pt x="336" y="27"/>
                    </a:lnTo>
                    <a:lnTo>
                      <a:pt x="336" y="43"/>
                    </a:lnTo>
                    <a:lnTo>
                      <a:pt x="341" y="64"/>
                    </a:lnTo>
                    <a:lnTo>
                      <a:pt x="347" y="86"/>
                    </a:lnTo>
                    <a:lnTo>
                      <a:pt x="352" y="118"/>
                    </a:lnTo>
                    <a:lnTo>
                      <a:pt x="352" y="129"/>
                    </a:lnTo>
                    <a:lnTo>
                      <a:pt x="352" y="139"/>
                    </a:lnTo>
                    <a:lnTo>
                      <a:pt x="352" y="145"/>
                    </a:lnTo>
                    <a:lnTo>
                      <a:pt x="352" y="155"/>
                    </a:lnTo>
                    <a:lnTo>
                      <a:pt x="347" y="182"/>
                    </a:lnTo>
                    <a:lnTo>
                      <a:pt x="347" y="209"/>
                    </a:lnTo>
                    <a:lnTo>
                      <a:pt x="352" y="241"/>
                    </a:lnTo>
                    <a:lnTo>
                      <a:pt x="352" y="267"/>
                    </a:lnTo>
                    <a:lnTo>
                      <a:pt x="352" y="283"/>
                    </a:lnTo>
                    <a:lnTo>
                      <a:pt x="368" y="299"/>
                    </a:lnTo>
                    <a:lnTo>
                      <a:pt x="368" y="315"/>
                    </a:lnTo>
                    <a:lnTo>
                      <a:pt x="352" y="315"/>
                    </a:lnTo>
                    <a:lnTo>
                      <a:pt x="336" y="326"/>
                    </a:lnTo>
                    <a:lnTo>
                      <a:pt x="320" y="332"/>
                    </a:lnTo>
                    <a:lnTo>
                      <a:pt x="304" y="332"/>
                    </a:lnTo>
                    <a:lnTo>
                      <a:pt x="293" y="337"/>
                    </a:lnTo>
                    <a:lnTo>
                      <a:pt x="277" y="337"/>
                    </a:lnTo>
                    <a:lnTo>
                      <a:pt x="261" y="337"/>
                    </a:lnTo>
                    <a:lnTo>
                      <a:pt x="240" y="342"/>
                    </a:lnTo>
                    <a:lnTo>
                      <a:pt x="229" y="342"/>
                    </a:lnTo>
                    <a:lnTo>
                      <a:pt x="208" y="337"/>
                    </a:lnTo>
                    <a:lnTo>
                      <a:pt x="187" y="337"/>
                    </a:lnTo>
                    <a:lnTo>
                      <a:pt x="166" y="337"/>
                    </a:lnTo>
                    <a:lnTo>
                      <a:pt x="150" y="337"/>
                    </a:lnTo>
                    <a:lnTo>
                      <a:pt x="107" y="337"/>
                    </a:lnTo>
                    <a:lnTo>
                      <a:pt x="75" y="332"/>
                    </a:lnTo>
                    <a:lnTo>
                      <a:pt x="54" y="326"/>
                    </a:lnTo>
                    <a:lnTo>
                      <a:pt x="43" y="321"/>
                    </a:lnTo>
                    <a:lnTo>
                      <a:pt x="32" y="315"/>
                    </a:lnTo>
                    <a:lnTo>
                      <a:pt x="27" y="310"/>
                    </a:lnTo>
                    <a:lnTo>
                      <a:pt x="16" y="305"/>
                    </a:lnTo>
                    <a:lnTo>
                      <a:pt x="11" y="294"/>
                    </a:lnTo>
                    <a:lnTo>
                      <a:pt x="6" y="289"/>
                    </a:lnTo>
                    <a:lnTo>
                      <a:pt x="0" y="283"/>
                    </a:lnTo>
                    <a:lnTo>
                      <a:pt x="6" y="283"/>
                    </a:lnTo>
                    <a:lnTo>
                      <a:pt x="22" y="278"/>
                    </a:lnTo>
                    <a:lnTo>
                      <a:pt x="16" y="278"/>
                    </a:lnTo>
                    <a:lnTo>
                      <a:pt x="16" y="283"/>
                    </a:lnTo>
                    <a:lnTo>
                      <a:pt x="22" y="289"/>
                    </a:lnTo>
                    <a:lnTo>
                      <a:pt x="32" y="299"/>
                    </a:lnTo>
                    <a:lnTo>
                      <a:pt x="43" y="299"/>
                    </a:lnTo>
                    <a:lnTo>
                      <a:pt x="54" y="305"/>
                    </a:lnTo>
                    <a:lnTo>
                      <a:pt x="59" y="315"/>
                    </a:lnTo>
                    <a:lnTo>
                      <a:pt x="75" y="321"/>
                    </a:lnTo>
                    <a:lnTo>
                      <a:pt x="86" y="321"/>
                    </a:lnTo>
                    <a:lnTo>
                      <a:pt x="107" y="326"/>
                    </a:lnTo>
                    <a:lnTo>
                      <a:pt x="134" y="321"/>
                    </a:lnTo>
                    <a:lnTo>
                      <a:pt x="155" y="310"/>
                    </a:lnTo>
                    <a:lnTo>
                      <a:pt x="176" y="299"/>
                    </a:lnTo>
                    <a:lnTo>
                      <a:pt x="192" y="299"/>
                    </a:lnTo>
                    <a:lnTo>
                      <a:pt x="213" y="305"/>
                    </a:lnTo>
                    <a:lnTo>
                      <a:pt x="235" y="321"/>
                    </a:lnTo>
                    <a:lnTo>
                      <a:pt x="245" y="321"/>
                    </a:lnTo>
                    <a:lnTo>
                      <a:pt x="256" y="321"/>
                    </a:lnTo>
                    <a:lnTo>
                      <a:pt x="267" y="321"/>
                    </a:lnTo>
                    <a:lnTo>
                      <a:pt x="288" y="315"/>
                    </a:lnTo>
                    <a:lnTo>
                      <a:pt x="283" y="294"/>
                    </a:lnTo>
                    <a:lnTo>
                      <a:pt x="277" y="283"/>
                    </a:lnTo>
                    <a:lnTo>
                      <a:pt x="272" y="273"/>
                    </a:lnTo>
                    <a:lnTo>
                      <a:pt x="267" y="267"/>
                    </a:lnTo>
                    <a:lnTo>
                      <a:pt x="267" y="257"/>
                    </a:lnTo>
                    <a:lnTo>
                      <a:pt x="267" y="246"/>
                    </a:lnTo>
                    <a:lnTo>
                      <a:pt x="272" y="241"/>
                    </a:lnTo>
                    <a:lnTo>
                      <a:pt x="277" y="235"/>
                    </a:lnTo>
                    <a:lnTo>
                      <a:pt x="288" y="230"/>
                    </a:lnTo>
                    <a:lnTo>
                      <a:pt x="277" y="225"/>
                    </a:lnTo>
                    <a:lnTo>
                      <a:pt x="272" y="219"/>
                    </a:lnTo>
                    <a:lnTo>
                      <a:pt x="267" y="214"/>
                    </a:lnTo>
                    <a:lnTo>
                      <a:pt x="261" y="198"/>
                    </a:lnTo>
                    <a:lnTo>
                      <a:pt x="267" y="193"/>
                    </a:lnTo>
                    <a:lnTo>
                      <a:pt x="272" y="182"/>
                    </a:lnTo>
                    <a:lnTo>
                      <a:pt x="272" y="166"/>
                    </a:lnTo>
                    <a:lnTo>
                      <a:pt x="277" y="155"/>
                    </a:lnTo>
                    <a:lnTo>
                      <a:pt x="304" y="145"/>
                    </a:lnTo>
                    <a:lnTo>
                      <a:pt x="304" y="134"/>
                    </a:lnTo>
                    <a:lnTo>
                      <a:pt x="304" y="129"/>
                    </a:lnTo>
                    <a:lnTo>
                      <a:pt x="304" y="123"/>
                    </a:lnTo>
                    <a:lnTo>
                      <a:pt x="304" y="113"/>
                    </a:lnTo>
                    <a:lnTo>
                      <a:pt x="299" y="102"/>
                    </a:lnTo>
                    <a:lnTo>
                      <a:pt x="283" y="91"/>
                    </a:lnTo>
                    <a:lnTo>
                      <a:pt x="277" y="80"/>
                    </a:lnTo>
                    <a:lnTo>
                      <a:pt x="277" y="70"/>
                    </a:lnTo>
                    <a:lnTo>
                      <a:pt x="277" y="59"/>
                    </a:lnTo>
                    <a:lnTo>
                      <a:pt x="272" y="43"/>
                    </a:lnTo>
                    <a:lnTo>
                      <a:pt x="288" y="43"/>
                    </a:lnTo>
                    <a:lnTo>
                      <a:pt x="299" y="43"/>
                    </a:lnTo>
                    <a:lnTo>
                      <a:pt x="315" y="38"/>
                    </a:lnTo>
                    <a:lnTo>
                      <a:pt x="320" y="27"/>
                    </a:lnTo>
                    <a:lnTo>
                      <a:pt x="320" y="16"/>
                    </a:lnTo>
                    <a:lnTo>
                      <a:pt x="320" y="6"/>
                    </a:lnTo>
                    <a:lnTo>
                      <a:pt x="325" y="0"/>
                    </a:lnTo>
                    <a:close/>
                  </a:path>
                </a:pathLst>
              </a:custGeom>
              <a:solidFill>
                <a:srgbClr val="D8C19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89" name="Freeform 4044"/>
              <p:cNvSpPr>
                <a:spLocks noEditPoints="1"/>
              </p:cNvSpPr>
              <p:nvPr/>
            </p:nvSpPr>
            <p:spPr bwMode="auto">
              <a:xfrm>
                <a:off x="4106" y="2920"/>
                <a:ext cx="346" cy="315"/>
              </a:xfrm>
              <a:custGeom>
                <a:avLst/>
                <a:gdLst>
                  <a:gd name="T0" fmla="*/ 335 w 346"/>
                  <a:gd name="T1" fmla="*/ 310 h 315"/>
                  <a:gd name="T2" fmla="*/ 335 w 346"/>
                  <a:gd name="T3" fmla="*/ 299 h 315"/>
                  <a:gd name="T4" fmla="*/ 325 w 346"/>
                  <a:gd name="T5" fmla="*/ 294 h 315"/>
                  <a:gd name="T6" fmla="*/ 325 w 346"/>
                  <a:gd name="T7" fmla="*/ 278 h 315"/>
                  <a:gd name="T8" fmla="*/ 319 w 346"/>
                  <a:gd name="T9" fmla="*/ 230 h 315"/>
                  <a:gd name="T10" fmla="*/ 319 w 346"/>
                  <a:gd name="T11" fmla="*/ 187 h 315"/>
                  <a:gd name="T12" fmla="*/ 319 w 346"/>
                  <a:gd name="T13" fmla="*/ 150 h 315"/>
                  <a:gd name="T14" fmla="*/ 325 w 346"/>
                  <a:gd name="T15" fmla="*/ 102 h 315"/>
                  <a:gd name="T16" fmla="*/ 319 w 346"/>
                  <a:gd name="T17" fmla="*/ 64 h 315"/>
                  <a:gd name="T18" fmla="*/ 314 w 346"/>
                  <a:gd name="T19" fmla="*/ 43 h 315"/>
                  <a:gd name="T20" fmla="*/ 298 w 346"/>
                  <a:gd name="T21" fmla="*/ 11 h 315"/>
                  <a:gd name="T22" fmla="*/ 303 w 346"/>
                  <a:gd name="T23" fmla="*/ 0 h 315"/>
                  <a:gd name="T24" fmla="*/ 314 w 346"/>
                  <a:gd name="T25" fmla="*/ 27 h 315"/>
                  <a:gd name="T26" fmla="*/ 319 w 346"/>
                  <a:gd name="T27" fmla="*/ 64 h 315"/>
                  <a:gd name="T28" fmla="*/ 330 w 346"/>
                  <a:gd name="T29" fmla="*/ 118 h 315"/>
                  <a:gd name="T30" fmla="*/ 330 w 346"/>
                  <a:gd name="T31" fmla="*/ 139 h 315"/>
                  <a:gd name="T32" fmla="*/ 330 w 346"/>
                  <a:gd name="T33" fmla="*/ 155 h 315"/>
                  <a:gd name="T34" fmla="*/ 325 w 346"/>
                  <a:gd name="T35" fmla="*/ 209 h 315"/>
                  <a:gd name="T36" fmla="*/ 330 w 346"/>
                  <a:gd name="T37" fmla="*/ 267 h 315"/>
                  <a:gd name="T38" fmla="*/ 346 w 346"/>
                  <a:gd name="T39" fmla="*/ 299 h 315"/>
                  <a:gd name="T40" fmla="*/ 330 w 346"/>
                  <a:gd name="T41" fmla="*/ 315 h 315"/>
                  <a:gd name="T42" fmla="*/ 0 w 346"/>
                  <a:gd name="T43" fmla="*/ 262 h 315"/>
                  <a:gd name="T44" fmla="*/ 5 w 346"/>
                  <a:gd name="T45" fmla="*/ 241 h 315"/>
                  <a:gd name="T46" fmla="*/ 5 w 346"/>
                  <a:gd name="T47" fmla="*/ 225 h 315"/>
                  <a:gd name="T48" fmla="*/ 5 w 346"/>
                  <a:gd name="T49" fmla="*/ 198 h 315"/>
                  <a:gd name="T50" fmla="*/ 5 w 346"/>
                  <a:gd name="T51" fmla="*/ 150 h 315"/>
                  <a:gd name="T52" fmla="*/ 5 w 346"/>
                  <a:gd name="T53" fmla="*/ 91 h 315"/>
                  <a:gd name="T54" fmla="*/ 10 w 346"/>
                  <a:gd name="T55" fmla="*/ 27 h 315"/>
                  <a:gd name="T56" fmla="*/ 16 w 346"/>
                  <a:gd name="T57" fmla="*/ 11 h 315"/>
                  <a:gd name="T58" fmla="*/ 10 w 346"/>
                  <a:gd name="T59" fmla="*/ 16 h 315"/>
                  <a:gd name="T60" fmla="*/ 5 w 346"/>
                  <a:gd name="T61" fmla="*/ 27 h 315"/>
                  <a:gd name="T62" fmla="*/ 5 w 346"/>
                  <a:gd name="T63" fmla="*/ 75 h 315"/>
                  <a:gd name="T64" fmla="*/ 5 w 346"/>
                  <a:gd name="T65" fmla="*/ 155 h 315"/>
                  <a:gd name="T66" fmla="*/ 5 w 346"/>
                  <a:gd name="T67" fmla="*/ 203 h 315"/>
                  <a:gd name="T68" fmla="*/ 5 w 346"/>
                  <a:gd name="T69" fmla="*/ 257 h 315"/>
                  <a:gd name="T70" fmla="*/ 0 w 346"/>
                  <a:gd name="T71" fmla="*/ 278 h 31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346"/>
                  <a:gd name="T109" fmla="*/ 0 h 315"/>
                  <a:gd name="T110" fmla="*/ 346 w 346"/>
                  <a:gd name="T111" fmla="*/ 315 h 315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346" h="315">
                    <a:moveTo>
                      <a:pt x="330" y="315"/>
                    </a:moveTo>
                    <a:lnTo>
                      <a:pt x="335" y="310"/>
                    </a:lnTo>
                    <a:lnTo>
                      <a:pt x="341" y="310"/>
                    </a:lnTo>
                    <a:lnTo>
                      <a:pt x="335" y="299"/>
                    </a:lnTo>
                    <a:lnTo>
                      <a:pt x="330" y="299"/>
                    </a:lnTo>
                    <a:lnTo>
                      <a:pt x="325" y="294"/>
                    </a:lnTo>
                    <a:lnTo>
                      <a:pt x="325" y="289"/>
                    </a:lnTo>
                    <a:lnTo>
                      <a:pt x="325" y="278"/>
                    </a:lnTo>
                    <a:lnTo>
                      <a:pt x="325" y="257"/>
                    </a:lnTo>
                    <a:lnTo>
                      <a:pt x="319" y="230"/>
                    </a:lnTo>
                    <a:lnTo>
                      <a:pt x="314" y="209"/>
                    </a:lnTo>
                    <a:lnTo>
                      <a:pt x="319" y="187"/>
                    </a:lnTo>
                    <a:lnTo>
                      <a:pt x="319" y="171"/>
                    </a:lnTo>
                    <a:lnTo>
                      <a:pt x="319" y="150"/>
                    </a:lnTo>
                    <a:lnTo>
                      <a:pt x="325" y="118"/>
                    </a:lnTo>
                    <a:lnTo>
                      <a:pt x="325" y="102"/>
                    </a:lnTo>
                    <a:lnTo>
                      <a:pt x="319" y="86"/>
                    </a:lnTo>
                    <a:lnTo>
                      <a:pt x="319" y="64"/>
                    </a:lnTo>
                    <a:lnTo>
                      <a:pt x="319" y="54"/>
                    </a:lnTo>
                    <a:lnTo>
                      <a:pt x="314" y="43"/>
                    </a:lnTo>
                    <a:lnTo>
                      <a:pt x="309" y="32"/>
                    </a:lnTo>
                    <a:lnTo>
                      <a:pt x="298" y="11"/>
                    </a:lnTo>
                    <a:lnTo>
                      <a:pt x="298" y="6"/>
                    </a:lnTo>
                    <a:lnTo>
                      <a:pt x="303" y="0"/>
                    </a:lnTo>
                    <a:lnTo>
                      <a:pt x="309" y="11"/>
                    </a:lnTo>
                    <a:lnTo>
                      <a:pt x="314" y="27"/>
                    </a:lnTo>
                    <a:lnTo>
                      <a:pt x="314" y="43"/>
                    </a:lnTo>
                    <a:lnTo>
                      <a:pt x="319" y="64"/>
                    </a:lnTo>
                    <a:lnTo>
                      <a:pt x="325" y="86"/>
                    </a:lnTo>
                    <a:lnTo>
                      <a:pt x="330" y="118"/>
                    </a:lnTo>
                    <a:lnTo>
                      <a:pt x="330" y="129"/>
                    </a:lnTo>
                    <a:lnTo>
                      <a:pt x="330" y="139"/>
                    </a:lnTo>
                    <a:lnTo>
                      <a:pt x="330" y="145"/>
                    </a:lnTo>
                    <a:lnTo>
                      <a:pt x="330" y="155"/>
                    </a:lnTo>
                    <a:lnTo>
                      <a:pt x="325" y="182"/>
                    </a:lnTo>
                    <a:lnTo>
                      <a:pt x="325" y="209"/>
                    </a:lnTo>
                    <a:lnTo>
                      <a:pt x="330" y="241"/>
                    </a:lnTo>
                    <a:lnTo>
                      <a:pt x="330" y="267"/>
                    </a:lnTo>
                    <a:lnTo>
                      <a:pt x="330" y="283"/>
                    </a:lnTo>
                    <a:lnTo>
                      <a:pt x="346" y="299"/>
                    </a:lnTo>
                    <a:lnTo>
                      <a:pt x="346" y="315"/>
                    </a:lnTo>
                    <a:lnTo>
                      <a:pt x="330" y="315"/>
                    </a:lnTo>
                    <a:close/>
                    <a:moveTo>
                      <a:pt x="0" y="278"/>
                    </a:moveTo>
                    <a:lnTo>
                      <a:pt x="0" y="262"/>
                    </a:lnTo>
                    <a:lnTo>
                      <a:pt x="10" y="251"/>
                    </a:lnTo>
                    <a:lnTo>
                      <a:pt x="5" y="241"/>
                    </a:lnTo>
                    <a:lnTo>
                      <a:pt x="5" y="235"/>
                    </a:lnTo>
                    <a:lnTo>
                      <a:pt x="5" y="225"/>
                    </a:lnTo>
                    <a:lnTo>
                      <a:pt x="5" y="219"/>
                    </a:lnTo>
                    <a:lnTo>
                      <a:pt x="5" y="198"/>
                    </a:lnTo>
                    <a:lnTo>
                      <a:pt x="5" y="177"/>
                    </a:lnTo>
                    <a:lnTo>
                      <a:pt x="5" y="150"/>
                    </a:lnTo>
                    <a:lnTo>
                      <a:pt x="5" y="134"/>
                    </a:lnTo>
                    <a:lnTo>
                      <a:pt x="5" y="91"/>
                    </a:lnTo>
                    <a:lnTo>
                      <a:pt x="5" y="48"/>
                    </a:lnTo>
                    <a:lnTo>
                      <a:pt x="10" y="27"/>
                    </a:lnTo>
                    <a:lnTo>
                      <a:pt x="21" y="11"/>
                    </a:lnTo>
                    <a:lnTo>
                      <a:pt x="16" y="11"/>
                    </a:lnTo>
                    <a:lnTo>
                      <a:pt x="16" y="16"/>
                    </a:lnTo>
                    <a:lnTo>
                      <a:pt x="10" y="16"/>
                    </a:lnTo>
                    <a:lnTo>
                      <a:pt x="10" y="22"/>
                    </a:lnTo>
                    <a:lnTo>
                      <a:pt x="5" y="27"/>
                    </a:lnTo>
                    <a:lnTo>
                      <a:pt x="5" y="38"/>
                    </a:lnTo>
                    <a:lnTo>
                      <a:pt x="5" y="75"/>
                    </a:lnTo>
                    <a:lnTo>
                      <a:pt x="0" y="113"/>
                    </a:lnTo>
                    <a:lnTo>
                      <a:pt x="5" y="155"/>
                    </a:lnTo>
                    <a:lnTo>
                      <a:pt x="5" y="177"/>
                    </a:lnTo>
                    <a:lnTo>
                      <a:pt x="5" y="203"/>
                    </a:lnTo>
                    <a:lnTo>
                      <a:pt x="0" y="235"/>
                    </a:lnTo>
                    <a:lnTo>
                      <a:pt x="5" y="257"/>
                    </a:lnTo>
                    <a:lnTo>
                      <a:pt x="0" y="262"/>
                    </a:lnTo>
                    <a:lnTo>
                      <a:pt x="0" y="278"/>
                    </a:lnTo>
                    <a:close/>
                  </a:path>
                </a:pathLst>
              </a:custGeom>
              <a:solidFill>
                <a:srgbClr val="BCA68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90" name="Freeform 4045"/>
              <p:cNvSpPr>
                <a:spLocks noEditPoints="1"/>
              </p:cNvSpPr>
              <p:nvPr/>
            </p:nvSpPr>
            <p:spPr bwMode="auto">
              <a:xfrm>
                <a:off x="4116" y="2867"/>
                <a:ext cx="288" cy="69"/>
              </a:xfrm>
              <a:custGeom>
                <a:avLst/>
                <a:gdLst>
                  <a:gd name="T0" fmla="*/ 240 w 288"/>
                  <a:gd name="T1" fmla="*/ 32 h 69"/>
                  <a:gd name="T2" fmla="*/ 245 w 288"/>
                  <a:gd name="T3" fmla="*/ 27 h 69"/>
                  <a:gd name="T4" fmla="*/ 256 w 288"/>
                  <a:gd name="T5" fmla="*/ 21 h 69"/>
                  <a:gd name="T6" fmla="*/ 283 w 288"/>
                  <a:gd name="T7" fmla="*/ 27 h 69"/>
                  <a:gd name="T8" fmla="*/ 283 w 288"/>
                  <a:gd name="T9" fmla="*/ 21 h 69"/>
                  <a:gd name="T10" fmla="*/ 288 w 288"/>
                  <a:gd name="T11" fmla="*/ 21 h 69"/>
                  <a:gd name="T12" fmla="*/ 288 w 288"/>
                  <a:gd name="T13" fmla="*/ 27 h 69"/>
                  <a:gd name="T14" fmla="*/ 283 w 288"/>
                  <a:gd name="T15" fmla="*/ 37 h 69"/>
                  <a:gd name="T16" fmla="*/ 277 w 288"/>
                  <a:gd name="T17" fmla="*/ 48 h 69"/>
                  <a:gd name="T18" fmla="*/ 272 w 288"/>
                  <a:gd name="T19" fmla="*/ 64 h 69"/>
                  <a:gd name="T20" fmla="*/ 240 w 288"/>
                  <a:gd name="T21" fmla="*/ 64 h 69"/>
                  <a:gd name="T22" fmla="*/ 235 w 288"/>
                  <a:gd name="T23" fmla="*/ 64 h 69"/>
                  <a:gd name="T24" fmla="*/ 229 w 288"/>
                  <a:gd name="T25" fmla="*/ 69 h 69"/>
                  <a:gd name="T26" fmla="*/ 229 w 288"/>
                  <a:gd name="T27" fmla="*/ 59 h 69"/>
                  <a:gd name="T28" fmla="*/ 240 w 288"/>
                  <a:gd name="T29" fmla="*/ 53 h 69"/>
                  <a:gd name="T30" fmla="*/ 256 w 288"/>
                  <a:gd name="T31" fmla="*/ 43 h 69"/>
                  <a:gd name="T32" fmla="*/ 267 w 288"/>
                  <a:gd name="T33" fmla="*/ 37 h 69"/>
                  <a:gd name="T34" fmla="*/ 261 w 288"/>
                  <a:gd name="T35" fmla="*/ 32 h 69"/>
                  <a:gd name="T36" fmla="*/ 251 w 288"/>
                  <a:gd name="T37" fmla="*/ 32 h 69"/>
                  <a:gd name="T38" fmla="*/ 240 w 288"/>
                  <a:gd name="T39" fmla="*/ 32 h 69"/>
                  <a:gd name="T40" fmla="*/ 240 w 288"/>
                  <a:gd name="T41" fmla="*/ 32 h 69"/>
                  <a:gd name="T42" fmla="*/ 80 w 288"/>
                  <a:gd name="T43" fmla="*/ 5 h 69"/>
                  <a:gd name="T44" fmla="*/ 64 w 288"/>
                  <a:gd name="T45" fmla="*/ 0 h 69"/>
                  <a:gd name="T46" fmla="*/ 59 w 288"/>
                  <a:gd name="T47" fmla="*/ 0 h 69"/>
                  <a:gd name="T48" fmla="*/ 48 w 288"/>
                  <a:gd name="T49" fmla="*/ 0 h 69"/>
                  <a:gd name="T50" fmla="*/ 38 w 288"/>
                  <a:gd name="T51" fmla="*/ 0 h 69"/>
                  <a:gd name="T52" fmla="*/ 32 w 288"/>
                  <a:gd name="T53" fmla="*/ 5 h 69"/>
                  <a:gd name="T54" fmla="*/ 16 w 288"/>
                  <a:gd name="T55" fmla="*/ 11 h 69"/>
                  <a:gd name="T56" fmla="*/ 0 w 288"/>
                  <a:gd name="T57" fmla="*/ 16 h 69"/>
                  <a:gd name="T58" fmla="*/ 16 w 288"/>
                  <a:gd name="T59" fmla="*/ 16 h 69"/>
                  <a:gd name="T60" fmla="*/ 22 w 288"/>
                  <a:gd name="T61" fmla="*/ 16 h 69"/>
                  <a:gd name="T62" fmla="*/ 27 w 288"/>
                  <a:gd name="T63" fmla="*/ 27 h 69"/>
                  <a:gd name="T64" fmla="*/ 38 w 288"/>
                  <a:gd name="T65" fmla="*/ 16 h 69"/>
                  <a:gd name="T66" fmla="*/ 54 w 288"/>
                  <a:gd name="T67" fmla="*/ 16 h 69"/>
                  <a:gd name="T68" fmla="*/ 54 w 288"/>
                  <a:gd name="T69" fmla="*/ 11 h 69"/>
                  <a:gd name="T70" fmla="*/ 59 w 288"/>
                  <a:gd name="T71" fmla="*/ 11 h 69"/>
                  <a:gd name="T72" fmla="*/ 59 w 288"/>
                  <a:gd name="T73" fmla="*/ 5 h 69"/>
                  <a:gd name="T74" fmla="*/ 80 w 288"/>
                  <a:gd name="T75" fmla="*/ 5 h 69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288"/>
                  <a:gd name="T115" fmla="*/ 0 h 69"/>
                  <a:gd name="T116" fmla="*/ 288 w 288"/>
                  <a:gd name="T117" fmla="*/ 69 h 69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288" h="69">
                    <a:moveTo>
                      <a:pt x="240" y="32"/>
                    </a:moveTo>
                    <a:lnTo>
                      <a:pt x="245" y="27"/>
                    </a:lnTo>
                    <a:lnTo>
                      <a:pt x="256" y="21"/>
                    </a:lnTo>
                    <a:lnTo>
                      <a:pt x="283" y="27"/>
                    </a:lnTo>
                    <a:lnTo>
                      <a:pt x="283" y="21"/>
                    </a:lnTo>
                    <a:lnTo>
                      <a:pt x="288" y="21"/>
                    </a:lnTo>
                    <a:lnTo>
                      <a:pt x="288" y="27"/>
                    </a:lnTo>
                    <a:lnTo>
                      <a:pt x="283" y="37"/>
                    </a:lnTo>
                    <a:lnTo>
                      <a:pt x="277" y="48"/>
                    </a:lnTo>
                    <a:lnTo>
                      <a:pt x="272" y="64"/>
                    </a:lnTo>
                    <a:lnTo>
                      <a:pt x="240" y="64"/>
                    </a:lnTo>
                    <a:lnTo>
                      <a:pt x="235" y="64"/>
                    </a:lnTo>
                    <a:lnTo>
                      <a:pt x="229" y="69"/>
                    </a:lnTo>
                    <a:lnTo>
                      <a:pt x="229" y="59"/>
                    </a:lnTo>
                    <a:lnTo>
                      <a:pt x="240" y="53"/>
                    </a:lnTo>
                    <a:lnTo>
                      <a:pt x="256" y="43"/>
                    </a:lnTo>
                    <a:lnTo>
                      <a:pt x="267" y="37"/>
                    </a:lnTo>
                    <a:lnTo>
                      <a:pt x="261" y="32"/>
                    </a:lnTo>
                    <a:lnTo>
                      <a:pt x="251" y="32"/>
                    </a:lnTo>
                    <a:lnTo>
                      <a:pt x="240" y="32"/>
                    </a:lnTo>
                    <a:close/>
                    <a:moveTo>
                      <a:pt x="80" y="5"/>
                    </a:moveTo>
                    <a:lnTo>
                      <a:pt x="64" y="0"/>
                    </a:lnTo>
                    <a:lnTo>
                      <a:pt x="59" y="0"/>
                    </a:lnTo>
                    <a:lnTo>
                      <a:pt x="48" y="0"/>
                    </a:lnTo>
                    <a:lnTo>
                      <a:pt x="38" y="0"/>
                    </a:lnTo>
                    <a:lnTo>
                      <a:pt x="32" y="5"/>
                    </a:lnTo>
                    <a:lnTo>
                      <a:pt x="16" y="11"/>
                    </a:lnTo>
                    <a:lnTo>
                      <a:pt x="0" y="16"/>
                    </a:lnTo>
                    <a:lnTo>
                      <a:pt x="16" y="16"/>
                    </a:lnTo>
                    <a:lnTo>
                      <a:pt x="22" y="16"/>
                    </a:lnTo>
                    <a:lnTo>
                      <a:pt x="27" y="27"/>
                    </a:lnTo>
                    <a:lnTo>
                      <a:pt x="38" y="16"/>
                    </a:lnTo>
                    <a:lnTo>
                      <a:pt x="54" y="16"/>
                    </a:lnTo>
                    <a:lnTo>
                      <a:pt x="54" y="11"/>
                    </a:lnTo>
                    <a:lnTo>
                      <a:pt x="59" y="11"/>
                    </a:lnTo>
                    <a:lnTo>
                      <a:pt x="59" y="5"/>
                    </a:lnTo>
                    <a:lnTo>
                      <a:pt x="80" y="5"/>
                    </a:lnTo>
                    <a:close/>
                  </a:path>
                </a:pathLst>
              </a:custGeom>
              <a:solidFill>
                <a:srgbClr val="D8C19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91" name="Freeform 4046"/>
              <p:cNvSpPr>
                <a:spLocks/>
              </p:cNvSpPr>
              <p:nvPr/>
            </p:nvSpPr>
            <p:spPr bwMode="auto">
              <a:xfrm>
                <a:off x="4297" y="2856"/>
                <a:ext cx="96" cy="32"/>
              </a:xfrm>
              <a:custGeom>
                <a:avLst/>
                <a:gdLst>
                  <a:gd name="T0" fmla="*/ 91 w 96"/>
                  <a:gd name="T1" fmla="*/ 32 h 32"/>
                  <a:gd name="T2" fmla="*/ 75 w 96"/>
                  <a:gd name="T3" fmla="*/ 27 h 32"/>
                  <a:gd name="T4" fmla="*/ 70 w 96"/>
                  <a:gd name="T5" fmla="*/ 22 h 32"/>
                  <a:gd name="T6" fmla="*/ 54 w 96"/>
                  <a:gd name="T7" fmla="*/ 16 h 32"/>
                  <a:gd name="T8" fmla="*/ 38 w 96"/>
                  <a:gd name="T9" fmla="*/ 11 h 32"/>
                  <a:gd name="T10" fmla="*/ 22 w 96"/>
                  <a:gd name="T11" fmla="*/ 6 h 32"/>
                  <a:gd name="T12" fmla="*/ 16 w 96"/>
                  <a:gd name="T13" fmla="*/ 6 h 32"/>
                  <a:gd name="T14" fmla="*/ 6 w 96"/>
                  <a:gd name="T15" fmla="*/ 0 h 32"/>
                  <a:gd name="T16" fmla="*/ 0 w 96"/>
                  <a:gd name="T17" fmla="*/ 11 h 32"/>
                  <a:gd name="T18" fmla="*/ 11 w 96"/>
                  <a:gd name="T19" fmla="*/ 0 h 32"/>
                  <a:gd name="T20" fmla="*/ 27 w 96"/>
                  <a:gd name="T21" fmla="*/ 0 h 32"/>
                  <a:gd name="T22" fmla="*/ 43 w 96"/>
                  <a:gd name="T23" fmla="*/ 6 h 32"/>
                  <a:gd name="T24" fmla="*/ 59 w 96"/>
                  <a:gd name="T25" fmla="*/ 11 h 32"/>
                  <a:gd name="T26" fmla="*/ 75 w 96"/>
                  <a:gd name="T27" fmla="*/ 6 h 32"/>
                  <a:gd name="T28" fmla="*/ 96 w 96"/>
                  <a:gd name="T29" fmla="*/ 11 h 32"/>
                  <a:gd name="T30" fmla="*/ 86 w 96"/>
                  <a:gd name="T31" fmla="*/ 11 h 32"/>
                  <a:gd name="T32" fmla="*/ 80 w 96"/>
                  <a:gd name="T33" fmla="*/ 16 h 32"/>
                  <a:gd name="T34" fmla="*/ 86 w 96"/>
                  <a:gd name="T35" fmla="*/ 16 h 32"/>
                  <a:gd name="T36" fmla="*/ 96 w 96"/>
                  <a:gd name="T37" fmla="*/ 27 h 32"/>
                  <a:gd name="T38" fmla="*/ 91 w 96"/>
                  <a:gd name="T39" fmla="*/ 27 h 32"/>
                  <a:gd name="T40" fmla="*/ 91 w 96"/>
                  <a:gd name="T41" fmla="*/ 32 h 32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96"/>
                  <a:gd name="T64" fmla="*/ 0 h 32"/>
                  <a:gd name="T65" fmla="*/ 96 w 96"/>
                  <a:gd name="T66" fmla="*/ 32 h 32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96" h="32">
                    <a:moveTo>
                      <a:pt x="91" y="32"/>
                    </a:moveTo>
                    <a:lnTo>
                      <a:pt x="75" y="27"/>
                    </a:lnTo>
                    <a:lnTo>
                      <a:pt x="70" y="22"/>
                    </a:lnTo>
                    <a:lnTo>
                      <a:pt x="54" y="16"/>
                    </a:lnTo>
                    <a:lnTo>
                      <a:pt x="38" y="11"/>
                    </a:lnTo>
                    <a:lnTo>
                      <a:pt x="22" y="6"/>
                    </a:lnTo>
                    <a:lnTo>
                      <a:pt x="16" y="6"/>
                    </a:lnTo>
                    <a:lnTo>
                      <a:pt x="6" y="0"/>
                    </a:lnTo>
                    <a:lnTo>
                      <a:pt x="0" y="11"/>
                    </a:lnTo>
                    <a:lnTo>
                      <a:pt x="11" y="0"/>
                    </a:lnTo>
                    <a:lnTo>
                      <a:pt x="27" y="0"/>
                    </a:lnTo>
                    <a:lnTo>
                      <a:pt x="43" y="6"/>
                    </a:lnTo>
                    <a:lnTo>
                      <a:pt x="59" y="11"/>
                    </a:lnTo>
                    <a:lnTo>
                      <a:pt x="75" y="6"/>
                    </a:lnTo>
                    <a:lnTo>
                      <a:pt x="96" y="11"/>
                    </a:lnTo>
                    <a:lnTo>
                      <a:pt x="86" y="11"/>
                    </a:lnTo>
                    <a:lnTo>
                      <a:pt x="80" y="16"/>
                    </a:lnTo>
                    <a:lnTo>
                      <a:pt x="86" y="16"/>
                    </a:lnTo>
                    <a:lnTo>
                      <a:pt x="96" y="27"/>
                    </a:lnTo>
                    <a:lnTo>
                      <a:pt x="91" y="27"/>
                    </a:lnTo>
                    <a:lnTo>
                      <a:pt x="91" y="32"/>
                    </a:lnTo>
                    <a:close/>
                  </a:path>
                </a:pathLst>
              </a:custGeom>
              <a:solidFill>
                <a:srgbClr val="D8C198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92" name="Freeform 4047"/>
              <p:cNvSpPr>
                <a:spLocks/>
              </p:cNvSpPr>
              <p:nvPr/>
            </p:nvSpPr>
            <p:spPr bwMode="auto">
              <a:xfrm>
                <a:off x="4218" y="3011"/>
                <a:ext cx="32" cy="176"/>
              </a:xfrm>
              <a:custGeom>
                <a:avLst/>
                <a:gdLst>
                  <a:gd name="T0" fmla="*/ 0 w 32"/>
                  <a:gd name="T1" fmla="*/ 0 h 176"/>
                  <a:gd name="T2" fmla="*/ 16 w 32"/>
                  <a:gd name="T3" fmla="*/ 38 h 176"/>
                  <a:gd name="T4" fmla="*/ 26 w 32"/>
                  <a:gd name="T5" fmla="*/ 70 h 176"/>
                  <a:gd name="T6" fmla="*/ 26 w 32"/>
                  <a:gd name="T7" fmla="*/ 118 h 176"/>
                  <a:gd name="T8" fmla="*/ 32 w 32"/>
                  <a:gd name="T9" fmla="*/ 144 h 176"/>
                  <a:gd name="T10" fmla="*/ 32 w 32"/>
                  <a:gd name="T11" fmla="*/ 176 h 17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2"/>
                  <a:gd name="T19" fmla="*/ 0 h 176"/>
                  <a:gd name="T20" fmla="*/ 32 w 32"/>
                  <a:gd name="T21" fmla="*/ 176 h 17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2" h="176">
                    <a:moveTo>
                      <a:pt x="0" y="0"/>
                    </a:moveTo>
                    <a:lnTo>
                      <a:pt x="16" y="38"/>
                    </a:lnTo>
                    <a:lnTo>
                      <a:pt x="26" y="70"/>
                    </a:lnTo>
                    <a:lnTo>
                      <a:pt x="26" y="118"/>
                    </a:lnTo>
                    <a:lnTo>
                      <a:pt x="32" y="144"/>
                    </a:lnTo>
                    <a:lnTo>
                      <a:pt x="32" y="176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93" name="Freeform 4048"/>
              <p:cNvSpPr>
                <a:spLocks/>
              </p:cNvSpPr>
              <p:nvPr/>
            </p:nvSpPr>
            <p:spPr bwMode="auto">
              <a:xfrm>
                <a:off x="4244" y="3049"/>
                <a:ext cx="11" cy="21"/>
              </a:xfrm>
              <a:custGeom>
                <a:avLst/>
                <a:gdLst>
                  <a:gd name="T0" fmla="*/ 0 w 11"/>
                  <a:gd name="T1" fmla="*/ 21 h 21"/>
                  <a:gd name="T2" fmla="*/ 6 w 11"/>
                  <a:gd name="T3" fmla="*/ 10 h 21"/>
                  <a:gd name="T4" fmla="*/ 11 w 11"/>
                  <a:gd name="T5" fmla="*/ 0 h 21"/>
                  <a:gd name="T6" fmla="*/ 0 60000 65536"/>
                  <a:gd name="T7" fmla="*/ 0 60000 65536"/>
                  <a:gd name="T8" fmla="*/ 0 60000 65536"/>
                  <a:gd name="T9" fmla="*/ 0 w 11"/>
                  <a:gd name="T10" fmla="*/ 0 h 21"/>
                  <a:gd name="T11" fmla="*/ 11 w 11"/>
                  <a:gd name="T12" fmla="*/ 21 h 2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1" h="21">
                    <a:moveTo>
                      <a:pt x="0" y="21"/>
                    </a:moveTo>
                    <a:lnTo>
                      <a:pt x="6" y="10"/>
                    </a:lnTo>
                    <a:lnTo>
                      <a:pt x="11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94" name="Freeform 4049"/>
              <p:cNvSpPr>
                <a:spLocks/>
              </p:cNvSpPr>
              <p:nvPr/>
            </p:nvSpPr>
            <p:spPr bwMode="auto">
              <a:xfrm>
                <a:off x="4223" y="3070"/>
                <a:ext cx="16" cy="5"/>
              </a:xfrm>
              <a:custGeom>
                <a:avLst/>
                <a:gdLst>
                  <a:gd name="T0" fmla="*/ 16 w 16"/>
                  <a:gd name="T1" fmla="*/ 0 h 5"/>
                  <a:gd name="T2" fmla="*/ 11 w 16"/>
                  <a:gd name="T3" fmla="*/ 0 h 5"/>
                  <a:gd name="T4" fmla="*/ 0 w 16"/>
                  <a:gd name="T5" fmla="*/ 5 h 5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5"/>
                  <a:gd name="T11" fmla="*/ 16 w 16"/>
                  <a:gd name="T12" fmla="*/ 5 h 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5">
                    <a:moveTo>
                      <a:pt x="16" y="0"/>
                    </a:moveTo>
                    <a:lnTo>
                      <a:pt x="11" y="0"/>
                    </a:lnTo>
                    <a:lnTo>
                      <a:pt x="0" y="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95" name="Freeform 4050"/>
              <p:cNvSpPr>
                <a:spLocks/>
              </p:cNvSpPr>
              <p:nvPr/>
            </p:nvSpPr>
            <p:spPr bwMode="auto">
              <a:xfrm>
                <a:off x="4239" y="3038"/>
                <a:ext cx="11" cy="21"/>
              </a:xfrm>
              <a:custGeom>
                <a:avLst/>
                <a:gdLst>
                  <a:gd name="T0" fmla="*/ 0 w 11"/>
                  <a:gd name="T1" fmla="*/ 21 h 21"/>
                  <a:gd name="T2" fmla="*/ 5 w 11"/>
                  <a:gd name="T3" fmla="*/ 11 h 21"/>
                  <a:gd name="T4" fmla="*/ 11 w 11"/>
                  <a:gd name="T5" fmla="*/ 0 h 21"/>
                  <a:gd name="T6" fmla="*/ 0 60000 65536"/>
                  <a:gd name="T7" fmla="*/ 0 60000 65536"/>
                  <a:gd name="T8" fmla="*/ 0 60000 65536"/>
                  <a:gd name="T9" fmla="*/ 0 w 11"/>
                  <a:gd name="T10" fmla="*/ 0 h 21"/>
                  <a:gd name="T11" fmla="*/ 11 w 11"/>
                  <a:gd name="T12" fmla="*/ 21 h 2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1" h="21">
                    <a:moveTo>
                      <a:pt x="0" y="21"/>
                    </a:moveTo>
                    <a:lnTo>
                      <a:pt x="5" y="11"/>
                    </a:lnTo>
                    <a:lnTo>
                      <a:pt x="11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96" name="Freeform 4051"/>
              <p:cNvSpPr>
                <a:spLocks/>
              </p:cNvSpPr>
              <p:nvPr/>
            </p:nvSpPr>
            <p:spPr bwMode="auto">
              <a:xfrm>
                <a:off x="4223" y="3059"/>
                <a:ext cx="16" cy="6"/>
              </a:xfrm>
              <a:custGeom>
                <a:avLst/>
                <a:gdLst>
                  <a:gd name="T0" fmla="*/ 16 w 16"/>
                  <a:gd name="T1" fmla="*/ 0 h 6"/>
                  <a:gd name="T2" fmla="*/ 5 w 16"/>
                  <a:gd name="T3" fmla="*/ 6 h 6"/>
                  <a:gd name="T4" fmla="*/ 0 w 16"/>
                  <a:gd name="T5" fmla="*/ 6 h 6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6"/>
                  <a:gd name="T11" fmla="*/ 16 w 16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6">
                    <a:moveTo>
                      <a:pt x="16" y="0"/>
                    </a:moveTo>
                    <a:lnTo>
                      <a:pt x="5" y="6"/>
                    </a:lnTo>
                    <a:lnTo>
                      <a:pt x="0" y="6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97" name="Freeform 4052"/>
              <p:cNvSpPr>
                <a:spLocks/>
              </p:cNvSpPr>
              <p:nvPr/>
            </p:nvSpPr>
            <p:spPr bwMode="auto">
              <a:xfrm>
                <a:off x="4239" y="3027"/>
                <a:ext cx="5" cy="22"/>
              </a:xfrm>
              <a:custGeom>
                <a:avLst/>
                <a:gdLst>
                  <a:gd name="T0" fmla="*/ 0 w 5"/>
                  <a:gd name="T1" fmla="*/ 22 h 22"/>
                  <a:gd name="T2" fmla="*/ 0 w 5"/>
                  <a:gd name="T3" fmla="*/ 11 h 22"/>
                  <a:gd name="T4" fmla="*/ 5 w 5"/>
                  <a:gd name="T5" fmla="*/ 0 h 22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22"/>
                  <a:gd name="T11" fmla="*/ 5 w 5"/>
                  <a:gd name="T12" fmla="*/ 22 h 2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22">
                    <a:moveTo>
                      <a:pt x="0" y="22"/>
                    </a:moveTo>
                    <a:lnTo>
                      <a:pt x="0" y="11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98" name="Freeform 4053"/>
              <p:cNvSpPr>
                <a:spLocks/>
              </p:cNvSpPr>
              <p:nvPr/>
            </p:nvSpPr>
            <p:spPr bwMode="auto">
              <a:xfrm>
                <a:off x="4218" y="3054"/>
                <a:ext cx="16" cy="1"/>
              </a:xfrm>
              <a:custGeom>
                <a:avLst/>
                <a:gdLst>
                  <a:gd name="T0" fmla="*/ 16 w 16"/>
                  <a:gd name="T1" fmla="*/ 0 h 1"/>
                  <a:gd name="T2" fmla="*/ 5 w 16"/>
                  <a:gd name="T3" fmla="*/ 0 h 1"/>
                  <a:gd name="T4" fmla="*/ 0 w 16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1"/>
                  <a:gd name="T11" fmla="*/ 16 w 16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1">
                    <a:moveTo>
                      <a:pt x="16" y="0"/>
                    </a:moveTo>
                    <a:lnTo>
                      <a:pt x="5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899" name="Freeform 4054"/>
              <p:cNvSpPr>
                <a:spLocks/>
              </p:cNvSpPr>
              <p:nvPr/>
            </p:nvSpPr>
            <p:spPr bwMode="auto">
              <a:xfrm>
                <a:off x="4234" y="3016"/>
                <a:ext cx="5" cy="17"/>
              </a:xfrm>
              <a:custGeom>
                <a:avLst/>
                <a:gdLst>
                  <a:gd name="T0" fmla="*/ 0 w 5"/>
                  <a:gd name="T1" fmla="*/ 17 h 17"/>
                  <a:gd name="T2" fmla="*/ 0 w 5"/>
                  <a:gd name="T3" fmla="*/ 11 h 17"/>
                  <a:gd name="T4" fmla="*/ 5 w 5"/>
                  <a:gd name="T5" fmla="*/ 0 h 17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17"/>
                  <a:gd name="T11" fmla="*/ 5 w 5"/>
                  <a:gd name="T12" fmla="*/ 17 h 1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17">
                    <a:moveTo>
                      <a:pt x="0" y="17"/>
                    </a:moveTo>
                    <a:lnTo>
                      <a:pt x="0" y="11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00" name="Freeform 4055"/>
              <p:cNvSpPr>
                <a:spLocks/>
              </p:cNvSpPr>
              <p:nvPr/>
            </p:nvSpPr>
            <p:spPr bwMode="auto">
              <a:xfrm>
                <a:off x="4218" y="3043"/>
                <a:ext cx="10" cy="1"/>
              </a:xfrm>
              <a:custGeom>
                <a:avLst/>
                <a:gdLst>
                  <a:gd name="T0" fmla="*/ 10 w 10"/>
                  <a:gd name="T1" fmla="*/ 0 h 1"/>
                  <a:gd name="T2" fmla="*/ 5 w 10"/>
                  <a:gd name="T3" fmla="*/ 0 h 1"/>
                  <a:gd name="T4" fmla="*/ 0 w 10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0"/>
                  <a:gd name="T10" fmla="*/ 0 h 1"/>
                  <a:gd name="T11" fmla="*/ 10 w 10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0" h="1">
                    <a:moveTo>
                      <a:pt x="10" y="0"/>
                    </a:moveTo>
                    <a:lnTo>
                      <a:pt x="5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01" name="Freeform 4056"/>
              <p:cNvSpPr>
                <a:spLocks/>
              </p:cNvSpPr>
              <p:nvPr/>
            </p:nvSpPr>
            <p:spPr bwMode="auto">
              <a:xfrm>
                <a:off x="4228" y="3011"/>
                <a:ext cx="6" cy="16"/>
              </a:xfrm>
              <a:custGeom>
                <a:avLst/>
                <a:gdLst>
                  <a:gd name="T0" fmla="*/ 0 w 6"/>
                  <a:gd name="T1" fmla="*/ 16 h 16"/>
                  <a:gd name="T2" fmla="*/ 0 w 6"/>
                  <a:gd name="T3" fmla="*/ 5 h 16"/>
                  <a:gd name="T4" fmla="*/ 6 w 6"/>
                  <a:gd name="T5" fmla="*/ 0 h 16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16"/>
                  <a:gd name="T11" fmla="*/ 6 w 6"/>
                  <a:gd name="T12" fmla="*/ 16 h 1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16">
                    <a:moveTo>
                      <a:pt x="0" y="16"/>
                    </a:moveTo>
                    <a:lnTo>
                      <a:pt x="0" y="5"/>
                    </a:lnTo>
                    <a:lnTo>
                      <a:pt x="6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02" name="Freeform 4057"/>
              <p:cNvSpPr>
                <a:spLocks/>
              </p:cNvSpPr>
              <p:nvPr/>
            </p:nvSpPr>
            <p:spPr bwMode="auto">
              <a:xfrm>
                <a:off x="4212" y="3027"/>
                <a:ext cx="11" cy="6"/>
              </a:xfrm>
              <a:custGeom>
                <a:avLst/>
                <a:gdLst>
                  <a:gd name="T0" fmla="*/ 11 w 11"/>
                  <a:gd name="T1" fmla="*/ 6 h 6"/>
                  <a:gd name="T2" fmla="*/ 6 w 11"/>
                  <a:gd name="T3" fmla="*/ 0 h 6"/>
                  <a:gd name="T4" fmla="*/ 0 w 11"/>
                  <a:gd name="T5" fmla="*/ 0 h 6"/>
                  <a:gd name="T6" fmla="*/ 0 60000 65536"/>
                  <a:gd name="T7" fmla="*/ 0 60000 65536"/>
                  <a:gd name="T8" fmla="*/ 0 60000 65536"/>
                  <a:gd name="T9" fmla="*/ 0 w 11"/>
                  <a:gd name="T10" fmla="*/ 0 h 6"/>
                  <a:gd name="T11" fmla="*/ 11 w 11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1" h="6">
                    <a:moveTo>
                      <a:pt x="11" y="6"/>
                    </a:moveTo>
                    <a:lnTo>
                      <a:pt x="6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03" name="Freeform 4058"/>
              <p:cNvSpPr>
                <a:spLocks/>
              </p:cNvSpPr>
              <p:nvPr/>
            </p:nvSpPr>
            <p:spPr bwMode="auto">
              <a:xfrm>
                <a:off x="4223" y="3011"/>
                <a:ext cx="5" cy="11"/>
              </a:xfrm>
              <a:custGeom>
                <a:avLst/>
                <a:gdLst>
                  <a:gd name="T0" fmla="*/ 0 w 5"/>
                  <a:gd name="T1" fmla="*/ 11 h 11"/>
                  <a:gd name="T2" fmla="*/ 0 w 5"/>
                  <a:gd name="T3" fmla="*/ 5 h 11"/>
                  <a:gd name="T4" fmla="*/ 5 w 5"/>
                  <a:gd name="T5" fmla="*/ 0 h 11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11"/>
                  <a:gd name="T11" fmla="*/ 5 w 5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11">
                    <a:moveTo>
                      <a:pt x="0" y="11"/>
                    </a:moveTo>
                    <a:lnTo>
                      <a:pt x="0" y="5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04" name="Freeform 4059"/>
              <p:cNvSpPr>
                <a:spLocks/>
              </p:cNvSpPr>
              <p:nvPr/>
            </p:nvSpPr>
            <p:spPr bwMode="auto">
              <a:xfrm>
                <a:off x="4212" y="3022"/>
                <a:ext cx="11" cy="1"/>
              </a:xfrm>
              <a:custGeom>
                <a:avLst/>
                <a:gdLst>
                  <a:gd name="T0" fmla="*/ 11 w 11"/>
                  <a:gd name="T1" fmla="*/ 0 h 1"/>
                  <a:gd name="T2" fmla="*/ 6 w 11"/>
                  <a:gd name="T3" fmla="*/ 0 h 1"/>
                  <a:gd name="T4" fmla="*/ 0 w 11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11"/>
                  <a:gd name="T10" fmla="*/ 0 h 1"/>
                  <a:gd name="T11" fmla="*/ 11 w 1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1" h="1">
                    <a:moveTo>
                      <a:pt x="11" y="0"/>
                    </a:moveTo>
                    <a:lnTo>
                      <a:pt x="6" y="0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05" name="Freeform 4060"/>
              <p:cNvSpPr>
                <a:spLocks/>
              </p:cNvSpPr>
              <p:nvPr/>
            </p:nvSpPr>
            <p:spPr bwMode="auto">
              <a:xfrm>
                <a:off x="4228" y="3022"/>
                <a:ext cx="75" cy="171"/>
              </a:xfrm>
              <a:custGeom>
                <a:avLst/>
                <a:gdLst>
                  <a:gd name="T0" fmla="*/ 75 w 75"/>
                  <a:gd name="T1" fmla="*/ 0 h 171"/>
                  <a:gd name="T2" fmla="*/ 48 w 75"/>
                  <a:gd name="T3" fmla="*/ 32 h 171"/>
                  <a:gd name="T4" fmla="*/ 27 w 75"/>
                  <a:gd name="T5" fmla="*/ 64 h 171"/>
                  <a:gd name="T6" fmla="*/ 11 w 75"/>
                  <a:gd name="T7" fmla="*/ 107 h 171"/>
                  <a:gd name="T8" fmla="*/ 0 w 75"/>
                  <a:gd name="T9" fmla="*/ 171 h 17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5"/>
                  <a:gd name="T16" fmla="*/ 0 h 171"/>
                  <a:gd name="T17" fmla="*/ 75 w 75"/>
                  <a:gd name="T18" fmla="*/ 171 h 17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5" h="171">
                    <a:moveTo>
                      <a:pt x="75" y="0"/>
                    </a:moveTo>
                    <a:lnTo>
                      <a:pt x="48" y="32"/>
                    </a:lnTo>
                    <a:lnTo>
                      <a:pt x="27" y="64"/>
                    </a:lnTo>
                    <a:lnTo>
                      <a:pt x="11" y="107"/>
                    </a:lnTo>
                    <a:lnTo>
                      <a:pt x="0" y="171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06" name="Freeform 4061"/>
              <p:cNvSpPr>
                <a:spLocks/>
              </p:cNvSpPr>
              <p:nvPr/>
            </p:nvSpPr>
            <p:spPr bwMode="auto">
              <a:xfrm>
                <a:off x="4260" y="3049"/>
                <a:ext cx="6" cy="26"/>
              </a:xfrm>
              <a:custGeom>
                <a:avLst/>
                <a:gdLst>
                  <a:gd name="T0" fmla="*/ 6 w 6"/>
                  <a:gd name="T1" fmla="*/ 26 h 26"/>
                  <a:gd name="T2" fmla="*/ 0 w 6"/>
                  <a:gd name="T3" fmla="*/ 16 h 26"/>
                  <a:gd name="T4" fmla="*/ 0 w 6"/>
                  <a:gd name="T5" fmla="*/ 0 h 26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26"/>
                  <a:gd name="T11" fmla="*/ 6 w 6"/>
                  <a:gd name="T12" fmla="*/ 26 h 2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26">
                    <a:moveTo>
                      <a:pt x="6" y="26"/>
                    </a:moveTo>
                    <a:lnTo>
                      <a:pt x="0" y="16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07" name="Freeform 4062"/>
              <p:cNvSpPr>
                <a:spLocks/>
              </p:cNvSpPr>
              <p:nvPr/>
            </p:nvSpPr>
            <p:spPr bwMode="auto">
              <a:xfrm>
                <a:off x="4266" y="3075"/>
                <a:ext cx="15" cy="11"/>
              </a:xfrm>
              <a:custGeom>
                <a:avLst/>
                <a:gdLst>
                  <a:gd name="T0" fmla="*/ 0 w 15"/>
                  <a:gd name="T1" fmla="*/ 0 h 11"/>
                  <a:gd name="T2" fmla="*/ 5 w 15"/>
                  <a:gd name="T3" fmla="*/ 6 h 11"/>
                  <a:gd name="T4" fmla="*/ 15 w 15"/>
                  <a:gd name="T5" fmla="*/ 11 h 11"/>
                  <a:gd name="T6" fmla="*/ 0 60000 65536"/>
                  <a:gd name="T7" fmla="*/ 0 60000 65536"/>
                  <a:gd name="T8" fmla="*/ 0 60000 65536"/>
                  <a:gd name="T9" fmla="*/ 0 w 15"/>
                  <a:gd name="T10" fmla="*/ 0 h 11"/>
                  <a:gd name="T11" fmla="*/ 15 w 15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5" h="11">
                    <a:moveTo>
                      <a:pt x="0" y="0"/>
                    </a:moveTo>
                    <a:lnTo>
                      <a:pt x="5" y="6"/>
                    </a:lnTo>
                    <a:lnTo>
                      <a:pt x="15" y="11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08" name="Freeform 4063"/>
              <p:cNvSpPr>
                <a:spLocks/>
              </p:cNvSpPr>
              <p:nvPr/>
            </p:nvSpPr>
            <p:spPr bwMode="auto">
              <a:xfrm>
                <a:off x="4266" y="3038"/>
                <a:ext cx="5" cy="27"/>
              </a:xfrm>
              <a:custGeom>
                <a:avLst/>
                <a:gdLst>
                  <a:gd name="T0" fmla="*/ 5 w 5"/>
                  <a:gd name="T1" fmla="*/ 27 h 27"/>
                  <a:gd name="T2" fmla="*/ 0 w 5"/>
                  <a:gd name="T3" fmla="*/ 11 h 27"/>
                  <a:gd name="T4" fmla="*/ 5 w 5"/>
                  <a:gd name="T5" fmla="*/ 0 h 27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27"/>
                  <a:gd name="T11" fmla="*/ 5 w 5"/>
                  <a:gd name="T12" fmla="*/ 27 h 2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27">
                    <a:moveTo>
                      <a:pt x="5" y="27"/>
                    </a:moveTo>
                    <a:lnTo>
                      <a:pt x="0" y="11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09" name="Freeform 4064"/>
              <p:cNvSpPr>
                <a:spLocks/>
              </p:cNvSpPr>
              <p:nvPr/>
            </p:nvSpPr>
            <p:spPr bwMode="auto">
              <a:xfrm>
                <a:off x="4271" y="3065"/>
                <a:ext cx="16" cy="10"/>
              </a:xfrm>
              <a:custGeom>
                <a:avLst/>
                <a:gdLst>
                  <a:gd name="T0" fmla="*/ 0 w 16"/>
                  <a:gd name="T1" fmla="*/ 0 h 10"/>
                  <a:gd name="T2" fmla="*/ 5 w 16"/>
                  <a:gd name="T3" fmla="*/ 5 h 10"/>
                  <a:gd name="T4" fmla="*/ 16 w 16"/>
                  <a:gd name="T5" fmla="*/ 10 h 10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10"/>
                  <a:gd name="T11" fmla="*/ 16 w 16"/>
                  <a:gd name="T12" fmla="*/ 10 h 1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10">
                    <a:moveTo>
                      <a:pt x="0" y="0"/>
                    </a:moveTo>
                    <a:lnTo>
                      <a:pt x="5" y="5"/>
                    </a:lnTo>
                    <a:lnTo>
                      <a:pt x="16" y="1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10" name="Freeform 4065"/>
              <p:cNvSpPr>
                <a:spLocks/>
              </p:cNvSpPr>
              <p:nvPr/>
            </p:nvSpPr>
            <p:spPr bwMode="auto">
              <a:xfrm>
                <a:off x="4271" y="3027"/>
                <a:ext cx="5" cy="27"/>
              </a:xfrm>
              <a:custGeom>
                <a:avLst/>
                <a:gdLst>
                  <a:gd name="T0" fmla="*/ 5 w 5"/>
                  <a:gd name="T1" fmla="*/ 27 h 27"/>
                  <a:gd name="T2" fmla="*/ 0 w 5"/>
                  <a:gd name="T3" fmla="*/ 11 h 27"/>
                  <a:gd name="T4" fmla="*/ 5 w 5"/>
                  <a:gd name="T5" fmla="*/ 0 h 27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27"/>
                  <a:gd name="T11" fmla="*/ 5 w 5"/>
                  <a:gd name="T12" fmla="*/ 27 h 2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27">
                    <a:moveTo>
                      <a:pt x="5" y="27"/>
                    </a:moveTo>
                    <a:lnTo>
                      <a:pt x="0" y="11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11" name="Freeform 4066"/>
              <p:cNvSpPr>
                <a:spLocks/>
              </p:cNvSpPr>
              <p:nvPr/>
            </p:nvSpPr>
            <p:spPr bwMode="auto">
              <a:xfrm>
                <a:off x="4276" y="3059"/>
                <a:ext cx="16" cy="6"/>
              </a:xfrm>
              <a:custGeom>
                <a:avLst/>
                <a:gdLst>
                  <a:gd name="T0" fmla="*/ 0 w 16"/>
                  <a:gd name="T1" fmla="*/ 0 h 6"/>
                  <a:gd name="T2" fmla="*/ 5 w 16"/>
                  <a:gd name="T3" fmla="*/ 0 h 6"/>
                  <a:gd name="T4" fmla="*/ 16 w 16"/>
                  <a:gd name="T5" fmla="*/ 6 h 6"/>
                  <a:gd name="T6" fmla="*/ 0 60000 65536"/>
                  <a:gd name="T7" fmla="*/ 0 60000 65536"/>
                  <a:gd name="T8" fmla="*/ 0 60000 65536"/>
                  <a:gd name="T9" fmla="*/ 0 w 16"/>
                  <a:gd name="T10" fmla="*/ 0 h 6"/>
                  <a:gd name="T11" fmla="*/ 16 w 16"/>
                  <a:gd name="T12" fmla="*/ 6 h 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6" h="6">
                    <a:moveTo>
                      <a:pt x="0" y="0"/>
                    </a:moveTo>
                    <a:lnTo>
                      <a:pt x="5" y="0"/>
                    </a:lnTo>
                    <a:lnTo>
                      <a:pt x="16" y="6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12" name="Freeform 4067"/>
              <p:cNvSpPr>
                <a:spLocks/>
              </p:cNvSpPr>
              <p:nvPr/>
            </p:nvSpPr>
            <p:spPr bwMode="auto">
              <a:xfrm>
                <a:off x="4281" y="3022"/>
                <a:ext cx="1" cy="21"/>
              </a:xfrm>
              <a:custGeom>
                <a:avLst/>
                <a:gdLst>
                  <a:gd name="T0" fmla="*/ 0 w 1"/>
                  <a:gd name="T1" fmla="*/ 21 h 21"/>
                  <a:gd name="T2" fmla="*/ 0 w 1"/>
                  <a:gd name="T3" fmla="*/ 11 h 21"/>
                  <a:gd name="T4" fmla="*/ 0 w 1"/>
                  <a:gd name="T5" fmla="*/ 0 h 2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21"/>
                  <a:gd name="T11" fmla="*/ 1 w 1"/>
                  <a:gd name="T12" fmla="*/ 21 h 2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21">
                    <a:moveTo>
                      <a:pt x="0" y="21"/>
                    </a:moveTo>
                    <a:lnTo>
                      <a:pt x="0" y="11"/>
                    </a:lnTo>
                    <a:lnTo>
                      <a:pt x="0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13" name="Freeform 4068"/>
              <p:cNvSpPr>
                <a:spLocks/>
              </p:cNvSpPr>
              <p:nvPr/>
            </p:nvSpPr>
            <p:spPr bwMode="auto">
              <a:xfrm>
                <a:off x="4287" y="3049"/>
                <a:ext cx="10" cy="5"/>
              </a:xfrm>
              <a:custGeom>
                <a:avLst/>
                <a:gdLst>
                  <a:gd name="T0" fmla="*/ 0 w 10"/>
                  <a:gd name="T1" fmla="*/ 0 h 5"/>
                  <a:gd name="T2" fmla="*/ 0 w 10"/>
                  <a:gd name="T3" fmla="*/ 0 h 5"/>
                  <a:gd name="T4" fmla="*/ 10 w 10"/>
                  <a:gd name="T5" fmla="*/ 5 h 5"/>
                  <a:gd name="T6" fmla="*/ 0 60000 65536"/>
                  <a:gd name="T7" fmla="*/ 0 60000 65536"/>
                  <a:gd name="T8" fmla="*/ 0 60000 65536"/>
                  <a:gd name="T9" fmla="*/ 0 w 10"/>
                  <a:gd name="T10" fmla="*/ 0 h 5"/>
                  <a:gd name="T11" fmla="*/ 10 w 10"/>
                  <a:gd name="T12" fmla="*/ 5 h 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0" h="5">
                    <a:moveTo>
                      <a:pt x="0" y="0"/>
                    </a:moveTo>
                    <a:lnTo>
                      <a:pt x="0" y="0"/>
                    </a:lnTo>
                    <a:lnTo>
                      <a:pt x="10" y="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14" name="Freeform 4069"/>
              <p:cNvSpPr>
                <a:spLocks/>
              </p:cNvSpPr>
              <p:nvPr/>
            </p:nvSpPr>
            <p:spPr bwMode="auto">
              <a:xfrm>
                <a:off x="4287" y="3016"/>
                <a:ext cx="5" cy="17"/>
              </a:xfrm>
              <a:custGeom>
                <a:avLst/>
                <a:gdLst>
                  <a:gd name="T0" fmla="*/ 0 w 5"/>
                  <a:gd name="T1" fmla="*/ 17 h 17"/>
                  <a:gd name="T2" fmla="*/ 0 w 5"/>
                  <a:gd name="T3" fmla="*/ 6 h 17"/>
                  <a:gd name="T4" fmla="*/ 5 w 5"/>
                  <a:gd name="T5" fmla="*/ 0 h 17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17"/>
                  <a:gd name="T11" fmla="*/ 5 w 5"/>
                  <a:gd name="T12" fmla="*/ 17 h 1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17">
                    <a:moveTo>
                      <a:pt x="0" y="17"/>
                    </a:moveTo>
                    <a:lnTo>
                      <a:pt x="0" y="6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15" name="Freeform 4070"/>
              <p:cNvSpPr>
                <a:spLocks/>
              </p:cNvSpPr>
              <p:nvPr/>
            </p:nvSpPr>
            <p:spPr bwMode="auto">
              <a:xfrm>
                <a:off x="4292" y="3038"/>
                <a:ext cx="11" cy="5"/>
              </a:xfrm>
              <a:custGeom>
                <a:avLst/>
                <a:gdLst>
                  <a:gd name="T0" fmla="*/ 0 w 11"/>
                  <a:gd name="T1" fmla="*/ 5 h 5"/>
                  <a:gd name="T2" fmla="*/ 0 w 11"/>
                  <a:gd name="T3" fmla="*/ 0 h 5"/>
                  <a:gd name="T4" fmla="*/ 11 w 11"/>
                  <a:gd name="T5" fmla="*/ 0 h 5"/>
                  <a:gd name="T6" fmla="*/ 0 60000 65536"/>
                  <a:gd name="T7" fmla="*/ 0 60000 65536"/>
                  <a:gd name="T8" fmla="*/ 0 60000 65536"/>
                  <a:gd name="T9" fmla="*/ 0 w 11"/>
                  <a:gd name="T10" fmla="*/ 0 h 5"/>
                  <a:gd name="T11" fmla="*/ 11 w 11"/>
                  <a:gd name="T12" fmla="*/ 5 h 5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1" h="5">
                    <a:moveTo>
                      <a:pt x="0" y="5"/>
                    </a:moveTo>
                    <a:lnTo>
                      <a:pt x="0" y="0"/>
                    </a:lnTo>
                    <a:lnTo>
                      <a:pt x="11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16" name="Freeform 4071"/>
              <p:cNvSpPr>
                <a:spLocks/>
              </p:cNvSpPr>
              <p:nvPr/>
            </p:nvSpPr>
            <p:spPr bwMode="auto">
              <a:xfrm>
                <a:off x="4292" y="3016"/>
                <a:ext cx="5" cy="11"/>
              </a:xfrm>
              <a:custGeom>
                <a:avLst/>
                <a:gdLst>
                  <a:gd name="T0" fmla="*/ 0 w 5"/>
                  <a:gd name="T1" fmla="*/ 11 h 11"/>
                  <a:gd name="T2" fmla="*/ 0 w 5"/>
                  <a:gd name="T3" fmla="*/ 6 h 11"/>
                  <a:gd name="T4" fmla="*/ 5 w 5"/>
                  <a:gd name="T5" fmla="*/ 0 h 11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11"/>
                  <a:gd name="T11" fmla="*/ 5 w 5"/>
                  <a:gd name="T12" fmla="*/ 11 h 1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11">
                    <a:moveTo>
                      <a:pt x="0" y="11"/>
                    </a:moveTo>
                    <a:lnTo>
                      <a:pt x="0" y="6"/>
                    </a:lnTo>
                    <a:lnTo>
                      <a:pt x="5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17" name="Freeform 4072"/>
              <p:cNvSpPr>
                <a:spLocks/>
              </p:cNvSpPr>
              <p:nvPr/>
            </p:nvSpPr>
            <p:spPr bwMode="auto">
              <a:xfrm>
                <a:off x="4297" y="3033"/>
                <a:ext cx="6" cy="1"/>
              </a:xfrm>
              <a:custGeom>
                <a:avLst/>
                <a:gdLst>
                  <a:gd name="T0" fmla="*/ 0 w 6"/>
                  <a:gd name="T1" fmla="*/ 0 h 1"/>
                  <a:gd name="T2" fmla="*/ 0 w 6"/>
                  <a:gd name="T3" fmla="*/ 0 h 1"/>
                  <a:gd name="T4" fmla="*/ 6 w 6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6"/>
                  <a:gd name="T10" fmla="*/ 0 h 1"/>
                  <a:gd name="T11" fmla="*/ 6 w 6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" h="1">
                    <a:moveTo>
                      <a:pt x="0" y="0"/>
                    </a:moveTo>
                    <a:lnTo>
                      <a:pt x="0" y="0"/>
                    </a:lnTo>
                    <a:lnTo>
                      <a:pt x="6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18" name="Freeform 4073"/>
              <p:cNvSpPr>
                <a:spLocks/>
              </p:cNvSpPr>
              <p:nvPr/>
            </p:nvSpPr>
            <p:spPr bwMode="auto">
              <a:xfrm>
                <a:off x="4175" y="3075"/>
                <a:ext cx="59" cy="112"/>
              </a:xfrm>
              <a:custGeom>
                <a:avLst/>
                <a:gdLst>
                  <a:gd name="T0" fmla="*/ 32 w 59"/>
                  <a:gd name="T1" fmla="*/ 0 h 112"/>
                  <a:gd name="T2" fmla="*/ 21 w 59"/>
                  <a:gd name="T3" fmla="*/ 6 h 112"/>
                  <a:gd name="T4" fmla="*/ 16 w 59"/>
                  <a:gd name="T5" fmla="*/ 22 h 112"/>
                  <a:gd name="T6" fmla="*/ 5 w 59"/>
                  <a:gd name="T7" fmla="*/ 43 h 112"/>
                  <a:gd name="T8" fmla="*/ 0 w 59"/>
                  <a:gd name="T9" fmla="*/ 70 h 112"/>
                  <a:gd name="T10" fmla="*/ 27 w 59"/>
                  <a:gd name="T11" fmla="*/ 16 h 112"/>
                  <a:gd name="T12" fmla="*/ 32 w 59"/>
                  <a:gd name="T13" fmla="*/ 27 h 112"/>
                  <a:gd name="T14" fmla="*/ 43 w 59"/>
                  <a:gd name="T15" fmla="*/ 43 h 112"/>
                  <a:gd name="T16" fmla="*/ 48 w 59"/>
                  <a:gd name="T17" fmla="*/ 54 h 112"/>
                  <a:gd name="T18" fmla="*/ 53 w 59"/>
                  <a:gd name="T19" fmla="*/ 64 h 112"/>
                  <a:gd name="T20" fmla="*/ 59 w 59"/>
                  <a:gd name="T21" fmla="*/ 86 h 112"/>
                  <a:gd name="T22" fmla="*/ 59 w 59"/>
                  <a:gd name="T23" fmla="*/ 112 h 112"/>
                  <a:gd name="T24" fmla="*/ 32 w 59"/>
                  <a:gd name="T25" fmla="*/ 0 h 11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9"/>
                  <a:gd name="T40" fmla="*/ 0 h 112"/>
                  <a:gd name="T41" fmla="*/ 59 w 59"/>
                  <a:gd name="T42" fmla="*/ 112 h 11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9" h="112">
                    <a:moveTo>
                      <a:pt x="32" y="0"/>
                    </a:moveTo>
                    <a:lnTo>
                      <a:pt x="21" y="6"/>
                    </a:lnTo>
                    <a:lnTo>
                      <a:pt x="16" y="22"/>
                    </a:lnTo>
                    <a:lnTo>
                      <a:pt x="5" y="43"/>
                    </a:lnTo>
                    <a:lnTo>
                      <a:pt x="0" y="70"/>
                    </a:lnTo>
                    <a:lnTo>
                      <a:pt x="27" y="16"/>
                    </a:lnTo>
                    <a:lnTo>
                      <a:pt x="32" y="27"/>
                    </a:lnTo>
                    <a:lnTo>
                      <a:pt x="43" y="43"/>
                    </a:lnTo>
                    <a:lnTo>
                      <a:pt x="48" y="54"/>
                    </a:lnTo>
                    <a:lnTo>
                      <a:pt x="53" y="64"/>
                    </a:lnTo>
                    <a:lnTo>
                      <a:pt x="59" y="86"/>
                    </a:lnTo>
                    <a:lnTo>
                      <a:pt x="59" y="112"/>
                    </a:lnTo>
                    <a:lnTo>
                      <a:pt x="32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19" name="Freeform 4074"/>
              <p:cNvSpPr>
                <a:spLocks/>
              </p:cNvSpPr>
              <p:nvPr/>
            </p:nvSpPr>
            <p:spPr bwMode="auto">
              <a:xfrm>
                <a:off x="4170" y="2894"/>
                <a:ext cx="85" cy="48"/>
              </a:xfrm>
              <a:custGeom>
                <a:avLst/>
                <a:gdLst>
                  <a:gd name="T0" fmla="*/ 85 w 85"/>
                  <a:gd name="T1" fmla="*/ 0 h 48"/>
                  <a:gd name="T2" fmla="*/ 58 w 85"/>
                  <a:gd name="T3" fmla="*/ 0 h 48"/>
                  <a:gd name="T4" fmla="*/ 42 w 85"/>
                  <a:gd name="T5" fmla="*/ 5 h 48"/>
                  <a:gd name="T6" fmla="*/ 21 w 85"/>
                  <a:gd name="T7" fmla="*/ 21 h 48"/>
                  <a:gd name="T8" fmla="*/ 10 w 85"/>
                  <a:gd name="T9" fmla="*/ 37 h 48"/>
                  <a:gd name="T10" fmla="*/ 0 w 85"/>
                  <a:gd name="T11" fmla="*/ 48 h 4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5"/>
                  <a:gd name="T19" fmla="*/ 0 h 48"/>
                  <a:gd name="T20" fmla="*/ 85 w 85"/>
                  <a:gd name="T21" fmla="*/ 48 h 4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5" h="48">
                    <a:moveTo>
                      <a:pt x="85" y="0"/>
                    </a:moveTo>
                    <a:lnTo>
                      <a:pt x="58" y="0"/>
                    </a:lnTo>
                    <a:lnTo>
                      <a:pt x="42" y="5"/>
                    </a:lnTo>
                    <a:lnTo>
                      <a:pt x="21" y="21"/>
                    </a:lnTo>
                    <a:lnTo>
                      <a:pt x="10" y="37"/>
                    </a:lnTo>
                    <a:lnTo>
                      <a:pt x="0" y="48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20" name="Freeform 4075"/>
              <p:cNvSpPr>
                <a:spLocks/>
              </p:cNvSpPr>
              <p:nvPr/>
            </p:nvSpPr>
            <p:spPr bwMode="auto">
              <a:xfrm>
                <a:off x="4266" y="2867"/>
                <a:ext cx="63" cy="69"/>
              </a:xfrm>
              <a:custGeom>
                <a:avLst/>
                <a:gdLst>
                  <a:gd name="T0" fmla="*/ 63 w 63"/>
                  <a:gd name="T1" fmla="*/ 69 h 69"/>
                  <a:gd name="T2" fmla="*/ 47 w 63"/>
                  <a:gd name="T3" fmla="*/ 48 h 69"/>
                  <a:gd name="T4" fmla="*/ 26 w 63"/>
                  <a:gd name="T5" fmla="*/ 37 h 69"/>
                  <a:gd name="T6" fmla="*/ 5 w 63"/>
                  <a:gd name="T7" fmla="*/ 32 h 69"/>
                  <a:gd name="T8" fmla="*/ 0 w 63"/>
                  <a:gd name="T9" fmla="*/ 27 h 69"/>
                  <a:gd name="T10" fmla="*/ 0 w 63"/>
                  <a:gd name="T11" fmla="*/ 27 h 69"/>
                  <a:gd name="T12" fmla="*/ 15 w 63"/>
                  <a:gd name="T13" fmla="*/ 16 h 69"/>
                  <a:gd name="T14" fmla="*/ 26 w 63"/>
                  <a:gd name="T15" fmla="*/ 5 h 69"/>
                  <a:gd name="T16" fmla="*/ 37 w 63"/>
                  <a:gd name="T17" fmla="*/ 0 h 69"/>
                  <a:gd name="T18" fmla="*/ 47 w 63"/>
                  <a:gd name="T19" fmla="*/ 0 h 69"/>
                  <a:gd name="T20" fmla="*/ 63 w 63"/>
                  <a:gd name="T21" fmla="*/ 0 h 6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3"/>
                  <a:gd name="T34" fmla="*/ 0 h 69"/>
                  <a:gd name="T35" fmla="*/ 63 w 63"/>
                  <a:gd name="T36" fmla="*/ 69 h 6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3" h="69">
                    <a:moveTo>
                      <a:pt x="63" y="69"/>
                    </a:moveTo>
                    <a:lnTo>
                      <a:pt x="47" y="48"/>
                    </a:lnTo>
                    <a:lnTo>
                      <a:pt x="26" y="37"/>
                    </a:lnTo>
                    <a:lnTo>
                      <a:pt x="5" y="32"/>
                    </a:lnTo>
                    <a:lnTo>
                      <a:pt x="0" y="27"/>
                    </a:lnTo>
                    <a:lnTo>
                      <a:pt x="15" y="16"/>
                    </a:lnTo>
                    <a:lnTo>
                      <a:pt x="26" y="5"/>
                    </a:lnTo>
                    <a:lnTo>
                      <a:pt x="37" y="0"/>
                    </a:lnTo>
                    <a:lnTo>
                      <a:pt x="47" y="0"/>
                    </a:lnTo>
                    <a:lnTo>
                      <a:pt x="63" y="0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21" name="Freeform 4076"/>
              <p:cNvSpPr>
                <a:spLocks/>
              </p:cNvSpPr>
              <p:nvPr/>
            </p:nvSpPr>
            <p:spPr bwMode="auto">
              <a:xfrm>
                <a:off x="4143" y="2878"/>
                <a:ext cx="117" cy="16"/>
              </a:xfrm>
              <a:custGeom>
                <a:avLst/>
                <a:gdLst>
                  <a:gd name="T0" fmla="*/ 117 w 117"/>
                  <a:gd name="T1" fmla="*/ 16 h 16"/>
                  <a:gd name="T2" fmla="*/ 96 w 117"/>
                  <a:gd name="T3" fmla="*/ 5 h 16"/>
                  <a:gd name="T4" fmla="*/ 64 w 117"/>
                  <a:gd name="T5" fmla="*/ 0 h 16"/>
                  <a:gd name="T6" fmla="*/ 27 w 117"/>
                  <a:gd name="T7" fmla="*/ 0 h 16"/>
                  <a:gd name="T8" fmla="*/ 0 w 117"/>
                  <a:gd name="T9" fmla="*/ 5 h 1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7"/>
                  <a:gd name="T16" fmla="*/ 0 h 16"/>
                  <a:gd name="T17" fmla="*/ 117 w 117"/>
                  <a:gd name="T18" fmla="*/ 16 h 1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7" h="16">
                    <a:moveTo>
                      <a:pt x="117" y="16"/>
                    </a:moveTo>
                    <a:lnTo>
                      <a:pt x="96" y="5"/>
                    </a:lnTo>
                    <a:lnTo>
                      <a:pt x="64" y="0"/>
                    </a:lnTo>
                    <a:lnTo>
                      <a:pt x="27" y="0"/>
                    </a:lnTo>
                    <a:lnTo>
                      <a:pt x="0" y="5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4922" name="Freeform 4077"/>
              <p:cNvSpPr>
                <a:spLocks/>
              </p:cNvSpPr>
              <p:nvPr/>
            </p:nvSpPr>
            <p:spPr bwMode="auto">
              <a:xfrm>
                <a:off x="4132" y="2915"/>
                <a:ext cx="139" cy="32"/>
              </a:xfrm>
              <a:custGeom>
                <a:avLst/>
                <a:gdLst>
                  <a:gd name="T0" fmla="*/ 0 w 139"/>
                  <a:gd name="T1" fmla="*/ 0 h 32"/>
                  <a:gd name="T2" fmla="*/ 6 w 139"/>
                  <a:gd name="T3" fmla="*/ 16 h 32"/>
                  <a:gd name="T4" fmla="*/ 22 w 139"/>
                  <a:gd name="T5" fmla="*/ 27 h 32"/>
                  <a:gd name="T6" fmla="*/ 59 w 139"/>
                  <a:gd name="T7" fmla="*/ 32 h 32"/>
                  <a:gd name="T8" fmla="*/ 102 w 139"/>
                  <a:gd name="T9" fmla="*/ 32 h 32"/>
                  <a:gd name="T10" fmla="*/ 139 w 139"/>
                  <a:gd name="T11" fmla="*/ 32 h 3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39"/>
                  <a:gd name="T19" fmla="*/ 0 h 32"/>
                  <a:gd name="T20" fmla="*/ 139 w 139"/>
                  <a:gd name="T21" fmla="*/ 32 h 3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39" h="32">
                    <a:moveTo>
                      <a:pt x="0" y="0"/>
                    </a:moveTo>
                    <a:lnTo>
                      <a:pt x="6" y="16"/>
                    </a:lnTo>
                    <a:lnTo>
                      <a:pt x="22" y="27"/>
                    </a:lnTo>
                    <a:lnTo>
                      <a:pt x="59" y="32"/>
                    </a:lnTo>
                    <a:lnTo>
                      <a:pt x="102" y="32"/>
                    </a:lnTo>
                    <a:lnTo>
                      <a:pt x="139" y="32"/>
                    </a:lnTo>
                  </a:path>
                </a:pathLst>
              </a:custGeom>
              <a:noFill/>
              <a:ln w="0">
                <a:solidFill>
                  <a:srgbClr val="25221E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</p:grpSp>
      <p:sp>
        <p:nvSpPr>
          <p:cNvPr id="4076" name="Title 407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faiting : Typical Goods</a:t>
            </a:r>
            <a:endParaRPr lang="en-US" dirty="0"/>
          </a:p>
        </p:txBody>
      </p:sp>
      <p:sp>
        <p:nvSpPr>
          <p:cNvPr id="4080" name="Rectangle 4"/>
          <p:cNvSpPr txBox="1">
            <a:spLocks noChangeArrowheads="1"/>
          </p:cNvSpPr>
          <p:nvPr/>
        </p:nvSpPr>
        <p:spPr bwMode="auto">
          <a:xfrm>
            <a:off x="6897216" y="1052736"/>
            <a:ext cx="2881071" cy="4752528"/>
          </a:xfrm>
          <a:prstGeom prst="rect">
            <a:avLst/>
          </a:prstGeom>
          <a:solidFill>
            <a:schemeClr val="tx2"/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180000" tIns="180000" rIns="180000" bIns="180000" anchor="ctr"/>
          <a:lstStyle/>
          <a:p>
            <a:pPr marL="360363" lvl="1" indent="-355600" defTabSz="761913">
              <a:spcBef>
                <a:spcPct val="20000"/>
              </a:spcBef>
            </a:pPr>
            <a:r>
              <a:rPr lang="en-GB" sz="2400" b="1" u="sng" dirty="0" smtClean="0">
                <a:solidFill>
                  <a:schemeClr val="bg1"/>
                </a:solidFill>
              </a:rPr>
              <a:t>Market Size</a:t>
            </a:r>
          </a:p>
          <a:p>
            <a:pPr marL="0" lvl="1" defTabSz="761913">
              <a:spcBef>
                <a:spcPts val="1800"/>
              </a:spcBef>
            </a:pPr>
            <a:r>
              <a:rPr lang="en-GB" dirty="0" smtClean="0">
                <a:solidFill>
                  <a:schemeClr val="bg1"/>
                </a:solidFill>
              </a:rPr>
              <a:t>There </a:t>
            </a:r>
            <a:r>
              <a:rPr lang="en-GB" dirty="0">
                <a:solidFill>
                  <a:schemeClr val="bg1"/>
                </a:solidFill>
              </a:rPr>
              <a:t>are no official statistics on the actual size of the Forfaiting </a:t>
            </a:r>
            <a:r>
              <a:rPr lang="en-GB" dirty="0" smtClean="0">
                <a:solidFill>
                  <a:schemeClr val="bg1"/>
                </a:solidFill>
              </a:rPr>
              <a:t>Market; however</a:t>
            </a:r>
            <a:r>
              <a:rPr lang="en-GB" dirty="0">
                <a:solidFill>
                  <a:schemeClr val="bg1"/>
                </a:solidFill>
              </a:rPr>
              <a:t>, is has been estimated that volumes could be as high as:</a:t>
            </a:r>
          </a:p>
          <a:p>
            <a:pPr marL="176213" lvl="2" indent="-176213" defTabSz="761913">
              <a:spcBef>
                <a:spcPts val="1800"/>
              </a:spcBef>
              <a:buFont typeface="Courier New" pitchFamily="49" charset="0"/>
              <a:buChar char="o"/>
            </a:pPr>
            <a:r>
              <a:rPr lang="en-GB" b="1" dirty="0" smtClean="0">
                <a:solidFill>
                  <a:schemeClr val="bg1"/>
                </a:solidFill>
              </a:rPr>
              <a:t>US$30 </a:t>
            </a:r>
            <a:r>
              <a:rPr lang="en-GB" b="1" dirty="0">
                <a:solidFill>
                  <a:schemeClr val="bg1"/>
                </a:solidFill>
              </a:rPr>
              <a:t>billion </a:t>
            </a:r>
            <a:r>
              <a:rPr lang="en-GB" dirty="0">
                <a:solidFill>
                  <a:schemeClr val="bg1"/>
                </a:solidFill>
              </a:rPr>
              <a:t>of new business per annum; and</a:t>
            </a:r>
          </a:p>
          <a:p>
            <a:pPr marL="176213" lvl="2" indent="-176213" defTabSz="761913">
              <a:spcBef>
                <a:spcPts val="1800"/>
              </a:spcBef>
              <a:buFont typeface="Courier New" pitchFamily="49" charset="0"/>
              <a:buChar char="o"/>
            </a:pPr>
            <a:r>
              <a:rPr lang="en-GB" dirty="0">
                <a:solidFill>
                  <a:schemeClr val="bg1"/>
                </a:solidFill>
              </a:rPr>
              <a:t> </a:t>
            </a:r>
            <a:r>
              <a:rPr lang="en-GB" b="1" dirty="0">
                <a:solidFill>
                  <a:schemeClr val="bg1"/>
                </a:solidFill>
              </a:rPr>
              <a:t>US$60-75 billion</a:t>
            </a:r>
            <a:r>
              <a:rPr lang="en-GB" dirty="0">
                <a:solidFill>
                  <a:schemeClr val="bg1"/>
                </a:solidFill>
              </a:rPr>
              <a:t> outstanding at anyone time 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0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8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 txBox="1">
            <a:spLocks/>
          </p:cNvSpPr>
          <p:nvPr/>
        </p:nvSpPr>
        <p:spPr>
          <a:xfrm>
            <a:off x="920552" y="1052737"/>
            <a:ext cx="6880887" cy="4824536"/>
          </a:xfrm>
          <a:prstGeom prst="rect">
            <a:avLst/>
          </a:prstGeom>
        </p:spPr>
        <p:txBody>
          <a:bodyPr lIns="91429" tIns="45715" rIns="91429" bIns="45715"/>
          <a:lstStyle/>
          <a:p>
            <a:pPr marL="360363" lvl="1" indent="-360363" defTabSz="761913">
              <a:spcBef>
                <a:spcPts val="1800"/>
              </a:spcBef>
              <a:buSzPct val="70000"/>
              <a:buFont typeface="Wingdings" pitchFamily="2" charset="2"/>
              <a:buChar char="q"/>
              <a:defRPr/>
            </a:pPr>
            <a:r>
              <a:rPr lang="en-GB" sz="2000" dirty="0">
                <a:solidFill>
                  <a:srgbClr val="002060"/>
                </a:solidFill>
                <a:cs typeface="Times New Roman" pitchFamily="18" charset="0"/>
              </a:rPr>
              <a:t>Finances </a:t>
            </a:r>
            <a:r>
              <a:rPr lang="en-GB" sz="2000" b="1" dirty="0">
                <a:solidFill>
                  <a:srgbClr val="002060"/>
                </a:solidFill>
                <a:cs typeface="Times New Roman" pitchFamily="18" charset="0"/>
              </a:rPr>
              <a:t>100%</a:t>
            </a:r>
            <a:r>
              <a:rPr lang="en-GB" sz="2000" dirty="0">
                <a:solidFill>
                  <a:srgbClr val="002060"/>
                </a:solidFill>
                <a:cs typeface="Times New Roman" pitchFamily="18" charset="0"/>
              </a:rPr>
              <a:t> of the contract </a:t>
            </a:r>
            <a:r>
              <a:rPr lang="en-GB" sz="2000" dirty="0" smtClean="0">
                <a:solidFill>
                  <a:srgbClr val="002060"/>
                </a:solidFill>
                <a:cs typeface="Times New Roman" pitchFamily="18" charset="0"/>
              </a:rPr>
              <a:t>value</a:t>
            </a:r>
            <a:endParaRPr lang="en-GB" sz="2000" dirty="0">
              <a:solidFill>
                <a:srgbClr val="002060"/>
              </a:solidFill>
              <a:cs typeface="Times New Roman" pitchFamily="18" charset="0"/>
            </a:endParaRPr>
          </a:p>
          <a:p>
            <a:pPr marL="360363" lvl="1" indent="-360363" defTabSz="761913">
              <a:spcBef>
                <a:spcPts val="1800"/>
              </a:spcBef>
              <a:buSzPct val="70000"/>
              <a:buFont typeface="Wingdings" pitchFamily="2" charset="2"/>
              <a:buChar char="q"/>
              <a:defRPr/>
            </a:pPr>
            <a:r>
              <a:rPr lang="en-GB" sz="2000" dirty="0">
                <a:solidFill>
                  <a:srgbClr val="002060"/>
                </a:solidFill>
                <a:cs typeface="Times New Roman" pitchFamily="18" charset="0"/>
              </a:rPr>
              <a:t>Enables Exporter to offer credit </a:t>
            </a:r>
            <a:r>
              <a:rPr lang="en-GB" sz="2000" dirty="0" smtClean="0">
                <a:solidFill>
                  <a:srgbClr val="002060"/>
                </a:solidFill>
                <a:cs typeface="Times New Roman" pitchFamily="18" charset="0"/>
              </a:rPr>
              <a:t>terms</a:t>
            </a:r>
            <a:endParaRPr lang="en-GB" sz="2000" dirty="0">
              <a:solidFill>
                <a:srgbClr val="002060"/>
              </a:solidFill>
              <a:cs typeface="Times New Roman" pitchFamily="18" charset="0"/>
            </a:endParaRPr>
          </a:p>
          <a:p>
            <a:pPr marL="360363" lvl="1" indent="-360363" defTabSz="761913">
              <a:spcBef>
                <a:spcPts val="1800"/>
              </a:spcBef>
              <a:buSzPct val="70000"/>
              <a:buFont typeface="Wingdings" pitchFamily="2" charset="2"/>
              <a:buChar char="q"/>
              <a:defRPr/>
            </a:pPr>
            <a:r>
              <a:rPr lang="en-GB" sz="2000" dirty="0">
                <a:solidFill>
                  <a:srgbClr val="002060"/>
                </a:solidFill>
                <a:cs typeface="Times New Roman" pitchFamily="18" charset="0"/>
              </a:rPr>
              <a:t>Sale is made on a </a:t>
            </a:r>
            <a:r>
              <a:rPr lang="en-GB" sz="2000" b="1" i="1" dirty="0">
                <a:solidFill>
                  <a:srgbClr val="002060"/>
                </a:solidFill>
                <a:cs typeface="Times New Roman" pitchFamily="18" charset="0"/>
              </a:rPr>
              <a:t>without recourse </a:t>
            </a:r>
            <a:r>
              <a:rPr lang="en-GB" sz="2000" dirty="0" smtClean="0">
                <a:solidFill>
                  <a:srgbClr val="002060"/>
                </a:solidFill>
                <a:cs typeface="Times New Roman" pitchFamily="18" charset="0"/>
              </a:rPr>
              <a:t>basis</a:t>
            </a:r>
            <a:endParaRPr lang="en-GB" sz="2000" dirty="0">
              <a:solidFill>
                <a:srgbClr val="002060"/>
              </a:solidFill>
              <a:cs typeface="Times New Roman" pitchFamily="18" charset="0"/>
            </a:endParaRPr>
          </a:p>
          <a:p>
            <a:pPr marL="360363" lvl="1" indent="-360363" defTabSz="761913">
              <a:spcBef>
                <a:spcPts val="1800"/>
              </a:spcBef>
              <a:buSzPct val="70000"/>
              <a:buFont typeface="Wingdings" pitchFamily="2" charset="2"/>
              <a:buChar char="q"/>
              <a:defRPr/>
            </a:pPr>
            <a:r>
              <a:rPr lang="en-GB" sz="2000" dirty="0">
                <a:solidFill>
                  <a:srgbClr val="002060"/>
                </a:solidFill>
                <a:cs typeface="Times New Roman" pitchFamily="18" charset="0"/>
              </a:rPr>
              <a:t>Financing is off balance </a:t>
            </a:r>
            <a:r>
              <a:rPr lang="en-GB" sz="2000" dirty="0" smtClean="0">
                <a:solidFill>
                  <a:srgbClr val="002060"/>
                </a:solidFill>
                <a:cs typeface="Times New Roman" pitchFamily="18" charset="0"/>
              </a:rPr>
              <a:t>sheet</a:t>
            </a:r>
            <a:endParaRPr lang="en-GB" sz="2000" dirty="0">
              <a:solidFill>
                <a:srgbClr val="002060"/>
              </a:solidFill>
              <a:cs typeface="Times New Roman" pitchFamily="18" charset="0"/>
            </a:endParaRPr>
          </a:p>
          <a:p>
            <a:pPr marL="360363" lvl="1" indent="-360363" defTabSz="761913">
              <a:spcBef>
                <a:spcPts val="1800"/>
              </a:spcBef>
              <a:buSzPct val="70000"/>
              <a:buFont typeface="Wingdings" pitchFamily="2" charset="2"/>
              <a:buChar char="q"/>
              <a:defRPr/>
            </a:pPr>
            <a:r>
              <a:rPr lang="en-GB" sz="2000" dirty="0">
                <a:solidFill>
                  <a:srgbClr val="002060"/>
                </a:solidFill>
                <a:cs typeface="Times New Roman" pitchFamily="18" charset="0"/>
              </a:rPr>
              <a:t>Simple &amp; Concise </a:t>
            </a:r>
            <a:r>
              <a:rPr lang="en-GB" sz="2000" dirty="0" smtClean="0">
                <a:solidFill>
                  <a:srgbClr val="002060"/>
                </a:solidFill>
                <a:cs typeface="Times New Roman" pitchFamily="18" charset="0"/>
              </a:rPr>
              <a:t>Documentation</a:t>
            </a:r>
            <a:endParaRPr lang="en-GB" sz="2000" dirty="0">
              <a:solidFill>
                <a:srgbClr val="002060"/>
              </a:solidFill>
              <a:cs typeface="Times New Roman" pitchFamily="18" charset="0"/>
            </a:endParaRPr>
          </a:p>
          <a:p>
            <a:pPr marL="360363" lvl="1" indent="-360363" defTabSz="761913">
              <a:spcBef>
                <a:spcPts val="1800"/>
              </a:spcBef>
              <a:buSzPct val="70000"/>
              <a:buFont typeface="Wingdings" pitchFamily="2" charset="2"/>
              <a:buChar char="q"/>
              <a:defRPr/>
            </a:pPr>
            <a:r>
              <a:rPr lang="en-GB" sz="2000" dirty="0">
                <a:solidFill>
                  <a:srgbClr val="002060"/>
                </a:solidFill>
                <a:cs typeface="Times New Roman" pitchFamily="18" charset="0"/>
              </a:rPr>
              <a:t>Quick </a:t>
            </a:r>
            <a:r>
              <a:rPr lang="en-GB" sz="2000" dirty="0" smtClean="0">
                <a:solidFill>
                  <a:srgbClr val="002060"/>
                </a:solidFill>
                <a:cs typeface="Times New Roman" pitchFamily="18" charset="0"/>
              </a:rPr>
              <a:t>Decisions</a:t>
            </a:r>
            <a:endParaRPr lang="en-GB" sz="2000" dirty="0">
              <a:solidFill>
                <a:srgbClr val="002060"/>
              </a:solidFill>
              <a:cs typeface="Times New Roman" pitchFamily="18" charset="0"/>
            </a:endParaRPr>
          </a:p>
          <a:p>
            <a:pPr marL="360363" lvl="1" indent="-360363" defTabSz="761913">
              <a:spcBef>
                <a:spcPts val="1800"/>
              </a:spcBef>
              <a:buSzPct val="70000"/>
              <a:buFont typeface="Wingdings" pitchFamily="2" charset="2"/>
              <a:buChar char="q"/>
              <a:defRPr/>
            </a:pPr>
            <a:r>
              <a:rPr lang="en-GB" sz="2000" dirty="0">
                <a:solidFill>
                  <a:srgbClr val="002060"/>
                </a:solidFill>
                <a:cs typeface="Times New Roman" pitchFamily="18" charset="0"/>
              </a:rPr>
              <a:t>Improves Cash </a:t>
            </a:r>
            <a:r>
              <a:rPr lang="en-GB" sz="2000" dirty="0" smtClean="0">
                <a:solidFill>
                  <a:srgbClr val="002060"/>
                </a:solidFill>
                <a:cs typeface="Times New Roman" pitchFamily="18" charset="0"/>
              </a:rPr>
              <a:t>Flow</a:t>
            </a:r>
            <a:endParaRPr lang="en-GB" sz="2000" dirty="0">
              <a:solidFill>
                <a:srgbClr val="002060"/>
              </a:solidFill>
              <a:cs typeface="Times New Roman" pitchFamily="18" charset="0"/>
            </a:endParaRPr>
          </a:p>
          <a:p>
            <a:pPr marL="360363" lvl="1" indent="-360363" defTabSz="761913">
              <a:spcBef>
                <a:spcPts val="1800"/>
              </a:spcBef>
              <a:buSzPct val="70000"/>
              <a:buFont typeface="Wingdings" pitchFamily="2" charset="2"/>
              <a:buChar char="q"/>
              <a:defRPr/>
            </a:pPr>
            <a:r>
              <a:rPr lang="en-GB" sz="2000" dirty="0">
                <a:solidFill>
                  <a:srgbClr val="002060"/>
                </a:solidFill>
                <a:cs typeface="Times New Roman" pitchFamily="18" charset="0"/>
              </a:rPr>
              <a:t>Services, Foreign and Local works can be </a:t>
            </a:r>
            <a:r>
              <a:rPr lang="en-GB" sz="2000" dirty="0" smtClean="0">
                <a:solidFill>
                  <a:srgbClr val="002060"/>
                </a:solidFill>
                <a:cs typeface="Times New Roman" pitchFamily="18" charset="0"/>
              </a:rPr>
              <a:t>financed</a:t>
            </a:r>
            <a:endParaRPr lang="en-GB" sz="200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faiting : Benefits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41" name="TextBox 8"/>
          <p:cNvSpPr txBox="1">
            <a:spLocks noChangeArrowheads="1"/>
          </p:cNvSpPr>
          <p:nvPr/>
        </p:nvSpPr>
        <p:spPr bwMode="auto">
          <a:xfrm>
            <a:off x="936759" y="1013012"/>
            <a:ext cx="4320000" cy="5362219"/>
          </a:xfrm>
          <a:prstGeom prst="rect">
            <a:avLst/>
          </a:prstGeom>
          <a:solidFill>
            <a:schemeClr val="tx2"/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72000" tIns="72000" rIns="72000" bIns="72000">
            <a:spAutoFit/>
          </a:bodyPr>
          <a:lstStyle/>
          <a:p>
            <a:pPr marL="342861" indent="-342861" algn="just">
              <a:spcBef>
                <a:spcPts val="1800"/>
              </a:spcBef>
            </a:pPr>
            <a:r>
              <a:rPr lang="en-US" sz="2400" b="1" u="sng" dirty="0"/>
              <a:t>Forfaiting:</a:t>
            </a:r>
          </a:p>
          <a:p>
            <a:pPr marL="342861" indent="-342861">
              <a:spcBef>
                <a:spcPts val="1800"/>
              </a:spcBef>
              <a:buSzPct val="65000"/>
              <a:buFont typeface="Wingdings" pitchFamily="2" charset="2"/>
              <a:buChar char="q"/>
            </a:pPr>
            <a:r>
              <a:rPr lang="en-US" dirty="0"/>
              <a:t>Single transaction based</a:t>
            </a:r>
          </a:p>
          <a:p>
            <a:pPr marL="342861" indent="-342861">
              <a:spcBef>
                <a:spcPts val="1800"/>
              </a:spcBef>
              <a:buSzPct val="65000"/>
              <a:buFont typeface="Wingdings" pitchFamily="2" charset="2"/>
              <a:buChar char="q"/>
            </a:pPr>
            <a:r>
              <a:rPr lang="en-US" dirty="0"/>
              <a:t>Negotiable instruments</a:t>
            </a:r>
          </a:p>
          <a:p>
            <a:pPr marL="342861" indent="-342861">
              <a:spcBef>
                <a:spcPts val="1800"/>
              </a:spcBef>
              <a:buSzPct val="65000"/>
              <a:buFont typeface="Wingdings" pitchFamily="2" charset="2"/>
              <a:buChar char="q"/>
            </a:pPr>
            <a:r>
              <a:rPr lang="en-US" dirty="0"/>
              <a:t>L/C or bank acceptances required</a:t>
            </a:r>
          </a:p>
          <a:p>
            <a:pPr marL="342861" indent="-342861">
              <a:spcBef>
                <a:spcPts val="1800"/>
              </a:spcBef>
              <a:buSzPct val="65000"/>
              <a:buFont typeface="Wingdings" pitchFamily="2" charset="2"/>
              <a:buChar char="q"/>
            </a:pPr>
            <a:r>
              <a:rPr lang="en-US" dirty="0"/>
              <a:t>Primarily a financing service</a:t>
            </a:r>
          </a:p>
          <a:p>
            <a:pPr marL="342861" indent="-342861">
              <a:spcBef>
                <a:spcPts val="1800"/>
              </a:spcBef>
              <a:buSzPct val="65000"/>
              <a:buFont typeface="Wingdings" pitchFamily="2" charset="2"/>
              <a:buChar char="q"/>
            </a:pPr>
            <a:r>
              <a:rPr lang="en-US" dirty="0"/>
              <a:t>Medium/Long term transaction which would be ‘one-off’</a:t>
            </a:r>
          </a:p>
          <a:p>
            <a:pPr marL="342861" indent="-342861">
              <a:spcBef>
                <a:spcPts val="1800"/>
              </a:spcBef>
              <a:buSzPct val="65000"/>
              <a:buFont typeface="Wingdings" pitchFamily="2" charset="2"/>
              <a:buChar char="q"/>
            </a:pPr>
            <a:r>
              <a:rPr lang="en-US" dirty="0"/>
              <a:t>Without recourse</a:t>
            </a:r>
          </a:p>
          <a:p>
            <a:pPr marL="342861" indent="-342861">
              <a:spcBef>
                <a:spcPts val="1800"/>
              </a:spcBef>
              <a:buSzPct val="65000"/>
              <a:buFont typeface="Wingdings" pitchFamily="2" charset="2"/>
              <a:buChar char="q"/>
            </a:pPr>
            <a:r>
              <a:rPr lang="en-US" dirty="0"/>
              <a:t>Usually for export receivables</a:t>
            </a:r>
          </a:p>
          <a:p>
            <a:pPr marL="342861" indent="-342861">
              <a:spcBef>
                <a:spcPts val="1800"/>
              </a:spcBef>
              <a:buSzPct val="65000"/>
              <a:buFont typeface="Wingdings" pitchFamily="2" charset="2"/>
              <a:buChar char="q"/>
            </a:pPr>
            <a:r>
              <a:rPr lang="en-US" dirty="0"/>
              <a:t>Minimum transaction size: US$100,000</a:t>
            </a:r>
          </a:p>
          <a:p>
            <a:pPr marL="342861" indent="-342861">
              <a:spcBef>
                <a:spcPts val="1800"/>
              </a:spcBef>
              <a:buSzPct val="65000"/>
              <a:buFont typeface="Wingdings" pitchFamily="2" charset="2"/>
              <a:buChar char="q"/>
            </a:pPr>
            <a:r>
              <a:rPr lang="en-US" dirty="0"/>
              <a:t>100% financing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425414" y="1013012"/>
            <a:ext cx="4320000" cy="536221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>
            <a:spAutoFit/>
          </a:bodyPr>
          <a:lstStyle/>
          <a:p>
            <a:pPr marL="342861" indent="-342861" algn="just">
              <a:spcBef>
                <a:spcPts val="1800"/>
              </a:spcBef>
              <a:defRPr/>
            </a:pPr>
            <a:r>
              <a:rPr lang="en-US" sz="2400" b="1" u="sng" dirty="0">
                <a:solidFill>
                  <a:schemeClr val="tx1"/>
                </a:solidFill>
              </a:rPr>
              <a:t>Factoring:</a:t>
            </a:r>
          </a:p>
          <a:p>
            <a:pPr marL="342861" indent="-342861">
              <a:spcBef>
                <a:spcPts val="1800"/>
              </a:spcBef>
              <a:buSzPct val="65000"/>
              <a:buFont typeface="Wingdings" pitchFamily="2" charset="2"/>
              <a:buChar char="q"/>
              <a:defRPr/>
            </a:pPr>
            <a:r>
              <a:rPr lang="en-US" dirty="0">
                <a:solidFill>
                  <a:schemeClr val="tx1"/>
                </a:solidFill>
              </a:rPr>
              <a:t>On-going arrangement</a:t>
            </a:r>
          </a:p>
          <a:p>
            <a:pPr marL="342861" indent="-342861">
              <a:spcBef>
                <a:spcPts val="1800"/>
              </a:spcBef>
              <a:buSzPct val="65000"/>
              <a:buFont typeface="Wingdings" pitchFamily="2" charset="2"/>
              <a:buChar char="q"/>
              <a:defRPr/>
            </a:pPr>
            <a:r>
              <a:rPr lang="en-US" dirty="0">
                <a:solidFill>
                  <a:schemeClr val="tx1"/>
                </a:solidFill>
              </a:rPr>
              <a:t>Non-negotiable instruments</a:t>
            </a:r>
          </a:p>
          <a:p>
            <a:pPr marL="342861" indent="-342861">
              <a:spcBef>
                <a:spcPts val="1800"/>
              </a:spcBef>
              <a:buSzPct val="65000"/>
              <a:buFont typeface="Wingdings" pitchFamily="2" charset="2"/>
              <a:buChar char="q"/>
              <a:defRPr/>
            </a:pPr>
            <a:r>
              <a:rPr lang="en-US" dirty="0">
                <a:solidFill>
                  <a:schemeClr val="tx1"/>
                </a:solidFill>
              </a:rPr>
              <a:t>Open account sale</a:t>
            </a:r>
          </a:p>
          <a:p>
            <a:pPr marL="342861" indent="-342861">
              <a:spcBef>
                <a:spcPts val="1800"/>
              </a:spcBef>
              <a:buSzPct val="65000"/>
              <a:buFont typeface="Wingdings" pitchFamily="2" charset="2"/>
              <a:buChar char="q"/>
              <a:defRPr/>
            </a:pPr>
            <a:r>
              <a:rPr lang="en-US" dirty="0">
                <a:solidFill>
                  <a:schemeClr val="tx1"/>
                </a:solidFill>
              </a:rPr>
              <a:t>Provides other than financing services</a:t>
            </a:r>
          </a:p>
          <a:p>
            <a:pPr marL="342861" indent="-342861">
              <a:spcBef>
                <a:spcPts val="1800"/>
              </a:spcBef>
              <a:buSzPct val="65000"/>
              <a:buFont typeface="Wingdings" pitchFamily="2" charset="2"/>
              <a:buChar char="q"/>
              <a:defRPr/>
            </a:pPr>
            <a:r>
              <a:rPr lang="en-US" dirty="0">
                <a:solidFill>
                  <a:schemeClr val="tx1"/>
                </a:solidFill>
              </a:rPr>
              <a:t>Used for offering short-term credit to regular buyers</a:t>
            </a:r>
          </a:p>
          <a:p>
            <a:pPr marL="342861" indent="-342861">
              <a:spcBef>
                <a:spcPts val="1800"/>
              </a:spcBef>
              <a:buSzPct val="65000"/>
              <a:buFont typeface="Wingdings" pitchFamily="2" charset="2"/>
              <a:buChar char="q"/>
              <a:defRPr/>
            </a:pPr>
            <a:r>
              <a:rPr lang="en-US" dirty="0">
                <a:solidFill>
                  <a:schemeClr val="tx1"/>
                </a:solidFill>
              </a:rPr>
              <a:t>Both with and without recourse</a:t>
            </a:r>
          </a:p>
          <a:p>
            <a:pPr marL="342861" indent="-342861">
              <a:spcBef>
                <a:spcPts val="1800"/>
              </a:spcBef>
              <a:buSzPct val="65000"/>
              <a:buFont typeface="Wingdings" pitchFamily="2" charset="2"/>
              <a:buChar char="q"/>
              <a:defRPr/>
            </a:pPr>
            <a:r>
              <a:rPr lang="en-US" dirty="0">
                <a:solidFill>
                  <a:schemeClr val="tx1"/>
                </a:solidFill>
              </a:rPr>
              <a:t>For domestic and export receivables</a:t>
            </a:r>
          </a:p>
          <a:p>
            <a:pPr marL="342861" indent="-342861">
              <a:spcBef>
                <a:spcPts val="1800"/>
              </a:spcBef>
              <a:buSzPct val="65000"/>
              <a:buFont typeface="Wingdings" pitchFamily="2" charset="2"/>
              <a:buChar char="q"/>
              <a:defRPr/>
            </a:pPr>
            <a:r>
              <a:rPr lang="en-US" dirty="0">
                <a:solidFill>
                  <a:schemeClr val="tx1"/>
                </a:solidFill>
              </a:rPr>
              <a:t>No minimum size</a:t>
            </a:r>
          </a:p>
          <a:p>
            <a:pPr marL="342861" indent="-342861">
              <a:spcBef>
                <a:spcPts val="1800"/>
              </a:spcBef>
              <a:buSzPct val="65000"/>
              <a:buFont typeface="Wingdings" pitchFamily="2" charset="2"/>
              <a:buChar char="q"/>
              <a:defRPr/>
            </a:pPr>
            <a:r>
              <a:rPr lang="en-US" dirty="0">
                <a:solidFill>
                  <a:schemeClr val="tx1"/>
                </a:solidFill>
              </a:rPr>
              <a:t>A percentage is normally </a:t>
            </a:r>
            <a:r>
              <a:rPr lang="en-US" dirty="0" smtClean="0">
                <a:solidFill>
                  <a:schemeClr val="tx1"/>
                </a:solidFill>
              </a:rPr>
              <a:t>retained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faiting vs. Factoring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2ABE9-6071-4D16-A39E-5B809A1D04EE}" type="slidenum">
              <a:rPr lang="en-GB" smtClean="0"/>
              <a:pPr/>
              <a:t>14</a:t>
            </a:fld>
            <a:endParaRPr lang="en-GB"/>
          </a:p>
        </p:txBody>
      </p:sp>
      <p:sp>
        <p:nvSpPr>
          <p:cNvPr id="16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956556" y="2276873"/>
            <a:ext cx="7991475" cy="1548172"/>
          </a:xfrm>
          <a:prstGeom prst="rect">
            <a:avLst/>
          </a:prstGeom>
          <a:noFill/>
        </p:spPr>
        <p:txBody>
          <a:bodyPr lIns="91429" tIns="45715" rIns="91429" bIns="45715" anchor="ctr"/>
          <a:lstStyle/>
          <a:p>
            <a:pPr algn="ctr">
              <a:spcBef>
                <a:spcPct val="0"/>
              </a:spcBef>
              <a:defRPr/>
            </a:pPr>
            <a:r>
              <a:rPr lang="en-US" sz="4300" dirty="0" smtClean="0">
                <a:solidFill>
                  <a:srgbClr val="00B0F0"/>
                </a:solidFill>
                <a:latin typeface="Cambria" pitchFamily="18" charset="0"/>
                <a:ea typeface="+mj-ea"/>
                <a:cs typeface="+mj-cs"/>
              </a:rPr>
              <a:t>Forfaiting: Comparison with other Trade Finance </a:t>
            </a:r>
            <a:r>
              <a:rPr lang="en-US" sz="4300" dirty="0" smtClean="0">
                <a:solidFill>
                  <a:srgbClr val="00B0F0"/>
                </a:solidFill>
                <a:latin typeface="Cambria" pitchFamily="18" charset="0"/>
                <a:ea typeface="+mj-ea"/>
                <a:cs typeface="+mj-cs"/>
              </a:rPr>
              <a:t>Products</a:t>
            </a:r>
          </a:p>
          <a:p>
            <a:pPr algn="ctr">
              <a:spcBef>
                <a:spcPct val="0"/>
              </a:spcBef>
              <a:defRPr/>
            </a:pPr>
            <a:r>
              <a:rPr lang="en-US" sz="4300" dirty="0" smtClean="0">
                <a:solidFill>
                  <a:srgbClr val="00B0F0"/>
                </a:solidFill>
                <a:latin typeface="Cambria" pitchFamily="18" charset="0"/>
                <a:ea typeface="+mj-ea"/>
                <a:cs typeface="+mj-cs"/>
              </a:rPr>
              <a:t>TRADING </a:t>
            </a:r>
            <a:endParaRPr lang="en-US" sz="4300" dirty="0" smtClean="0">
              <a:solidFill>
                <a:srgbClr val="00B0F0"/>
              </a:solidFill>
              <a:latin typeface="Cambria" pitchFamily="18" charset="0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faiting : Key </a:t>
            </a:r>
            <a:r>
              <a:rPr lang="en-US" dirty="0" smtClean="0"/>
              <a:t>Ingredients of TRADING</a:t>
            </a:r>
            <a:endParaRPr lang="en-US" dirty="0"/>
          </a:p>
        </p:txBody>
      </p:sp>
      <p:pic>
        <p:nvPicPr>
          <p:cNvPr id="6" name="Picture 2" descr="C:\Users\mariuss\Documents\business\0 jobs\MLE tasks\russia\logo_lfc.jpg"/>
          <p:cNvPicPr>
            <a:picLocks noChangeAspect="1" noChangeArrowheads="1"/>
          </p:cNvPicPr>
          <p:nvPr/>
        </p:nvPicPr>
        <p:blipFill>
          <a:blip r:embed="rId2" cstate="email"/>
          <a:srcRect l="-1591" r="-1591"/>
          <a:stretch>
            <a:fillRect/>
          </a:stretch>
        </p:blipFill>
        <p:spPr bwMode="auto">
          <a:xfrm>
            <a:off x="3440832" y="2766685"/>
            <a:ext cx="3046318" cy="820575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</p:pic>
      <p:sp>
        <p:nvSpPr>
          <p:cNvPr id="7" name="Oval 6"/>
          <p:cNvSpPr/>
          <p:nvPr/>
        </p:nvSpPr>
        <p:spPr>
          <a:xfrm>
            <a:off x="416496" y="2420888"/>
            <a:ext cx="2160240" cy="1512168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Funding </a:t>
            </a:r>
          </a:p>
          <a:p>
            <a:pPr algn="ctr"/>
            <a:r>
              <a:rPr lang="en-US" b="1" dirty="0" smtClean="0"/>
              <a:t>Capacity</a:t>
            </a:r>
            <a:endParaRPr lang="en-US" b="1" dirty="0"/>
          </a:p>
        </p:txBody>
      </p:sp>
      <p:sp>
        <p:nvSpPr>
          <p:cNvPr id="8" name="Oval 7"/>
          <p:cNvSpPr/>
          <p:nvPr/>
        </p:nvSpPr>
        <p:spPr>
          <a:xfrm>
            <a:off x="3883871" y="980728"/>
            <a:ext cx="2160240" cy="1512168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Credit Risk Appetite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6825208" y="2420888"/>
            <a:ext cx="2160240" cy="1512168"/>
          </a:xfrm>
          <a:prstGeom prst="ellipse">
            <a:avLst/>
          </a:prstGeom>
          <a:solidFill>
            <a:schemeClr val="accent2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Underwriting</a:t>
            </a:r>
          </a:p>
          <a:p>
            <a:pPr algn="ctr"/>
            <a:r>
              <a:rPr lang="en-US" b="1" dirty="0" smtClean="0">
                <a:solidFill>
                  <a:schemeClr val="bg1"/>
                </a:solidFill>
              </a:rPr>
              <a:t>Capacity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3883871" y="3861048"/>
            <a:ext cx="2160240" cy="1512168"/>
          </a:xfrm>
          <a:prstGeom prst="ellips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Good IT Resources</a:t>
            </a:r>
            <a:endParaRPr lang="en-US" b="1" dirty="0"/>
          </a:p>
        </p:txBody>
      </p:sp>
      <p:sp>
        <p:nvSpPr>
          <p:cNvPr id="11" name="Rectangle 10"/>
          <p:cNvSpPr/>
          <p:nvPr/>
        </p:nvSpPr>
        <p:spPr>
          <a:xfrm>
            <a:off x="128464" y="5733256"/>
            <a:ext cx="3456384" cy="792088"/>
          </a:xfrm>
          <a:prstGeom prst="rect">
            <a:avLst/>
          </a:prstGeom>
          <a:solidFill>
            <a:schemeClr val="accent5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dirty="0" smtClean="0"/>
              <a:t>Electronic access to documents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3739855" y="5733256"/>
            <a:ext cx="2448272" cy="792088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dirty="0" smtClean="0"/>
              <a:t>Manage Portfolio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6321152" y="5733256"/>
            <a:ext cx="3456384" cy="79208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dirty="0" smtClean="0">
                <a:solidFill>
                  <a:schemeClr val="tx1"/>
                </a:solidFill>
              </a:rPr>
              <a:t>Maintain Counterparty Data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15" name="Straight Connector 14"/>
          <p:cNvCxnSpPr>
            <a:stCxn id="10" idx="3"/>
            <a:endCxn id="11" idx="0"/>
          </p:cNvCxnSpPr>
          <p:nvPr/>
        </p:nvCxnSpPr>
        <p:spPr>
          <a:xfrm flipH="1">
            <a:off x="1856656" y="5151764"/>
            <a:ext cx="2343575" cy="581492"/>
          </a:xfrm>
          <a:prstGeom prst="line">
            <a:avLst/>
          </a:prstGeom>
          <a:ln w="22225">
            <a:solidFill>
              <a:schemeClr val="bg1">
                <a:lumMod val="75000"/>
              </a:schemeClr>
            </a:solidFill>
            <a:headEnd type="none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>
            <a:stCxn id="10" idx="4"/>
            <a:endCxn id="12" idx="0"/>
          </p:cNvCxnSpPr>
          <p:nvPr/>
        </p:nvCxnSpPr>
        <p:spPr>
          <a:xfrm>
            <a:off x="4963991" y="5373216"/>
            <a:ext cx="0" cy="360040"/>
          </a:xfrm>
          <a:prstGeom prst="line">
            <a:avLst/>
          </a:prstGeom>
          <a:ln w="22225">
            <a:solidFill>
              <a:schemeClr val="bg1">
                <a:lumMod val="75000"/>
              </a:schemeClr>
            </a:solidFill>
            <a:headEnd type="none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stCxn id="10" idx="5"/>
            <a:endCxn id="13" idx="0"/>
          </p:cNvCxnSpPr>
          <p:nvPr/>
        </p:nvCxnSpPr>
        <p:spPr>
          <a:xfrm>
            <a:off x="5727751" y="5151764"/>
            <a:ext cx="2321593" cy="581492"/>
          </a:xfrm>
          <a:prstGeom prst="line">
            <a:avLst/>
          </a:prstGeom>
          <a:ln w="22225">
            <a:solidFill>
              <a:schemeClr val="bg1">
                <a:lumMod val="75000"/>
              </a:schemeClr>
            </a:solidFill>
            <a:headEnd type="none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>
            <a:stCxn id="6" idx="1"/>
            <a:endCxn id="7" idx="6"/>
          </p:cNvCxnSpPr>
          <p:nvPr/>
        </p:nvCxnSpPr>
        <p:spPr>
          <a:xfrm flipH="1" flipV="1">
            <a:off x="2576736" y="3176972"/>
            <a:ext cx="864096" cy="1"/>
          </a:xfrm>
          <a:prstGeom prst="line">
            <a:avLst/>
          </a:prstGeom>
          <a:ln w="22225">
            <a:solidFill>
              <a:schemeClr val="bg1">
                <a:lumMod val="75000"/>
              </a:schemeClr>
            </a:solidFill>
            <a:headEnd type="none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>
            <a:stCxn id="6" idx="2"/>
            <a:endCxn id="10" idx="0"/>
          </p:cNvCxnSpPr>
          <p:nvPr/>
        </p:nvCxnSpPr>
        <p:spPr>
          <a:xfrm>
            <a:off x="4963991" y="3587260"/>
            <a:ext cx="0" cy="273788"/>
          </a:xfrm>
          <a:prstGeom prst="line">
            <a:avLst/>
          </a:prstGeom>
          <a:ln w="22225">
            <a:solidFill>
              <a:schemeClr val="bg1">
                <a:lumMod val="75000"/>
              </a:schemeClr>
            </a:solidFill>
            <a:headEnd type="none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stCxn id="6" idx="0"/>
            <a:endCxn id="8" idx="4"/>
          </p:cNvCxnSpPr>
          <p:nvPr/>
        </p:nvCxnSpPr>
        <p:spPr>
          <a:xfrm flipV="1">
            <a:off x="4963991" y="2492896"/>
            <a:ext cx="0" cy="273789"/>
          </a:xfrm>
          <a:prstGeom prst="line">
            <a:avLst/>
          </a:prstGeom>
          <a:ln w="22225">
            <a:solidFill>
              <a:schemeClr val="bg1">
                <a:lumMod val="75000"/>
              </a:schemeClr>
            </a:solidFill>
            <a:headEnd type="none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>
            <a:stCxn id="6" idx="3"/>
            <a:endCxn id="9" idx="2"/>
          </p:cNvCxnSpPr>
          <p:nvPr/>
        </p:nvCxnSpPr>
        <p:spPr>
          <a:xfrm flipV="1">
            <a:off x="6487150" y="3176972"/>
            <a:ext cx="338058" cy="1"/>
          </a:xfrm>
          <a:prstGeom prst="line">
            <a:avLst/>
          </a:prstGeom>
          <a:ln w="22225">
            <a:solidFill>
              <a:schemeClr val="bg1">
                <a:lumMod val="75000"/>
              </a:schemeClr>
            </a:solidFill>
            <a:headEnd type="none"/>
            <a:tailEnd type="arrow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5940000" y="940659"/>
            <a:ext cx="3969654" cy="338544"/>
          </a:xfrm>
          <a:prstGeom prst="rect">
            <a:avLst/>
          </a:prstGeom>
          <a:solidFill>
            <a:schemeClr val="tx2"/>
          </a:solidFill>
        </p:spPr>
        <p:txBody>
          <a:bodyPr wrap="none" lIns="91429" tIns="45715" rIns="91429" bIns="45715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Delivering Trade Finance Solutions since 1984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RADING </a:t>
            </a:r>
            <a:r>
              <a:rPr lang="en-US" dirty="0" smtClean="0"/>
              <a:t>: looking into details</a:t>
            </a:r>
            <a:endParaRPr lang="en-US" dirty="0"/>
          </a:p>
        </p:txBody>
      </p:sp>
      <p:graphicFrame>
        <p:nvGraphicFramePr>
          <p:cNvPr id="6" name="Diagram 5"/>
          <p:cNvGraphicFramePr/>
          <p:nvPr/>
        </p:nvGraphicFramePr>
        <p:xfrm>
          <a:off x="128464" y="1052736"/>
          <a:ext cx="9649072" cy="9771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Rectangle 6"/>
          <p:cNvSpPr txBox="1">
            <a:spLocks noChangeArrowheads="1"/>
          </p:cNvSpPr>
          <p:nvPr/>
        </p:nvSpPr>
        <p:spPr>
          <a:xfrm>
            <a:off x="128464" y="2132856"/>
            <a:ext cx="2916000" cy="1584000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  <a:prstDash val="sysDash"/>
          </a:ln>
        </p:spPr>
        <p:txBody>
          <a:bodyPr lIns="72000" tIns="36000" rIns="72000" bIns="36000"/>
          <a:lstStyle/>
          <a:p>
            <a:pPr marL="0" marR="0" lvl="1" defTabSz="914296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n-ea"/>
                <a:cs typeface="+mn-cs"/>
              </a:rPr>
              <a:t>Pricing Considerations</a:t>
            </a:r>
          </a:p>
          <a:p>
            <a:pPr marL="176213" marR="0" lvl="1" indent="-176213" defTabSz="914296" rtl="0" eaLnBrk="1" fontAlgn="auto" latinLnBrk="0" hangingPunct="1">
              <a:spcBef>
                <a:spcPts val="600"/>
              </a:spcBef>
              <a:spcAft>
                <a:spcPts val="0"/>
              </a:spcAft>
              <a:buClrTx/>
              <a:buSzPct val="65000"/>
              <a:buFont typeface="Wingdings" pitchFamily="2" charset="2"/>
              <a:buChar char="q"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n-ea"/>
                <a:cs typeface="+mn-cs"/>
              </a:rPr>
              <a:t>Evaluation of Credit Risk </a:t>
            </a:r>
            <a:r>
              <a:rPr kumimoji="0" lang="en-GB" sz="14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n-ea"/>
                <a:cs typeface="+mn-cs"/>
              </a:rPr>
              <a:t>Perception</a:t>
            </a:r>
            <a:endParaRPr kumimoji="0" lang="en-GB" sz="14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176213" marR="0" lvl="1" indent="-176213" defTabSz="914296" rtl="0" eaLnBrk="1" fontAlgn="auto" latinLnBrk="0" hangingPunct="1">
              <a:spcAft>
                <a:spcPts val="0"/>
              </a:spcAft>
              <a:buClrTx/>
              <a:buSzPct val="65000"/>
              <a:buFont typeface="Wingdings" pitchFamily="2" charset="2"/>
              <a:buChar char="q"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n-ea"/>
                <a:cs typeface="+mn-cs"/>
              </a:rPr>
              <a:t>Evaluation of Interest Rate Risk</a:t>
            </a:r>
          </a:p>
          <a:p>
            <a:pPr marL="176213" marR="0" lvl="1" indent="-176213" defTabSz="914296" rtl="0" eaLnBrk="1" fontAlgn="auto" latinLnBrk="0" hangingPunct="1">
              <a:spcAft>
                <a:spcPts val="0"/>
              </a:spcAft>
              <a:buClrTx/>
              <a:buSzPct val="65000"/>
              <a:buFont typeface="Wingdings" pitchFamily="2" charset="2"/>
              <a:buChar char="q"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n-ea"/>
                <a:cs typeface="+mn-cs"/>
              </a:rPr>
              <a:t>Any Benchmarks ?</a:t>
            </a:r>
          </a:p>
          <a:p>
            <a:pPr marL="176213" marR="0" lvl="1" indent="-176213" defTabSz="914296" rtl="0" eaLnBrk="1" fontAlgn="auto" latinLnBrk="0" hangingPunct="1">
              <a:spcAft>
                <a:spcPts val="0"/>
              </a:spcAft>
              <a:buClrTx/>
              <a:buSzPct val="65000"/>
              <a:buFont typeface="Wingdings" pitchFamily="2" charset="2"/>
              <a:buChar char="q"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n-ea"/>
                <a:cs typeface="+mn-cs"/>
              </a:rPr>
              <a:t>Market Knowledge/Placing Power </a:t>
            </a:r>
          </a:p>
          <a:p>
            <a:pPr marL="176213" marR="0" lvl="1" indent="-176213" defTabSz="914296" rtl="0" eaLnBrk="1" fontAlgn="auto" latinLnBrk="0" hangingPunct="1">
              <a:spcAft>
                <a:spcPts val="0"/>
              </a:spcAft>
              <a:buClrTx/>
              <a:buSzPct val="65000"/>
              <a:buFont typeface="Wingdings" pitchFamily="2" charset="2"/>
              <a:buChar char="q"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n-ea"/>
                <a:cs typeface="+mn-cs"/>
              </a:rPr>
              <a:t>Experience</a:t>
            </a:r>
            <a:endParaRPr kumimoji="0" lang="en-GB" sz="1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Rectangle 6"/>
          <p:cNvSpPr txBox="1">
            <a:spLocks noChangeArrowheads="1"/>
          </p:cNvSpPr>
          <p:nvPr/>
        </p:nvSpPr>
        <p:spPr>
          <a:xfrm>
            <a:off x="3189128" y="2132856"/>
            <a:ext cx="2916000" cy="1584176"/>
          </a:xfrm>
          <a:prstGeom prst="rect">
            <a:avLst/>
          </a:prstGeom>
          <a:ln w="3175">
            <a:solidFill>
              <a:schemeClr val="bg1">
                <a:lumMod val="85000"/>
              </a:schemeClr>
            </a:solidFill>
            <a:prstDash val="sysDash"/>
          </a:ln>
        </p:spPr>
        <p:txBody>
          <a:bodyPr/>
          <a:lstStyle/>
          <a:p>
            <a:pPr marL="0" marR="0" lvl="1" indent="0" algn="just" defTabSz="9142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cumentation</a:t>
            </a:r>
          </a:p>
          <a:p>
            <a:pPr marL="176213" marR="0" lvl="1" indent="-176213" defTabSz="91429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65000"/>
              <a:buFont typeface="Courier New" pitchFamily="49" charset="0"/>
              <a:buChar char="o"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n-ea"/>
                <a:cs typeface="+mn-cs"/>
              </a:rPr>
              <a:t>Well Structured</a:t>
            </a:r>
          </a:p>
          <a:p>
            <a:pPr marL="176213" marR="0" lvl="1" indent="-176213" defTabSz="9142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65000"/>
              <a:buFont typeface="Courier New" pitchFamily="49" charset="0"/>
              <a:buChar char="o"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n-ea"/>
                <a:cs typeface="+mn-cs"/>
              </a:rPr>
              <a:t>Unconditional Confirmations</a:t>
            </a:r>
          </a:p>
          <a:p>
            <a:pPr marL="176213" marR="0" lvl="1" indent="-176213" defTabSz="9142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65000"/>
              <a:buFont typeface="Courier New" pitchFamily="49" charset="0"/>
              <a:buChar char="o"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n-ea"/>
                <a:cs typeface="+mn-cs"/>
              </a:rPr>
              <a:t>Incorporate Local Requirements</a:t>
            </a:r>
          </a:p>
          <a:p>
            <a:pPr marL="176213" marR="0" lvl="1" indent="-176213" defTabSz="9142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65000"/>
              <a:buFont typeface="Courier New" pitchFamily="49" charset="0"/>
              <a:buChar char="o"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n-ea"/>
                <a:cs typeface="+mn-cs"/>
              </a:rPr>
              <a:t>Irrevocable  </a:t>
            </a:r>
          </a:p>
          <a:p>
            <a:pPr marL="176213" marR="0" lvl="1" indent="-176213" defTabSz="9142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65000"/>
              <a:buFont typeface="Courier New" pitchFamily="49" charset="0"/>
              <a:buChar char="o"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ea typeface="+mn-ea"/>
                <a:cs typeface="+mn-cs"/>
              </a:rPr>
              <a:t>Freely Transferable</a:t>
            </a:r>
          </a:p>
        </p:txBody>
      </p:sp>
      <p:sp>
        <p:nvSpPr>
          <p:cNvPr id="9" name="Rectangle 6"/>
          <p:cNvSpPr txBox="1">
            <a:spLocks noChangeArrowheads="1"/>
          </p:cNvSpPr>
          <p:nvPr/>
        </p:nvSpPr>
        <p:spPr>
          <a:xfrm>
            <a:off x="6429488" y="2132856"/>
            <a:ext cx="2916000" cy="432048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prstDash val="sysDash"/>
          </a:ln>
        </p:spPr>
        <p:txBody>
          <a:bodyPr/>
          <a:lstStyle/>
          <a:p>
            <a:pPr marL="0" lvl="1" algn="just" eaLnBrk="0" hangingPunct="0">
              <a:spcBef>
                <a:spcPts val="1200"/>
              </a:spcBef>
              <a:defRPr/>
            </a:pPr>
            <a:r>
              <a:rPr lang="en-GB" sz="1600" b="1" u="sng" kern="0" dirty="0" smtClean="0">
                <a:solidFill>
                  <a:srgbClr val="002060"/>
                </a:solidFill>
              </a:rPr>
              <a:t>Sales Considerations</a:t>
            </a:r>
          </a:p>
          <a:p>
            <a:pPr marL="176213" lvl="1" indent="-176213">
              <a:spcBef>
                <a:spcPts val="600"/>
              </a:spcBef>
              <a:buFont typeface="Courier New" pitchFamily="49" charset="0"/>
              <a:buChar char="o"/>
              <a:defRPr/>
            </a:pPr>
            <a:r>
              <a:rPr lang="en-GB" sz="1400" dirty="0" smtClean="0">
                <a:solidFill>
                  <a:srgbClr val="002060"/>
                </a:solidFill>
              </a:rPr>
              <a:t>Opportunity</a:t>
            </a:r>
          </a:p>
          <a:p>
            <a:pPr marL="176213" lvl="1" indent="-176213">
              <a:buFont typeface="Courier New" pitchFamily="49" charset="0"/>
              <a:buChar char="o"/>
              <a:defRPr/>
            </a:pPr>
            <a:r>
              <a:rPr lang="en-GB" sz="1400" dirty="0" smtClean="0">
                <a:solidFill>
                  <a:srgbClr val="002060"/>
                </a:solidFill>
              </a:rPr>
              <a:t>Deteriorating Risk </a:t>
            </a:r>
            <a:r>
              <a:rPr lang="en-GB" sz="1400" i="1" dirty="0" smtClean="0">
                <a:solidFill>
                  <a:srgbClr val="002060"/>
                </a:solidFill>
              </a:rPr>
              <a:t>Perception</a:t>
            </a:r>
            <a:endParaRPr lang="en-GB" sz="1400" dirty="0" smtClean="0">
              <a:solidFill>
                <a:srgbClr val="002060"/>
              </a:solidFill>
            </a:endParaRPr>
          </a:p>
          <a:p>
            <a:pPr marL="176213" lvl="1" indent="-176213">
              <a:buFont typeface="Courier New" pitchFamily="49" charset="0"/>
              <a:buChar char="o"/>
              <a:defRPr/>
            </a:pPr>
            <a:r>
              <a:rPr lang="en-GB" sz="1400" dirty="0" smtClean="0">
                <a:solidFill>
                  <a:srgbClr val="002060"/>
                </a:solidFill>
              </a:rPr>
              <a:t>Limit Considerations</a:t>
            </a:r>
          </a:p>
          <a:p>
            <a:pPr marL="176213" lvl="1" indent="-176213">
              <a:buFont typeface="Courier New" pitchFamily="49" charset="0"/>
              <a:buChar char="o"/>
              <a:defRPr/>
            </a:pPr>
            <a:r>
              <a:rPr lang="en-GB" sz="1400" dirty="0" smtClean="0">
                <a:solidFill>
                  <a:srgbClr val="002060"/>
                </a:solidFill>
              </a:rPr>
              <a:t>Funding Considerations</a:t>
            </a:r>
          </a:p>
          <a:p>
            <a:pPr marL="176213" lvl="1" indent="-176213">
              <a:buFont typeface="Courier New" pitchFamily="49" charset="0"/>
              <a:buChar char="o"/>
              <a:defRPr/>
            </a:pPr>
            <a:r>
              <a:rPr lang="en-GB" sz="1400" dirty="0" smtClean="0">
                <a:solidFill>
                  <a:srgbClr val="002060"/>
                </a:solidFill>
              </a:rPr>
              <a:t>Replace Asset with New Deal</a:t>
            </a:r>
          </a:p>
          <a:p>
            <a:pPr marL="176213" lvl="1" indent="-176213">
              <a:spcBef>
                <a:spcPts val="1200"/>
              </a:spcBef>
              <a:defRPr/>
            </a:pPr>
            <a:r>
              <a:rPr kumimoji="0" lang="en-GB" sz="16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When to Sell ?</a:t>
            </a:r>
          </a:p>
          <a:p>
            <a:pPr marL="176213" marR="0" lvl="1" indent="-176213" algn="l" defTabSz="914296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ll Immediately – minimum risk, minimum return</a:t>
            </a:r>
          </a:p>
          <a:p>
            <a:pPr marL="176213" marR="0" lvl="1" indent="-176213" algn="l" defTabSz="9142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ll later – keep fees, yield</a:t>
            </a:r>
          </a:p>
          <a:p>
            <a:pPr marL="176213" marR="0" lvl="1" indent="-176213" algn="l" defTabSz="9142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GB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old to maturity – short term/small deals</a:t>
            </a:r>
          </a:p>
          <a:p>
            <a:pPr marL="3175" lvl="1" algn="just" eaLnBrk="0" hangingPunct="0">
              <a:spcBef>
                <a:spcPts val="1200"/>
              </a:spcBef>
              <a:defRPr/>
            </a:pPr>
            <a:r>
              <a:rPr lang="en-GB" sz="1600" b="1" u="sng" kern="0" dirty="0" smtClean="0">
                <a:solidFill>
                  <a:srgbClr val="002060"/>
                </a:solidFill>
              </a:rPr>
              <a:t>Who Buys ?</a:t>
            </a:r>
          </a:p>
          <a:p>
            <a:pPr marL="176213" lvl="1" indent="-173038" algn="just">
              <a:buFont typeface="Wingdings" pitchFamily="2" charset="2"/>
              <a:buChar char="§"/>
              <a:defRPr/>
            </a:pPr>
            <a:r>
              <a:rPr lang="en-GB" sz="1400" dirty="0" smtClean="0">
                <a:solidFill>
                  <a:srgbClr val="002060"/>
                </a:solidFill>
              </a:rPr>
              <a:t>International Banks</a:t>
            </a:r>
          </a:p>
          <a:p>
            <a:pPr marL="176213" lvl="1" indent="-173038" algn="just">
              <a:buFont typeface="Wingdings" pitchFamily="2" charset="2"/>
              <a:buChar char="§"/>
              <a:defRPr/>
            </a:pPr>
            <a:r>
              <a:rPr lang="en-GB" sz="1400" dirty="0" smtClean="0">
                <a:solidFill>
                  <a:srgbClr val="002060"/>
                </a:solidFill>
              </a:rPr>
              <a:t>Funds</a:t>
            </a:r>
          </a:p>
          <a:p>
            <a:pPr marL="176213" lvl="1" indent="-173038" algn="just">
              <a:buFont typeface="Wingdings" pitchFamily="2" charset="2"/>
              <a:buChar char="§"/>
              <a:defRPr/>
            </a:pPr>
            <a:r>
              <a:rPr lang="en-GB" sz="1400" dirty="0" smtClean="0">
                <a:solidFill>
                  <a:srgbClr val="002060"/>
                </a:solidFill>
              </a:rPr>
              <a:t>Secondary Market</a:t>
            </a:r>
          </a:p>
          <a:p>
            <a:pPr marL="176213" lvl="1" indent="-173038" algn="just">
              <a:buFont typeface="Wingdings" pitchFamily="2" charset="2"/>
              <a:buChar char="§"/>
              <a:defRPr/>
            </a:pPr>
            <a:r>
              <a:rPr lang="en-GB" sz="1400" dirty="0" smtClean="0">
                <a:solidFill>
                  <a:srgbClr val="002060"/>
                </a:solidFill>
              </a:rPr>
              <a:t>Specialist Forfaiting Houses</a:t>
            </a:r>
          </a:p>
        </p:txBody>
      </p:sp>
      <p:sp>
        <p:nvSpPr>
          <p:cNvPr id="10" name="Rectangle 6"/>
          <p:cNvSpPr txBox="1">
            <a:spLocks noChangeArrowheads="1"/>
          </p:cNvSpPr>
          <p:nvPr/>
        </p:nvSpPr>
        <p:spPr bwMode="auto">
          <a:xfrm>
            <a:off x="128464" y="3933056"/>
            <a:ext cx="5976664" cy="252028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180000" tIns="72000" rIns="180000" bIns="72000" anchor="ctr"/>
          <a:lstStyle/>
          <a:p>
            <a:pPr marL="285718" indent="-285717" eaLnBrk="0" hangingPunct="0">
              <a:defRPr/>
            </a:pPr>
            <a:r>
              <a:rPr lang="en-GB" sz="1600" b="1" u="sng" kern="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hy Trade ?</a:t>
            </a:r>
          </a:p>
          <a:p>
            <a:pPr marL="176213" indent="-176213">
              <a:spcBef>
                <a:spcPts val="1200"/>
              </a:spcBef>
              <a:buSzPct val="65000"/>
              <a:buFont typeface="Wingdings" pitchFamily="2" charset="2"/>
              <a:buChar char="q"/>
              <a:defRPr/>
            </a:pPr>
            <a:r>
              <a:rPr lang="en-GB" sz="1400" dirty="0" smtClean="0">
                <a:solidFill>
                  <a:srgbClr val="002060"/>
                </a:solidFill>
              </a:rPr>
              <a:t>Portfolio/Funding </a:t>
            </a:r>
            <a:r>
              <a:rPr lang="en-GB" sz="1400" dirty="0">
                <a:solidFill>
                  <a:srgbClr val="002060"/>
                </a:solidFill>
              </a:rPr>
              <a:t>Constraints</a:t>
            </a:r>
          </a:p>
          <a:p>
            <a:pPr marL="176213" indent="-176213">
              <a:buSzPct val="65000"/>
              <a:buFont typeface="Wingdings" pitchFamily="2" charset="2"/>
              <a:buChar char="q"/>
              <a:defRPr/>
            </a:pPr>
            <a:r>
              <a:rPr lang="en-GB" sz="1400" dirty="0" smtClean="0">
                <a:solidFill>
                  <a:srgbClr val="002060"/>
                </a:solidFill>
              </a:rPr>
              <a:t>Risk </a:t>
            </a:r>
            <a:r>
              <a:rPr lang="en-GB" sz="1400" dirty="0">
                <a:solidFill>
                  <a:srgbClr val="002060"/>
                </a:solidFill>
              </a:rPr>
              <a:t>Mitigation</a:t>
            </a:r>
          </a:p>
          <a:p>
            <a:pPr marL="176213" indent="-176213">
              <a:buSzPct val="65000"/>
              <a:buFont typeface="Wingdings" pitchFamily="2" charset="2"/>
              <a:buChar char="q"/>
              <a:defRPr/>
            </a:pPr>
            <a:r>
              <a:rPr lang="en-GB" sz="1400" dirty="0" smtClean="0">
                <a:solidFill>
                  <a:srgbClr val="002060"/>
                </a:solidFill>
              </a:rPr>
              <a:t>Limit </a:t>
            </a:r>
            <a:r>
              <a:rPr lang="en-GB" sz="1400" dirty="0">
                <a:solidFill>
                  <a:srgbClr val="002060"/>
                </a:solidFill>
              </a:rPr>
              <a:t>Constraints</a:t>
            </a:r>
          </a:p>
          <a:p>
            <a:pPr marL="176213" indent="-176213">
              <a:buSzPct val="65000"/>
              <a:buFont typeface="Wingdings" pitchFamily="2" charset="2"/>
              <a:buChar char="q"/>
              <a:defRPr/>
            </a:pPr>
            <a:r>
              <a:rPr lang="en-GB" sz="1400" dirty="0" smtClean="0">
                <a:solidFill>
                  <a:srgbClr val="002060"/>
                </a:solidFill>
              </a:rPr>
              <a:t>Higher </a:t>
            </a:r>
            <a:r>
              <a:rPr lang="en-GB" sz="1400" dirty="0">
                <a:solidFill>
                  <a:srgbClr val="002060"/>
                </a:solidFill>
              </a:rPr>
              <a:t>Returns on Equity</a:t>
            </a:r>
          </a:p>
          <a:p>
            <a:pPr marL="176213" indent="-176213">
              <a:buSzPct val="65000"/>
              <a:buFont typeface="Wingdings" pitchFamily="2" charset="2"/>
              <a:buChar char="q"/>
              <a:defRPr/>
            </a:pPr>
            <a:r>
              <a:rPr lang="en-GB" sz="1400" dirty="0" smtClean="0">
                <a:solidFill>
                  <a:srgbClr val="002060"/>
                </a:solidFill>
              </a:rPr>
              <a:t>More </a:t>
            </a:r>
            <a:r>
              <a:rPr lang="en-GB" sz="1400" dirty="0">
                <a:solidFill>
                  <a:srgbClr val="002060"/>
                </a:solidFill>
              </a:rPr>
              <a:t>Business Opportunities with Limited </a:t>
            </a:r>
            <a:r>
              <a:rPr lang="en-GB" sz="1400" dirty="0" smtClean="0">
                <a:solidFill>
                  <a:srgbClr val="002060"/>
                </a:solidFill>
              </a:rPr>
              <a:t>Resources</a:t>
            </a:r>
          </a:p>
          <a:p>
            <a:pPr marL="176213" indent="-176213" algn="just">
              <a:buSzPct val="65000"/>
              <a:buFont typeface="Wingdings" pitchFamily="2" charset="2"/>
              <a:buChar char="q"/>
              <a:defRPr/>
            </a:pPr>
            <a:r>
              <a:rPr lang="en-GB" sz="1400" dirty="0" smtClean="0">
                <a:solidFill>
                  <a:srgbClr val="002060"/>
                </a:solidFill>
              </a:rPr>
              <a:t>Assists with accurate pricing for new deals</a:t>
            </a:r>
          </a:p>
          <a:p>
            <a:pPr marL="176213" indent="-176213" algn="just">
              <a:buSzPct val="65000"/>
              <a:buFont typeface="Wingdings" pitchFamily="2" charset="2"/>
              <a:buChar char="q"/>
              <a:defRPr/>
            </a:pPr>
            <a:r>
              <a:rPr lang="en-GB" sz="1400" dirty="0" smtClean="0">
                <a:solidFill>
                  <a:srgbClr val="002060"/>
                </a:solidFill>
              </a:rPr>
              <a:t>Offers greater risk capacity to clients</a:t>
            </a:r>
          </a:p>
          <a:p>
            <a:pPr marL="176213" indent="-176213" algn="just">
              <a:buSzPct val="65000"/>
              <a:buFont typeface="Wingdings" pitchFamily="2" charset="2"/>
              <a:buChar char="q"/>
              <a:defRPr/>
            </a:pPr>
            <a:r>
              <a:rPr lang="en-GB" sz="1400" dirty="0" smtClean="0">
                <a:solidFill>
                  <a:srgbClr val="002060"/>
                </a:solidFill>
              </a:rPr>
              <a:t>Increase the International profile of the Group</a:t>
            </a:r>
            <a:endParaRPr lang="en-GB" sz="1400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49" name="Rectangle 5"/>
          <p:cNvSpPr>
            <a:spLocks noChangeArrowheads="1"/>
          </p:cNvSpPr>
          <p:nvPr/>
        </p:nvSpPr>
        <p:spPr bwMode="auto">
          <a:xfrm>
            <a:off x="825500" y="2438400"/>
            <a:ext cx="84201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45715" rIns="91429" bIns="45715" anchor="ctr"/>
          <a:lstStyle/>
          <a:p>
            <a:pPr algn="ctr"/>
            <a:r>
              <a:rPr lang="en-US" sz="2300" b="1" dirty="0">
                <a:solidFill>
                  <a:schemeClr val="accent2"/>
                </a:solidFill>
                <a:latin typeface="Arial Unicode MS" pitchFamily="34" charset="-128"/>
              </a:rPr>
              <a:t> </a:t>
            </a:r>
          </a:p>
        </p:txBody>
      </p:sp>
      <p:sp>
        <p:nvSpPr>
          <p:cNvPr id="59395" name="Rectangle 6"/>
          <p:cNvSpPr>
            <a:spLocks noChangeArrowheads="1"/>
          </p:cNvSpPr>
          <p:nvPr/>
        </p:nvSpPr>
        <p:spPr bwMode="auto">
          <a:xfrm>
            <a:off x="818621" y="2205039"/>
            <a:ext cx="7764860" cy="1569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45715" rIns="91429" bIns="45715">
            <a:spAutoFit/>
          </a:bodyPr>
          <a:lstStyle/>
          <a:p>
            <a:pPr algn="ctr"/>
            <a:r>
              <a:rPr lang="en-GB" sz="3200" b="1" dirty="0">
                <a:solidFill>
                  <a:srgbClr val="002060"/>
                </a:solidFill>
                <a:latin typeface="Myriad Pro" pitchFamily="34" charset="0"/>
              </a:rPr>
              <a:t>Trading enhances the service which you can provide to your clients and extends portfolio management options to your Bank</a:t>
            </a:r>
            <a:endParaRPr lang="en-US" sz="3200" b="1" dirty="0">
              <a:solidFill>
                <a:srgbClr val="002060"/>
              </a:solidFill>
              <a:latin typeface="Myriad Pro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7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97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97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9749" grpId="0" autoUpdateAnimBg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2ABE9-6071-4D16-A39E-5B809A1D04EE}" type="slidenum">
              <a:rPr lang="en-GB" smtClean="0"/>
              <a:pPr/>
              <a:t>18</a:t>
            </a:fld>
            <a:endParaRPr lang="en-GB"/>
          </a:p>
        </p:txBody>
      </p:sp>
      <p:sp>
        <p:nvSpPr>
          <p:cNvPr id="16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956556" y="2276873"/>
            <a:ext cx="7991475" cy="1548172"/>
          </a:xfrm>
          <a:prstGeom prst="rect">
            <a:avLst/>
          </a:prstGeom>
          <a:noFill/>
        </p:spPr>
        <p:txBody>
          <a:bodyPr lIns="91429" tIns="45715" rIns="91429" bIns="45715" anchor="ctr"/>
          <a:lstStyle/>
          <a:p>
            <a:pPr algn="ctr">
              <a:spcBef>
                <a:spcPct val="0"/>
              </a:spcBef>
              <a:defRPr/>
            </a:pPr>
            <a:r>
              <a:rPr lang="en-US" sz="4300" dirty="0" smtClean="0">
                <a:solidFill>
                  <a:srgbClr val="00B0F0"/>
                </a:solidFill>
                <a:latin typeface="Cambria" pitchFamily="18" charset="0"/>
                <a:ea typeface="+mj-ea"/>
                <a:cs typeface="+mj-cs"/>
              </a:rPr>
              <a:t>Case Study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7" name="Text Box 3"/>
          <p:cNvSpPr txBox="1">
            <a:spLocks noChangeArrowheads="1"/>
          </p:cNvSpPr>
          <p:nvPr/>
        </p:nvSpPr>
        <p:spPr bwMode="auto">
          <a:xfrm>
            <a:off x="128464" y="1051579"/>
            <a:ext cx="3024336" cy="3420000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36000" tIns="36000" rIns="36000" bIns="36000">
            <a:spAutoFit/>
          </a:bodyPr>
          <a:lstStyle/>
          <a:p>
            <a:pPr>
              <a:spcBef>
                <a:spcPts val="600"/>
              </a:spcBef>
              <a:tabLst>
                <a:tab pos="1258888" algn="l"/>
              </a:tabLst>
            </a:pPr>
            <a:r>
              <a:rPr lang="en-GB" sz="1600" b="1" u="sng" dirty="0" smtClean="0">
                <a:solidFill>
                  <a:srgbClr val="002060"/>
                </a:solidFill>
              </a:rPr>
              <a:t>Initial Stage</a:t>
            </a:r>
          </a:p>
          <a:p>
            <a:pPr>
              <a:spcBef>
                <a:spcPts val="600"/>
              </a:spcBef>
              <a:tabLst>
                <a:tab pos="896938" algn="l"/>
              </a:tabLst>
            </a:pPr>
            <a:r>
              <a:rPr lang="en-GB" sz="1200" i="1" dirty="0" smtClean="0">
                <a:solidFill>
                  <a:schemeClr val="bg1">
                    <a:lumMod val="50000"/>
                  </a:schemeClr>
                </a:solidFill>
              </a:rPr>
              <a:t>Country</a:t>
            </a:r>
            <a:r>
              <a:rPr lang="en-GB" sz="1200" dirty="0" smtClean="0">
                <a:solidFill>
                  <a:srgbClr val="002060"/>
                </a:solidFill>
              </a:rPr>
              <a:t>:</a:t>
            </a:r>
            <a:r>
              <a:rPr lang="en-GB" sz="1200" dirty="0">
                <a:solidFill>
                  <a:srgbClr val="002060"/>
                </a:solidFill>
              </a:rPr>
              <a:t>	</a:t>
            </a:r>
            <a:r>
              <a:rPr lang="en-GB" sz="1200" dirty="0" smtClean="0">
                <a:solidFill>
                  <a:srgbClr val="002060"/>
                </a:solidFill>
              </a:rPr>
              <a:t>Philippines</a:t>
            </a:r>
            <a:endParaRPr lang="en-GB" sz="1200" dirty="0">
              <a:solidFill>
                <a:srgbClr val="002060"/>
              </a:solidFill>
            </a:endParaRPr>
          </a:p>
          <a:p>
            <a:pPr>
              <a:spcBef>
                <a:spcPts val="600"/>
              </a:spcBef>
              <a:tabLst>
                <a:tab pos="896938" algn="l"/>
              </a:tabLst>
            </a:pPr>
            <a:r>
              <a:rPr lang="en-GB" sz="1200" i="1" dirty="0" smtClean="0">
                <a:solidFill>
                  <a:schemeClr val="bg1">
                    <a:lumMod val="50000"/>
                  </a:schemeClr>
                </a:solidFill>
              </a:rPr>
              <a:t>Importer</a:t>
            </a:r>
            <a:r>
              <a:rPr lang="en-GB" sz="1200" dirty="0" smtClean="0">
                <a:solidFill>
                  <a:srgbClr val="002060"/>
                </a:solidFill>
              </a:rPr>
              <a:t>:</a:t>
            </a:r>
            <a:r>
              <a:rPr lang="en-GB" sz="1200" dirty="0">
                <a:solidFill>
                  <a:srgbClr val="002060"/>
                </a:solidFill>
              </a:rPr>
              <a:t>	</a:t>
            </a:r>
            <a:r>
              <a:rPr lang="en-GB" sz="1200" dirty="0" smtClean="0">
                <a:solidFill>
                  <a:srgbClr val="002060"/>
                </a:solidFill>
              </a:rPr>
              <a:t>Medium-sized </a:t>
            </a:r>
            <a:r>
              <a:rPr lang="en-GB" sz="1200" dirty="0">
                <a:solidFill>
                  <a:srgbClr val="002060"/>
                </a:solidFill>
              </a:rPr>
              <a:t>garment producer</a:t>
            </a:r>
          </a:p>
          <a:p>
            <a:pPr>
              <a:spcBef>
                <a:spcPts val="600"/>
              </a:spcBef>
              <a:tabLst>
                <a:tab pos="896938" algn="l"/>
              </a:tabLst>
            </a:pPr>
            <a:r>
              <a:rPr lang="en-GB" sz="1200" i="1" dirty="0" smtClean="0">
                <a:solidFill>
                  <a:schemeClr val="bg1">
                    <a:lumMod val="50000"/>
                  </a:schemeClr>
                </a:solidFill>
              </a:rPr>
              <a:t>Amount</a:t>
            </a:r>
            <a:r>
              <a:rPr lang="en-GB" sz="1200" dirty="0" smtClean="0">
                <a:solidFill>
                  <a:schemeClr val="bg1">
                    <a:lumMod val="50000"/>
                  </a:schemeClr>
                </a:solidFill>
              </a:rPr>
              <a:t>:</a:t>
            </a:r>
            <a:r>
              <a:rPr lang="en-GB" sz="1200" dirty="0">
                <a:solidFill>
                  <a:srgbClr val="002060"/>
                </a:solidFill>
              </a:rPr>
              <a:t>	</a:t>
            </a:r>
            <a:r>
              <a:rPr lang="en-GB" sz="1200" dirty="0" smtClean="0">
                <a:solidFill>
                  <a:srgbClr val="002060"/>
                </a:solidFill>
              </a:rPr>
              <a:t>Euro </a:t>
            </a:r>
            <a:r>
              <a:rPr lang="en-GB" sz="1200" dirty="0">
                <a:solidFill>
                  <a:srgbClr val="002060"/>
                </a:solidFill>
              </a:rPr>
              <a:t>3,500,000</a:t>
            </a:r>
          </a:p>
          <a:p>
            <a:pPr>
              <a:spcBef>
                <a:spcPts val="600"/>
              </a:spcBef>
              <a:tabLst>
                <a:tab pos="896938" algn="l"/>
              </a:tabLst>
            </a:pPr>
            <a:r>
              <a:rPr lang="en-GB" sz="1200" dirty="0" smtClean="0">
                <a:solidFill>
                  <a:schemeClr val="bg1">
                    <a:lumMod val="50000"/>
                  </a:schemeClr>
                </a:solidFill>
              </a:rPr>
              <a:t>Instrument:</a:t>
            </a:r>
            <a:r>
              <a:rPr lang="en-GB" sz="1200" dirty="0">
                <a:solidFill>
                  <a:srgbClr val="002060"/>
                </a:solidFill>
              </a:rPr>
              <a:t>	</a:t>
            </a:r>
            <a:r>
              <a:rPr lang="en-GB" sz="1200" dirty="0" smtClean="0">
                <a:solidFill>
                  <a:srgbClr val="002060"/>
                </a:solidFill>
              </a:rPr>
              <a:t>Bills </a:t>
            </a:r>
            <a:r>
              <a:rPr lang="en-GB" sz="1200" dirty="0">
                <a:solidFill>
                  <a:srgbClr val="002060"/>
                </a:solidFill>
              </a:rPr>
              <a:t>of Exchange</a:t>
            </a:r>
          </a:p>
          <a:p>
            <a:pPr>
              <a:spcBef>
                <a:spcPts val="600"/>
              </a:spcBef>
              <a:tabLst>
                <a:tab pos="896938" algn="l"/>
              </a:tabLst>
            </a:pPr>
            <a:r>
              <a:rPr lang="en-GB" sz="1200" i="1" dirty="0" smtClean="0">
                <a:solidFill>
                  <a:schemeClr val="bg1">
                    <a:lumMod val="50000"/>
                  </a:schemeClr>
                </a:solidFill>
              </a:rPr>
              <a:t>Tenor:</a:t>
            </a:r>
            <a:r>
              <a:rPr lang="en-GB" sz="1200" dirty="0">
                <a:solidFill>
                  <a:srgbClr val="002060"/>
                </a:solidFill>
              </a:rPr>
              <a:t>	</a:t>
            </a:r>
            <a:r>
              <a:rPr lang="en-GB" sz="1200" dirty="0" smtClean="0">
                <a:solidFill>
                  <a:srgbClr val="002060"/>
                </a:solidFill>
              </a:rPr>
              <a:t>As </a:t>
            </a:r>
            <a:r>
              <a:rPr lang="en-GB" sz="1200" dirty="0">
                <a:solidFill>
                  <a:srgbClr val="002060"/>
                </a:solidFill>
              </a:rPr>
              <a:t>long as possible</a:t>
            </a:r>
          </a:p>
          <a:p>
            <a:pPr>
              <a:spcBef>
                <a:spcPts val="600"/>
              </a:spcBef>
              <a:tabLst>
                <a:tab pos="896938" algn="l"/>
              </a:tabLst>
            </a:pPr>
            <a:r>
              <a:rPr lang="en-GB" sz="1200" i="1" dirty="0" smtClean="0">
                <a:solidFill>
                  <a:schemeClr val="bg1">
                    <a:lumMod val="50000"/>
                  </a:schemeClr>
                </a:solidFill>
              </a:rPr>
              <a:t>Delivery:</a:t>
            </a:r>
            <a:r>
              <a:rPr lang="en-GB" sz="1200" dirty="0">
                <a:solidFill>
                  <a:srgbClr val="002060"/>
                </a:solidFill>
              </a:rPr>
              <a:t>	</a:t>
            </a:r>
            <a:r>
              <a:rPr lang="en-GB" sz="1200" dirty="0" smtClean="0">
                <a:solidFill>
                  <a:srgbClr val="002060"/>
                </a:solidFill>
              </a:rPr>
              <a:t>In </a:t>
            </a:r>
            <a:r>
              <a:rPr lang="en-GB" sz="1200" dirty="0">
                <a:solidFill>
                  <a:srgbClr val="002060"/>
                </a:solidFill>
              </a:rPr>
              <a:t>2 months</a:t>
            </a:r>
          </a:p>
          <a:p>
            <a:pPr>
              <a:spcBef>
                <a:spcPts val="600"/>
              </a:spcBef>
              <a:tabLst>
                <a:tab pos="896938" algn="l"/>
              </a:tabLst>
            </a:pPr>
            <a:r>
              <a:rPr lang="en-GB" sz="1200" i="1" dirty="0" smtClean="0">
                <a:solidFill>
                  <a:schemeClr val="bg1">
                    <a:lumMod val="50000"/>
                  </a:schemeClr>
                </a:solidFill>
              </a:rPr>
              <a:t>Underlying</a:t>
            </a:r>
            <a:r>
              <a:rPr lang="en-GB" sz="1200" dirty="0" smtClean="0">
                <a:solidFill>
                  <a:srgbClr val="002060"/>
                </a:solidFill>
              </a:rPr>
              <a:t>	 Export of textile machinery</a:t>
            </a:r>
          </a:p>
          <a:p>
            <a:pPr>
              <a:tabLst>
                <a:tab pos="896938" algn="l"/>
              </a:tabLst>
            </a:pPr>
            <a:r>
              <a:rPr lang="en-GB" sz="1200" i="1" dirty="0" smtClean="0">
                <a:solidFill>
                  <a:schemeClr val="bg1">
                    <a:lumMod val="50000"/>
                  </a:schemeClr>
                </a:solidFill>
              </a:rPr>
              <a:t>transaction:</a:t>
            </a:r>
            <a:r>
              <a:rPr lang="en-GB" sz="1200" dirty="0">
                <a:solidFill>
                  <a:srgbClr val="002060"/>
                </a:solidFill>
              </a:rPr>
              <a:t>	</a:t>
            </a:r>
            <a:endParaRPr lang="en-US" sz="1200" dirty="0">
              <a:solidFill>
                <a:srgbClr val="00206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ase Study </a:t>
            </a:r>
            <a:r>
              <a:rPr lang="en-US" sz="1800" dirty="0" smtClean="0"/>
              <a:t>(M/LT Financing) </a:t>
            </a:r>
            <a:endParaRPr lang="en-US" dirty="0"/>
          </a:p>
        </p:txBody>
      </p:sp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3441000" y="1051580"/>
            <a:ext cx="3024000" cy="3420000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36000" tIns="36000" rIns="36000" bIns="36000">
            <a:spAutoFit/>
          </a:bodyPr>
          <a:lstStyle/>
          <a:p>
            <a:pPr>
              <a:spcBef>
                <a:spcPts val="600"/>
              </a:spcBef>
            </a:pPr>
            <a:r>
              <a:rPr lang="en-GB" sz="1600" b="1" u="sng" dirty="0" smtClean="0">
                <a:solidFill>
                  <a:srgbClr val="002060"/>
                </a:solidFill>
              </a:rPr>
              <a:t>Financing </a:t>
            </a:r>
            <a:r>
              <a:rPr lang="en-GB" sz="1600" b="1" u="sng" dirty="0">
                <a:solidFill>
                  <a:srgbClr val="002060"/>
                </a:solidFill>
              </a:rPr>
              <a:t>proposal by </a:t>
            </a:r>
            <a:r>
              <a:rPr lang="en-GB" sz="1600" b="1" u="sng" dirty="0" err="1" smtClean="0">
                <a:solidFill>
                  <a:srgbClr val="002060"/>
                </a:solidFill>
              </a:rPr>
              <a:t>Forfaiter</a:t>
            </a:r>
            <a:endParaRPr lang="en-GB" sz="1600" b="1" u="sng" dirty="0" smtClean="0">
              <a:solidFill>
                <a:srgbClr val="002060"/>
              </a:solidFill>
            </a:endParaRPr>
          </a:p>
          <a:p>
            <a:pPr>
              <a:spcBef>
                <a:spcPts val="600"/>
              </a:spcBef>
              <a:tabLst>
                <a:tab pos="896938" algn="l"/>
              </a:tabLst>
            </a:pPr>
            <a:r>
              <a:rPr lang="en-US" sz="1200" i="1" dirty="0" smtClean="0">
                <a:solidFill>
                  <a:schemeClr val="bg1">
                    <a:lumMod val="50000"/>
                  </a:schemeClr>
                </a:solidFill>
              </a:rPr>
              <a:t>Financing</a:t>
            </a:r>
            <a:r>
              <a:rPr lang="en-US" sz="1200" dirty="0" smtClean="0">
                <a:solidFill>
                  <a:srgbClr val="002060"/>
                </a:solidFill>
              </a:rPr>
              <a:t> 	 Bills of Exchange to be</a:t>
            </a:r>
          </a:p>
          <a:p>
            <a:pPr>
              <a:tabLst>
                <a:tab pos="896938" algn="l"/>
              </a:tabLst>
            </a:pPr>
            <a:r>
              <a:rPr lang="en-US" sz="1200" i="1" dirty="0" smtClean="0">
                <a:solidFill>
                  <a:schemeClr val="bg1">
                    <a:lumMod val="50000"/>
                  </a:schemeClr>
                </a:solidFill>
              </a:rPr>
              <a:t>terms: </a:t>
            </a:r>
            <a:r>
              <a:rPr lang="en-US" sz="1200" dirty="0" smtClean="0">
                <a:solidFill>
                  <a:srgbClr val="002060"/>
                </a:solidFill>
              </a:rPr>
              <a:t>	 accepted by Importer and 	</a:t>
            </a:r>
            <a:r>
              <a:rPr lang="en-US" sz="1200" dirty="0" err="1" smtClean="0">
                <a:solidFill>
                  <a:srgbClr val="002060"/>
                </a:solidFill>
              </a:rPr>
              <a:t>avalized</a:t>
            </a:r>
            <a:r>
              <a:rPr lang="en-US" sz="1200" dirty="0" smtClean="0">
                <a:solidFill>
                  <a:srgbClr val="002060"/>
                </a:solidFill>
              </a:rPr>
              <a:t> </a:t>
            </a:r>
            <a:r>
              <a:rPr lang="en-US" sz="1200" dirty="0">
                <a:solidFill>
                  <a:srgbClr val="002060"/>
                </a:solidFill>
              </a:rPr>
              <a:t>(guaranteed) by </a:t>
            </a:r>
            <a:r>
              <a:rPr lang="en-US" sz="1200" dirty="0" smtClean="0">
                <a:solidFill>
                  <a:srgbClr val="002060"/>
                </a:solidFill>
              </a:rPr>
              <a:t>a</a:t>
            </a:r>
          </a:p>
          <a:p>
            <a:pPr>
              <a:tabLst>
                <a:tab pos="896938" algn="l"/>
              </a:tabLst>
            </a:pPr>
            <a:r>
              <a:rPr lang="en-US" sz="1200" dirty="0" smtClean="0">
                <a:solidFill>
                  <a:srgbClr val="002060"/>
                </a:solidFill>
              </a:rPr>
              <a:t>	prime </a:t>
            </a:r>
            <a:r>
              <a:rPr lang="en-US" sz="1200" dirty="0">
                <a:solidFill>
                  <a:srgbClr val="002060"/>
                </a:solidFill>
              </a:rPr>
              <a:t>Bank in the Philippines</a:t>
            </a:r>
          </a:p>
          <a:p>
            <a:pPr>
              <a:spcBef>
                <a:spcPts val="600"/>
              </a:spcBef>
            </a:pPr>
            <a:r>
              <a:rPr lang="en-US" sz="1200" dirty="0" smtClean="0">
                <a:solidFill>
                  <a:schemeClr val="bg1">
                    <a:lumMod val="50000"/>
                  </a:schemeClr>
                </a:solidFill>
              </a:rPr>
              <a:t>Financing</a:t>
            </a:r>
            <a:r>
              <a:rPr lang="en-US" sz="1200" dirty="0" smtClean="0">
                <a:solidFill>
                  <a:srgbClr val="002060"/>
                </a:solidFill>
              </a:rPr>
              <a:t> 	3 years (6 semi-annual</a:t>
            </a:r>
          </a:p>
          <a:p>
            <a:r>
              <a:rPr lang="en-US" sz="1200" i="1" dirty="0" smtClean="0">
                <a:solidFill>
                  <a:schemeClr val="bg1">
                    <a:lumMod val="50000"/>
                  </a:schemeClr>
                </a:solidFill>
              </a:rPr>
              <a:t>period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: </a:t>
            </a:r>
            <a:r>
              <a:rPr lang="en-US" sz="1200" dirty="0" smtClean="0">
                <a:solidFill>
                  <a:srgbClr val="002060"/>
                </a:solidFill>
              </a:rPr>
              <a:t>	installments</a:t>
            </a:r>
            <a:r>
              <a:rPr lang="en-US" sz="1200" dirty="0">
                <a:solidFill>
                  <a:srgbClr val="002060"/>
                </a:solidFill>
              </a:rPr>
              <a:t>)</a:t>
            </a:r>
          </a:p>
          <a:p>
            <a:pPr>
              <a:spcBef>
                <a:spcPts val="600"/>
              </a:spcBef>
            </a:pPr>
            <a:r>
              <a:rPr lang="en-US" sz="1200" i="1" dirty="0" smtClean="0">
                <a:solidFill>
                  <a:schemeClr val="bg1">
                    <a:lumMod val="50000"/>
                  </a:schemeClr>
                </a:solidFill>
              </a:rPr>
              <a:t>Discounting</a:t>
            </a:r>
            <a:r>
              <a:rPr lang="en-US" sz="1200" dirty="0" smtClean="0">
                <a:solidFill>
                  <a:srgbClr val="002060"/>
                </a:solidFill>
              </a:rPr>
              <a:t> 	</a:t>
            </a:r>
            <a:r>
              <a:rPr lang="en-US" sz="1200" dirty="0" err="1" smtClean="0">
                <a:solidFill>
                  <a:srgbClr val="002060"/>
                </a:solidFill>
              </a:rPr>
              <a:t>Eurobor</a:t>
            </a:r>
            <a:r>
              <a:rPr lang="en-US" sz="1200" dirty="0" smtClean="0">
                <a:solidFill>
                  <a:srgbClr val="002060"/>
                </a:solidFill>
              </a:rPr>
              <a:t> average  life of</a:t>
            </a:r>
          </a:p>
          <a:p>
            <a:r>
              <a:rPr lang="en-US" sz="1200" i="1" dirty="0" smtClean="0">
                <a:solidFill>
                  <a:schemeClr val="bg1">
                    <a:lumMod val="50000"/>
                  </a:schemeClr>
                </a:solidFill>
              </a:rPr>
              <a:t>rate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: </a:t>
            </a:r>
            <a:r>
              <a:rPr lang="en-US" sz="1200" dirty="0" smtClean="0">
                <a:solidFill>
                  <a:srgbClr val="002060"/>
                </a:solidFill>
              </a:rPr>
              <a:t>	transaction </a:t>
            </a:r>
            <a:r>
              <a:rPr lang="en-US" sz="1200" dirty="0">
                <a:solidFill>
                  <a:srgbClr val="002060"/>
                </a:solidFill>
              </a:rPr>
              <a:t>(1,75 years) </a:t>
            </a:r>
            <a:r>
              <a:rPr lang="en-US" sz="1200" dirty="0" smtClean="0">
                <a:solidFill>
                  <a:srgbClr val="002060"/>
                </a:solidFill>
              </a:rPr>
              <a:t>plus </a:t>
            </a:r>
          </a:p>
          <a:p>
            <a:r>
              <a:rPr lang="en-US" sz="1200" dirty="0" smtClean="0">
                <a:solidFill>
                  <a:srgbClr val="002060"/>
                </a:solidFill>
              </a:rPr>
              <a:t>	4 </a:t>
            </a:r>
            <a:r>
              <a:rPr lang="en-US" sz="1200" dirty="0">
                <a:solidFill>
                  <a:srgbClr val="002060"/>
                </a:solidFill>
              </a:rPr>
              <a:t>% p.a. discount to </a:t>
            </a:r>
            <a:r>
              <a:rPr lang="en-US" sz="1200" dirty="0" smtClean="0">
                <a:solidFill>
                  <a:srgbClr val="002060"/>
                </a:solidFill>
              </a:rPr>
              <a:t>yield</a:t>
            </a:r>
          </a:p>
          <a:p>
            <a:r>
              <a:rPr lang="en-US" sz="1200" dirty="0" smtClean="0">
                <a:solidFill>
                  <a:srgbClr val="002060"/>
                </a:solidFill>
              </a:rPr>
              <a:t>	compounded </a:t>
            </a:r>
            <a:r>
              <a:rPr lang="en-US" sz="1200" dirty="0">
                <a:solidFill>
                  <a:srgbClr val="002060"/>
                </a:solidFill>
              </a:rPr>
              <a:t>semi-annually</a:t>
            </a:r>
          </a:p>
          <a:p>
            <a:pPr>
              <a:spcBef>
                <a:spcPts val="600"/>
              </a:spcBef>
            </a:pPr>
            <a:r>
              <a:rPr lang="en-US" sz="1200" i="1" dirty="0" smtClean="0">
                <a:solidFill>
                  <a:schemeClr val="bg1">
                    <a:lumMod val="50000"/>
                  </a:schemeClr>
                </a:solidFill>
              </a:rPr>
              <a:t>Days </a:t>
            </a:r>
            <a:r>
              <a:rPr lang="en-US" sz="1200" i="1" dirty="0">
                <a:solidFill>
                  <a:schemeClr val="bg1">
                    <a:lumMod val="50000"/>
                  </a:schemeClr>
                </a:solidFill>
              </a:rPr>
              <a:t>of </a:t>
            </a:r>
            <a:r>
              <a:rPr lang="en-US" sz="1200" dirty="0" smtClean="0">
                <a:solidFill>
                  <a:srgbClr val="002060"/>
                </a:solidFill>
              </a:rPr>
              <a:t>	 3 days</a:t>
            </a:r>
          </a:p>
          <a:p>
            <a:r>
              <a:rPr lang="en-US" sz="1200" i="1" dirty="0" smtClean="0">
                <a:solidFill>
                  <a:schemeClr val="bg1">
                    <a:lumMod val="50000"/>
                  </a:schemeClr>
                </a:solidFill>
              </a:rPr>
              <a:t>grace:</a:t>
            </a:r>
            <a:endParaRPr lang="en-US" sz="1200" i="1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600"/>
              </a:spcBef>
            </a:pPr>
            <a:r>
              <a:rPr lang="en-US" sz="1200" i="1" dirty="0" smtClean="0">
                <a:solidFill>
                  <a:schemeClr val="bg1">
                    <a:lumMod val="50000"/>
                  </a:schemeClr>
                </a:solidFill>
              </a:rPr>
              <a:t>Commitment</a:t>
            </a:r>
            <a:r>
              <a:rPr lang="en-US" sz="1200" dirty="0" smtClean="0">
                <a:solidFill>
                  <a:srgbClr val="002060"/>
                </a:solidFill>
              </a:rPr>
              <a:t>	 1,5 % p.a.,</a:t>
            </a:r>
          </a:p>
          <a:p>
            <a:r>
              <a:rPr lang="en-US" sz="1200" i="1" dirty="0" smtClean="0">
                <a:solidFill>
                  <a:schemeClr val="bg1">
                    <a:lumMod val="50000"/>
                  </a:schemeClr>
                </a:solidFill>
              </a:rPr>
              <a:t>fee: </a:t>
            </a:r>
            <a:r>
              <a:rPr lang="en-US" sz="1200" dirty="0" smtClean="0">
                <a:solidFill>
                  <a:srgbClr val="002060"/>
                </a:solidFill>
              </a:rPr>
              <a:t>	payable </a:t>
            </a:r>
            <a:r>
              <a:rPr lang="en-US" sz="1200" dirty="0">
                <a:solidFill>
                  <a:srgbClr val="002060"/>
                </a:solidFill>
              </a:rPr>
              <a:t>at discount</a:t>
            </a:r>
          </a:p>
        </p:txBody>
      </p:sp>
      <p:sp>
        <p:nvSpPr>
          <p:cNvPr id="7" name="Text Box 3"/>
          <p:cNvSpPr txBox="1">
            <a:spLocks noChangeArrowheads="1"/>
          </p:cNvSpPr>
          <p:nvPr/>
        </p:nvSpPr>
        <p:spPr bwMode="auto">
          <a:xfrm>
            <a:off x="6753200" y="1051579"/>
            <a:ext cx="3024000" cy="3420000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  <a:miter lim="800000"/>
            <a:headEnd/>
            <a:tailEnd/>
          </a:ln>
        </p:spPr>
        <p:txBody>
          <a:bodyPr wrap="square" lIns="91429" tIns="45715" rIns="91429" bIns="45715">
            <a:spAutoFit/>
          </a:bodyPr>
          <a:lstStyle/>
          <a:p>
            <a:pPr>
              <a:spcBef>
                <a:spcPct val="50000"/>
              </a:spcBef>
            </a:pPr>
            <a:r>
              <a:rPr lang="en-GB" sz="1600" b="1" u="sng" dirty="0">
                <a:solidFill>
                  <a:srgbClr val="002060"/>
                </a:solidFill>
              </a:rPr>
              <a:t>Required </a:t>
            </a:r>
            <a:r>
              <a:rPr lang="en-GB" sz="1600" b="1" u="sng" dirty="0" smtClean="0">
                <a:solidFill>
                  <a:srgbClr val="002060"/>
                </a:solidFill>
              </a:rPr>
              <a:t>documentation</a:t>
            </a:r>
            <a:endParaRPr lang="en-GB" sz="1600" b="1" u="sng" dirty="0">
              <a:solidFill>
                <a:srgbClr val="002060"/>
              </a:solidFill>
            </a:endParaRPr>
          </a:p>
          <a:p>
            <a:pPr marL="176213" indent="-176213">
              <a:spcBef>
                <a:spcPts val="600"/>
              </a:spcBef>
              <a:buSzPct val="65000"/>
              <a:buFont typeface="Wingdings" pitchFamily="2" charset="2"/>
              <a:buChar char="q"/>
            </a:pPr>
            <a:r>
              <a:rPr lang="en-US" sz="1200" dirty="0" smtClean="0">
                <a:solidFill>
                  <a:srgbClr val="002060"/>
                </a:solidFill>
              </a:rPr>
              <a:t>Set </a:t>
            </a:r>
            <a:r>
              <a:rPr lang="en-US" sz="1200" dirty="0">
                <a:solidFill>
                  <a:srgbClr val="002060"/>
                </a:solidFill>
              </a:rPr>
              <a:t>of 10 Bills of Exchange (originals) accepted by Importer and </a:t>
            </a:r>
            <a:r>
              <a:rPr lang="en-US" sz="1200" dirty="0" err="1" smtClean="0">
                <a:solidFill>
                  <a:srgbClr val="002060"/>
                </a:solidFill>
              </a:rPr>
              <a:t>avalized</a:t>
            </a:r>
            <a:r>
              <a:rPr lang="en-US" sz="1200" dirty="0" smtClean="0">
                <a:solidFill>
                  <a:srgbClr val="002060"/>
                </a:solidFill>
              </a:rPr>
              <a:t> by </a:t>
            </a:r>
            <a:r>
              <a:rPr lang="en-US" sz="1200" dirty="0">
                <a:solidFill>
                  <a:srgbClr val="002060"/>
                </a:solidFill>
              </a:rPr>
              <a:t>Bank of the Philippine Islands</a:t>
            </a:r>
          </a:p>
          <a:p>
            <a:pPr marL="176213" indent="-176213">
              <a:spcBef>
                <a:spcPts val="600"/>
              </a:spcBef>
              <a:buSzPct val="65000"/>
              <a:buFont typeface="Wingdings" pitchFamily="2" charset="2"/>
              <a:buChar char="q"/>
            </a:pPr>
            <a:r>
              <a:rPr lang="en-US" sz="1200" dirty="0" smtClean="0">
                <a:solidFill>
                  <a:srgbClr val="002060"/>
                </a:solidFill>
              </a:rPr>
              <a:t>B/E’s </a:t>
            </a:r>
            <a:r>
              <a:rPr lang="en-US" sz="1200" dirty="0">
                <a:solidFill>
                  <a:srgbClr val="002060"/>
                </a:solidFill>
              </a:rPr>
              <a:t>need to be duly endorsed </a:t>
            </a:r>
            <a:r>
              <a:rPr lang="en-US" sz="1200" dirty="0" smtClean="0">
                <a:solidFill>
                  <a:srgbClr val="002060"/>
                </a:solidFill>
              </a:rPr>
              <a:t>to FIMBANK</a:t>
            </a:r>
            <a:endParaRPr lang="en-US" sz="1200" dirty="0">
              <a:solidFill>
                <a:srgbClr val="002060"/>
              </a:solidFill>
            </a:endParaRPr>
          </a:p>
          <a:p>
            <a:pPr marL="176213" indent="-176213">
              <a:spcBef>
                <a:spcPts val="600"/>
              </a:spcBef>
              <a:buSzPct val="65000"/>
              <a:buFont typeface="Wingdings" pitchFamily="2" charset="2"/>
              <a:buChar char="q"/>
            </a:pPr>
            <a:r>
              <a:rPr lang="en-US" sz="1200" dirty="0" smtClean="0">
                <a:solidFill>
                  <a:srgbClr val="002060"/>
                </a:solidFill>
              </a:rPr>
              <a:t>Confirmation </a:t>
            </a:r>
            <a:r>
              <a:rPr lang="en-US" sz="1200" dirty="0">
                <a:solidFill>
                  <a:srgbClr val="002060"/>
                </a:solidFill>
              </a:rPr>
              <a:t>that Importer’s signatures on B/E’s are authentic </a:t>
            </a:r>
            <a:r>
              <a:rPr lang="en-US" sz="1200" dirty="0" smtClean="0">
                <a:solidFill>
                  <a:srgbClr val="002060"/>
                </a:solidFill>
              </a:rPr>
              <a:t>and validly </a:t>
            </a:r>
            <a:r>
              <a:rPr lang="en-US" sz="1200" dirty="0">
                <a:solidFill>
                  <a:srgbClr val="002060"/>
                </a:solidFill>
              </a:rPr>
              <a:t>binding</a:t>
            </a:r>
          </a:p>
          <a:p>
            <a:pPr marL="176213" indent="-176213">
              <a:spcBef>
                <a:spcPts val="600"/>
              </a:spcBef>
              <a:buSzPct val="65000"/>
              <a:buFont typeface="Wingdings" pitchFamily="2" charset="2"/>
              <a:buChar char="q"/>
            </a:pPr>
            <a:r>
              <a:rPr lang="en-US" sz="1200" dirty="0" smtClean="0">
                <a:solidFill>
                  <a:srgbClr val="002060"/>
                </a:solidFill>
              </a:rPr>
              <a:t>Confirmation </a:t>
            </a:r>
            <a:r>
              <a:rPr lang="en-US" sz="1200" dirty="0">
                <a:solidFill>
                  <a:srgbClr val="002060"/>
                </a:solidFill>
              </a:rPr>
              <a:t>that </a:t>
            </a:r>
            <a:r>
              <a:rPr lang="en-US" sz="1200" dirty="0" err="1">
                <a:solidFill>
                  <a:srgbClr val="002060"/>
                </a:solidFill>
              </a:rPr>
              <a:t>avalizing</a:t>
            </a:r>
            <a:r>
              <a:rPr lang="en-US" sz="1200" dirty="0">
                <a:solidFill>
                  <a:srgbClr val="002060"/>
                </a:solidFill>
              </a:rPr>
              <a:t> Bank’s signatures on B/E’s are authentic </a:t>
            </a:r>
            <a:r>
              <a:rPr lang="en-US" sz="1200" dirty="0" smtClean="0">
                <a:solidFill>
                  <a:srgbClr val="002060"/>
                </a:solidFill>
              </a:rPr>
              <a:t>and validly </a:t>
            </a:r>
            <a:r>
              <a:rPr lang="en-US" sz="1200" dirty="0">
                <a:solidFill>
                  <a:srgbClr val="002060"/>
                </a:solidFill>
              </a:rPr>
              <a:t>binding</a:t>
            </a:r>
          </a:p>
          <a:p>
            <a:pPr marL="176213" indent="-176213">
              <a:spcBef>
                <a:spcPts val="600"/>
              </a:spcBef>
              <a:buSzPct val="65000"/>
              <a:buFont typeface="Wingdings" pitchFamily="2" charset="2"/>
              <a:buChar char="q"/>
            </a:pPr>
            <a:r>
              <a:rPr lang="en-US" sz="1200" dirty="0" smtClean="0">
                <a:solidFill>
                  <a:srgbClr val="002060"/>
                </a:solidFill>
              </a:rPr>
              <a:t>Certified </a:t>
            </a:r>
            <a:r>
              <a:rPr lang="en-US" sz="1200" dirty="0">
                <a:solidFill>
                  <a:srgbClr val="002060"/>
                </a:solidFill>
              </a:rPr>
              <a:t>true copy of </a:t>
            </a:r>
            <a:endParaRPr lang="en-US" sz="1200" dirty="0" smtClean="0">
              <a:solidFill>
                <a:srgbClr val="002060"/>
              </a:solidFill>
            </a:endParaRPr>
          </a:p>
          <a:p>
            <a:pPr marL="444500" indent="-268288">
              <a:spcBef>
                <a:spcPct val="50000"/>
              </a:spcBef>
              <a:buFont typeface="+mj-lt"/>
              <a:buAutoNum type="alphaLcPeriod"/>
            </a:pPr>
            <a:r>
              <a:rPr lang="en-GB" sz="1200" dirty="0" smtClean="0">
                <a:solidFill>
                  <a:srgbClr val="002060"/>
                </a:solidFill>
              </a:rPr>
              <a:t>Commercial Invoice(s)</a:t>
            </a:r>
          </a:p>
          <a:p>
            <a:pPr marL="444500" indent="-268288">
              <a:buFont typeface="+mj-lt"/>
              <a:buAutoNum type="alphaLcPeriod"/>
            </a:pPr>
            <a:r>
              <a:rPr lang="en-GB" sz="1200" dirty="0" smtClean="0">
                <a:solidFill>
                  <a:srgbClr val="002060"/>
                </a:solidFill>
              </a:rPr>
              <a:t>Bill(s) of Lading</a:t>
            </a:r>
            <a:endParaRPr lang="en-US" sz="1200" dirty="0" smtClean="0">
              <a:solidFill>
                <a:srgbClr val="002060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19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7" grpId="0" animBg="1"/>
      <p:bldP spid="6" grpId="0" animBg="1"/>
      <p:bldP spid="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will we discuss together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2ABE9-6071-4D16-A39E-5B809A1D04EE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16" name="Rectangle 4"/>
          <p:cNvSpPr>
            <a:spLocks noChangeArrowheads="1"/>
          </p:cNvSpPr>
          <p:nvPr/>
        </p:nvSpPr>
        <p:spPr bwMode="auto">
          <a:xfrm>
            <a:off x="740533" y="1844825"/>
            <a:ext cx="8964996" cy="312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452387" indent="-452387">
              <a:spcBef>
                <a:spcPts val="3000"/>
              </a:spcBef>
              <a:buSzPct val="65000"/>
              <a:buFont typeface="Wingdings" pitchFamily="2" charset="2"/>
              <a:buChar char="q"/>
            </a:pPr>
            <a:r>
              <a:rPr lang="en-US" sz="3200" dirty="0" smtClean="0">
                <a:solidFill>
                  <a:srgbClr val="558ED5"/>
                </a:solidFill>
                <a:latin typeface="Cambria" pitchFamily="18" charset="0"/>
                <a:sym typeface="Wingdings" pitchFamily="2" charset="2"/>
              </a:rPr>
              <a:t>Forfaiting : The Basics</a:t>
            </a:r>
          </a:p>
          <a:p>
            <a:pPr marL="452387" indent="-452387">
              <a:spcBef>
                <a:spcPts val="3000"/>
              </a:spcBef>
              <a:buSzPct val="65000"/>
              <a:buFont typeface="Wingdings" pitchFamily="2" charset="2"/>
              <a:buChar char="q"/>
            </a:pPr>
            <a:r>
              <a:rPr lang="en-US" sz="3200" dirty="0" smtClean="0">
                <a:solidFill>
                  <a:srgbClr val="558ED5"/>
                </a:solidFill>
                <a:latin typeface="Cambria" pitchFamily="18" charset="0"/>
                <a:sym typeface="Wingdings" pitchFamily="2" charset="2"/>
              </a:rPr>
              <a:t>Comparison with other Trade Finance Products</a:t>
            </a:r>
          </a:p>
          <a:p>
            <a:pPr marL="452387" indent="-452387">
              <a:spcBef>
                <a:spcPts val="3000"/>
              </a:spcBef>
              <a:buSzPct val="65000"/>
              <a:buFont typeface="Wingdings" pitchFamily="2" charset="2"/>
              <a:buChar char="q"/>
            </a:pPr>
            <a:r>
              <a:rPr lang="en-US" sz="3200" dirty="0" smtClean="0">
                <a:solidFill>
                  <a:srgbClr val="558ED5"/>
                </a:solidFill>
                <a:latin typeface="Cambria" pitchFamily="18" charset="0"/>
                <a:sym typeface="Wingdings" pitchFamily="2" charset="2"/>
              </a:rPr>
              <a:t>Case Study</a:t>
            </a:r>
          </a:p>
          <a:p>
            <a:pPr marL="452387" indent="-452387">
              <a:spcBef>
                <a:spcPts val="3000"/>
              </a:spcBef>
              <a:buSzPct val="65000"/>
              <a:buFont typeface="Wingdings" pitchFamily="2" charset="2"/>
              <a:buChar char="q"/>
            </a:pPr>
            <a:r>
              <a:rPr lang="en-US" sz="3200" dirty="0" smtClean="0">
                <a:solidFill>
                  <a:srgbClr val="558ED5"/>
                </a:solidFill>
                <a:latin typeface="Cambria" pitchFamily="18" charset="0"/>
                <a:sym typeface="Wingdings" pitchFamily="2" charset="2"/>
              </a:rPr>
              <a:t>Forfaiting : The Future </a:t>
            </a:r>
            <a:endParaRPr lang="en-US" sz="3200" dirty="0">
              <a:solidFill>
                <a:srgbClr val="558ED5"/>
              </a:solidFill>
              <a:latin typeface="Cambria" pitchFamily="18" charset="0"/>
              <a:sym typeface="Wingdings" pitchFamily="2" charset="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2ABE9-6071-4D16-A39E-5B809A1D04EE}" type="slidenum">
              <a:rPr lang="en-GB" smtClean="0"/>
              <a:pPr/>
              <a:t>20</a:t>
            </a:fld>
            <a:endParaRPr lang="en-GB"/>
          </a:p>
        </p:txBody>
      </p:sp>
      <p:sp>
        <p:nvSpPr>
          <p:cNvPr id="16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956556" y="2276873"/>
            <a:ext cx="7991475" cy="1548172"/>
          </a:xfrm>
          <a:prstGeom prst="rect">
            <a:avLst/>
          </a:prstGeom>
          <a:noFill/>
        </p:spPr>
        <p:txBody>
          <a:bodyPr lIns="91429" tIns="45715" rIns="91429" bIns="45715" anchor="ctr"/>
          <a:lstStyle/>
          <a:p>
            <a:pPr algn="ctr">
              <a:spcBef>
                <a:spcPct val="0"/>
              </a:spcBef>
              <a:defRPr/>
            </a:pPr>
            <a:r>
              <a:rPr lang="en-US" sz="4300" dirty="0" smtClean="0">
                <a:solidFill>
                  <a:srgbClr val="00B0F0"/>
                </a:solidFill>
                <a:latin typeface="Cambria" pitchFamily="18" charset="0"/>
                <a:ea typeface="+mj-ea"/>
                <a:cs typeface="+mj-cs"/>
              </a:rPr>
              <a:t>Forfaiting : The Futur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7" name="Rectangle 3"/>
          <p:cNvSpPr>
            <a:spLocks noChangeArrowheads="1"/>
          </p:cNvSpPr>
          <p:nvPr/>
        </p:nvSpPr>
        <p:spPr bwMode="auto">
          <a:xfrm>
            <a:off x="920552" y="1083518"/>
            <a:ext cx="7560840" cy="40934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29" tIns="45715" rIns="91429" bIns="45715">
            <a:spAutoFit/>
          </a:bodyPr>
          <a:lstStyle/>
          <a:p>
            <a:pPr marL="360363" lvl="1" indent="-360363" defTabSz="761913">
              <a:spcBef>
                <a:spcPts val="1800"/>
              </a:spcBef>
              <a:buSzPct val="65000"/>
              <a:buFont typeface="Wingdings" pitchFamily="2" charset="2"/>
              <a:buChar char="q"/>
            </a:pPr>
            <a:r>
              <a:rPr lang="en-GB" dirty="0">
                <a:solidFill>
                  <a:srgbClr val="002060"/>
                </a:solidFill>
                <a:cs typeface="Times New Roman" pitchFamily="18" charset="0"/>
              </a:rPr>
              <a:t>Increasing alternative to traditional bank finance as commercial banks exit the trade finance market post Global Financial Crises. </a:t>
            </a:r>
          </a:p>
          <a:p>
            <a:pPr marL="360363" lvl="1" indent="-360363" defTabSz="761913">
              <a:spcBef>
                <a:spcPts val="1800"/>
              </a:spcBef>
              <a:buSzPct val="65000"/>
              <a:buFont typeface="Wingdings" pitchFamily="2" charset="2"/>
              <a:buChar char="q"/>
            </a:pPr>
            <a:r>
              <a:rPr lang="en-GB" dirty="0" smtClean="0">
                <a:solidFill>
                  <a:srgbClr val="002060"/>
                </a:solidFill>
                <a:cs typeface="Times New Roman" pitchFamily="18" charset="0"/>
              </a:rPr>
              <a:t>Complementary </a:t>
            </a:r>
            <a:r>
              <a:rPr lang="en-GB" dirty="0">
                <a:solidFill>
                  <a:srgbClr val="002060"/>
                </a:solidFill>
                <a:cs typeface="Times New Roman" pitchFamily="18" charset="0"/>
              </a:rPr>
              <a:t>component to structured and project related finance.</a:t>
            </a:r>
          </a:p>
          <a:p>
            <a:pPr marL="360363" lvl="1" indent="-360363" defTabSz="761913">
              <a:spcBef>
                <a:spcPts val="1800"/>
              </a:spcBef>
              <a:buSzPct val="65000"/>
              <a:buFont typeface="Wingdings" pitchFamily="2" charset="2"/>
              <a:buChar char="q"/>
            </a:pPr>
            <a:r>
              <a:rPr lang="en-GB" dirty="0" smtClean="0">
                <a:solidFill>
                  <a:srgbClr val="002060"/>
                </a:solidFill>
                <a:cs typeface="Times New Roman" pitchFamily="18" charset="0"/>
              </a:rPr>
              <a:t>Innovative </a:t>
            </a:r>
            <a:r>
              <a:rPr lang="en-GB" dirty="0">
                <a:solidFill>
                  <a:srgbClr val="002060"/>
                </a:solidFill>
                <a:cs typeface="Times New Roman" pitchFamily="18" charset="0"/>
              </a:rPr>
              <a:t>application to non standard debt transactions </a:t>
            </a:r>
            <a:endParaRPr lang="en-GB" dirty="0" smtClean="0">
              <a:solidFill>
                <a:srgbClr val="002060"/>
              </a:solidFill>
              <a:cs typeface="Times New Roman" pitchFamily="18" charset="0"/>
            </a:endParaRPr>
          </a:p>
          <a:p>
            <a:pPr marL="360363" lvl="1" indent="-360363" defTabSz="761913">
              <a:spcBef>
                <a:spcPts val="600"/>
              </a:spcBef>
              <a:buSzPct val="65000"/>
            </a:pPr>
            <a:r>
              <a:rPr lang="en-GB" dirty="0" smtClean="0">
                <a:solidFill>
                  <a:srgbClr val="002060"/>
                </a:solidFill>
                <a:cs typeface="Times New Roman" pitchFamily="18" charset="0"/>
              </a:rPr>
              <a:t>	e.g</a:t>
            </a:r>
            <a:r>
              <a:rPr lang="en-GB" dirty="0">
                <a:solidFill>
                  <a:srgbClr val="002060"/>
                </a:solidFill>
                <a:cs typeface="Times New Roman" pitchFamily="18" charset="0"/>
              </a:rPr>
              <a:t>. Lease stream, Progress Payments, </a:t>
            </a:r>
            <a:r>
              <a:rPr lang="en-GB" dirty="0" smtClean="0">
                <a:solidFill>
                  <a:srgbClr val="002060"/>
                </a:solidFill>
                <a:cs typeface="Times New Roman" pitchFamily="18" charset="0"/>
              </a:rPr>
              <a:t>Corporate </a:t>
            </a:r>
            <a:r>
              <a:rPr lang="en-GB" dirty="0">
                <a:solidFill>
                  <a:srgbClr val="002060"/>
                </a:solidFill>
                <a:cs typeface="Times New Roman" pitchFamily="18" charset="0"/>
              </a:rPr>
              <a:t>Finance etc.</a:t>
            </a:r>
          </a:p>
          <a:p>
            <a:pPr marL="360363" lvl="1" indent="-360363" defTabSz="761913">
              <a:spcBef>
                <a:spcPts val="1800"/>
              </a:spcBef>
              <a:buSzPct val="65000"/>
              <a:buFont typeface="Wingdings" pitchFamily="2" charset="2"/>
              <a:buChar char="q"/>
            </a:pPr>
            <a:r>
              <a:rPr lang="en-GB" dirty="0" smtClean="0">
                <a:solidFill>
                  <a:srgbClr val="002060"/>
                </a:solidFill>
                <a:cs typeface="Times New Roman" pitchFamily="18" charset="0"/>
              </a:rPr>
              <a:t>Attractive </a:t>
            </a:r>
            <a:r>
              <a:rPr lang="en-GB" dirty="0">
                <a:solidFill>
                  <a:srgbClr val="002060"/>
                </a:solidFill>
                <a:cs typeface="Times New Roman" pitchFamily="18" charset="0"/>
              </a:rPr>
              <a:t>asset class for 3</a:t>
            </a:r>
            <a:r>
              <a:rPr lang="en-GB" baseline="30000" dirty="0">
                <a:solidFill>
                  <a:srgbClr val="002060"/>
                </a:solidFill>
                <a:cs typeface="Times New Roman" pitchFamily="18" charset="0"/>
              </a:rPr>
              <a:t>rd</a:t>
            </a:r>
            <a:r>
              <a:rPr lang="en-GB" dirty="0">
                <a:solidFill>
                  <a:srgbClr val="002060"/>
                </a:solidFill>
                <a:cs typeface="Times New Roman" pitchFamily="18" charset="0"/>
              </a:rPr>
              <a:t> party investors </a:t>
            </a:r>
            <a:endParaRPr lang="en-GB" dirty="0" smtClean="0">
              <a:solidFill>
                <a:srgbClr val="002060"/>
              </a:solidFill>
              <a:cs typeface="Times New Roman" pitchFamily="18" charset="0"/>
            </a:endParaRPr>
          </a:p>
          <a:p>
            <a:pPr marL="360363" lvl="1" indent="-360363" defTabSz="761913">
              <a:spcBef>
                <a:spcPts val="600"/>
              </a:spcBef>
              <a:buSzPct val="65000"/>
            </a:pPr>
            <a:r>
              <a:rPr lang="en-GB" dirty="0" smtClean="0">
                <a:solidFill>
                  <a:srgbClr val="002060"/>
                </a:solidFill>
                <a:cs typeface="Times New Roman" pitchFamily="18" charset="0"/>
              </a:rPr>
              <a:t>	e.g</a:t>
            </a:r>
            <a:r>
              <a:rPr lang="en-GB" dirty="0">
                <a:solidFill>
                  <a:srgbClr val="002060"/>
                </a:solidFill>
                <a:cs typeface="Times New Roman" pitchFamily="18" charset="0"/>
              </a:rPr>
              <a:t>. Hedge funds, Insurance Funds, Private Banks etc.</a:t>
            </a:r>
          </a:p>
          <a:p>
            <a:pPr marL="360363" lvl="1" indent="-360363" defTabSz="761913">
              <a:spcBef>
                <a:spcPts val="1800"/>
              </a:spcBef>
              <a:buSzPct val="65000"/>
              <a:buFont typeface="Wingdings" pitchFamily="2" charset="2"/>
              <a:buChar char="q"/>
            </a:pPr>
            <a:r>
              <a:rPr lang="en-GB" dirty="0" smtClean="0">
                <a:solidFill>
                  <a:srgbClr val="002060"/>
                </a:solidFill>
                <a:cs typeface="Times New Roman" pitchFamily="18" charset="0"/>
              </a:rPr>
              <a:t>Forfaiting </a:t>
            </a:r>
            <a:r>
              <a:rPr lang="en-GB" dirty="0">
                <a:solidFill>
                  <a:srgbClr val="002060"/>
                </a:solidFill>
                <a:cs typeface="Times New Roman" pitchFamily="18" charset="0"/>
              </a:rPr>
              <a:t>is both a </a:t>
            </a:r>
            <a:r>
              <a:rPr lang="en-GB" b="1" dirty="0">
                <a:solidFill>
                  <a:srgbClr val="002060"/>
                </a:solidFill>
                <a:cs typeface="Times New Roman" pitchFamily="18" charset="0"/>
              </a:rPr>
              <a:t>debt</a:t>
            </a:r>
            <a:r>
              <a:rPr lang="en-GB" dirty="0">
                <a:solidFill>
                  <a:srgbClr val="002060"/>
                </a:solidFill>
                <a:cs typeface="Times New Roman" pitchFamily="18" charset="0"/>
              </a:rPr>
              <a:t> product and an </a:t>
            </a:r>
            <a:r>
              <a:rPr lang="en-GB" b="1" dirty="0">
                <a:solidFill>
                  <a:srgbClr val="002060"/>
                </a:solidFill>
                <a:cs typeface="Times New Roman" pitchFamily="18" charset="0"/>
              </a:rPr>
              <a:t>investment</a:t>
            </a:r>
            <a:r>
              <a:rPr lang="en-GB" dirty="0">
                <a:solidFill>
                  <a:srgbClr val="002060"/>
                </a:solidFill>
                <a:cs typeface="Times New Roman" pitchFamily="18" charset="0"/>
              </a:rPr>
              <a:t> product straddling the commercial and investment banking activities of most Financial Institutions</a:t>
            </a:r>
            <a:r>
              <a:rPr lang="en-GB" dirty="0" smtClean="0">
                <a:solidFill>
                  <a:srgbClr val="002060"/>
                </a:solidFill>
                <a:cs typeface="Times New Roman" pitchFamily="18" charset="0"/>
              </a:rPr>
              <a:t>.</a:t>
            </a:r>
            <a:endParaRPr lang="en-GB" dirty="0">
              <a:solidFill>
                <a:srgbClr val="002060"/>
              </a:solidFill>
              <a:cs typeface="Times New Roman" pitchFamily="18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faiting : The Future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3537" name="Picture 1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36001" y="0"/>
            <a:ext cx="9893869" cy="68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5653" name="Picture 5" descr="C:\Users\Jvassallo\Desktop\beautiful-yacht.jpg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7505" y="27506"/>
            <a:ext cx="9853592" cy="6819503"/>
          </a:xfrm>
          <a:prstGeom prst="rect">
            <a:avLst/>
          </a:prstGeom>
          <a:noFill/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928617549"/>
              </p:ext>
            </p:ext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p:oleObj spid="_x0000_s192514" name="think-cell Slide" r:id="rId5" imgW="360" imgH="360" progId="">
              <p:embed/>
            </p:oleObj>
          </a:graphicData>
        </a:graphic>
      </p:graphicFrame>
      <p:graphicFrame>
        <p:nvGraphicFramePr>
          <p:cNvPr id="12290" name="Rectangle 2" hidden="1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397709546"/>
              </p:ext>
            </p:extLst>
          </p:nvPr>
        </p:nvGraphicFramePr>
        <p:xfrm>
          <a:off x="6350" y="1"/>
          <a:ext cx="158750" cy="158751"/>
        </p:xfrm>
        <a:graphic>
          <a:graphicData uri="http://schemas.openxmlformats.org/presentationml/2006/ole">
            <p:oleObj spid="_x0000_s192515" name="think-cell Slide" r:id="rId6" imgW="0" imgH="0" progId="">
              <p:embed/>
            </p:oleObj>
          </a:graphicData>
        </a:graphic>
      </p:graphicFrame>
      <p:sp>
        <p:nvSpPr>
          <p:cNvPr id="1164295" name="Rectangle 7">
            <a:hlinkClick r:id="rId7"/>
          </p:cNvPr>
          <p:cNvSpPr>
            <a:spLocks noChangeArrowheads="1"/>
          </p:cNvSpPr>
          <p:nvPr/>
        </p:nvSpPr>
        <p:spPr bwMode="auto">
          <a:xfrm>
            <a:off x="0" y="-184660"/>
            <a:ext cx="9906000" cy="369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64299" name="Rectangle 11">
            <a:hlinkClick r:id="rId8"/>
          </p:cNvPr>
          <p:cNvSpPr>
            <a:spLocks noChangeArrowheads="1"/>
          </p:cNvSpPr>
          <p:nvPr/>
        </p:nvSpPr>
        <p:spPr bwMode="auto">
          <a:xfrm>
            <a:off x="0" y="-184660"/>
            <a:ext cx="9906000" cy="369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64303" name="Rectangle 15">
            <a:hlinkClick r:id="rId9"/>
          </p:cNvPr>
          <p:cNvSpPr>
            <a:spLocks noChangeArrowheads="1"/>
          </p:cNvSpPr>
          <p:nvPr/>
        </p:nvSpPr>
        <p:spPr bwMode="auto">
          <a:xfrm>
            <a:off x="0" y="-184660"/>
            <a:ext cx="9906000" cy="369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164308" name="Rectangle 20">
            <a:hlinkClick r:id="rId10"/>
          </p:cNvPr>
          <p:cNvSpPr>
            <a:spLocks noChangeArrowheads="1"/>
          </p:cNvSpPr>
          <p:nvPr/>
        </p:nvSpPr>
        <p:spPr bwMode="auto">
          <a:xfrm>
            <a:off x="0" y="-184660"/>
            <a:ext cx="9906000" cy="369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2360712" y="4437112"/>
            <a:ext cx="7200800" cy="1231106"/>
          </a:xfrm>
          <a:prstGeom prst="rect">
            <a:avLst/>
          </a:prstGeom>
          <a:solidFill>
            <a:schemeClr val="bg1">
              <a:lumMod val="85000"/>
              <a:alpha val="30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buClrTx/>
            </a:pPr>
            <a:r>
              <a:rPr lang="en-US" sz="4000" i="1" dirty="0" smtClean="0">
                <a:solidFill>
                  <a:schemeClr val="bg1"/>
                </a:solidFill>
                <a:latin typeface="Myriad Pro" pitchFamily="34" charset="0"/>
              </a:rPr>
              <a:t>We cannot change the direction of the wind,</a:t>
            </a:r>
          </a:p>
          <a:p>
            <a:pPr algn="ctr"/>
            <a:r>
              <a:rPr lang="en-US" sz="4000" i="1" dirty="0" smtClean="0">
                <a:solidFill>
                  <a:schemeClr val="bg1"/>
                </a:solidFill>
                <a:latin typeface="Myriad Pro" pitchFamily="34" charset="0"/>
              </a:rPr>
              <a:t>however we can always adjust our sails!</a:t>
            </a:r>
            <a:endParaRPr lang="en-GB" sz="4000" i="1" dirty="0" smtClean="0">
              <a:solidFill>
                <a:schemeClr val="bg1"/>
              </a:solidFill>
              <a:latin typeface="Myriad Pro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453915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6456" y="4293097"/>
            <a:ext cx="3024336" cy="2121921"/>
          </a:xfrm>
          <a:prstGeom prst="roundRect">
            <a:avLst>
              <a:gd name="adj" fmla="val 6347"/>
            </a:avLst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lIns="91429" tIns="45715" rIns="0" bIns="45715">
            <a:spAutoFit/>
          </a:bodyPr>
          <a:lstStyle/>
          <a:p>
            <a:pPr marL="176193" indent="-176193">
              <a:spcBef>
                <a:spcPts val="600"/>
              </a:spcBef>
              <a:buSzPct val="80000"/>
              <a:buFont typeface="Courier New" pitchFamily="49" charset="0"/>
              <a:buChar char="o"/>
              <a:defRPr/>
            </a:pPr>
            <a:r>
              <a:rPr lang="en-US" sz="1400" dirty="0" smtClean="0">
                <a:solidFill>
                  <a:schemeClr val="bg1"/>
                </a:solidFill>
                <a:latin typeface="Calibri" pitchFamily="34" charset="0"/>
              </a:rPr>
              <a:t>In business since 1984</a:t>
            </a:r>
          </a:p>
          <a:p>
            <a:pPr marL="176193" indent="-176193">
              <a:spcBef>
                <a:spcPts val="600"/>
              </a:spcBef>
              <a:buSzPct val="80000"/>
              <a:buFont typeface="Courier New" pitchFamily="49" charset="0"/>
              <a:buChar char="o"/>
              <a:defRPr/>
            </a:pPr>
            <a:r>
              <a:rPr lang="en-US" sz="1400" dirty="0" smtClean="0">
                <a:solidFill>
                  <a:schemeClr val="bg1"/>
                </a:solidFill>
                <a:latin typeface="Calibri" pitchFamily="34" charset="0"/>
              </a:rPr>
              <a:t>100</a:t>
            </a:r>
            <a:r>
              <a:rPr lang="en-US" sz="1400" dirty="0">
                <a:solidFill>
                  <a:schemeClr val="bg1"/>
                </a:solidFill>
                <a:latin typeface="Calibri" pitchFamily="34" charset="0"/>
              </a:rPr>
              <a:t>%-</a:t>
            </a:r>
            <a:r>
              <a:rPr lang="en-US" sz="1400" dirty="0" smtClean="0">
                <a:solidFill>
                  <a:schemeClr val="bg1"/>
                </a:solidFill>
                <a:latin typeface="Calibri" pitchFamily="34" charset="0"/>
              </a:rPr>
              <a:t>owned by FIMBank since 2003</a:t>
            </a:r>
            <a:endParaRPr lang="en-US" sz="1400" dirty="0">
              <a:solidFill>
                <a:schemeClr val="bg1"/>
              </a:solidFill>
              <a:latin typeface="Calibri" pitchFamily="34" charset="0"/>
            </a:endParaRPr>
          </a:p>
          <a:p>
            <a:pPr marL="176193" indent="-176193">
              <a:spcBef>
                <a:spcPts val="600"/>
              </a:spcBef>
              <a:buSzPct val="80000"/>
              <a:buFont typeface="Courier New" pitchFamily="49" charset="0"/>
              <a:buChar char="o"/>
              <a:defRPr/>
            </a:pPr>
            <a:r>
              <a:rPr lang="en-US" sz="1400" dirty="0" smtClean="0">
                <a:solidFill>
                  <a:schemeClr val="bg1"/>
                </a:solidFill>
                <a:latin typeface="Calibri" pitchFamily="34" charset="0"/>
              </a:rPr>
              <a:t>Strong Brand in the industry</a:t>
            </a:r>
          </a:p>
          <a:p>
            <a:pPr marL="176193" indent="-176193">
              <a:spcBef>
                <a:spcPts val="600"/>
              </a:spcBef>
              <a:buSzPct val="80000"/>
              <a:buFont typeface="Courier New" pitchFamily="49" charset="0"/>
              <a:buChar char="o"/>
              <a:defRPr/>
            </a:pPr>
            <a:r>
              <a:rPr lang="en-US" sz="1400" dirty="0" smtClean="0">
                <a:solidFill>
                  <a:schemeClr val="bg1"/>
                </a:solidFill>
                <a:latin typeface="Calibri" pitchFamily="34" charset="0"/>
              </a:rPr>
              <a:t>Established Forfaiting </a:t>
            </a:r>
            <a:r>
              <a:rPr lang="en-US" sz="1400" dirty="0">
                <a:solidFill>
                  <a:schemeClr val="bg1"/>
                </a:solidFill>
                <a:latin typeface="Calibri" pitchFamily="34" charset="0"/>
              </a:rPr>
              <a:t>H</a:t>
            </a:r>
            <a:r>
              <a:rPr lang="en-US" sz="1400" dirty="0" smtClean="0">
                <a:solidFill>
                  <a:schemeClr val="bg1"/>
                </a:solidFill>
                <a:latin typeface="Calibri" pitchFamily="34" charset="0"/>
              </a:rPr>
              <a:t>ouse</a:t>
            </a:r>
            <a:endParaRPr lang="en-US" sz="1400" dirty="0">
              <a:solidFill>
                <a:schemeClr val="bg1"/>
              </a:solidFill>
              <a:latin typeface="Calibri" pitchFamily="34" charset="0"/>
            </a:endParaRPr>
          </a:p>
          <a:p>
            <a:pPr marL="176193" indent="-176193">
              <a:spcBef>
                <a:spcPts val="600"/>
              </a:spcBef>
              <a:buSzPct val="80000"/>
              <a:buFont typeface="Courier New" pitchFamily="49" charset="0"/>
              <a:buChar char="o"/>
              <a:defRPr/>
            </a:pPr>
            <a:r>
              <a:rPr lang="en-US" sz="1400" dirty="0">
                <a:solidFill>
                  <a:schemeClr val="bg1"/>
                </a:solidFill>
                <a:latin typeface="Calibri" pitchFamily="34" charset="0"/>
              </a:rPr>
              <a:t>Global </a:t>
            </a:r>
            <a:r>
              <a:rPr lang="en-US" sz="1400" dirty="0" smtClean="0">
                <a:solidFill>
                  <a:schemeClr val="bg1"/>
                </a:solidFill>
                <a:latin typeface="Calibri" pitchFamily="34" charset="0"/>
              </a:rPr>
              <a:t>Network of Offices</a:t>
            </a:r>
          </a:p>
          <a:p>
            <a:pPr marL="176193" indent="-176193">
              <a:spcBef>
                <a:spcPts val="600"/>
              </a:spcBef>
              <a:buSzPct val="80000"/>
              <a:buFont typeface="Courier New" pitchFamily="49" charset="0"/>
              <a:buChar char="o"/>
              <a:defRPr/>
            </a:pPr>
            <a:r>
              <a:rPr lang="en-US" sz="1400" dirty="0" smtClean="0">
                <a:solidFill>
                  <a:schemeClr val="bg1"/>
                </a:solidFill>
                <a:latin typeface="Calibri" pitchFamily="34" charset="0"/>
              </a:rPr>
              <a:t>Deals Worldwide</a:t>
            </a:r>
            <a:endParaRPr lang="en-US" sz="1400" dirty="0">
              <a:solidFill>
                <a:schemeClr val="bg1"/>
              </a:solidFill>
              <a:latin typeface="Calibri" pitchFamily="34" charset="0"/>
            </a:endParaRPr>
          </a:p>
          <a:p>
            <a:pPr marL="176193" indent="-176193">
              <a:spcBef>
                <a:spcPts val="600"/>
              </a:spcBef>
              <a:buSzPct val="80000"/>
              <a:buFont typeface="Courier New" pitchFamily="49" charset="0"/>
              <a:buChar char="o"/>
              <a:defRPr/>
            </a:pPr>
            <a:r>
              <a:rPr lang="en-US" sz="1400" dirty="0" smtClean="0">
                <a:solidFill>
                  <a:schemeClr val="bg1"/>
                </a:solidFill>
                <a:latin typeface="Calibri" pitchFamily="34" charset="0"/>
              </a:rPr>
              <a:t>Many Awards by GTR/TFR</a:t>
            </a:r>
            <a:endParaRPr lang="en-GB" sz="140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faiting in FIMBank</a:t>
            </a:r>
            <a:endParaRPr lang="en-US" dirty="0"/>
          </a:p>
        </p:txBody>
      </p:sp>
      <p:pic>
        <p:nvPicPr>
          <p:cNvPr id="191490" name="Picture 2" descr="C:\Users\mariuss\Documents\business\0 jobs\MLE tasks\russia\logo_lfc.jpg"/>
          <p:cNvPicPr>
            <a:picLocks noChangeAspect="1" noChangeArrowheads="1"/>
          </p:cNvPicPr>
          <p:nvPr/>
        </p:nvPicPr>
        <p:blipFill>
          <a:blip r:embed="rId2" cstate="email"/>
          <a:srcRect l="-1591" r="-1591"/>
          <a:stretch>
            <a:fillRect/>
          </a:stretch>
        </p:blipFill>
        <p:spPr bwMode="auto">
          <a:xfrm>
            <a:off x="34474" y="952242"/>
            <a:ext cx="3046318" cy="820575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</p:pic>
      <p:grpSp>
        <p:nvGrpSpPr>
          <p:cNvPr id="900" name="Group 899"/>
          <p:cNvGrpSpPr/>
          <p:nvPr/>
        </p:nvGrpSpPr>
        <p:grpSpPr>
          <a:xfrm>
            <a:off x="1784648" y="1556792"/>
            <a:ext cx="7992888" cy="4608512"/>
            <a:chOff x="1784648" y="2132856"/>
            <a:chExt cx="7992888" cy="4608512"/>
          </a:xfrm>
        </p:grpSpPr>
        <p:sp>
          <p:nvSpPr>
            <p:cNvPr id="15" name="Line 5"/>
            <p:cNvSpPr>
              <a:spLocks noChangeShapeType="1"/>
            </p:cNvSpPr>
            <p:nvPr/>
          </p:nvSpPr>
          <p:spPr bwMode="auto">
            <a:xfrm>
              <a:off x="7348496" y="3674698"/>
              <a:ext cx="1471" cy="1692"/>
            </a:xfrm>
            <a:prstGeom prst="line">
              <a:avLst/>
            </a:prstGeom>
            <a:solidFill>
              <a:srgbClr val="A6A6A6"/>
            </a:solidFill>
            <a:ln w="1270">
              <a:solidFill>
                <a:schemeClr val="bg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7366140" y="3669620"/>
              <a:ext cx="1471" cy="169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7329380" y="3586691"/>
              <a:ext cx="23526" cy="22001"/>
            </a:xfrm>
            <a:custGeom>
              <a:avLst/>
              <a:gdLst>
                <a:gd name="T0" fmla="*/ 8 w 33"/>
                <a:gd name="T1" fmla="*/ 25 h 25"/>
                <a:gd name="T2" fmla="*/ 8 w 33"/>
                <a:gd name="T3" fmla="*/ 24 h 25"/>
                <a:gd name="T4" fmla="*/ 8 w 33"/>
                <a:gd name="T5" fmla="*/ 24 h 25"/>
                <a:gd name="T6" fmla="*/ 8 w 33"/>
                <a:gd name="T7" fmla="*/ 19 h 25"/>
                <a:gd name="T8" fmla="*/ 5 w 33"/>
                <a:gd name="T9" fmla="*/ 17 h 25"/>
                <a:gd name="T10" fmla="*/ 3 w 33"/>
                <a:gd name="T11" fmla="*/ 19 h 25"/>
                <a:gd name="T12" fmla="*/ 0 w 33"/>
                <a:gd name="T13" fmla="*/ 17 h 25"/>
                <a:gd name="T14" fmla="*/ 0 w 33"/>
                <a:gd name="T15" fmla="*/ 17 h 25"/>
                <a:gd name="T16" fmla="*/ 3 w 33"/>
                <a:gd name="T17" fmla="*/ 17 h 25"/>
                <a:gd name="T18" fmla="*/ 6 w 33"/>
                <a:gd name="T19" fmla="*/ 14 h 25"/>
                <a:gd name="T20" fmla="*/ 10 w 33"/>
                <a:gd name="T21" fmla="*/ 14 h 25"/>
                <a:gd name="T22" fmla="*/ 13 w 33"/>
                <a:gd name="T23" fmla="*/ 11 h 25"/>
                <a:gd name="T24" fmla="*/ 21 w 33"/>
                <a:gd name="T25" fmla="*/ 6 h 25"/>
                <a:gd name="T26" fmla="*/ 29 w 33"/>
                <a:gd name="T27" fmla="*/ 0 h 25"/>
                <a:gd name="T28" fmla="*/ 32 w 33"/>
                <a:gd name="T29" fmla="*/ 1 h 25"/>
                <a:gd name="T30" fmla="*/ 33 w 33"/>
                <a:gd name="T31" fmla="*/ 0 h 25"/>
                <a:gd name="T32" fmla="*/ 8 w 33"/>
                <a:gd name="T3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" h="25">
                  <a:moveTo>
                    <a:pt x="8" y="25"/>
                  </a:moveTo>
                  <a:lnTo>
                    <a:pt x="8" y="24"/>
                  </a:lnTo>
                  <a:lnTo>
                    <a:pt x="8" y="24"/>
                  </a:lnTo>
                  <a:lnTo>
                    <a:pt x="8" y="19"/>
                  </a:lnTo>
                  <a:lnTo>
                    <a:pt x="5" y="17"/>
                  </a:lnTo>
                  <a:lnTo>
                    <a:pt x="3" y="19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3" y="17"/>
                  </a:lnTo>
                  <a:lnTo>
                    <a:pt x="6" y="14"/>
                  </a:lnTo>
                  <a:lnTo>
                    <a:pt x="10" y="14"/>
                  </a:lnTo>
                  <a:lnTo>
                    <a:pt x="13" y="11"/>
                  </a:lnTo>
                  <a:lnTo>
                    <a:pt x="21" y="6"/>
                  </a:lnTo>
                  <a:lnTo>
                    <a:pt x="29" y="0"/>
                  </a:lnTo>
                  <a:lnTo>
                    <a:pt x="32" y="1"/>
                  </a:lnTo>
                  <a:lnTo>
                    <a:pt x="33" y="0"/>
                  </a:lnTo>
                  <a:lnTo>
                    <a:pt x="8" y="2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7141174" y="3586691"/>
              <a:ext cx="733711" cy="964684"/>
            </a:xfrm>
            <a:custGeom>
              <a:avLst/>
              <a:gdLst>
                <a:gd name="T0" fmla="*/ 66 w 997"/>
                <a:gd name="T1" fmla="*/ 476 h 1141"/>
                <a:gd name="T2" fmla="*/ 60 w 997"/>
                <a:gd name="T3" fmla="*/ 414 h 1141"/>
                <a:gd name="T4" fmla="*/ 65 w 997"/>
                <a:gd name="T5" fmla="*/ 327 h 1141"/>
                <a:gd name="T6" fmla="*/ 147 w 997"/>
                <a:gd name="T7" fmla="*/ 256 h 1141"/>
                <a:gd name="T8" fmla="*/ 179 w 997"/>
                <a:gd name="T9" fmla="*/ 197 h 1141"/>
                <a:gd name="T10" fmla="*/ 173 w 997"/>
                <a:gd name="T11" fmla="*/ 138 h 1141"/>
                <a:gd name="T12" fmla="*/ 147 w 997"/>
                <a:gd name="T13" fmla="*/ 80 h 1141"/>
                <a:gd name="T14" fmla="*/ 203 w 997"/>
                <a:gd name="T15" fmla="*/ 53 h 1141"/>
                <a:gd name="T16" fmla="*/ 295 w 997"/>
                <a:gd name="T17" fmla="*/ 0 h 1141"/>
                <a:gd name="T18" fmla="*/ 301 w 997"/>
                <a:gd name="T19" fmla="*/ 81 h 1141"/>
                <a:gd name="T20" fmla="*/ 312 w 997"/>
                <a:gd name="T21" fmla="*/ 91 h 1141"/>
                <a:gd name="T22" fmla="*/ 304 w 997"/>
                <a:gd name="T23" fmla="*/ 138 h 1141"/>
                <a:gd name="T24" fmla="*/ 341 w 997"/>
                <a:gd name="T25" fmla="*/ 194 h 1141"/>
                <a:gd name="T26" fmla="*/ 391 w 997"/>
                <a:gd name="T27" fmla="*/ 254 h 1141"/>
                <a:gd name="T28" fmla="*/ 437 w 997"/>
                <a:gd name="T29" fmla="*/ 321 h 1141"/>
                <a:gd name="T30" fmla="*/ 526 w 997"/>
                <a:gd name="T31" fmla="*/ 351 h 1141"/>
                <a:gd name="T32" fmla="*/ 601 w 997"/>
                <a:gd name="T33" fmla="*/ 376 h 1141"/>
                <a:gd name="T34" fmla="*/ 680 w 997"/>
                <a:gd name="T35" fmla="*/ 390 h 1141"/>
                <a:gd name="T36" fmla="*/ 701 w 997"/>
                <a:gd name="T37" fmla="*/ 348 h 1141"/>
                <a:gd name="T38" fmla="*/ 759 w 997"/>
                <a:gd name="T39" fmla="*/ 373 h 1141"/>
                <a:gd name="T40" fmla="*/ 804 w 997"/>
                <a:gd name="T41" fmla="*/ 348 h 1141"/>
                <a:gd name="T42" fmla="*/ 853 w 997"/>
                <a:gd name="T43" fmla="*/ 298 h 1141"/>
                <a:gd name="T44" fmla="*/ 923 w 997"/>
                <a:gd name="T45" fmla="*/ 283 h 1141"/>
                <a:gd name="T46" fmla="*/ 958 w 997"/>
                <a:gd name="T47" fmla="*/ 303 h 1141"/>
                <a:gd name="T48" fmla="*/ 993 w 997"/>
                <a:gd name="T49" fmla="*/ 356 h 1141"/>
                <a:gd name="T50" fmla="*/ 931 w 997"/>
                <a:gd name="T51" fmla="*/ 390 h 1141"/>
                <a:gd name="T52" fmla="*/ 920 w 997"/>
                <a:gd name="T53" fmla="*/ 468 h 1141"/>
                <a:gd name="T54" fmla="*/ 883 w 997"/>
                <a:gd name="T55" fmla="*/ 532 h 1141"/>
                <a:gd name="T56" fmla="*/ 864 w 997"/>
                <a:gd name="T57" fmla="*/ 544 h 1141"/>
                <a:gd name="T58" fmla="*/ 836 w 997"/>
                <a:gd name="T59" fmla="*/ 527 h 1141"/>
                <a:gd name="T60" fmla="*/ 815 w 997"/>
                <a:gd name="T61" fmla="*/ 486 h 1141"/>
                <a:gd name="T62" fmla="*/ 839 w 997"/>
                <a:gd name="T63" fmla="*/ 444 h 1141"/>
                <a:gd name="T64" fmla="*/ 750 w 997"/>
                <a:gd name="T65" fmla="*/ 417 h 1141"/>
                <a:gd name="T66" fmla="*/ 718 w 997"/>
                <a:gd name="T67" fmla="*/ 394 h 1141"/>
                <a:gd name="T68" fmla="*/ 690 w 997"/>
                <a:gd name="T69" fmla="*/ 414 h 1141"/>
                <a:gd name="T70" fmla="*/ 701 w 997"/>
                <a:gd name="T71" fmla="*/ 454 h 1141"/>
                <a:gd name="T72" fmla="*/ 728 w 997"/>
                <a:gd name="T73" fmla="*/ 509 h 1141"/>
                <a:gd name="T74" fmla="*/ 740 w 997"/>
                <a:gd name="T75" fmla="*/ 571 h 1141"/>
                <a:gd name="T76" fmla="*/ 729 w 997"/>
                <a:gd name="T77" fmla="*/ 574 h 1141"/>
                <a:gd name="T78" fmla="*/ 717 w 997"/>
                <a:gd name="T79" fmla="*/ 584 h 1141"/>
                <a:gd name="T80" fmla="*/ 671 w 997"/>
                <a:gd name="T81" fmla="*/ 608 h 1141"/>
                <a:gd name="T82" fmla="*/ 631 w 997"/>
                <a:gd name="T83" fmla="*/ 665 h 1141"/>
                <a:gd name="T84" fmla="*/ 569 w 997"/>
                <a:gd name="T85" fmla="*/ 735 h 1141"/>
                <a:gd name="T86" fmla="*/ 499 w 997"/>
                <a:gd name="T87" fmla="*/ 803 h 1141"/>
                <a:gd name="T88" fmla="*/ 455 w 997"/>
                <a:gd name="T89" fmla="*/ 847 h 1141"/>
                <a:gd name="T90" fmla="*/ 468 w 997"/>
                <a:gd name="T91" fmla="*/ 920 h 1141"/>
                <a:gd name="T92" fmla="*/ 455 w 997"/>
                <a:gd name="T93" fmla="*/ 1006 h 1141"/>
                <a:gd name="T94" fmla="*/ 434 w 997"/>
                <a:gd name="T95" fmla="*/ 1091 h 1141"/>
                <a:gd name="T96" fmla="*/ 396 w 997"/>
                <a:gd name="T97" fmla="*/ 1131 h 1141"/>
                <a:gd name="T98" fmla="*/ 333 w 997"/>
                <a:gd name="T99" fmla="*/ 1072 h 1141"/>
                <a:gd name="T100" fmla="*/ 326 w 997"/>
                <a:gd name="T101" fmla="*/ 1050 h 1141"/>
                <a:gd name="T102" fmla="*/ 279 w 997"/>
                <a:gd name="T103" fmla="*/ 957 h 1141"/>
                <a:gd name="T104" fmla="*/ 238 w 997"/>
                <a:gd name="T105" fmla="*/ 855 h 1141"/>
                <a:gd name="T106" fmla="*/ 201 w 997"/>
                <a:gd name="T107" fmla="*/ 755 h 1141"/>
                <a:gd name="T108" fmla="*/ 187 w 997"/>
                <a:gd name="T109" fmla="*/ 692 h 1141"/>
                <a:gd name="T110" fmla="*/ 174 w 997"/>
                <a:gd name="T111" fmla="*/ 641 h 1141"/>
                <a:gd name="T112" fmla="*/ 177 w 997"/>
                <a:gd name="T113" fmla="*/ 584 h 1141"/>
                <a:gd name="T114" fmla="*/ 149 w 997"/>
                <a:gd name="T115" fmla="*/ 571 h 1141"/>
                <a:gd name="T116" fmla="*/ 71 w 997"/>
                <a:gd name="T117" fmla="*/ 600 h 1141"/>
                <a:gd name="T118" fmla="*/ 62 w 997"/>
                <a:gd name="T119" fmla="*/ 554 h 1141"/>
                <a:gd name="T120" fmla="*/ 16 w 997"/>
                <a:gd name="T121" fmla="*/ 516 h 1141"/>
                <a:gd name="T122" fmla="*/ 271 w 997"/>
                <a:gd name="T123" fmla="*/ 40 h 1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97" h="1141">
                  <a:moveTo>
                    <a:pt x="0" y="498"/>
                  </a:moveTo>
                  <a:lnTo>
                    <a:pt x="0" y="495"/>
                  </a:lnTo>
                  <a:lnTo>
                    <a:pt x="3" y="492"/>
                  </a:lnTo>
                  <a:lnTo>
                    <a:pt x="6" y="492"/>
                  </a:lnTo>
                  <a:lnTo>
                    <a:pt x="9" y="490"/>
                  </a:lnTo>
                  <a:lnTo>
                    <a:pt x="17" y="490"/>
                  </a:lnTo>
                  <a:lnTo>
                    <a:pt x="19" y="487"/>
                  </a:lnTo>
                  <a:lnTo>
                    <a:pt x="19" y="484"/>
                  </a:lnTo>
                  <a:lnTo>
                    <a:pt x="17" y="479"/>
                  </a:lnTo>
                  <a:lnTo>
                    <a:pt x="17" y="476"/>
                  </a:lnTo>
                  <a:lnTo>
                    <a:pt x="17" y="476"/>
                  </a:lnTo>
                  <a:lnTo>
                    <a:pt x="20" y="478"/>
                  </a:lnTo>
                  <a:lnTo>
                    <a:pt x="23" y="476"/>
                  </a:lnTo>
                  <a:lnTo>
                    <a:pt x="28" y="478"/>
                  </a:lnTo>
                  <a:lnTo>
                    <a:pt x="30" y="478"/>
                  </a:lnTo>
                  <a:lnTo>
                    <a:pt x="33" y="479"/>
                  </a:lnTo>
                  <a:lnTo>
                    <a:pt x="35" y="478"/>
                  </a:lnTo>
                  <a:lnTo>
                    <a:pt x="38" y="478"/>
                  </a:lnTo>
                  <a:lnTo>
                    <a:pt x="41" y="478"/>
                  </a:lnTo>
                  <a:lnTo>
                    <a:pt x="46" y="478"/>
                  </a:lnTo>
                  <a:lnTo>
                    <a:pt x="49" y="479"/>
                  </a:lnTo>
                  <a:lnTo>
                    <a:pt x="50" y="481"/>
                  </a:lnTo>
                  <a:lnTo>
                    <a:pt x="55" y="482"/>
                  </a:lnTo>
                  <a:lnTo>
                    <a:pt x="62" y="482"/>
                  </a:lnTo>
                  <a:lnTo>
                    <a:pt x="65" y="481"/>
                  </a:lnTo>
                  <a:lnTo>
                    <a:pt x="65" y="481"/>
                  </a:lnTo>
                  <a:lnTo>
                    <a:pt x="66" y="476"/>
                  </a:lnTo>
                  <a:lnTo>
                    <a:pt x="69" y="476"/>
                  </a:lnTo>
                  <a:lnTo>
                    <a:pt x="73" y="474"/>
                  </a:lnTo>
                  <a:lnTo>
                    <a:pt x="76" y="473"/>
                  </a:lnTo>
                  <a:lnTo>
                    <a:pt x="79" y="471"/>
                  </a:lnTo>
                  <a:lnTo>
                    <a:pt x="82" y="474"/>
                  </a:lnTo>
                  <a:lnTo>
                    <a:pt x="84" y="479"/>
                  </a:lnTo>
                  <a:lnTo>
                    <a:pt x="87" y="479"/>
                  </a:lnTo>
                  <a:lnTo>
                    <a:pt x="90" y="479"/>
                  </a:lnTo>
                  <a:lnTo>
                    <a:pt x="93" y="476"/>
                  </a:lnTo>
                  <a:lnTo>
                    <a:pt x="96" y="474"/>
                  </a:lnTo>
                  <a:lnTo>
                    <a:pt x="100" y="473"/>
                  </a:lnTo>
                  <a:lnTo>
                    <a:pt x="96" y="471"/>
                  </a:lnTo>
                  <a:lnTo>
                    <a:pt x="95" y="467"/>
                  </a:lnTo>
                  <a:lnTo>
                    <a:pt x="95" y="463"/>
                  </a:lnTo>
                  <a:lnTo>
                    <a:pt x="98" y="462"/>
                  </a:lnTo>
                  <a:lnTo>
                    <a:pt x="93" y="452"/>
                  </a:lnTo>
                  <a:lnTo>
                    <a:pt x="89" y="441"/>
                  </a:lnTo>
                  <a:lnTo>
                    <a:pt x="82" y="435"/>
                  </a:lnTo>
                  <a:lnTo>
                    <a:pt x="81" y="432"/>
                  </a:lnTo>
                  <a:lnTo>
                    <a:pt x="79" y="427"/>
                  </a:lnTo>
                  <a:lnTo>
                    <a:pt x="79" y="421"/>
                  </a:lnTo>
                  <a:lnTo>
                    <a:pt x="76" y="419"/>
                  </a:lnTo>
                  <a:lnTo>
                    <a:pt x="71" y="421"/>
                  </a:lnTo>
                  <a:lnTo>
                    <a:pt x="68" y="421"/>
                  </a:lnTo>
                  <a:lnTo>
                    <a:pt x="65" y="419"/>
                  </a:lnTo>
                  <a:lnTo>
                    <a:pt x="65" y="419"/>
                  </a:lnTo>
                  <a:lnTo>
                    <a:pt x="60" y="414"/>
                  </a:lnTo>
                  <a:lnTo>
                    <a:pt x="58" y="411"/>
                  </a:lnTo>
                  <a:lnTo>
                    <a:pt x="57" y="406"/>
                  </a:lnTo>
                  <a:lnTo>
                    <a:pt x="57" y="402"/>
                  </a:lnTo>
                  <a:lnTo>
                    <a:pt x="58" y="398"/>
                  </a:lnTo>
                  <a:lnTo>
                    <a:pt x="57" y="394"/>
                  </a:lnTo>
                  <a:lnTo>
                    <a:pt x="57" y="387"/>
                  </a:lnTo>
                  <a:lnTo>
                    <a:pt x="55" y="384"/>
                  </a:lnTo>
                  <a:lnTo>
                    <a:pt x="50" y="382"/>
                  </a:lnTo>
                  <a:lnTo>
                    <a:pt x="47" y="384"/>
                  </a:lnTo>
                  <a:lnTo>
                    <a:pt x="44" y="382"/>
                  </a:lnTo>
                  <a:lnTo>
                    <a:pt x="38" y="379"/>
                  </a:lnTo>
                  <a:lnTo>
                    <a:pt x="33" y="376"/>
                  </a:lnTo>
                  <a:lnTo>
                    <a:pt x="31" y="375"/>
                  </a:lnTo>
                  <a:lnTo>
                    <a:pt x="31" y="371"/>
                  </a:lnTo>
                  <a:lnTo>
                    <a:pt x="31" y="365"/>
                  </a:lnTo>
                  <a:lnTo>
                    <a:pt x="33" y="360"/>
                  </a:lnTo>
                  <a:lnTo>
                    <a:pt x="35" y="357"/>
                  </a:lnTo>
                  <a:lnTo>
                    <a:pt x="38" y="354"/>
                  </a:lnTo>
                  <a:lnTo>
                    <a:pt x="41" y="351"/>
                  </a:lnTo>
                  <a:lnTo>
                    <a:pt x="43" y="348"/>
                  </a:lnTo>
                  <a:lnTo>
                    <a:pt x="47" y="338"/>
                  </a:lnTo>
                  <a:lnTo>
                    <a:pt x="50" y="330"/>
                  </a:lnTo>
                  <a:lnTo>
                    <a:pt x="54" y="327"/>
                  </a:lnTo>
                  <a:lnTo>
                    <a:pt x="57" y="325"/>
                  </a:lnTo>
                  <a:lnTo>
                    <a:pt x="58" y="324"/>
                  </a:lnTo>
                  <a:lnTo>
                    <a:pt x="60" y="324"/>
                  </a:lnTo>
                  <a:lnTo>
                    <a:pt x="65" y="327"/>
                  </a:lnTo>
                  <a:lnTo>
                    <a:pt x="68" y="333"/>
                  </a:lnTo>
                  <a:lnTo>
                    <a:pt x="71" y="338"/>
                  </a:lnTo>
                  <a:lnTo>
                    <a:pt x="74" y="338"/>
                  </a:lnTo>
                  <a:lnTo>
                    <a:pt x="77" y="337"/>
                  </a:lnTo>
                  <a:lnTo>
                    <a:pt x="81" y="335"/>
                  </a:lnTo>
                  <a:lnTo>
                    <a:pt x="84" y="333"/>
                  </a:lnTo>
                  <a:lnTo>
                    <a:pt x="93" y="332"/>
                  </a:lnTo>
                  <a:lnTo>
                    <a:pt x="103" y="330"/>
                  </a:lnTo>
                  <a:lnTo>
                    <a:pt x="106" y="329"/>
                  </a:lnTo>
                  <a:lnTo>
                    <a:pt x="109" y="325"/>
                  </a:lnTo>
                  <a:lnTo>
                    <a:pt x="109" y="322"/>
                  </a:lnTo>
                  <a:lnTo>
                    <a:pt x="111" y="317"/>
                  </a:lnTo>
                  <a:lnTo>
                    <a:pt x="112" y="314"/>
                  </a:lnTo>
                  <a:lnTo>
                    <a:pt x="115" y="311"/>
                  </a:lnTo>
                  <a:lnTo>
                    <a:pt x="117" y="308"/>
                  </a:lnTo>
                  <a:lnTo>
                    <a:pt x="117" y="303"/>
                  </a:lnTo>
                  <a:lnTo>
                    <a:pt x="119" y="300"/>
                  </a:lnTo>
                  <a:lnTo>
                    <a:pt x="119" y="297"/>
                  </a:lnTo>
                  <a:lnTo>
                    <a:pt x="123" y="292"/>
                  </a:lnTo>
                  <a:lnTo>
                    <a:pt x="127" y="291"/>
                  </a:lnTo>
                  <a:lnTo>
                    <a:pt x="130" y="287"/>
                  </a:lnTo>
                  <a:lnTo>
                    <a:pt x="135" y="286"/>
                  </a:lnTo>
                  <a:lnTo>
                    <a:pt x="138" y="284"/>
                  </a:lnTo>
                  <a:lnTo>
                    <a:pt x="139" y="281"/>
                  </a:lnTo>
                  <a:lnTo>
                    <a:pt x="144" y="270"/>
                  </a:lnTo>
                  <a:lnTo>
                    <a:pt x="147" y="259"/>
                  </a:lnTo>
                  <a:lnTo>
                    <a:pt x="147" y="256"/>
                  </a:lnTo>
                  <a:lnTo>
                    <a:pt x="147" y="256"/>
                  </a:lnTo>
                  <a:lnTo>
                    <a:pt x="149" y="252"/>
                  </a:lnTo>
                  <a:lnTo>
                    <a:pt x="149" y="248"/>
                  </a:lnTo>
                  <a:lnTo>
                    <a:pt x="152" y="245"/>
                  </a:lnTo>
                  <a:lnTo>
                    <a:pt x="160" y="241"/>
                  </a:lnTo>
                  <a:lnTo>
                    <a:pt x="166" y="237"/>
                  </a:lnTo>
                  <a:lnTo>
                    <a:pt x="165" y="232"/>
                  </a:lnTo>
                  <a:lnTo>
                    <a:pt x="165" y="232"/>
                  </a:lnTo>
                  <a:lnTo>
                    <a:pt x="165" y="230"/>
                  </a:lnTo>
                  <a:lnTo>
                    <a:pt x="161" y="229"/>
                  </a:lnTo>
                  <a:lnTo>
                    <a:pt x="161" y="229"/>
                  </a:lnTo>
                  <a:lnTo>
                    <a:pt x="165" y="226"/>
                  </a:lnTo>
                  <a:lnTo>
                    <a:pt x="168" y="221"/>
                  </a:lnTo>
                  <a:lnTo>
                    <a:pt x="168" y="218"/>
                  </a:lnTo>
                  <a:lnTo>
                    <a:pt x="171" y="216"/>
                  </a:lnTo>
                  <a:lnTo>
                    <a:pt x="173" y="211"/>
                  </a:lnTo>
                  <a:lnTo>
                    <a:pt x="173" y="208"/>
                  </a:lnTo>
                  <a:lnTo>
                    <a:pt x="177" y="208"/>
                  </a:lnTo>
                  <a:lnTo>
                    <a:pt x="180" y="205"/>
                  </a:lnTo>
                  <a:lnTo>
                    <a:pt x="180" y="203"/>
                  </a:lnTo>
                  <a:lnTo>
                    <a:pt x="180" y="203"/>
                  </a:lnTo>
                  <a:lnTo>
                    <a:pt x="180" y="202"/>
                  </a:lnTo>
                  <a:lnTo>
                    <a:pt x="182" y="202"/>
                  </a:lnTo>
                  <a:lnTo>
                    <a:pt x="184" y="202"/>
                  </a:lnTo>
                  <a:lnTo>
                    <a:pt x="185" y="199"/>
                  </a:lnTo>
                  <a:lnTo>
                    <a:pt x="180" y="199"/>
                  </a:lnTo>
                  <a:lnTo>
                    <a:pt x="179" y="197"/>
                  </a:lnTo>
                  <a:lnTo>
                    <a:pt x="179" y="194"/>
                  </a:lnTo>
                  <a:lnTo>
                    <a:pt x="179" y="191"/>
                  </a:lnTo>
                  <a:lnTo>
                    <a:pt x="179" y="187"/>
                  </a:lnTo>
                  <a:lnTo>
                    <a:pt x="180" y="184"/>
                  </a:lnTo>
                  <a:lnTo>
                    <a:pt x="179" y="181"/>
                  </a:lnTo>
                  <a:lnTo>
                    <a:pt x="177" y="178"/>
                  </a:lnTo>
                  <a:lnTo>
                    <a:pt x="177" y="178"/>
                  </a:lnTo>
                  <a:lnTo>
                    <a:pt x="174" y="175"/>
                  </a:lnTo>
                  <a:lnTo>
                    <a:pt x="174" y="173"/>
                  </a:lnTo>
                  <a:lnTo>
                    <a:pt x="174" y="170"/>
                  </a:lnTo>
                  <a:lnTo>
                    <a:pt x="177" y="167"/>
                  </a:lnTo>
                  <a:lnTo>
                    <a:pt x="182" y="165"/>
                  </a:lnTo>
                  <a:lnTo>
                    <a:pt x="185" y="160"/>
                  </a:lnTo>
                  <a:lnTo>
                    <a:pt x="188" y="159"/>
                  </a:lnTo>
                  <a:lnTo>
                    <a:pt x="192" y="159"/>
                  </a:lnTo>
                  <a:lnTo>
                    <a:pt x="195" y="157"/>
                  </a:lnTo>
                  <a:lnTo>
                    <a:pt x="198" y="156"/>
                  </a:lnTo>
                  <a:lnTo>
                    <a:pt x="200" y="151"/>
                  </a:lnTo>
                  <a:lnTo>
                    <a:pt x="196" y="148"/>
                  </a:lnTo>
                  <a:lnTo>
                    <a:pt x="195" y="148"/>
                  </a:lnTo>
                  <a:lnTo>
                    <a:pt x="188" y="143"/>
                  </a:lnTo>
                  <a:lnTo>
                    <a:pt x="185" y="143"/>
                  </a:lnTo>
                  <a:lnTo>
                    <a:pt x="182" y="143"/>
                  </a:lnTo>
                  <a:lnTo>
                    <a:pt x="177" y="143"/>
                  </a:lnTo>
                  <a:lnTo>
                    <a:pt x="174" y="143"/>
                  </a:lnTo>
                  <a:lnTo>
                    <a:pt x="173" y="138"/>
                  </a:lnTo>
                  <a:lnTo>
                    <a:pt x="173" y="138"/>
                  </a:lnTo>
                  <a:lnTo>
                    <a:pt x="173" y="138"/>
                  </a:lnTo>
                  <a:lnTo>
                    <a:pt x="173" y="134"/>
                  </a:lnTo>
                  <a:lnTo>
                    <a:pt x="169" y="130"/>
                  </a:lnTo>
                  <a:lnTo>
                    <a:pt x="166" y="132"/>
                  </a:lnTo>
                  <a:lnTo>
                    <a:pt x="166" y="132"/>
                  </a:lnTo>
                  <a:lnTo>
                    <a:pt x="163" y="130"/>
                  </a:lnTo>
                  <a:lnTo>
                    <a:pt x="158" y="129"/>
                  </a:lnTo>
                  <a:lnTo>
                    <a:pt x="160" y="127"/>
                  </a:lnTo>
                  <a:lnTo>
                    <a:pt x="158" y="124"/>
                  </a:lnTo>
                  <a:lnTo>
                    <a:pt x="157" y="121"/>
                  </a:lnTo>
                  <a:lnTo>
                    <a:pt x="154" y="119"/>
                  </a:lnTo>
                  <a:lnTo>
                    <a:pt x="149" y="116"/>
                  </a:lnTo>
                  <a:lnTo>
                    <a:pt x="149" y="116"/>
                  </a:lnTo>
                  <a:lnTo>
                    <a:pt x="146" y="113"/>
                  </a:lnTo>
                  <a:lnTo>
                    <a:pt x="147" y="107"/>
                  </a:lnTo>
                  <a:lnTo>
                    <a:pt x="149" y="103"/>
                  </a:lnTo>
                  <a:lnTo>
                    <a:pt x="149" y="100"/>
                  </a:lnTo>
                  <a:lnTo>
                    <a:pt x="147" y="99"/>
                  </a:lnTo>
                  <a:lnTo>
                    <a:pt x="146" y="97"/>
                  </a:lnTo>
                  <a:lnTo>
                    <a:pt x="141" y="94"/>
                  </a:lnTo>
                  <a:lnTo>
                    <a:pt x="139" y="92"/>
                  </a:lnTo>
                  <a:lnTo>
                    <a:pt x="139" y="91"/>
                  </a:lnTo>
                  <a:lnTo>
                    <a:pt x="139" y="91"/>
                  </a:lnTo>
                  <a:lnTo>
                    <a:pt x="142" y="88"/>
                  </a:lnTo>
                  <a:lnTo>
                    <a:pt x="144" y="86"/>
                  </a:lnTo>
                  <a:lnTo>
                    <a:pt x="149" y="84"/>
                  </a:lnTo>
                  <a:lnTo>
                    <a:pt x="147" y="80"/>
                  </a:lnTo>
                  <a:lnTo>
                    <a:pt x="144" y="80"/>
                  </a:lnTo>
                  <a:lnTo>
                    <a:pt x="141" y="80"/>
                  </a:lnTo>
                  <a:lnTo>
                    <a:pt x="139" y="80"/>
                  </a:lnTo>
                  <a:lnTo>
                    <a:pt x="136" y="80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6" y="73"/>
                  </a:lnTo>
                  <a:lnTo>
                    <a:pt x="135" y="69"/>
                  </a:lnTo>
                  <a:lnTo>
                    <a:pt x="131" y="67"/>
                  </a:lnTo>
                  <a:lnTo>
                    <a:pt x="128" y="65"/>
                  </a:lnTo>
                  <a:lnTo>
                    <a:pt x="128" y="64"/>
                  </a:lnTo>
                  <a:lnTo>
                    <a:pt x="130" y="59"/>
                  </a:lnTo>
                  <a:lnTo>
                    <a:pt x="131" y="56"/>
                  </a:lnTo>
                  <a:lnTo>
                    <a:pt x="131" y="53"/>
                  </a:lnTo>
                  <a:lnTo>
                    <a:pt x="136" y="53"/>
                  </a:lnTo>
                  <a:lnTo>
                    <a:pt x="139" y="49"/>
                  </a:lnTo>
                  <a:lnTo>
                    <a:pt x="142" y="48"/>
                  </a:lnTo>
                  <a:lnTo>
                    <a:pt x="144" y="48"/>
                  </a:lnTo>
                  <a:lnTo>
                    <a:pt x="149" y="49"/>
                  </a:lnTo>
                  <a:lnTo>
                    <a:pt x="157" y="53"/>
                  </a:lnTo>
                  <a:lnTo>
                    <a:pt x="166" y="54"/>
                  </a:lnTo>
                  <a:lnTo>
                    <a:pt x="176" y="56"/>
                  </a:lnTo>
                  <a:lnTo>
                    <a:pt x="184" y="59"/>
                  </a:lnTo>
                  <a:lnTo>
                    <a:pt x="190" y="59"/>
                  </a:lnTo>
                  <a:lnTo>
                    <a:pt x="195" y="59"/>
                  </a:lnTo>
                  <a:lnTo>
                    <a:pt x="198" y="57"/>
                  </a:lnTo>
                  <a:lnTo>
                    <a:pt x="203" y="53"/>
                  </a:lnTo>
                  <a:lnTo>
                    <a:pt x="204" y="53"/>
                  </a:lnTo>
                  <a:lnTo>
                    <a:pt x="207" y="53"/>
                  </a:lnTo>
                  <a:lnTo>
                    <a:pt x="209" y="53"/>
                  </a:lnTo>
                  <a:lnTo>
                    <a:pt x="211" y="51"/>
                  </a:lnTo>
                  <a:lnTo>
                    <a:pt x="214" y="49"/>
                  </a:lnTo>
                  <a:lnTo>
                    <a:pt x="217" y="49"/>
                  </a:lnTo>
                  <a:lnTo>
                    <a:pt x="220" y="49"/>
                  </a:lnTo>
                  <a:lnTo>
                    <a:pt x="225" y="49"/>
                  </a:lnTo>
                  <a:lnTo>
                    <a:pt x="226" y="46"/>
                  </a:lnTo>
                  <a:lnTo>
                    <a:pt x="226" y="42"/>
                  </a:lnTo>
                  <a:lnTo>
                    <a:pt x="228" y="43"/>
                  </a:lnTo>
                  <a:lnTo>
                    <a:pt x="230" y="43"/>
                  </a:lnTo>
                  <a:lnTo>
                    <a:pt x="230" y="43"/>
                  </a:lnTo>
                  <a:lnTo>
                    <a:pt x="230" y="43"/>
                  </a:lnTo>
                  <a:lnTo>
                    <a:pt x="233" y="40"/>
                  </a:lnTo>
                  <a:lnTo>
                    <a:pt x="233" y="38"/>
                  </a:lnTo>
                  <a:lnTo>
                    <a:pt x="231" y="35"/>
                  </a:lnTo>
                  <a:lnTo>
                    <a:pt x="244" y="27"/>
                  </a:lnTo>
                  <a:lnTo>
                    <a:pt x="255" y="19"/>
                  </a:lnTo>
                  <a:lnTo>
                    <a:pt x="258" y="21"/>
                  </a:lnTo>
                  <a:lnTo>
                    <a:pt x="260" y="19"/>
                  </a:lnTo>
                  <a:lnTo>
                    <a:pt x="263" y="21"/>
                  </a:lnTo>
                  <a:lnTo>
                    <a:pt x="263" y="24"/>
                  </a:lnTo>
                  <a:lnTo>
                    <a:pt x="263" y="27"/>
                  </a:lnTo>
                  <a:lnTo>
                    <a:pt x="288" y="2"/>
                  </a:lnTo>
                  <a:lnTo>
                    <a:pt x="290" y="2"/>
                  </a:lnTo>
                  <a:lnTo>
                    <a:pt x="295" y="0"/>
                  </a:lnTo>
                  <a:lnTo>
                    <a:pt x="298" y="0"/>
                  </a:lnTo>
                  <a:lnTo>
                    <a:pt x="298" y="0"/>
                  </a:lnTo>
                  <a:lnTo>
                    <a:pt x="303" y="0"/>
                  </a:lnTo>
                  <a:lnTo>
                    <a:pt x="306" y="2"/>
                  </a:lnTo>
                  <a:lnTo>
                    <a:pt x="307" y="5"/>
                  </a:lnTo>
                  <a:lnTo>
                    <a:pt x="309" y="5"/>
                  </a:lnTo>
                  <a:lnTo>
                    <a:pt x="272" y="43"/>
                  </a:lnTo>
                  <a:lnTo>
                    <a:pt x="277" y="49"/>
                  </a:lnTo>
                  <a:lnTo>
                    <a:pt x="280" y="56"/>
                  </a:lnTo>
                  <a:lnTo>
                    <a:pt x="284" y="56"/>
                  </a:lnTo>
                  <a:lnTo>
                    <a:pt x="323" y="16"/>
                  </a:lnTo>
                  <a:lnTo>
                    <a:pt x="326" y="15"/>
                  </a:lnTo>
                  <a:lnTo>
                    <a:pt x="328" y="19"/>
                  </a:lnTo>
                  <a:lnTo>
                    <a:pt x="328" y="19"/>
                  </a:lnTo>
                  <a:lnTo>
                    <a:pt x="331" y="23"/>
                  </a:lnTo>
                  <a:lnTo>
                    <a:pt x="334" y="21"/>
                  </a:lnTo>
                  <a:lnTo>
                    <a:pt x="338" y="18"/>
                  </a:lnTo>
                  <a:lnTo>
                    <a:pt x="339" y="19"/>
                  </a:lnTo>
                  <a:lnTo>
                    <a:pt x="342" y="21"/>
                  </a:lnTo>
                  <a:lnTo>
                    <a:pt x="299" y="64"/>
                  </a:lnTo>
                  <a:lnTo>
                    <a:pt x="304" y="67"/>
                  </a:lnTo>
                  <a:lnTo>
                    <a:pt x="306" y="69"/>
                  </a:lnTo>
                  <a:lnTo>
                    <a:pt x="307" y="69"/>
                  </a:lnTo>
                  <a:lnTo>
                    <a:pt x="306" y="72"/>
                  </a:lnTo>
                  <a:lnTo>
                    <a:pt x="303" y="75"/>
                  </a:lnTo>
                  <a:lnTo>
                    <a:pt x="299" y="76"/>
                  </a:lnTo>
                  <a:lnTo>
                    <a:pt x="301" y="81"/>
                  </a:lnTo>
                  <a:lnTo>
                    <a:pt x="303" y="83"/>
                  </a:lnTo>
                  <a:lnTo>
                    <a:pt x="341" y="45"/>
                  </a:lnTo>
                  <a:lnTo>
                    <a:pt x="341" y="45"/>
                  </a:lnTo>
                  <a:lnTo>
                    <a:pt x="339" y="49"/>
                  </a:lnTo>
                  <a:lnTo>
                    <a:pt x="339" y="49"/>
                  </a:lnTo>
                  <a:lnTo>
                    <a:pt x="336" y="54"/>
                  </a:lnTo>
                  <a:lnTo>
                    <a:pt x="334" y="53"/>
                  </a:lnTo>
                  <a:lnTo>
                    <a:pt x="333" y="54"/>
                  </a:lnTo>
                  <a:lnTo>
                    <a:pt x="331" y="57"/>
                  </a:lnTo>
                  <a:lnTo>
                    <a:pt x="328" y="59"/>
                  </a:lnTo>
                  <a:lnTo>
                    <a:pt x="331" y="62"/>
                  </a:lnTo>
                  <a:lnTo>
                    <a:pt x="330" y="64"/>
                  </a:lnTo>
                  <a:lnTo>
                    <a:pt x="326" y="64"/>
                  </a:lnTo>
                  <a:lnTo>
                    <a:pt x="323" y="64"/>
                  </a:lnTo>
                  <a:lnTo>
                    <a:pt x="325" y="69"/>
                  </a:lnTo>
                  <a:lnTo>
                    <a:pt x="325" y="72"/>
                  </a:lnTo>
                  <a:lnTo>
                    <a:pt x="325" y="75"/>
                  </a:lnTo>
                  <a:lnTo>
                    <a:pt x="323" y="80"/>
                  </a:lnTo>
                  <a:lnTo>
                    <a:pt x="320" y="80"/>
                  </a:lnTo>
                  <a:lnTo>
                    <a:pt x="317" y="80"/>
                  </a:lnTo>
                  <a:lnTo>
                    <a:pt x="314" y="80"/>
                  </a:lnTo>
                  <a:lnTo>
                    <a:pt x="309" y="80"/>
                  </a:lnTo>
                  <a:lnTo>
                    <a:pt x="306" y="83"/>
                  </a:lnTo>
                  <a:lnTo>
                    <a:pt x="307" y="86"/>
                  </a:lnTo>
                  <a:lnTo>
                    <a:pt x="309" y="89"/>
                  </a:lnTo>
                  <a:lnTo>
                    <a:pt x="311" y="89"/>
                  </a:lnTo>
                  <a:lnTo>
                    <a:pt x="312" y="91"/>
                  </a:lnTo>
                  <a:lnTo>
                    <a:pt x="312" y="92"/>
                  </a:lnTo>
                  <a:lnTo>
                    <a:pt x="312" y="95"/>
                  </a:lnTo>
                  <a:lnTo>
                    <a:pt x="309" y="95"/>
                  </a:lnTo>
                  <a:lnTo>
                    <a:pt x="311" y="100"/>
                  </a:lnTo>
                  <a:lnTo>
                    <a:pt x="312" y="105"/>
                  </a:lnTo>
                  <a:lnTo>
                    <a:pt x="314" y="108"/>
                  </a:lnTo>
                  <a:lnTo>
                    <a:pt x="318" y="110"/>
                  </a:lnTo>
                  <a:lnTo>
                    <a:pt x="323" y="113"/>
                  </a:lnTo>
                  <a:lnTo>
                    <a:pt x="330" y="115"/>
                  </a:lnTo>
                  <a:lnTo>
                    <a:pt x="330" y="118"/>
                  </a:lnTo>
                  <a:lnTo>
                    <a:pt x="330" y="121"/>
                  </a:lnTo>
                  <a:lnTo>
                    <a:pt x="333" y="124"/>
                  </a:lnTo>
                  <a:lnTo>
                    <a:pt x="336" y="127"/>
                  </a:lnTo>
                  <a:lnTo>
                    <a:pt x="338" y="132"/>
                  </a:lnTo>
                  <a:lnTo>
                    <a:pt x="339" y="135"/>
                  </a:lnTo>
                  <a:lnTo>
                    <a:pt x="333" y="140"/>
                  </a:lnTo>
                  <a:lnTo>
                    <a:pt x="326" y="143"/>
                  </a:lnTo>
                  <a:lnTo>
                    <a:pt x="326" y="146"/>
                  </a:lnTo>
                  <a:lnTo>
                    <a:pt x="323" y="148"/>
                  </a:lnTo>
                  <a:lnTo>
                    <a:pt x="320" y="146"/>
                  </a:lnTo>
                  <a:lnTo>
                    <a:pt x="315" y="143"/>
                  </a:lnTo>
                  <a:lnTo>
                    <a:pt x="314" y="140"/>
                  </a:lnTo>
                  <a:lnTo>
                    <a:pt x="314" y="137"/>
                  </a:lnTo>
                  <a:lnTo>
                    <a:pt x="311" y="137"/>
                  </a:lnTo>
                  <a:lnTo>
                    <a:pt x="309" y="138"/>
                  </a:lnTo>
                  <a:lnTo>
                    <a:pt x="307" y="138"/>
                  </a:lnTo>
                  <a:lnTo>
                    <a:pt x="304" y="138"/>
                  </a:lnTo>
                  <a:lnTo>
                    <a:pt x="301" y="140"/>
                  </a:lnTo>
                  <a:lnTo>
                    <a:pt x="303" y="141"/>
                  </a:lnTo>
                  <a:lnTo>
                    <a:pt x="304" y="145"/>
                  </a:lnTo>
                  <a:lnTo>
                    <a:pt x="306" y="148"/>
                  </a:lnTo>
                  <a:lnTo>
                    <a:pt x="306" y="153"/>
                  </a:lnTo>
                  <a:lnTo>
                    <a:pt x="307" y="153"/>
                  </a:lnTo>
                  <a:lnTo>
                    <a:pt x="311" y="156"/>
                  </a:lnTo>
                  <a:lnTo>
                    <a:pt x="314" y="159"/>
                  </a:lnTo>
                  <a:lnTo>
                    <a:pt x="314" y="160"/>
                  </a:lnTo>
                  <a:lnTo>
                    <a:pt x="318" y="162"/>
                  </a:lnTo>
                  <a:lnTo>
                    <a:pt x="318" y="165"/>
                  </a:lnTo>
                  <a:lnTo>
                    <a:pt x="318" y="168"/>
                  </a:lnTo>
                  <a:lnTo>
                    <a:pt x="318" y="168"/>
                  </a:lnTo>
                  <a:lnTo>
                    <a:pt x="318" y="170"/>
                  </a:lnTo>
                  <a:lnTo>
                    <a:pt x="318" y="173"/>
                  </a:lnTo>
                  <a:lnTo>
                    <a:pt x="323" y="176"/>
                  </a:lnTo>
                  <a:lnTo>
                    <a:pt x="323" y="180"/>
                  </a:lnTo>
                  <a:lnTo>
                    <a:pt x="322" y="184"/>
                  </a:lnTo>
                  <a:lnTo>
                    <a:pt x="323" y="187"/>
                  </a:lnTo>
                  <a:lnTo>
                    <a:pt x="325" y="191"/>
                  </a:lnTo>
                  <a:lnTo>
                    <a:pt x="328" y="191"/>
                  </a:lnTo>
                  <a:lnTo>
                    <a:pt x="331" y="189"/>
                  </a:lnTo>
                  <a:lnTo>
                    <a:pt x="331" y="186"/>
                  </a:lnTo>
                  <a:lnTo>
                    <a:pt x="336" y="186"/>
                  </a:lnTo>
                  <a:lnTo>
                    <a:pt x="336" y="187"/>
                  </a:lnTo>
                  <a:lnTo>
                    <a:pt x="339" y="191"/>
                  </a:lnTo>
                  <a:lnTo>
                    <a:pt x="341" y="194"/>
                  </a:lnTo>
                  <a:lnTo>
                    <a:pt x="342" y="194"/>
                  </a:lnTo>
                  <a:lnTo>
                    <a:pt x="344" y="197"/>
                  </a:lnTo>
                  <a:lnTo>
                    <a:pt x="347" y="199"/>
                  </a:lnTo>
                  <a:lnTo>
                    <a:pt x="349" y="200"/>
                  </a:lnTo>
                  <a:lnTo>
                    <a:pt x="352" y="202"/>
                  </a:lnTo>
                  <a:lnTo>
                    <a:pt x="355" y="205"/>
                  </a:lnTo>
                  <a:lnTo>
                    <a:pt x="360" y="203"/>
                  </a:lnTo>
                  <a:lnTo>
                    <a:pt x="363" y="203"/>
                  </a:lnTo>
                  <a:lnTo>
                    <a:pt x="364" y="205"/>
                  </a:lnTo>
                  <a:lnTo>
                    <a:pt x="368" y="206"/>
                  </a:lnTo>
                  <a:lnTo>
                    <a:pt x="371" y="210"/>
                  </a:lnTo>
                  <a:lnTo>
                    <a:pt x="377" y="211"/>
                  </a:lnTo>
                  <a:lnTo>
                    <a:pt x="380" y="214"/>
                  </a:lnTo>
                  <a:lnTo>
                    <a:pt x="380" y="221"/>
                  </a:lnTo>
                  <a:lnTo>
                    <a:pt x="388" y="222"/>
                  </a:lnTo>
                  <a:lnTo>
                    <a:pt x="396" y="226"/>
                  </a:lnTo>
                  <a:lnTo>
                    <a:pt x="404" y="230"/>
                  </a:lnTo>
                  <a:lnTo>
                    <a:pt x="410" y="235"/>
                  </a:lnTo>
                  <a:lnTo>
                    <a:pt x="409" y="237"/>
                  </a:lnTo>
                  <a:lnTo>
                    <a:pt x="406" y="237"/>
                  </a:lnTo>
                  <a:lnTo>
                    <a:pt x="404" y="240"/>
                  </a:lnTo>
                  <a:lnTo>
                    <a:pt x="403" y="243"/>
                  </a:lnTo>
                  <a:lnTo>
                    <a:pt x="401" y="245"/>
                  </a:lnTo>
                  <a:lnTo>
                    <a:pt x="401" y="245"/>
                  </a:lnTo>
                  <a:lnTo>
                    <a:pt x="398" y="249"/>
                  </a:lnTo>
                  <a:lnTo>
                    <a:pt x="396" y="252"/>
                  </a:lnTo>
                  <a:lnTo>
                    <a:pt x="391" y="254"/>
                  </a:lnTo>
                  <a:lnTo>
                    <a:pt x="395" y="259"/>
                  </a:lnTo>
                  <a:lnTo>
                    <a:pt x="393" y="262"/>
                  </a:lnTo>
                  <a:lnTo>
                    <a:pt x="391" y="264"/>
                  </a:lnTo>
                  <a:lnTo>
                    <a:pt x="391" y="265"/>
                  </a:lnTo>
                  <a:lnTo>
                    <a:pt x="390" y="268"/>
                  </a:lnTo>
                  <a:lnTo>
                    <a:pt x="393" y="271"/>
                  </a:lnTo>
                  <a:lnTo>
                    <a:pt x="393" y="276"/>
                  </a:lnTo>
                  <a:lnTo>
                    <a:pt x="393" y="279"/>
                  </a:lnTo>
                  <a:lnTo>
                    <a:pt x="388" y="281"/>
                  </a:lnTo>
                  <a:lnTo>
                    <a:pt x="388" y="281"/>
                  </a:lnTo>
                  <a:lnTo>
                    <a:pt x="388" y="283"/>
                  </a:lnTo>
                  <a:lnTo>
                    <a:pt x="388" y="286"/>
                  </a:lnTo>
                  <a:lnTo>
                    <a:pt x="388" y="286"/>
                  </a:lnTo>
                  <a:lnTo>
                    <a:pt x="387" y="289"/>
                  </a:lnTo>
                  <a:lnTo>
                    <a:pt x="390" y="292"/>
                  </a:lnTo>
                  <a:lnTo>
                    <a:pt x="391" y="294"/>
                  </a:lnTo>
                  <a:lnTo>
                    <a:pt x="395" y="295"/>
                  </a:lnTo>
                  <a:lnTo>
                    <a:pt x="398" y="298"/>
                  </a:lnTo>
                  <a:lnTo>
                    <a:pt x="403" y="300"/>
                  </a:lnTo>
                  <a:lnTo>
                    <a:pt x="406" y="302"/>
                  </a:lnTo>
                  <a:lnTo>
                    <a:pt x="406" y="298"/>
                  </a:lnTo>
                  <a:lnTo>
                    <a:pt x="414" y="303"/>
                  </a:lnTo>
                  <a:lnTo>
                    <a:pt x="422" y="308"/>
                  </a:lnTo>
                  <a:lnTo>
                    <a:pt x="428" y="310"/>
                  </a:lnTo>
                  <a:lnTo>
                    <a:pt x="431" y="311"/>
                  </a:lnTo>
                  <a:lnTo>
                    <a:pt x="433" y="313"/>
                  </a:lnTo>
                  <a:lnTo>
                    <a:pt x="437" y="321"/>
                  </a:lnTo>
                  <a:lnTo>
                    <a:pt x="441" y="319"/>
                  </a:lnTo>
                  <a:lnTo>
                    <a:pt x="444" y="324"/>
                  </a:lnTo>
                  <a:lnTo>
                    <a:pt x="447" y="325"/>
                  </a:lnTo>
                  <a:lnTo>
                    <a:pt x="450" y="327"/>
                  </a:lnTo>
                  <a:lnTo>
                    <a:pt x="453" y="329"/>
                  </a:lnTo>
                  <a:lnTo>
                    <a:pt x="456" y="332"/>
                  </a:lnTo>
                  <a:lnTo>
                    <a:pt x="460" y="330"/>
                  </a:lnTo>
                  <a:lnTo>
                    <a:pt x="463" y="329"/>
                  </a:lnTo>
                  <a:lnTo>
                    <a:pt x="466" y="332"/>
                  </a:lnTo>
                  <a:lnTo>
                    <a:pt x="469" y="332"/>
                  </a:lnTo>
                  <a:lnTo>
                    <a:pt x="472" y="335"/>
                  </a:lnTo>
                  <a:lnTo>
                    <a:pt x="480" y="340"/>
                  </a:lnTo>
                  <a:lnTo>
                    <a:pt x="483" y="338"/>
                  </a:lnTo>
                  <a:lnTo>
                    <a:pt x="487" y="338"/>
                  </a:lnTo>
                  <a:lnTo>
                    <a:pt x="488" y="340"/>
                  </a:lnTo>
                  <a:lnTo>
                    <a:pt x="490" y="343"/>
                  </a:lnTo>
                  <a:lnTo>
                    <a:pt x="493" y="346"/>
                  </a:lnTo>
                  <a:lnTo>
                    <a:pt x="496" y="346"/>
                  </a:lnTo>
                  <a:lnTo>
                    <a:pt x="499" y="348"/>
                  </a:lnTo>
                  <a:lnTo>
                    <a:pt x="504" y="348"/>
                  </a:lnTo>
                  <a:lnTo>
                    <a:pt x="507" y="349"/>
                  </a:lnTo>
                  <a:lnTo>
                    <a:pt x="510" y="352"/>
                  </a:lnTo>
                  <a:lnTo>
                    <a:pt x="514" y="351"/>
                  </a:lnTo>
                  <a:lnTo>
                    <a:pt x="517" y="348"/>
                  </a:lnTo>
                  <a:lnTo>
                    <a:pt x="520" y="348"/>
                  </a:lnTo>
                  <a:lnTo>
                    <a:pt x="523" y="349"/>
                  </a:lnTo>
                  <a:lnTo>
                    <a:pt x="526" y="351"/>
                  </a:lnTo>
                  <a:lnTo>
                    <a:pt x="531" y="352"/>
                  </a:lnTo>
                  <a:lnTo>
                    <a:pt x="531" y="351"/>
                  </a:lnTo>
                  <a:lnTo>
                    <a:pt x="531" y="349"/>
                  </a:lnTo>
                  <a:lnTo>
                    <a:pt x="533" y="348"/>
                  </a:lnTo>
                  <a:lnTo>
                    <a:pt x="534" y="348"/>
                  </a:lnTo>
                  <a:lnTo>
                    <a:pt x="537" y="346"/>
                  </a:lnTo>
                  <a:lnTo>
                    <a:pt x="542" y="348"/>
                  </a:lnTo>
                  <a:lnTo>
                    <a:pt x="545" y="351"/>
                  </a:lnTo>
                  <a:lnTo>
                    <a:pt x="548" y="351"/>
                  </a:lnTo>
                  <a:lnTo>
                    <a:pt x="555" y="352"/>
                  </a:lnTo>
                  <a:lnTo>
                    <a:pt x="560" y="356"/>
                  </a:lnTo>
                  <a:lnTo>
                    <a:pt x="561" y="359"/>
                  </a:lnTo>
                  <a:lnTo>
                    <a:pt x="561" y="362"/>
                  </a:lnTo>
                  <a:lnTo>
                    <a:pt x="561" y="365"/>
                  </a:lnTo>
                  <a:lnTo>
                    <a:pt x="566" y="367"/>
                  </a:lnTo>
                  <a:lnTo>
                    <a:pt x="569" y="367"/>
                  </a:lnTo>
                  <a:lnTo>
                    <a:pt x="571" y="368"/>
                  </a:lnTo>
                  <a:lnTo>
                    <a:pt x="574" y="371"/>
                  </a:lnTo>
                  <a:lnTo>
                    <a:pt x="574" y="371"/>
                  </a:lnTo>
                  <a:lnTo>
                    <a:pt x="577" y="371"/>
                  </a:lnTo>
                  <a:lnTo>
                    <a:pt x="582" y="373"/>
                  </a:lnTo>
                  <a:lnTo>
                    <a:pt x="583" y="376"/>
                  </a:lnTo>
                  <a:lnTo>
                    <a:pt x="587" y="376"/>
                  </a:lnTo>
                  <a:lnTo>
                    <a:pt x="590" y="375"/>
                  </a:lnTo>
                  <a:lnTo>
                    <a:pt x="593" y="373"/>
                  </a:lnTo>
                  <a:lnTo>
                    <a:pt x="598" y="373"/>
                  </a:lnTo>
                  <a:lnTo>
                    <a:pt x="601" y="376"/>
                  </a:lnTo>
                  <a:lnTo>
                    <a:pt x="601" y="379"/>
                  </a:lnTo>
                  <a:lnTo>
                    <a:pt x="604" y="382"/>
                  </a:lnTo>
                  <a:lnTo>
                    <a:pt x="604" y="382"/>
                  </a:lnTo>
                  <a:lnTo>
                    <a:pt x="609" y="382"/>
                  </a:lnTo>
                  <a:lnTo>
                    <a:pt x="612" y="381"/>
                  </a:lnTo>
                  <a:lnTo>
                    <a:pt x="615" y="382"/>
                  </a:lnTo>
                  <a:lnTo>
                    <a:pt x="620" y="382"/>
                  </a:lnTo>
                  <a:lnTo>
                    <a:pt x="623" y="384"/>
                  </a:lnTo>
                  <a:lnTo>
                    <a:pt x="626" y="384"/>
                  </a:lnTo>
                  <a:lnTo>
                    <a:pt x="631" y="386"/>
                  </a:lnTo>
                  <a:lnTo>
                    <a:pt x="637" y="390"/>
                  </a:lnTo>
                  <a:lnTo>
                    <a:pt x="640" y="390"/>
                  </a:lnTo>
                  <a:lnTo>
                    <a:pt x="642" y="389"/>
                  </a:lnTo>
                  <a:lnTo>
                    <a:pt x="644" y="386"/>
                  </a:lnTo>
                  <a:lnTo>
                    <a:pt x="644" y="386"/>
                  </a:lnTo>
                  <a:lnTo>
                    <a:pt x="645" y="386"/>
                  </a:lnTo>
                  <a:lnTo>
                    <a:pt x="648" y="384"/>
                  </a:lnTo>
                  <a:lnTo>
                    <a:pt x="650" y="387"/>
                  </a:lnTo>
                  <a:lnTo>
                    <a:pt x="652" y="390"/>
                  </a:lnTo>
                  <a:lnTo>
                    <a:pt x="656" y="390"/>
                  </a:lnTo>
                  <a:lnTo>
                    <a:pt x="659" y="394"/>
                  </a:lnTo>
                  <a:lnTo>
                    <a:pt x="663" y="390"/>
                  </a:lnTo>
                  <a:lnTo>
                    <a:pt x="666" y="390"/>
                  </a:lnTo>
                  <a:lnTo>
                    <a:pt x="671" y="390"/>
                  </a:lnTo>
                  <a:lnTo>
                    <a:pt x="672" y="390"/>
                  </a:lnTo>
                  <a:lnTo>
                    <a:pt x="677" y="389"/>
                  </a:lnTo>
                  <a:lnTo>
                    <a:pt x="680" y="390"/>
                  </a:lnTo>
                  <a:lnTo>
                    <a:pt x="683" y="392"/>
                  </a:lnTo>
                  <a:lnTo>
                    <a:pt x="686" y="384"/>
                  </a:lnTo>
                  <a:lnTo>
                    <a:pt x="686" y="378"/>
                  </a:lnTo>
                  <a:lnTo>
                    <a:pt x="685" y="373"/>
                  </a:lnTo>
                  <a:lnTo>
                    <a:pt x="683" y="370"/>
                  </a:lnTo>
                  <a:lnTo>
                    <a:pt x="678" y="363"/>
                  </a:lnTo>
                  <a:lnTo>
                    <a:pt x="677" y="357"/>
                  </a:lnTo>
                  <a:lnTo>
                    <a:pt x="677" y="349"/>
                  </a:lnTo>
                  <a:lnTo>
                    <a:pt x="675" y="344"/>
                  </a:lnTo>
                  <a:lnTo>
                    <a:pt x="677" y="341"/>
                  </a:lnTo>
                  <a:lnTo>
                    <a:pt x="678" y="338"/>
                  </a:lnTo>
                  <a:lnTo>
                    <a:pt x="678" y="335"/>
                  </a:lnTo>
                  <a:lnTo>
                    <a:pt x="677" y="332"/>
                  </a:lnTo>
                  <a:lnTo>
                    <a:pt x="675" y="327"/>
                  </a:lnTo>
                  <a:lnTo>
                    <a:pt x="680" y="327"/>
                  </a:lnTo>
                  <a:lnTo>
                    <a:pt x="683" y="327"/>
                  </a:lnTo>
                  <a:lnTo>
                    <a:pt x="686" y="325"/>
                  </a:lnTo>
                  <a:lnTo>
                    <a:pt x="690" y="322"/>
                  </a:lnTo>
                  <a:lnTo>
                    <a:pt x="693" y="322"/>
                  </a:lnTo>
                  <a:lnTo>
                    <a:pt x="696" y="324"/>
                  </a:lnTo>
                  <a:lnTo>
                    <a:pt x="701" y="325"/>
                  </a:lnTo>
                  <a:lnTo>
                    <a:pt x="701" y="330"/>
                  </a:lnTo>
                  <a:lnTo>
                    <a:pt x="702" y="333"/>
                  </a:lnTo>
                  <a:lnTo>
                    <a:pt x="702" y="337"/>
                  </a:lnTo>
                  <a:lnTo>
                    <a:pt x="702" y="340"/>
                  </a:lnTo>
                  <a:lnTo>
                    <a:pt x="701" y="343"/>
                  </a:lnTo>
                  <a:lnTo>
                    <a:pt x="701" y="348"/>
                  </a:lnTo>
                  <a:lnTo>
                    <a:pt x="704" y="351"/>
                  </a:lnTo>
                  <a:lnTo>
                    <a:pt x="704" y="351"/>
                  </a:lnTo>
                  <a:lnTo>
                    <a:pt x="707" y="354"/>
                  </a:lnTo>
                  <a:lnTo>
                    <a:pt x="707" y="356"/>
                  </a:lnTo>
                  <a:lnTo>
                    <a:pt x="704" y="357"/>
                  </a:lnTo>
                  <a:lnTo>
                    <a:pt x="704" y="360"/>
                  </a:lnTo>
                  <a:lnTo>
                    <a:pt x="704" y="360"/>
                  </a:lnTo>
                  <a:lnTo>
                    <a:pt x="709" y="365"/>
                  </a:lnTo>
                  <a:lnTo>
                    <a:pt x="709" y="368"/>
                  </a:lnTo>
                  <a:lnTo>
                    <a:pt x="713" y="370"/>
                  </a:lnTo>
                  <a:lnTo>
                    <a:pt x="717" y="371"/>
                  </a:lnTo>
                  <a:lnTo>
                    <a:pt x="720" y="375"/>
                  </a:lnTo>
                  <a:lnTo>
                    <a:pt x="723" y="375"/>
                  </a:lnTo>
                  <a:lnTo>
                    <a:pt x="726" y="373"/>
                  </a:lnTo>
                  <a:lnTo>
                    <a:pt x="728" y="373"/>
                  </a:lnTo>
                  <a:lnTo>
                    <a:pt x="731" y="375"/>
                  </a:lnTo>
                  <a:lnTo>
                    <a:pt x="736" y="375"/>
                  </a:lnTo>
                  <a:lnTo>
                    <a:pt x="737" y="376"/>
                  </a:lnTo>
                  <a:lnTo>
                    <a:pt x="737" y="378"/>
                  </a:lnTo>
                  <a:lnTo>
                    <a:pt x="742" y="379"/>
                  </a:lnTo>
                  <a:lnTo>
                    <a:pt x="745" y="379"/>
                  </a:lnTo>
                  <a:lnTo>
                    <a:pt x="745" y="378"/>
                  </a:lnTo>
                  <a:lnTo>
                    <a:pt x="747" y="378"/>
                  </a:lnTo>
                  <a:lnTo>
                    <a:pt x="750" y="378"/>
                  </a:lnTo>
                  <a:lnTo>
                    <a:pt x="753" y="378"/>
                  </a:lnTo>
                  <a:lnTo>
                    <a:pt x="756" y="373"/>
                  </a:lnTo>
                  <a:lnTo>
                    <a:pt x="759" y="373"/>
                  </a:lnTo>
                  <a:lnTo>
                    <a:pt x="763" y="371"/>
                  </a:lnTo>
                  <a:lnTo>
                    <a:pt x="767" y="375"/>
                  </a:lnTo>
                  <a:lnTo>
                    <a:pt x="772" y="376"/>
                  </a:lnTo>
                  <a:lnTo>
                    <a:pt x="777" y="376"/>
                  </a:lnTo>
                  <a:lnTo>
                    <a:pt x="783" y="376"/>
                  </a:lnTo>
                  <a:lnTo>
                    <a:pt x="783" y="376"/>
                  </a:lnTo>
                  <a:lnTo>
                    <a:pt x="786" y="375"/>
                  </a:lnTo>
                  <a:lnTo>
                    <a:pt x="790" y="375"/>
                  </a:lnTo>
                  <a:lnTo>
                    <a:pt x="794" y="375"/>
                  </a:lnTo>
                  <a:lnTo>
                    <a:pt x="797" y="375"/>
                  </a:lnTo>
                  <a:lnTo>
                    <a:pt x="801" y="371"/>
                  </a:lnTo>
                  <a:lnTo>
                    <a:pt x="804" y="375"/>
                  </a:lnTo>
                  <a:lnTo>
                    <a:pt x="807" y="375"/>
                  </a:lnTo>
                  <a:lnTo>
                    <a:pt x="812" y="373"/>
                  </a:lnTo>
                  <a:lnTo>
                    <a:pt x="815" y="373"/>
                  </a:lnTo>
                  <a:lnTo>
                    <a:pt x="821" y="371"/>
                  </a:lnTo>
                  <a:lnTo>
                    <a:pt x="823" y="370"/>
                  </a:lnTo>
                  <a:lnTo>
                    <a:pt x="821" y="367"/>
                  </a:lnTo>
                  <a:lnTo>
                    <a:pt x="818" y="363"/>
                  </a:lnTo>
                  <a:lnTo>
                    <a:pt x="816" y="360"/>
                  </a:lnTo>
                  <a:lnTo>
                    <a:pt x="818" y="357"/>
                  </a:lnTo>
                  <a:lnTo>
                    <a:pt x="818" y="352"/>
                  </a:lnTo>
                  <a:lnTo>
                    <a:pt x="816" y="349"/>
                  </a:lnTo>
                  <a:lnTo>
                    <a:pt x="813" y="348"/>
                  </a:lnTo>
                  <a:lnTo>
                    <a:pt x="812" y="348"/>
                  </a:lnTo>
                  <a:lnTo>
                    <a:pt x="807" y="349"/>
                  </a:lnTo>
                  <a:lnTo>
                    <a:pt x="804" y="348"/>
                  </a:lnTo>
                  <a:lnTo>
                    <a:pt x="802" y="346"/>
                  </a:lnTo>
                  <a:lnTo>
                    <a:pt x="801" y="343"/>
                  </a:lnTo>
                  <a:lnTo>
                    <a:pt x="799" y="340"/>
                  </a:lnTo>
                  <a:lnTo>
                    <a:pt x="801" y="337"/>
                  </a:lnTo>
                  <a:lnTo>
                    <a:pt x="799" y="335"/>
                  </a:lnTo>
                  <a:lnTo>
                    <a:pt x="804" y="335"/>
                  </a:lnTo>
                  <a:lnTo>
                    <a:pt x="807" y="337"/>
                  </a:lnTo>
                  <a:lnTo>
                    <a:pt x="809" y="337"/>
                  </a:lnTo>
                  <a:lnTo>
                    <a:pt x="812" y="337"/>
                  </a:lnTo>
                  <a:lnTo>
                    <a:pt x="816" y="333"/>
                  </a:lnTo>
                  <a:lnTo>
                    <a:pt x="820" y="333"/>
                  </a:lnTo>
                  <a:lnTo>
                    <a:pt x="823" y="333"/>
                  </a:lnTo>
                  <a:lnTo>
                    <a:pt x="831" y="332"/>
                  </a:lnTo>
                  <a:lnTo>
                    <a:pt x="834" y="329"/>
                  </a:lnTo>
                  <a:lnTo>
                    <a:pt x="836" y="325"/>
                  </a:lnTo>
                  <a:lnTo>
                    <a:pt x="832" y="322"/>
                  </a:lnTo>
                  <a:lnTo>
                    <a:pt x="836" y="319"/>
                  </a:lnTo>
                  <a:lnTo>
                    <a:pt x="839" y="317"/>
                  </a:lnTo>
                  <a:lnTo>
                    <a:pt x="840" y="316"/>
                  </a:lnTo>
                  <a:lnTo>
                    <a:pt x="843" y="313"/>
                  </a:lnTo>
                  <a:lnTo>
                    <a:pt x="845" y="311"/>
                  </a:lnTo>
                  <a:lnTo>
                    <a:pt x="847" y="310"/>
                  </a:lnTo>
                  <a:lnTo>
                    <a:pt x="847" y="308"/>
                  </a:lnTo>
                  <a:lnTo>
                    <a:pt x="847" y="305"/>
                  </a:lnTo>
                  <a:lnTo>
                    <a:pt x="848" y="302"/>
                  </a:lnTo>
                  <a:lnTo>
                    <a:pt x="851" y="298"/>
                  </a:lnTo>
                  <a:lnTo>
                    <a:pt x="853" y="298"/>
                  </a:lnTo>
                  <a:lnTo>
                    <a:pt x="856" y="298"/>
                  </a:lnTo>
                  <a:lnTo>
                    <a:pt x="861" y="298"/>
                  </a:lnTo>
                  <a:lnTo>
                    <a:pt x="867" y="295"/>
                  </a:lnTo>
                  <a:lnTo>
                    <a:pt x="870" y="292"/>
                  </a:lnTo>
                  <a:lnTo>
                    <a:pt x="872" y="292"/>
                  </a:lnTo>
                  <a:lnTo>
                    <a:pt x="874" y="287"/>
                  </a:lnTo>
                  <a:lnTo>
                    <a:pt x="877" y="286"/>
                  </a:lnTo>
                  <a:lnTo>
                    <a:pt x="878" y="283"/>
                  </a:lnTo>
                  <a:lnTo>
                    <a:pt x="878" y="281"/>
                  </a:lnTo>
                  <a:lnTo>
                    <a:pt x="882" y="278"/>
                  </a:lnTo>
                  <a:lnTo>
                    <a:pt x="886" y="276"/>
                  </a:lnTo>
                  <a:lnTo>
                    <a:pt x="889" y="275"/>
                  </a:lnTo>
                  <a:lnTo>
                    <a:pt x="891" y="271"/>
                  </a:lnTo>
                  <a:lnTo>
                    <a:pt x="894" y="273"/>
                  </a:lnTo>
                  <a:lnTo>
                    <a:pt x="897" y="276"/>
                  </a:lnTo>
                  <a:lnTo>
                    <a:pt x="901" y="278"/>
                  </a:lnTo>
                  <a:lnTo>
                    <a:pt x="904" y="279"/>
                  </a:lnTo>
                  <a:lnTo>
                    <a:pt x="905" y="279"/>
                  </a:lnTo>
                  <a:lnTo>
                    <a:pt x="905" y="279"/>
                  </a:lnTo>
                  <a:lnTo>
                    <a:pt x="905" y="279"/>
                  </a:lnTo>
                  <a:lnTo>
                    <a:pt x="904" y="278"/>
                  </a:lnTo>
                  <a:lnTo>
                    <a:pt x="905" y="278"/>
                  </a:lnTo>
                  <a:lnTo>
                    <a:pt x="908" y="279"/>
                  </a:lnTo>
                  <a:lnTo>
                    <a:pt x="912" y="281"/>
                  </a:lnTo>
                  <a:lnTo>
                    <a:pt x="915" y="283"/>
                  </a:lnTo>
                  <a:lnTo>
                    <a:pt x="920" y="283"/>
                  </a:lnTo>
                  <a:lnTo>
                    <a:pt x="923" y="283"/>
                  </a:lnTo>
                  <a:lnTo>
                    <a:pt x="924" y="278"/>
                  </a:lnTo>
                  <a:lnTo>
                    <a:pt x="924" y="275"/>
                  </a:lnTo>
                  <a:lnTo>
                    <a:pt x="927" y="273"/>
                  </a:lnTo>
                  <a:lnTo>
                    <a:pt x="931" y="270"/>
                  </a:lnTo>
                  <a:lnTo>
                    <a:pt x="934" y="268"/>
                  </a:lnTo>
                  <a:lnTo>
                    <a:pt x="937" y="268"/>
                  </a:lnTo>
                  <a:lnTo>
                    <a:pt x="940" y="267"/>
                  </a:lnTo>
                  <a:lnTo>
                    <a:pt x="943" y="270"/>
                  </a:lnTo>
                  <a:lnTo>
                    <a:pt x="943" y="270"/>
                  </a:lnTo>
                  <a:lnTo>
                    <a:pt x="947" y="273"/>
                  </a:lnTo>
                  <a:lnTo>
                    <a:pt x="950" y="275"/>
                  </a:lnTo>
                  <a:lnTo>
                    <a:pt x="951" y="276"/>
                  </a:lnTo>
                  <a:lnTo>
                    <a:pt x="948" y="278"/>
                  </a:lnTo>
                  <a:lnTo>
                    <a:pt x="945" y="281"/>
                  </a:lnTo>
                  <a:lnTo>
                    <a:pt x="947" y="284"/>
                  </a:lnTo>
                  <a:lnTo>
                    <a:pt x="948" y="286"/>
                  </a:lnTo>
                  <a:lnTo>
                    <a:pt x="951" y="286"/>
                  </a:lnTo>
                  <a:lnTo>
                    <a:pt x="954" y="283"/>
                  </a:lnTo>
                  <a:lnTo>
                    <a:pt x="958" y="283"/>
                  </a:lnTo>
                  <a:lnTo>
                    <a:pt x="958" y="283"/>
                  </a:lnTo>
                  <a:lnTo>
                    <a:pt x="958" y="286"/>
                  </a:lnTo>
                  <a:lnTo>
                    <a:pt x="961" y="289"/>
                  </a:lnTo>
                  <a:lnTo>
                    <a:pt x="964" y="292"/>
                  </a:lnTo>
                  <a:lnTo>
                    <a:pt x="964" y="294"/>
                  </a:lnTo>
                  <a:lnTo>
                    <a:pt x="962" y="297"/>
                  </a:lnTo>
                  <a:lnTo>
                    <a:pt x="961" y="300"/>
                  </a:lnTo>
                  <a:lnTo>
                    <a:pt x="958" y="303"/>
                  </a:lnTo>
                  <a:lnTo>
                    <a:pt x="958" y="306"/>
                  </a:lnTo>
                  <a:lnTo>
                    <a:pt x="958" y="310"/>
                  </a:lnTo>
                  <a:lnTo>
                    <a:pt x="961" y="311"/>
                  </a:lnTo>
                  <a:lnTo>
                    <a:pt x="964" y="308"/>
                  </a:lnTo>
                  <a:lnTo>
                    <a:pt x="967" y="306"/>
                  </a:lnTo>
                  <a:lnTo>
                    <a:pt x="970" y="308"/>
                  </a:lnTo>
                  <a:lnTo>
                    <a:pt x="975" y="311"/>
                  </a:lnTo>
                  <a:lnTo>
                    <a:pt x="978" y="311"/>
                  </a:lnTo>
                  <a:lnTo>
                    <a:pt x="981" y="313"/>
                  </a:lnTo>
                  <a:lnTo>
                    <a:pt x="983" y="311"/>
                  </a:lnTo>
                  <a:lnTo>
                    <a:pt x="983" y="311"/>
                  </a:lnTo>
                  <a:lnTo>
                    <a:pt x="986" y="311"/>
                  </a:lnTo>
                  <a:lnTo>
                    <a:pt x="989" y="313"/>
                  </a:lnTo>
                  <a:lnTo>
                    <a:pt x="993" y="316"/>
                  </a:lnTo>
                  <a:lnTo>
                    <a:pt x="994" y="316"/>
                  </a:lnTo>
                  <a:lnTo>
                    <a:pt x="994" y="322"/>
                  </a:lnTo>
                  <a:lnTo>
                    <a:pt x="997" y="325"/>
                  </a:lnTo>
                  <a:lnTo>
                    <a:pt x="994" y="329"/>
                  </a:lnTo>
                  <a:lnTo>
                    <a:pt x="993" y="333"/>
                  </a:lnTo>
                  <a:lnTo>
                    <a:pt x="988" y="337"/>
                  </a:lnTo>
                  <a:lnTo>
                    <a:pt x="988" y="337"/>
                  </a:lnTo>
                  <a:lnTo>
                    <a:pt x="985" y="340"/>
                  </a:lnTo>
                  <a:lnTo>
                    <a:pt x="985" y="343"/>
                  </a:lnTo>
                  <a:lnTo>
                    <a:pt x="985" y="348"/>
                  </a:lnTo>
                  <a:lnTo>
                    <a:pt x="986" y="348"/>
                  </a:lnTo>
                  <a:lnTo>
                    <a:pt x="989" y="352"/>
                  </a:lnTo>
                  <a:lnTo>
                    <a:pt x="993" y="356"/>
                  </a:lnTo>
                  <a:lnTo>
                    <a:pt x="996" y="359"/>
                  </a:lnTo>
                  <a:lnTo>
                    <a:pt x="997" y="362"/>
                  </a:lnTo>
                  <a:lnTo>
                    <a:pt x="994" y="363"/>
                  </a:lnTo>
                  <a:lnTo>
                    <a:pt x="991" y="360"/>
                  </a:lnTo>
                  <a:lnTo>
                    <a:pt x="988" y="359"/>
                  </a:lnTo>
                  <a:lnTo>
                    <a:pt x="985" y="356"/>
                  </a:lnTo>
                  <a:lnTo>
                    <a:pt x="983" y="352"/>
                  </a:lnTo>
                  <a:lnTo>
                    <a:pt x="978" y="352"/>
                  </a:lnTo>
                  <a:lnTo>
                    <a:pt x="975" y="354"/>
                  </a:lnTo>
                  <a:lnTo>
                    <a:pt x="972" y="354"/>
                  </a:lnTo>
                  <a:lnTo>
                    <a:pt x="967" y="354"/>
                  </a:lnTo>
                  <a:lnTo>
                    <a:pt x="964" y="356"/>
                  </a:lnTo>
                  <a:lnTo>
                    <a:pt x="961" y="357"/>
                  </a:lnTo>
                  <a:lnTo>
                    <a:pt x="958" y="359"/>
                  </a:lnTo>
                  <a:lnTo>
                    <a:pt x="956" y="362"/>
                  </a:lnTo>
                  <a:lnTo>
                    <a:pt x="954" y="365"/>
                  </a:lnTo>
                  <a:lnTo>
                    <a:pt x="951" y="367"/>
                  </a:lnTo>
                  <a:lnTo>
                    <a:pt x="948" y="371"/>
                  </a:lnTo>
                  <a:lnTo>
                    <a:pt x="945" y="375"/>
                  </a:lnTo>
                  <a:lnTo>
                    <a:pt x="942" y="375"/>
                  </a:lnTo>
                  <a:lnTo>
                    <a:pt x="942" y="378"/>
                  </a:lnTo>
                  <a:lnTo>
                    <a:pt x="940" y="378"/>
                  </a:lnTo>
                  <a:lnTo>
                    <a:pt x="937" y="379"/>
                  </a:lnTo>
                  <a:lnTo>
                    <a:pt x="934" y="379"/>
                  </a:lnTo>
                  <a:lnTo>
                    <a:pt x="931" y="384"/>
                  </a:lnTo>
                  <a:lnTo>
                    <a:pt x="929" y="387"/>
                  </a:lnTo>
                  <a:lnTo>
                    <a:pt x="931" y="390"/>
                  </a:lnTo>
                  <a:lnTo>
                    <a:pt x="931" y="394"/>
                  </a:lnTo>
                  <a:lnTo>
                    <a:pt x="931" y="397"/>
                  </a:lnTo>
                  <a:lnTo>
                    <a:pt x="932" y="400"/>
                  </a:lnTo>
                  <a:lnTo>
                    <a:pt x="935" y="405"/>
                  </a:lnTo>
                  <a:lnTo>
                    <a:pt x="935" y="408"/>
                  </a:lnTo>
                  <a:lnTo>
                    <a:pt x="932" y="411"/>
                  </a:lnTo>
                  <a:lnTo>
                    <a:pt x="932" y="414"/>
                  </a:lnTo>
                  <a:lnTo>
                    <a:pt x="932" y="416"/>
                  </a:lnTo>
                  <a:lnTo>
                    <a:pt x="932" y="419"/>
                  </a:lnTo>
                  <a:lnTo>
                    <a:pt x="931" y="421"/>
                  </a:lnTo>
                  <a:lnTo>
                    <a:pt x="929" y="424"/>
                  </a:lnTo>
                  <a:lnTo>
                    <a:pt x="929" y="425"/>
                  </a:lnTo>
                  <a:lnTo>
                    <a:pt x="926" y="428"/>
                  </a:lnTo>
                  <a:lnTo>
                    <a:pt x="923" y="430"/>
                  </a:lnTo>
                  <a:lnTo>
                    <a:pt x="923" y="432"/>
                  </a:lnTo>
                  <a:lnTo>
                    <a:pt x="921" y="435"/>
                  </a:lnTo>
                  <a:lnTo>
                    <a:pt x="921" y="438"/>
                  </a:lnTo>
                  <a:lnTo>
                    <a:pt x="927" y="444"/>
                  </a:lnTo>
                  <a:lnTo>
                    <a:pt x="927" y="449"/>
                  </a:lnTo>
                  <a:lnTo>
                    <a:pt x="927" y="449"/>
                  </a:lnTo>
                  <a:lnTo>
                    <a:pt x="927" y="452"/>
                  </a:lnTo>
                  <a:lnTo>
                    <a:pt x="924" y="455"/>
                  </a:lnTo>
                  <a:lnTo>
                    <a:pt x="924" y="457"/>
                  </a:lnTo>
                  <a:lnTo>
                    <a:pt x="924" y="460"/>
                  </a:lnTo>
                  <a:lnTo>
                    <a:pt x="923" y="462"/>
                  </a:lnTo>
                  <a:lnTo>
                    <a:pt x="921" y="465"/>
                  </a:lnTo>
                  <a:lnTo>
                    <a:pt x="920" y="468"/>
                  </a:lnTo>
                  <a:lnTo>
                    <a:pt x="920" y="473"/>
                  </a:lnTo>
                  <a:lnTo>
                    <a:pt x="918" y="476"/>
                  </a:lnTo>
                  <a:lnTo>
                    <a:pt x="916" y="479"/>
                  </a:lnTo>
                  <a:lnTo>
                    <a:pt x="916" y="487"/>
                  </a:lnTo>
                  <a:lnTo>
                    <a:pt x="913" y="495"/>
                  </a:lnTo>
                  <a:lnTo>
                    <a:pt x="913" y="495"/>
                  </a:lnTo>
                  <a:lnTo>
                    <a:pt x="908" y="492"/>
                  </a:lnTo>
                  <a:lnTo>
                    <a:pt x="905" y="492"/>
                  </a:lnTo>
                  <a:lnTo>
                    <a:pt x="902" y="492"/>
                  </a:lnTo>
                  <a:lnTo>
                    <a:pt x="899" y="489"/>
                  </a:lnTo>
                  <a:lnTo>
                    <a:pt x="894" y="489"/>
                  </a:lnTo>
                  <a:lnTo>
                    <a:pt x="891" y="490"/>
                  </a:lnTo>
                  <a:lnTo>
                    <a:pt x="888" y="487"/>
                  </a:lnTo>
                  <a:lnTo>
                    <a:pt x="885" y="487"/>
                  </a:lnTo>
                  <a:lnTo>
                    <a:pt x="888" y="495"/>
                  </a:lnTo>
                  <a:lnTo>
                    <a:pt x="889" y="501"/>
                  </a:lnTo>
                  <a:lnTo>
                    <a:pt x="889" y="501"/>
                  </a:lnTo>
                  <a:lnTo>
                    <a:pt x="889" y="503"/>
                  </a:lnTo>
                  <a:lnTo>
                    <a:pt x="889" y="513"/>
                  </a:lnTo>
                  <a:lnTo>
                    <a:pt x="889" y="516"/>
                  </a:lnTo>
                  <a:lnTo>
                    <a:pt x="891" y="519"/>
                  </a:lnTo>
                  <a:lnTo>
                    <a:pt x="891" y="524"/>
                  </a:lnTo>
                  <a:lnTo>
                    <a:pt x="891" y="527"/>
                  </a:lnTo>
                  <a:lnTo>
                    <a:pt x="889" y="528"/>
                  </a:lnTo>
                  <a:lnTo>
                    <a:pt x="886" y="530"/>
                  </a:lnTo>
                  <a:lnTo>
                    <a:pt x="883" y="528"/>
                  </a:lnTo>
                  <a:lnTo>
                    <a:pt x="883" y="532"/>
                  </a:lnTo>
                  <a:lnTo>
                    <a:pt x="883" y="535"/>
                  </a:lnTo>
                  <a:lnTo>
                    <a:pt x="883" y="539"/>
                  </a:lnTo>
                  <a:lnTo>
                    <a:pt x="883" y="543"/>
                  </a:lnTo>
                  <a:lnTo>
                    <a:pt x="885" y="546"/>
                  </a:lnTo>
                  <a:lnTo>
                    <a:pt x="885" y="549"/>
                  </a:lnTo>
                  <a:lnTo>
                    <a:pt x="888" y="552"/>
                  </a:lnTo>
                  <a:lnTo>
                    <a:pt x="889" y="557"/>
                  </a:lnTo>
                  <a:lnTo>
                    <a:pt x="889" y="560"/>
                  </a:lnTo>
                  <a:lnTo>
                    <a:pt x="889" y="563"/>
                  </a:lnTo>
                  <a:lnTo>
                    <a:pt x="888" y="563"/>
                  </a:lnTo>
                  <a:lnTo>
                    <a:pt x="885" y="563"/>
                  </a:lnTo>
                  <a:lnTo>
                    <a:pt x="883" y="566"/>
                  </a:lnTo>
                  <a:lnTo>
                    <a:pt x="883" y="571"/>
                  </a:lnTo>
                  <a:lnTo>
                    <a:pt x="880" y="571"/>
                  </a:lnTo>
                  <a:lnTo>
                    <a:pt x="878" y="568"/>
                  </a:lnTo>
                  <a:lnTo>
                    <a:pt x="877" y="566"/>
                  </a:lnTo>
                  <a:lnTo>
                    <a:pt x="872" y="565"/>
                  </a:lnTo>
                  <a:lnTo>
                    <a:pt x="872" y="568"/>
                  </a:lnTo>
                  <a:lnTo>
                    <a:pt x="870" y="571"/>
                  </a:lnTo>
                  <a:lnTo>
                    <a:pt x="869" y="568"/>
                  </a:lnTo>
                  <a:lnTo>
                    <a:pt x="869" y="565"/>
                  </a:lnTo>
                  <a:lnTo>
                    <a:pt x="869" y="562"/>
                  </a:lnTo>
                  <a:lnTo>
                    <a:pt x="867" y="559"/>
                  </a:lnTo>
                  <a:lnTo>
                    <a:pt x="866" y="554"/>
                  </a:lnTo>
                  <a:lnTo>
                    <a:pt x="866" y="551"/>
                  </a:lnTo>
                  <a:lnTo>
                    <a:pt x="864" y="547"/>
                  </a:lnTo>
                  <a:lnTo>
                    <a:pt x="864" y="544"/>
                  </a:lnTo>
                  <a:lnTo>
                    <a:pt x="861" y="539"/>
                  </a:lnTo>
                  <a:lnTo>
                    <a:pt x="859" y="536"/>
                  </a:lnTo>
                  <a:lnTo>
                    <a:pt x="859" y="535"/>
                  </a:lnTo>
                  <a:lnTo>
                    <a:pt x="856" y="532"/>
                  </a:lnTo>
                  <a:lnTo>
                    <a:pt x="856" y="528"/>
                  </a:lnTo>
                  <a:lnTo>
                    <a:pt x="855" y="524"/>
                  </a:lnTo>
                  <a:lnTo>
                    <a:pt x="855" y="520"/>
                  </a:lnTo>
                  <a:lnTo>
                    <a:pt x="855" y="519"/>
                  </a:lnTo>
                  <a:lnTo>
                    <a:pt x="855" y="516"/>
                  </a:lnTo>
                  <a:lnTo>
                    <a:pt x="853" y="513"/>
                  </a:lnTo>
                  <a:lnTo>
                    <a:pt x="851" y="509"/>
                  </a:lnTo>
                  <a:lnTo>
                    <a:pt x="850" y="506"/>
                  </a:lnTo>
                  <a:lnTo>
                    <a:pt x="850" y="501"/>
                  </a:lnTo>
                  <a:lnTo>
                    <a:pt x="848" y="501"/>
                  </a:lnTo>
                  <a:lnTo>
                    <a:pt x="845" y="500"/>
                  </a:lnTo>
                  <a:lnTo>
                    <a:pt x="845" y="500"/>
                  </a:lnTo>
                  <a:lnTo>
                    <a:pt x="842" y="505"/>
                  </a:lnTo>
                  <a:lnTo>
                    <a:pt x="840" y="505"/>
                  </a:lnTo>
                  <a:lnTo>
                    <a:pt x="837" y="501"/>
                  </a:lnTo>
                  <a:lnTo>
                    <a:pt x="839" y="506"/>
                  </a:lnTo>
                  <a:lnTo>
                    <a:pt x="839" y="509"/>
                  </a:lnTo>
                  <a:lnTo>
                    <a:pt x="839" y="511"/>
                  </a:lnTo>
                  <a:lnTo>
                    <a:pt x="836" y="514"/>
                  </a:lnTo>
                  <a:lnTo>
                    <a:pt x="834" y="517"/>
                  </a:lnTo>
                  <a:lnTo>
                    <a:pt x="834" y="520"/>
                  </a:lnTo>
                  <a:lnTo>
                    <a:pt x="836" y="524"/>
                  </a:lnTo>
                  <a:lnTo>
                    <a:pt x="836" y="527"/>
                  </a:lnTo>
                  <a:lnTo>
                    <a:pt x="832" y="530"/>
                  </a:lnTo>
                  <a:lnTo>
                    <a:pt x="832" y="532"/>
                  </a:lnTo>
                  <a:lnTo>
                    <a:pt x="829" y="532"/>
                  </a:lnTo>
                  <a:lnTo>
                    <a:pt x="828" y="530"/>
                  </a:lnTo>
                  <a:lnTo>
                    <a:pt x="826" y="527"/>
                  </a:lnTo>
                  <a:lnTo>
                    <a:pt x="824" y="524"/>
                  </a:lnTo>
                  <a:lnTo>
                    <a:pt x="824" y="522"/>
                  </a:lnTo>
                  <a:lnTo>
                    <a:pt x="820" y="520"/>
                  </a:lnTo>
                  <a:lnTo>
                    <a:pt x="821" y="524"/>
                  </a:lnTo>
                  <a:lnTo>
                    <a:pt x="820" y="527"/>
                  </a:lnTo>
                  <a:lnTo>
                    <a:pt x="820" y="525"/>
                  </a:lnTo>
                  <a:lnTo>
                    <a:pt x="818" y="522"/>
                  </a:lnTo>
                  <a:lnTo>
                    <a:pt x="816" y="519"/>
                  </a:lnTo>
                  <a:lnTo>
                    <a:pt x="816" y="514"/>
                  </a:lnTo>
                  <a:lnTo>
                    <a:pt x="815" y="511"/>
                  </a:lnTo>
                  <a:lnTo>
                    <a:pt x="813" y="509"/>
                  </a:lnTo>
                  <a:lnTo>
                    <a:pt x="812" y="506"/>
                  </a:lnTo>
                  <a:lnTo>
                    <a:pt x="810" y="503"/>
                  </a:lnTo>
                  <a:lnTo>
                    <a:pt x="812" y="503"/>
                  </a:lnTo>
                  <a:lnTo>
                    <a:pt x="812" y="500"/>
                  </a:lnTo>
                  <a:lnTo>
                    <a:pt x="812" y="497"/>
                  </a:lnTo>
                  <a:lnTo>
                    <a:pt x="812" y="495"/>
                  </a:lnTo>
                  <a:lnTo>
                    <a:pt x="812" y="494"/>
                  </a:lnTo>
                  <a:lnTo>
                    <a:pt x="813" y="490"/>
                  </a:lnTo>
                  <a:lnTo>
                    <a:pt x="815" y="489"/>
                  </a:lnTo>
                  <a:lnTo>
                    <a:pt x="815" y="489"/>
                  </a:lnTo>
                  <a:lnTo>
                    <a:pt x="815" y="486"/>
                  </a:lnTo>
                  <a:lnTo>
                    <a:pt x="818" y="486"/>
                  </a:lnTo>
                  <a:lnTo>
                    <a:pt x="821" y="486"/>
                  </a:lnTo>
                  <a:lnTo>
                    <a:pt x="824" y="484"/>
                  </a:lnTo>
                  <a:lnTo>
                    <a:pt x="824" y="481"/>
                  </a:lnTo>
                  <a:lnTo>
                    <a:pt x="826" y="482"/>
                  </a:lnTo>
                  <a:lnTo>
                    <a:pt x="829" y="481"/>
                  </a:lnTo>
                  <a:lnTo>
                    <a:pt x="834" y="482"/>
                  </a:lnTo>
                  <a:lnTo>
                    <a:pt x="834" y="479"/>
                  </a:lnTo>
                  <a:lnTo>
                    <a:pt x="834" y="474"/>
                  </a:lnTo>
                  <a:lnTo>
                    <a:pt x="837" y="474"/>
                  </a:lnTo>
                  <a:lnTo>
                    <a:pt x="840" y="470"/>
                  </a:lnTo>
                  <a:lnTo>
                    <a:pt x="840" y="468"/>
                  </a:lnTo>
                  <a:lnTo>
                    <a:pt x="840" y="463"/>
                  </a:lnTo>
                  <a:lnTo>
                    <a:pt x="842" y="460"/>
                  </a:lnTo>
                  <a:lnTo>
                    <a:pt x="842" y="457"/>
                  </a:lnTo>
                  <a:lnTo>
                    <a:pt x="842" y="455"/>
                  </a:lnTo>
                  <a:lnTo>
                    <a:pt x="842" y="455"/>
                  </a:lnTo>
                  <a:lnTo>
                    <a:pt x="842" y="454"/>
                  </a:lnTo>
                  <a:lnTo>
                    <a:pt x="845" y="454"/>
                  </a:lnTo>
                  <a:lnTo>
                    <a:pt x="847" y="454"/>
                  </a:lnTo>
                  <a:lnTo>
                    <a:pt x="850" y="454"/>
                  </a:lnTo>
                  <a:lnTo>
                    <a:pt x="850" y="452"/>
                  </a:lnTo>
                  <a:lnTo>
                    <a:pt x="847" y="449"/>
                  </a:lnTo>
                  <a:lnTo>
                    <a:pt x="847" y="449"/>
                  </a:lnTo>
                  <a:lnTo>
                    <a:pt x="847" y="448"/>
                  </a:lnTo>
                  <a:lnTo>
                    <a:pt x="843" y="446"/>
                  </a:lnTo>
                  <a:lnTo>
                    <a:pt x="839" y="444"/>
                  </a:lnTo>
                  <a:lnTo>
                    <a:pt x="834" y="441"/>
                  </a:lnTo>
                  <a:lnTo>
                    <a:pt x="831" y="441"/>
                  </a:lnTo>
                  <a:lnTo>
                    <a:pt x="826" y="441"/>
                  </a:lnTo>
                  <a:lnTo>
                    <a:pt x="821" y="441"/>
                  </a:lnTo>
                  <a:lnTo>
                    <a:pt x="820" y="443"/>
                  </a:lnTo>
                  <a:lnTo>
                    <a:pt x="812" y="443"/>
                  </a:lnTo>
                  <a:lnTo>
                    <a:pt x="804" y="440"/>
                  </a:lnTo>
                  <a:lnTo>
                    <a:pt x="794" y="441"/>
                  </a:lnTo>
                  <a:lnTo>
                    <a:pt x="786" y="441"/>
                  </a:lnTo>
                  <a:lnTo>
                    <a:pt x="778" y="441"/>
                  </a:lnTo>
                  <a:lnTo>
                    <a:pt x="769" y="440"/>
                  </a:lnTo>
                  <a:lnTo>
                    <a:pt x="767" y="440"/>
                  </a:lnTo>
                  <a:lnTo>
                    <a:pt x="764" y="440"/>
                  </a:lnTo>
                  <a:lnTo>
                    <a:pt x="761" y="438"/>
                  </a:lnTo>
                  <a:lnTo>
                    <a:pt x="759" y="436"/>
                  </a:lnTo>
                  <a:lnTo>
                    <a:pt x="758" y="436"/>
                  </a:lnTo>
                  <a:lnTo>
                    <a:pt x="755" y="436"/>
                  </a:lnTo>
                  <a:lnTo>
                    <a:pt x="753" y="433"/>
                  </a:lnTo>
                  <a:lnTo>
                    <a:pt x="753" y="432"/>
                  </a:lnTo>
                  <a:lnTo>
                    <a:pt x="753" y="430"/>
                  </a:lnTo>
                  <a:lnTo>
                    <a:pt x="753" y="427"/>
                  </a:lnTo>
                  <a:lnTo>
                    <a:pt x="753" y="425"/>
                  </a:lnTo>
                  <a:lnTo>
                    <a:pt x="753" y="425"/>
                  </a:lnTo>
                  <a:lnTo>
                    <a:pt x="753" y="424"/>
                  </a:lnTo>
                  <a:lnTo>
                    <a:pt x="751" y="421"/>
                  </a:lnTo>
                  <a:lnTo>
                    <a:pt x="751" y="419"/>
                  </a:lnTo>
                  <a:lnTo>
                    <a:pt x="750" y="417"/>
                  </a:lnTo>
                  <a:lnTo>
                    <a:pt x="750" y="417"/>
                  </a:lnTo>
                  <a:lnTo>
                    <a:pt x="750" y="416"/>
                  </a:lnTo>
                  <a:lnTo>
                    <a:pt x="750" y="416"/>
                  </a:lnTo>
                  <a:lnTo>
                    <a:pt x="750" y="416"/>
                  </a:lnTo>
                  <a:lnTo>
                    <a:pt x="750" y="411"/>
                  </a:lnTo>
                  <a:lnTo>
                    <a:pt x="750" y="411"/>
                  </a:lnTo>
                  <a:lnTo>
                    <a:pt x="750" y="409"/>
                  </a:lnTo>
                  <a:lnTo>
                    <a:pt x="748" y="409"/>
                  </a:lnTo>
                  <a:lnTo>
                    <a:pt x="750" y="408"/>
                  </a:lnTo>
                  <a:lnTo>
                    <a:pt x="748" y="406"/>
                  </a:lnTo>
                  <a:lnTo>
                    <a:pt x="745" y="403"/>
                  </a:lnTo>
                  <a:lnTo>
                    <a:pt x="744" y="402"/>
                  </a:lnTo>
                  <a:lnTo>
                    <a:pt x="740" y="400"/>
                  </a:lnTo>
                  <a:lnTo>
                    <a:pt x="742" y="405"/>
                  </a:lnTo>
                  <a:lnTo>
                    <a:pt x="740" y="406"/>
                  </a:lnTo>
                  <a:lnTo>
                    <a:pt x="740" y="409"/>
                  </a:lnTo>
                  <a:lnTo>
                    <a:pt x="736" y="408"/>
                  </a:lnTo>
                  <a:lnTo>
                    <a:pt x="736" y="408"/>
                  </a:lnTo>
                  <a:lnTo>
                    <a:pt x="734" y="406"/>
                  </a:lnTo>
                  <a:lnTo>
                    <a:pt x="731" y="406"/>
                  </a:lnTo>
                  <a:lnTo>
                    <a:pt x="728" y="403"/>
                  </a:lnTo>
                  <a:lnTo>
                    <a:pt x="723" y="400"/>
                  </a:lnTo>
                  <a:lnTo>
                    <a:pt x="721" y="397"/>
                  </a:lnTo>
                  <a:lnTo>
                    <a:pt x="721" y="394"/>
                  </a:lnTo>
                  <a:lnTo>
                    <a:pt x="718" y="390"/>
                  </a:lnTo>
                  <a:lnTo>
                    <a:pt x="715" y="390"/>
                  </a:lnTo>
                  <a:lnTo>
                    <a:pt x="718" y="394"/>
                  </a:lnTo>
                  <a:lnTo>
                    <a:pt x="720" y="398"/>
                  </a:lnTo>
                  <a:lnTo>
                    <a:pt x="717" y="398"/>
                  </a:lnTo>
                  <a:lnTo>
                    <a:pt x="715" y="395"/>
                  </a:lnTo>
                  <a:lnTo>
                    <a:pt x="715" y="395"/>
                  </a:lnTo>
                  <a:lnTo>
                    <a:pt x="710" y="395"/>
                  </a:lnTo>
                  <a:lnTo>
                    <a:pt x="710" y="395"/>
                  </a:lnTo>
                  <a:lnTo>
                    <a:pt x="707" y="395"/>
                  </a:lnTo>
                  <a:lnTo>
                    <a:pt x="705" y="392"/>
                  </a:lnTo>
                  <a:lnTo>
                    <a:pt x="702" y="389"/>
                  </a:lnTo>
                  <a:lnTo>
                    <a:pt x="699" y="386"/>
                  </a:lnTo>
                  <a:lnTo>
                    <a:pt x="699" y="386"/>
                  </a:lnTo>
                  <a:lnTo>
                    <a:pt x="698" y="386"/>
                  </a:lnTo>
                  <a:lnTo>
                    <a:pt x="694" y="382"/>
                  </a:lnTo>
                  <a:lnTo>
                    <a:pt x="694" y="384"/>
                  </a:lnTo>
                  <a:lnTo>
                    <a:pt x="693" y="387"/>
                  </a:lnTo>
                  <a:lnTo>
                    <a:pt x="696" y="387"/>
                  </a:lnTo>
                  <a:lnTo>
                    <a:pt x="699" y="389"/>
                  </a:lnTo>
                  <a:lnTo>
                    <a:pt x="701" y="392"/>
                  </a:lnTo>
                  <a:lnTo>
                    <a:pt x="699" y="394"/>
                  </a:lnTo>
                  <a:lnTo>
                    <a:pt x="696" y="395"/>
                  </a:lnTo>
                  <a:lnTo>
                    <a:pt x="696" y="395"/>
                  </a:lnTo>
                  <a:lnTo>
                    <a:pt x="694" y="400"/>
                  </a:lnTo>
                  <a:lnTo>
                    <a:pt x="691" y="400"/>
                  </a:lnTo>
                  <a:lnTo>
                    <a:pt x="690" y="405"/>
                  </a:lnTo>
                  <a:lnTo>
                    <a:pt x="690" y="408"/>
                  </a:lnTo>
                  <a:lnTo>
                    <a:pt x="688" y="411"/>
                  </a:lnTo>
                  <a:lnTo>
                    <a:pt x="690" y="414"/>
                  </a:lnTo>
                  <a:lnTo>
                    <a:pt x="694" y="416"/>
                  </a:lnTo>
                  <a:lnTo>
                    <a:pt x="698" y="417"/>
                  </a:lnTo>
                  <a:lnTo>
                    <a:pt x="699" y="419"/>
                  </a:lnTo>
                  <a:lnTo>
                    <a:pt x="702" y="422"/>
                  </a:lnTo>
                  <a:lnTo>
                    <a:pt x="702" y="422"/>
                  </a:lnTo>
                  <a:lnTo>
                    <a:pt x="704" y="425"/>
                  </a:lnTo>
                  <a:lnTo>
                    <a:pt x="709" y="428"/>
                  </a:lnTo>
                  <a:lnTo>
                    <a:pt x="712" y="428"/>
                  </a:lnTo>
                  <a:lnTo>
                    <a:pt x="715" y="427"/>
                  </a:lnTo>
                  <a:lnTo>
                    <a:pt x="718" y="428"/>
                  </a:lnTo>
                  <a:lnTo>
                    <a:pt x="718" y="432"/>
                  </a:lnTo>
                  <a:lnTo>
                    <a:pt x="721" y="435"/>
                  </a:lnTo>
                  <a:lnTo>
                    <a:pt x="724" y="436"/>
                  </a:lnTo>
                  <a:lnTo>
                    <a:pt x="724" y="438"/>
                  </a:lnTo>
                  <a:lnTo>
                    <a:pt x="723" y="441"/>
                  </a:lnTo>
                  <a:lnTo>
                    <a:pt x="720" y="441"/>
                  </a:lnTo>
                  <a:lnTo>
                    <a:pt x="717" y="441"/>
                  </a:lnTo>
                  <a:lnTo>
                    <a:pt x="717" y="441"/>
                  </a:lnTo>
                  <a:lnTo>
                    <a:pt x="713" y="441"/>
                  </a:lnTo>
                  <a:lnTo>
                    <a:pt x="710" y="441"/>
                  </a:lnTo>
                  <a:lnTo>
                    <a:pt x="705" y="441"/>
                  </a:lnTo>
                  <a:lnTo>
                    <a:pt x="707" y="444"/>
                  </a:lnTo>
                  <a:lnTo>
                    <a:pt x="705" y="449"/>
                  </a:lnTo>
                  <a:lnTo>
                    <a:pt x="705" y="449"/>
                  </a:lnTo>
                  <a:lnTo>
                    <a:pt x="705" y="451"/>
                  </a:lnTo>
                  <a:lnTo>
                    <a:pt x="702" y="454"/>
                  </a:lnTo>
                  <a:lnTo>
                    <a:pt x="701" y="454"/>
                  </a:lnTo>
                  <a:lnTo>
                    <a:pt x="699" y="451"/>
                  </a:lnTo>
                  <a:lnTo>
                    <a:pt x="698" y="451"/>
                  </a:lnTo>
                  <a:lnTo>
                    <a:pt x="698" y="455"/>
                  </a:lnTo>
                  <a:lnTo>
                    <a:pt x="696" y="459"/>
                  </a:lnTo>
                  <a:lnTo>
                    <a:pt x="694" y="462"/>
                  </a:lnTo>
                  <a:lnTo>
                    <a:pt x="698" y="465"/>
                  </a:lnTo>
                  <a:lnTo>
                    <a:pt x="699" y="468"/>
                  </a:lnTo>
                  <a:lnTo>
                    <a:pt x="702" y="470"/>
                  </a:lnTo>
                  <a:lnTo>
                    <a:pt x="704" y="470"/>
                  </a:lnTo>
                  <a:lnTo>
                    <a:pt x="710" y="474"/>
                  </a:lnTo>
                  <a:lnTo>
                    <a:pt x="718" y="476"/>
                  </a:lnTo>
                  <a:lnTo>
                    <a:pt x="718" y="476"/>
                  </a:lnTo>
                  <a:lnTo>
                    <a:pt x="720" y="476"/>
                  </a:lnTo>
                  <a:lnTo>
                    <a:pt x="721" y="479"/>
                  </a:lnTo>
                  <a:lnTo>
                    <a:pt x="721" y="482"/>
                  </a:lnTo>
                  <a:lnTo>
                    <a:pt x="721" y="482"/>
                  </a:lnTo>
                  <a:lnTo>
                    <a:pt x="721" y="484"/>
                  </a:lnTo>
                  <a:lnTo>
                    <a:pt x="723" y="487"/>
                  </a:lnTo>
                  <a:lnTo>
                    <a:pt x="723" y="490"/>
                  </a:lnTo>
                  <a:lnTo>
                    <a:pt x="723" y="490"/>
                  </a:lnTo>
                  <a:lnTo>
                    <a:pt x="723" y="492"/>
                  </a:lnTo>
                  <a:lnTo>
                    <a:pt x="720" y="495"/>
                  </a:lnTo>
                  <a:lnTo>
                    <a:pt x="718" y="495"/>
                  </a:lnTo>
                  <a:lnTo>
                    <a:pt x="718" y="503"/>
                  </a:lnTo>
                  <a:lnTo>
                    <a:pt x="721" y="506"/>
                  </a:lnTo>
                  <a:lnTo>
                    <a:pt x="723" y="509"/>
                  </a:lnTo>
                  <a:lnTo>
                    <a:pt x="728" y="509"/>
                  </a:lnTo>
                  <a:lnTo>
                    <a:pt x="728" y="511"/>
                  </a:lnTo>
                  <a:lnTo>
                    <a:pt x="728" y="511"/>
                  </a:lnTo>
                  <a:lnTo>
                    <a:pt x="728" y="516"/>
                  </a:lnTo>
                  <a:lnTo>
                    <a:pt x="726" y="517"/>
                  </a:lnTo>
                  <a:lnTo>
                    <a:pt x="726" y="520"/>
                  </a:lnTo>
                  <a:lnTo>
                    <a:pt x="729" y="520"/>
                  </a:lnTo>
                  <a:lnTo>
                    <a:pt x="734" y="520"/>
                  </a:lnTo>
                  <a:lnTo>
                    <a:pt x="734" y="525"/>
                  </a:lnTo>
                  <a:lnTo>
                    <a:pt x="732" y="528"/>
                  </a:lnTo>
                  <a:lnTo>
                    <a:pt x="732" y="530"/>
                  </a:lnTo>
                  <a:lnTo>
                    <a:pt x="736" y="536"/>
                  </a:lnTo>
                  <a:lnTo>
                    <a:pt x="737" y="544"/>
                  </a:lnTo>
                  <a:lnTo>
                    <a:pt x="737" y="546"/>
                  </a:lnTo>
                  <a:lnTo>
                    <a:pt x="737" y="549"/>
                  </a:lnTo>
                  <a:lnTo>
                    <a:pt x="740" y="552"/>
                  </a:lnTo>
                  <a:lnTo>
                    <a:pt x="740" y="555"/>
                  </a:lnTo>
                  <a:lnTo>
                    <a:pt x="742" y="559"/>
                  </a:lnTo>
                  <a:lnTo>
                    <a:pt x="744" y="562"/>
                  </a:lnTo>
                  <a:lnTo>
                    <a:pt x="744" y="563"/>
                  </a:lnTo>
                  <a:lnTo>
                    <a:pt x="745" y="563"/>
                  </a:lnTo>
                  <a:lnTo>
                    <a:pt x="745" y="566"/>
                  </a:lnTo>
                  <a:lnTo>
                    <a:pt x="744" y="566"/>
                  </a:lnTo>
                  <a:lnTo>
                    <a:pt x="744" y="566"/>
                  </a:lnTo>
                  <a:lnTo>
                    <a:pt x="744" y="570"/>
                  </a:lnTo>
                  <a:lnTo>
                    <a:pt x="745" y="571"/>
                  </a:lnTo>
                  <a:lnTo>
                    <a:pt x="744" y="574"/>
                  </a:lnTo>
                  <a:lnTo>
                    <a:pt x="740" y="571"/>
                  </a:lnTo>
                  <a:lnTo>
                    <a:pt x="740" y="571"/>
                  </a:lnTo>
                  <a:lnTo>
                    <a:pt x="740" y="574"/>
                  </a:lnTo>
                  <a:lnTo>
                    <a:pt x="742" y="576"/>
                  </a:lnTo>
                  <a:lnTo>
                    <a:pt x="744" y="576"/>
                  </a:lnTo>
                  <a:lnTo>
                    <a:pt x="745" y="579"/>
                  </a:lnTo>
                  <a:lnTo>
                    <a:pt x="747" y="584"/>
                  </a:lnTo>
                  <a:lnTo>
                    <a:pt x="745" y="587"/>
                  </a:lnTo>
                  <a:lnTo>
                    <a:pt x="742" y="585"/>
                  </a:lnTo>
                  <a:lnTo>
                    <a:pt x="740" y="584"/>
                  </a:lnTo>
                  <a:lnTo>
                    <a:pt x="739" y="581"/>
                  </a:lnTo>
                  <a:lnTo>
                    <a:pt x="739" y="582"/>
                  </a:lnTo>
                  <a:lnTo>
                    <a:pt x="737" y="584"/>
                  </a:lnTo>
                  <a:lnTo>
                    <a:pt x="737" y="585"/>
                  </a:lnTo>
                  <a:lnTo>
                    <a:pt x="734" y="585"/>
                  </a:lnTo>
                  <a:lnTo>
                    <a:pt x="732" y="576"/>
                  </a:lnTo>
                  <a:lnTo>
                    <a:pt x="734" y="566"/>
                  </a:lnTo>
                  <a:lnTo>
                    <a:pt x="732" y="566"/>
                  </a:lnTo>
                  <a:lnTo>
                    <a:pt x="732" y="570"/>
                  </a:lnTo>
                  <a:lnTo>
                    <a:pt x="729" y="574"/>
                  </a:lnTo>
                  <a:lnTo>
                    <a:pt x="731" y="570"/>
                  </a:lnTo>
                  <a:lnTo>
                    <a:pt x="729" y="566"/>
                  </a:lnTo>
                  <a:lnTo>
                    <a:pt x="731" y="563"/>
                  </a:lnTo>
                  <a:lnTo>
                    <a:pt x="729" y="563"/>
                  </a:lnTo>
                  <a:lnTo>
                    <a:pt x="729" y="563"/>
                  </a:lnTo>
                  <a:lnTo>
                    <a:pt x="728" y="566"/>
                  </a:lnTo>
                  <a:lnTo>
                    <a:pt x="729" y="570"/>
                  </a:lnTo>
                  <a:lnTo>
                    <a:pt x="729" y="574"/>
                  </a:lnTo>
                  <a:lnTo>
                    <a:pt x="728" y="578"/>
                  </a:lnTo>
                  <a:lnTo>
                    <a:pt x="729" y="581"/>
                  </a:lnTo>
                  <a:lnTo>
                    <a:pt x="729" y="584"/>
                  </a:lnTo>
                  <a:lnTo>
                    <a:pt x="729" y="587"/>
                  </a:lnTo>
                  <a:lnTo>
                    <a:pt x="728" y="589"/>
                  </a:lnTo>
                  <a:lnTo>
                    <a:pt x="729" y="590"/>
                  </a:lnTo>
                  <a:lnTo>
                    <a:pt x="728" y="589"/>
                  </a:lnTo>
                  <a:lnTo>
                    <a:pt x="728" y="585"/>
                  </a:lnTo>
                  <a:lnTo>
                    <a:pt x="726" y="582"/>
                  </a:lnTo>
                  <a:lnTo>
                    <a:pt x="728" y="579"/>
                  </a:lnTo>
                  <a:lnTo>
                    <a:pt x="724" y="576"/>
                  </a:lnTo>
                  <a:lnTo>
                    <a:pt x="724" y="578"/>
                  </a:lnTo>
                  <a:lnTo>
                    <a:pt x="724" y="579"/>
                  </a:lnTo>
                  <a:lnTo>
                    <a:pt x="724" y="581"/>
                  </a:lnTo>
                  <a:lnTo>
                    <a:pt x="724" y="584"/>
                  </a:lnTo>
                  <a:lnTo>
                    <a:pt x="724" y="587"/>
                  </a:lnTo>
                  <a:lnTo>
                    <a:pt x="723" y="587"/>
                  </a:lnTo>
                  <a:lnTo>
                    <a:pt x="723" y="584"/>
                  </a:lnTo>
                  <a:lnTo>
                    <a:pt x="720" y="582"/>
                  </a:lnTo>
                  <a:lnTo>
                    <a:pt x="720" y="585"/>
                  </a:lnTo>
                  <a:lnTo>
                    <a:pt x="718" y="582"/>
                  </a:lnTo>
                  <a:lnTo>
                    <a:pt x="720" y="585"/>
                  </a:lnTo>
                  <a:lnTo>
                    <a:pt x="720" y="585"/>
                  </a:lnTo>
                  <a:lnTo>
                    <a:pt x="718" y="590"/>
                  </a:lnTo>
                  <a:lnTo>
                    <a:pt x="717" y="587"/>
                  </a:lnTo>
                  <a:lnTo>
                    <a:pt x="717" y="587"/>
                  </a:lnTo>
                  <a:lnTo>
                    <a:pt x="717" y="584"/>
                  </a:lnTo>
                  <a:lnTo>
                    <a:pt x="715" y="581"/>
                  </a:lnTo>
                  <a:lnTo>
                    <a:pt x="715" y="578"/>
                  </a:lnTo>
                  <a:lnTo>
                    <a:pt x="713" y="574"/>
                  </a:lnTo>
                  <a:lnTo>
                    <a:pt x="713" y="571"/>
                  </a:lnTo>
                  <a:lnTo>
                    <a:pt x="715" y="566"/>
                  </a:lnTo>
                  <a:lnTo>
                    <a:pt x="712" y="563"/>
                  </a:lnTo>
                  <a:lnTo>
                    <a:pt x="709" y="562"/>
                  </a:lnTo>
                  <a:lnTo>
                    <a:pt x="709" y="562"/>
                  </a:lnTo>
                  <a:lnTo>
                    <a:pt x="705" y="560"/>
                  </a:lnTo>
                  <a:lnTo>
                    <a:pt x="702" y="557"/>
                  </a:lnTo>
                  <a:lnTo>
                    <a:pt x="704" y="560"/>
                  </a:lnTo>
                  <a:lnTo>
                    <a:pt x="707" y="563"/>
                  </a:lnTo>
                  <a:lnTo>
                    <a:pt x="710" y="563"/>
                  </a:lnTo>
                  <a:lnTo>
                    <a:pt x="713" y="566"/>
                  </a:lnTo>
                  <a:lnTo>
                    <a:pt x="709" y="576"/>
                  </a:lnTo>
                  <a:lnTo>
                    <a:pt x="701" y="584"/>
                  </a:lnTo>
                  <a:lnTo>
                    <a:pt x="698" y="585"/>
                  </a:lnTo>
                  <a:lnTo>
                    <a:pt x="691" y="587"/>
                  </a:lnTo>
                  <a:lnTo>
                    <a:pt x="690" y="587"/>
                  </a:lnTo>
                  <a:lnTo>
                    <a:pt x="686" y="589"/>
                  </a:lnTo>
                  <a:lnTo>
                    <a:pt x="683" y="589"/>
                  </a:lnTo>
                  <a:lnTo>
                    <a:pt x="680" y="590"/>
                  </a:lnTo>
                  <a:lnTo>
                    <a:pt x="677" y="593"/>
                  </a:lnTo>
                  <a:lnTo>
                    <a:pt x="674" y="597"/>
                  </a:lnTo>
                  <a:lnTo>
                    <a:pt x="672" y="600"/>
                  </a:lnTo>
                  <a:lnTo>
                    <a:pt x="671" y="603"/>
                  </a:lnTo>
                  <a:lnTo>
                    <a:pt x="671" y="608"/>
                  </a:lnTo>
                  <a:lnTo>
                    <a:pt x="672" y="611"/>
                  </a:lnTo>
                  <a:lnTo>
                    <a:pt x="674" y="614"/>
                  </a:lnTo>
                  <a:lnTo>
                    <a:pt x="675" y="617"/>
                  </a:lnTo>
                  <a:lnTo>
                    <a:pt x="674" y="622"/>
                  </a:lnTo>
                  <a:lnTo>
                    <a:pt x="675" y="624"/>
                  </a:lnTo>
                  <a:lnTo>
                    <a:pt x="678" y="627"/>
                  </a:lnTo>
                  <a:lnTo>
                    <a:pt x="677" y="627"/>
                  </a:lnTo>
                  <a:lnTo>
                    <a:pt x="672" y="630"/>
                  </a:lnTo>
                  <a:lnTo>
                    <a:pt x="671" y="633"/>
                  </a:lnTo>
                  <a:lnTo>
                    <a:pt x="672" y="638"/>
                  </a:lnTo>
                  <a:lnTo>
                    <a:pt x="669" y="641"/>
                  </a:lnTo>
                  <a:lnTo>
                    <a:pt x="669" y="643"/>
                  </a:lnTo>
                  <a:lnTo>
                    <a:pt x="666" y="644"/>
                  </a:lnTo>
                  <a:lnTo>
                    <a:pt x="663" y="646"/>
                  </a:lnTo>
                  <a:lnTo>
                    <a:pt x="663" y="649"/>
                  </a:lnTo>
                  <a:lnTo>
                    <a:pt x="661" y="654"/>
                  </a:lnTo>
                  <a:lnTo>
                    <a:pt x="659" y="654"/>
                  </a:lnTo>
                  <a:lnTo>
                    <a:pt x="658" y="652"/>
                  </a:lnTo>
                  <a:lnTo>
                    <a:pt x="655" y="650"/>
                  </a:lnTo>
                  <a:lnTo>
                    <a:pt x="652" y="647"/>
                  </a:lnTo>
                  <a:lnTo>
                    <a:pt x="650" y="647"/>
                  </a:lnTo>
                  <a:lnTo>
                    <a:pt x="653" y="650"/>
                  </a:lnTo>
                  <a:lnTo>
                    <a:pt x="656" y="654"/>
                  </a:lnTo>
                  <a:lnTo>
                    <a:pt x="659" y="655"/>
                  </a:lnTo>
                  <a:lnTo>
                    <a:pt x="645" y="660"/>
                  </a:lnTo>
                  <a:lnTo>
                    <a:pt x="628" y="666"/>
                  </a:lnTo>
                  <a:lnTo>
                    <a:pt x="631" y="665"/>
                  </a:lnTo>
                  <a:lnTo>
                    <a:pt x="631" y="662"/>
                  </a:lnTo>
                  <a:lnTo>
                    <a:pt x="631" y="658"/>
                  </a:lnTo>
                  <a:lnTo>
                    <a:pt x="628" y="657"/>
                  </a:lnTo>
                  <a:lnTo>
                    <a:pt x="623" y="660"/>
                  </a:lnTo>
                  <a:lnTo>
                    <a:pt x="620" y="663"/>
                  </a:lnTo>
                  <a:lnTo>
                    <a:pt x="618" y="668"/>
                  </a:lnTo>
                  <a:lnTo>
                    <a:pt x="618" y="674"/>
                  </a:lnTo>
                  <a:lnTo>
                    <a:pt x="620" y="670"/>
                  </a:lnTo>
                  <a:lnTo>
                    <a:pt x="623" y="668"/>
                  </a:lnTo>
                  <a:lnTo>
                    <a:pt x="626" y="666"/>
                  </a:lnTo>
                  <a:lnTo>
                    <a:pt x="626" y="668"/>
                  </a:lnTo>
                  <a:lnTo>
                    <a:pt x="625" y="668"/>
                  </a:lnTo>
                  <a:lnTo>
                    <a:pt x="625" y="670"/>
                  </a:lnTo>
                  <a:lnTo>
                    <a:pt x="621" y="673"/>
                  </a:lnTo>
                  <a:lnTo>
                    <a:pt x="618" y="676"/>
                  </a:lnTo>
                  <a:lnTo>
                    <a:pt x="617" y="679"/>
                  </a:lnTo>
                  <a:lnTo>
                    <a:pt x="612" y="682"/>
                  </a:lnTo>
                  <a:lnTo>
                    <a:pt x="609" y="685"/>
                  </a:lnTo>
                  <a:lnTo>
                    <a:pt x="607" y="689"/>
                  </a:lnTo>
                  <a:lnTo>
                    <a:pt x="602" y="700"/>
                  </a:lnTo>
                  <a:lnTo>
                    <a:pt x="594" y="711"/>
                  </a:lnTo>
                  <a:lnTo>
                    <a:pt x="588" y="719"/>
                  </a:lnTo>
                  <a:lnTo>
                    <a:pt x="587" y="722"/>
                  </a:lnTo>
                  <a:lnTo>
                    <a:pt x="585" y="725"/>
                  </a:lnTo>
                  <a:lnTo>
                    <a:pt x="575" y="730"/>
                  </a:lnTo>
                  <a:lnTo>
                    <a:pt x="574" y="731"/>
                  </a:lnTo>
                  <a:lnTo>
                    <a:pt x="569" y="735"/>
                  </a:lnTo>
                  <a:lnTo>
                    <a:pt x="567" y="738"/>
                  </a:lnTo>
                  <a:lnTo>
                    <a:pt x="564" y="741"/>
                  </a:lnTo>
                  <a:lnTo>
                    <a:pt x="564" y="744"/>
                  </a:lnTo>
                  <a:lnTo>
                    <a:pt x="560" y="747"/>
                  </a:lnTo>
                  <a:lnTo>
                    <a:pt x="560" y="747"/>
                  </a:lnTo>
                  <a:lnTo>
                    <a:pt x="561" y="749"/>
                  </a:lnTo>
                  <a:lnTo>
                    <a:pt x="552" y="757"/>
                  </a:lnTo>
                  <a:lnTo>
                    <a:pt x="541" y="763"/>
                  </a:lnTo>
                  <a:lnTo>
                    <a:pt x="533" y="768"/>
                  </a:lnTo>
                  <a:lnTo>
                    <a:pt x="531" y="771"/>
                  </a:lnTo>
                  <a:lnTo>
                    <a:pt x="528" y="774"/>
                  </a:lnTo>
                  <a:lnTo>
                    <a:pt x="526" y="777"/>
                  </a:lnTo>
                  <a:lnTo>
                    <a:pt x="528" y="781"/>
                  </a:lnTo>
                  <a:lnTo>
                    <a:pt x="531" y="784"/>
                  </a:lnTo>
                  <a:lnTo>
                    <a:pt x="531" y="784"/>
                  </a:lnTo>
                  <a:lnTo>
                    <a:pt x="531" y="787"/>
                  </a:lnTo>
                  <a:lnTo>
                    <a:pt x="529" y="790"/>
                  </a:lnTo>
                  <a:lnTo>
                    <a:pt x="529" y="792"/>
                  </a:lnTo>
                  <a:lnTo>
                    <a:pt x="528" y="793"/>
                  </a:lnTo>
                  <a:lnTo>
                    <a:pt x="525" y="796"/>
                  </a:lnTo>
                  <a:lnTo>
                    <a:pt x="521" y="798"/>
                  </a:lnTo>
                  <a:lnTo>
                    <a:pt x="518" y="800"/>
                  </a:lnTo>
                  <a:lnTo>
                    <a:pt x="514" y="801"/>
                  </a:lnTo>
                  <a:lnTo>
                    <a:pt x="510" y="804"/>
                  </a:lnTo>
                  <a:lnTo>
                    <a:pt x="507" y="803"/>
                  </a:lnTo>
                  <a:lnTo>
                    <a:pt x="504" y="803"/>
                  </a:lnTo>
                  <a:lnTo>
                    <a:pt x="499" y="803"/>
                  </a:lnTo>
                  <a:lnTo>
                    <a:pt x="496" y="801"/>
                  </a:lnTo>
                  <a:lnTo>
                    <a:pt x="493" y="804"/>
                  </a:lnTo>
                  <a:lnTo>
                    <a:pt x="493" y="807"/>
                  </a:lnTo>
                  <a:lnTo>
                    <a:pt x="491" y="811"/>
                  </a:lnTo>
                  <a:lnTo>
                    <a:pt x="491" y="814"/>
                  </a:lnTo>
                  <a:lnTo>
                    <a:pt x="490" y="817"/>
                  </a:lnTo>
                  <a:lnTo>
                    <a:pt x="490" y="819"/>
                  </a:lnTo>
                  <a:lnTo>
                    <a:pt x="487" y="822"/>
                  </a:lnTo>
                  <a:lnTo>
                    <a:pt x="487" y="827"/>
                  </a:lnTo>
                  <a:lnTo>
                    <a:pt x="483" y="823"/>
                  </a:lnTo>
                  <a:lnTo>
                    <a:pt x="482" y="820"/>
                  </a:lnTo>
                  <a:lnTo>
                    <a:pt x="482" y="817"/>
                  </a:lnTo>
                  <a:lnTo>
                    <a:pt x="482" y="820"/>
                  </a:lnTo>
                  <a:lnTo>
                    <a:pt x="480" y="823"/>
                  </a:lnTo>
                  <a:lnTo>
                    <a:pt x="479" y="828"/>
                  </a:lnTo>
                  <a:lnTo>
                    <a:pt x="479" y="823"/>
                  </a:lnTo>
                  <a:lnTo>
                    <a:pt x="475" y="820"/>
                  </a:lnTo>
                  <a:lnTo>
                    <a:pt x="472" y="822"/>
                  </a:lnTo>
                  <a:lnTo>
                    <a:pt x="469" y="822"/>
                  </a:lnTo>
                  <a:lnTo>
                    <a:pt x="466" y="825"/>
                  </a:lnTo>
                  <a:lnTo>
                    <a:pt x="463" y="827"/>
                  </a:lnTo>
                  <a:lnTo>
                    <a:pt x="460" y="831"/>
                  </a:lnTo>
                  <a:lnTo>
                    <a:pt x="460" y="834"/>
                  </a:lnTo>
                  <a:lnTo>
                    <a:pt x="458" y="838"/>
                  </a:lnTo>
                  <a:lnTo>
                    <a:pt x="456" y="841"/>
                  </a:lnTo>
                  <a:lnTo>
                    <a:pt x="455" y="844"/>
                  </a:lnTo>
                  <a:lnTo>
                    <a:pt x="455" y="847"/>
                  </a:lnTo>
                  <a:lnTo>
                    <a:pt x="455" y="852"/>
                  </a:lnTo>
                  <a:lnTo>
                    <a:pt x="455" y="855"/>
                  </a:lnTo>
                  <a:lnTo>
                    <a:pt x="455" y="858"/>
                  </a:lnTo>
                  <a:lnTo>
                    <a:pt x="456" y="861"/>
                  </a:lnTo>
                  <a:lnTo>
                    <a:pt x="456" y="866"/>
                  </a:lnTo>
                  <a:lnTo>
                    <a:pt x="458" y="869"/>
                  </a:lnTo>
                  <a:lnTo>
                    <a:pt x="460" y="873"/>
                  </a:lnTo>
                  <a:lnTo>
                    <a:pt x="460" y="876"/>
                  </a:lnTo>
                  <a:lnTo>
                    <a:pt x="461" y="876"/>
                  </a:lnTo>
                  <a:lnTo>
                    <a:pt x="461" y="887"/>
                  </a:lnTo>
                  <a:lnTo>
                    <a:pt x="461" y="896"/>
                  </a:lnTo>
                  <a:lnTo>
                    <a:pt x="463" y="899"/>
                  </a:lnTo>
                  <a:lnTo>
                    <a:pt x="464" y="904"/>
                  </a:lnTo>
                  <a:lnTo>
                    <a:pt x="466" y="907"/>
                  </a:lnTo>
                  <a:lnTo>
                    <a:pt x="466" y="911"/>
                  </a:lnTo>
                  <a:lnTo>
                    <a:pt x="466" y="914"/>
                  </a:lnTo>
                  <a:lnTo>
                    <a:pt x="468" y="917"/>
                  </a:lnTo>
                  <a:lnTo>
                    <a:pt x="468" y="918"/>
                  </a:lnTo>
                  <a:lnTo>
                    <a:pt x="468" y="917"/>
                  </a:lnTo>
                  <a:lnTo>
                    <a:pt x="466" y="914"/>
                  </a:lnTo>
                  <a:lnTo>
                    <a:pt x="463" y="911"/>
                  </a:lnTo>
                  <a:lnTo>
                    <a:pt x="461" y="914"/>
                  </a:lnTo>
                  <a:lnTo>
                    <a:pt x="461" y="911"/>
                  </a:lnTo>
                  <a:lnTo>
                    <a:pt x="460" y="915"/>
                  </a:lnTo>
                  <a:lnTo>
                    <a:pt x="461" y="918"/>
                  </a:lnTo>
                  <a:lnTo>
                    <a:pt x="463" y="920"/>
                  </a:lnTo>
                  <a:lnTo>
                    <a:pt x="468" y="920"/>
                  </a:lnTo>
                  <a:lnTo>
                    <a:pt x="471" y="923"/>
                  </a:lnTo>
                  <a:lnTo>
                    <a:pt x="471" y="926"/>
                  </a:lnTo>
                  <a:lnTo>
                    <a:pt x="469" y="930"/>
                  </a:lnTo>
                  <a:lnTo>
                    <a:pt x="469" y="934"/>
                  </a:lnTo>
                  <a:lnTo>
                    <a:pt x="469" y="938"/>
                  </a:lnTo>
                  <a:lnTo>
                    <a:pt x="469" y="945"/>
                  </a:lnTo>
                  <a:lnTo>
                    <a:pt x="468" y="953"/>
                  </a:lnTo>
                  <a:lnTo>
                    <a:pt x="466" y="963"/>
                  </a:lnTo>
                  <a:lnTo>
                    <a:pt x="461" y="969"/>
                  </a:lnTo>
                  <a:lnTo>
                    <a:pt x="461" y="971"/>
                  </a:lnTo>
                  <a:lnTo>
                    <a:pt x="460" y="974"/>
                  </a:lnTo>
                  <a:lnTo>
                    <a:pt x="458" y="977"/>
                  </a:lnTo>
                  <a:lnTo>
                    <a:pt x="458" y="979"/>
                  </a:lnTo>
                  <a:lnTo>
                    <a:pt x="456" y="980"/>
                  </a:lnTo>
                  <a:lnTo>
                    <a:pt x="456" y="982"/>
                  </a:lnTo>
                  <a:lnTo>
                    <a:pt x="456" y="985"/>
                  </a:lnTo>
                  <a:lnTo>
                    <a:pt x="455" y="987"/>
                  </a:lnTo>
                  <a:lnTo>
                    <a:pt x="455" y="988"/>
                  </a:lnTo>
                  <a:lnTo>
                    <a:pt x="455" y="990"/>
                  </a:lnTo>
                  <a:lnTo>
                    <a:pt x="455" y="991"/>
                  </a:lnTo>
                  <a:lnTo>
                    <a:pt x="455" y="996"/>
                  </a:lnTo>
                  <a:lnTo>
                    <a:pt x="455" y="999"/>
                  </a:lnTo>
                  <a:lnTo>
                    <a:pt x="455" y="1003"/>
                  </a:lnTo>
                  <a:lnTo>
                    <a:pt x="453" y="1006"/>
                  </a:lnTo>
                  <a:lnTo>
                    <a:pt x="452" y="1009"/>
                  </a:lnTo>
                  <a:lnTo>
                    <a:pt x="452" y="1009"/>
                  </a:lnTo>
                  <a:lnTo>
                    <a:pt x="455" y="1006"/>
                  </a:lnTo>
                  <a:lnTo>
                    <a:pt x="458" y="1010"/>
                  </a:lnTo>
                  <a:lnTo>
                    <a:pt x="458" y="1014"/>
                  </a:lnTo>
                  <a:lnTo>
                    <a:pt x="458" y="1015"/>
                  </a:lnTo>
                  <a:lnTo>
                    <a:pt x="460" y="1018"/>
                  </a:lnTo>
                  <a:lnTo>
                    <a:pt x="460" y="1020"/>
                  </a:lnTo>
                  <a:lnTo>
                    <a:pt x="458" y="1023"/>
                  </a:lnTo>
                  <a:lnTo>
                    <a:pt x="460" y="1025"/>
                  </a:lnTo>
                  <a:lnTo>
                    <a:pt x="460" y="1037"/>
                  </a:lnTo>
                  <a:lnTo>
                    <a:pt x="461" y="1050"/>
                  </a:lnTo>
                  <a:lnTo>
                    <a:pt x="458" y="1049"/>
                  </a:lnTo>
                  <a:lnTo>
                    <a:pt x="453" y="1049"/>
                  </a:lnTo>
                  <a:lnTo>
                    <a:pt x="458" y="1050"/>
                  </a:lnTo>
                  <a:lnTo>
                    <a:pt x="453" y="1050"/>
                  </a:lnTo>
                  <a:lnTo>
                    <a:pt x="450" y="1050"/>
                  </a:lnTo>
                  <a:lnTo>
                    <a:pt x="449" y="1049"/>
                  </a:lnTo>
                  <a:lnTo>
                    <a:pt x="445" y="1049"/>
                  </a:lnTo>
                  <a:lnTo>
                    <a:pt x="442" y="1050"/>
                  </a:lnTo>
                  <a:lnTo>
                    <a:pt x="441" y="1053"/>
                  </a:lnTo>
                  <a:lnTo>
                    <a:pt x="439" y="1056"/>
                  </a:lnTo>
                  <a:lnTo>
                    <a:pt x="441" y="1061"/>
                  </a:lnTo>
                  <a:lnTo>
                    <a:pt x="434" y="1069"/>
                  </a:lnTo>
                  <a:lnTo>
                    <a:pt x="429" y="1079"/>
                  </a:lnTo>
                  <a:lnTo>
                    <a:pt x="429" y="1082"/>
                  </a:lnTo>
                  <a:lnTo>
                    <a:pt x="429" y="1085"/>
                  </a:lnTo>
                  <a:lnTo>
                    <a:pt x="431" y="1088"/>
                  </a:lnTo>
                  <a:lnTo>
                    <a:pt x="433" y="1090"/>
                  </a:lnTo>
                  <a:lnTo>
                    <a:pt x="434" y="1091"/>
                  </a:lnTo>
                  <a:lnTo>
                    <a:pt x="437" y="1091"/>
                  </a:lnTo>
                  <a:lnTo>
                    <a:pt x="441" y="1091"/>
                  </a:lnTo>
                  <a:lnTo>
                    <a:pt x="444" y="1090"/>
                  </a:lnTo>
                  <a:lnTo>
                    <a:pt x="445" y="1093"/>
                  </a:lnTo>
                  <a:lnTo>
                    <a:pt x="449" y="1096"/>
                  </a:lnTo>
                  <a:lnTo>
                    <a:pt x="449" y="1096"/>
                  </a:lnTo>
                  <a:lnTo>
                    <a:pt x="445" y="1095"/>
                  </a:lnTo>
                  <a:lnTo>
                    <a:pt x="442" y="1093"/>
                  </a:lnTo>
                  <a:lnTo>
                    <a:pt x="437" y="1091"/>
                  </a:lnTo>
                  <a:lnTo>
                    <a:pt x="434" y="1093"/>
                  </a:lnTo>
                  <a:lnTo>
                    <a:pt x="431" y="1091"/>
                  </a:lnTo>
                  <a:lnTo>
                    <a:pt x="428" y="1093"/>
                  </a:lnTo>
                  <a:lnTo>
                    <a:pt x="425" y="1095"/>
                  </a:lnTo>
                  <a:lnTo>
                    <a:pt x="420" y="1095"/>
                  </a:lnTo>
                  <a:lnTo>
                    <a:pt x="417" y="1098"/>
                  </a:lnTo>
                  <a:lnTo>
                    <a:pt x="414" y="1098"/>
                  </a:lnTo>
                  <a:lnTo>
                    <a:pt x="410" y="1099"/>
                  </a:lnTo>
                  <a:lnTo>
                    <a:pt x="407" y="1102"/>
                  </a:lnTo>
                  <a:lnTo>
                    <a:pt x="404" y="1106"/>
                  </a:lnTo>
                  <a:lnTo>
                    <a:pt x="403" y="1110"/>
                  </a:lnTo>
                  <a:lnTo>
                    <a:pt x="403" y="1110"/>
                  </a:lnTo>
                  <a:lnTo>
                    <a:pt x="403" y="1114"/>
                  </a:lnTo>
                  <a:lnTo>
                    <a:pt x="401" y="1117"/>
                  </a:lnTo>
                  <a:lnTo>
                    <a:pt x="403" y="1120"/>
                  </a:lnTo>
                  <a:lnTo>
                    <a:pt x="403" y="1123"/>
                  </a:lnTo>
                  <a:lnTo>
                    <a:pt x="399" y="1128"/>
                  </a:lnTo>
                  <a:lnTo>
                    <a:pt x="396" y="1131"/>
                  </a:lnTo>
                  <a:lnTo>
                    <a:pt x="393" y="1133"/>
                  </a:lnTo>
                  <a:lnTo>
                    <a:pt x="390" y="1136"/>
                  </a:lnTo>
                  <a:lnTo>
                    <a:pt x="387" y="1137"/>
                  </a:lnTo>
                  <a:lnTo>
                    <a:pt x="380" y="1139"/>
                  </a:lnTo>
                  <a:lnTo>
                    <a:pt x="377" y="1141"/>
                  </a:lnTo>
                  <a:lnTo>
                    <a:pt x="374" y="1137"/>
                  </a:lnTo>
                  <a:lnTo>
                    <a:pt x="369" y="1134"/>
                  </a:lnTo>
                  <a:lnTo>
                    <a:pt x="361" y="1128"/>
                  </a:lnTo>
                  <a:lnTo>
                    <a:pt x="355" y="1118"/>
                  </a:lnTo>
                  <a:lnTo>
                    <a:pt x="352" y="1115"/>
                  </a:lnTo>
                  <a:lnTo>
                    <a:pt x="349" y="1112"/>
                  </a:lnTo>
                  <a:lnTo>
                    <a:pt x="345" y="1109"/>
                  </a:lnTo>
                  <a:lnTo>
                    <a:pt x="345" y="1107"/>
                  </a:lnTo>
                  <a:lnTo>
                    <a:pt x="344" y="1106"/>
                  </a:lnTo>
                  <a:lnTo>
                    <a:pt x="349" y="1104"/>
                  </a:lnTo>
                  <a:lnTo>
                    <a:pt x="344" y="1104"/>
                  </a:lnTo>
                  <a:lnTo>
                    <a:pt x="344" y="1106"/>
                  </a:lnTo>
                  <a:lnTo>
                    <a:pt x="342" y="1102"/>
                  </a:lnTo>
                  <a:lnTo>
                    <a:pt x="341" y="1098"/>
                  </a:lnTo>
                  <a:lnTo>
                    <a:pt x="341" y="1095"/>
                  </a:lnTo>
                  <a:lnTo>
                    <a:pt x="338" y="1091"/>
                  </a:lnTo>
                  <a:lnTo>
                    <a:pt x="336" y="1088"/>
                  </a:lnTo>
                  <a:lnTo>
                    <a:pt x="336" y="1083"/>
                  </a:lnTo>
                  <a:lnTo>
                    <a:pt x="334" y="1080"/>
                  </a:lnTo>
                  <a:lnTo>
                    <a:pt x="334" y="1077"/>
                  </a:lnTo>
                  <a:lnTo>
                    <a:pt x="334" y="1075"/>
                  </a:lnTo>
                  <a:lnTo>
                    <a:pt x="333" y="1072"/>
                  </a:lnTo>
                  <a:lnTo>
                    <a:pt x="333" y="1069"/>
                  </a:lnTo>
                  <a:lnTo>
                    <a:pt x="331" y="1066"/>
                  </a:lnTo>
                  <a:lnTo>
                    <a:pt x="333" y="1064"/>
                  </a:lnTo>
                  <a:lnTo>
                    <a:pt x="333" y="1066"/>
                  </a:lnTo>
                  <a:lnTo>
                    <a:pt x="334" y="1066"/>
                  </a:lnTo>
                  <a:lnTo>
                    <a:pt x="334" y="1071"/>
                  </a:lnTo>
                  <a:lnTo>
                    <a:pt x="336" y="1074"/>
                  </a:lnTo>
                  <a:lnTo>
                    <a:pt x="336" y="1071"/>
                  </a:lnTo>
                  <a:lnTo>
                    <a:pt x="336" y="1074"/>
                  </a:lnTo>
                  <a:lnTo>
                    <a:pt x="338" y="1077"/>
                  </a:lnTo>
                  <a:lnTo>
                    <a:pt x="336" y="1080"/>
                  </a:lnTo>
                  <a:lnTo>
                    <a:pt x="339" y="1082"/>
                  </a:lnTo>
                  <a:lnTo>
                    <a:pt x="339" y="1079"/>
                  </a:lnTo>
                  <a:lnTo>
                    <a:pt x="339" y="1075"/>
                  </a:lnTo>
                  <a:lnTo>
                    <a:pt x="338" y="1072"/>
                  </a:lnTo>
                  <a:lnTo>
                    <a:pt x="338" y="1069"/>
                  </a:lnTo>
                  <a:lnTo>
                    <a:pt x="334" y="1064"/>
                  </a:lnTo>
                  <a:lnTo>
                    <a:pt x="333" y="1063"/>
                  </a:lnTo>
                  <a:lnTo>
                    <a:pt x="333" y="1063"/>
                  </a:lnTo>
                  <a:lnTo>
                    <a:pt x="333" y="1061"/>
                  </a:lnTo>
                  <a:lnTo>
                    <a:pt x="331" y="1058"/>
                  </a:lnTo>
                  <a:lnTo>
                    <a:pt x="331" y="1061"/>
                  </a:lnTo>
                  <a:lnTo>
                    <a:pt x="331" y="1061"/>
                  </a:lnTo>
                  <a:lnTo>
                    <a:pt x="330" y="1058"/>
                  </a:lnTo>
                  <a:lnTo>
                    <a:pt x="328" y="1055"/>
                  </a:lnTo>
                  <a:lnTo>
                    <a:pt x="330" y="1053"/>
                  </a:lnTo>
                  <a:lnTo>
                    <a:pt x="326" y="1050"/>
                  </a:lnTo>
                  <a:lnTo>
                    <a:pt x="326" y="1047"/>
                  </a:lnTo>
                  <a:lnTo>
                    <a:pt x="325" y="1044"/>
                  </a:lnTo>
                  <a:lnTo>
                    <a:pt x="323" y="1041"/>
                  </a:lnTo>
                  <a:lnTo>
                    <a:pt x="322" y="1037"/>
                  </a:lnTo>
                  <a:lnTo>
                    <a:pt x="317" y="1026"/>
                  </a:lnTo>
                  <a:lnTo>
                    <a:pt x="314" y="1015"/>
                  </a:lnTo>
                  <a:lnTo>
                    <a:pt x="312" y="1012"/>
                  </a:lnTo>
                  <a:lnTo>
                    <a:pt x="311" y="1009"/>
                  </a:lnTo>
                  <a:lnTo>
                    <a:pt x="309" y="1006"/>
                  </a:lnTo>
                  <a:lnTo>
                    <a:pt x="306" y="1001"/>
                  </a:lnTo>
                  <a:lnTo>
                    <a:pt x="304" y="998"/>
                  </a:lnTo>
                  <a:lnTo>
                    <a:pt x="304" y="996"/>
                  </a:lnTo>
                  <a:lnTo>
                    <a:pt x="303" y="995"/>
                  </a:lnTo>
                  <a:lnTo>
                    <a:pt x="301" y="991"/>
                  </a:lnTo>
                  <a:lnTo>
                    <a:pt x="298" y="988"/>
                  </a:lnTo>
                  <a:lnTo>
                    <a:pt x="295" y="985"/>
                  </a:lnTo>
                  <a:lnTo>
                    <a:pt x="295" y="984"/>
                  </a:lnTo>
                  <a:lnTo>
                    <a:pt x="295" y="984"/>
                  </a:lnTo>
                  <a:lnTo>
                    <a:pt x="295" y="982"/>
                  </a:lnTo>
                  <a:lnTo>
                    <a:pt x="295" y="982"/>
                  </a:lnTo>
                  <a:lnTo>
                    <a:pt x="293" y="980"/>
                  </a:lnTo>
                  <a:lnTo>
                    <a:pt x="292" y="979"/>
                  </a:lnTo>
                  <a:lnTo>
                    <a:pt x="288" y="976"/>
                  </a:lnTo>
                  <a:lnTo>
                    <a:pt x="287" y="972"/>
                  </a:lnTo>
                  <a:lnTo>
                    <a:pt x="285" y="969"/>
                  </a:lnTo>
                  <a:lnTo>
                    <a:pt x="284" y="964"/>
                  </a:lnTo>
                  <a:lnTo>
                    <a:pt x="279" y="957"/>
                  </a:lnTo>
                  <a:lnTo>
                    <a:pt x="274" y="945"/>
                  </a:lnTo>
                  <a:lnTo>
                    <a:pt x="276" y="947"/>
                  </a:lnTo>
                  <a:lnTo>
                    <a:pt x="271" y="933"/>
                  </a:lnTo>
                  <a:lnTo>
                    <a:pt x="266" y="918"/>
                  </a:lnTo>
                  <a:lnTo>
                    <a:pt x="266" y="912"/>
                  </a:lnTo>
                  <a:lnTo>
                    <a:pt x="265" y="906"/>
                  </a:lnTo>
                  <a:lnTo>
                    <a:pt x="261" y="901"/>
                  </a:lnTo>
                  <a:lnTo>
                    <a:pt x="260" y="898"/>
                  </a:lnTo>
                  <a:lnTo>
                    <a:pt x="258" y="895"/>
                  </a:lnTo>
                  <a:lnTo>
                    <a:pt x="258" y="892"/>
                  </a:lnTo>
                  <a:lnTo>
                    <a:pt x="257" y="888"/>
                  </a:lnTo>
                  <a:lnTo>
                    <a:pt x="257" y="888"/>
                  </a:lnTo>
                  <a:lnTo>
                    <a:pt x="260" y="888"/>
                  </a:lnTo>
                  <a:lnTo>
                    <a:pt x="257" y="887"/>
                  </a:lnTo>
                  <a:lnTo>
                    <a:pt x="255" y="884"/>
                  </a:lnTo>
                  <a:lnTo>
                    <a:pt x="253" y="880"/>
                  </a:lnTo>
                  <a:lnTo>
                    <a:pt x="253" y="876"/>
                  </a:lnTo>
                  <a:lnTo>
                    <a:pt x="250" y="873"/>
                  </a:lnTo>
                  <a:lnTo>
                    <a:pt x="249" y="869"/>
                  </a:lnTo>
                  <a:lnTo>
                    <a:pt x="246" y="869"/>
                  </a:lnTo>
                  <a:lnTo>
                    <a:pt x="242" y="866"/>
                  </a:lnTo>
                  <a:lnTo>
                    <a:pt x="244" y="865"/>
                  </a:lnTo>
                  <a:lnTo>
                    <a:pt x="247" y="863"/>
                  </a:lnTo>
                  <a:lnTo>
                    <a:pt x="244" y="863"/>
                  </a:lnTo>
                  <a:lnTo>
                    <a:pt x="242" y="861"/>
                  </a:lnTo>
                  <a:lnTo>
                    <a:pt x="239" y="858"/>
                  </a:lnTo>
                  <a:lnTo>
                    <a:pt x="238" y="855"/>
                  </a:lnTo>
                  <a:lnTo>
                    <a:pt x="236" y="852"/>
                  </a:lnTo>
                  <a:lnTo>
                    <a:pt x="234" y="847"/>
                  </a:lnTo>
                  <a:lnTo>
                    <a:pt x="234" y="844"/>
                  </a:lnTo>
                  <a:lnTo>
                    <a:pt x="230" y="842"/>
                  </a:lnTo>
                  <a:lnTo>
                    <a:pt x="234" y="841"/>
                  </a:lnTo>
                  <a:lnTo>
                    <a:pt x="230" y="839"/>
                  </a:lnTo>
                  <a:lnTo>
                    <a:pt x="231" y="838"/>
                  </a:lnTo>
                  <a:lnTo>
                    <a:pt x="231" y="836"/>
                  </a:lnTo>
                  <a:lnTo>
                    <a:pt x="228" y="834"/>
                  </a:lnTo>
                  <a:lnTo>
                    <a:pt x="230" y="831"/>
                  </a:lnTo>
                  <a:lnTo>
                    <a:pt x="225" y="830"/>
                  </a:lnTo>
                  <a:lnTo>
                    <a:pt x="225" y="828"/>
                  </a:lnTo>
                  <a:lnTo>
                    <a:pt x="223" y="823"/>
                  </a:lnTo>
                  <a:lnTo>
                    <a:pt x="220" y="820"/>
                  </a:lnTo>
                  <a:lnTo>
                    <a:pt x="217" y="817"/>
                  </a:lnTo>
                  <a:lnTo>
                    <a:pt x="215" y="814"/>
                  </a:lnTo>
                  <a:lnTo>
                    <a:pt x="215" y="811"/>
                  </a:lnTo>
                  <a:lnTo>
                    <a:pt x="214" y="806"/>
                  </a:lnTo>
                  <a:lnTo>
                    <a:pt x="209" y="793"/>
                  </a:lnTo>
                  <a:lnTo>
                    <a:pt x="206" y="781"/>
                  </a:lnTo>
                  <a:lnTo>
                    <a:pt x="206" y="776"/>
                  </a:lnTo>
                  <a:lnTo>
                    <a:pt x="206" y="773"/>
                  </a:lnTo>
                  <a:lnTo>
                    <a:pt x="204" y="769"/>
                  </a:lnTo>
                  <a:lnTo>
                    <a:pt x="203" y="766"/>
                  </a:lnTo>
                  <a:lnTo>
                    <a:pt x="203" y="763"/>
                  </a:lnTo>
                  <a:lnTo>
                    <a:pt x="201" y="760"/>
                  </a:lnTo>
                  <a:lnTo>
                    <a:pt x="201" y="755"/>
                  </a:lnTo>
                  <a:lnTo>
                    <a:pt x="200" y="752"/>
                  </a:lnTo>
                  <a:lnTo>
                    <a:pt x="198" y="749"/>
                  </a:lnTo>
                  <a:lnTo>
                    <a:pt x="198" y="746"/>
                  </a:lnTo>
                  <a:lnTo>
                    <a:pt x="196" y="742"/>
                  </a:lnTo>
                  <a:lnTo>
                    <a:pt x="195" y="738"/>
                  </a:lnTo>
                  <a:lnTo>
                    <a:pt x="193" y="735"/>
                  </a:lnTo>
                  <a:lnTo>
                    <a:pt x="192" y="731"/>
                  </a:lnTo>
                  <a:lnTo>
                    <a:pt x="192" y="728"/>
                  </a:lnTo>
                  <a:lnTo>
                    <a:pt x="190" y="725"/>
                  </a:lnTo>
                  <a:lnTo>
                    <a:pt x="193" y="725"/>
                  </a:lnTo>
                  <a:lnTo>
                    <a:pt x="190" y="722"/>
                  </a:lnTo>
                  <a:lnTo>
                    <a:pt x="187" y="719"/>
                  </a:lnTo>
                  <a:lnTo>
                    <a:pt x="187" y="716"/>
                  </a:lnTo>
                  <a:lnTo>
                    <a:pt x="190" y="716"/>
                  </a:lnTo>
                  <a:lnTo>
                    <a:pt x="190" y="712"/>
                  </a:lnTo>
                  <a:lnTo>
                    <a:pt x="187" y="709"/>
                  </a:lnTo>
                  <a:lnTo>
                    <a:pt x="185" y="706"/>
                  </a:lnTo>
                  <a:lnTo>
                    <a:pt x="185" y="701"/>
                  </a:lnTo>
                  <a:lnTo>
                    <a:pt x="188" y="704"/>
                  </a:lnTo>
                  <a:lnTo>
                    <a:pt x="188" y="701"/>
                  </a:lnTo>
                  <a:lnTo>
                    <a:pt x="185" y="698"/>
                  </a:lnTo>
                  <a:lnTo>
                    <a:pt x="190" y="695"/>
                  </a:lnTo>
                  <a:lnTo>
                    <a:pt x="188" y="692"/>
                  </a:lnTo>
                  <a:lnTo>
                    <a:pt x="188" y="692"/>
                  </a:lnTo>
                  <a:lnTo>
                    <a:pt x="187" y="687"/>
                  </a:lnTo>
                  <a:lnTo>
                    <a:pt x="187" y="690"/>
                  </a:lnTo>
                  <a:lnTo>
                    <a:pt x="187" y="692"/>
                  </a:lnTo>
                  <a:lnTo>
                    <a:pt x="184" y="695"/>
                  </a:lnTo>
                  <a:lnTo>
                    <a:pt x="182" y="692"/>
                  </a:lnTo>
                  <a:lnTo>
                    <a:pt x="182" y="689"/>
                  </a:lnTo>
                  <a:lnTo>
                    <a:pt x="182" y="681"/>
                  </a:lnTo>
                  <a:lnTo>
                    <a:pt x="182" y="681"/>
                  </a:lnTo>
                  <a:lnTo>
                    <a:pt x="184" y="682"/>
                  </a:lnTo>
                  <a:lnTo>
                    <a:pt x="187" y="682"/>
                  </a:lnTo>
                  <a:lnTo>
                    <a:pt x="187" y="684"/>
                  </a:lnTo>
                  <a:lnTo>
                    <a:pt x="190" y="685"/>
                  </a:lnTo>
                  <a:lnTo>
                    <a:pt x="188" y="682"/>
                  </a:lnTo>
                  <a:lnTo>
                    <a:pt x="185" y="682"/>
                  </a:lnTo>
                  <a:lnTo>
                    <a:pt x="184" y="681"/>
                  </a:lnTo>
                  <a:lnTo>
                    <a:pt x="182" y="679"/>
                  </a:lnTo>
                  <a:lnTo>
                    <a:pt x="179" y="677"/>
                  </a:lnTo>
                  <a:lnTo>
                    <a:pt x="180" y="673"/>
                  </a:lnTo>
                  <a:lnTo>
                    <a:pt x="180" y="673"/>
                  </a:lnTo>
                  <a:lnTo>
                    <a:pt x="180" y="673"/>
                  </a:lnTo>
                  <a:lnTo>
                    <a:pt x="177" y="670"/>
                  </a:lnTo>
                  <a:lnTo>
                    <a:pt x="176" y="666"/>
                  </a:lnTo>
                  <a:lnTo>
                    <a:pt x="176" y="663"/>
                  </a:lnTo>
                  <a:lnTo>
                    <a:pt x="173" y="660"/>
                  </a:lnTo>
                  <a:lnTo>
                    <a:pt x="173" y="657"/>
                  </a:lnTo>
                  <a:lnTo>
                    <a:pt x="174" y="654"/>
                  </a:lnTo>
                  <a:lnTo>
                    <a:pt x="174" y="650"/>
                  </a:lnTo>
                  <a:lnTo>
                    <a:pt x="174" y="646"/>
                  </a:lnTo>
                  <a:lnTo>
                    <a:pt x="174" y="643"/>
                  </a:lnTo>
                  <a:lnTo>
                    <a:pt x="174" y="641"/>
                  </a:lnTo>
                  <a:lnTo>
                    <a:pt x="177" y="638"/>
                  </a:lnTo>
                  <a:lnTo>
                    <a:pt x="177" y="635"/>
                  </a:lnTo>
                  <a:lnTo>
                    <a:pt x="179" y="631"/>
                  </a:lnTo>
                  <a:lnTo>
                    <a:pt x="179" y="624"/>
                  </a:lnTo>
                  <a:lnTo>
                    <a:pt x="179" y="620"/>
                  </a:lnTo>
                  <a:lnTo>
                    <a:pt x="176" y="617"/>
                  </a:lnTo>
                  <a:lnTo>
                    <a:pt x="177" y="612"/>
                  </a:lnTo>
                  <a:lnTo>
                    <a:pt x="174" y="612"/>
                  </a:lnTo>
                  <a:lnTo>
                    <a:pt x="174" y="608"/>
                  </a:lnTo>
                  <a:lnTo>
                    <a:pt x="171" y="608"/>
                  </a:lnTo>
                  <a:lnTo>
                    <a:pt x="169" y="609"/>
                  </a:lnTo>
                  <a:lnTo>
                    <a:pt x="171" y="606"/>
                  </a:lnTo>
                  <a:lnTo>
                    <a:pt x="168" y="609"/>
                  </a:lnTo>
                  <a:lnTo>
                    <a:pt x="169" y="605"/>
                  </a:lnTo>
                  <a:lnTo>
                    <a:pt x="168" y="601"/>
                  </a:lnTo>
                  <a:lnTo>
                    <a:pt x="165" y="598"/>
                  </a:lnTo>
                  <a:lnTo>
                    <a:pt x="168" y="595"/>
                  </a:lnTo>
                  <a:lnTo>
                    <a:pt x="166" y="590"/>
                  </a:lnTo>
                  <a:lnTo>
                    <a:pt x="169" y="589"/>
                  </a:lnTo>
                  <a:lnTo>
                    <a:pt x="174" y="585"/>
                  </a:lnTo>
                  <a:lnTo>
                    <a:pt x="177" y="584"/>
                  </a:lnTo>
                  <a:lnTo>
                    <a:pt x="177" y="584"/>
                  </a:lnTo>
                  <a:lnTo>
                    <a:pt x="179" y="584"/>
                  </a:lnTo>
                  <a:lnTo>
                    <a:pt x="182" y="582"/>
                  </a:lnTo>
                  <a:lnTo>
                    <a:pt x="182" y="581"/>
                  </a:lnTo>
                  <a:lnTo>
                    <a:pt x="182" y="581"/>
                  </a:lnTo>
                  <a:lnTo>
                    <a:pt x="177" y="584"/>
                  </a:lnTo>
                  <a:lnTo>
                    <a:pt x="174" y="584"/>
                  </a:lnTo>
                  <a:lnTo>
                    <a:pt x="168" y="585"/>
                  </a:lnTo>
                  <a:lnTo>
                    <a:pt x="163" y="584"/>
                  </a:lnTo>
                  <a:lnTo>
                    <a:pt x="161" y="581"/>
                  </a:lnTo>
                  <a:lnTo>
                    <a:pt x="161" y="579"/>
                  </a:lnTo>
                  <a:lnTo>
                    <a:pt x="163" y="576"/>
                  </a:lnTo>
                  <a:lnTo>
                    <a:pt x="166" y="573"/>
                  </a:lnTo>
                  <a:lnTo>
                    <a:pt x="163" y="573"/>
                  </a:lnTo>
                  <a:lnTo>
                    <a:pt x="160" y="573"/>
                  </a:lnTo>
                  <a:lnTo>
                    <a:pt x="160" y="570"/>
                  </a:lnTo>
                  <a:lnTo>
                    <a:pt x="160" y="566"/>
                  </a:lnTo>
                  <a:lnTo>
                    <a:pt x="163" y="563"/>
                  </a:lnTo>
                  <a:lnTo>
                    <a:pt x="166" y="565"/>
                  </a:lnTo>
                  <a:lnTo>
                    <a:pt x="171" y="562"/>
                  </a:lnTo>
                  <a:lnTo>
                    <a:pt x="168" y="562"/>
                  </a:lnTo>
                  <a:lnTo>
                    <a:pt x="163" y="560"/>
                  </a:lnTo>
                  <a:lnTo>
                    <a:pt x="160" y="560"/>
                  </a:lnTo>
                  <a:lnTo>
                    <a:pt x="157" y="560"/>
                  </a:lnTo>
                  <a:lnTo>
                    <a:pt x="155" y="557"/>
                  </a:lnTo>
                  <a:lnTo>
                    <a:pt x="154" y="557"/>
                  </a:lnTo>
                  <a:lnTo>
                    <a:pt x="152" y="560"/>
                  </a:lnTo>
                  <a:lnTo>
                    <a:pt x="149" y="559"/>
                  </a:lnTo>
                  <a:lnTo>
                    <a:pt x="149" y="560"/>
                  </a:lnTo>
                  <a:lnTo>
                    <a:pt x="152" y="562"/>
                  </a:lnTo>
                  <a:lnTo>
                    <a:pt x="152" y="566"/>
                  </a:lnTo>
                  <a:lnTo>
                    <a:pt x="152" y="570"/>
                  </a:lnTo>
                  <a:lnTo>
                    <a:pt x="149" y="571"/>
                  </a:lnTo>
                  <a:lnTo>
                    <a:pt x="144" y="573"/>
                  </a:lnTo>
                  <a:lnTo>
                    <a:pt x="147" y="576"/>
                  </a:lnTo>
                  <a:lnTo>
                    <a:pt x="144" y="576"/>
                  </a:lnTo>
                  <a:lnTo>
                    <a:pt x="142" y="579"/>
                  </a:lnTo>
                  <a:lnTo>
                    <a:pt x="149" y="581"/>
                  </a:lnTo>
                  <a:lnTo>
                    <a:pt x="152" y="584"/>
                  </a:lnTo>
                  <a:lnTo>
                    <a:pt x="154" y="587"/>
                  </a:lnTo>
                  <a:lnTo>
                    <a:pt x="150" y="595"/>
                  </a:lnTo>
                  <a:lnTo>
                    <a:pt x="149" y="598"/>
                  </a:lnTo>
                  <a:lnTo>
                    <a:pt x="149" y="600"/>
                  </a:lnTo>
                  <a:lnTo>
                    <a:pt x="149" y="603"/>
                  </a:lnTo>
                  <a:lnTo>
                    <a:pt x="146" y="606"/>
                  </a:lnTo>
                  <a:lnTo>
                    <a:pt x="142" y="608"/>
                  </a:lnTo>
                  <a:lnTo>
                    <a:pt x="139" y="609"/>
                  </a:lnTo>
                  <a:lnTo>
                    <a:pt x="131" y="612"/>
                  </a:lnTo>
                  <a:lnTo>
                    <a:pt x="128" y="614"/>
                  </a:lnTo>
                  <a:lnTo>
                    <a:pt x="125" y="617"/>
                  </a:lnTo>
                  <a:lnTo>
                    <a:pt x="122" y="619"/>
                  </a:lnTo>
                  <a:lnTo>
                    <a:pt x="119" y="620"/>
                  </a:lnTo>
                  <a:lnTo>
                    <a:pt x="111" y="624"/>
                  </a:lnTo>
                  <a:lnTo>
                    <a:pt x="106" y="624"/>
                  </a:lnTo>
                  <a:lnTo>
                    <a:pt x="101" y="622"/>
                  </a:lnTo>
                  <a:lnTo>
                    <a:pt x="93" y="619"/>
                  </a:lnTo>
                  <a:lnTo>
                    <a:pt x="84" y="612"/>
                  </a:lnTo>
                  <a:lnTo>
                    <a:pt x="74" y="605"/>
                  </a:lnTo>
                  <a:lnTo>
                    <a:pt x="74" y="603"/>
                  </a:lnTo>
                  <a:lnTo>
                    <a:pt x="71" y="600"/>
                  </a:lnTo>
                  <a:lnTo>
                    <a:pt x="68" y="597"/>
                  </a:lnTo>
                  <a:lnTo>
                    <a:pt x="66" y="593"/>
                  </a:lnTo>
                  <a:lnTo>
                    <a:pt x="63" y="590"/>
                  </a:lnTo>
                  <a:lnTo>
                    <a:pt x="60" y="587"/>
                  </a:lnTo>
                  <a:lnTo>
                    <a:pt x="58" y="585"/>
                  </a:lnTo>
                  <a:lnTo>
                    <a:pt x="58" y="585"/>
                  </a:lnTo>
                  <a:lnTo>
                    <a:pt x="55" y="584"/>
                  </a:lnTo>
                  <a:lnTo>
                    <a:pt x="50" y="579"/>
                  </a:lnTo>
                  <a:lnTo>
                    <a:pt x="50" y="576"/>
                  </a:lnTo>
                  <a:lnTo>
                    <a:pt x="46" y="576"/>
                  </a:lnTo>
                  <a:lnTo>
                    <a:pt x="43" y="573"/>
                  </a:lnTo>
                  <a:lnTo>
                    <a:pt x="39" y="570"/>
                  </a:lnTo>
                  <a:lnTo>
                    <a:pt x="36" y="565"/>
                  </a:lnTo>
                  <a:lnTo>
                    <a:pt x="33" y="562"/>
                  </a:lnTo>
                  <a:lnTo>
                    <a:pt x="33" y="559"/>
                  </a:lnTo>
                  <a:lnTo>
                    <a:pt x="33" y="554"/>
                  </a:lnTo>
                  <a:lnTo>
                    <a:pt x="36" y="552"/>
                  </a:lnTo>
                  <a:lnTo>
                    <a:pt x="36" y="552"/>
                  </a:lnTo>
                  <a:lnTo>
                    <a:pt x="39" y="554"/>
                  </a:lnTo>
                  <a:lnTo>
                    <a:pt x="41" y="557"/>
                  </a:lnTo>
                  <a:lnTo>
                    <a:pt x="44" y="560"/>
                  </a:lnTo>
                  <a:lnTo>
                    <a:pt x="47" y="559"/>
                  </a:lnTo>
                  <a:lnTo>
                    <a:pt x="50" y="557"/>
                  </a:lnTo>
                  <a:lnTo>
                    <a:pt x="52" y="554"/>
                  </a:lnTo>
                  <a:lnTo>
                    <a:pt x="55" y="557"/>
                  </a:lnTo>
                  <a:lnTo>
                    <a:pt x="58" y="554"/>
                  </a:lnTo>
                  <a:lnTo>
                    <a:pt x="62" y="554"/>
                  </a:lnTo>
                  <a:lnTo>
                    <a:pt x="71" y="549"/>
                  </a:lnTo>
                  <a:lnTo>
                    <a:pt x="77" y="543"/>
                  </a:lnTo>
                  <a:lnTo>
                    <a:pt x="79" y="539"/>
                  </a:lnTo>
                  <a:lnTo>
                    <a:pt x="81" y="535"/>
                  </a:lnTo>
                  <a:lnTo>
                    <a:pt x="82" y="532"/>
                  </a:lnTo>
                  <a:lnTo>
                    <a:pt x="85" y="530"/>
                  </a:lnTo>
                  <a:lnTo>
                    <a:pt x="85" y="528"/>
                  </a:lnTo>
                  <a:lnTo>
                    <a:pt x="84" y="525"/>
                  </a:lnTo>
                  <a:lnTo>
                    <a:pt x="81" y="528"/>
                  </a:lnTo>
                  <a:lnTo>
                    <a:pt x="81" y="532"/>
                  </a:lnTo>
                  <a:lnTo>
                    <a:pt x="77" y="533"/>
                  </a:lnTo>
                  <a:lnTo>
                    <a:pt x="74" y="532"/>
                  </a:lnTo>
                  <a:lnTo>
                    <a:pt x="71" y="533"/>
                  </a:lnTo>
                  <a:lnTo>
                    <a:pt x="68" y="535"/>
                  </a:lnTo>
                  <a:lnTo>
                    <a:pt x="63" y="536"/>
                  </a:lnTo>
                  <a:lnTo>
                    <a:pt x="60" y="538"/>
                  </a:lnTo>
                  <a:lnTo>
                    <a:pt x="58" y="541"/>
                  </a:lnTo>
                  <a:lnTo>
                    <a:pt x="47" y="538"/>
                  </a:lnTo>
                  <a:lnTo>
                    <a:pt x="36" y="535"/>
                  </a:lnTo>
                  <a:lnTo>
                    <a:pt x="33" y="533"/>
                  </a:lnTo>
                  <a:lnTo>
                    <a:pt x="30" y="530"/>
                  </a:lnTo>
                  <a:lnTo>
                    <a:pt x="27" y="528"/>
                  </a:lnTo>
                  <a:lnTo>
                    <a:pt x="23" y="527"/>
                  </a:lnTo>
                  <a:lnTo>
                    <a:pt x="19" y="524"/>
                  </a:lnTo>
                  <a:lnTo>
                    <a:pt x="16" y="520"/>
                  </a:lnTo>
                  <a:lnTo>
                    <a:pt x="17" y="520"/>
                  </a:lnTo>
                  <a:lnTo>
                    <a:pt x="16" y="516"/>
                  </a:lnTo>
                  <a:lnTo>
                    <a:pt x="12" y="516"/>
                  </a:lnTo>
                  <a:lnTo>
                    <a:pt x="9" y="511"/>
                  </a:lnTo>
                  <a:lnTo>
                    <a:pt x="9" y="508"/>
                  </a:lnTo>
                  <a:lnTo>
                    <a:pt x="9" y="505"/>
                  </a:lnTo>
                  <a:lnTo>
                    <a:pt x="12" y="503"/>
                  </a:lnTo>
                  <a:lnTo>
                    <a:pt x="19" y="497"/>
                  </a:lnTo>
                  <a:lnTo>
                    <a:pt x="20" y="495"/>
                  </a:lnTo>
                  <a:lnTo>
                    <a:pt x="20" y="495"/>
                  </a:lnTo>
                  <a:lnTo>
                    <a:pt x="16" y="497"/>
                  </a:lnTo>
                  <a:lnTo>
                    <a:pt x="12" y="500"/>
                  </a:lnTo>
                  <a:lnTo>
                    <a:pt x="9" y="500"/>
                  </a:lnTo>
                  <a:lnTo>
                    <a:pt x="6" y="505"/>
                  </a:lnTo>
                  <a:lnTo>
                    <a:pt x="3" y="506"/>
                  </a:lnTo>
                  <a:lnTo>
                    <a:pt x="0" y="506"/>
                  </a:lnTo>
                  <a:lnTo>
                    <a:pt x="1" y="503"/>
                  </a:lnTo>
                  <a:lnTo>
                    <a:pt x="0" y="498"/>
                  </a:lnTo>
                  <a:close/>
                  <a:moveTo>
                    <a:pt x="303" y="84"/>
                  </a:moveTo>
                  <a:lnTo>
                    <a:pt x="304" y="88"/>
                  </a:lnTo>
                  <a:lnTo>
                    <a:pt x="306" y="91"/>
                  </a:lnTo>
                  <a:lnTo>
                    <a:pt x="304" y="91"/>
                  </a:lnTo>
                  <a:lnTo>
                    <a:pt x="304" y="88"/>
                  </a:lnTo>
                  <a:lnTo>
                    <a:pt x="303" y="84"/>
                  </a:lnTo>
                  <a:lnTo>
                    <a:pt x="303" y="84"/>
                  </a:lnTo>
                  <a:close/>
                  <a:moveTo>
                    <a:pt x="269" y="35"/>
                  </a:moveTo>
                  <a:lnTo>
                    <a:pt x="269" y="38"/>
                  </a:lnTo>
                  <a:lnTo>
                    <a:pt x="271" y="40"/>
                  </a:lnTo>
                  <a:lnTo>
                    <a:pt x="271" y="40"/>
                  </a:lnTo>
                  <a:lnTo>
                    <a:pt x="269" y="3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9" name="Freeform 9"/>
            <p:cNvSpPr>
              <a:spLocks/>
            </p:cNvSpPr>
            <p:nvPr/>
          </p:nvSpPr>
          <p:spPr bwMode="auto">
            <a:xfrm>
              <a:off x="7361729" y="3603616"/>
              <a:ext cx="30878" cy="54157"/>
            </a:xfrm>
            <a:custGeom>
              <a:avLst/>
              <a:gdLst>
                <a:gd name="T0" fmla="*/ 5 w 43"/>
                <a:gd name="T1" fmla="*/ 46 h 63"/>
                <a:gd name="T2" fmla="*/ 0 w 43"/>
                <a:gd name="T3" fmla="*/ 43 h 63"/>
                <a:gd name="T4" fmla="*/ 43 w 43"/>
                <a:gd name="T5" fmla="*/ 0 h 63"/>
                <a:gd name="T6" fmla="*/ 43 w 43"/>
                <a:gd name="T7" fmla="*/ 0 h 63"/>
                <a:gd name="T8" fmla="*/ 42 w 43"/>
                <a:gd name="T9" fmla="*/ 5 h 63"/>
                <a:gd name="T10" fmla="*/ 42 w 43"/>
                <a:gd name="T11" fmla="*/ 8 h 63"/>
                <a:gd name="T12" fmla="*/ 42 w 43"/>
                <a:gd name="T13" fmla="*/ 11 h 63"/>
                <a:gd name="T14" fmla="*/ 40 w 43"/>
                <a:gd name="T15" fmla="*/ 14 h 63"/>
                <a:gd name="T16" fmla="*/ 42 w 43"/>
                <a:gd name="T17" fmla="*/ 19 h 63"/>
                <a:gd name="T18" fmla="*/ 42 w 43"/>
                <a:gd name="T19" fmla="*/ 21 h 63"/>
                <a:gd name="T20" fmla="*/ 42 w 43"/>
                <a:gd name="T21" fmla="*/ 24 h 63"/>
                <a:gd name="T22" fmla="*/ 4 w 43"/>
                <a:gd name="T23" fmla="*/ 63 h 63"/>
                <a:gd name="T24" fmla="*/ 0 w 43"/>
                <a:gd name="T25" fmla="*/ 60 h 63"/>
                <a:gd name="T26" fmla="*/ 0 w 43"/>
                <a:gd name="T27" fmla="*/ 55 h 63"/>
                <a:gd name="T28" fmla="*/ 4 w 43"/>
                <a:gd name="T29" fmla="*/ 54 h 63"/>
                <a:gd name="T30" fmla="*/ 7 w 43"/>
                <a:gd name="T31" fmla="*/ 51 h 63"/>
                <a:gd name="T32" fmla="*/ 8 w 43"/>
                <a:gd name="T33" fmla="*/ 48 h 63"/>
                <a:gd name="T34" fmla="*/ 7 w 43"/>
                <a:gd name="T35" fmla="*/ 48 h 63"/>
                <a:gd name="T36" fmla="*/ 5 w 43"/>
                <a:gd name="T37" fmla="*/ 46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3" h="63">
                  <a:moveTo>
                    <a:pt x="5" y="46"/>
                  </a:moveTo>
                  <a:lnTo>
                    <a:pt x="0" y="43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2" y="5"/>
                  </a:lnTo>
                  <a:lnTo>
                    <a:pt x="42" y="8"/>
                  </a:lnTo>
                  <a:lnTo>
                    <a:pt x="42" y="11"/>
                  </a:lnTo>
                  <a:lnTo>
                    <a:pt x="40" y="14"/>
                  </a:lnTo>
                  <a:lnTo>
                    <a:pt x="42" y="19"/>
                  </a:lnTo>
                  <a:lnTo>
                    <a:pt x="42" y="21"/>
                  </a:lnTo>
                  <a:lnTo>
                    <a:pt x="42" y="24"/>
                  </a:lnTo>
                  <a:lnTo>
                    <a:pt x="4" y="63"/>
                  </a:lnTo>
                  <a:lnTo>
                    <a:pt x="0" y="60"/>
                  </a:lnTo>
                  <a:lnTo>
                    <a:pt x="0" y="55"/>
                  </a:lnTo>
                  <a:lnTo>
                    <a:pt x="4" y="54"/>
                  </a:lnTo>
                  <a:lnTo>
                    <a:pt x="7" y="51"/>
                  </a:lnTo>
                  <a:lnTo>
                    <a:pt x="8" y="48"/>
                  </a:lnTo>
                  <a:lnTo>
                    <a:pt x="7" y="48"/>
                  </a:lnTo>
                  <a:lnTo>
                    <a:pt x="5" y="46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7341144" y="3590076"/>
              <a:ext cx="38229" cy="42311"/>
            </a:xfrm>
            <a:custGeom>
              <a:avLst/>
              <a:gdLst>
                <a:gd name="T0" fmla="*/ 51 w 51"/>
                <a:gd name="T1" fmla="*/ 11 h 51"/>
                <a:gd name="T2" fmla="*/ 12 w 51"/>
                <a:gd name="T3" fmla="*/ 51 h 51"/>
                <a:gd name="T4" fmla="*/ 8 w 51"/>
                <a:gd name="T5" fmla="*/ 51 h 51"/>
                <a:gd name="T6" fmla="*/ 5 w 51"/>
                <a:gd name="T7" fmla="*/ 48 h 51"/>
                <a:gd name="T8" fmla="*/ 4 w 51"/>
                <a:gd name="T9" fmla="*/ 43 h 51"/>
                <a:gd name="T10" fmla="*/ 2 w 51"/>
                <a:gd name="T11" fmla="*/ 40 h 51"/>
                <a:gd name="T12" fmla="*/ 0 w 51"/>
                <a:gd name="T13" fmla="*/ 38 h 51"/>
                <a:gd name="T14" fmla="*/ 37 w 51"/>
                <a:gd name="T15" fmla="*/ 0 h 51"/>
                <a:gd name="T16" fmla="*/ 39 w 51"/>
                <a:gd name="T17" fmla="*/ 0 h 51"/>
                <a:gd name="T18" fmla="*/ 42 w 51"/>
                <a:gd name="T19" fmla="*/ 3 h 51"/>
                <a:gd name="T20" fmla="*/ 43 w 51"/>
                <a:gd name="T21" fmla="*/ 6 h 51"/>
                <a:gd name="T22" fmla="*/ 46 w 51"/>
                <a:gd name="T23" fmla="*/ 8 h 51"/>
                <a:gd name="T24" fmla="*/ 51 w 51"/>
                <a:gd name="T25" fmla="*/ 1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1" h="51">
                  <a:moveTo>
                    <a:pt x="51" y="11"/>
                  </a:moveTo>
                  <a:lnTo>
                    <a:pt x="12" y="51"/>
                  </a:lnTo>
                  <a:lnTo>
                    <a:pt x="8" y="51"/>
                  </a:lnTo>
                  <a:lnTo>
                    <a:pt x="5" y="48"/>
                  </a:lnTo>
                  <a:lnTo>
                    <a:pt x="4" y="43"/>
                  </a:lnTo>
                  <a:lnTo>
                    <a:pt x="2" y="40"/>
                  </a:lnTo>
                  <a:lnTo>
                    <a:pt x="0" y="38"/>
                  </a:lnTo>
                  <a:lnTo>
                    <a:pt x="37" y="0"/>
                  </a:lnTo>
                  <a:lnTo>
                    <a:pt x="39" y="0"/>
                  </a:lnTo>
                  <a:lnTo>
                    <a:pt x="42" y="3"/>
                  </a:lnTo>
                  <a:lnTo>
                    <a:pt x="43" y="6"/>
                  </a:lnTo>
                  <a:lnTo>
                    <a:pt x="46" y="8"/>
                  </a:lnTo>
                  <a:lnTo>
                    <a:pt x="51" y="1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7195578" y="2989264"/>
              <a:ext cx="1365966" cy="1140698"/>
            </a:xfrm>
            <a:custGeom>
              <a:avLst/>
              <a:gdLst>
                <a:gd name="T0" fmla="*/ 89 w 1857"/>
                <a:gd name="T1" fmla="*/ 506 h 1348"/>
                <a:gd name="T2" fmla="*/ 189 w 1857"/>
                <a:gd name="T3" fmla="*/ 425 h 1348"/>
                <a:gd name="T4" fmla="*/ 172 w 1857"/>
                <a:gd name="T5" fmla="*/ 333 h 1348"/>
                <a:gd name="T6" fmla="*/ 279 w 1857"/>
                <a:gd name="T7" fmla="*/ 260 h 1348"/>
                <a:gd name="T8" fmla="*/ 335 w 1857"/>
                <a:gd name="T9" fmla="*/ 179 h 1348"/>
                <a:gd name="T10" fmla="*/ 473 w 1857"/>
                <a:gd name="T11" fmla="*/ 272 h 1348"/>
                <a:gd name="T12" fmla="*/ 644 w 1857"/>
                <a:gd name="T13" fmla="*/ 368 h 1348"/>
                <a:gd name="T14" fmla="*/ 926 w 1857"/>
                <a:gd name="T15" fmla="*/ 456 h 1348"/>
                <a:gd name="T16" fmla="*/ 1141 w 1857"/>
                <a:gd name="T17" fmla="*/ 442 h 1348"/>
                <a:gd name="T18" fmla="*/ 1175 w 1857"/>
                <a:gd name="T19" fmla="*/ 336 h 1348"/>
                <a:gd name="T20" fmla="*/ 1321 w 1857"/>
                <a:gd name="T21" fmla="*/ 280 h 1348"/>
                <a:gd name="T22" fmla="*/ 1301 w 1857"/>
                <a:gd name="T23" fmla="*/ 220 h 1348"/>
                <a:gd name="T24" fmla="*/ 1267 w 1857"/>
                <a:gd name="T25" fmla="*/ 158 h 1348"/>
                <a:gd name="T26" fmla="*/ 1288 w 1857"/>
                <a:gd name="T27" fmla="*/ 49 h 1348"/>
                <a:gd name="T28" fmla="*/ 1371 w 1857"/>
                <a:gd name="T29" fmla="*/ 9 h 1348"/>
                <a:gd name="T30" fmla="*/ 1510 w 1857"/>
                <a:gd name="T31" fmla="*/ 92 h 1348"/>
                <a:gd name="T32" fmla="*/ 1648 w 1857"/>
                <a:gd name="T33" fmla="*/ 168 h 1348"/>
                <a:gd name="T34" fmla="*/ 1772 w 1857"/>
                <a:gd name="T35" fmla="*/ 230 h 1348"/>
                <a:gd name="T36" fmla="*/ 1843 w 1857"/>
                <a:gd name="T37" fmla="*/ 258 h 1348"/>
                <a:gd name="T38" fmla="*/ 1810 w 1857"/>
                <a:gd name="T39" fmla="*/ 336 h 1348"/>
                <a:gd name="T40" fmla="*/ 1807 w 1857"/>
                <a:gd name="T41" fmla="*/ 420 h 1348"/>
                <a:gd name="T42" fmla="*/ 1767 w 1857"/>
                <a:gd name="T43" fmla="*/ 483 h 1348"/>
                <a:gd name="T44" fmla="*/ 1681 w 1857"/>
                <a:gd name="T45" fmla="*/ 536 h 1348"/>
                <a:gd name="T46" fmla="*/ 1608 w 1857"/>
                <a:gd name="T47" fmla="*/ 578 h 1348"/>
                <a:gd name="T48" fmla="*/ 1555 w 1857"/>
                <a:gd name="T49" fmla="*/ 513 h 1348"/>
                <a:gd name="T50" fmla="*/ 1516 w 1857"/>
                <a:gd name="T51" fmla="*/ 617 h 1348"/>
                <a:gd name="T52" fmla="*/ 1613 w 1857"/>
                <a:gd name="T53" fmla="*/ 634 h 1348"/>
                <a:gd name="T54" fmla="*/ 1643 w 1857"/>
                <a:gd name="T55" fmla="*/ 672 h 1348"/>
                <a:gd name="T56" fmla="*/ 1597 w 1857"/>
                <a:gd name="T57" fmla="*/ 735 h 1348"/>
                <a:gd name="T58" fmla="*/ 1689 w 1857"/>
                <a:gd name="T59" fmla="*/ 843 h 1348"/>
                <a:gd name="T60" fmla="*/ 1648 w 1857"/>
                <a:gd name="T61" fmla="*/ 859 h 1348"/>
                <a:gd name="T62" fmla="*/ 1732 w 1857"/>
                <a:gd name="T63" fmla="*/ 916 h 1348"/>
                <a:gd name="T64" fmla="*/ 1759 w 1857"/>
                <a:gd name="T65" fmla="*/ 970 h 1348"/>
                <a:gd name="T66" fmla="*/ 1764 w 1857"/>
                <a:gd name="T67" fmla="*/ 1015 h 1348"/>
                <a:gd name="T68" fmla="*/ 1731 w 1857"/>
                <a:gd name="T69" fmla="*/ 1075 h 1348"/>
                <a:gd name="T70" fmla="*/ 1719 w 1857"/>
                <a:gd name="T71" fmla="*/ 1118 h 1348"/>
                <a:gd name="T72" fmla="*/ 1688 w 1857"/>
                <a:gd name="T73" fmla="*/ 1172 h 1348"/>
                <a:gd name="T74" fmla="*/ 1637 w 1857"/>
                <a:gd name="T75" fmla="*/ 1221 h 1348"/>
                <a:gd name="T76" fmla="*/ 1581 w 1857"/>
                <a:gd name="T77" fmla="*/ 1249 h 1348"/>
                <a:gd name="T78" fmla="*/ 1539 w 1857"/>
                <a:gd name="T79" fmla="*/ 1230 h 1348"/>
                <a:gd name="T80" fmla="*/ 1521 w 1857"/>
                <a:gd name="T81" fmla="*/ 1271 h 1348"/>
                <a:gd name="T82" fmla="*/ 1456 w 1857"/>
                <a:gd name="T83" fmla="*/ 1297 h 1348"/>
                <a:gd name="T84" fmla="*/ 1418 w 1857"/>
                <a:gd name="T85" fmla="*/ 1341 h 1348"/>
                <a:gd name="T86" fmla="*/ 1374 w 1857"/>
                <a:gd name="T87" fmla="*/ 1286 h 1348"/>
                <a:gd name="T88" fmla="*/ 1304 w 1857"/>
                <a:gd name="T89" fmla="*/ 1279 h 1348"/>
                <a:gd name="T90" fmla="*/ 1226 w 1857"/>
                <a:gd name="T91" fmla="*/ 1229 h 1348"/>
                <a:gd name="T92" fmla="*/ 1153 w 1857"/>
                <a:gd name="T93" fmla="*/ 1251 h 1348"/>
                <a:gd name="T94" fmla="*/ 1104 w 1857"/>
                <a:gd name="T95" fmla="*/ 1300 h 1348"/>
                <a:gd name="T96" fmla="*/ 1031 w 1857"/>
                <a:gd name="T97" fmla="*/ 1249 h 1348"/>
                <a:gd name="T98" fmla="*/ 960 w 1857"/>
                <a:gd name="T99" fmla="*/ 1197 h 1348"/>
                <a:gd name="T100" fmla="*/ 984 w 1857"/>
                <a:gd name="T101" fmla="*/ 1087 h 1348"/>
                <a:gd name="T102" fmla="*/ 904 w 1857"/>
                <a:gd name="T103" fmla="*/ 1016 h 1348"/>
                <a:gd name="T104" fmla="*/ 831 w 1857"/>
                <a:gd name="T105" fmla="*/ 984 h 1348"/>
                <a:gd name="T106" fmla="*/ 725 w 1857"/>
                <a:gd name="T107" fmla="*/ 1034 h 1348"/>
                <a:gd name="T108" fmla="*/ 627 w 1857"/>
                <a:gd name="T109" fmla="*/ 1048 h 1348"/>
                <a:gd name="T110" fmla="*/ 520 w 1857"/>
                <a:gd name="T111" fmla="*/ 1024 h 1348"/>
                <a:gd name="T112" fmla="*/ 381 w 1857"/>
                <a:gd name="T113" fmla="*/ 946 h 1348"/>
                <a:gd name="T114" fmla="*/ 262 w 1857"/>
                <a:gd name="T115" fmla="*/ 891 h 1348"/>
                <a:gd name="T116" fmla="*/ 252 w 1857"/>
                <a:gd name="T117" fmla="*/ 818 h 1348"/>
                <a:gd name="T118" fmla="*/ 267 w 1857"/>
                <a:gd name="T119" fmla="*/ 737 h 1348"/>
                <a:gd name="T120" fmla="*/ 145 w 1857"/>
                <a:gd name="T121" fmla="*/ 718 h 1348"/>
                <a:gd name="T122" fmla="*/ 70 w 1857"/>
                <a:gd name="T123" fmla="*/ 648 h 1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857" h="1348">
                  <a:moveTo>
                    <a:pt x="0" y="563"/>
                  </a:moveTo>
                  <a:lnTo>
                    <a:pt x="3" y="563"/>
                  </a:lnTo>
                  <a:lnTo>
                    <a:pt x="7" y="561"/>
                  </a:lnTo>
                  <a:lnTo>
                    <a:pt x="10" y="558"/>
                  </a:lnTo>
                  <a:lnTo>
                    <a:pt x="8" y="556"/>
                  </a:lnTo>
                  <a:lnTo>
                    <a:pt x="7" y="552"/>
                  </a:lnTo>
                  <a:lnTo>
                    <a:pt x="3" y="548"/>
                  </a:lnTo>
                  <a:lnTo>
                    <a:pt x="5" y="545"/>
                  </a:lnTo>
                  <a:lnTo>
                    <a:pt x="5" y="542"/>
                  </a:lnTo>
                  <a:lnTo>
                    <a:pt x="5" y="540"/>
                  </a:lnTo>
                  <a:lnTo>
                    <a:pt x="10" y="537"/>
                  </a:lnTo>
                  <a:lnTo>
                    <a:pt x="13" y="536"/>
                  </a:lnTo>
                  <a:lnTo>
                    <a:pt x="16" y="537"/>
                  </a:lnTo>
                  <a:lnTo>
                    <a:pt x="19" y="534"/>
                  </a:lnTo>
                  <a:lnTo>
                    <a:pt x="22" y="531"/>
                  </a:lnTo>
                  <a:lnTo>
                    <a:pt x="26" y="528"/>
                  </a:lnTo>
                  <a:lnTo>
                    <a:pt x="29" y="528"/>
                  </a:lnTo>
                  <a:lnTo>
                    <a:pt x="29" y="525"/>
                  </a:lnTo>
                  <a:lnTo>
                    <a:pt x="29" y="520"/>
                  </a:lnTo>
                  <a:lnTo>
                    <a:pt x="32" y="521"/>
                  </a:lnTo>
                  <a:lnTo>
                    <a:pt x="35" y="521"/>
                  </a:lnTo>
                  <a:lnTo>
                    <a:pt x="38" y="521"/>
                  </a:lnTo>
                  <a:lnTo>
                    <a:pt x="41" y="523"/>
                  </a:lnTo>
                  <a:lnTo>
                    <a:pt x="45" y="520"/>
                  </a:lnTo>
                  <a:lnTo>
                    <a:pt x="46" y="518"/>
                  </a:lnTo>
                  <a:lnTo>
                    <a:pt x="51" y="515"/>
                  </a:lnTo>
                  <a:lnTo>
                    <a:pt x="54" y="517"/>
                  </a:lnTo>
                  <a:lnTo>
                    <a:pt x="56" y="520"/>
                  </a:lnTo>
                  <a:lnTo>
                    <a:pt x="57" y="523"/>
                  </a:lnTo>
                  <a:lnTo>
                    <a:pt x="59" y="526"/>
                  </a:lnTo>
                  <a:lnTo>
                    <a:pt x="62" y="528"/>
                  </a:lnTo>
                  <a:lnTo>
                    <a:pt x="65" y="528"/>
                  </a:lnTo>
                  <a:lnTo>
                    <a:pt x="68" y="526"/>
                  </a:lnTo>
                  <a:lnTo>
                    <a:pt x="76" y="525"/>
                  </a:lnTo>
                  <a:lnTo>
                    <a:pt x="80" y="526"/>
                  </a:lnTo>
                  <a:lnTo>
                    <a:pt x="83" y="525"/>
                  </a:lnTo>
                  <a:lnTo>
                    <a:pt x="84" y="521"/>
                  </a:lnTo>
                  <a:lnTo>
                    <a:pt x="86" y="518"/>
                  </a:lnTo>
                  <a:lnTo>
                    <a:pt x="86" y="515"/>
                  </a:lnTo>
                  <a:lnTo>
                    <a:pt x="86" y="510"/>
                  </a:lnTo>
                  <a:lnTo>
                    <a:pt x="87" y="507"/>
                  </a:lnTo>
                  <a:lnTo>
                    <a:pt x="89" y="506"/>
                  </a:lnTo>
                  <a:lnTo>
                    <a:pt x="89" y="506"/>
                  </a:lnTo>
                  <a:lnTo>
                    <a:pt x="89" y="502"/>
                  </a:lnTo>
                  <a:lnTo>
                    <a:pt x="92" y="499"/>
                  </a:lnTo>
                  <a:lnTo>
                    <a:pt x="95" y="498"/>
                  </a:lnTo>
                  <a:lnTo>
                    <a:pt x="99" y="499"/>
                  </a:lnTo>
                  <a:lnTo>
                    <a:pt x="103" y="499"/>
                  </a:lnTo>
                  <a:lnTo>
                    <a:pt x="106" y="499"/>
                  </a:lnTo>
                  <a:lnTo>
                    <a:pt x="110" y="501"/>
                  </a:lnTo>
                  <a:lnTo>
                    <a:pt x="119" y="499"/>
                  </a:lnTo>
                  <a:lnTo>
                    <a:pt x="130" y="498"/>
                  </a:lnTo>
                  <a:lnTo>
                    <a:pt x="133" y="494"/>
                  </a:lnTo>
                  <a:lnTo>
                    <a:pt x="133" y="493"/>
                  </a:lnTo>
                  <a:lnTo>
                    <a:pt x="135" y="490"/>
                  </a:lnTo>
                  <a:lnTo>
                    <a:pt x="137" y="490"/>
                  </a:lnTo>
                  <a:lnTo>
                    <a:pt x="135" y="486"/>
                  </a:lnTo>
                  <a:lnTo>
                    <a:pt x="138" y="482"/>
                  </a:lnTo>
                  <a:lnTo>
                    <a:pt x="143" y="482"/>
                  </a:lnTo>
                  <a:lnTo>
                    <a:pt x="146" y="477"/>
                  </a:lnTo>
                  <a:lnTo>
                    <a:pt x="149" y="475"/>
                  </a:lnTo>
                  <a:lnTo>
                    <a:pt x="152" y="474"/>
                  </a:lnTo>
                  <a:lnTo>
                    <a:pt x="156" y="472"/>
                  </a:lnTo>
                  <a:lnTo>
                    <a:pt x="160" y="469"/>
                  </a:lnTo>
                  <a:lnTo>
                    <a:pt x="164" y="469"/>
                  </a:lnTo>
                  <a:lnTo>
                    <a:pt x="167" y="467"/>
                  </a:lnTo>
                  <a:lnTo>
                    <a:pt x="170" y="466"/>
                  </a:lnTo>
                  <a:lnTo>
                    <a:pt x="173" y="464"/>
                  </a:lnTo>
                  <a:lnTo>
                    <a:pt x="176" y="461"/>
                  </a:lnTo>
                  <a:lnTo>
                    <a:pt x="179" y="458"/>
                  </a:lnTo>
                  <a:lnTo>
                    <a:pt x="181" y="458"/>
                  </a:lnTo>
                  <a:lnTo>
                    <a:pt x="184" y="458"/>
                  </a:lnTo>
                  <a:lnTo>
                    <a:pt x="189" y="458"/>
                  </a:lnTo>
                  <a:lnTo>
                    <a:pt x="189" y="455"/>
                  </a:lnTo>
                  <a:lnTo>
                    <a:pt x="187" y="452"/>
                  </a:lnTo>
                  <a:lnTo>
                    <a:pt x="187" y="448"/>
                  </a:lnTo>
                  <a:lnTo>
                    <a:pt x="187" y="447"/>
                  </a:lnTo>
                  <a:lnTo>
                    <a:pt x="184" y="444"/>
                  </a:lnTo>
                  <a:lnTo>
                    <a:pt x="183" y="441"/>
                  </a:lnTo>
                  <a:lnTo>
                    <a:pt x="181" y="437"/>
                  </a:lnTo>
                  <a:lnTo>
                    <a:pt x="179" y="434"/>
                  </a:lnTo>
                  <a:lnTo>
                    <a:pt x="179" y="429"/>
                  </a:lnTo>
                  <a:lnTo>
                    <a:pt x="179" y="426"/>
                  </a:lnTo>
                  <a:lnTo>
                    <a:pt x="183" y="426"/>
                  </a:lnTo>
                  <a:lnTo>
                    <a:pt x="187" y="425"/>
                  </a:lnTo>
                  <a:lnTo>
                    <a:pt x="189" y="425"/>
                  </a:lnTo>
                  <a:lnTo>
                    <a:pt x="186" y="421"/>
                  </a:lnTo>
                  <a:lnTo>
                    <a:pt x="183" y="420"/>
                  </a:lnTo>
                  <a:lnTo>
                    <a:pt x="184" y="417"/>
                  </a:lnTo>
                  <a:lnTo>
                    <a:pt x="187" y="414"/>
                  </a:lnTo>
                  <a:lnTo>
                    <a:pt x="192" y="415"/>
                  </a:lnTo>
                  <a:lnTo>
                    <a:pt x="192" y="412"/>
                  </a:lnTo>
                  <a:lnTo>
                    <a:pt x="191" y="407"/>
                  </a:lnTo>
                  <a:lnTo>
                    <a:pt x="187" y="407"/>
                  </a:lnTo>
                  <a:lnTo>
                    <a:pt x="187" y="402"/>
                  </a:lnTo>
                  <a:lnTo>
                    <a:pt x="186" y="399"/>
                  </a:lnTo>
                  <a:lnTo>
                    <a:pt x="183" y="396"/>
                  </a:lnTo>
                  <a:lnTo>
                    <a:pt x="179" y="393"/>
                  </a:lnTo>
                  <a:lnTo>
                    <a:pt x="178" y="388"/>
                  </a:lnTo>
                  <a:lnTo>
                    <a:pt x="176" y="387"/>
                  </a:lnTo>
                  <a:lnTo>
                    <a:pt x="176" y="387"/>
                  </a:lnTo>
                  <a:lnTo>
                    <a:pt x="173" y="383"/>
                  </a:lnTo>
                  <a:lnTo>
                    <a:pt x="170" y="379"/>
                  </a:lnTo>
                  <a:lnTo>
                    <a:pt x="168" y="375"/>
                  </a:lnTo>
                  <a:lnTo>
                    <a:pt x="165" y="372"/>
                  </a:lnTo>
                  <a:lnTo>
                    <a:pt x="165" y="372"/>
                  </a:lnTo>
                  <a:lnTo>
                    <a:pt x="165" y="368"/>
                  </a:lnTo>
                  <a:lnTo>
                    <a:pt x="164" y="364"/>
                  </a:lnTo>
                  <a:lnTo>
                    <a:pt x="160" y="361"/>
                  </a:lnTo>
                  <a:lnTo>
                    <a:pt x="160" y="353"/>
                  </a:lnTo>
                  <a:lnTo>
                    <a:pt x="162" y="350"/>
                  </a:lnTo>
                  <a:lnTo>
                    <a:pt x="159" y="349"/>
                  </a:lnTo>
                  <a:lnTo>
                    <a:pt x="156" y="347"/>
                  </a:lnTo>
                  <a:lnTo>
                    <a:pt x="152" y="345"/>
                  </a:lnTo>
                  <a:lnTo>
                    <a:pt x="148" y="347"/>
                  </a:lnTo>
                  <a:lnTo>
                    <a:pt x="146" y="347"/>
                  </a:lnTo>
                  <a:lnTo>
                    <a:pt x="145" y="347"/>
                  </a:lnTo>
                  <a:lnTo>
                    <a:pt x="141" y="345"/>
                  </a:lnTo>
                  <a:lnTo>
                    <a:pt x="141" y="342"/>
                  </a:lnTo>
                  <a:lnTo>
                    <a:pt x="141" y="339"/>
                  </a:lnTo>
                  <a:lnTo>
                    <a:pt x="143" y="339"/>
                  </a:lnTo>
                  <a:lnTo>
                    <a:pt x="146" y="337"/>
                  </a:lnTo>
                  <a:lnTo>
                    <a:pt x="151" y="337"/>
                  </a:lnTo>
                  <a:lnTo>
                    <a:pt x="154" y="337"/>
                  </a:lnTo>
                  <a:lnTo>
                    <a:pt x="157" y="334"/>
                  </a:lnTo>
                  <a:lnTo>
                    <a:pt x="160" y="334"/>
                  </a:lnTo>
                  <a:lnTo>
                    <a:pt x="164" y="333"/>
                  </a:lnTo>
                  <a:lnTo>
                    <a:pt x="168" y="333"/>
                  </a:lnTo>
                  <a:lnTo>
                    <a:pt x="172" y="333"/>
                  </a:lnTo>
                  <a:lnTo>
                    <a:pt x="175" y="331"/>
                  </a:lnTo>
                  <a:lnTo>
                    <a:pt x="183" y="328"/>
                  </a:lnTo>
                  <a:lnTo>
                    <a:pt x="192" y="325"/>
                  </a:lnTo>
                  <a:lnTo>
                    <a:pt x="195" y="326"/>
                  </a:lnTo>
                  <a:lnTo>
                    <a:pt x="197" y="329"/>
                  </a:lnTo>
                  <a:lnTo>
                    <a:pt x="200" y="331"/>
                  </a:lnTo>
                  <a:lnTo>
                    <a:pt x="205" y="333"/>
                  </a:lnTo>
                  <a:lnTo>
                    <a:pt x="208" y="331"/>
                  </a:lnTo>
                  <a:lnTo>
                    <a:pt x="211" y="329"/>
                  </a:lnTo>
                  <a:lnTo>
                    <a:pt x="214" y="329"/>
                  </a:lnTo>
                  <a:lnTo>
                    <a:pt x="219" y="333"/>
                  </a:lnTo>
                  <a:lnTo>
                    <a:pt x="222" y="334"/>
                  </a:lnTo>
                  <a:lnTo>
                    <a:pt x="224" y="333"/>
                  </a:lnTo>
                  <a:lnTo>
                    <a:pt x="224" y="331"/>
                  </a:lnTo>
                  <a:lnTo>
                    <a:pt x="224" y="329"/>
                  </a:lnTo>
                  <a:lnTo>
                    <a:pt x="224" y="326"/>
                  </a:lnTo>
                  <a:lnTo>
                    <a:pt x="222" y="323"/>
                  </a:lnTo>
                  <a:lnTo>
                    <a:pt x="219" y="320"/>
                  </a:lnTo>
                  <a:lnTo>
                    <a:pt x="216" y="320"/>
                  </a:lnTo>
                  <a:lnTo>
                    <a:pt x="211" y="318"/>
                  </a:lnTo>
                  <a:lnTo>
                    <a:pt x="210" y="317"/>
                  </a:lnTo>
                  <a:lnTo>
                    <a:pt x="210" y="314"/>
                  </a:lnTo>
                  <a:lnTo>
                    <a:pt x="210" y="309"/>
                  </a:lnTo>
                  <a:lnTo>
                    <a:pt x="210" y="306"/>
                  </a:lnTo>
                  <a:lnTo>
                    <a:pt x="210" y="303"/>
                  </a:lnTo>
                  <a:lnTo>
                    <a:pt x="210" y="299"/>
                  </a:lnTo>
                  <a:lnTo>
                    <a:pt x="210" y="288"/>
                  </a:lnTo>
                  <a:lnTo>
                    <a:pt x="210" y="276"/>
                  </a:lnTo>
                  <a:lnTo>
                    <a:pt x="211" y="263"/>
                  </a:lnTo>
                  <a:lnTo>
                    <a:pt x="210" y="252"/>
                  </a:lnTo>
                  <a:lnTo>
                    <a:pt x="213" y="250"/>
                  </a:lnTo>
                  <a:lnTo>
                    <a:pt x="227" y="255"/>
                  </a:lnTo>
                  <a:lnTo>
                    <a:pt x="240" y="260"/>
                  </a:lnTo>
                  <a:lnTo>
                    <a:pt x="244" y="260"/>
                  </a:lnTo>
                  <a:lnTo>
                    <a:pt x="251" y="258"/>
                  </a:lnTo>
                  <a:lnTo>
                    <a:pt x="254" y="258"/>
                  </a:lnTo>
                  <a:lnTo>
                    <a:pt x="257" y="260"/>
                  </a:lnTo>
                  <a:lnTo>
                    <a:pt x="262" y="258"/>
                  </a:lnTo>
                  <a:lnTo>
                    <a:pt x="265" y="260"/>
                  </a:lnTo>
                  <a:lnTo>
                    <a:pt x="268" y="263"/>
                  </a:lnTo>
                  <a:lnTo>
                    <a:pt x="271" y="264"/>
                  </a:lnTo>
                  <a:lnTo>
                    <a:pt x="275" y="263"/>
                  </a:lnTo>
                  <a:lnTo>
                    <a:pt x="279" y="260"/>
                  </a:lnTo>
                  <a:lnTo>
                    <a:pt x="283" y="257"/>
                  </a:lnTo>
                  <a:lnTo>
                    <a:pt x="286" y="257"/>
                  </a:lnTo>
                  <a:lnTo>
                    <a:pt x="289" y="257"/>
                  </a:lnTo>
                  <a:lnTo>
                    <a:pt x="290" y="253"/>
                  </a:lnTo>
                  <a:lnTo>
                    <a:pt x="292" y="250"/>
                  </a:lnTo>
                  <a:lnTo>
                    <a:pt x="292" y="247"/>
                  </a:lnTo>
                  <a:lnTo>
                    <a:pt x="290" y="242"/>
                  </a:lnTo>
                  <a:lnTo>
                    <a:pt x="287" y="239"/>
                  </a:lnTo>
                  <a:lnTo>
                    <a:pt x="286" y="239"/>
                  </a:lnTo>
                  <a:lnTo>
                    <a:pt x="284" y="236"/>
                  </a:lnTo>
                  <a:lnTo>
                    <a:pt x="283" y="231"/>
                  </a:lnTo>
                  <a:lnTo>
                    <a:pt x="281" y="228"/>
                  </a:lnTo>
                  <a:lnTo>
                    <a:pt x="279" y="225"/>
                  </a:lnTo>
                  <a:lnTo>
                    <a:pt x="276" y="220"/>
                  </a:lnTo>
                  <a:lnTo>
                    <a:pt x="276" y="220"/>
                  </a:lnTo>
                  <a:lnTo>
                    <a:pt x="276" y="218"/>
                  </a:lnTo>
                  <a:lnTo>
                    <a:pt x="276" y="212"/>
                  </a:lnTo>
                  <a:lnTo>
                    <a:pt x="276" y="206"/>
                  </a:lnTo>
                  <a:lnTo>
                    <a:pt x="278" y="204"/>
                  </a:lnTo>
                  <a:lnTo>
                    <a:pt x="279" y="203"/>
                  </a:lnTo>
                  <a:lnTo>
                    <a:pt x="283" y="201"/>
                  </a:lnTo>
                  <a:lnTo>
                    <a:pt x="287" y="201"/>
                  </a:lnTo>
                  <a:lnTo>
                    <a:pt x="290" y="201"/>
                  </a:lnTo>
                  <a:lnTo>
                    <a:pt x="294" y="198"/>
                  </a:lnTo>
                  <a:lnTo>
                    <a:pt x="298" y="198"/>
                  </a:lnTo>
                  <a:lnTo>
                    <a:pt x="300" y="195"/>
                  </a:lnTo>
                  <a:lnTo>
                    <a:pt x="303" y="192"/>
                  </a:lnTo>
                  <a:lnTo>
                    <a:pt x="303" y="188"/>
                  </a:lnTo>
                  <a:lnTo>
                    <a:pt x="303" y="185"/>
                  </a:lnTo>
                  <a:lnTo>
                    <a:pt x="300" y="182"/>
                  </a:lnTo>
                  <a:lnTo>
                    <a:pt x="298" y="179"/>
                  </a:lnTo>
                  <a:lnTo>
                    <a:pt x="300" y="176"/>
                  </a:lnTo>
                  <a:lnTo>
                    <a:pt x="303" y="174"/>
                  </a:lnTo>
                  <a:lnTo>
                    <a:pt x="306" y="174"/>
                  </a:lnTo>
                  <a:lnTo>
                    <a:pt x="311" y="174"/>
                  </a:lnTo>
                  <a:lnTo>
                    <a:pt x="314" y="174"/>
                  </a:lnTo>
                  <a:lnTo>
                    <a:pt x="316" y="176"/>
                  </a:lnTo>
                  <a:lnTo>
                    <a:pt x="319" y="176"/>
                  </a:lnTo>
                  <a:lnTo>
                    <a:pt x="322" y="174"/>
                  </a:lnTo>
                  <a:lnTo>
                    <a:pt x="327" y="173"/>
                  </a:lnTo>
                  <a:lnTo>
                    <a:pt x="330" y="173"/>
                  </a:lnTo>
                  <a:lnTo>
                    <a:pt x="332" y="176"/>
                  </a:lnTo>
                  <a:lnTo>
                    <a:pt x="335" y="179"/>
                  </a:lnTo>
                  <a:lnTo>
                    <a:pt x="332" y="182"/>
                  </a:lnTo>
                  <a:lnTo>
                    <a:pt x="335" y="185"/>
                  </a:lnTo>
                  <a:lnTo>
                    <a:pt x="338" y="188"/>
                  </a:lnTo>
                  <a:lnTo>
                    <a:pt x="341" y="188"/>
                  </a:lnTo>
                  <a:lnTo>
                    <a:pt x="346" y="192"/>
                  </a:lnTo>
                  <a:lnTo>
                    <a:pt x="343" y="195"/>
                  </a:lnTo>
                  <a:lnTo>
                    <a:pt x="352" y="198"/>
                  </a:lnTo>
                  <a:lnTo>
                    <a:pt x="360" y="203"/>
                  </a:lnTo>
                  <a:lnTo>
                    <a:pt x="365" y="203"/>
                  </a:lnTo>
                  <a:lnTo>
                    <a:pt x="368" y="206"/>
                  </a:lnTo>
                  <a:lnTo>
                    <a:pt x="370" y="211"/>
                  </a:lnTo>
                  <a:lnTo>
                    <a:pt x="373" y="212"/>
                  </a:lnTo>
                  <a:lnTo>
                    <a:pt x="376" y="214"/>
                  </a:lnTo>
                  <a:lnTo>
                    <a:pt x="379" y="214"/>
                  </a:lnTo>
                  <a:lnTo>
                    <a:pt x="384" y="215"/>
                  </a:lnTo>
                  <a:lnTo>
                    <a:pt x="387" y="218"/>
                  </a:lnTo>
                  <a:lnTo>
                    <a:pt x="390" y="218"/>
                  </a:lnTo>
                  <a:lnTo>
                    <a:pt x="394" y="218"/>
                  </a:lnTo>
                  <a:lnTo>
                    <a:pt x="397" y="217"/>
                  </a:lnTo>
                  <a:lnTo>
                    <a:pt x="401" y="217"/>
                  </a:lnTo>
                  <a:lnTo>
                    <a:pt x="405" y="218"/>
                  </a:lnTo>
                  <a:lnTo>
                    <a:pt x="408" y="222"/>
                  </a:lnTo>
                  <a:lnTo>
                    <a:pt x="411" y="223"/>
                  </a:lnTo>
                  <a:lnTo>
                    <a:pt x="414" y="225"/>
                  </a:lnTo>
                  <a:lnTo>
                    <a:pt x="419" y="225"/>
                  </a:lnTo>
                  <a:lnTo>
                    <a:pt x="419" y="223"/>
                  </a:lnTo>
                  <a:lnTo>
                    <a:pt x="424" y="225"/>
                  </a:lnTo>
                  <a:lnTo>
                    <a:pt x="425" y="228"/>
                  </a:lnTo>
                  <a:lnTo>
                    <a:pt x="428" y="230"/>
                  </a:lnTo>
                  <a:lnTo>
                    <a:pt x="432" y="231"/>
                  </a:lnTo>
                  <a:lnTo>
                    <a:pt x="435" y="233"/>
                  </a:lnTo>
                  <a:lnTo>
                    <a:pt x="438" y="236"/>
                  </a:lnTo>
                  <a:lnTo>
                    <a:pt x="441" y="239"/>
                  </a:lnTo>
                  <a:lnTo>
                    <a:pt x="443" y="242"/>
                  </a:lnTo>
                  <a:lnTo>
                    <a:pt x="444" y="245"/>
                  </a:lnTo>
                  <a:lnTo>
                    <a:pt x="447" y="249"/>
                  </a:lnTo>
                  <a:lnTo>
                    <a:pt x="454" y="255"/>
                  </a:lnTo>
                  <a:lnTo>
                    <a:pt x="459" y="258"/>
                  </a:lnTo>
                  <a:lnTo>
                    <a:pt x="462" y="260"/>
                  </a:lnTo>
                  <a:lnTo>
                    <a:pt x="465" y="263"/>
                  </a:lnTo>
                  <a:lnTo>
                    <a:pt x="468" y="266"/>
                  </a:lnTo>
                  <a:lnTo>
                    <a:pt x="471" y="268"/>
                  </a:lnTo>
                  <a:lnTo>
                    <a:pt x="473" y="272"/>
                  </a:lnTo>
                  <a:lnTo>
                    <a:pt x="474" y="276"/>
                  </a:lnTo>
                  <a:lnTo>
                    <a:pt x="474" y="282"/>
                  </a:lnTo>
                  <a:lnTo>
                    <a:pt x="474" y="287"/>
                  </a:lnTo>
                  <a:lnTo>
                    <a:pt x="478" y="290"/>
                  </a:lnTo>
                  <a:lnTo>
                    <a:pt x="481" y="293"/>
                  </a:lnTo>
                  <a:lnTo>
                    <a:pt x="481" y="293"/>
                  </a:lnTo>
                  <a:lnTo>
                    <a:pt x="481" y="295"/>
                  </a:lnTo>
                  <a:lnTo>
                    <a:pt x="482" y="298"/>
                  </a:lnTo>
                  <a:lnTo>
                    <a:pt x="481" y="301"/>
                  </a:lnTo>
                  <a:lnTo>
                    <a:pt x="478" y="306"/>
                  </a:lnTo>
                  <a:lnTo>
                    <a:pt x="478" y="310"/>
                  </a:lnTo>
                  <a:lnTo>
                    <a:pt x="478" y="314"/>
                  </a:lnTo>
                  <a:lnTo>
                    <a:pt x="479" y="318"/>
                  </a:lnTo>
                  <a:lnTo>
                    <a:pt x="486" y="323"/>
                  </a:lnTo>
                  <a:lnTo>
                    <a:pt x="493" y="331"/>
                  </a:lnTo>
                  <a:lnTo>
                    <a:pt x="497" y="329"/>
                  </a:lnTo>
                  <a:lnTo>
                    <a:pt x="500" y="331"/>
                  </a:lnTo>
                  <a:lnTo>
                    <a:pt x="505" y="333"/>
                  </a:lnTo>
                  <a:lnTo>
                    <a:pt x="508" y="334"/>
                  </a:lnTo>
                  <a:lnTo>
                    <a:pt x="509" y="333"/>
                  </a:lnTo>
                  <a:lnTo>
                    <a:pt x="514" y="334"/>
                  </a:lnTo>
                  <a:lnTo>
                    <a:pt x="517" y="336"/>
                  </a:lnTo>
                  <a:lnTo>
                    <a:pt x="520" y="336"/>
                  </a:lnTo>
                  <a:lnTo>
                    <a:pt x="524" y="336"/>
                  </a:lnTo>
                  <a:lnTo>
                    <a:pt x="528" y="336"/>
                  </a:lnTo>
                  <a:lnTo>
                    <a:pt x="532" y="336"/>
                  </a:lnTo>
                  <a:lnTo>
                    <a:pt x="535" y="337"/>
                  </a:lnTo>
                  <a:lnTo>
                    <a:pt x="538" y="337"/>
                  </a:lnTo>
                  <a:lnTo>
                    <a:pt x="546" y="339"/>
                  </a:lnTo>
                  <a:lnTo>
                    <a:pt x="563" y="337"/>
                  </a:lnTo>
                  <a:lnTo>
                    <a:pt x="581" y="341"/>
                  </a:lnTo>
                  <a:lnTo>
                    <a:pt x="590" y="345"/>
                  </a:lnTo>
                  <a:lnTo>
                    <a:pt x="600" y="352"/>
                  </a:lnTo>
                  <a:lnTo>
                    <a:pt x="600" y="352"/>
                  </a:lnTo>
                  <a:lnTo>
                    <a:pt x="603" y="352"/>
                  </a:lnTo>
                  <a:lnTo>
                    <a:pt x="608" y="352"/>
                  </a:lnTo>
                  <a:lnTo>
                    <a:pt x="611" y="355"/>
                  </a:lnTo>
                  <a:lnTo>
                    <a:pt x="616" y="358"/>
                  </a:lnTo>
                  <a:lnTo>
                    <a:pt x="619" y="358"/>
                  </a:lnTo>
                  <a:lnTo>
                    <a:pt x="625" y="361"/>
                  </a:lnTo>
                  <a:lnTo>
                    <a:pt x="628" y="364"/>
                  </a:lnTo>
                  <a:lnTo>
                    <a:pt x="633" y="366"/>
                  </a:lnTo>
                  <a:lnTo>
                    <a:pt x="644" y="368"/>
                  </a:lnTo>
                  <a:lnTo>
                    <a:pt x="654" y="368"/>
                  </a:lnTo>
                  <a:lnTo>
                    <a:pt x="652" y="371"/>
                  </a:lnTo>
                  <a:lnTo>
                    <a:pt x="654" y="375"/>
                  </a:lnTo>
                  <a:lnTo>
                    <a:pt x="655" y="379"/>
                  </a:lnTo>
                  <a:lnTo>
                    <a:pt x="658" y="379"/>
                  </a:lnTo>
                  <a:lnTo>
                    <a:pt x="662" y="380"/>
                  </a:lnTo>
                  <a:lnTo>
                    <a:pt x="666" y="383"/>
                  </a:lnTo>
                  <a:lnTo>
                    <a:pt x="668" y="387"/>
                  </a:lnTo>
                  <a:lnTo>
                    <a:pt x="676" y="396"/>
                  </a:lnTo>
                  <a:lnTo>
                    <a:pt x="682" y="404"/>
                  </a:lnTo>
                  <a:lnTo>
                    <a:pt x="685" y="407"/>
                  </a:lnTo>
                  <a:lnTo>
                    <a:pt x="689" y="410"/>
                  </a:lnTo>
                  <a:lnTo>
                    <a:pt x="692" y="414"/>
                  </a:lnTo>
                  <a:lnTo>
                    <a:pt x="695" y="415"/>
                  </a:lnTo>
                  <a:lnTo>
                    <a:pt x="703" y="420"/>
                  </a:lnTo>
                  <a:lnTo>
                    <a:pt x="704" y="421"/>
                  </a:lnTo>
                  <a:lnTo>
                    <a:pt x="706" y="423"/>
                  </a:lnTo>
                  <a:lnTo>
                    <a:pt x="709" y="431"/>
                  </a:lnTo>
                  <a:lnTo>
                    <a:pt x="727" y="429"/>
                  </a:lnTo>
                  <a:lnTo>
                    <a:pt x="742" y="428"/>
                  </a:lnTo>
                  <a:lnTo>
                    <a:pt x="758" y="431"/>
                  </a:lnTo>
                  <a:lnTo>
                    <a:pt x="773" y="434"/>
                  </a:lnTo>
                  <a:lnTo>
                    <a:pt x="790" y="434"/>
                  </a:lnTo>
                  <a:lnTo>
                    <a:pt x="808" y="436"/>
                  </a:lnTo>
                  <a:lnTo>
                    <a:pt x="814" y="437"/>
                  </a:lnTo>
                  <a:lnTo>
                    <a:pt x="819" y="436"/>
                  </a:lnTo>
                  <a:lnTo>
                    <a:pt x="823" y="434"/>
                  </a:lnTo>
                  <a:lnTo>
                    <a:pt x="830" y="431"/>
                  </a:lnTo>
                  <a:lnTo>
                    <a:pt x="841" y="433"/>
                  </a:lnTo>
                  <a:lnTo>
                    <a:pt x="852" y="434"/>
                  </a:lnTo>
                  <a:lnTo>
                    <a:pt x="858" y="436"/>
                  </a:lnTo>
                  <a:lnTo>
                    <a:pt x="863" y="437"/>
                  </a:lnTo>
                  <a:lnTo>
                    <a:pt x="868" y="437"/>
                  </a:lnTo>
                  <a:lnTo>
                    <a:pt x="873" y="437"/>
                  </a:lnTo>
                  <a:lnTo>
                    <a:pt x="876" y="437"/>
                  </a:lnTo>
                  <a:lnTo>
                    <a:pt x="880" y="437"/>
                  </a:lnTo>
                  <a:lnTo>
                    <a:pt x="885" y="437"/>
                  </a:lnTo>
                  <a:lnTo>
                    <a:pt x="888" y="439"/>
                  </a:lnTo>
                  <a:lnTo>
                    <a:pt x="896" y="445"/>
                  </a:lnTo>
                  <a:lnTo>
                    <a:pt x="903" y="452"/>
                  </a:lnTo>
                  <a:lnTo>
                    <a:pt x="906" y="452"/>
                  </a:lnTo>
                  <a:lnTo>
                    <a:pt x="912" y="453"/>
                  </a:lnTo>
                  <a:lnTo>
                    <a:pt x="926" y="456"/>
                  </a:lnTo>
                  <a:lnTo>
                    <a:pt x="939" y="460"/>
                  </a:lnTo>
                  <a:lnTo>
                    <a:pt x="945" y="460"/>
                  </a:lnTo>
                  <a:lnTo>
                    <a:pt x="949" y="463"/>
                  </a:lnTo>
                  <a:lnTo>
                    <a:pt x="952" y="463"/>
                  </a:lnTo>
                  <a:lnTo>
                    <a:pt x="957" y="464"/>
                  </a:lnTo>
                  <a:lnTo>
                    <a:pt x="963" y="467"/>
                  </a:lnTo>
                  <a:lnTo>
                    <a:pt x="966" y="469"/>
                  </a:lnTo>
                  <a:lnTo>
                    <a:pt x="971" y="469"/>
                  </a:lnTo>
                  <a:lnTo>
                    <a:pt x="979" y="467"/>
                  </a:lnTo>
                  <a:lnTo>
                    <a:pt x="982" y="467"/>
                  </a:lnTo>
                  <a:lnTo>
                    <a:pt x="985" y="466"/>
                  </a:lnTo>
                  <a:lnTo>
                    <a:pt x="990" y="466"/>
                  </a:lnTo>
                  <a:lnTo>
                    <a:pt x="993" y="467"/>
                  </a:lnTo>
                  <a:lnTo>
                    <a:pt x="995" y="471"/>
                  </a:lnTo>
                  <a:lnTo>
                    <a:pt x="998" y="474"/>
                  </a:lnTo>
                  <a:lnTo>
                    <a:pt x="1001" y="474"/>
                  </a:lnTo>
                  <a:lnTo>
                    <a:pt x="1009" y="474"/>
                  </a:lnTo>
                  <a:lnTo>
                    <a:pt x="1012" y="477"/>
                  </a:lnTo>
                  <a:lnTo>
                    <a:pt x="1020" y="469"/>
                  </a:lnTo>
                  <a:lnTo>
                    <a:pt x="1030" y="463"/>
                  </a:lnTo>
                  <a:lnTo>
                    <a:pt x="1042" y="456"/>
                  </a:lnTo>
                  <a:lnTo>
                    <a:pt x="1055" y="450"/>
                  </a:lnTo>
                  <a:lnTo>
                    <a:pt x="1058" y="447"/>
                  </a:lnTo>
                  <a:lnTo>
                    <a:pt x="1066" y="447"/>
                  </a:lnTo>
                  <a:lnTo>
                    <a:pt x="1069" y="445"/>
                  </a:lnTo>
                  <a:lnTo>
                    <a:pt x="1074" y="445"/>
                  </a:lnTo>
                  <a:lnTo>
                    <a:pt x="1080" y="444"/>
                  </a:lnTo>
                  <a:lnTo>
                    <a:pt x="1087" y="442"/>
                  </a:lnTo>
                  <a:lnTo>
                    <a:pt x="1090" y="442"/>
                  </a:lnTo>
                  <a:lnTo>
                    <a:pt x="1093" y="444"/>
                  </a:lnTo>
                  <a:lnTo>
                    <a:pt x="1098" y="442"/>
                  </a:lnTo>
                  <a:lnTo>
                    <a:pt x="1101" y="442"/>
                  </a:lnTo>
                  <a:lnTo>
                    <a:pt x="1104" y="441"/>
                  </a:lnTo>
                  <a:lnTo>
                    <a:pt x="1107" y="442"/>
                  </a:lnTo>
                  <a:lnTo>
                    <a:pt x="1112" y="442"/>
                  </a:lnTo>
                  <a:lnTo>
                    <a:pt x="1115" y="442"/>
                  </a:lnTo>
                  <a:lnTo>
                    <a:pt x="1118" y="442"/>
                  </a:lnTo>
                  <a:lnTo>
                    <a:pt x="1122" y="444"/>
                  </a:lnTo>
                  <a:lnTo>
                    <a:pt x="1125" y="444"/>
                  </a:lnTo>
                  <a:lnTo>
                    <a:pt x="1129" y="441"/>
                  </a:lnTo>
                  <a:lnTo>
                    <a:pt x="1133" y="442"/>
                  </a:lnTo>
                  <a:lnTo>
                    <a:pt x="1137" y="442"/>
                  </a:lnTo>
                  <a:lnTo>
                    <a:pt x="1141" y="442"/>
                  </a:lnTo>
                  <a:lnTo>
                    <a:pt x="1144" y="442"/>
                  </a:lnTo>
                  <a:lnTo>
                    <a:pt x="1144" y="441"/>
                  </a:lnTo>
                  <a:lnTo>
                    <a:pt x="1147" y="439"/>
                  </a:lnTo>
                  <a:lnTo>
                    <a:pt x="1152" y="436"/>
                  </a:lnTo>
                  <a:lnTo>
                    <a:pt x="1155" y="434"/>
                  </a:lnTo>
                  <a:lnTo>
                    <a:pt x="1158" y="434"/>
                  </a:lnTo>
                  <a:lnTo>
                    <a:pt x="1161" y="434"/>
                  </a:lnTo>
                  <a:lnTo>
                    <a:pt x="1166" y="431"/>
                  </a:lnTo>
                  <a:lnTo>
                    <a:pt x="1169" y="429"/>
                  </a:lnTo>
                  <a:lnTo>
                    <a:pt x="1171" y="426"/>
                  </a:lnTo>
                  <a:lnTo>
                    <a:pt x="1172" y="421"/>
                  </a:lnTo>
                  <a:lnTo>
                    <a:pt x="1174" y="418"/>
                  </a:lnTo>
                  <a:lnTo>
                    <a:pt x="1175" y="415"/>
                  </a:lnTo>
                  <a:lnTo>
                    <a:pt x="1177" y="412"/>
                  </a:lnTo>
                  <a:lnTo>
                    <a:pt x="1177" y="407"/>
                  </a:lnTo>
                  <a:lnTo>
                    <a:pt x="1182" y="404"/>
                  </a:lnTo>
                  <a:lnTo>
                    <a:pt x="1185" y="402"/>
                  </a:lnTo>
                  <a:lnTo>
                    <a:pt x="1188" y="401"/>
                  </a:lnTo>
                  <a:lnTo>
                    <a:pt x="1190" y="399"/>
                  </a:lnTo>
                  <a:lnTo>
                    <a:pt x="1193" y="399"/>
                  </a:lnTo>
                  <a:lnTo>
                    <a:pt x="1196" y="396"/>
                  </a:lnTo>
                  <a:lnTo>
                    <a:pt x="1198" y="393"/>
                  </a:lnTo>
                  <a:lnTo>
                    <a:pt x="1201" y="393"/>
                  </a:lnTo>
                  <a:lnTo>
                    <a:pt x="1201" y="391"/>
                  </a:lnTo>
                  <a:lnTo>
                    <a:pt x="1202" y="391"/>
                  </a:lnTo>
                  <a:lnTo>
                    <a:pt x="1201" y="388"/>
                  </a:lnTo>
                  <a:lnTo>
                    <a:pt x="1198" y="383"/>
                  </a:lnTo>
                  <a:lnTo>
                    <a:pt x="1194" y="380"/>
                  </a:lnTo>
                  <a:lnTo>
                    <a:pt x="1191" y="379"/>
                  </a:lnTo>
                  <a:lnTo>
                    <a:pt x="1187" y="377"/>
                  </a:lnTo>
                  <a:lnTo>
                    <a:pt x="1183" y="374"/>
                  </a:lnTo>
                  <a:lnTo>
                    <a:pt x="1180" y="371"/>
                  </a:lnTo>
                  <a:lnTo>
                    <a:pt x="1177" y="368"/>
                  </a:lnTo>
                  <a:lnTo>
                    <a:pt x="1174" y="366"/>
                  </a:lnTo>
                  <a:lnTo>
                    <a:pt x="1171" y="363"/>
                  </a:lnTo>
                  <a:lnTo>
                    <a:pt x="1172" y="358"/>
                  </a:lnTo>
                  <a:lnTo>
                    <a:pt x="1172" y="355"/>
                  </a:lnTo>
                  <a:lnTo>
                    <a:pt x="1171" y="352"/>
                  </a:lnTo>
                  <a:lnTo>
                    <a:pt x="1171" y="349"/>
                  </a:lnTo>
                  <a:lnTo>
                    <a:pt x="1171" y="344"/>
                  </a:lnTo>
                  <a:lnTo>
                    <a:pt x="1171" y="341"/>
                  </a:lnTo>
                  <a:lnTo>
                    <a:pt x="1171" y="339"/>
                  </a:lnTo>
                  <a:lnTo>
                    <a:pt x="1175" y="336"/>
                  </a:lnTo>
                  <a:lnTo>
                    <a:pt x="1179" y="334"/>
                  </a:lnTo>
                  <a:lnTo>
                    <a:pt x="1182" y="336"/>
                  </a:lnTo>
                  <a:lnTo>
                    <a:pt x="1185" y="336"/>
                  </a:lnTo>
                  <a:lnTo>
                    <a:pt x="1191" y="336"/>
                  </a:lnTo>
                  <a:lnTo>
                    <a:pt x="1196" y="339"/>
                  </a:lnTo>
                  <a:lnTo>
                    <a:pt x="1196" y="339"/>
                  </a:lnTo>
                  <a:lnTo>
                    <a:pt x="1199" y="342"/>
                  </a:lnTo>
                  <a:lnTo>
                    <a:pt x="1204" y="342"/>
                  </a:lnTo>
                  <a:lnTo>
                    <a:pt x="1220" y="347"/>
                  </a:lnTo>
                  <a:lnTo>
                    <a:pt x="1236" y="349"/>
                  </a:lnTo>
                  <a:lnTo>
                    <a:pt x="1239" y="345"/>
                  </a:lnTo>
                  <a:lnTo>
                    <a:pt x="1242" y="342"/>
                  </a:lnTo>
                  <a:lnTo>
                    <a:pt x="1245" y="342"/>
                  </a:lnTo>
                  <a:lnTo>
                    <a:pt x="1247" y="339"/>
                  </a:lnTo>
                  <a:lnTo>
                    <a:pt x="1250" y="334"/>
                  </a:lnTo>
                  <a:lnTo>
                    <a:pt x="1252" y="331"/>
                  </a:lnTo>
                  <a:lnTo>
                    <a:pt x="1253" y="328"/>
                  </a:lnTo>
                  <a:lnTo>
                    <a:pt x="1253" y="325"/>
                  </a:lnTo>
                  <a:lnTo>
                    <a:pt x="1256" y="322"/>
                  </a:lnTo>
                  <a:lnTo>
                    <a:pt x="1260" y="322"/>
                  </a:lnTo>
                  <a:lnTo>
                    <a:pt x="1264" y="323"/>
                  </a:lnTo>
                  <a:lnTo>
                    <a:pt x="1267" y="323"/>
                  </a:lnTo>
                  <a:lnTo>
                    <a:pt x="1275" y="322"/>
                  </a:lnTo>
                  <a:lnTo>
                    <a:pt x="1285" y="322"/>
                  </a:lnTo>
                  <a:lnTo>
                    <a:pt x="1288" y="320"/>
                  </a:lnTo>
                  <a:lnTo>
                    <a:pt x="1290" y="315"/>
                  </a:lnTo>
                  <a:lnTo>
                    <a:pt x="1293" y="312"/>
                  </a:lnTo>
                  <a:lnTo>
                    <a:pt x="1298" y="310"/>
                  </a:lnTo>
                  <a:lnTo>
                    <a:pt x="1299" y="307"/>
                  </a:lnTo>
                  <a:lnTo>
                    <a:pt x="1301" y="307"/>
                  </a:lnTo>
                  <a:lnTo>
                    <a:pt x="1296" y="303"/>
                  </a:lnTo>
                  <a:lnTo>
                    <a:pt x="1296" y="299"/>
                  </a:lnTo>
                  <a:lnTo>
                    <a:pt x="1296" y="296"/>
                  </a:lnTo>
                  <a:lnTo>
                    <a:pt x="1298" y="293"/>
                  </a:lnTo>
                  <a:lnTo>
                    <a:pt x="1299" y="288"/>
                  </a:lnTo>
                  <a:lnTo>
                    <a:pt x="1301" y="285"/>
                  </a:lnTo>
                  <a:lnTo>
                    <a:pt x="1306" y="284"/>
                  </a:lnTo>
                  <a:lnTo>
                    <a:pt x="1309" y="284"/>
                  </a:lnTo>
                  <a:lnTo>
                    <a:pt x="1312" y="284"/>
                  </a:lnTo>
                  <a:lnTo>
                    <a:pt x="1315" y="284"/>
                  </a:lnTo>
                  <a:lnTo>
                    <a:pt x="1320" y="284"/>
                  </a:lnTo>
                  <a:lnTo>
                    <a:pt x="1320" y="284"/>
                  </a:lnTo>
                  <a:lnTo>
                    <a:pt x="1321" y="280"/>
                  </a:lnTo>
                  <a:lnTo>
                    <a:pt x="1321" y="277"/>
                  </a:lnTo>
                  <a:lnTo>
                    <a:pt x="1325" y="274"/>
                  </a:lnTo>
                  <a:lnTo>
                    <a:pt x="1329" y="277"/>
                  </a:lnTo>
                  <a:lnTo>
                    <a:pt x="1332" y="277"/>
                  </a:lnTo>
                  <a:lnTo>
                    <a:pt x="1336" y="274"/>
                  </a:lnTo>
                  <a:lnTo>
                    <a:pt x="1339" y="272"/>
                  </a:lnTo>
                  <a:lnTo>
                    <a:pt x="1342" y="271"/>
                  </a:lnTo>
                  <a:lnTo>
                    <a:pt x="1345" y="269"/>
                  </a:lnTo>
                  <a:lnTo>
                    <a:pt x="1350" y="269"/>
                  </a:lnTo>
                  <a:lnTo>
                    <a:pt x="1353" y="271"/>
                  </a:lnTo>
                  <a:lnTo>
                    <a:pt x="1356" y="269"/>
                  </a:lnTo>
                  <a:lnTo>
                    <a:pt x="1359" y="271"/>
                  </a:lnTo>
                  <a:lnTo>
                    <a:pt x="1363" y="268"/>
                  </a:lnTo>
                  <a:lnTo>
                    <a:pt x="1371" y="271"/>
                  </a:lnTo>
                  <a:lnTo>
                    <a:pt x="1380" y="274"/>
                  </a:lnTo>
                  <a:lnTo>
                    <a:pt x="1383" y="272"/>
                  </a:lnTo>
                  <a:lnTo>
                    <a:pt x="1386" y="272"/>
                  </a:lnTo>
                  <a:lnTo>
                    <a:pt x="1390" y="274"/>
                  </a:lnTo>
                  <a:lnTo>
                    <a:pt x="1394" y="274"/>
                  </a:lnTo>
                  <a:lnTo>
                    <a:pt x="1397" y="272"/>
                  </a:lnTo>
                  <a:lnTo>
                    <a:pt x="1396" y="268"/>
                  </a:lnTo>
                  <a:lnTo>
                    <a:pt x="1394" y="264"/>
                  </a:lnTo>
                  <a:lnTo>
                    <a:pt x="1391" y="261"/>
                  </a:lnTo>
                  <a:lnTo>
                    <a:pt x="1388" y="258"/>
                  </a:lnTo>
                  <a:lnTo>
                    <a:pt x="1380" y="252"/>
                  </a:lnTo>
                  <a:lnTo>
                    <a:pt x="1371" y="245"/>
                  </a:lnTo>
                  <a:lnTo>
                    <a:pt x="1369" y="245"/>
                  </a:lnTo>
                  <a:lnTo>
                    <a:pt x="1366" y="244"/>
                  </a:lnTo>
                  <a:lnTo>
                    <a:pt x="1363" y="242"/>
                  </a:lnTo>
                  <a:lnTo>
                    <a:pt x="1363" y="242"/>
                  </a:lnTo>
                  <a:lnTo>
                    <a:pt x="1358" y="239"/>
                  </a:lnTo>
                  <a:lnTo>
                    <a:pt x="1355" y="238"/>
                  </a:lnTo>
                  <a:lnTo>
                    <a:pt x="1352" y="234"/>
                  </a:lnTo>
                  <a:lnTo>
                    <a:pt x="1348" y="231"/>
                  </a:lnTo>
                  <a:lnTo>
                    <a:pt x="1344" y="230"/>
                  </a:lnTo>
                  <a:lnTo>
                    <a:pt x="1334" y="226"/>
                  </a:lnTo>
                  <a:lnTo>
                    <a:pt x="1331" y="223"/>
                  </a:lnTo>
                  <a:lnTo>
                    <a:pt x="1325" y="220"/>
                  </a:lnTo>
                  <a:lnTo>
                    <a:pt x="1310" y="217"/>
                  </a:lnTo>
                  <a:lnTo>
                    <a:pt x="1307" y="218"/>
                  </a:lnTo>
                  <a:lnTo>
                    <a:pt x="1306" y="218"/>
                  </a:lnTo>
                  <a:lnTo>
                    <a:pt x="1304" y="218"/>
                  </a:lnTo>
                  <a:lnTo>
                    <a:pt x="1301" y="220"/>
                  </a:lnTo>
                  <a:lnTo>
                    <a:pt x="1299" y="222"/>
                  </a:lnTo>
                  <a:lnTo>
                    <a:pt x="1298" y="225"/>
                  </a:lnTo>
                  <a:lnTo>
                    <a:pt x="1296" y="228"/>
                  </a:lnTo>
                  <a:lnTo>
                    <a:pt x="1296" y="228"/>
                  </a:lnTo>
                  <a:lnTo>
                    <a:pt x="1293" y="231"/>
                  </a:lnTo>
                  <a:lnTo>
                    <a:pt x="1290" y="230"/>
                  </a:lnTo>
                  <a:lnTo>
                    <a:pt x="1285" y="228"/>
                  </a:lnTo>
                  <a:lnTo>
                    <a:pt x="1282" y="225"/>
                  </a:lnTo>
                  <a:lnTo>
                    <a:pt x="1279" y="225"/>
                  </a:lnTo>
                  <a:lnTo>
                    <a:pt x="1274" y="223"/>
                  </a:lnTo>
                  <a:lnTo>
                    <a:pt x="1271" y="223"/>
                  </a:lnTo>
                  <a:lnTo>
                    <a:pt x="1263" y="225"/>
                  </a:lnTo>
                  <a:lnTo>
                    <a:pt x="1260" y="225"/>
                  </a:lnTo>
                  <a:lnTo>
                    <a:pt x="1256" y="223"/>
                  </a:lnTo>
                  <a:lnTo>
                    <a:pt x="1252" y="225"/>
                  </a:lnTo>
                  <a:lnTo>
                    <a:pt x="1250" y="228"/>
                  </a:lnTo>
                  <a:lnTo>
                    <a:pt x="1247" y="230"/>
                  </a:lnTo>
                  <a:lnTo>
                    <a:pt x="1244" y="228"/>
                  </a:lnTo>
                  <a:lnTo>
                    <a:pt x="1240" y="226"/>
                  </a:lnTo>
                  <a:lnTo>
                    <a:pt x="1233" y="222"/>
                  </a:lnTo>
                  <a:lnTo>
                    <a:pt x="1231" y="218"/>
                  </a:lnTo>
                  <a:lnTo>
                    <a:pt x="1228" y="217"/>
                  </a:lnTo>
                  <a:lnTo>
                    <a:pt x="1228" y="215"/>
                  </a:lnTo>
                  <a:lnTo>
                    <a:pt x="1229" y="211"/>
                  </a:lnTo>
                  <a:lnTo>
                    <a:pt x="1233" y="209"/>
                  </a:lnTo>
                  <a:lnTo>
                    <a:pt x="1231" y="204"/>
                  </a:lnTo>
                  <a:lnTo>
                    <a:pt x="1229" y="201"/>
                  </a:lnTo>
                  <a:lnTo>
                    <a:pt x="1226" y="198"/>
                  </a:lnTo>
                  <a:lnTo>
                    <a:pt x="1226" y="195"/>
                  </a:lnTo>
                  <a:lnTo>
                    <a:pt x="1228" y="192"/>
                  </a:lnTo>
                  <a:lnTo>
                    <a:pt x="1228" y="188"/>
                  </a:lnTo>
                  <a:lnTo>
                    <a:pt x="1226" y="184"/>
                  </a:lnTo>
                  <a:lnTo>
                    <a:pt x="1226" y="180"/>
                  </a:lnTo>
                  <a:lnTo>
                    <a:pt x="1226" y="176"/>
                  </a:lnTo>
                  <a:lnTo>
                    <a:pt x="1226" y="161"/>
                  </a:lnTo>
                  <a:lnTo>
                    <a:pt x="1225" y="146"/>
                  </a:lnTo>
                  <a:lnTo>
                    <a:pt x="1237" y="150"/>
                  </a:lnTo>
                  <a:lnTo>
                    <a:pt x="1250" y="153"/>
                  </a:lnTo>
                  <a:lnTo>
                    <a:pt x="1255" y="153"/>
                  </a:lnTo>
                  <a:lnTo>
                    <a:pt x="1258" y="155"/>
                  </a:lnTo>
                  <a:lnTo>
                    <a:pt x="1261" y="157"/>
                  </a:lnTo>
                  <a:lnTo>
                    <a:pt x="1264" y="158"/>
                  </a:lnTo>
                  <a:lnTo>
                    <a:pt x="1267" y="158"/>
                  </a:lnTo>
                  <a:lnTo>
                    <a:pt x="1269" y="158"/>
                  </a:lnTo>
                  <a:lnTo>
                    <a:pt x="1272" y="155"/>
                  </a:lnTo>
                  <a:lnTo>
                    <a:pt x="1272" y="155"/>
                  </a:lnTo>
                  <a:lnTo>
                    <a:pt x="1275" y="150"/>
                  </a:lnTo>
                  <a:lnTo>
                    <a:pt x="1279" y="147"/>
                  </a:lnTo>
                  <a:lnTo>
                    <a:pt x="1280" y="144"/>
                  </a:lnTo>
                  <a:lnTo>
                    <a:pt x="1283" y="141"/>
                  </a:lnTo>
                  <a:lnTo>
                    <a:pt x="1286" y="141"/>
                  </a:lnTo>
                  <a:lnTo>
                    <a:pt x="1290" y="141"/>
                  </a:lnTo>
                  <a:lnTo>
                    <a:pt x="1294" y="141"/>
                  </a:lnTo>
                  <a:lnTo>
                    <a:pt x="1296" y="139"/>
                  </a:lnTo>
                  <a:lnTo>
                    <a:pt x="1298" y="139"/>
                  </a:lnTo>
                  <a:lnTo>
                    <a:pt x="1301" y="136"/>
                  </a:lnTo>
                  <a:lnTo>
                    <a:pt x="1301" y="133"/>
                  </a:lnTo>
                  <a:lnTo>
                    <a:pt x="1299" y="131"/>
                  </a:lnTo>
                  <a:lnTo>
                    <a:pt x="1296" y="128"/>
                  </a:lnTo>
                  <a:lnTo>
                    <a:pt x="1298" y="127"/>
                  </a:lnTo>
                  <a:lnTo>
                    <a:pt x="1293" y="125"/>
                  </a:lnTo>
                  <a:lnTo>
                    <a:pt x="1290" y="125"/>
                  </a:lnTo>
                  <a:lnTo>
                    <a:pt x="1290" y="122"/>
                  </a:lnTo>
                  <a:lnTo>
                    <a:pt x="1288" y="119"/>
                  </a:lnTo>
                  <a:lnTo>
                    <a:pt x="1288" y="114"/>
                  </a:lnTo>
                  <a:lnTo>
                    <a:pt x="1291" y="111"/>
                  </a:lnTo>
                  <a:lnTo>
                    <a:pt x="1290" y="107"/>
                  </a:lnTo>
                  <a:lnTo>
                    <a:pt x="1288" y="106"/>
                  </a:lnTo>
                  <a:lnTo>
                    <a:pt x="1288" y="103"/>
                  </a:lnTo>
                  <a:lnTo>
                    <a:pt x="1290" y="100"/>
                  </a:lnTo>
                  <a:lnTo>
                    <a:pt x="1290" y="96"/>
                  </a:lnTo>
                  <a:lnTo>
                    <a:pt x="1288" y="92"/>
                  </a:lnTo>
                  <a:lnTo>
                    <a:pt x="1288" y="88"/>
                  </a:lnTo>
                  <a:lnTo>
                    <a:pt x="1288" y="87"/>
                  </a:lnTo>
                  <a:lnTo>
                    <a:pt x="1288" y="84"/>
                  </a:lnTo>
                  <a:lnTo>
                    <a:pt x="1286" y="81"/>
                  </a:lnTo>
                  <a:lnTo>
                    <a:pt x="1286" y="76"/>
                  </a:lnTo>
                  <a:lnTo>
                    <a:pt x="1288" y="73"/>
                  </a:lnTo>
                  <a:lnTo>
                    <a:pt x="1290" y="69"/>
                  </a:lnTo>
                  <a:lnTo>
                    <a:pt x="1293" y="66"/>
                  </a:lnTo>
                  <a:lnTo>
                    <a:pt x="1296" y="65"/>
                  </a:lnTo>
                  <a:lnTo>
                    <a:pt x="1296" y="62"/>
                  </a:lnTo>
                  <a:lnTo>
                    <a:pt x="1294" y="58"/>
                  </a:lnTo>
                  <a:lnTo>
                    <a:pt x="1296" y="55"/>
                  </a:lnTo>
                  <a:lnTo>
                    <a:pt x="1293" y="52"/>
                  </a:lnTo>
                  <a:lnTo>
                    <a:pt x="1288" y="49"/>
                  </a:lnTo>
                  <a:lnTo>
                    <a:pt x="1285" y="47"/>
                  </a:lnTo>
                  <a:lnTo>
                    <a:pt x="1285" y="44"/>
                  </a:lnTo>
                  <a:lnTo>
                    <a:pt x="1283" y="41"/>
                  </a:lnTo>
                  <a:lnTo>
                    <a:pt x="1279" y="38"/>
                  </a:lnTo>
                  <a:lnTo>
                    <a:pt x="1275" y="36"/>
                  </a:lnTo>
                  <a:lnTo>
                    <a:pt x="1272" y="36"/>
                  </a:lnTo>
                  <a:lnTo>
                    <a:pt x="1269" y="36"/>
                  </a:lnTo>
                  <a:lnTo>
                    <a:pt x="1264" y="38"/>
                  </a:lnTo>
                  <a:lnTo>
                    <a:pt x="1261" y="38"/>
                  </a:lnTo>
                  <a:lnTo>
                    <a:pt x="1258" y="35"/>
                  </a:lnTo>
                  <a:lnTo>
                    <a:pt x="1255" y="30"/>
                  </a:lnTo>
                  <a:lnTo>
                    <a:pt x="1260" y="28"/>
                  </a:lnTo>
                  <a:lnTo>
                    <a:pt x="1261" y="25"/>
                  </a:lnTo>
                  <a:lnTo>
                    <a:pt x="1261" y="23"/>
                  </a:lnTo>
                  <a:lnTo>
                    <a:pt x="1263" y="20"/>
                  </a:lnTo>
                  <a:lnTo>
                    <a:pt x="1264" y="17"/>
                  </a:lnTo>
                  <a:lnTo>
                    <a:pt x="1266" y="14"/>
                  </a:lnTo>
                  <a:lnTo>
                    <a:pt x="1274" y="11"/>
                  </a:lnTo>
                  <a:lnTo>
                    <a:pt x="1285" y="8"/>
                  </a:lnTo>
                  <a:lnTo>
                    <a:pt x="1288" y="6"/>
                  </a:lnTo>
                  <a:lnTo>
                    <a:pt x="1293" y="6"/>
                  </a:lnTo>
                  <a:lnTo>
                    <a:pt x="1296" y="4"/>
                  </a:lnTo>
                  <a:lnTo>
                    <a:pt x="1299" y="6"/>
                  </a:lnTo>
                  <a:lnTo>
                    <a:pt x="1302" y="3"/>
                  </a:lnTo>
                  <a:lnTo>
                    <a:pt x="1306" y="3"/>
                  </a:lnTo>
                  <a:lnTo>
                    <a:pt x="1312" y="4"/>
                  </a:lnTo>
                  <a:lnTo>
                    <a:pt x="1318" y="4"/>
                  </a:lnTo>
                  <a:lnTo>
                    <a:pt x="1325" y="3"/>
                  </a:lnTo>
                  <a:lnTo>
                    <a:pt x="1331" y="1"/>
                  </a:lnTo>
                  <a:lnTo>
                    <a:pt x="1332" y="1"/>
                  </a:lnTo>
                  <a:lnTo>
                    <a:pt x="1336" y="0"/>
                  </a:lnTo>
                  <a:lnTo>
                    <a:pt x="1339" y="1"/>
                  </a:lnTo>
                  <a:lnTo>
                    <a:pt x="1342" y="1"/>
                  </a:lnTo>
                  <a:lnTo>
                    <a:pt x="1344" y="0"/>
                  </a:lnTo>
                  <a:lnTo>
                    <a:pt x="1347" y="1"/>
                  </a:lnTo>
                  <a:lnTo>
                    <a:pt x="1348" y="1"/>
                  </a:lnTo>
                  <a:lnTo>
                    <a:pt x="1350" y="3"/>
                  </a:lnTo>
                  <a:lnTo>
                    <a:pt x="1353" y="3"/>
                  </a:lnTo>
                  <a:lnTo>
                    <a:pt x="1356" y="4"/>
                  </a:lnTo>
                  <a:lnTo>
                    <a:pt x="1361" y="6"/>
                  </a:lnTo>
                  <a:lnTo>
                    <a:pt x="1364" y="8"/>
                  </a:lnTo>
                  <a:lnTo>
                    <a:pt x="1367" y="8"/>
                  </a:lnTo>
                  <a:lnTo>
                    <a:pt x="1371" y="9"/>
                  </a:lnTo>
                  <a:lnTo>
                    <a:pt x="1374" y="11"/>
                  </a:lnTo>
                  <a:lnTo>
                    <a:pt x="1377" y="12"/>
                  </a:lnTo>
                  <a:lnTo>
                    <a:pt x="1382" y="14"/>
                  </a:lnTo>
                  <a:lnTo>
                    <a:pt x="1385" y="14"/>
                  </a:lnTo>
                  <a:lnTo>
                    <a:pt x="1388" y="16"/>
                  </a:lnTo>
                  <a:lnTo>
                    <a:pt x="1391" y="16"/>
                  </a:lnTo>
                  <a:lnTo>
                    <a:pt x="1396" y="17"/>
                  </a:lnTo>
                  <a:lnTo>
                    <a:pt x="1396" y="14"/>
                  </a:lnTo>
                  <a:lnTo>
                    <a:pt x="1401" y="14"/>
                  </a:lnTo>
                  <a:lnTo>
                    <a:pt x="1405" y="16"/>
                  </a:lnTo>
                  <a:lnTo>
                    <a:pt x="1409" y="17"/>
                  </a:lnTo>
                  <a:lnTo>
                    <a:pt x="1412" y="17"/>
                  </a:lnTo>
                  <a:lnTo>
                    <a:pt x="1415" y="20"/>
                  </a:lnTo>
                  <a:lnTo>
                    <a:pt x="1420" y="19"/>
                  </a:lnTo>
                  <a:lnTo>
                    <a:pt x="1423" y="22"/>
                  </a:lnTo>
                  <a:lnTo>
                    <a:pt x="1424" y="25"/>
                  </a:lnTo>
                  <a:lnTo>
                    <a:pt x="1428" y="25"/>
                  </a:lnTo>
                  <a:lnTo>
                    <a:pt x="1431" y="25"/>
                  </a:lnTo>
                  <a:lnTo>
                    <a:pt x="1434" y="28"/>
                  </a:lnTo>
                  <a:lnTo>
                    <a:pt x="1437" y="30"/>
                  </a:lnTo>
                  <a:lnTo>
                    <a:pt x="1442" y="33"/>
                  </a:lnTo>
                  <a:lnTo>
                    <a:pt x="1442" y="36"/>
                  </a:lnTo>
                  <a:lnTo>
                    <a:pt x="1445" y="38"/>
                  </a:lnTo>
                  <a:lnTo>
                    <a:pt x="1450" y="39"/>
                  </a:lnTo>
                  <a:lnTo>
                    <a:pt x="1453" y="41"/>
                  </a:lnTo>
                  <a:lnTo>
                    <a:pt x="1456" y="42"/>
                  </a:lnTo>
                  <a:lnTo>
                    <a:pt x="1459" y="46"/>
                  </a:lnTo>
                  <a:lnTo>
                    <a:pt x="1461" y="49"/>
                  </a:lnTo>
                  <a:lnTo>
                    <a:pt x="1466" y="50"/>
                  </a:lnTo>
                  <a:lnTo>
                    <a:pt x="1467" y="54"/>
                  </a:lnTo>
                  <a:lnTo>
                    <a:pt x="1470" y="54"/>
                  </a:lnTo>
                  <a:lnTo>
                    <a:pt x="1474" y="57"/>
                  </a:lnTo>
                  <a:lnTo>
                    <a:pt x="1474" y="60"/>
                  </a:lnTo>
                  <a:lnTo>
                    <a:pt x="1482" y="66"/>
                  </a:lnTo>
                  <a:lnTo>
                    <a:pt x="1491" y="73"/>
                  </a:lnTo>
                  <a:lnTo>
                    <a:pt x="1493" y="74"/>
                  </a:lnTo>
                  <a:lnTo>
                    <a:pt x="1494" y="77"/>
                  </a:lnTo>
                  <a:lnTo>
                    <a:pt x="1499" y="79"/>
                  </a:lnTo>
                  <a:lnTo>
                    <a:pt x="1499" y="82"/>
                  </a:lnTo>
                  <a:lnTo>
                    <a:pt x="1504" y="84"/>
                  </a:lnTo>
                  <a:lnTo>
                    <a:pt x="1505" y="87"/>
                  </a:lnTo>
                  <a:lnTo>
                    <a:pt x="1509" y="88"/>
                  </a:lnTo>
                  <a:lnTo>
                    <a:pt x="1510" y="92"/>
                  </a:lnTo>
                  <a:lnTo>
                    <a:pt x="1513" y="96"/>
                  </a:lnTo>
                  <a:lnTo>
                    <a:pt x="1516" y="100"/>
                  </a:lnTo>
                  <a:lnTo>
                    <a:pt x="1520" y="101"/>
                  </a:lnTo>
                  <a:lnTo>
                    <a:pt x="1521" y="101"/>
                  </a:lnTo>
                  <a:lnTo>
                    <a:pt x="1532" y="109"/>
                  </a:lnTo>
                  <a:lnTo>
                    <a:pt x="1540" y="119"/>
                  </a:lnTo>
                  <a:lnTo>
                    <a:pt x="1543" y="123"/>
                  </a:lnTo>
                  <a:lnTo>
                    <a:pt x="1548" y="127"/>
                  </a:lnTo>
                  <a:lnTo>
                    <a:pt x="1551" y="130"/>
                  </a:lnTo>
                  <a:lnTo>
                    <a:pt x="1558" y="131"/>
                  </a:lnTo>
                  <a:lnTo>
                    <a:pt x="1558" y="133"/>
                  </a:lnTo>
                  <a:lnTo>
                    <a:pt x="1558" y="136"/>
                  </a:lnTo>
                  <a:lnTo>
                    <a:pt x="1559" y="139"/>
                  </a:lnTo>
                  <a:lnTo>
                    <a:pt x="1561" y="141"/>
                  </a:lnTo>
                  <a:lnTo>
                    <a:pt x="1564" y="144"/>
                  </a:lnTo>
                  <a:lnTo>
                    <a:pt x="1566" y="147"/>
                  </a:lnTo>
                  <a:lnTo>
                    <a:pt x="1569" y="149"/>
                  </a:lnTo>
                  <a:lnTo>
                    <a:pt x="1574" y="152"/>
                  </a:lnTo>
                  <a:lnTo>
                    <a:pt x="1577" y="153"/>
                  </a:lnTo>
                  <a:lnTo>
                    <a:pt x="1580" y="155"/>
                  </a:lnTo>
                  <a:lnTo>
                    <a:pt x="1583" y="155"/>
                  </a:lnTo>
                  <a:lnTo>
                    <a:pt x="1586" y="157"/>
                  </a:lnTo>
                  <a:lnTo>
                    <a:pt x="1591" y="157"/>
                  </a:lnTo>
                  <a:lnTo>
                    <a:pt x="1597" y="157"/>
                  </a:lnTo>
                  <a:lnTo>
                    <a:pt x="1599" y="155"/>
                  </a:lnTo>
                  <a:lnTo>
                    <a:pt x="1602" y="155"/>
                  </a:lnTo>
                  <a:lnTo>
                    <a:pt x="1605" y="157"/>
                  </a:lnTo>
                  <a:lnTo>
                    <a:pt x="1605" y="155"/>
                  </a:lnTo>
                  <a:lnTo>
                    <a:pt x="1607" y="155"/>
                  </a:lnTo>
                  <a:lnTo>
                    <a:pt x="1608" y="155"/>
                  </a:lnTo>
                  <a:lnTo>
                    <a:pt x="1612" y="157"/>
                  </a:lnTo>
                  <a:lnTo>
                    <a:pt x="1615" y="160"/>
                  </a:lnTo>
                  <a:lnTo>
                    <a:pt x="1618" y="161"/>
                  </a:lnTo>
                  <a:lnTo>
                    <a:pt x="1621" y="161"/>
                  </a:lnTo>
                  <a:lnTo>
                    <a:pt x="1624" y="165"/>
                  </a:lnTo>
                  <a:lnTo>
                    <a:pt x="1631" y="165"/>
                  </a:lnTo>
                  <a:lnTo>
                    <a:pt x="1634" y="165"/>
                  </a:lnTo>
                  <a:lnTo>
                    <a:pt x="1634" y="161"/>
                  </a:lnTo>
                  <a:lnTo>
                    <a:pt x="1637" y="163"/>
                  </a:lnTo>
                  <a:lnTo>
                    <a:pt x="1639" y="163"/>
                  </a:lnTo>
                  <a:lnTo>
                    <a:pt x="1642" y="166"/>
                  </a:lnTo>
                  <a:lnTo>
                    <a:pt x="1645" y="168"/>
                  </a:lnTo>
                  <a:lnTo>
                    <a:pt x="1648" y="168"/>
                  </a:lnTo>
                  <a:lnTo>
                    <a:pt x="1651" y="171"/>
                  </a:lnTo>
                  <a:lnTo>
                    <a:pt x="1653" y="173"/>
                  </a:lnTo>
                  <a:lnTo>
                    <a:pt x="1653" y="173"/>
                  </a:lnTo>
                  <a:lnTo>
                    <a:pt x="1658" y="176"/>
                  </a:lnTo>
                  <a:lnTo>
                    <a:pt x="1659" y="177"/>
                  </a:lnTo>
                  <a:lnTo>
                    <a:pt x="1666" y="180"/>
                  </a:lnTo>
                  <a:lnTo>
                    <a:pt x="1672" y="184"/>
                  </a:lnTo>
                  <a:lnTo>
                    <a:pt x="1677" y="184"/>
                  </a:lnTo>
                  <a:lnTo>
                    <a:pt x="1680" y="184"/>
                  </a:lnTo>
                  <a:lnTo>
                    <a:pt x="1683" y="185"/>
                  </a:lnTo>
                  <a:lnTo>
                    <a:pt x="1686" y="184"/>
                  </a:lnTo>
                  <a:lnTo>
                    <a:pt x="1688" y="184"/>
                  </a:lnTo>
                  <a:lnTo>
                    <a:pt x="1689" y="188"/>
                  </a:lnTo>
                  <a:lnTo>
                    <a:pt x="1689" y="192"/>
                  </a:lnTo>
                  <a:lnTo>
                    <a:pt x="1691" y="195"/>
                  </a:lnTo>
                  <a:lnTo>
                    <a:pt x="1694" y="196"/>
                  </a:lnTo>
                  <a:lnTo>
                    <a:pt x="1697" y="199"/>
                  </a:lnTo>
                  <a:lnTo>
                    <a:pt x="1702" y="199"/>
                  </a:lnTo>
                  <a:lnTo>
                    <a:pt x="1704" y="203"/>
                  </a:lnTo>
                  <a:lnTo>
                    <a:pt x="1707" y="206"/>
                  </a:lnTo>
                  <a:lnTo>
                    <a:pt x="1708" y="207"/>
                  </a:lnTo>
                  <a:lnTo>
                    <a:pt x="1708" y="211"/>
                  </a:lnTo>
                  <a:lnTo>
                    <a:pt x="1707" y="215"/>
                  </a:lnTo>
                  <a:lnTo>
                    <a:pt x="1712" y="217"/>
                  </a:lnTo>
                  <a:lnTo>
                    <a:pt x="1712" y="218"/>
                  </a:lnTo>
                  <a:lnTo>
                    <a:pt x="1715" y="220"/>
                  </a:lnTo>
                  <a:lnTo>
                    <a:pt x="1719" y="222"/>
                  </a:lnTo>
                  <a:lnTo>
                    <a:pt x="1723" y="225"/>
                  </a:lnTo>
                  <a:lnTo>
                    <a:pt x="1724" y="230"/>
                  </a:lnTo>
                  <a:lnTo>
                    <a:pt x="1727" y="231"/>
                  </a:lnTo>
                  <a:lnTo>
                    <a:pt x="1732" y="231"/>
                  </a:lnTo>
                  <a:lnTo>
                    <a:pt x="1732" y="231"/>
                  </a:lnTo>
                  <a:lnTo>
                    <a:pt x="1735" y="230"/>
                  </a:lnTo>
                  <a:lnTo>
                    <a:pt x="1743" y="230"/>
                  </a:lnTo>
                  <a:lnTo>
                    <a:pt x="1745" y="230"/>
                  </a:lnTo>
                  <a:lnTo>
                    <a:pt x="1748" y="233"/>
                  </a:lnTo>
                  <a:lnTo>
                    <a:pt x="1751" y="231"/>
                  </a:lnTo>
                  <a:lnTo>
                    <a:pt x="1754" y="231"/>
                  </a:lnTo>
                  <a:lnTo>
                    <a:pt x="1758" y="231"/>
                  </a:lnTo>
                  <a:lnTo>
                    <a:pt x="1762" y="231"/>
                  </a:lnTo>
                  <a:lnTo>
                    <a:pt x="1765" y="231"/>
                  </a:lnTo>
                  <a:lnTo>
                    <a:pt x="1769" y="230"/>
                  </a:lnTo>
                  <a:lnTo>
                    <a:pt x="1772" y="230"/>
                  </a:lnTo>
                  <a:lnTo>
                    <a:pt x="1777" y="230"/>
                  </a:lnTo>
                  <a:lnTo>
                    <a:pt x="1777" y="228"/>
                  </a:lnTo>
                  <a:lnTo>
                    <a:pt x="1777" y="225"/>
                  </a:lnTo>
                  <a:lnTo>
                    <a:pt x="1777" y="220"/>
                  </a:lnTo>
                  <a:lnTo>
                    <a:pt x="1781" y="218"/>
                  </a:lnTo>
                  <a:lnTo>
                    <a:pt x="1784" y="215"/>
                  </a:lnTo>
                  <a:lnTo>
                    <a:pt x="1788" y="214"/>
                  </a:lnTo>
                  <a:lnTo>
                    <a:pt x="1791" y="215"/>
                  </a:lnTo>
                  <a:lnTo>
                    <a:pt x="1794" y="215"/>
                  </a:lnTo>
                  <a:lnTo>
                    <a:pt x="1797" y="215"/>
                  </a:lnTo>
                  <a:lnTo>
                    <a:pt x="1799" y="215"/>
                  </a:lnTo>
                  <a:lnTo>
                    <a:pt x="1799" y="212"/>
                  </a:lnTo>
                  <a:lnTo>
                    <a:pt x="1802" y="209"/>
                  </a:lnTo>
                  <a:lnTo>
                    <a:pt x="1805" y="207"/>
                  </a:lnTo>
                  <a:lnTo>
                    <a:pt x="1810" y="206"/>
                  </a:lnTo>
                  <a:lnTo>
                    <a:pt x="1810" y="206"/>
                  </a:lnTo>
                  <a:lnTo>
                    <a:pt x="1813" y="204"/>
                  </a:lnTo>
                  <a:lnTo>
                    <a:pt x="1815" y="204"/>
                  </a:lnTo>
                  <a:lnTo>
                    <a:pt x="1819" y="203"/>
                  </a:lnTo>
                  <a:lnTo>
                    <a:pt x="1819" y="204"/>
                  </a:lnTo>
                  <a:lnTo>
                    <a:pt x="1821" y="204"/>
                  </a:lnTo>
                  <a:lnTo>
                    <a:pt x="1824" y="204"/>
                  </a:lnTo>
                  <a:lnTo>
                    <a:pt x="1826" y="204"/>
                  </a:lnTo>
                  <a:lnTo>
                    <a:pt x="1829" y="207"/>
                  </a:lnTo>
                  <a:lnTo>
                    <a:pt x="1832" y="207"/>
                  </a:lnTo>
                  <a:lnTo>
                    <a:pt x="1832" y="209"/>
                  </a:lnTo>
                  <a:lnTo>
                    <a:pt x="1834" y="212"/>
                  </a:lnTo>
                  <a:lnTo>
                    <a:pt x="1832" y="217"/>
                  </a:lnTo>
                  <a:lnTo>
                    <a:pt x="1835" y="220"/>
                  </a:lnTo>
                  <a:lnTo>
                    <a:pt x="1838" y="223"/>
                  </a:lnTo>
                  <a:lnTo>
                    <a:pt x="1842" y="226"/>
                  </a:lnTo>
                  <a:lnTo>
                    <a:pt x="1843" y="226"/>
                  </a:lnTo>
                  <a:lnTo>
                    <a:pt x="1848" y="230"/>
                  </a:lnTo>
                  <a:lnTo>
                    <a:pt x="1846" y="233"/>
                  </a:lnTo>
                  <a:lnTo>
                    <a:pt x="1848" y="236"/>
                  </a:lnTo>
                  <a:lnTo>
                    <a:pt x="1846" y="241"/>
                  </a:lnTo>
                  <a:lnTo>
                    <a:pt x="1843" y="242"/>
                  </a:lnTo>
                  <a:lnTo>
                    <a:pt x="1840" y="244"/>
                  </a:lnTo>
                  <a:lnTo>
                    <a:pt x="1840" y="245"/>
                  </a:lnTo>
                  <a:lnTo>
                    <a:pt x="1840" y="247"/>
                  </a:lnTo>
                  <a:lnTo>
                    <a:pt x="1842" y="250"/>
                  </a:lnTo>
                  <a:lnTo>
                    <a:pt x="1845" y="255"/>
                  </a:lnTo>
                  <a:lnTo>
                    <a:pt x="1843" y="258"/>
                  </a:lnTo>
                  <a:lnTo>
                    <a:pt x="1845" y="261"/>
                  </a:lnTo>
                  <a:lnTo>
                    <a:pt x="1846" y="264"/>
                  </a:lnTo>
                  <a:lnTo>
                    <a:pt x="1846" y="266"/>
                  </a:lnTo>
                  <a:lnTo>
                    <a:pt x="1850" y="269"/>
                  </a:lnTo>
                  <a:lnTo>
                    <a:pt x="1850" y="272"/>
                  </a:lnTo>
                  <a:lnTo>
                    <a:pt x="1850" y="274"/>
                  </a:lnTo>
                  <a:lnTo>
                    <a:pt x="1850" y="277"/>
                  </a:lnTo>
                  <a:lnTo>
                    <a:pt x="1850" y="277"/>
                  </a:lnTo>
                  <a:lnTo>
                    <a:pt x="1851" y="280"/>
                  </a:lnTo>
                  <a:lnTo>
                    <a:pt x="1854" y="284"/>
                  </a:lnTo>
                  <a:lnTo>
                    <a:pt x="1856" y="287"/>
                  </a:lnTo>
                  <a:lnTo>
                    <a:pt x="1856" y="290"/>
                  </a:lnTo>
                  <a:lnTo>
                    <a:pt x="1853" y="293"/>
                  </a:lnTo>
                  <a:lnTo>
                    <a:pt x="1856" y="296"/>
                  </a:lnTo>
                  <a:lnTo>
                    <a:pt x="1856" y="299"/>
                  </a:lnTo>
                  <a:lnTo>
                    <a:pt x="1856" y="301"/>
                  </a:lnTo>
                  <a:lnTo>
                    <a:pt x="1853" y="304"/>
                  </a:lnTo>
                  <a:lnTo>
                    <a:pt x="1853" y="306"/>
                  </a:lnTo>
                  <a:lnTo>
                    <a:pt x="1856" y="309"/>
                  </a:lnTo>
                  <a:lnTo>
                    <a:pt x="1857" y="312"/>
                  </a:lnTo>
                  <a:lnTo>
                    <a:pt x="1857" y="315"/>
                  </a:lnTo>
                  <a:lnTo>
                    <a:pt x="1854" y="317"/>
                  </a:lnTo>
                  <a:lnTo>
                    <a:pt x="1853" y="320"/>
                  </a:lnTo>
                  <a:lnTo>
                    <a:pt x="1853" y="322"/>
                  </a:lnTo>
                  <a:lnTo>
                    <a:pt x="1853" y="325"/>
                  </a:lnTo>
                  <a:lnTo>
                    <a:pt x="1856" y="329"/>
                  </a:lnTo>
                  <a:lnTo>
                    <a:pt x="1857" y="333"/>
                  </a:lnTo>
                  <a:lnTo>
                    <a:pt x="1857" y="336"/>
                  </a:lnTo>
                  <a:lnTo>
                    <a:pt x="1854" y="337"/>
                  </a:lnTo>
                  <a:lnTo>
                    <a:pt x="1851" y="336"/>
                  </a:lnTo>
                  <a:lnTo>
                    <a:pt x="1848" y="336"/>
                  </a:lnTo>
                  <a:lnTo>
                    <a:pt x="1840" y="334"/>
                  </a:lnTo>
                  <a:lnTo>
                    <a:pt x="1837" y="333"/>
                  </a:lnTo>
                  <a:lnTo>
                    <a:pt x="1834" y="333"/>
                  </a:lnTo>
                  <a:lnTo>
                    <a:pt x="1830" y="331"/>
                  </a:lnTo>
                  <a:lnTo>
                    <a:pt x="1824" y="329"/>
                  </a:lnTo>
                  <a:lnTo>
                    <a:pt x="1819" y="329"/>
                  </a:lnTo>
                  <a:lnTo>
                    <a:pt x="1819" y="329"/>
                  </a:lnTo>
                  <a:lnTo>
                    <a:pt x="1816" y="326"/>
                  </a:lnTo>
                  <a:lnTo>
                    <a:pt x="1811" y="328"/>
                  </a:lnTo>
                  <a:lnTo>
                    <a:pt x="1813" y="329"/>
                  </a:lnTo>
                  <a:lnTo>
                    <a:pt x="1811" y="333"/>
                  </a:lnTo>
                  <a:lnTo>
                    <a:pt x="1810" y="336"/>
                  </a:lnTo>
                  <a:lnTo>
                    <a:pt x="1810" y="339"/>
                  </a:lnTo>
                  <a:lnTo>
                    <a:pt x="1805" y="339"/>
                  </a:lnTo>
                  <a:lnTo>
                    <a:pt x="1802" y="342"/>
                  </a:lnTo>
                  <a:lnTo>
                    <a:pt x="1799" y="342"/>
                  </a:lnTo>
                  <a:lnTo>
                    <a:pt x="1796" y="344"/>
                  </a:lnTo>
                  <a:lnTo>
                    <a:pt x="1804" y="352"/>
                  </a:lnTo>
                  <a:lnTo>
                    <a:pt x="1811" y="360"/>
                  </a:lnTo>
                  <a:lnTo>
                    <a:pt x="1815" y="363"/>
                  </a:lnTo>
                  <a:lnTo>
                    <a:pt x="1816" y="366"/>
                  </a:lnTo>
                  <a:lnTo>
                    <a:pt x="1819" y="371"/>
                  </a:lnTo>
                  <a:lnTo>
                    <a:pt x="1823" y="374"/>
                  </a:lnTo>
                  <a:lnTo>
                    <a:pt x="1824" y="377"/>
                  </a:lnTo>
                  <a:lnTo>
                    <a:pt x="1824" y="379"/>
                  </a:lnTo>
                  <a:lnTo>
                    <a:pt x="1829" y="387"/>
                  </a:lnTo>
                  <a:lnTo>
                    <a:pt x="1834" y="396"/>
                  </a:lnTo>
                  <a:lnTo>
                    <a:pt x="1835" y="399"/>
                  </a:lnTo>
                  <a:lnTo>
                    <a:pt x="1838" y="399"/>
                  </a:lnTo>
                  <a:lnTo>
                    <a:pt x="1842" y="404"/>
                  </a:lnTo>
                  <a:lnTo>
                    <a:pt x="1842" y="407"/>
                  </a:lnTo>
                  <a:lnTo>
                    <a:pt x="1842" y="410"/>
                  </a:lnTo>
                  <a:lnTo>
                    <a:pt x="1843" y="414"/>
                  </a:lnTo>
                  <a:lnTo>
                    <a:pt x="1843" y="418"/>
                  </a:lnTo>
                  <a:lnTo>
                    <a:pt x="1845" y="421"/>
                  </a:lnTo>
                  <a:lnTo>
                    <a:pt x="1843" y="425"/>
                  </a:lnTo>
                  <a:lnTo>
                    <a:pt x="1840" y="425"/>
                  </a:lnTo>
                  <a:lnTo>
                    <a:pt x="1837" y="425"/>
                  </a:lnTo>
                  <a:lnTo>
                    <a:pt x="1834" y="426"/>
                  </a:lnTo>
                  <a:lnTo>
                    <a:pt x="1829" y="428"/>
                  </a:lnTo>
                  <a:lnTo>
                    <a:pt x="1827" y="431"/>
                  </a:lnTo>
                  <a:lnTo>
                    <a:pt x="1830" y="433"/>
                  </a:lnTo>
                  <a:lnTo>
                    <a:pt x="1834" y="433"/>
                  </a:lnTo>
                  <a:lnTo>
                    <a:pt x="1837" y="437"/>
                  </a:lnTo>
                  <a:lnTo>
                    <a:pt x="1838" y="441"/>
                  </a:lnTo>
                  <a:lnTo>
                    <a:pt x="1840" y="442"/>
                  </a:lnTo>
                  <a:lnTo>
                    <a:pt x="1830" y="436"/>
                  </a:lnTo>
                  <a:lnTo>
                    <a:pt x="1821" y="431"/>
                  </a:lnTo>
                  <a:lnTo>
                    <a:pt x="1819" y="428"/>
                  </a:lnTo>
                  <a:lnTo>
                    <a:pt x="1818" y="425"/>
                  </a:lnTo>
                  <a:lnTo>
                    <a:pt x="1818" y="423"/>
                  </a:lnTo>
                  <a:lnTo>
                    <a:pt x="1815" y="423"/>
                  </a:lnTo>
                  <a:lnTo>
                    <a:pt x="1811" y="420"/>
                  </a:lnTo>
                  <a:lnTo>
                    <a:pt x="1808" y="421"/>
                  </a:lnTo>
                  <a:lnTo>
                    <a:pt x="1807" y="420"/>
                  </a:lnTo>
                  <a:lnTo>
                    <a:pt x="1804" y="421"/>
                  </a:lnTo>
                  <a:lnTo>
                    <a:pt x="1804" y="421"/>
                  </a:lnTo>
                  <a:lnTo>
                    <a:pt x="1804" y="425"/>
                  </a:lnTo>
                  <a:lnTo>
                    <a:pt x="1805" y="428"/>
                  </a:lnTo>
                  <a:lnTo>
                    <a:pt x="1805" y="431"/>
                  </a:lnTo>
                  <a:lnTo>
                    <a:pt x="1805" y="431"/>
                  </a:lnTo>
                  <a:lnTo>
                    <a:pt x="1808" y="436"/>
                  </a:lnTo>
                  <a:lnTo>
                    <a:pt x="1808" y="439"/>
                  </a:lnTo>
                  <a:lnTo>
                    <a:pt x="1808" y="442"/>
                  </a:lnTo>
                  <a:lnTo>
                    <a:pt x="1805" y="444"/>
                  </a:lnTo>
                  <a:lnTo>
                    <a:pt x="1804" y="444"/>
                  </a:lnTo>
                  <a:lnTo>
                    <a:pt x="1804" y="444"/>
                  </a:lnTo>
                  <a:lnTo>
                    <a:pt x="1800" y="442"/>
                  </a:lnTo>
                  <a:lnTo>
                    <a:pt x="1797" y="444"/>
                  </a:lnTo>
                  <a:lnTo>
                    <a:pt x="1796" y="445"/>
                  </a:lnTo>
                  <a:lnTo>
                    <a:pt x="1797" y="448"/>
                  </a:lnTo>
                  <a:lnTo>
                    <a:pt x="1797" y="452"/>
                  </a:lnTo>
                  <a:lnTo>
                    <a:pt x="1794" y="456"/>
                  </a:lnTo>
                  <a:lnTo>
                    <a:pt x="1792" y="458"/>
                  </a:lnTo>
                  <a:lnTo>
                    <a:pt x="1788" y="458"/>
                  </a:lnTo>
                  <a:lnTo>
                    <a:pt x="1784" y="460"/>
                  </a:lnTo>
                  <a:lnTo>
                    <a:pt x="1781" y="460"/>
                  </a:lnTo>
                  <a:lnTo>
                    <a:pt x="1778" y="460"/>
                  </a:lnTo>
                  <a:lnTo>
                    <a:pt x="1778" y="460"/>
                  </a:lnTo>
                  <a:lnTo>
                    <a:pt x="1775" y="458"/>
                  </a:lnTo>
                  <a:lnTo>
                    <a:pt x="1772" y="458"/>
                  </a:lnTo>
                  <a:lnTo>
                    <a:pt x="1769" y="460"/>
                  </a:lnTo>
                  <a:lnTo>
                    <a:pt x="1765" y="460"/>
                  </a:lnTo>
                  <a:lnTo>
                    <a:pt x="1765" y="461"/>
                  </a:lnTo>
                  <a:lnTo>
                    <a:pt x="1769" y="466"/>
                  </a:lnTo>
                  <a:lnTo>
                    <a:pt x="1770" y="467"/>
                  </a:lnTo>
                  <a:lnTo>
                    <a:pt x="1773" y="471"/>
                  </a:lnTo>
                  <a:lnTo>
                    <a:pt x="1773" y="471"/>
                  </a:lnTo>
                  <a:lnTo>
                    <a:pt x="1775" y="472"/>
                  </a:lnTo>
                  <a:lnTo>
                    <a:pt x="1778" y="474"/>
                  </a:lnTo>
                  <a:lnTo>
                    <a:pt x="1783" y="477"/>
                  </a:lnTo>
                  <a:lnTo>
                    <a:pt x="1781" y="480"/>
                  </a:lnTo>
                  <a:lnTo>
                    <a:pt x="1781" y="483"/>
                  </a:lnTo>
                  <a:lnTo>
                    <a:pt x="1778" y="485"/>
                  </a:lnTo>
                  <a:lnTo>
                    <a:pt x="1775" y="482"/>
                  </a:lnTo>
                  <a:lnTo>
                    <a:pt x="1773" y="483"/>
                  </a:lnTo>
                  <a:lnTo>
                    <a:pt x="1770" y="483"/>
                  </a:lnTo>
                  <a:lnTo>
                    <a:pt x="1767" y="483"/>
                  </a:lnTo>
                  <a:lnTo>
                    <a:pt x="1764" y="483"/>
                  </a:lnTo>
                  <a:lnTo>
                    <a:pt x="1759" y="482"/>
                  </a:lnTo>
                  <a:lnTo>
                    <a:pt x="1758" y="482"/>
                  </a:lnTo>
                  <a:lnTo>
                    <a:pt x="1754" y="482"/>
                  </a:lnTo>
                  <a:lnTo>
                    <a:pt x="1750" y="480"/>
                  </a:lnTo>
                  <a:lnTo>
                    <a:pt x="1746" y="479"/>
                  </a:lnTo>
                  <a:lnTo>
                    <a:pt x="1743" y="477"/>
                  </a:lnTo>
                  <a:lnTo>
                    <a:pt x="1740" y="474"/>
                  </a:lnTo>
                  <a:lnTo>
                    <a:pt x="1738" y="472"/>
                  </a:lnTo>
                  <a:lnTo>
                    <a:pt x="1735" y="469"/>
                  </a:lnTo>
                  <a:lnTo>
                    <a:pt x="1731" y="467"/>
                  </a:lnTo>
                  <a:lnTo>
                    <a:pt x="1731" y="471"/>
                  </a:lnTo>
                  <a:lnTo>
                    <a:pt x="1726" y="474"/>
                  </a:lnTo>
                  <a:lnTo>
                    <a:pt x="1724" y="474"/>
                  </a:lnTo>
                  <a:lnTo>
                    <a:pt x="1726" y="477"/>
                  </a:lnTo>
                  <a:lnTo>
                    <a:pt x="1726" y="480"/>
                  </a:lnTo>
                  <a:lnTo>
                    <a:pt x="1726" y="482"/>
                  </a:lnTo>
                  <a:lnTo>
                    <a:pt x="1726" y="483"/>
                  </a:lnTo>
                  <a:lnTo>
                    <a:pt x="1726" y="486"/>
                  </a:lnTo>
                  <a:lnTo>
                    <a:pt x="1724" y="491"/>
                  </a:lnTo>
                  <a:lnTo>
                    <a:pt x="1724" y="494"/>
                  </a:lnTo>
                  <a:lnTo>
                    <a:pt x="1723" y="494"/>
                  </a:lnTo>
                  <a:lnTo>
                    <a:pt x="1721" y="498"/>
                  </a:lnTo>
                  <a:lnTo>
                    <a:pt x="1721" y="502"/>
                  </a:lnTo>
                  <a:lnTo>
                    <a:pt x="1718" y="506"/>
                  </a:lnTo>
                  <a:lnTo>
                    <a:pt x="1715" y="506"/>
                  </a:lnTo>
                  <a:lnTo>
                    <a:pt x="1712" y="506"/>
                  </a:lnTo>
                  <a:lnTo>
                    <a:pt x="1710" y="507"/>
                  </a:lnTo>
                  <a:lnTo>
                    <a:pt x="1710" y="510"/>
                  </a:lnTo>
                  <a:lnTo>
                    <a:pt x="1707" y="512"/>
                  </a:lnTo>
                  <a:lnTo>
                    <a:pt x="1705" y="515"/>
                  </a:lnTo>
                  <a:lnTo>
                    <a:pt x="1704" y="515"/>
                  </a:lnTo>
                  <a:lnTo>
                    <a:pt x="1702" y="515"/>
                  </a:lnTo>
                  <a:lnTo>
                    <a:pt x="1699" y="517"/>
                  </a:lnTo>
                  <a:lnTo>
                    <a:pt x="1696" y="518"/>
                  </a:lnTo>
                  <a:lnTo>
                    <a:pt x="1696" y="521"/>
                  </a:lnTo>
                  <a:lnTo>
                    <a:pt x="1694" y="521"/>
                  </a:lnTo>
                  <a:lnTo>
                    <a:pt x="1694" y="523"/>
                  </a:lnTo>
                  <a:lnTo>
                    <a:pt x="1691" y="523"/>
                  </a:lnTo>
                  <a:lnTo>
                    <a:pt x="1689" y="526"/>
                  </a:lnTo>
                  <a:lnTo>
                    <a:pt x="1686" y="529"/>
                  </a:lnTo>
                  <a:lnTo>
                    <a:pt x="1685" y="532"/>
                  </a:lnTo>
                  <a:lnTo>
                    <a:pt x="1681" y="536"/>
                  </a:lnTo>
                  <a:lnTo>
                    <a:pt x="1681" y="537"/>
                  </a:lnTo>
                  <a:lnTo>
                    <a:pt x="1681" y="537"/>
                  </a:lnTo>
                  <a:lnTo>
                    <a:pt x="1681" y="537"/>
                  </a:lnTo>
                  <a:lnTo>
                    <a:pt x="1683" y="540"/>
                  </a:lnTo>
                  <a:lnTo>
                    <a:pt x="1681" y="544"/>
                  </a:lnTo>
                  <a:lnTo>
                    <a:pt x="1678" y="548"/>
                  </a:lnTo>
                  <a:lnTo>
                    <a:pt x="1675" y="548"/>
                  </a:lnTo>
                  <a:lnTo>
                    <a:pt x="1672" y="548"/>
                  </a:lnTo>
                  <a:lnTo>
                    <a:pt x="1666" y="548"/>
                  </a:lnTo>
                  <a:lnTo>
                    <a:pt x="1661" y="545"/>
                  </a:lnTo>
                  <a:lnTo>
                    <a:pt x="1661" y="548"/>
                  </a:lnTo>
                  <a:lnTo>
                    <a:pt x="1659" y="548"/>
                  </a:lnTo>
                  <a:lnTo>
                    <a:pt x="1659" y="548"/>
                  </a:lnTo>
                  <a:lnTo>
                    <a:pt x="1656" y="550"/>
                  </a:lnTo>
                  <a:lnTo>
                    <a:pt x="1651" y="550"/>
                  </a:lnTo>
                  <a:lnTo>
                    <a:pt x="1653" y="553"/>
                  </a:lnTo>
                  <a:lnTo>
                    <a:pt x="1648" y="555"/>
                  </a:lnTo>
                  <a:lnTo>
                    <a:pt x="1645" y="555"/>
                  </a:lnTo>
                  <a:lnTo>
                    <a:pt x="1642" y="556"/>
                  </a:lnTo>
                  <a:lnTo>
                    <a:pt x="1639" y="559"/>
                  </a:lnTo>
                  <a:lnTo>
                    <a:pt x="1635" y="559"/>
                  </a:lnTo>
                  <a:lnTo>
                    <a:pt x="1632" y="564"/>
                  </a:lnTo>
                  <a:lnTo>
                    <a:pt x="1629" y="564"/>
                  </a:lnTo>
                  <a:lnTo>
                    <a:pt x="1626" y="567"/>
                  </a:lnTo>
                  <a:lnTo>
                    <a:pt x="1624" y="572"/>
                  </a:lnTo>
                  <a:lnTo>
                    <a:pt x="1624" y="575"/>
                  </a:lnTo>
                  <a:lnTo>
                    <a:pt x="1623" y="578"/>
                  </a:lnTo>
                  <a:lnTo>
                    <a:pt x="1620" y="580"/>
                  </a:lnTo>
                  <a:lnTo>
                    <a:pt x="1620" y="583"/>
                  </a:lnTo>
                  <a:lnTo>
                    <a:pt x="1616" y="582"/>
                  </a:lnTo>
                  <a:lnTo>
                    <a:pt x="1616" y="582"/>
                  </a:lnTo>
                  <a:lnTo>
                    <a:pt x="1612" y="582"/>
                  </a:lnTo>
                  <a:lnTo>
                    <a:pt x="1613" y="585"/>
                  </a:lnTo>
                  <a:lnTo>
                    <a:pt x="1610" y="588"/>
                  </a:lnTo>
                  <a:lnTo>
                    <a:pt x="1607" y="590"/>
                  </a:lnTo>
                  <a:lnTo>
                    <a:pt x="1604" y="591"/>
                  </a:lnTo>
                  <a:lnTo>
                    <a:pt x="1599" y="593"/>
                  </a:lnTo>
                  <a:lnTo>
                    <a:pt x="1597" y="590"/>
                  </a:lnTo>
                  <a:lnTo>
                    <a:pt x="1596" y="586"/>
                  </a:lnTo>
                  <a:lnTo>
                    <a:pt x="1601" y="583"/>
                  </a:lnTo>
                  <a:lnTo>
                    <a:pt x="1601" y="580"/>
                  </a:lnTo>
                  <a:lnTo>
                    <a:pt x="1605" y="582"/>
                  </a:lnTo>
                  <a:lnTo>
                    <a:pt x="1608" y="578"/>
                  </a:lnTo>
                  <a:lnTo>
                    <a:pt x="1608" y="575"/>
                  </a:lnTo>
                  <a:lnTo>
                    <a:pt x="1607" y="572"/>
                  </a:lnTo>
                  <a:lnTo>
                    <a:pt x="1608" y="569"/>
                  </a:lnTo>
                  <a:lnTo>
                    <a:pt x="1612" y="567"/>
                  </a:lnTo>
                  <a:lnTo>
                    <a:pt x="1613" y="564"/>
                  </a:lnTo>
                  <a:lnTo>
                    <a:pt x="1610" y="566"/>
                  </a:lnTo>
                  <a:lnTo>
                    <a:pt x="1605" y="566"/>
                  </a:lnTo>
                  <a:lnTo>
                    <a:pt x="1602" y="567"/>
                  </a:lnTo>
                  <a:lnTo>
                    <a:pt x="1599" y="566"/>
                  </a:lnTo>
                  <a:lnTo>
                    <a:pt x="1596" y="563"/>
                  </a:lnTo>
                  <a:lnTo>
                    <a:pt x="1594" y="561"/>
                  </a:lnTo>
                  <a:lnTo>
                    <a:pt x="1591" y="561"/>
                  </a:lnTo>
                  <a:lnTo>
                    <a:pt x="1588" y="561"/>
                  </a:lnTo>
                  <a:lnTo>
                    <a:pt x="1591" y="558"/>
                  </a:lnTo>
                  <a:lnTo>
                    <a:pt x="1594" y="556"/>
                  </a:lnTo>
                  <a:lnTo>
                    <a:pt x="1593" y="552"/>
                  </a:lnTo>
                  <a:lnTo>
                    <a:pt x="1591" y="548"/>
                  </a:lnTo>
                  <a:lnTo>
                    <a:pt x="1594" y="547"/>
                  </a:lnTo>
                  <a:lnTo>
                    <a:pt x="1597" y="544"/>
                  </a:lnTo>
                  <a:lnTo>
                    <a:pt x="1601" y="540"/>
                  </a:lnTo>
                  <a:lnTo>
                    <a:pt x="1601" y="537"/>
                  </a:lnTo>
                  <a:lnTo>
                    <a:pt x="1602" y="531"/>
                  </a:lnTo>
                  <a:lnTo>
                    <a:pt x="1605" y="521"/>
                  </a:lnTo>
                  <a:lnTo>
                    <a:pt x="1602" y="518"/>
                  </a:lnTo>
                  <a:lnTo>
                    <a:pt x="1599" y="517"/>
                  </a:lnTo>
                  <a:lnTo>
                    <a:pt x="1597" y="513"/>
                  </a:lnTo>
                  <a:lnTo>
                    <a:pt x="1597" y="513"/>
                  </a:lnTo>
                  <a:lnTo>
                    <a:pt x="1593" y="510"/>
                  </a:lnTo>
                  <a:lnTo>
                    <a:pt x="1588" y="509"/>
                  </a:lnTo>
                  <a:lnTo>
                    <a:pt x="1585" y="507"/>
                  </a:lnTo>
                  <a:lnTo>
                    <a:pt x="1583" y="506"/>
                  </a:lnTo>
                  <a:lnTo>
                    <a:pt x="1581" y="501"/>
                  </a:lnTo>
                  <a:lnTo>
                    <a:pt x="1580" y="504"/>
                  </a:lnTo>
                  <a:lnTo>
                    <a:pt x="1577" y="507"/>
                  </a:lnTo>
                  <a:lnTo>
                    <a:pt x="1574" y="507"/>
                  </a:lnTo>
                  <a:lnTo>
                    <a:pt x="1570" y="504"/>
                  </a:lnTo>
                  <a:lnTo>
                    <a:pt x="1567" y="504"/>
                  </a:lnTo>
                  <a:lnTo>
                    <a:pt x="1562" y="504"/>
                  </a:lnTo>
                  <a:lnTo>
                    <a:pt x="1559" y="502"/>
                  </a:lnTo>
                  <a:lnTo>
                    <a:pt x="1558" y="506"/>
                  </a:lnTo>
                  <a:lnTo>
                    <a:pt x="1556" y="509"/>
                  </a:lnTo>
                  <a:lnTo>
                    <a:pt x="1559" y="512"/>
                  </a:lnTo>
                  <a:lnTo>
                    <a:pt x="1555" y="513"/>
                  </a:lnTo>
                  <a:lnTo>
                    <a:pt x="1553" y="513"/>
                  </a:lnTo>
                  <a:lnTo>
                    <a:pt x="1551" y="523"/>
                  </a:lnTo>
                  <a:lnTo>
                    <a:pt x="1550" y="532"/>
                  </a:lnTo>
                  <a:lnTo>
                    <a:pt x="1545" y="534"/>
                  </a:lnTo>
                  <a:lnTo>
                    <a:pt x="1542" y="536"/>
                  </a:lnTo>
                  <a:lnTo>
                    <a:pt x="1539" y="537"/>
                  </a:lnTo>
                  <a:lnTo>
                    <a:pt x="1537" y="539"/>
                  </a:lnTo>
                  <a:lnTo>
                    <a:pt x="1534" y="540"/>
                  </a:lnTo>
                  <a:lnTo>
                    <a:pt x="1534" y="542"/>
                  </a:lnTo>
                  <a:lnTo>
                    <a:pt x="1532" y="542"/>
                  </a:lnTo>
                  <a:lnTo>
                    <a:pt x="1531" y="544"/>
                  </a:lnTo>
                  <a:lnTo>
                    <a:pt x="1526" y="544"/>
                  </a:lnTo>
                  <a:lnTo>
                    <a:pt x="1524" y="548"/>
                  </a:lnTo>
                  <a:lnTo>
                    <a:pt x="1521" y="552"/>
                  </a:lnTo>
                  <a:lnTo>
                    <a:pt x="1521" y="555"/>
                  </a:lnTo>
                  <a:lnTo>
                    <a:pt x="1520" y="558"/>
                  </a:lnTo>
                  <a:lnTo>
                    <a:pt x="1523" y="561"/>
                  </a:lnTo>
                  <a:lnTo>
                    <a:pt x="1524" y="566"/>
                  </a:lnTo>
                  <a:lnTo>
                    <a:pt x="1523" y="566"/>
                  </a:lnTo>
                  <a:lnTo>
                    <a:pt x="1521" y="571"/>
                  </a:lnTo>
                  <a:lnTo>
                    <a:pt x="1520" y="574"/>
                  </a:lnTo>
                  <a:lnTo>
                    <a:pt x="1516" y="574"/>
                  </a:lnTo>
                  <a:lnTo>
                    <a:pt x="1513" y="575"/>
                  </a:lnTo>
                  <a:lnTo>
                    <a:pt x="1505" y="574"/>
                  </a:lnTo>
                  <a:lnTo>
                    <a:pt x="1502" y="577"/>
                  </a:lnTo>
                  <a:lnTo>
                    <a:pt x="1499" y="580"/>
                  </a:lnTo>
                  <a:lnTo>
                    <a:pt x="1496" y="578"/>
                  </a:lnTo>
                  <a:lnTo>
                    <a:pt x="1493" y="575"/>
                  </a:lnTo>
                  <a:lnTo>
                    <a:pt x="1489" y="574"/>
                  </a:lnTo>
                  <a:lnTo>
                    <a:pt x="1485" y="572"/>
                  </a:lnTo>
                  <a:lnTo>
                    <a:pt x="1483" y="574"/>
                  </a:lnTo>
                  <a:lnTo>
                    <a:pt x="1480" y="575"/>
                  </a:lnTo>
                  <a:lnTo>
                    <a:pt x="1478" y="578"/>
                  </a:lnTo>
                  <a:lnTo>
                    <a:pt x="1478" y="585"/>
                  </a:lnTo>
                  <a:lnTo>
                    <a:pt x="1478" y="590"/>
                  </a:lnTo>
                  <a:lnTo>
                    <a:pt x="1480" y="594"/>
                  </a:lnTo>
                  <a:lnTo>
                    <a:pt x="1483" y="599"/>
                  </a:lnTo>
                  <a:lnTo>
                    <a:pt x="1494" y="610"/>
                  </a:lnTo>
                  <a:lnTo>
                    <a:pt x="1505" y="617"/>
                  </a:lnTo>
                  <a:lnTo>
                    <a:pt x="1507" y="617"/>
                  </a:lnTo>
                  <a:lnTo>
                    <a:pt x="1510" y="617"/>
                  </a:lnTo>
                  <a:lnTo>
                    <a:pt x="1513" y="618"/>
                  </a:lnTo>
                  <a:lnTo>
                    <a:pt x="1516" y="617"/>
                  </a:lnTo>
                  <a:lnTo>
                    <a:pt x="1520" y="618"/>
                  </a:lnTo>
                  <a:lnTo>
                    <a:pt x="1523" y="621"/>
                  </a:lnTo>
                  <a:lnTo>
                    <a:pt x="1526" y="623"/>
                  </a:lnTo>
                  <a:lnTo>
                    <a:pt x="1526" y="620"/>
                  </a:lnTo>
                  <a:lnTo>
                    <a:pt x="1526" y="615"/>
                  </a:lnTo>
                  <a:lnTo>
                    <a:pt x="1532" y="615"/>
                  </a:lnTo>
                  <a:lnTo>
                    <a:pt x="1535" y="618"/>
                  </a:lnTo>
                  <a:lnTo>
                    <a:pt x="1537" y="621"/>
                  </a:lnTo>
                  <a:lnTo>
                    <a:pt x="1542" y="626"/>
                  </a:lnTo>
                  <a:lnTo>
                    <a:pt x="1545" y="628"/>
                  </a:lnTo>
                  <a:lnTo>
                    <a:pt x="1547" y="632"/>
                  </a:lnTo>
                  <a:lnTo>
                    <a:pt x="1545" y="636"/>
                  </a:lnTo>
                  <a:lnTo>
                    <a:pt x="1545" y="639"/>
                  </a:lnTo>
                  <a:lnTo>
                    <a:pt x="1547" y="642"/>
                  </a:lnTo>
                  <a:lnTo>
                    <a:pt x="1547" y="643"/>
                  </a:lnTo>
                  <a:lnTo>
                    <a:pt x="1548" y="647"/>
                  </a:lnTo>
                  <a:lnTo>
                    <a:pt x="1550" y="650"/>
                  </a:lnTo>
                  <a:lnTo>
                    <a:pt x="1553" y="651"/>
                  </a:lnTo>
                  <a:lnTo>
                    <a:pt x="1556" y="655"/>
                  </a:lnTo>
                  <a:lnTo>
                    <a:pt x="1559" y="656"/>
                  </a:lnTo>
                  <a:lnTo>
                    <a:pt x="1562" y="658"/>
                  </a:lnTo>
                  <a:lnTo>
                    <a:pt x="1566" y="658"/>
                  </a:lnTo>
                  <a:lnTo>
                    <a:pt x="1572" y="658"/>
                  </a:lnTo>
                  <a:lnTo>
                    <a:pt x="1578" y="656"/>
                  </a:lnTo>
                  <a:lnTo>
                    <a:pt x="1580" y="656"/>
                  </a:lnTo>
                  <a:lnTo>
                    <a:pt x="1581" y="655"/>
                  </a:lnTo>
                  <a:lnTo>
                    <a:pt x="1581" y="651"/>
                  </a:lnTo>
                  <a:lnTo>
                    <a:pt x="1580" y="648"/>
                  </a:lnTo>
                  <a:lnTo>
                    <a:pt x="1583" y="645"/>
                  </a:lnTo>
                  <a:lnTo>
                    <a:pt x="1583" y="645"/>
                  </a:lnTo>
                  <a:lnTo>
                    <a:pt x="1586" y="643"/>
                  </a:lnTo>
                  <a:lnTo>
                    <a:pt x="1589" y="640"/>
                  </a:lnTo>
                  <a:lnTo>
                    <a:pt x="1589" y="640"/>
                  </a:lnTo>
                  <a:lnTo>
                    <a:pt x="1589" y="636"/>
                  </a:lnTo>
                  <a:lnTo>
                    <a:pt x="1586" y="636"/>
                  </a:lnTo>
                  <a:lnTo>
                    <a:pt x="1589" y="636"/>
                  </a:lnTo>
                  <a:lnTo>
                    <a:pt x="1593" y="632"/>
                  </a:lnTo>
                  <a:lnTo>
                    <a:pt x="1597" y="632"/>
                  </a:lnTo>
                  <a:lnTo>
                    <a:pt x="1599" y="631"/>
                  </a:lnTo>
                  <a:lnTo>
                    <a:pt x="1602" y="629"/>
                  </a:lnTo>
                  <a:lnTo>
                    <a:pt x="1607" y="629"/>
                  </a:lnTo>
                  <a:lnTo>
                    <a:pt x="1610" y="632"/>
                  </a:lnTo>
                  <a:lnTo>
                    <a:pt x="1613" y="634"/>
                  </a:lnTo>
                  <a:lnTo>
                    <a:pt x="1616" y="636"/>
                  </a:lnTo>
                  <a:lnTo>
                    <a:pt x="1620" y="640"/>
                  </a:lnTo>
                  <a:lnTo>
                    <a:pt x="1623" y="639"/>
                  </a:lnTo>
                  <a:lnTo>
                    <a:pt x="1627" y="639"/>
                  </a:lnTo>
                  <a:lnTo>
                    <a:pt x="1629" y="642"/>
                  </a:lnTo>
                  <a:lnTo>
                    <a:pt x="1634" y="645"/>
                  </a:lnTo>
                  <a:lnTo>
                    <a:pt x="1637" y="643"/>
                  </a:lnTo>
                  <a:lnTo>
                    <a:pt x="1640" y="645"/>
                  </a:lnTo>
                  <a:lnTo>
                    <a:pt x="1648" y="645"/>
                  </a:lnTo>
                  <a:lnTo>
                    <a:pt x="1648" y="645"/>
                  </a:lnTo>
                  <a:lnTo>
                    <a:pt x="1650" y="645"/>
                  </a:lnTo>
                  <a:lnTo>
                    <a:pt x="1650" y="642"/>
                  </a:lnTo>
                  <a:lnTo>
                    <a:pt x="1653" y="643"/>
                  </a:lnTo>
                  <a:lnTo>
                    <a:pt x="1658" y="645"/>
                  </a:lnTo>
                  <a:lnTo>
                    <a:pt x="1661" y="647"/>
                  </a:lnTo>
                  <a:lnTo>
                    <a:pt x="1664" y="647"/>
                  </a:lnTo>
                  <a:lnTo>
                    <a:pt x="1667" y="647"/>
                  </a:lnTo>
                  <a:lnTo>
                    <a:pt x="1670" y="647"/>
                  </a:lnTo>
                  <a:lnTo>
                    <a:pt x="1675" y="648"/>
                  </a:lnTo>
                  <a:lnTo>
                    <a:pt x="1670" y="650"/>
                  </a:lnTo>
                  <a:lnTo>
                    <a:pt x="1673" y="653"/>
                  </a:lnTo>
                  <a:lnTo>
                    <a:pt x="1673" y="656"/>
                  </a:lnTo>
                  <a:lnTo>
                    <a:pt x="1670" y="658"/>
                  </a:lnTo>
                  <a:lnTo>
                    <a:pt x="1672" y="663"/>
                  </a:lnTo>
                  <a:lnTo>
                    <a:pt x="1675" y="663"/>
                  </a:lnTo>
                  <a:lnTo>
                    <a:pt x="1677" y="666"/>
                  </a:lnTo>
                  <a:lnTo>
                    <a:pt x="1673" y="669"/>
                  </a:lnTo>
                  <a:lnTo>
                    <a:pt x="1670" y="670"/>
                  </a:lnTo>
                  <a:lnTo>
                    <a:pt x="1667" y="669"/>
                  </a:lnTo>
                  <a:lnTo>
                    <a:pt x="1666" y="666"/>
                  </a:lnTo>
                  <a:lnTo>
                    <a:pt x="1662" y="663"/>
                  </a:lnTo>
                  <a:lnTo>
                    <a:pt x="1662" y="664"/>
                  </a:lnTo>
                  <a:lnTo>
                    <a:pt x="1661" y="667"/>
                  </a:lnTo>
                  <a:lnTo>
                    <a:pt x="1661" y="667"/>
                  </a:lnTo>
                  <a:lnTo>
                    <a:pt x="1659" y="664"/>
                  </a:lnTo>
                  <a:lnTo>
                    <a:pt x="1656" y="664"/>
                  </a:lnTo>
                  <a:lnTo>
                    <a:pt x="1654" y="667"/>
                  </a:lnTo>
                  <a:lnTo>
                    <a:pt x="1653" y="667"/>
                  </a:lnTo>
                  <a:lnTo>
                    <a:pt x="1650" y="669"/>
                  </a:lnTo>
                  <a:lnTo>
                    <a:pt x="1648" y="674"/>
                  </a:lnTo>
                  <a:lnTo>
                    <a:pt x="1645" y="672"/>
                  </a:lnTo>
                  <a:lnTo>
                    <a:pt x="1646" y="669"/>
                  </a:lnTo>
                  <a:lnTo>
                    <a:pt x="1643" y="672"/>
                  </a:lnTo>
                  <a:lnTo>
                    <a:pt x="1643" y="674"/>
                  </a:lnTo>
                  <a:lnTo>
                    <a:pt x="1639" y="675"/>
                  </a:lnTo>
                  <a:lnTo>
                    <a:pt x="1635" y="675"/>
                  </a:lnTo>
                  <a:lnTo>
                    <a:pt x="1632" y="678"/>
                  </a:lnTo>
                  <a:lnTo>
                    <a:pt x="1629" y="680"/>
                  </a:lnTo>
                  <a:lnTo>
                    <a:pt x="1627" y="678"/>
                  </a:lnTo>
                  <a:lnTo>
                    <a:pt x="1624" y="677"/>
                  </a:lnTo>
                  <a:lnTo>
                    <a:pt x="1623" y="680"/>
                  </a:lnTo>
                  <a:lnTo>
                    <a:pt x="1623" y="682"/>
                  </a:lnTo>
                  <a:lnTo>
                    <a:pt x="1626" y="680"/>
                  </a:lnTo>
                  <a:lnTo>
                    <a:pt x="1629" y="682"/>
                  </a:lnTo>
                  <a:lnTo>
                    <a:pt x="1631" y="685"/>
                  </a:lnTo>
                  <a:lnTo>
                    <a:pt x="1629" y="688"/>
                  </a:lnTo>
                  <a:lnTo>
                    <a:pt x="1627" y="685"/>
                  </a:lnTo>
                  <a:lnTo>
                    <a:pt x="1623" y="688"/>
                  </a:lnTo>
                  <a:lnTo>
                    <a:pt x="1623" y="691"/>
                  </a:lnTo>
                  <a:lnTo>
                    <a:pt x="1624" y="693"/>
                  </a:lnTo>
                  <a:lnTo>
                    <a:pt x="1626" y="696"/>
                  </a:lnTo>
                  <a:lnTo>
                    <a:pt x="1626" y="699"/>
                  </a:lnTo>
                  <a:lnTo>
                    <a:pt x="1618" y="702"/>
                  </a:lnTo>
                  <a:lnTo>
                    <a:pt x="1615" y="699"/>
                  </a:lnTo>
                  <a:lnTo>
                    <a:pt x="1615" y="696"/>
                  </a:lnTo>
                  <a:lnTo>
                    <a:pt x="1612" y="693"/>
                  </a:lnTo>
                  <a:lnTo>
                    <a:pt x="1613" y="696"/>
                  </a:lnTo>
                  <a:lnTo>
                    <a:pt x="1610" y="694"/>
                  </a:lnTo>
                  <a:lnTo>
                    <a:pt x="1607" y="694"/>
                  </a:lnTo>
                  <a:lnTo>
                    <a:pt x="1607" y="697"/>
                  </a:lnTo>
                  <a:lnTo>
                    <a:pt x="1608" y="699"/>
                  </a:lnTo>
                  <a:lnTo>
                    <a:pt x="1612" y="702"/>
                  </a:lnTo>
                  <a:lnTo>
                    <a:pt x="1613" y="705"/>
                  </a:lnTo>
                  <a:lnTo>
                    <a:pt x="1616" y="705"/>
                  </a:lnTo>
                  <a:lnTo>
                    <a:pt x="1613" y="707"/>
                  </a:lnTo>
                  <a:lnTo>
                    <a:pt x="1612" y="708"/>
                  </a:lnTo>
                  <a:lnTo>
                    <a:pt x="1610" y="712"/>
                  </a:lnTo>
                  <a:lnTo>
                    <a:pt x="1610" y="715"/>
                  </a:lnTo>
                  <a:lnTo>
                    <a:pt x="1608" y="716"/>
                  </a:lnTo>
                  <a:lnTo>
                    <a:pt x="1608" y="720"/>
                  </a:lnTo>
                  <a:lnTo>
                    <a:pt x="1604" y="721"/>
                  </a:lnTo>
                  <a:lnTo>
                    <a:pt x="1601" y="721"/>
                  </a:lnTo>
                  <a:lnTo>
                    <a:pt x="1601" y="724"/>
                  </a:lnTo>
                  <a:lnTo>
                    <a:pt x="1601" y="728"/>
                  </a:lnTo>
                  <a:lnTo>
                    <a:pt x="1599" y="731"/>
                  </a:lnTo>
                  <a:lnTo>
                    <a:pt x="1597" y="735"/>
                  </a:lnTo>
                  <a:lnTo>
                    <a:pt x="1597" y="739"/>
                  </a:lnTo>
                  <a:lnTo>
                    <a:pt x="1596" y="742"/>
                  </a:lnTo>
                  <a:lnTo>
                    <a:pt x="1594" y="745"/>
                  </a:lnTo>
                  <a:lnTo>
                    <a:pt x="1596" y="747"/>
                  </a:lnTo>
                  <a:lnTo>
                    <a:pt x="1596" y="750"/>
                  </a:lnTo>
                  <a:lnTo>
                    <a:pt x="1597" y="753"/>
                  </a:lnTo>
                  <a:lnTo>
                    <a:pt x="1599" y="756"/>
                  </a:lnTo>
                  <a:lnTo>
                    <a:pt x="1601" y="754"/>
                  </a:lnTo>
                  <a:lnTo>
                    <a:pt x="1605" y="754"/>
                  </a:lnTo>
                  <a:lnTo>
                    <a:pt x="1608" y="756"/>
                  </a:lnTo>
                  <a:lnTo>
                    <a:pt x="1612" y="759"/>
                  </a:lnTo>
                  <a:lnTo>
                    <a:pt x="1615" y="762"/>
                  </a:lnTo>
                  <a:lnTo>
                    <a:pt x="1618" y="764"/>
                  </a:lnTo>
                  <a:lnTo>
                    <a:pt x="1623" y="766"/>
                  </a:lnTo>
                  <a:lnTo>
                    <a:pt x="1623" y="767"/>
                  </a:lnTo>
                  <a:lnTo>
                    <a:pt x="1627" y="767"/>
                  </a:lnTo>
                  <a:lnTo>
                    <a:pt x="1631" y="769"/>
                  </a:lnTo>
                  <a:lnTo>
                    <a:pt x="1631" y="769"/>
                  </a:lnTo>
                  <a:lnTo>
                    <a:pt x="1639" y="772"/>
                  </a:lnTo>
                  <a:lnTo>
                    <a:pt x="1642" y="774"/>
                  </a:lnTo>
                  <a:lnTo>
                    <a:pt x="1643" y="777"/>
                  </a:lnTo>
                  <a:lnTo>
                    <a:pt x="1646" y="781"/>
                  </a:lnTo>
                  <a:lnTo>
                    <a:pt x="1646" y="781"/>
                  </a:lnTo>
                  <a:lnTo>
                    <a:pt x="1650" y="786"/>
                  </a:lnTo>
                  <a:lnTo>
                    <a:pt x="1651" y="789"/>
                  </a:lnTo>
                  <a:lnTo>
                    <a:pt x="1654" y="793"/>
                  </a:lnTo>
                  <a:lnTo>
                    <a:pt x="1658" y="796"/>
                  </a:lnTo>
                  <a:lnTo>
                    <a:pt x="1659" y="799"/>
                  </a:lnTo>
                  <a:lnTo>
                    <a:pt x="1661" y="802"/>
                  </a:lnTo>
                  <a:lnTo>
                    <a:pt x="1664" y="805"/>
                  </a:lnTo>
                  <a:lnTo>
                    <a:pt x="1667" y="810"/>
                  </a:lnTo>
                  <a:lnTo>
                    <a:pt x="1669" y="813"/>
                  </a:lnTo>
                  <a:lnTo>
                    <a:pt x="1673" y="815"/>
                  </a:lnTo>
                  <a:lnTo>
                    <a:pt x="1673" y="818"/>
                  </a:lnTo>
                  <a:lnTo>
                    <a:pt x="1677" y="821"/>
                  </a:lnTo>
                  <a:lnTo>
                    <a:pt x="1678" y="824"/>
                  </a:lnTo>
                  <a:lnTo>
                    <a:pt x="1681" y="827"/>
                  </a:lnTo>
                  <a:lnTo>
                    <a:pt x="1683" y="827"/>
                  </a:lnTo>
                  <a:lnTo>
                    <a:pt x="1685" y="832"/>
                  </a:lnTo>
                  <a:lnTo>
                    <a:pt x="1683" y="835"/>
                  </a:lnTo>
                  <a:lnTo>
                    <a:pt x="1685" y="839"/>
                  </a:lnTo>
                  <a:lnTo>
                    <a:pt x="1688" y="842"/>
                  </a:lnTo>
                  <a:lnTo>
                    <a:pt x="1689" y="843"/>
                  </a:lnTo>
                  <a:lnTo>
                    <a:pt x="1692" y="845"/>
                  </a:lnTo>
                  <a:lnTo>
                    <a:pt x="1694" y="845"/>
                  </a:lnTo>
                  <a:lnTo>
                    <a:pt x="1697" y="846"/>
                  </a:lnTo>
                  <a:lnTo>
                    <a:pt x="1705" y="850"/>
                  </a:lnTo>
                  <a:lnTo>
                    <a:pt x="1708" y="851"/>
                  </a:lnTo>
                  <a:lnTo>
                    <a:pt x="1710" y="856"/>
                  </a:lnTo>
                  <a:lnTo>
                    <a:pt x="1710" y="859"/>
                  </a:lnTo>
                  <a:lnTo>
                    <a:pt x="1713" y="862"/>
                  </a:lnTo>
                  <a:lnTo>
                    <a:pt x="1716" y="862"/>
                  </a:lnTo>
                  <a:lnTo>
                    <a:pt x="1719" y="864"/>
                  </a:lnTo>
                  <a:lnTo>
                    <a:pt x="1724" y="867"/>
                  </a:lnTo>
                  <a:lnTo>
                    <a:pt x="1727" y="869"/>
                  </a:lnTo>
                  <a:lnTo>
                    <a:pt x="1731" y="873"/>
                  </a:lnTo>
                  <a:lnTo>
                    <a:pt x="1732" y="877"/>
                  </a:lnTo>
                  <a:lnTo>
                    <a:pt x="1732" y="880"/>
                  </a:lnTo>
                  <a:lnTo>
                    <a:pt x="1729" y="878"/>
                  </a:lnTo>
                  <a:lnTo>
                    <a:pt x="1724" y="878"/>
                  </a:lnTo>
                  <a:lnTo>
                    <a:pt x="1721" y="875"/>
                  </a:lnTo>
                  <a:lnTo>
                    <a:pt x="1718" y="873"/>
                  </a:lnTo>
                  <a:lnTo>
                    <a:pt x="1713" y="873"/>
                  </a:lnTo>
                  <a:lnTo>
                    <a:pt x="1710" y="872"/>
                  </a:lnTo>
                  <a:lnTo>
                    <a:pt x="1707" y="873"/>
                  </a:lnTo>
                  <a:lnTo>
                    <a:pt x="1702" y="873"/>
                  </a:lnTo>
                  <a:lnTo>
                    <a:pt x="1699" y="873"/>
                  </a:lnTo>
                  <a:lnTo>
                    <a:pt x="1697" y="870"/>
                  </a:lnTo>
                  <a:lnTo>
                    <a:pt x="1694" y="867"/>
                  </a:lnTo>
                  <a:lnTo>
                    <a:pt x="1689" y="865"/>
                  </a:lnTo>
                  <a:lnTo>
                    <a:pt x="1688" y="864"/>
                  </a:lnTo>
                  <a:lnTo>
                    <a:pt x="1683" y="864"/>
                  </a:lnTo>
                  <a:lnTo>
                    <a:pt x="1680" y="864"/>
                  </a:lnTo>
                  <a:lnTo>
                    <a:pt x="1677" y="867"/>
                  </a:lnTo>
                  <a:lnTo>
                    <a:pt x="1673" y="870"/>
                  </a:lnTo>
                  <a:lnTo>
                    <a:pt x="1672" y="870"/>
                  </a:lnTo>
                  <a:lnTo>
                    <a:pt x="1669" y="869"/>
                  </a:lnTo>
                  <a:lnTo>
                    <a:pt x="1666" y="867"/>
                  </a:lnTo>
                  <a:lnTo>
                    <a:pt x="1662" y="864"/>
                  </a:lnTo>
                  <a:lnTo>
                    <a:pt x="1659" y="861"/>
                  </a:lnTo>
                  <a:lnTo>
                    <a:pt x="1658" y="858"/>
                  </a:lnTo>
                  <a:lnTo>
                    <a:pt x="1654" y="854"/>
                  </a:lnTo>
                  <a:lnTo>
                    <a:pt x="1651" y="854"/>
                  </a:lnTo>
                  <a:lnTo>
                    <a:pt x="1648" y="853"/>
                  </a:lnTo>
                  <a:lnTo>
                    <a:pt x="1650" y="856"/>
                  </a:lnTo>
                  <a:lnTo>
                    <a:pt x="1648" y="859"/>
                  </a:lnTo>
                  <a:lnTo>
                    <a:pt x="1648" y="859"/>
                  </a:lnTo>
                  <a:lnTo>
                    <a:pt x="1650" y="859"/>
                  </a:lnTo>
                  <a:lnTo>
                    <a:pt x="1651" y="858"/>
                  </a:lnTo>
                  <a:lnTo>
                    <a:pt x="1656" y="859"/>
                  </a:lnTo>
                  <a:lnTo>
                    <a:pt x="1654" y="859"/>
                  </a:lnTo>
                  <a:lnTo>
                    <a:pt x="1651" y="856"/>
                  </a:lnTo>
                  <a:lnTo>
                    <a:pt x="1651" y="856"/>
                  </a:lnTo>
                  <a:lnTo>
                    <a:pt x="1654" y="856"/>
                  </a:lnTo>
                  <a:lnTo>
                    <a:pt x="1658" y="859"/>
                  </a:lnTo>
                  <a:lnTo>
                    <a:pt x="1659" y="862"/>
                  </a:lnTo>
                  <a:lnTo>
                    <a:pt x="1656" y="862"/>
                  </a:lnTo>
                  <a:lnTo>
                    <a:pt x="1656" y="862"/>
                  </a:lnTo>
                  <a:lnTo>
                    <a:pt x="1659" y="865"/>
                  </a:lnTo>
                  <a:lnTo>
                    <a:pt x="1662" y="869"/>
                  </a:lnTo>
                  <a:lnTo>
                    <a:pt x="1666" y="870"/>
                  </a:lnTo>
                  <a:lnTo>
                    <a:pt x="1666" y="869"/>
                  </a:lnTo>
                  <a:lnTo>
                    <a:pt x="1667" y="870"/>
                  </a:lnTo>
                  <a:lnTo>
                    <a:pt x="1670" y="870"/>
                  </a:lnTo>
                  <a:lnTo>
                    <a:pt x="1673" y="872"/>
                  </a:lnTo>
                  <a:lnTo>
                    <a:pt x="1675" y="870"/>
                  </a:lnTo>
                  <a:lnTo>
                    <a:pt x="1678" y="869"/>
                  </a:lnTo>
                  <a:lnTo>
                    <a:pt x="1680" y="867"/>
                  </a:lnTo>
                  <a:lnTo>
                    <a:pt x="1683" y="867"/>
                  </a:lnTo>
                  <a:lnTo>
                    <a:pt x="1688" y="867"/>
                  </a:lnTo>
                  <a:lnTo>
                    <a:pt x="1691" y="869"/>
                  </a:lnTo>
                  <a:lnTo>
                    <a:pt x="1692" y="872"/>
                  </a:lnTo>
                  <a:lnTo>
                    <a:pt x="1692" y="875"/>
                  </a:lnTo>
                  <a:lnTo>
                    <a:pt x="1696" y="877"/>
                  </a:lnTo>
                  <a:lnTo>
                    <a:pt x="1699" y="878"/>
                  </a:lnTo>
                  <a:lnTo>
                    <a:pt x="1704" y="878"/>
                  </a:lnTo>
                  <a:lnTo>
                    <a:pt x="1707" y="880"/>
                  </a:lnTo>
                  <a:lnTo>
                    <a:pt x="1713" y="883"/>
                  </a:lnTo>
                  <a:lnTo>
                    <a:pt x="1718" y="888"/>
                  </a:lnTo>
                  <a:lnTo>
                    <a:pt x="1726" y="892"/>
                  </a:lnTo>
                  <a:lnTo>
                    <a:pt x="1734" y="897"/>
                  </a:lnTo>
                  <a:lnTo>
                    <a:pt x="1737" y="900"/>
                  </a:lnTo>
                  <a:lnTo>
                    <a:pt x="1740" y="904"/>
                  </a:lnTo>
                  <a:lnTo>
                    <a:pt x="1742" y="907"/>
                  </a:lnTo>
                  <a:lnTo>
                    <a:pt x="1745" y="911"/>
                  </a:lnTo>
                  <a:lnTo>
                    <a:pt x="1743" y="915"/>
                  </a:lnTo>
                  <a:lnTo>
                    <a:pt x="1740" y="913"/>
                  </a:lnTo>
                  <a:lnTo>
                    <a:pt x="1735" y="915"/>
                  </a:lnTo>
                  <a:lnTo>
                    <a:pt x="1732" y="916"/>
                  </a:lnTo>
                  <a:lnTo>
                    <a:pt x="1729" y="918"/>
                  </a:lnTo>
                  <a:lnTo>
                    <a:pt x="1724" y="923"/>
                  </a:lnTo>
                  <a:lnTo>
                    <a:pt x="1716" y="927"/>
                  </a:lnTo>
                  <a:lnTo>
                    <a:pt x="1718" y="931"/>
                  </a:lnTo>
                  <a:lnTo>
                    <a:pt x="1715" y="935"/>
                  </a:lnTo>
                  <a:lnTo>
                    <a:pt x="1713" y="935"/>
                  </a:lnTo>
                  <a:lnTo>
                    <a:pt x="1710" y="934"/>
                  </a:lnTo>
                  <a:lnTo>
                    <a:pt x="1707" y="932"/>
                  </a:lnTo>
                  <a:lnTo>
                    <a:pt x="1702" y="932"/>
                  </a:lnTo>
                  <a:lnTo>
                    <a:pt x="1699" y="935"/>
                  </a:lnTo>
                  <a:lnTo>
                    <a:pt x="1697" y="937"/>
                  </a:lnTo>
                  <a:lnTo>
                    <a:pt x="1694" y="940"/>
                  </a:lnTo>
                  <a:lnTo>
                    <a:pt x="1692" y="942"/>
                  </a:lnTo>
                  <a:lnTo>
                    <a:pt x="1694" y="940"/>
                  </a:lnTo>
                  <a:lnTo>
                    <a:pt x="1697" y="938"/>
                  </a:lnTo>
                  <a:lnTo>
                    <a:pt x="1702" y="937"/>
                  </a:lnTo>
                  <a:lnTo>
                    <a:pt x="1705" y="934"/>
                  </a:lnTo>
                  <a:lnTo>
                    <a:pt x="1712" y="942"/>
                  </a:lnTo>
                  <a:lnTo>
                    <a:pt x="1718" y="946"/>
                  </a:lnTo>
                  <a:lnTo>
                    <a:pt x="1716" y="945"/>
                  </a:lnTo>
                  <a:lnTo>
                    <a:pt x="1713" y="945"/>
                  </a:lnTo>
                  <a:lnTo>
                    <a:pt x="1719" y="942"/>
                  </a:lnTo>
                  <a:lnTo>
                    <a:pt x="1726" y="938"/>
                  </a:lnTo>
                  <a:lnTo>
                    <a:pt x="1727" y="937"/>
                  </a:lnTo>
                  <a:lnTo>
                    <a:pt x="1731" y="937"/>
                  </a:lnTo>
                  <a:lnTo>
                    <a:pt x="1735" y="938"/>
                  </a:lnTo>
                  <a:lnTo>
                    <a:pt x="1740" y="942"/>
                  </a:lnTo>
                  <a:lnTo>
                    <a:pt x="1745" y="946"/>
                  </a:lnTo>
                  <a:lnTo>
                    <a:pt x="1751" y="951"/>
                  </a:lnTo>
                  <a:lnTo>
                    <a:pt x="1758" y="953"/>
                  </a:lnTo>
                  <a:lnTo>
                    <a:pt x="1765" y="954"/>
                  </a:lnTo>
                  <a:lnTo>
                    <a:pt x="1762" y="956"/>
                  </a:lnTo>
                  <a:lnTo>
                    <a:pt x="1762" y="956"/>
                  </a:lnTo>
                  <a:lnTo>
                    <a:pt x="1758" y="959"/>
                  </a:lnTo>
                  <a:lnTo>
                    <a:pt x="1756" y="962"/>
                  </a:lnTo>
                  <a:lnTo>
                    <a:pt x="1754" y="965"/>
                  </a:lnTo>
                  <a:lnTo>
                    <a:pt x="1753" y="967"/>
                  </a:lnTo>
                  <a:lnTo>
                    <a:pt x="1750" y="967"/>
                  </a:lnTo>
                  <a:lnTo>
                    <a:pt x="1746" y="970"/>
                  </a:lnTo>
                  <a:lnTo>
                    <a:pt x="1750" y="973"/>
                  </a:lnTo>
                  <a:lnTo>
                    <a:pt x="1753" y="970"/>
                  </a:lnTo>
                  <a:lnTo>
                    <a:pt x="1756" y="969"/>
                  </a:lnTo>
                  <a:lnTo>
                    <a:pt x="1759" y="970"/>
                  </a:lnTo>
                  <a:lnTo>
                    <a:pt x="1758" y="965"/>
                  </a:lnTo>
                  <a:lnTo>
                    <a:pt x="1761" y="964"/>
                  </a:lnTo>
                  <a:lnTo>
                    <a:pt x="1764" y="965"/>
                  </a:lnTo>
                  <a:lnTo>
                    <a:pt x="1764" y="969"/>
                  </a:lnTo>
                  <a:lnTo>
                    <a:pt x="1764" y="973"/>
                  </a:lnTo>
                  <a:lnTo>
                    <a:pt x="1765" y="976"/>
                  </a:lnTo>
                  <a:lnTo>
                    <a:pt x="1767" y="980"/>
                  </a:lnTo>
                  <a:lnTo>
                    <a:pt x="1764" y="983"/>
                  </a:lnTo>
                  <a:lnTo>
                    <a:pt x="1762" y="981"/>
                  </a:lnTo>
                  <a:lnTo>
                    <a:pt x="1762" y="978"/>
                  </a:lnTo>
                  <a:lnTo>
                    <a:pt x="1759" y="975"/>
                  </a:lnTo>
                  <a:lnTo>
                    <a:pt x="1761" y="978"/>
                  </a:lnTo>
                  <a:lnTo>
                    <a:pt x="1761" y="981"/>
                  </a:lnTo>
                  <a:lnTo>
                    <a:pt x="1758" y="981"/>
                  </a:lnTo>
                  <a:lnTo>
                    <a:pt x="1754" y="978"/>
                  </a:lnTo>
                  <a:lnTo>
                    <a:pt x="1756" y="981"/>
                  </a:lnTo>
                  <a:lnTo>
                    <a:pt x="1753" y="978"/>
                  </a:lnTo>
                  <a:lnTo>
                    <a:pt x="1751" y="981"/>
                  </a:lnTo>
                  <a:lnTo>
                    <a:pt x="1750" y="984"/>
                  </a:lnTo>
                  <a:lnTo>
                    <a:pt x="1750" y="986"/>
                  </a:lnTo>
                  <a:lnTo>
                    <a:pt x="1753" y="986"/>
                  </a:lnTo>
                  <a:lnTo>
                    <a:pt x="1756" y="988"/>
                  </a:lnTo>
                  <a:lnTo>
                    <a:pt x="1756" y="988"/>
                  </a:lnTo>
                  <a:lnTo>
                    <a:pt x="1759" y="991"/>
                  </a:lnTo>
                  <a:lnTo>
                    <a:pt x="1761" y="994"/>
                  </a:lnTo>
                  <a:lnTo>
                    <a:pt x="1758" y="992"/>
                  </a:lnTo>
                  <a:lnTo>
                    <a:pt x="1756" y="994"/>
                  </a:lnTo>
                  <a:lnTo>
                    <a:pt x="1761" y="996"/>
                  </a:lnTo>
                  <a:lnTo>
                    <a:pt x="1762" y="999"/>
                  </a:lnTo>
                  <a:lnTo>
                    <a:pt x="1759" y="1002"/>
                  </a:lnTo>
                  <a:lnTo>
                    <a:pt x="1754" y="1002"/>
                  </a:lnTo>
                  <a:lnTo>
                    <a:pt x="1750" y="1000"/>
                  </a:lnTo>
                  <a:lnTo>
                    <a:pt x="1746" y="999"/>
                  </a:lnTo>
                  <a:lnTo>
                    <a:pt x="1743" y="997"/>
                  </a:lnTo>
                  <a:lnTo>
                    <a:pt x="1745" y="997"/>
                  </a:lnTo>
                  <a:lnTo>
                    <a:pt x="1748" y="1000"/>
                  </a:lnTo>
                  <a:lnTo>
                    <a:pt x="1750" y="1003"/>
                  </a:lnTo>
                  <a:lnTo>
                    <a:pt x="1753" y="1002"/>
                  </a:lnTo>
                  <a:lnTo>
                    <a:pt x="1756" y="1003"/>
                  </a:lnTo>
                  <a:lnTo>
                    <a:pt x="1758" y="1003"/>
                  </a:lnTo>
                  <a:lnTo>
                    <a:pt x="1759" y="1007"/>
                  </a:lnTo>
                  <a:lnTo>
                    <a:pt x="1762" y="1011"/>
                  </a:lnTo>
                  <a:lnTo>
                    <a:pt x="1764" y="1015"/>
                  </a:lnTo>
                  <a:lnTo>
                    <a:pt x="1764" y="1018"/>
                  </a:lnTo>
                  <a:lnTo>
                    <a:pt x="1761" y="1018"/>
                  </a:lnTo>
                  <a:lnTo>
                    <a:pt x="1758" y="1021"/>
                  </a:lnTo>
                  <a:lnTo>
                    <a:pt x="1759" y="1026"/>
                  </a:lnTo>
                  <a:lnTo>
                    <a:pt x="1754" y="1022"/>
                  </a:lnTo>
                  <a:lnTo>
                    <a:pt x="1754" y="1019"/>
                  </a:lnTo>
                  <a:lnTo>
                    <a:pt x="1751" y="1016"/>
                  </a:lnTo>
                  <a:lnTo>
                    <a:pt x="1750" y="1015"/>
                  </a:lnTo>
                  <a:lnTo>
                    <a:pt x="1748" y="1019"/>
                  </a:lnTo>
                  <a:lnTo>
                    <a:pt x="1745" y="1019"/>
                  </a:lnTo>
                  <a:lnTo>
                    <a:pt x="1750" y="1021"/>
                  </a:lnTo>
                  <a:lnTo>
                    <a:pt x="1748" y="1024"/>
                  </a:lnTo>
                  <a:lnTo>
                    <a:pt x="1746" y="1027"/>
                  </a:lnTo>
                  <a:lnTo>
                    <a:pt x="1745" y="1032"/>
                  </a:lnTo>
                  <a:lnTo>
                    <a:pt x="1742" y="1032"/>
                  </a:lnTo>
                  <a:lnTo>
                    <a:pt x="1738" y="1029"/>
                  </a:lnTo>
                  <a:lnTo>
                    <a:pt x="1735" y="1029"/>
                  </a:lnTo>
                  <a:lnTo>
                    <a:pt x="1731" y="1027"/>
                  </a:lnTo>
                  <a:lnTo>
                    <a:pt x="1732" y="1029"/>
                  </a:lnTo>
                  <a:lnTo>
                    <a:pt x="1737" y="1030"/>
                  </a:lnTo>
                  <a:lnTo>
                    <a:pt x="1740" y="1032"/>
                  </a:lnTo>
                  <a:lnTo>
                    <a:pt x="1743" y="1035"/>
                  </a:lnTo>
                  <a:lnTo>
                    <a:pt x="1742" y="1038"/>
                  </a:lnTo>
                  <a:lnTo>
                    <a:pt x="1742" y="1040"/>
                  </a:lnTo>
                  <a:lnTo>
                    <a:pt x="1740" y="1043"/>
                  </a:lnTo>
                  <a:lnTo>
                    <a:pt x="1740" y="1046"/>
                  </a:lnTo>
                  <a:lnTo>
                    <a:pt x="1738" y="1049"/>
                  </a:lnTo>
                  <a:lnTo>
                    <a:pt x="1742" y="1053"/>
                  </a:lnTo>
                  <a:lnTo>
                    <a:pt x="1738" y="1057"/>
                  </a:lnTo>
                  <a:lnTo>
                    <a:pt x="1740" y="1061"/>
                  </a:lnTo>
                  <a:lnTo>
                    <a:pt x="1740" y="1064"/>
                  </a:lnTo>
                  <a:lnTo>
                    <a:pt x="1735" y="1064"/>
                  </a:lnTo>
                  <a:lnTo>
                    <a:pt x="1737" y="1065"/>
                  </a:lnTo>
                  <a:lnTo>
                    <a:pt x="1734" y="1062"/>
                  </a:lnTo>
                  <a:lnTo>
                    <a:pt x="1732" y="1062"/>
                  </a:lnTo>
                  <a:lnTo>
                    <a:pt x="1729" y="1059"/>
                  </a:lnTo>
                  <a:lnTo>
                    <a:pt x="1731" y="1062"/>
                  </a:lnTo>
                  <a:lnTo>
                    <a:pt x="1734" y="1062"/>
                  </a:lnTo>
                  <a:lnTo>
                    <a:pt x="1737" y="1067"/>
                  </a:lnTo>
                  <a:lnTo>
                    <a:pt x="1735" y="1067"/>
                  </a:lnTo>
                  <a:lnTo>
                    <a:pt x="1732" y="1067"/>
                  </a:lnTo>
                  <a:lnTo>
                    <a:pt x="1732" y="1072"/>
                  </a:lnTo>
                  <a:lnTo>
                    <a:pt x="1731" y="1075"/>
                  </a:lnTo>
                  <a:lnTo>
                    <a:pt x="1726" y="1076"/>
                  </a:lnTo>
                  <a:lnTo>
                    <a:pt x="1729" y="1080"/>
                  </a:lnTo>
                  <a:lnTo>
                    <a:pt x="1731" y="1084"/>
                  </a:lnTo>
                  <a:lnTo>
                    <a:pt x="1731" y="1087"/>
                  </a:lnTo>
                  <a:lnTo>
                    <a:pt x="1727" y="1087"/>
                  </a:lnTo>
                  <a:lnTo>
                    <a:pt x="1726" y="1089"/>
                  </a:lnTo>
                  <a:lnTo>
                    <a:pt x="1721" y="1089"/>
                  </a:lnTo>
                  <a:lnTo>
                    <a:pt x="1726" y="1086"/>
                  </a:lnTo>
                  <a:lnTo>
                    <a:pt x="1726" y="1083"/>
                  </a:lnTo>
                  <a:lnTo>
                    <a:pt x="1726" y="1081"/>
                  </a:lnTo>
                  <a:lnTo>
                    <a:pt x="1723" y="1081"/>
                  </a:lnTo>
                  <a:lnTo>
                    <a:pt x="1721" y="1086"/>
                  </a:lnTo>
                  <a:lnTo>
                    <a:pt x="1718" y="1081"/>
                  </a:lnTo>
                  <a:lnTo>
                    <a:pt x="1716" y="1078"/>
                  </a:lnTo>
                  <a:lnTo>
                    <a:pt x="1713" y="1081"/>
                  </a:lnTo>
                  <a:lnTo>
                    <a:pt x="1710" y="1081"/>
                  </a:lnTo>
                  <a:lnTo>
                    <a:pt x="1712" y="1084"/>
                  </a:lnTo>
                  <a:lnTo>
                    <a:pt x="1712" y="1087"/>
                  </a:lnTo>
                  <a:lnTo>
                    <a:pt x="1716" y="1087"/>
                  </a:lnTo>
                  <a:lnTo>
                    <a:pt x="1719" y="1091"/>
                  </a:lnTo>
                  <a:lnTo>
                    <a:pt x="1719" y="1091"/>
                  </a:lnTo>
                  <a:lnTo>
                    <a:pt x="1719" y="1095"/>
                  </a:lnTo>
                  <a:lnTo>
                    <a:pt x="1716" y="1094"/>
                  </a:lnTo>
                  <a:lnTo>
                    <a:pt x="1718" y="1099"/>
                  </a:lnTo>
                  <a:lnTo>
                    <a:pt x="1721" y="1099"/>
                  </a:lnTo>
                  <a:lnTo>
                    <a:pt x="1723" y="1095"/>
                  </a:lnTo>
                  <a:lnTo>
                    <a:pt x="1726" y="1100"/>
                  </a:lnTo>
                  <a:lnTo>
                    <a:pt x="1721" y="1102"/>
                  </a:lnTo>
                  <a:lnTo>
                    <a:pt x="1718" y="1105"/>
                  </a:lnTo>
                  <a:lnTo>
                    <a:pt x="1716" y="1108"/>
                  </a:lnTo>
                  <a:lnTo>
                    <a:pt x="1713" y="1113"/>
                  </a:lnTo>
                  <a:lnTo>
                    <a:pt x="1707" y="1110"/>
                  </a:lnTo>
                  <a:lnTo>
                    <a:pt x="1700" y="1107"/>
                  </a:lnTo>
                  <a:lnTo>
                    <a:pt x="1702" y="1108"/>
                  </a:lnTo>
                  <a:lnTo>
                    <a:pt x="1705" y="1111"/>
                  </a:lnTo>
                  <a:lnTo>
                    <a:pt x="1707" y="1114"/>
                  </a:lnTo>
                  <a:lnTo>
                    <a:pt x="1708" y="1114"/>
                  </a:lnTo>
                  <a:lnTo>
                    <a:pt x="1712" y="1116"/>
                  </a:lnTo>
                  <a:lnTo>
                    <a:pt x="1715" y="1114"/>
                  </a:lnTo>
                  <a:lnTo>
                    <a:pt x="1716" y="1111"/>
                  </a:lnTo>
                  <a:lnTo>
                    <a:pt x="1719" y="1111"/>
                  </a:lnTo>
                  <a:lnTo>
                    <a:pt x="1723" y="1114"/>
                  </a:lnTo>
                  <a:lnTo>
                    <a:pt x="1719" y="1118"/>
                  </a:lnTo>
                  <a:lnTo>
                    <a:pt x="1721" y="1121"/>
                  </a:lnTo>
                  <a:lnTo>
                    <a:pt x="1719" y="1126"/>
                  </a:lnTo>
                  <a:lnTo>
                    <a:pt x="1719" y="1126"/>
                  </a:lnTo>
                  <a:lnTo>
                    <a:pt x="1718" y="1129"/>
                  </a:lnTo>
                  <a:lnTo>
                    <a:pt x="1718" y="1130"/>
                  </a:lnTo>
                  <a:lnTo>
                    <a:pt x="1723" y="1132"/>
                  </a:lnTo>
                  <a:lnTo>
                    <a:pt x="1724" y="1135"/>
                  </a:lnTo>
                  <a:lnTo>
                    <a:pt x="1724" y="1138"/>
                  </a:lnTo>
                  <a:lnTo>
                    <a:pt x="1723" y="1135"/>
                  </a:lnTo>
                  <a:lnTo>
                    <a:pt x="1721" y="1138"/>
                  </a:lnTo>
                  <a:lnTo>
                    <a:pt x="1718" y="1135"/>
                  </a:lnTo>
                  <a:lnTo>
                    <a:pt x="1715" y="1132"/>
                  </a:lnTo>
                  <a:lnTo>
                    <a:pt x="1712" y="1130"/>
                  </a:lnTo>
                  <a:lnTo>
                    <a:pt x="1712" y="1133"/>
                  </a:lnTo>
                  <a:lnTo>
                    <a:pt x="1712" y="1135"/>
                  </a:lnTo>
                  <a:lnTo>
                    <a:pt x="1707" y="1137"/>
                  </a:lnTo>
                  <a:lnTo>
                    <a:pt x="1712" y="1140"/>
                  </a:lnTo>
                  <a:lnTo>
                    <a:pt x="1715" y="1140"/>
                  </a:lnTo>
                  <a:lnTo>
                    <a:pt x="1716" y="1145"/>
                  </a:lnTo>
                  <a:lnTo>
                    <a:pt x="1712" y="1146"/>
                  </a:lnTo>
                  <a:lnTo>
                    <a:pt x="1708" y="1146"/>
                  </a:lnTo>
                  <a:lnTo>
                    <a:pt x="1708" y="1149"/>
                  </a:lnTo>
                  <a:lnTo>
                    <a:pt x="1707" y="1145"/>
                  </a:lnTo>
                  <a:lnTo>
                    <a:pt x="1704" y="1141"/>
                  </a:lnTo>
                  <a:lnTo>
                    <a:pt x="1700" y="1145"/>
                  </a:lnTo>
                  <a:lnTo>
                    <a:pt x="1704" y="1146"/>
                  </a:lnTo>
                  <a:lnTo>
                    <a:pt x="1704" y="1149"/>
                  </a:lnTo>
                  <a:lnTo>
                    <a:pt x="1704" y="1153"/>
                  </a:lnTo>
                  <a:lnTo>
                    <a:pt x="1707" y="1154"/>
                  </a:lnTo>
                  <a:lnTo>
                    <a:pt x="1705" y="1157"/>
                  </a:lnTo>
                  <a:lnTo>
                    <a:pt x="1702" y="1159"/>
                  </a:lnTo>
                  <a:lnTo>
                    <a:pt x="1697" y="1160"/>
                  </a:lnTo>
                  <a:lnTo>
                    <a:pt x="1697" y="1156"/>
                  </a:lnTo>
                  <a:lnTo>
                    <a:pt x="1696" y="1160"/>
                  </a:lnTo>
                  <a:lnTo>
                    <a:pt x="1696" y="1162"/>
                  </a:lnTo>
                  <a:lnTo>
                    <a:pt x="1699" y="1162"/>
                  </a:lnTo>
                  <a:lnTo>
                    <a:pt x="1700" y="1165"/>
                  </a:lnTo>
                  <a:lnTo>
                    <a:pt x="1699" y="1170"/>
                  </a:lnTo>
                  <a:lnTo>
                    <a:pt x="1697" y="1173"/>
                  </a:lnTo>
                  <a:lnTo>
                    <a:pt x="1694" y="1170"/>
                  </a:lnTo>
                  <a:lnTo>
                    <a:pt x="1691" y="1167"/>
                  </a:lnTo>
                  <a:lnTo>
                    <a:pt x="1689" y="1170"/>
                  </a:lnTo>
                  <a:lnTo>
                    <a:pt x="1688" y="1172"/>
                  </a:lnTo>
                  <a:lnTo>
                    <a:pt x="1685" y="1173"/>
                  </a:lnTo>
                  <a:lnTo>
                    <a:pt x="1681" y="1168"/>
                  </a:lnTo>
                  <a:lnTo>
                    <a:pt x="1678" y="1172"/>
                  </a:lnTo>
                  <a:lnTo>
                    <a:pt x="1678" y="1172"/>
                  </a:lnTo>
                  <a:lnTo>
                    <a:pt x="1675" y="1173"/>
                  </a:lnTo>
                  <a:lnTo>
                    <a:pt x="1677" y="1176"/>
                  </a:lnTo>
                  <a:lnTo>
                    <a:pt x="1675" y="1176"/>
                  </a:lnTo>
                  <a:lnTo>
                    <a:pt x="1672" y="1175"/>
                  </a:lnTo>
                  <a:lnTo>
                    <a:pt x="1669" y="1175"/>
                  </a:lnTo>
                  <a:lnTo>
                    <a:pt x="1670" y="1178"/>
                  </a:lnTo>
                  <a:lnTo>
                    <a:pt x="1675" y="1178"/>
                  </a:lnTo>
                  <a:lnTo>
                    <a:pt x="1678" y="1178"/>
                  </a:lnTo>
                  <a:lnTo>
                    <a:pt x="1678" y="1181"/>
                  </a:lnTo>
                  <a:lnTo>
                    <a:pt x="1681" y="1183"/>
                  </a:lnTo>
                  <a:lnTo>
                    <a:pt x="1678" y="1186"/>
                  </a:lnTo>
                  <a:lnTo>
                    <a:pt x="1675" y="1186"/>
                  </a:lnTo>
                  <a:lnTo>
                    <a:pt x="1675" y="1189"/>
                  </a:lnTo>
                  <a:lnTo>
                    <a:pt x="1675" y="1192"/>
                  </a:lnTo>
                  <a:lnTo>
                    <a:pt x="1670" y="1195"/>
                  </a:lnTo>
                  <a:lnTo>
                    <a:pt x="1672" y="1192"/>
                  </a:lnTo>
                  <a:lnTo>
                    <a:pt x="1667" y="1192"/>
                  </a:lnTo>
                  <a:lnTo>
                    <a:pt x="1667" y="1192"/>
                  </a:lnTo>
                  <a:lnTo>
                    <a:pt x="1669" y="1195"/>
                  </a:lnTo>
                  <a:lnTo>
                    <a:pt x="1667" y="1200"/>
                  </a:lnTo>
                  <a:lnTo>
                    <a:pt x="1667" y="1203"/>
                  </a:lnTo>
                  <a:lnTo>
                    <a:pt x="1666" y="1200"/>
                  </a:lnTo>
                  <a:lnTo>
                    <a:pt x="1662" y="1200"/>
                  </a:lnTo>
                  <a:lnTo>
                    <a:pt x="1659" y="1203"/>
                  </a:lnTo>
                  <a:lnTo>
                    <a:pt x="1656" y="1203"/>
                  </a:lnTo>
                  <a:lnTo>
                    <a:pt x="1656" y="1206"/>
                  </a:lnTo>
                  <a:lnTo>
                    <a:pt x="1653" y="1210"/>
                  </a:lnTo>
                  <a:lnTo>
                    <a:pt x="1650" y="1213"/>
                  </a:lnTo>
                  <a:lnTo>
                    <a:pt x="1646" y="1210"/>
                  </a:lnTo>
                  <a:lnTo>
                    <a:pt x="1643" y="1210"/>
                  </a:lnTo>
                  <a:lnTo>
                    <a:pt x="1643" y="1213"/>
                  </a:lnTo>
                  <a:lnTo>
                    <a:pt x="1643" y="1216"/>
                  </a:lnTo>
                  <a:lnTo>
                    <a:pt x="1642" y="1219"/>
                  </a:lnTo>
                  <a:lnTo>
                    <a:pt x="1642" y="1219"/>
                  </a:lnTo>
                  <a:lnTo>
                    <a:pt x="1637" y="1221"/>
                  </a:lnTo>
                  <a:lnTo>
                    <a:pt x="1635" y="1221"/>
                  </a:lnTo>
                  <a:lnTo>
                    <a:pt x="1632" y="1221"/>
                  </a:lnTo>
                  <a:lnTo>
                    <a:pt x="1635" y="1222"/>
                  </a:lnTo>
                  <a:lnTo>
                    <a:pt x="1637" y="1221"/>
                  </a:lnTo>
                  <a:lnTo>
                    <a:pt x="1640" y="1224"/>
                  </a:lnTo>
                  <a:lnTo>
                    <a:pt x="1642" y="1227"/>
                  </a:lnTo>
                  <a:lnTo>
                    <a:pt x="1639" y="1224"/>
                  </a:lnTo>
                  <a:lnTo>
                    <a:pt x="1637" y="1229"/>
                  </a:lnTo>
                  <a:lnTo>
                    <a:pt x="1635" y="1227"/>
                  </a:lnTo>
                  <a:lnTo>
                    <a:pt x="1635" y="1227"/>
                  </a:lnTo>
                  <a:lnTo>
                    <a:pt x="1634" y="1229"/>
                  </a:lnTo>
                  <a:lnTo>
                    <a:pt x="1634" y="1232"/>
                  </a:lnTo>
                  <a:lnTo>
                    <a:pt x="1634" y="1235"/>
                  </a:lnTo>
                  <a:lnTo>
                    <a:pt x="1634" y="1237"/>
                  </a:lnTo>
                  <a:lnTo>
                    <a:pt x="1631" y="1238"/>
                  </a:lnTo>
                  <a:lnTo>
                    <a:pt x="1627" y="1238"/>
                  </a:lnTo>
                  <a:lnTo>
                    <a:pt x="1624" y="1238"/>
                  </a:lnTo>
                  <a:lnTo>
                    <a:pt x="1621" y="1240"/>
                  </a:lnTo>
                  <a:lnTo>
                    <a:pt x="1620" y="1240"/>
                  </a:lnTo>
                  <a:lnTo>
                    <a:pt x="1618" y="1238"/>
                  </a:lnTo>
                  <a:lnTo>
                    <a:pt x="1620" y="1240"/>
                  </a:lnTo>
                  <a:lnTo>
                    <a:pt x="1618" y="1241"/>
                  </a:lnTo>
                  <a:lnTo>
                    <a:pt x="1615" y="1243"/>
                  </a:lnTo>
                  <a:lnTo>
                    <a:pt x="1610" y="1243"/>
                  </a:lnTo>
                  <a:lnTo>
                    <a:pt x="1610" y="1243"/>
                  </a:lnTo>
                  <a:lnTo>
                    <a:pt x="1607" y="1241"/>
                  </a:lnTo>
                  <a:lnTo>
                    <a:pt x="1607" y="1238"/>
                  </a:lnTo>
                  <a:lnTo>
                    <a:pt x="1604" y="1240"/>
                  </a:lnTo>
                  <a:lnTo>
                    <a:pt x="1601" y="1240"/>
                  </a:lnTo>
                  <a:lnTo>
                    <a:pt x="1597" y="1238"/>
                  </a:lnTo>
                  <a:lnTo>
                    <a:pt x="1599" y="1241"/>
                  </a:lnTo>
                  <a:lnTo>
                    <a:pt x="1602" y="1243"/>
                  </a:lnTo>
                  <a:lnTo>
                    <a:pt x="1602" y="1246"/>
                  </a:lnTo>
                  <a:lnTo>
                    <a:pt x="1604" y="1249"/>
                  </a:lnTo>
                  <a:lnTo>
                    <a:pt x="1602" y="1249"/>
                  </a:lnTo>
                  <a:lnTo>
                    <a:pt x="1599" y="1248"/>
                  </a:lnTo>
                  <a:lnTo>
                    <a:pt x="1596" y="1244"/>
                  </a:lnTo>
                  <a:lnTo>
                    <a:pt x="1596" y="1244"/>
                  </a:lnTo>
                  <a:lnTo>
                    <a:pt x="1591" y="1244"/>
                  </a:lnTo>
                  <a:lnTo>
                    <a:pt x="1591" y="1244"/>
                  </a:lnTo>
                  <a:lnTo>
                    <a:pt x="1591" y="1241"/>
                  </a:lnTo>
                  <a:lnTo>
                    <a:pt x="1588" y="1244"/>
                  </a:lnTo>
                  <a:lnTo>
                    <a:pt x="1585" y="1244"/>
                  </a:lnTo>
                  <a:lnTo>
                    <a:pt x="1583" y="1248"/>
                  </a:lnTo>
                  <a:lnTo>
                    <a:pt x="1581" y="1248"/>
                  </a:lnTo>
                  <a:lnTo>
                    <a:pt x="1578" y="1246"/>
                  </a:lnTo>
                  <a:lnTo>
                    <a:pt x="1581" y="1249"/>
                  </a:lnTo>
                  <a:lnTo>
                    <a:pt x="1580" y="1252"/>
                  </a:lnTo>
                  <a:lnTo>
                    <a:pt x="1575" y="1252"/>
                  </a:lnTo>
                  <a:lnTo>
                    <a:pt x="1574" y="1251"/>
                  </a:lnTo>
                  <a:lnTo>
                    <a:pt x="1574" y="1248"/>
                  </a:lnTo>
                  <a:lnTo>
                    <a:pt x="1575" y="1243"/>
                  </a:lnTo>
                  <a:lnTo>
                    <a:pt x="1572" y="1244"/>
                  </a:lnTo>
                  <a:lnTo>
                    <a:pt x="1569" y="1246"/>
                  </a:lnTo>
                  <a:lnTo>
                    <a:pt x="1566" y="1249"/>
                  </a:lnTo>
                  <a:lnTo>
                    <a:pt x="1569" y="1249"/>
                  </a:lnTo>
                  <a:lnTo>
                    <a:pt x="1567" y="1254"/>
                  </a:lnTo>
                  <a:lnTo>
                    <a:pt x="1570" y="1256"/>
                  </a:lnTo>
                  <a:lnTo>
                    <a:pt x="1567" y="1257"/>
                  </a:lnTo>
                  <a:lnTo>
                    <a:pt x="1566" y="1254"/>
                  </a:lnTo>
                  <a:lnTo>
                    <a:pt x="1564" y="1252"/>
                  </a:lnTo>
                  <a:lnTo>
                    <a:pt x="1562" y="1251"/>
                  </a:lnTo>
                  <a:lnTo>
                    <a:pt x="1559" y="1252"/>
                  </a:lnTo>
                  <a:lnTo>
                    <a:pt x="1559" y="1252"/>
                  </a:lnTo>
                  <a:lnTo>
                    <a:pt x="1556" y="1254"/>
                  </a:lnTo>
                  <a:lnTo>
                    <a:pt x="1556" y="1254"/>
                  </a:lnTo>
                  <a:lnTo>
                    <a:pt x="1553" y="1254"/>
                  </a:lnTo>
                  <a:lnTo>
                    <a:pt x="1553" y="1254"/>
                  </a:lnTo>
                  <a:lnTo>
                    <a:pt x="1550" y="1256"/>
                  </a:lnTo>
                  <a:lnTo>
                    <a:pt x="1548" y="1256"/>
                  </a:lnTo>
                  <a:lnTo>
                    <a:pt x="1547" y="1254"/>
                  </a:lnTo>
                  <a:lnTo>
                    <a:pt x="1545" y="1257"/>
                  </a:lnTo>
                  <a:lnTo>
                    <a:pt x="1545" y="1256"/>
                  </a:lnTo>
                  <a:lnTo>
                    <a:pt x="1542" y="1252"/>
                  </a:lnTo>
                  <a:lnTo>
                    <a:pt x="1540" y="1249"/>
                  </a:lnTo>
                  <a:lnTo>
                    <a:pt x="1539" y="1244"/>
                  </a:lnTo>
                  <a:lnTo>
                    <a:pt x="1535" y="1246"/>
                  </a:lnTo>
                  <a:lnTo>
                    <a:pt x="1535" y="1243"/>
                  </a:lnTo>
                  <a:lnTo>
                    <a:pt x="1532" y="1241"/>
                  </a:lnTo>
                  <a:lnTo>
                    <a:pt x="1532" y="1238"/>
                  </a:lnTo>
                  <a:lnTo>
                    <a:pt x="1532" y="1233"/>
                  </a:lnTo>
                  <a:lnTo>
                    <a:pt x="1532" y="1235"/>
                  </a:lnTo>
                  <a:lnTo>
                    <a:pt x="1532" y="1238"/>
                  </a:lnTo>
                  <a:lnTo>
                    <a:pt x="1531" y="1235"/>
                  </a:lnTo>
                  <a:lnTo>
                    <a:pt x="1529" y="1235"/>
                  </a:lnTo>
                  <a:lnTo>
                    <a:pt x="1532" y="1230"/>
                  </a:lnTo>
                  <a:lnTo>
                    <a:pt x="1532" y="1230"/>
                  </a:lnTo>
                  <a:lnTo>
                    <a:pt x="1535" y="1230"/>
                  </a:lnTo>
                  <a:lnTo>
                    <a:pt x="1539" y="1230"/>
                  </a:lnTo>
                  <a:lnTo>
                    <a:pt x="1539" y="1230"/>
                  </a:lnTo>
                  <a:lnTo>
                    <a:pt x="1535" y="1229"/>
                  </a:lnTo>
                  <a:lnTo>
                    <a:pt x="1531" y="1230"/>
                  </a:lnTo>
                  <a:lnTo>
                    <a:pt x="1531" y="1230"/>
                  </a:lnTo>
                  <a:lnTo>
                    <a:pt x="1528" y="1233"/>
                  </a:lnTo>
                  <a:lnTo>
                    <a:pt x="1524" y="1232"/>
                  </a:lnTo>
                  <a:lnTo>
                    <a:pt x="1524" y="1233"/>
                  </a:lnTo>
                  <a:lnTo>
                    <a:pt x="1528" y="1235"/>
                  </a:lnTo>
                  <a:lnTo>
                    <a:pt x="1526" y="1238"/>
                  </a:lnTo>
                  <a:lnTo>
                    <a:pt x="1524" y="1238"/>
                  </a:lnTo>
                  <a:lnTo>
                    <a:pt x="1521" y="1240"/>
                  </a:lnTo>
                  <a:lnTo>
                    <a:pt x="1521" y="1240"/>
                  </a:lnTo>
                  <a:lnTo>
                    <a:pt x="1518" y="1240"/>
                  </a:lnTo>
                  <a:lnTo>
                    <a:pt x="1521" y="1240"/>
                  </a:lnTo>
                  <a:lnTo>
                    <a:pt x="1521" y="1240"/>
                  </a:lnTo>
                  <a:lnTo>
                    <a:pt x="1524" y="1241"/>
                  </a:lnTo>
                  <a:lnTo>
                    <a:pt x="1529" y="1244"/>
                  </a:lnTo>
                  <a:lnTo>
                    <a:pt x="1528" y="1246"/>
                  </a:lnTo>
                  <a:lnTo>
                    <a:pt x="1526" y="1244"/>
                  </a:lnTo>
                  <a:lnTo>
                    <a:pt x="1528" y="1246"/>
                  </a:lnTo>
                  <a:lnTo>
                    <a:pt x="1531" y="1249"/>
                  </a:lnTo>
                  <a:lnTo>
                    <a:pt x="1532" y="1252"/>
                  </a:lnTo>
                  <a:lnTo>
                    <a:pt x="1534" y="1256"/>
                  </a:lnTo>
                  <a:lnTo>
                    <a:pt x="1534" y="1259"/>
                  </a:lnTo>
                  <a:lnTo>
                    <a:pt x="1534" y="1260"/>
                  </a:lnTo>
                  <a:lnTo>
                    <a:pt x="1535" y="1264"/>
                  </a:lnTo>
                  <a:lnTo>
                    <a:pt x="1535" y="1267"/>
                  </a:lnTo>
                  <a:lnTo>
                    <a:pt x="1535" y="1267"/>
                  </a:lnTo>
                  <a:lnTo>
                    <a:pt x="1535" y="1268"/>
                  </a:lnTo>
                  <a:lnTo>
                    <a:pt x="1534" y="1268"/>
                  </a:lnTo>
                  <a:lnTo>
                    <a:pt x="1531" y="1268"/>
                  </a:lnTo>
                  <a:lnTo>
                    <a:pt x="1529" y="1265"/>
                  </a:lnTo>
                  <a:lnTo>
                    <a:pt x="1526" y="1262"/>
                  </a:lnTo>
                  <a:lnTo>
                    <a:pt x="1523" y="1259"/>
                  </a:lnTo>
                  <a:lnTo>
                    <a:pt x="1521" y="1257"/>
                  </a:lnTo>
                  <a:lnTo>
                    <a:pt x="1520" y="1252"/>
                  </a:lnTo>
                  <a:lnTo>
                    <a:pt x="1520" y="1252"/>
                  </a:lnTo>
                  <a:lnTo>
                    <a:pt x="1520" y="1256"/>
                  </a:lnTo>
                  <a:lnTo>
                    <a:pt x="1523" y="1259"/>
                  </a:lnTo>
                  <a:lnTo>
                    <a:pt x="1524" y="1262"/>
                  </a:lnTo>
                  <a:lnTo>
                    <a:pt x="1529" y="1268"/>
                  </a:lnTo>
                  <a:lnTo>
                    <a:pt x="1526" y="1271"/>
                  </a:lnTo>
                  <a:lnTo>
                    <a:pt x="1524" y="1275"/>
                  </a:lnTo>
                  <a:lnTo>
                    <a:pt x="1521" y="1271"/>
                  </a:lnTo>
                  <a:lnTo>
                    <a:pt x="1520" y="1268"/>
                  </a:lnTo>
                  <a:lnTo>
                    <a:pt x="1520" y="1268"/>
                  </a:lnTo>
                  <a:lnTo>
                    <a:pt x="1516" y="1271"/>
                  </a:lnTo>
                  <a:lnTo>
                    <a:pt x="1516" y="1275"/>
                  </a:lnTo>
                  <a:lnTo>
                    <a:pt x="1518" y="1278"/>
                  </a:lnTo>
                  <a:lnTo>
                    <a:pt x="1516" y="1281"/>
                  </a:lnTo>
                  <a:lnTo>
                    <a:pt x="1512" y="1279"/>
                  </a:lnTo>
                  <a:lnTo>
                    <a:pt x="1509" y="1279"/>
                  </a:lnTo>
                  <a:lnTo>
                    <a:pt x="1507" y="1283"/>
                  </a:lnTo>
                  <a:lnTo>
                    <a:pt x="1504" y="1286"/>
                  </a:lnTo>
                  <a:lnTo>
                    <a:pt x="1501" y="1284"/>
                  </a:lnTo>
                  <a:lnTo>
                    <a:pt x="1497" y="1281"/>
                  </a:lnTo>
                  <a:lnTo>
                    <a:pt x="1499" y="1278"/>
                  </a:lnTo>
                  <a:lnTo>
                    <a:pt x="1496" y="1278"/>
                  </a:lnTo>
                  <a:lnTo>
                    <a:pt x="1494" y="1275"/>
                  </a:lnTo>
                  <a:lnTo>
                    <a:pt x="1494" y="1278"/>
                  </a:lnTo>
                  <a:lnTo>
                    <a:pt x="1496" y="1281"/>
                  </a:lnTo>
                  <a:lnTo>
                    <a:pt x="1497" y="1284"/>
                  </a:lnTo>
                  <a:lnTo>
                    <a:pt x="1494" y="1289"/>
                  </a:lnTo>
                  <a:lnTo>
                    <a:pt x="1491" y="1287"/>
                  </a:lnTo>
                  <a:lnTo>
                    <a:pt x="1488" y="1284"/>
                  </a:lnTo>
                  <a:lnTo>
                    <a:pt x="1483" y="1283"/>
                  </a:lnTo>
                  <a:lnTo>
                    <a:pt x="1483" y="1283"/>
                  </a:lnTo>
                  <a:lnTo>
                    <a:pt x="1482" y="1283"/>
                  </a:lnTo>
                  <a:lnTo>
                    <a:pt x="1480" y="1281"/>
                  </a:lnTo>
                  <a:lnTo>
                    <a:pt x="1478" y="1281"/>
                  </a:lnTo>
                  <a:lnTo>
                    <a:pt x="1480" y="1284"/>
                  </a:lnTo>
                  <a:lnTo>
                    <a:pt x="1480" y="1287"/>
                  </a:lnTo>
                  <a:lnTo>
                    <a:pt x="1480" y="1289"/>
                  </a:lnTo>
                  <a:lnTo>
                    <a:pt x="1475" y="1286"/>
                  </a:lnTo>
                  <a:lnTo>
                    <a:pt x="1472" y="1286"/>
                  </a:lnTo>
                  <a:lnTo>
                    <a:pt x="1475" y="1289"/>
                  </a:lnTo>
                  <a:lnTo>
                    <a:pt x="1475" y="1292"/>
                  </a:lnTo>
                  <a:lnTo>
                    <a:pt x="1470" y="1295"/>
                  </a:lnTo>
                  <a:lnTo>
                    <a:pt x="1467" y="1295"/>
                  </a:lnTo>
                  <a:lnTo>
                    <a:pt x="1464" y="1294"/>
                  </a:lnTo>
                  <a:lnTo>
                    <a:pt x="1464" y="1294"/>
                  </a:lnTo>
                  <a:lnTo>
                    <a:pt x="1463" y="1295"/>
                  </a:lnTo>
                  <a:lnTo>
                    <a:pt x="1463" y="1295"/>
                  </a:lnTo>
                  <a:lnTo>
                    <a:pt x="1463" y="1297"/>
                  </a:lnTo>
                  <a:lnTo>
                    <a:pt x="1459" y="1300"/>
                  </a:lnTo>
                  <a:lnTo>
                    <a:pt x="1461" y="1297"/>
                  </a:lnTo>
                  <a:lnTo>
                    <a:pt x="1456" y="1297"/>
                  </a:lnTo>
                  <a:lnTo>
                    <a:pt x="1456" y="1298"/>
                  </a:lnTo>
                  <a:lnTo>
                    <a:pt x="1451" y="1298"/>
                  </a:lnTo>
                  <a:lnTo>
                    <a:pt x="1445" y="1302"/>
                  </a:lnTo>
                  <a:lnTo>
                    <a:pt x="1442" y="1302"/>
                  </a:lnTo>
                  <a:lnTo>
                    <a:pt x="1439" y="1305"/>
                  </a:lnTo>
                  <a:lnTo>
                    <a:pt x="1440" y="1302"/>
                  </a:lnTo>
                  <a:lnTo>
                    <a:pt x="1442" y="1298"/>
                  </a:lnTo>
                  <a:lnTo>
                    <a:pt x="1439" y="1302"/>
                  </a:lnTo>
                  <a:lnTo>
                    <a:pt x="1437" y="1305"/>
                  </a:lnTo>
                  <a:lnTo>
                    <a:pt x="1439" y="1308"/>
                  </a:lnTo>
                  <a:lnTo>
                    <a:pt x="1436" y="1308"/>
                  </a:lnTo>
                  <a:lnTo>
                    <a:pt x="1432" y="1308"/>
                  </a:lnTo>
                  <a:lnTo>
                    <a:pt x="1432" y="1305"/>
                  </a:lnTo>
                  <a:lnTo>
                    <a:pt x="1429" y="1302"/>
                  </a:lnTo>
                  <a:lnTo>
                    <a:pt x="1429" y="1302"/>
                  </a:lnTo>
                  <a:lnTo>
                    <a:pt x="1429" y="1305"/>
                  </a:lnTo>
                  <a:lnTo>
                    <a:pt x="1431" y="1310"/>
                  </a:lnTo>
                  <a:lnTo>
                    <a:pt x="1431" y="1310"/>
                  </a:lnTo>
                  <a:lnTo>
                    <a:pt x="1428" y="1313"/>
                  </a:lnTo>
                  <a:lnTo>
                    <a:pt x="1428" y="1313"/>
                  </a:lnTo>
                  <a:lnTo>
                    <a:pt x="1424" y="1317"/>
                  </a:lnTo>
                  <a:lnTo>
                    <a:pt x="1423" y="1321"/>
                  </a:lnTo>
                  <a:lnTo>
                    <a:pt x="1424" y="1324"/>
                  </a:lnTo>
                  <a:lnTo>
                    <a:pt x="1429" y="1324"/>
                  </a:lnTo>
                  <a:lnTo>
                    <a:pt x="1432" y="1324"/>
                  </a:lnTo>
                  <a:lnTo>
                    <a:pt x="1432" y="1324"/>
                  </a:lnTo>
                  <a:lnTo>
                    <a:pt x="1434" y="1327"/>
                  </a:lnTo>
                  <a:lnTo>
                    <a:pt x="1432" y="1329"/>
                  </a:lnTo>
                  <a:lnTo>
                    <a:pt x="1431" y="1325"/>
                  </a:lnTo>
                  <a:lnTo>
                    <a:pt x="1431" y="1329"/>
                  </a:lnTo>
                  <a:lnTo>
                    <a:pt x="1432" y="1332"/>
                  </a:lnTo>
                  <a:lnTo>
                    <a:pt x="1437" y="1335"/>
                  </a:lnTo>
                  <a:lnTo>
                    <a:pt x="1439" y="1338"/>
                  </a:lnTo>
                  <a:lnTo>
                    <a:pt x="1439" y="1341"/>
                  </a:lnTo>
                  <a:lnTo>
                    <a:pt x="1437" y="1344"/>
                  </a:lnTo>
                  <a:lnTo>
                    <a:pt x="1434" y="1348"/>
                  </a:lnTo>
                  <a:lnTo>
                    <a:pt x="1429" y="1346"/>
                  </a:lnTo>
                  <a:lnTo>
                    <a:pt x="1429" y="1346"/>
                  </a:lnTo>
                  <a:lnTo>
                    <a:pt x="1426" y="1348"/>
                  </a:lnTo>
                  <a:lnTo>
                    <a:pt x="1423" y="1346"/>
                  </a:lnTo>
                  <a:lnTo>
                    <a:pt x="1420" y="1348"/>
                  </a:lnTo>
                  <a:lnTo>
                    <a:pt x="1420" y="1344"/>
                  </a:lnTo>
                  <a:lnTo>
                    <a:pt x="1418" y="1341"/>
                  </a:lnTo>
                  <a:lnTo>
                    <a:pt x="1421" y="1341"/>
                  </a:lnTo>
                  <a:lnTo>
                    <a:pt x="1421" y="1340"/>
                  </a:lnTo>
                  <a:lnTo>
                    <a:pt x="1418" y="1338"/>
                  </a:lnTo>
                  <a:lnTo>
                    <a:pt x="1415" y="1336"/>
                  </a:lnTo>
                  <a:lnTo>
                    <a:pt x="1413" y="1333"/>
                  </a:lnTo>
                  <a:lnTo>
                    <a:pt x="1413" y="1329"/>
                  </a:lnTo>
                  <a:lnTo>
                    <a:pt x="1412" y="1330"/>
                  </a:lnTo>
                  <a:lnTo>
                    <a:pt x="1410" y="1327"/>
                  </a:lnTo>
                  <a:lnTo>
                    <a:pt x="1410" y="1324"/>
                  </a:lnTo>
                  <a:lnTo>
                    <a:pt x="1407" y="1322"/>
                  </a:lnTo>
                  <a:lnTo>
                    <a:pt x="1407" y="1319"/>
                  </a:lnTo>
                  <a:lnTo>
                    <a:pt x="1407" y="1316"/>
                  </a:lnTo>
                  <a:lnTo>
                    <a:pt x="1405" y="1313"/>
                  </a:lnTo>
                  <a:lnTo>
                    <a:pt x="1409" y="1310"/>
                  </a:lnTo>
                  <a:lnTo>
                    <a:pt x="1409" y="1308"/>
                  </a:lnTo>
                  <a:lnTo>
                    <a:pt x="1407" y="1303"/>
                  </a:lnTo>
                  <a:lnTo>
                    <a:pt x="1410" y="1303"/>
                  </a:lnTo>
                  <a:lnTo>
                    <a:pt x="1413" y="1298"/>
                  </a:lnTo>
                  <a:lnTo>
                    <a:pt x="1413" y="1298"/>
                  </a:lnTo>
                  <a:lnTo>
                    <a:pt x="1412" y="1297"/>
                  </a:lnTo>
                  <a:lnTo>
                    <a:pt x="1409" y="1297"/>
                  </a:lnTo>
                  <a:lnTo>
                    <a:pt x="1405" y="1294"/>
                  </a:lnTo>
                  <a:lnTo>
                    <a:pt x="1405" y="1294"/>
                  </a:lnTo>
                  <a:lnTo>
                    <a:pt x="1405" y="1294"/>
                  </a:lnTo>
                  <a:lnTo>
                    <a:pt x="1407" y="1297"/>
                  </a:lnTo>
                  <a:lnTo>
                    <a:pt x="1404" y="1297"/>
                  </a:lnTo>
                  <a:lnTo>
                    <a:pt x="1401" y="1294"/>
                  </a:lnTo>
                  <a:lnTo>
                    <a:pt x="1399" y="1290"/>
                  </a:lnTo>
                  <a:lnTo>
                    <a:pt x="1396" y="1287"/>
                  </a:lnTo>
                  <a:lnTo>
                    <a:pt x="1396" y="1290"/>
                  </a:lnTo>
                  <a:lnTo>
                    <a:pt x="1399" y="1294"/>
                  </a:lnTo>
                  <a:lnTo>
                    <a:pt x="1396" y="1297"/>
                  </a:lnTo>
                  <a:lnTo>
                    <a:pt x="1391" y="1298"/>
                  </a:lnTo>
                  <a:lnTo>
                    <a:pt x="1388" y="1298"/>
                  </a:lnTo>
                  <a:lnTo>
                    <a:pt x="1388" y="1297"/>
                  </a:lnTo>
                  <a:lnTo>
                    <a:pt x="1385" y="1300"/>
                  </a:lnTo>
                  <a:lnTo>
                    <a:pt x="1382" y="1298"/>
                  </a:lnTo>
                  <a:lnTo>
                    <a:pt x="1383" y="1294"/>
                  </a:lnTo>
                  <a:lnTo>
                    <a:pt x="1380" y="1290"/>
                  </a:lnTo>
                  <a:lnTo>
                    <a:pt x="1380" y="1290"/>
                  </a:lnTo>
                  <a:lnTo>
                    <a:pt x="1377" y="1292"/>
                  </a:lnTo>
                  <a:lnTo>
                    <a:pt x="1372" y="1289"/>
                  </a:lnTo>
                  <a:lnTo>
                    <a:pt x="1374" y="1286"/>
                  </a:lnTo>
                  <a:lnTo>
                    <a:pt x="1374" y="1286"/>
                  </a:lnTo>
                  <a:lnTo>
                    <a:pt x="1371" y="1284"/>
                  </a:lnTo>
                  <a:lnTo>
                    <a:pt x="1371" y="1289"/>
                  </a:lnTo>
                  <a:lnTo>
                    <a:pt x="1372" y="1292"/>
                  </a:lnTo>
                  <a:lnTo>
                    <a:pt x="1369" y="1290"/>
                  </a:lnTo>
                  <a:lnTo>
                    <a:pt x="1369" y="1289"/>
                  </a:lnTo>
                  <a:lnTo>
                    <a:pt x="1366" y="1287"/>
                  </a:lnTo>
                  <a:lnTo>
                    <a:pt x="1366" y="1284"/>
                  </a:lnTo>
                  <a:lnTo>
                    <a:pt x="1363" y="1284"/>
                  </a:lnTo>
                  <a:lnTo>
                    <a:pt x="1363" y="1281"/>
                  </a:lnTo>
                  <a:lnTo>
                    <a:pt x="1359" y="1278"/>
                  </a:lnTo>
                  <a:lnTo>
                    <a:pt x="1358" y="1283"/>
                  </a:lnTo>
                  <a:lnTo>
                    <a:pt x="1358" y="1279"/>
                  </a:lnTo>
                  <a:lnTo>
                    <a:pt x="1358" y="1279"/>
                  </a:lnTo>
                  <a:lnTo>
                    <a:pt x="1358" y="1283"/>
                  </a:lnTo>
                  <a:lnTo>
                    <a:pt x="1358" y="1283"/>
                  </a:lnTo>
                  <a:lnTo>
                    <a:pt x="1359" y="1286"/>
                  </a:lnTo>
                  <a:lnTo>
                    <a:pt x="1363" y="1290"/>
                  </a:lnTo>
                  <a:lnTo>
                    <a:pt x="1359" y="1294"/>
                  </a:lnTo>
                  <a:lnTo>
                    <a:pt x="1358" y="1294"/>
                  </a:lnTo>
                  <a:lnTo>
                    <a:pt x="1356" y="1290"/>
                  </a:lnTo>
                  <a:lnTo>
                    <a:pt x="1353" y="1289"/>
                  </a:lnTo>
                  <a:lnTo>
                    <a:pt x="1355" y="1294"/>
                  </a:lnTo>
                  <a:lnTo>
                    <a:pt x="1350" y="1297"/>
                  </a:lnTo>
                  <a:lnTo>
                    <a:pt x="1350" y="1294"/>
                  </a:lnTo>
                  <a:lnTo>
                    <a:pt x="1347" y="1294"/>
                  </a:lnTo>
                  <a:lnTo>
                    <a:pt x="1344" y="1295"/>
                  </a:lnTo>
                  <a:lnTo>
                    <a:pt x="1336" y="1290"/>
                  </a:lnTo>
                  <a:lnTo>
                    <a:pt x="1336" y="1290"/>
                  </a:lnTo>
                  <a:lnTo>
                    <a:pt x="1332" y="1290"/>
                  </a:lnTo>
                  <a:lnTo>
                    <a:pt x="1329" y="1292"/>
                  </a:lnTo>
                  <a:lnTo>
                    <a:pt x="1329" y="1292"/>
                  </a:lnTo>
                  <a:lnTo>
                    <a:pt x="1326" y="1292"/>
                  </a:lnTo>
                  <a:lnTo>
                    <a:pt x="1325" y="1294"/>
                  </a:lnTo>
                  <a:lnTo>
                    <a:pt x="1325" y="1290"/>
                  </a:lnTo>
                  <a:lnTo>
                    <a:pt x="1320" y="1292"/>
                  </a:lnTo>
                  <a:lnTo>
                    <a:pt x="1320" y="1290"/>
                  </a:lnTo>
                  <a:lnTo>
                    <a:pt x="1317" y="1287"/>
                  </a:lnTo>
                  <a:lnTo>
                    <a:pt x="1313" y="1287"/>
                  </a:lnTo>
                  <a:lnTo>
                    <a:pt x="1310" y="1284"/>
                  </a:lnTo>
                  <a:lnTo>
                    <a:pt x="1307" y="1284"/>
                  </a:lnTo>
                  <a:lnTo>
                    <a:pt x="1307" y="1281"/>
                  </a:lnTo>
                  <a:lnTo>
                    <a:pt x="1304" y="1279"/>
                  </a:lnTo>
                  <a:lnTo>
                    <a:pt x="1301" y="1276"/>
                  </a:lnTo>
                  <a:lnTo>
                    <a:pt x="1298" y="1276"/>
                  </a:lnTo>
                  <a:lnTo>
                    <a:pt x="1294" y="1278"/>
                  </a:lnTo>
                  <a:lnTo>
                    <a:pt x="1294" y="1275"/>
                  </a:lnTo>
                  <a:lnTo>
                    <a:pt x="1293" y="1270"/>
                  </a:lnTo>
                  <a:lnTo>
                    <a:pt x="1293" y="1268"/>
                  </a:lnTo>
                  <a:lnTo>
                    <a:pt x="1291" y="1265"/>
                  </a:lnTo>
                  <a:lnTo>
                    <a:pt x="1288" y="1262"/>
                  </a:lnTo>
                  <a:lnTo>
                    <a:pt x="1288" y="1260"/>
                  </a:lnTo>
                  <a:lnTo>
                    <a:pt x="1286" y="1259"/>
                  </a:lnTo>
                  <a:lnTo>
                    <a:pt x="1286" y="1257"/>
                  </a:lnTo>
                  <a:lnTo>
                    <a:pt x="1286" y="1257"/>
                  </a:lnTo>
                  <a:lnTo>
                    <a:pt x="1286" y="1252"/>
                  </a:lnTo>
                  <a:lnTo>
                    <a:pt x="1291" y="1252"/>
                  </a:lnTo>
                  <a:lnTo>
                    <a:pt x="1291" y="1252"/>
                  </a:lnTo>
                  <a:lnTo>
                    <a:pt x="1291" y="1249"/>
                  </a:lnTo>
                  <a:lnTo>
                    <a:pt x="1293" y="1244"/>
                  </a:lnTo>
                  <a:lnTo>
                    <a:pt x="1290" y="1241"/>
                  </a:lnTo>
                  <a:lnTo>
                    <a:pt x="1288" y="1240"/>
                  </a:lnTo>
                  <a:lnTo>
                    <a:pt x="1285" y="1238"/>
                  </a:lnTo>
                  <a:lnTo>
                    <a:pt x="1283" y="1238"/>
                  </a:lnTo>
                  <a:lnTo>
                    <a:pt x="1280" y="1240"/>
                  </a:lnTo>
                  <a:lnTo>
                    <a:pt x="1277" y="1240"/>
                  </a:lnTo>
                  <a:lnTo>
                    <a:pt x="1274" y="1241"/>
                  </a:lnTo>
                  <a:lnTo>
                    <a:pt x="1272" y="1238"/>
                  </a:lnTo>
                  <a:lnTo>
                    <a:pt x="1269" y="1235"/>
                  </a:lnTo>
                  <a:lnTo>
                    <a:pt x="1266" y="1235"/>
                  </a:lnTo>
                  <a:lnTo>
                    <a:pt x="1264" y="1238"/>
                  </a:lnTo>
                  <a:lnTo>
                    <a:pt x="1260" y="1238"/>
                  </a:lnTo>
                  <a:lnTo>
                    <a:pt x="1256" y="1237"/>
                  </a:lnTo>
                  <a:lnTo>
                    <a:pt x="1253" y="1233"/>
                  </a:lnTo>
                  <a:lnTo>
                    <a:pt x="1250" y="1233"/>
                  </a:lnTo>
                  <a:lnTo>
                    <a:pt x="1247" y="1232"/>
                  </a:lnTo>
                  <a:lnTo>
                    <a:pt x="1245" y="1229"/>
                  </a:lnTo>
                  <a:lnTo>
                    <a:pt x="1244" y="1225"/>
                  </a:lnTo>
                  <a:lnTo>
                    <a:pt x="1240" y="1224"/>
                  </a:lnTo>
                  <a:lnTo>
                    <a:pt x="1240" y="1224"/>
                  </a:lnTo>
                  <a:lnTo>
                    <a:pt x="1237" y="1219"/>
                  </a:lnTo>
                  <a:lnTo>
                    <a:pt x="1236" y="1221"/>
                  </a:lnTo>
                  <a:lnTo>
                    <a:pt x="1233" y="1224"/>
                  </a:lnTo>
                  <a:lnTo>
                    <a:pt x="1231" y="1225"/>
                  </a:lnTo>
                  <a:lnTo>
                    <a:pt x="1226" y="1227"/>
                  </a:lnTo>
                  <a:lnTo>
                    <a:pt x="1226" y="1229"/>
                  </a:lnTo>
                  <a:lnTo>
                    <a:pt x="1223" y="1229"/>
                  </a:lnTo>
                  <a:lnTo>
                    <a:pt x="1221" y="1230"/>
                  </a:lnTo>
                  <a:lnTo>
                    <a:pt x="1223" y="1235"/>
                  </a:lnTo>
                  <a:lnTo>
                    <a:pt x="1223" y="1238"/>
                  </a:lnTo>
                  <a:lnTo>
                    <a:pt x="1223" y="1238"/>
                  </a:lnTo>
                  <a:lnTo>
                    <a:pt x="1221" y="1241"/>
                  </a:lnTo>
                  <a:lnTo>
                    <a:pt x="1217" y="1243"/>
                  </a:lnTo>
                  <a:lnTo>
                    <a:pt x="1214" y="1243"/>
                  </a:lnTo>
                  <a:lnTo>
                    <a:pt x="1210" y="1246"/>
                  </a:lnTo>
                  <a:lnTo>
                    <a:pt x="1207" y="1248"/>
                  </a:lnTo>
                  <a:lnTo>
                    <a:pt x="1207" y="1248"/>
                  </a:lnTo>
                  <a:lnTo>
                    <a:pt x="1204" y="1246"/>
                  </a:lnTo>
                  <a:lnTo>
                    <a:pt x="1204" y="1246"/>
                  </a:lnTo>
                  <a:lnTo>
                    <a:pt x="1204" y="1243"/>
                  </a:lnTo>
                  <a:lnTo>
                    <a:pt x="1202" y="1243"/>
                  </a:lnTo>
                  <a:lnTo>
                    <a:pt x="1201" y="1243"/>
                  </a:lnTo>
                  <a:lnTo>
                    <a:pt x="1198" y="1243"/>
                  </a:lnTo>
                  <a:lnTo>
                    <a:pt x="1198" y="1244"/>
                  </a:lnTo>
                  <a:lnTo>
                    <a:pt x="1196" y="1248"/>
                  </a:lnTo>
                  <a:lnTo>
                    <a:pt x="1196" y="1251"/>
                  </a:lnTo>
                  <a:lnTo>
                    <a:pt x="1196" y="1254"/>
                  </a:lnTo>
                  <a:lnTo>
                    <a:pt x="1194" y="1256"/>
                  </a:lnTo>
                  <a:lnTo>
                    <a:pt x="1194" y="1256"/>
                  </a:lnTo>
                  <a:lnTo>
                    <a:pt x="1194" y="1256"/>
                  </a:lnTo>
                  <a:lnTo>
                    <a:pt x="1193" y="1254"/>
                  </a:lnTo>
                  <a:lnTo>
                    <a:pt x="1188" y="1251"/>
                  </a:lnTo>
                  <a:lnTo>
                    <a:pt x="1185" y="1248"/>
                  </a:lnTo>
                  <a:lnTo>
                    <a:pt x="1182" y="1244"/>
                  </a:lnTo>
                  <a:lnTo>
                    <a:pt x="1180" y="1244"/>
                  </a:lnTo>
                  <a:lnTo>
                    <a:pt x="1180" y="1249"/>
                  </a:lnTo>
                  <a:lnTo>
                    <a:pt x="1179" y="1252"/>
                  </a:lnTo>
                  <a:lnTo>
                    <a:pt x="1179" y="1252"/>
                  </a:lnTo>
                  <a:lnTo>
                    <a:pt x="1175" y="1249"/>
                  </a:lnTo>
                  <a:lnTo>
                    <a:pt x="1174" y="1244"/>
                  </a:lnTo>
                  <a:lnTo>
                    <a:pt x="1171" y="1244"/>
                  </a:lnTo>
                  <a:lnTo>
                    <a:pt x="1169" y="1249"/>
                  </a:lnTo>
                  <a:lnTo>
                    <a:pt x="1166" y="1252"/>
                  </a:lnTo>
                  <a:lnTo>
                    <a:pt x="1166" y="1252"/>
                  </a:lnTo>
                  <a:lnTo>
                    <a:pt x="1163" y="1256"/>
                  </a:lnTo>
                  <a:lnTo>
                    <a:pt x="1161" y="1257"/>
                  </a:lnTo>
                  <a:lnTo>
                    <a:pt x="1158" y="1256"/>
                  </a:lnTo>
                  <a:lnTo>
                    <a:pt x="1156" y="1254"/>
                  </a:lnTo>
                  <a:lnTo>
                    <a:pt x="1153" y="1251"/>
                  </a:lnTo>
                  <a:lnTo>
                    <a:pt x="1150" y="1249"/>
                  </a:lnTo>
                  <a:lnTo>
                    <a:pt x="1147" y="1248"/>
                  </a:lnTo>
                  <a:lnTo>
                    <a:pt x="1144" y="1246"/>
                  </a:lnTo>
                  <a:lnTo>
                    <a:pt x="1139" y="1246"/>
                  </a:lnTo>
                  <a:lnTo>
                    <a:pt x="1139" y="1249"/>
                  </a:lnTo>
                  <a:lnTo>
                    <a:pt x="1137" y="1252"/>
                  </a:lnTo>
                  <a:lnTo>
                    <a:pt x="1134" y="1256"/>
                  </a:lnTo>
                  <a:lnTo>
                    <a:pt x="1134" y="1259"/>
                  </a:lnTo>
                  <a:lnTo>
                    <a:pt x="1131" y="1260"/>
                  </a:lnTo>
                  <a:lnTo>
                    <a:pt x="1128" y="1257"/>
                  </a:lnTo>
                  <a:lnTo>
                    <a:pt x="1123" y="1259"/>
                  </a:lnTo>
                  <a:lnTo>
                    <a:pt x="1120" y="1259"/>
                  </a:lnTo>
                  <a:lnTo>
                    <a:pt x="1118" y="1256"/>
                  </a:lnTo>
                  <a:lnTo>
                    <a:pt x="1117" y="1256"/>
                  </a:lnTo>
                  <a:lnTo>
                    <a:pt x="1114" y="1259"/>
                  </a:lnTo>
                  <a:lnTo>
                    <a:pt x="1114" y="1262"/>
                  </a:lnTo>
                  <a:lnTo>
                    <a:pt x="1112" y="1265"/>
                  </a:lnTo>
                  <a:lnTo>
                    <a:pt x="1112" y="1267"/>
                  </a:lnTo>
                  <a:lnTo>
                    <a:pt x="1112" y="1268"/>
                  </a:lnTo>
                  <a:lnTo>
                    <a:pt x="1112" y="1271"/>
                  </a:lnTo>
                  <a:lnTo>
                    <a:pt x="1115" y="1275"/>
                  </a:lnTo>
                  <a:lnTo>
                    <a:pt x="1115" y="1275"/>
                  </a:lnTo>
                  <a:lnTo>
                    <a:pt x="1117" y="1279"/>
                  </a:lnTo>
                  <a:lnTo>
                    <a:pt x="1120" y="1283"/>
                  </a:lnTo>
                  <a:lnTo>
                    <a:pt x="1122" y="1286"/>
                  </a:lnTo>
                  <a:lnTo>
                    <a:pt x="1122" y="1289"/>
                  </a:lnTo>
                  <a:lnTo>
                    <a:pt x="1125" y="1292"/>
                  </a:lnTo>
                  <a:lnTo>
                    <a:pt x="1123" y="1295"/>
                  </a:lnTo>
                  <a:lnTo>
                    <a:pt x="1123" y="1300"/>
                  </a:lnTo>
                  <a:lnTo>
                    <a:pt x="1123" y="1302"/>
                  </a:lnTo>
                  <a:lnTo>
                    <a:pt x="1125" y="1305"/>
                  </a:lnTo>
                  <a:lnTo>
                    <a:pt x="1128" y="1308"/>
                  </a:lnTo>
                  <a:lnTo>
                    <a:pt x="1126" y="1310"/>
                  </a:lnTo>
                  <a:lnTo>
                    <a:pt x="1125" y="1311"/>
                  </a:lnTo>
                  <a:lnTo>
                    <a:pt x="1122" y="1310"/>
                  </a:lnTo>
                  <a:lnTo>
                    <a:pt x="1120" y="1310"/>
                  </a:lnTo>
                  <a:lnTo>
                    <a:pt x="1117" y="1306"/>
                  </a:lnTo>
                  <a:lnTo>
                    <a:pt x="1114" y="1308"/>
                  </a:lnTo>
                  <a:lnTo>
                    <a:pt x="1110" y="1310"/>
                  </a:lnTo>
                  <a:lnTo>
                    <a:pt x="1107" y="1308"/>
                  </a:lnTo>
                  <a:lnTo>
                    <a:pt x="1106" y="1308"/>
                  </a:lnTo>
                  <a:lnTo>
                    <a:pt x="1106" y="1305"/>
                  </a:lnTo>
                  <a:lnTo>
                    <a:pt x="1104" y="1300"/>
                  </a:lnTo>
                  <a:lnTo>
                    <a:pt x="1104" y="1297"/>
                  </a:lnTo>
                  <a:lnTo>
                    <a:pt x="1101" y="1294"/>
                  </a:lnTo>
                  <a:lnTo>
                    <a:pt x="1101" y="1294"/>
                  </a:lnTo>
                  <a:lnTo>
                    <a:pt x="1101" y="1292"/>
                  </a:lnTo>
                  <a:lnTo>
                    <a:pt x="1099" y="1289"/>
                  </a:lnTo>
                  <a:lnTo>
                    <a:pt x="1098" y="1286"/>
                  </a:lnTo>
                  <a:lnTo>
                    <a:pt x="1098" y="1286"/>
                  </a:lnTo>
                  <a:lnTo>
                    <a:pt x="1095" y="1289"/>
                  </a:lnTo>
                  <a:lnTo>
                    <a:pt x="1091" y="1289"/>
                  </a:lnTo>
                  <a:lnTo>
                    <a:pt x="1090" y="1290"/>
                  </a:lnTo>
                  <a:lnTo>
                    <a:pt x="1088" y="1294"/>
                  </a:lnTo>
                  <a:lnTo>
                    <a:pt x="1083" y="1297"/>
                  </a:lnTo>
                  <a:lnTo>
                    <a:pt x="1080" y="1298"/>
                  </a:lnTo>
                  <a:lnTo>
                    <a:pt x="1077" y="1297"/>
                  </a:lnTo>
                  <a:lnTo>
                    <a:pt x="1074" y="1295"/>
                  </a:lnTo>
                  <a:lnTo>
                    <a:pt x="1069" y="1298"/>
                  </a:lnTo>
                  <a:lnTo>
                    <a:pt x="1069" y="1300"/>
                  </a:lnTo>
                  <a:lnTo>
                    <a:pt x="1064" y="1297"/>
                  </a:lnTo>
                  <a:lnTo>
                    <a:pt x="1064" y="1294"/>
                  </a:lnTo>
                  <a:lnTo>
                    <a:pt x="1064" y="1289"/>
                  </a:lnTo>
                  <a:lnTo>
                    <a:pt x="1061" y="1289"/>
                  </a:lnTo>
                  <a:lnTo>
                    <a:pt x="1060" y="1289"/>
                  </a:lnTo>
                  <a:lnTo>
                    <a:pt x="1058" y="1286"/>
                  </a:lnTo>
                  <a:lnTo>
                    <a:pt x="1058" y="1284"/>
                  </a:lnTo>
                  <a:lnTo>
                    <a:pt x="1057" y="1281"/>
                  </a:lnTo>
                  <a:lnTo>
                    <a:pt x="1058" y="1278"/>
                  </a:lnTo>
                  <a:lnTo>
                    <a:pt x="1057" y="1275"/>
                  </a:lnTo>
                  <a:lnTo>
                    <a:pt x="1053" y="1275"/>
                  </a:lnTo>
                  <a:lnTo>
                    <a:pt x="1049" y="1275"/>
                  </a:lnTo>
                  <a:lnTo>
                    <a:pt x="1045" y="1273"/>
                  </a:lnTo>
                  <a:lnTo>
                    <a:pt x="1042" y="1271"/>
                  </a:lnTo>
                  <a:lnTo>
                    <a:pt x="1042" y="1271"/>
                  </a:lnTo>
                  <a:lnTo>
                    <a:pt x="1037" y="1271"/>
                  </a:lnTo>
                  <a:lnTo>
                    <a:pt x="1034" y="1271"/>
                  </a:lnTo>
                  <a:lnTo>
                    <a:pt x="1031" y="1271"/>
                  </a:lnTo>
                  <a:lnTo>
                    <a:pt x="1028" y="1270"/>
                  </a:lnTo>
                  <a:lnTo>
                    <a:pt x="1028" y="1270"/>
                  </a:lnTo>
                  <a:lnTo>
                    <a:pt x="1028" y="1267"/>
                  </a:lnTo>
                  <a:lnTo>
                    <a:pt x="1030" y="1264"/>
                  </a:lnTo>
                  <a:lnTo>
                    <a:pt x="1031" y="1259"/>
                  </a:lnTo>
                  <a:lnTo>
                    <a:pt x="1033" y="1256"/>
                  </a:lnTo>
                  <a:lnTo>
                    <a:pt x="1033" y="1252"/>
                  </a:lnTo>
                  <a:lnTo>
                    <a:pt x="1031" y="1249"/>
                  </a:lnTo>
                  <a:lnTo>
                    <a:pt x="1030" y="1244"/>
                  </a:lnTo>
                  <a:lnTo>
                    <a:pt x="1031" y="1243"/>
                  </a:lnTo>
                  <a:lnTo>
                    <a:pt x="1033" y="1240"/>
                  </a:lnTo>
                  <a:lnTo>
                    <a:pt x="1036" y="1238"/>
                  </a:lnTo>
                  <a:lnTo>
                    <a:pt x="1034" y="1235"/>
                  </a:lnTo>
                  <a:lnTo>
                    <a:pt x="1034" y="1232"/>
                  </a:lnTo>
                  <a:lnTo>
                    <a:pt x="1033" y="1232"/>
                  </a:lnTo>
                  <a:lnTo>
                    <a:pt x="1030" y="1232"/>
                  </a:lnTo>
                  <a:lnTo>
                    <a:pt x="1026" y="1232"/>
                  </a:lnTo>
                  <a:lnTo>
                    <a:pt x="1023" y="1230"/>
                  </a:lnTo>
                  <a:lnTo>
                    <a:pt x="1020" y="1230"/>
                  </a:lnTo>
                  <a:lnTo>
                    <a:pt x="1017" y="1229"/>
                  </a:lnTo>
                  <a:lnTo>
                    <a:pt x="1014" y="1227"/>
                  </a:lnTo>
                  <a:lnTo>
                    <a:pt x="1012" y="1227"/>
                  </a:lnTo>
                  <a:lnTo>
                    <a:pt x="1012" y="1224"/>
                  </a:lnTo>
                  <a:lnTo>
                    <a:pt x="1011" y="1221"/>
                  </a:lnTo>
                  <a:lnTo>
                    <a:pt x="1011" y="1218"/>
                  </a:lnTo>
                  <a:lnTo>
                    <a:pt x="1009" y="1216"/>
                  </a:lnTo>
                  <a:lnTo>
                    <a:pt x="1006" y="1214"/>
                  </a:lnTo>
                  <a:lnTo>
                    <a:pt x="1009" y="1210"/>
                  </a:lnTo>
                  <a:lnTo>
                    <a:pt x="1004" y="1205"/>
                  </a:lnTo>
                  <a:lnTo>
                    <a:pt x="1001" y="1200"/>
                  </a:lnTo>
                  <a:lnTo>
                    <a:pt x="999" y="1199"/>
                  </a:lnTo>
                  <a:lnTo>
                    <a:pt x="1001" y="1195"/>
                  </a:lnTo>
                  <a:lnTo>
                    <a:pt x="1003" y="1194"/>
                  </a:lnTo>
                  <a:lnTo>
                    <a:pt x="1006" y="1191"/>
                  </a:lnTo>
                  <a:lnTo>
                    <a:pt x="1006" y="1187"/>
                  </a:lnTo>
                  <a:lnTo>
                    <a:pt x="1004" y="1189"/>
                  </a:lnTo>
                  <a:lnTo>
                    <a:pt x="1001" y="1189"/>
                  </a:lnTo>
                  <a:lnTo>
                    <a:pt x="999" y="1189"/>
                  </a:lnTo>
                  <a:lnTo>
                    <a:pt x="995" y="1191"/>
                  </a:lnTo>
                  <a:lnTo>
                    <a:pt x="991" y="1189"/>
                  </a:lnTo>
                  <a:lnTo>
                    <a:pt x="988" y="1189"/>
                  </a:lnTo>
                  <a:lnTo>
                    <a:pt x="985" y="1189"/>
                  </a:lnTo>
                  <a:lnTo>
                    <a:pt x="982" y="1189"/>
                  </a:lnTo>
                  <a:lnTo>
                    <a:pt x="979" y="1191"/>
                  </a:lnTo>
                  <a:lnTo>
                    <a:pt x="976" y="1191"/>
                  </a:lnTo>
                  <a:lnTo>
                    <a:pt x="974" y="1192"/>
                  </a:lnTo>
                  <a:lnTo>
                    <a:pt x="971" y="1195"/>
                  </a:lnTo>
                  <a:lnTo>
                    <a:pt x="969" y="1197"/>
                  </a:lnTo>
                  <a:lnTo>
                    <a:pt x="966" y="1197"/>
                  </a:lnTo>
                  <a:lnTo>
                    <a:pt x="963" y="1200"/>
                  </a:lnTo>
                  <a:lnTo>
                    <a:pt x="960" y="1197"/>
                  </a:lnTo>
                  <a:lnTo>
                    <a:pt x="961" y="1194"/>
                  </a:lnTo>
                  <a:lnTo>
                    <a:pt x="963" y="1191"/>
                  </a:lnTo>
                  <a:lnTo>
                    <a:pt x="965" y="1187"/>
                  </a:lnTo>
                  <a:lnTo>
                    <a:pt x="965" y="1187"/>
                  </a:lnTo>
                  <a:lnTo>
                    <a:pt x="965" y="1184"/>
                  </a:lnTo>
                  <a:lnTo>
                    <a:pt x="961" y="1181"/>
                  </a:lnTo>
                  <a:lnTo>
                    <a:pt x="961" y="1178"/>
                  </a:lnTo>
                  <a:lnTo>
                    <a:pt x="957" y="1176"/>
                  </a:lnTo>
                  <a:lnTo>
                    <a:pt x="957" y="1173"/>
                  </a:lnTo>
                  <a:lnTo>
                    <a:pt x="957" y="1168"/>
                  </a:lnTo>
                  <a:lnTo>
                    <a:pt x="955" y="1165"/>
                  </a:lnTo>
                  <a:lnTo>
                    <a:pt x="958" y="1160"/>
                  </a:lnTo>
                  <a:lnTo>
                    <a:pt x="961" y="1160"/>
                  </a:lnTo>
                  <a:lnTo>
                    <a:pt x="958" y="1153"/>
                  </a:lnTo>
                  <a:lnTo>
                    <a:pt x="958" y="1149"/>
                  </a:lnTo>
                  <a:lnTo>
                    <a:pt x="960" y="1148"/>
                  </a:lnTo>
                  <a:lnTo>
                    <a:pt x="961" y="1143"/>
                  </a:lnTo>
                  <a:lnTo>
                    <a:pt x="965" y="1145"/>
                  </a:lnTo>
                  <a:lnTo>
                    <a:pt x="968" y="1141"/>
                  </a:lnTo>
                  <a:lnTo>
                    <a:pt x="968" y="1141"/>
                  </a:lnTo>
                  <a:lnTo>
                    <a:pt x="969" y="1138"/>
                  </a:lnTo>
                  <a:lnTo>
                    <a:pt x="971" y="1137"/>
                  </a:lnTo>
                  <a:lnTo>
                    <a:pt x="969" y="1133"/>
                  </a:lnTo>
                  <a:lnTo>
                    <a:pt x="971" y="1130"/>
                  </a:lnTo>
                  <a:lnTo>
                    <a:pt x="971" y="1129"/>
                  </a:lnTo>
                  <a:lnTo>
                    <a:pt x="974" y="1130"/>
                  </a:lnTo>
                  <a:lnTo>
                    <a:pt x="977" y="1130"/>
                  </a:lnTo>
                  <a:lnTo>
                    <a:pt x="977" y="1130"/>
                  </a:lnTo>
                  <a:lnTo>
                    <a:pt x="977" y="1127"/>
                  </a:lnTo>
                  <a:lnTo>
                    <a:pt x="979" y="1122"/>
                  </a:lnTo>
                  <a:lnTo>
                    <a:pt x="980" y="1119"/>
                  </a:lnTo>
                  <a:lnTo>
                    <a:pt x="985" y="1121"/>
                  </a:lnTo>
                  <a:lnTo>
                    <a:pt x="987" y="1119"/>
                  </a:lnTo>
                  <a:lnTo>
                    <a:pt x="985" y="1116"/>
                  </a:lnTo>
                  <a:lnTo>
                    <a:pt x="982" y="1111"/>
                  </a:lnTo>
                  <a:lnTo>
                    <a:pt x="980" y="1108"/>
                  </a:lnTo>
                  <a:lnTo>
                    <a:pt x="985" y="1108"/>
                  </a:lnTo>
                  <a:lnTo>
                    <a:pt x="985" y="1105"/>
                  </a:lnTo>
                  <a:lnTo>
                    <a:pt x="984" y="1102"/>
                  </a:lnTo>
                  <a:lnTo>
                    <a:pt x="984" y="1097"/>
                  </a:lnTo>
                  <a:lnTo>
                    <a:pt x="984" y="1094"/>
                  </a:lnTo>
                  <a:lnTo>
                    <a:pt x="984" y="1091"/>
                  </a:lnTo>
                  <a:lnTo>
                    <a:pt x="984" y="1087"/>
                  </a:lnTo>
                  <a:lnTo>
                    <a:pt x="984" y="1084"/>
                  </a:lnTo>
                  <a:lnTo>
                    <a:pt x="982" y="1080"/>
                  </a:lnTo>
                  <a:lnTo>
                    <a:pt x="980" y="1076"/>
                  </a:lnTo>
                  <a:lnTo>
                    <a:pt x="980" y="1073"/>
                  </a:lnTo>
                  <a:lnTo>
                    <a:pt x="980" y="1070"/>
                  </a:lnTo>
                  <a:lnTo>
                    <a:pt x="977" y="1065"/>
                  </a:lnTo>
                  <a:lnTo>
                    <a:pt x="976" y="1062"/>
                  </a:lnTo>
                  <a:lnTo>
                    <a:pt x="977" y="1059"/>
                  </a:lnTo>
                  <a:lnTo>
                    <a:pt x="976" y="1056"/>
                  </a:lnTo>
                  <a:lnTo>
                    <a:pt x="974" y="1053"/>
                  </a:lnTo>
                  <a:lnTo>
                    <a:pt x="974" y="1048"/>
                  </a:lnTo>
                  <a:lnTo>
                    <a:pt x="969" y="1048"/>
                  </a:lnTo>
                  <a:lnTo>
                    <a:pt x="966" y="1045"/>
                  </a:lnTo>
                  <a:lnTo>
                    <a:pt x="963" y="1043"/>
                  </a:lnTo>
                  <a:lnTo>
                    <a:pt x="963" y="1046"/>
                  </a:lnTo>
                  <a:lnTo>
                    <a:pt x="960" y="1049"/>
                  </a:lnTo>
                  <a:lnTo>
                    <a:pt x="958" y="1046"/>
                  </a:lnTo>
                  <a:lnTo>
                    <a:pt x="957" y="1043"/>
                  </a:lnTo>
                  <a:lnTo>
                    <a:pt x="955" y="1040"/>
                  </a:lnTo>
                  <a:lnTo>
                    <a:pt x="952" y="1037"/>
                  </a:lnTo>
                  <a:lnTo>
                    <a:pt x="952" y="1034"/>
                  </a:lnTo>
                  <a:lnTo>
                    <a:pt x="950" y="1029"/>
                  </a:lnTo>
                  <a:lnTo>
                    <a:pt x="950" y="1026"/>
                  </a:lnTo>
                  <a:lnTo>
                    <a:pt x="949" y="1024"/>
                  </a:lnTo>
                  <a:lnTo>
                    <a:pt x="947" y="1024"/>
                  </a:lnTo>
                  <a:lnTo>
                    <a:pt x="944" y="1021"/>
                  </a:lnTo>
                  <a:lnTo>
                    <a:pt x="941" y="1018"/>
                  </a:lnTo>
                  <a:lnTo>
                    <a:pt x="938" y="1016"/>
                  </a:lnTo>
                  <a:lnTo>
                    <a:pt x="934" y="1015"/>
                  </a:lnTo>
                  <a:lnTo>
                    <a:pt x="933" y="1011"/>
                  </a:lnTo>
                  <a:lnTo>
                    <a:pt x="928" y="1011"/>
                  </a:lnTo>
                  <a:lnTo>
                    <a:pt x="925" y="1008"/>
                  </a:lnTo>
                  <a:lnTo>
                    <a:pt x="925" y="1011"/>
                  </a:lnTo>
                  <a:lnTo>
                    <a:pt x="923" y="1015"/>
                  </a:lnTo>
                  <a:lnTo>
                    <a:pt x="925" y="1019"/>
                  </a:lnTo>
                  <a:lnTo>
                    <a:pt x="920" y="1021"/>
                  </a:lnTo>
                  <a:lnTo>
                    <a:pt x="919" y="1021"/>
                  </a:lnTo>
                  <a:lnTo>
                    <a:pt x="915" y="1018"/>
                  </a:lnTo>
                  <a:lnTo>
                    <a:pt x="912" y="1016"/>
                  </a:lnTo>
                  <a:lnTo>
                    <a:pt x="909" y="1016"/>
                  </a:lnTo>
                  <a:lnTo>
                    <a:pt x="909" y="1016"/>
                  </a:lnTo>
                  <a:lnTo>
                    <a:pt x="907" y="1018"/>
                  </a:lnTo>
                  <a:lnTo>
                    <a:pt x="904" y="1016"/>
                  </a:lnTo>
                  <a:lnTo>
                    <a:pt x="901" y="1016"/>
                  </a:lnTo>
                  <a:lnTo>
                    <a:pt x="896" y="1013"/>
                  </a:lnTo>
                  <a:lnTo>
                    <a:pt x="893" y="1011"/>
                  </a:lnTo>
                  <a:lnTo>
                    <a:pt x="890" y="1013"/>
                  </a:lnTo>
                  <a:lnTo>
                    <a:pt x="887" y="1016"/>
                  </a:lnTo>
                  <a:lnTo>
                    <a:pt x="884" y="1015"/>
                  </a:lnTo>
                  <a:lnTo>
                    <a:pt x="884" y="1011"/>
                  </a:lnTo>
                  <a:lnTo>
                    <a:pt x="884" y="1008"/>
                  </a:lnTo>
                  <a:lnTo>
                    <a:pt x="887" y="1005"/>
                  </a:lnTo>
                  <a:lnTo>
                    <a:pt x="888" y="1002"/>
                  </a:lnTo>
                  <a:lnTo>
                    <a:pt x="890" y="999"/>
                  </a:lnTo>
                  <a:lnTo>
                    <a:pt x="890" y="997"/>
                  </a:lnTo>
                  <a:lnTo>
                    <a:pt x="887" y="994"/>
                  </a:lnTo>
                  <a:lnTo>
                    <a:pt x="884" y="991"/>
                  </a:lnTo>
                  <a:lnTo>
                    <a:pt x="884" y="988"/>
                  </a:lnTo>
                  <a:lnTo>
                    <a:pt x="884" y="988"/>
                  </a:lnTo>
                  <a:lnTo>
                    <a:pt x="880" y="988"/>
                  </a:lnTo>
                  <a:lnTo>
                    <a:pt x="877" y="991"/>
                  </a:lnTo>
                  <a:lnTo>
                    <a:pt x="874" y="991"/>
                  </a:lnTo>
                  <a:lnTo>
                    <a:pt x="873" y="989"/>
                  </a:lnTo>
                  <a:lnTo>
                    <a:pt x="871" y="986"/>
                  </a:lnTo>
                  <a:lnTo>
                    <a:pt x="874" y="983"/>
                  </a:lnTo>
                  <a:lnTo>
                    <a:pt x="877" y="981"/>
                  </a:lnTo>
                  <a:lnTo>
                    <a:pt x="876" y="980"/>
                  </a:lnTo>
                  <a:lnTo>
                    <a:pt x="873" y="978"/>
                  </a:lnTo>
                  <a:lnTo>
                    <a:pt x="869" y="975"/>
                  </a:lnTo>
                  <a:lnTo>
                    <a:pt x="869" y="975"/>
                  </a:lnTo>
                  <a:lnTo>
                    <a:pt x="866" y="972"/>
                  </a:lnTo>
                  <a:lnTo>
                    <a:pt x="863" y="973"/>
                  </a:lnTo>
                  <a:lnTo>
                    <a:pt x="860" y="973"/>
                  </a:lnTo>
                  <a:lnTo>
                    <a:pt x="857" y="975"/>
                  </a:lnTo>
                  <a:lnTo>
                    <a:pt x="853" y="978"/>
                  </a:lnTo>
                  <a:lnTo>
                    <a:pt x="850" y="980"/>
                  </a:lnTo>
                  <a:lnTo>
                    <a:pt x="850" y="983"/>
                  </a:lnTo>
                  <a:lnTo>
                    <a:pt x="849" y="988"/>
                  </a:lnTo>
                  <a:lnTo>
                    <a:pt x="846" y="988"/>
                  </a:lnTo>
                  <a:lnTo>
                    <a:pt x="841" y="988"/>
                  </a:lnTo>
                  <a:lnTo>
                    <a:pt x="838" y="986"/>
                  </a:lnTo>
                  <a:lnTo>
                    <a:pt x="834" y="984"/>
                  </a:lnTo>
                  <a:lnTo>
                    <a:pt x="831" y="983"/>
                  </a:lnTo>
                  <a:lnTo>
                    <a:pt x="830" y="983"/>
                  </a:lnTo>
                  <a:lnTo>
                    <a:pt x="831" y="984"/>
                  </a:lnTo>
                  <a:lnTo>
                    <a:pt x="831" y="984"/>
                  </a:lnTo>
                  <a:lnTo>
                    <a:pt x="831" y="984"/>
                  </a:lnTo>
                  <a:lnTo>
                    <a:pt x="830" y="984"/>
                  </a:lnTo>
                  <a:lnTo>
                    <a:pt x="827" y="983"/>
                  </a:lnTo>
                  <a:lnTo>
                    <a:pt x="823" y="981"/>
                  </a:lnTo>
                  <a:lnTo>
                    <a:pt x="820" y="978"/>
                  </a:lnTo>
                  <a:lnTo>
                    <a:pt x="817" y="976"/>
                  </a:lnTo>
                  <a:lnTo>
                    <a:pt x="815" y="980"/>
                  </a:lnTo>
                  <a:lnTo>
                    <a:pt x="812" y="981"/>
                  </a:lnTo>
                  <a:lnTo>
                    <a:pt x="808" y="983"/>
                  </a:lnTo>
                  <a:lnTo>
                    <a:pt x="804" y="986"/>
                  </a:lnTo>
                  <a:lnTo>
                    <a:pt x="804" y="988"/>
                  </a:lnTo>
                  <a:lnTo>
                    <a:pt x="803" y="991"/>
                  </a:lnTo>
                  <a:lnTo>
                    <a:pt x="800" y="992"/>
                  </a:lnTo>
                  <a:lnTo>
                    <a:pt x="798" y="997"/>
                  </a:lnTo>
                  <a:lnTo>
                    <a:pt x="796" y="997"/>
                  </a:lnTo>
                  <a:lnTo>
                    <a:pt x="793" y="1000"/>
                  </a:lnTo>
                  <a:lnTo>
                    <a:pt x="787" y="1003"/>
                  </a:lnTo>
                  <a:lnTo>
                    <a:pt x="782" y="1003"/>
                  </a:lnTo>
                  <a:lnTo>
                    <a:pt x="779" y="1003"/>
                  </a:lnTo>
                  <a:lnTo>
                    <a:pt x="777" y="1003"/>
                  </a:lnTo>
                  <a:lnTo>
                    <a:pt x="774" y="1007"/>
                  </a:lnTo>
                  <a:lnTo>
                    <a:pt x="773" y="1010"/>
                  </a:lnTo>
                  <a:lnTo>
                    <a:pt x="773" y="1013"/>
                  </a:lnTo>
                  <a:lnTo>
                    <a:pt x="773" y="1015"/>
                  </a:lnTo>
                  <a:lnTo>
                    <a:pt x="771" y="1016"/>
                  </a:lnTo>
                  <a:lnTo>
                    <a:pt x="769" y="1018"/>
                  </a:lnTo>
                  <a:lnTo>
                    <a:pt x="766" y="1021"/>
                  </a:lnTo>
                  <a:lnTo>
                    <a:pt x="765" y="1022"/>
                  </a:lnTo>
                  <a:lnTo>
                    <a:pt x="762" y="1024"/>
                  </a:lnTo>
                  <a:lnTo>
                    <a:pt x="758" y="1027"/>
                  </a:lnTo>
                  <a:lnTo>
                    <a:pt x="762" y="1030"/>
                  </a:lnTo>
                  <a:lnTo>
                    <a:pt x="760" y="1034"/>
                  </a:lnTo>
                  <a:lnTo>
                    <a:pt x="757" y="1037"/>
                  </a:lnTo>
                  <a:lnTo>
                    <a:pt x="749" y="1038"/>
                  </a:lnTo>
                  <a:lnTo>
                    <a:pt x="746" y="1038"/>
                  </a:lnTo>
                  <a:lnTo>
                    <a:pt x="742" y="1038"/>
                  </a:lnTo>
                  <a:lnTo>
                    <a:pt x="738" y="1042"/>
                  </a:lnTo>
                  <a:lnTo>
                    <a:pt x="735" y="1042"/>
                  </a:lnTo>
                  <a:lnTo>
                    <a:pt x="733" y="1042"/>
                  </a:lnTo>
                  <a:lnTo>
                    <a:pt x="730" y="1040"/>
                  </a:lnTo>
                  <a:lnTo>
                    <a:pt x="725" y="1040"/>
                  </a:lnTo>
                  <a:lnTo>
                    <a:pt x="725" y="1037"/>
                  </a:lnTo>
                  <a:lnTo>
                    <a:pt x="725" y="1034"/>
                  </a:lnTo>
                  <a:lnTo>
                    <a:pt x="722" y="1032"/>
                  </a:lnTo>
                  <a:lnTo>
                    <a:pt x="719" y="1032"/>
                  </a:lnTo>
                  <a:lnTo>
                    <a:pt x="719" y="1032"/>
                  </a:lnTo>
                  <a:lnTo>
                    <a:pt x="714" y="1029"/>
                  </a:lnTo>
                  <a:lnTo>
                    <a:pt x="711" y="1027"/>
                  </a:lnTo>
                  <a:lnTo>
                    <a:pt x="708" y="1029"/>
                  </a:lnTo>
                  <a:lnTo>
                    <a:pt x="706" y="1032"/>
                  </a:lnTo>
                  <a:lnTo>
                    <a:pt x="703" y="1032"/>
                  </a:lnTo>
                  <a:lnTo>
                    <a:pt x="703" y="1032"/>
                  </a:lnTo>
                  <a:lnTo>
                    <a:pt x="701" y="1032"/>
                  </a:lnTo>
                  <a:lnTo>
                    <a:pt x="698" y="1029"/>
                  </a:lnTo>
                  <a:lnTo>
                    <a:pt x="695" y="1029"/>
                  </a:lnTo>
                  <a:lnTo>
                    <a:pt x="692" y="1027"/>
                  </a:lnTo>
                  <a:lnTo>
                    <a:pt x="687" y="1027"/>
                  </a:lnTo>
                  <a:lnTo>
                    <a:pt x="682" y="1027"/>
                  </a:lnTo>
                  <a:lnTo>
                    <a:pt x="677" y="1027"/>
                  </a:lnTo>
                  <a:lnTo>
                    <a:pt x="677" y="1024"/>
                  </a:lnTo>
                  <a:lnTo>
                    <a:pt x="677" y="1021"/>
                  </a:lnTo>
                  <a:lnTo>
                    <a:pt x="674" y="1019"/>
                  </a:lnTo>
                  <a:lnTo>
                    <a:pt x="671" y="1019"/>
                  </a:lnTo>
                  <a:lnTo>
                    <a:pt x="668" y="1018"/>
                  </a:lnTo>
                  <a:lnTo>
                    <a:pt x="665" y="1018"/>
                  </a:lnTo>
                  <a:lnTo>
                    <a:pt x="663" y="1018"/>
                  </a:lnTo>
                  <a:lnTo>
                    <a:pt x="663" y="1019"/>
                  </a:lnTo>
                  <a:lnTo>
                    <a:pt x="658" y="1021"/>
                  </a:lnTo>
                  <a:lnTo>
                    <a:pt x="655" y="1024"/>
                  </a:lnTo>
                  <a:lnTo>
                    <a:pt x="652" y="1024"/>
                  </a:lnTo>
                  <a:lnTo>
                    <a:pt x="649" y="1027"/>
                  </a:lnTo>
                  <a:lnTo>
                    <a:pt x="647" y="1029"/>
                  </a:lnTo>
                  <a:lnTo>
                    <a:pt x="646" y="1034"/>
                  </a:lnTo>
                  <a:lnTo>
                    <a:pt x="644" y="1037"/>
                  </a:lnTo>
                  <a:lnTo>
                    <a:pt x="644" y="1037"/>
                  </a:lnTo>
                  <a:lnTo>
                    <a:pt x="641" y="1040"/>
                  </a:lnTo>
                  <a:lnTo>
                    <a:pt x="639" y="1043"/>
                  </a:lnTo>
                  <a:lnTo>
                    <a:pt x="639" y="1048"/>
                  </a:lnTo>
                  <a:lnTo>
                    <a:pt x="638" y="1049"/>
                  </a:lnTo>
                  <a:lnTo>
                    <a:pt x="635" y="1053"/>
                  </a:lnTo>
                  <a:lnTo>
                    <a:pt x="635" y="1056"/>
                  </a:lnTo>
                  <a:lnTo>
                    <a:pt x="633" y="1059"/>
                  </a:lnTo>
                  <a:lnTo>
                    <a:pt x="630" y="1056"/>
                  </a:lnTo>
                  <a:lnTo>
                    <a:pt x="630" y="1056"/>
                  </a:lnTo>
                  <a:lnTo>
                    <a:pt x="627" y="1053"/>
                  </a:lnTo>
                  <a:lnTo>
                    <a:pt x="627" y="1048"/>
                  </a:lnTo>
                  <a:lnTo>
                    <a:pt x="628" y="1045"/>
                  </a:lnTo>
                  <a:lnTo>
                    <a:pt x="628" y="1042"/>
                  </a:lnTo>
                  <a:lnTo>
                    <a:pt x="628" y="1038"/>
                  </a:lnTo>
                  <a:lnTo>
                    <a:pt x="627" y="1035"/>
                  </a:lnTo>
                  <a:lnTo>
                    <a:pt x="627" y="1030"/>
                  </a:lnTo>
                  <a:lnTo>
                    <a:pt x="622" y="1029"/>
                  </a:lnTo>
                  <a:lnTo>
                    <a:pt x="619" y="1027"/>
                  </a:lnTo>
                  <a:lnTo>
                    <a:pt x="616" y="1027"/>
                  </a:lnTo>
                  <a:lnTo>
                    <a:pt x="612" y="1030"/>
                  </a:lnTo>
                  <a:lnTo>
                    <a:pt x="609" y="1032"/>
                  </a:lnTo>
                  <a:lnTo>
                    <a:pt x="606" y="1032"/>
                  </a:lnTo>
                  <a:lnTo>
                    <a:pt x="601" y="1032"/>
                  </a:lnTo>
                  <a:lnTo>
                    <a:pt x="603" y="1037"/>
                  </a:lnTo>
                  <a:lnTo>
                    <a:pt x="598" y="1035"/>
                  </a:lnTo>
                  <a:lnTo>
                    <a:pt x="595" y="1035"/>
                  </a:lnTo>
                  <a:lnTo>
                    <a:pt x="590" y="1037"/>
                  </a:lnTo>
                  <a:lnTo>
                    <a:pt x="587" y="1038"/>
                  </a:lnTo>
                  <a:lnTo>
                    <a:pt x="585" y="1038"/>
                  </a:lnTo>
                  <a:lnTo>
                    <a:pt x="582" y="1037"/>
                  </a:lnTo>
                  <a:lnTo>
                    <a:pt x="578" y="1038"/>
                  </a:lnTo>
                  <a:lnTo>
                    <a:pt x="576" y="1037"/>
                  </a:lnTo>
                  <a:lnTo>
                    <a:pt x="571" y="1037"/>
                  </a:lnTo>
                  <a:lnTo>
                    <a:pt x="568" y="1037"/>
                  </a:lnTo>
                  <a:lnTo>
                    <a:pt x="565" y="1034"/>
                  </a:lnTo>
                  <a:lnTo>
                    <a:pt x="562" y="1034"/>
                  </a:lnTo>
                  <a:lnTo>
                    <a:pt x="557" y="1030"/>
                  </a:lnTo>
                  <a:lnTo>
                    <a:pt x="554" y="1030"/>
                  </a:lnTo>
                  <a:lnTo>
                    <a:pt x="551" y="1027"/>
                  </a:lnTo>
                  <a:lnTo>
                    <a:pt x="546" y="1029"/>
                  </a:lnTo>
                  <a:lnTo>
                    <a:pt x="546" y="1032"/>
                  </a:lnTo>
                  <a:lnTo>
                    <a:pt x="544" y="1034"/>
                  </a:lnTo>
                  <a:lnTo>
                    <a:pt x="541" y="1034"/>
                  </a:lnTo>
                  <a:lnTo>
                    <a:pt x="538" y="1032"/>
                  </a:lnTo>
                  <a:lnTo>
                    <a:pt x="533" y="1027"/>
                  </a:lnTo>
                  <a:lnTo>
                    <a:pt x="532" y="1024"/>
                  </a:lnTo>
                  <a:lnTo>
                    <a:pt x="530" y="1027"/>
                  </a:lnTo>
                  <a:lnTo>
                    <a:pt x="532" y="1032"/>
                  </a:lnTo>
                  <a:lnTo>
                    <a:pt x="530" y="1035"/>
                  </a:lnTo>
                  <a:lnTo>
                    <a:pt x="527" y="1034"/>
                  </a:lnTo>
                  <a:lnTo>
                    <a:pt x="525" y="1030"/>
                  </a:lnTo>
                  <a:lnTo>
                    <a:pt x="525" y="1030"/>
                  </a:lnTo>
                  <a:lnTo>
                    <a:pt x="524" y="1027"/>
                  </a:lnTo>
                  <a:lnTo>
                    <a:pt x="520" y="1024"/>
                  </a:lnTo>
                  <a:lnTo>
                    <a:pt x="516" y="1021"/>
                  </a:lnTo>
                  <a:lnTo>
                    <a:pt x="514" y="1016"/>
                  </a:lnTo>
                  <a:lnTo>
                    <a:pt x="513" y="1021"/>
                  </a:lnTo>
                  <a:lnTo>
                    <a:pt x="508" y="1019"/>
                  </a:lnTo>
                  <a:lnTo>
                    <a:pt x="505" y="1019"/>
                  </a:lnTo>
                  <a:lnTo>
                    <a:pt x="501" y="1019"/>
                  </a:lnTo>
                  <a:lnTo>
                    <a:pt x="497" y="1018"/>
                  </a:lnTo>
                  <a:lnTo>
                    <a:pt x="493" y="1016"/>
                  </a:lnTo>
                  <a:lnTo>
                    <a:pt x="493" y="1016"/>
                  </a:lnTo>
                  <a:lnTo>
                    <a:pt x="492" y="1013"/>
                  </a:lnTo>
                  <a:lnTo>
                    <a:pt x="495" y="1010"/>
                  </a:lnTo>
                  <a:lnTo>
                    <a:pt x="492" y="1005"/>
                  </a:lnTo>
                  <a:lnTo>
                    <a:pt x="487" y="1007"/>
                  </a:lnTo>
                  <a:lnTo>
                    <a:pt x="487" y="1007"/>
                  </a:lnTo>
                  <a:lnTo>
                    <a:pt x="484" y="1008"/>
                  </a:lnTo>
                  <a:lnTo>
                    <a:pt x="479" y="1007"/>
                  </a:lnTo>
                  <a:lnTo>
                    <a:pt x="476" y="1003"/>
                  </a:lnTo>
                  <a:lnTo>
                    <a:pt x="473" y="1002"/>
                  </a:lnTo>
                  <a:lnTo>
                    <a:pt x="468" y="1000"/>
                  </a:lnTo>
                  <a:lnTo>
                    <a:pt x="467" y="997"/>
                  </a:lnTo>
                  <a:lnTo>
                    <a:pt x="459" y="992"/>
                  </a:lnTo>
                  <a:lnTo>
                    <a:pt x="459" y="992"/>
                  </a:lnTo>
                  <a:lnTo>
                    <a:pt x="459" y="988"/>
                  </a:lnTo>
                  <a:lnTo>
                    <a:pt x="454" y="984"/>
                  </a:lnTo>
                  <a:lnTo>
                    <a:pt x="452" y="981"/>
                  </a:lnTo>
                  <a:lnTo>
                    <a:pt x="449" y="980"/>
                  </a:lnTo>
                  <a:lnTo>
                    <a:pt x="447" y="978"/>
                  </a:lnTo>
                  <a:lnTo>
                    <a:pt x="444" y="980"/>
                  </a:lnTo>
                  <a:lnTo>
                    <a:pt x="440" y="980"/>
                  </a:lnTo>
                  <a:lnTo>
                    <a:pt x="436" y="983"/>
                  </a:lnTo>
                  <a:lnTo>
                    <a:pt x="435" y="983"/>
                  </a:lnTo>
                  <a:lnTo>
                    <a:pt x="427" y="973"/>
                  </a:lnTo>
                  <a:lnTo>
                    <a:pt x="417" y="964"/>
                  </a:lnTo>
                  <a:lnTo>
                    <a:pt x="414" y="965"/>
                  </a:lnTo>
                  <a:lnTo>
                    <a:pt x="411" y="962"/>
                  </a:lnTo>
                  <a:lnTo>
                    <a:pt x="406" y="962"/>
                  </a:lnTo>
                  <a:lnTo>
                    <a:pt x="403" y="961"/>
                  </a:lnTo>
                  <a:lnTo>
                    <a:pt x="400" y="957"/>
                  </a:lnTo>
                  <a:lnTo>
                    <a:pt x="395" y="954"/>
                  </a:lnTo>
                  <a:lnTo>
                    <a:pt x="392" y="951"/>
                  </a:lnTo>
                  <a:lnTo>
                    <a:pt x="387" y="950"/>
                  </a:lnTo>
                  <a:lnTo>
                    <a:pt x="384" y="948"/>
                  </a:lnTo>
                  <a:lnTo>
                    <a:pt x="381" y="946"/>
                  </a:lnTo>
                  <a:lnTo>
                    <a:pt x="378" y="943"/>
                  </a:lnTo>
                  <a:lnTo>
                    <a:pt x="375" y="940"/>
                  </a:lnTo>
                  <a:lnTo>
                    <a:pt x="371" y="935"/>
                  </a:lnTo>
                  <a:lnTo>
                    <a:pt x="368" y="934"/>
                  </a:lnTo>
                  <a:lnTo>
                    <a:pt x="363" y="934"/>
                  </a:lnTo>
                  <a:lnTo>
                    <a:pt x="360" y="932"/>
                  </a:lnTo>
                  <a:lnTo>
                    <a:pt x="355" y="932"/>
                  </a:lnTo>
                  <a:lnTo>
                    <a:pt x="354" y="935"/>
                  </a:lnTo>
                  <a:lnTo>
                    <a:pt x="349" y="935"/>
                  </a:lnTo>
                  <a:lnTo>
                    <a:pt x="349" y="938"/>
                  </a:lnTo>
                  <a:lnTo>
                    <a:pt x="349" y="943"/>
                  </a:lnTo>
                  <a:lnTo>
                    <a:pt x="349" y="943"/>
                  </a:lnTo>
                  <a:lnTo>
                    <a:pt x="348" y="946"/>
                  </a:lnTo>
                  <a:lnTo>
                    <a:pt x="344" y="948"/>
                  </a:lnTo>
                  <a:lnTo>
                    <a:pt x="341" y="948"/>
                  </a:lnTo>
                  <a:lnTo>
                    <a:pt x="340" y="945"/>
                  </a:lnTo>
                  <a:lnTo>
                    <a:pt x="336" y="940"/>
                  </a:lnTo>
                  <a:lnTo>
                    <a:pt x="333" y="937"/>
                  </a:lnTo>
                  <a:lnTo>
                    <a:pt x="330" y="937"/>
                  </a:lnTo>
                  <a:lnTo>
                    <a:pt x="327" y="934"/>
                  </a:lnTo>
                  <a:lnTo>
                    <a:pt x="324" y="931"/>
                  </a:lnTo>
                  <a:lnTo>
                    <a:pt x="319" y="929"/>
                  </a:lnTo>
                  <a:lnTo>
                    <a:pt x="316" y="929"/>
                  </a:lnTo>
                  <a:lnTo>
                    <a:pt x="313" y="927"/>
                  </a:lnTo>
                  <a:lnTo>
                    <a:pt x="310" y="926"/>
                  </a:lnTo>
                  <a:lnTo>
                    <a:pt x="306" y="926"/>
                  </a:lnTo>
                  <a:lnTo>
                    <a:pt x="306" y="919"/>
                  </a:lnTo>
                  <a:lnTo>
                    <a:pt x="303" y="916"/>
                  </a:lnTo>
                  <a:lnTo>
                    <a:pt x="297" y="915"/>
                  </a:lnTo>
                  <a:lnTo>
                    <a:pt x="294" y="911"/>
                  </a:lnTo>
                  <a:lnTo>
                    <a:pt x="290" y="910"/>
                  </a:lnTo>
                  <a:lnTo>
                    <a:pt x="289" y="908"/>
                  </a:lnTo>
                  <a:lnTo>
                    <a:pt x="286" y="908"/>
                  </a:lnTo>
                  <a:lnTo>
                    <a:pt x="281" y="910"/>
                  </a:lnTo>
                  <a:lnTo>
                    <a:pt x="278" y="907"/>
                  </a:lnTo>
                  <a:lnTo>
                    <a:pt x="275" y="905"/>
                  </a:lnTo>
                  <a:lnTo>
                    <a:pt x="273" y="904"/>
                  </a:lnTo>
                  <a:lnTo>
                    <a:pt x="270" y="902"/>
                  </a:lnTo>
                  <a:lnTo>
                    <a:pt x="268" y="899"/>
                  </a:lnTo>
                  <a:lnTo>
                    <a:pt x="267" y="899"/>
                  </a:lnTo>
                  <a:lnTo>
                    <a:pt x="265" y="896"/>
                  </a:lnTo>
                  <a:lnTo>
                    <a:pt x="262" y="892"/>
                  </a:lnTo>
                  <a:lnTo>
                    <a:pt x="262" y="891"/>
                  </a:lnTo>
                  <a:lnTo>
                    <a:pt x="257" y="891"/>
                  </a:lnTo>
                  <a:lnTo>
                    <a:pt x="257" y="894"/>
                  </a:lnTo>
                  <a:lnTo>
                    <a:pt x="254" y="896"/>
                  </a:lnTo>
                  <a:lnTo>
                    <a:pt x="251" y="896"/>
                  </a:lnTo>
                  <a:lnTo>
                    <a:pt x="249" y="892"/>
                  </a:lnTo>
                  <a:lnTo>
                    <a:pt x="248" y="889"/>
                  </a:lnTo>
                  <a:lnTo>
                    <a:pt x="249" y="885"/>
                  </a:lnTo>
                  <a:lnTo>
                    <a:pt x="249" y="881"/>
                  </a:lnTo>
                  <a:lnTo>
                    <a:pt x="244" y="878"/>
                  </a:lnTo>
                  <a:lnTo>
                    <a:pt x="244" y="875"/>
                  </a:lnTo>
                  <a:lnTo>
                    <a:pt x="244" y="873"/>
                  </a:lnTo>
                  <a:lnTo>
                    <a:pt x="244" y="873"/>
                  </a:lnTo>
                  <a:lnTo>
                    <a:pt x="244" y="870"/>
                  </a:lnTo>
                  <a:lnTo>
                    <a:pt x="244" y="867"/>
                  </a:lnTo>
                  <a:lnTo>
                    <a:pt x="240" y="865"/>
                  </a:lnTo>
                  <a:lnTo>
                    <a:pt x="240" y="864"/>
                  </a:lnTo>
                  <a:lnTo>
                    <a:pt x="237" y="861"/>
                  </a:lnTo>
                  <a:lnTo>
                    <a:pt x="233" y="858"/>
                  </a:lnTo>
                  <a:lnTo>
                    <a:pt x="232" y="858"/>
                  </a:lnTo>
                  <a:lnTo>
                    <a:pt x="232" y="853"/>
                  </a:lnTo>
                  <a:lnTo>
                    <a:pt x="230" y="850"/>
                  </a:lnTo>
                  <a:lnTo>
                    <a:pt x="229" y="846"/>
                  </a:lnTo>
                  <a:lnTo>
                    <a:pt x="227" y="845"/>
                  </a:lnTo>
                  <a:lnTo>
                    <a:pt x="230" y="843"/>
                  </a:lnTo>
                  <a:lnTo>
                    <a:pt x="233" y="843"/>
                  </a:lnTo>
                  <a:lnTo>
                    <a:pt x="235" y="843"/>
                  </a:lnTo>
                  <a:lnTo>
                    <a:pt x="237" y="842"/>
                  </a:lnTo>
                  <a:lnTo>
                    <a:pt x="240" y="842"/>
                  </a:lnTo>
                  <a:lnTo>
                    <a:pt x="240" y="845"/>
                  </a:lnTo>
                  <a:lnTo>
                    <a:pt x="241" y="848"/>
                  </a:lnTo>
                  <a:lnTo>
                    <a:pt x="246" y="851"/>
                  </a:lnTo>
                  <a:lnTo>
                    <a:pt x="249" y="853"/>
                  </a:lnTo>
                  <a:lnTo>
                    <a:pt x="252" y="851"/>
                  </a:lnTo>
                  <a:lnTo>
                    <a:pt x="252" y="848"/>
                  </a:lnTo>
                  <a:lnTo>
                    <a:pt x="259" y="845"/>
                  </a:lnTo>
                  <a:lnTo>
                    <a:pt x="265" y="840"/>
                  </a:lnTo>
                  <a:lnTo>
                    <a:pt x="264" y="837"/>
                  </a:lnTo>
                  <a:lnTo>
                    <a:pt x="262" y="832"/>
                  </a:lnTo>
                  <a:lnTo>
                    <a:pt x="259" y="829"/>
                  </a:lnTo>
                  <a:lnTo>
                    <a:pt x="256" y="826"/>
                  </a:lnTo>
                  <a:lnTo>
                    <a:pt x="256" y="823"/>
                  </a:lnTo>
                  <a:lnTo>
                    <a:pt x="256" y="820"/>
                  </a:lnTo>
                  <a:lnTo>
                    <a:pt x="252" y="818"/>
                  </a:lnTo>
                  <a:lnTo>
                    <a:pt x="249" y="818"/>
                  </a:lnTo>
                  <a:lnTo>
                    <a:pt x="248" y="818"/>
                  </a:lnTo>
                  <a:lnTo>
                    <a:pt x="248" y="816"/>
                  </a:lnTo>
                  <a:lnTo>
                    <a:pt x="244" y="815"/>
                  </a:lnTo>
                  <a:lnTo>
                    <a:pt x="240" y="813"/>
                  </a:lnTo>
                  <a:lnTo>
                    <a:pt x="238" y="810"/>
                  </a:lnTo>
                  <a:lnTo>
                    <a:pt x="237" y="807"/>
                  </a:lnTo>
                  <a:lnTo>
                    <a:pt x="237" y="805"/>
                  </a:lnTo>
                  <a:lnTo>
                    <a:pt x="237" y="804"/>
                  </a:lnTo>
                  <a:lnTo>
                    <a:pt x="237" y="804"/>
                  </a:lnTo>
                  <a:lnTo>
                    <a:pt x="235" y="800"/>
                  </a:lnTo>
                  <a:lnTo>
                    <a:pt x="238" y="800"/>
                  </a:lnTo>
                  <a:lnTo>
                    <a:pt x="238" y="797"/>
                  </a:lnTo>
                  <a:lnTo>
                    <a:pt x="238" y="796"/>
                  </a:lnTo>
                  <a:lnTo>
                    <a:pt x="237" y="794"/>
                  </a:lnTo>
                  <a:lnTo>
                    <a:pt x="235" y="794"/>
                  </a:lnTo>
                  <a:lnTo>
                    <a:pt x="233" y="791"/>
                  </a:lnTo>
                  <a:lnTo>
                    <a:pt x="232" y="788"/>
                  </a:lnTo>
                  <a:lnTo>
                    <a:pt x="235" y="785"/>
                  </a:lnTo>
                  <a:lnTo>
                    <a:pt x="240" y="785"/>
                  </a:lnTo>
                  <a:lnTo>
                    <a:pt x="243" y="785"/>
                  </a:lnTo>
                  <a:lnTo>
                    <a:pt x="246" y="785"/>
                  </a:lnTo>
                  <a:lnTo>
                    <a:pt x="249" y="785"/>
                  </a:lnTo>
                  <a:lnTo>
                    <a:pt x="251" y="780"/>
                  </a:lnTo>
                  <a:lnTo>
                    <a:pt x="251" y="777"/>
                  </a:lnTo>
                  <a:lnTo>
                    <a:pt x="251" y="774"/>
                  </a:lnTo>
                  <a:lnTo>
                    <a:pt x="249" y="769"/>
                  </a:lnTo>
                  <a:lnTo>
                    <a:pt x="252" y="769"/>
                  </a:lnTo>
                  <a:lnTo>
                    <a:pt x="256" y="769"/>
                  </a:lnTo>
                  <a:lnTo>
                    <a:pt x="257" y="767"/>
                  </a:lnTo>
                  <a:lnTo>
                    <a:pt x="254" y="764"/>
                  </a:lnTo>
                  <a:lnTo>
                    <a:pt x="257" y="762"/>
                  </a:lnTo>
                  <a:lnTo>
                    <a:pt x="259" y="759"/>
                  </a:lnTo>
                  <a:lnTo>
                    <a:pt x="260" y="758"/>
                  </a:lnTo>
                  <a:lnTo>
                    <a:pt x="262" y="759"/>
                  </a:lnTo>
                  <a:lnTo>
                    <a:pt x="265" y="754"/>
                  </a:lnTo>
                  <a:lnTo>
                    <a:pt x="265" y="754"/>
                  </a:lnTo>
                  <a:lnTo>
                    <a:pt x="267" y="750"/>
                  </a:lnTo>
                  <a:lnTo>
                    <a:pt x="267" y="750"/>
                  </a:lnTo>
                  <a:lnTo>
                    <a:pt x="267" y="747"/>
                  </a:lnTo>
                  <a:lnTo>
                    <a:pt x="267" y="745"/>
                  </a:lnTo>
                  <a:lnTo>
                    <a:pt x="265" y="740"/>
                  </a:lnTo>
                  <a:lnTo>
                    <a:pt x="267" y="737"/>
                  </a:lnTo>
                  <a:lnTo>
                    <a:pt x="267" y="734"/>
                  </a:lnTo>
                  <a:lnTo>
                    <a:pt x="267" y="731"/>
                  </a:lnTo>
                  <a:lnTo>
                    <a:pt x="268" y="726"/>
                  </a:lnTo>
                  <a:lnTo>
                    <a:pt x="268" y="726"/>
                  </a:lnTo>
                  <a:lnTo>
                    <a:pt x="265" y="724"/>
                  </a:lnTo>
                  <a:lnTo>
                    <a:pt x="264" y="723"/>
                  </a:lnTo>
                  <a:lnTo>
                    <a:pt x="260" y="726"/>
                  </a:lnTo>
                  <a:lnTo>
                    <a:pt x="257" y="728"/>
                  </a:lnTo>
                  <a:lnTo>
                    <a:pt x="254" y="724"/>
                  </a:lnTo>
                  <a:lnTo>
                    <a:pt x="254" y="724"/>
                  </a:lnTo>
                  <a:lnTo>
                    <a:pt x="252" y="720"/>
                  </a:lnTo>
                  <a:lnTo>
                    <a:pt x="249" y="721"/>
                  </a:lnTo>
                  <a:lnTo>
                    <a:pt x="244" y="718"/>
                  </a:lnTo>
                  <a:lnTo>
                    <a:pt x="241" y="716"/>
                  </a:lnTo>
                  <a:lnTo>
                    <a:pt x="240" y="713"/>
                  </a:lnTo>
                  <a:lnTo>
                    <a:pt x="237" y="710"/>
                  </a:lnTo>
                  <a:lnTo>
                    <a:pt x="235" y="710"/>
                  </a:lnTo>
                  <a:lnTo>
                    <a:pt x="233" y="710"/>
                  </a:lnTo>
                  <a:lnTo>
                    <a:pt x="232" y="707"/>
                  </a:lnTo>
                  <a:lnTo>
                    <a:pt x="229" y="705"/>
                  </a:lnTo>
                  <a:lnTo>
                    <a:pt x="224" y="705"/>
                  </a:lnTo>
                  <a:lnTo>
                    <a:pt x="224" y="705"/>
                  </a:lnTo>
                  <a:lnTo>
                    <a:pt x="221" y="705"/>
                  </a:lnTo>
                  <a:lnTo>
                    <a:pt x="216" y="707"/>
                  </a:lnTo>
                  <a:lnTo>
                    <a:pt x="214" y="707"/>
                  </a:lnTo>
                  <a:lnTo>
                    <a:pt x="213" y="708"/>
                  </a:lnTo>
                  <a:lnTo>
                    <a:pt x="210" y="707"/>
                  </a:lnTo>
                  <a:lnTo>
                    <a:pt x="200" y="713"/>
                  </a:lnTo>
                  <a:lnTo>
                    <a:pt x="191" y="721"/>
                  </a:lnTo>
                  <a:lnTo>
                    <a:pt x="187" y="721"/>
                  </a:lnTo>
                  <a:lnTo>
                    <a:pt x="184" y="724"/>
                  </a:lnTo>
                  <a:lnTo>
                    <a:pt x="181" y="724"/>
                  </a:lnTo>
                  <a:lnTo>
                    <a:pt x="181" y="724"/>
                  </a:lnTo>
                  <a:lnTo>
                    <a:pt x="179" y="724"/>
                  </a:lnTo>
                  <a:lnTo>
                    <a:pt x="176" y="726"/>
                  </a:lnTo>
                  <a:lnTo>
                    <a:pt x="173" y="724"/>
                  </a:lnTo>
                  <a:lnTo>
                    <a:pt x="168" y="724"/>
                  </a:lnTo>
                  <a:lnTo>
                    <a:pt x="165" y="724"/>
                  </a:lnTo>
                  <a:lnTo>
                    <a:pt x="162" y="723"/>
                  </a:lnTo>
                  <a:lnTo>
                    <a:pt x="159" y="723"/>
                  </a:lnTo>
                  <a:lnTo>
                    <a:pt x="156" y="721"/>
                  </a:lnTo>
                  <a:lnTo>
                    <a:pt x="148" y="720"/>
                  </a:lnTo>
                  <a:lnTo>
                    <a:pt x="145" y="718"/>
                  </a:lnTo>
                  <a:lnTo>
                    <a:pt x="141" y="716"/>
                  </a:lnTo>
                  <a:lnTo>
                    <a:pt x="138" y="715"/>
                  </a:lnTo>
                  <a:lnTo>
                    <a:pt x="135" y="712"/>
                  </a:lnTo>
                  <a:lnTo>
                    <a:pt x="135" y="707"/>
                  </a:lnTo>
                  <a:lnTo>
                    <a:pt x="130" y="708"/>
                  </a:lnTo>
                  <a:lnTo>
                    <a:pt x="127" y="712"/>
                  </a:lnTo>
                  <a:lnTo>
                    <a:pt x="124" y="712"/>
                  </a:lnTo>
                  <a:lnTo>
                    <a:pt x="121" y="708"/>
                  </a:lnTo>
                  <a:lnTo>
                    <a:pt x="118" y="705"/>
                  </a:lnTo>
                  <a:lnTo>
                    <a:pt x="114" y="704"/>
                  </a:lnTo>
                  <a:lnTo>
                    <a:pt x="111" y="702"/>
                  </a:lnTo>
                  <a:lnTo>
                    <a:pt x="111" y="697"/>
                  </a:lnTo>
                  <a:lnTo>
                    <a:pt x="113" y="694"/>
                  </a:lnTo>
                  <a:lnTo>
                    <a:pt x="111" y="691"/>
                  </a:lnTo>
                  <a:lnTo>
                    <a:pt x="111" y="688"/>
                  </a:lnTo>
                  <a:lnTo>
                    <a:pt x="110" y="685"/>
                  </a:lnTo>
                  <a:lnTo>
                    <a:pt x="106" y="682"/>
                  </a:lnTo>
                  <a:lnTo>
                    <a:pt x="105" y="680"/>
                  </a:lnTo>
                  <a:lnTo>
                    <a:pt x="102" y="675"/>
                  </a:lnTo>
                  <a:lnTo>
                    <a:pt x="99" y="674"/>
                  </a:lnTo>
                  <a:lnTo>
                    <a:pt x="95" y="672"/>
                  </a:lnTo>
                  <a:lnTo>
                    <a:pt x="91" y="672"/>
                  </a:lnTo>
                  <a:lnTo>
                    <a:pt x="91" y="672"/>
                  </a:lnTo>
                  <a:lnTo>
                    <a:pt x="87" y="674"/>
                  </a:lnTo>
                  <a:lnTo>
                    <a:pt x="86" y="670"/>
                  </a:lnTo>
                  <a:lnTo>
                    <a:pt x="84" y="666"/>
                  </a:lnTo>
                  <a:lnTo>
                    <a:pt x="78" y="664"/>
                  </a:lnTo>
                  <a:lnTo>
                    <a:pt x="73" y="663"/>
                  </a:lnTo>
                  <a:lnTo>
                    <a:pt x="70" y="664"/>
                  </a:lnTo>
                  <a:lnTo>
                    <a:pt x="67" y="666"/>
                  </a:lnTo>
                  <a:lnTo>
                    <a:pt x="65" y="663"/>
                  </a:lnTo>
                  <a:lnTo>
                    <a:pt x="62" y="663"/>
                  </a:lnTo>
                  <a:lnTo>
                    <a:pt x="59" y="661"/>
                  </a:lnTo>
                  <a:lnTo>
                    <a:pt x="56" y="661"/>
                  </a:lnTo>
                  <a:lnTo>
                    <a:pt x="54" y="661"/>
                  </a:lnTo>
                  <a:lnTo>
                    <a:pt x="51" y="658"/>
                  </a:lnTo>
                  <a:lnTo>
                    <a:pt x="51" y="655"/>
                  </a:lnTo>
                  <a:lnTo>
                    <a:pt x="54" y="653"/>
                  </a:lnTo>
                  <a:lnTo>
                    <a:pt x="57" y="651"/>
                  </a:lnTo>
                  <a:lnTo>
                    <a:pt x="62" y="655"/>
                  </a:lnTo>
                  <a:lnTo>
                    <a:pt x="65" y="653"/>
                  </a:lnTo>
                  <a:lnTo>
                    <a:pt x="67" y="651"/>
                  </a:lnTo>
                  <a:lnTo>
                    <a:pt x="70" y="648"/>
                  </a:lnTo>
                  <a:lnTo>
                    <a:pt x="70" y="645"/>
                  </a:lnTo>
                  <a:lnTo>
                    <a:pt x="67" y="642"/>
                  </a:lnTo>
                  <a:lnTo>
                    <a:pt x="65" y="640"/>
                  </a:lnTo>
                  <a:lnTo>
                    <a:pt x="62" y="639"/>
                  </a:lnTo>
                  <a:lnTo>
                    <a:pt x="62" y="634"/>
                  </a:lnTo>
                  <a:lnTo>
                    <a:pt x="62" y="631"/>
                  </a:lnTo>
                  <a:lnTo>
                    <a:pt x="59" y="629"/>
                  </a:lnTo>
                  <a:lnTo>
                    <a:pt x="59" y="626"/>
                  </a:lnTo>
                  <a:lnTo>
                    <a:pt x="57" y="621"/>
                  </a:lnTo>
                  <a:lnTo>
                    <a:pt x="54" y="620"/>
                  </a:lnTo>
                  <a:lnTo>
                    <a:pt x="53" y="617"/>
                  </a:lnTo>
                  <a:lnTo>
                    <a:pt x="51" y="612"/>
                  </a:lnTo>
                  <a:lnTo>
                    <a:pt x="51" y="609"/>
                  </a:lnTo>
                  <a:lnTo>
                    <a:pt x="53" y="605"/>
                  </a:lnTo>
                  <a:lnTo>
                    <a:pt x="51" y="602"/>
                  </a:lnTo>
                  <a:lnTo>
                    <a:pt x="46" y="601"/>
                  </a:lnTo>
                  <a:lnTo>
                    <a:pt x="43" y="599"/>
                  </a:lnTo>
                  <a:lnTo>
                    <a:pt x="40" y="597"/>
                  </a:lnTo>
                  <a:lnTo>
                    <a:pt x="37" y="596"/>
                  </a:lnTo>
                  <a:lnTo>
                    <a:pt x="34" y="596"/>
                  </a:lnTo>
                  <a:lnTo>
                    <a:pt x="29" y="596"/>
                  </a:lnTo>
                  <a:lnTo>
                    <a:pt x="26" y="594"/>
                  </a:lnTo>
                  <a:lnTo>
                    <a:pt x="22" y="597"/>
                  </a:lnTo>
                  <a:lnTo>
                    <a:pt x="19" y="601"/>
                  </a:lnTo>
                  <a:lnTo>
                    <a:pt x="16" y="599"/>
                  </a:lnTo>
                  <a:lnTo>
                    <a:pt x="13" y="596"/>
                  </a:lnTo>
                  <a:lnTo>
                    <a:pt x="13" y="594"/>
                  </a:lnTo>
                  <a:lnTo>
                    <a:pt x="11" y="591"/>
                  </a:lnTo>
                  <a:lnTo>
                    <a:pt x="10" y="588"/>
                  </a:lnTo>
                  <a:lnTo>
                    <a:pt x="8" y="585"/>
                  </a:lnTo>
                  <a:lnTo>
                    <a:pt x="11" y="583"/>
                  </a:lnTo>
                  <a:lnTo>
                    <a:pt x="10" y="580"/>
                  </a:lnTo>
                  <a:lnTo>
                    <a:pt x="7" y="577"/>
                  </a:lnTo>
                  <a:lnTo>
                    <a:pt x="2" y="574"/>
                  </a:lnTo>
                  <a:lnTo>
                    <a:pt x="2" y="571"/>
                  </a:lnTo>
                  <a:lnTo>
                    <a:pt x="2" y="566"/>
                  </a:lnTo>
                  <a:lnTo>
                    <a:pt x="0" y="56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8365986" y="3466529"/>
              <a:ext cx="2941" cy="3385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0 h 3"/>
                <a:gd name="T4" fmla="*/ 0 w 3"/>
                <a:gd name="T5" fmla="*/ 0 h 3"/>
                <a:gd name="T6" fmla="*/ 3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8365986" y="3466529"/>
              <a:ext cx="2941" cy="3385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0 h 3"/>
                <a:gd name="T4" fmla="*/ 0 w 3"/>
                <a:gd name="T5" fmla="*/ 0 h 3"/>
                <a:gd name="T6" fmla="*/ 3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8396864" y="3471606"/>
              <a:ext cx="2941" cy="1692"/>
            </a:xfrm>
            <a:custGeom>
              <a:avLst/>
              <a:gdLst>
                <a:gd name="T0" fmla="*/ 5 w 5"/>
                <a:gd name="T1" fmla="*/ 5 w 5"/>
                <a:gd name="T2" fmla="*/ 0 w 5"/>
                <a:gd name="T3" fmla="*/ 5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5">
                  <a:moveTo>
                    <a:pt x="5" y="0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8396864" y="3471606"/>
              <a:ext cx="2941" cy="1692"/>
            </a:xfrm>
            <a:custGeom>
              <a:avLst/>
              <a:gdLst>
                <a:gd name="T0" fmla="*/ 5 w 5"/>
                <a:gd name="T1" fmla="*/ 5 w 5"/>
                <a:gd name="T2" fmla="*/ 0 w 5"/>
                <a:gd name="T3" fmla="*/ 5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5">
                  <a:moveTo>
                    <a:pt x="5" y="0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5" y="0"/>
                  </a:lnTo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8210128" y="4133346"/>
              <a:ext cx="60284" cy="66004"/>
            </a:xfrm>
            <a:custGeom>
              <a:avLst/>
              <a:gdLst>
                <a:gd name="T0" fmla="*/ 2 w 83"/>
                <a:gd name="T1" fmla="*/ 35 h 78"/>
                <a:gd name="T2" fmla="*/ 2 w 83"/>
                <a:gd name="T3" fmla="*/ 40 h 78"/>
                <a:gd name="T4" fmla="*/ 2 w 83"/>
                <a:gd name="T5" fmla="*/ 46 h 78"/>
                <a:gd name="T6" fmla="*/ 2 w 83"/>
                <a:gd name="T7" fmla="*/ 53 h 78"/>
                <a:gd name="T8" fmla="*/ 5 w 83"/>
                <a:gd name="T9" fmla="*/ 59 h 78"/>
                <a:gd name="T10" fmla="*/ 6 w 83"/>
                <a:gd name="T11" fmla="*/ 67 h 78"/>
                <a:gd name="T12" fmla="*/ 11 w 83"/>
                <a:gd name="T13" fmla="*/ 69 h 78"/>
                <a:gd name="T14" fmla="*/ 17 w 83"/>
                <a:gd name="T15" fmla="*/ 73 h 78"/>
                <a:gd name="T16" fmla="*/ 24 w 83"/>
                <a:gd name="T17" fmla="*/ 73 h 78"/>
                <a:gd name="T18" fmla="*/ 37 w 83"/>
                <a:gd name="T19" fmla="*/ 76 h 78"/>
                <a:gd name="T20" fmla="*/ 44 w 83"/>
                <a:gd name="T21" fmla="*/ 75 h 78"/>
                <a:gd name="T22" fmla="*/ 46 w 83"/>
                <a:gd name="T23" fmla="*/ 72 h 78"/>
                <a:gd name="T24" fmla="*/ 54 w 83"/>
                <a:gd name="T25" fmla="*/ 70 h 78"/>
                <a:gd name="T26" fmla="*/ 54 w 83"/>
                <a:gd name="T27" fmla="*/ 73 h 78"/>
                <a:gd name="T28" fmla="*/ 57 w 83"/>
                <a:gd name="T29" fmla="*/ 67 h 78"/>
                <a:gd name="T30" fmla="*/ 62 w 83"/>
                <a:gd name="T31" fmla="*/ 61 h 78"/>
                <a:gd name="T32" fmla="*/ 68 w 83"/>
                <a:gd name="T33" fmla="*/ 56 h 78"/>
                <a:gd name="T34" fmla="*/ 68 w 83"/>
                <a:gd name="T35" fmla="*/ 48 h 78"/>
                <a:gd name="T36" fmla="*/ 70 w 83"/>
                <a:gd name="T37" fmla="*/ 42 h 78"/>
                <a:gd name="T38" fmla="*/ 71 w 83"/>
                <a:gd name="T39" fmla="*/ 37 h 78"/>
                <a:gd name="T40" fmla="*/ 71 w 83"/>
                <a:gd name="T41" fmla="*/ 30 h 78"/>
                <a:gd name="T42" fmla="*/ 76 w 83"/>
                <a:gd name="T43" fmla="*/ 21 h 78"/>
                <a:gd name="T44" fmla="*/ 83 w 83"/>
                <a:gd name="T45" fmla="*/ 19 h 78"/>
                <a:gd name="T46" fmla="*/ 79 w 83"/>
                <a:gd name="T47" fmla="*/ 13 h 78"/>
                <a:gd name="T48" fmla="*/ 76 w 83"/>
                <a:gd name="T49" fmla="*/ 7 h 78"/>
                <a:gd name="T50" fmla="*/ 71 w 83"/>
                <a:gd name="T51" fmla="*/ 5 h 78"/>
                <a:gd name="T52" fmla="*/ 63 w 83"/>
                <a:gd name="T53" fmla="*/ 2 h 78"/>
                <a:gd name="T54" fmla="*/ 65 w 83"/>
                <a:gd name="T55" fmla="*/ 7 h 78"/>
                <a:gd name="T56" fmla="*/ 63 w 83"/>
                <a:gd name="T57" fmla="*/ 7 h 78"/>
                <a:gd name="T58" fmla="*/ 57 w 83"/>
                <a:gd name="T59" fmla="*/ 7 h 78"/>
                <a:gd name="T60" fmla="*/ 59 w 83"/>
                <a:gd name="T61" fmla="*/ 10 h 78"/>
                <a:gd name="T62" fmla="*/ 57 w 83"/>
                <a:gd name="T63" fmla="*/ 7 h 78"/>
                <a:gd name="T64" fmla="*/ 54 w 83"/>
                <a:gd name="T65" fmla="*/ 5 h 78"/>
                <a:gd name="T66" fmla="*/ 48 w 83"/>
                <a:gd name="T67" fmla="*/ 7 h 78"/>
                <a:gd name="T68" fmla="*/ 49 w 83"/>
                <a:gd name="T69" fmla="*/ 7 h 78"/>
                <a:gd name="T70" fmla="*/ 44 w 83"/>
                <a:gd name="T71" fmla="*/ 8 h 78"/>
                <a:gd name="T72" fmla="*/ 44 w 83"/>
                <a:gd name="T73" fmla="*/ 10 h 78"/>
                <a:gd name="T74" fmla="*/ 41 w 83"/>
                <a:gd name="T75" fmla="*/ 7 h 78"/>
                <a:gd name="T76" fmla="*/ 33 w 83"/>
                <a:gd name="T77" fmla="*/ 7 h 78"/>
                <a:gd name="T78" fmla="*/ 30 w 83"/>
                <a:gd name="T79" fmla="*/ 7 h 78"/>
                <a:gd name="T80" fmla="*/ 30 w 83"/>
                <a:gd name="T81" fmla="*/ 11 h 78"/>
                <a:gd name="T82" fmla="*/ 19 w 83"/>
                <a:gd name="T83" fmla="*/ 10 h 78"/>
                <a:gd name="T84" fmla="*/ 17 w 83"/>
                <a:gd name="T85" fmla="*/ 16 h 78"/>
                <a:gd name="T86" fmla="*/ 10 w 83"/>
                <a:gd name="T87" fmla="*/ 24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" h="78">
                  <a:moveTo>
                    <a:pt x="0" y="34"/>
                  </a:moveTo>
                  <a:lnTo>
                    <a:pt x="2" y="35"/>
                  </a:lnTo>
                  <a:lnTo>
                    <a:pt x="0" y="35"/>
                  </a:lnTo>
                  <a:lnTo>
                    <a:pt x="2" y="40"/>
                  </a:lnTo>
                  <a:lnTo>
                    <a:pt x="0" y="43"/>
                  </a:lnTo>
                  <a:lnTo>
                    <a:pt x="2" y="46"/>
                  </a:lnTo>
                  <a:lnTo>
                    <a:pt x="3" y="49"/>
                  </a:lnTo>
                  <a:lnTo>
                    <a:pt x="2" y="53"/>
                  </a:lnTo>
                  <a:lnTo>
                    <a:pt x="5" y="56"/>
                  </a:lnTo>
                  <a:lnTo>
                    <a:pt x="5" y="59"/>
                  </a:lnTo>
                  <a:lnTo>
                    <a:pt x="6" y="64"/>
                  </a:lnTo>
                  <a:lnTo>
                    <a:pt x="6" y="67"/>
                  </a:lnTo>
                  <a:lnTo>
                    <a:pt x="8" y="67"/>
                  </a:lnTo>
                  <a:lnTo>
                    <a:pt x="11" y="69"/>
                  </a:lnTo>
                  <a:lnTo>
                    <a:pt x="14" y="70"/>
                  </a:lnTo>
                  <a:lnTo>
                    <a:pt x="17" y="73"/>
                  </a:lnTo>
                  <a:lnTo>
                    <a:pt x="19" y="73"/>
                  </a:lnTo>
                  <a:lnTo>
                    <a:pt x="24" y="73"/>
                  </a:lnTo>
                  <a:lnTo>
                    <a:pt x="27" y="75"/>
                  </a:lnTo>
                  <a:lnTo>
                    <a:pt x="37" y="76"/>
                  </a:lnTo>
                  <a:lnTo>
                    <a:pt x="44" y="78"/>
                  </a:lnTo>
                  <a:lnTo>
                    <a:pt x="44" y="75"/>
                  </a:lnTo>
                  <a:lnTo>
                    <a:pt x="46" y="72"/>
                  </a:lnTo>
                  <a:lnTo>
                    <a:pt x="46" y="72"/>
                  </a:lnTo>
                  <a:lnTo>
                    <a:pt x="49" y="70"/>
                  </a:lnTo>
                  <a:lnTo>
                    <a:pt x="54" y="70"/>
                  </a:lnTo>
                  <a:lnTo>
                    <a:pt x="54" y="72"/>
                  </a:lnTo>
                  <a:lnTo>
                    <a:pt x="54" y="73"/>
                  </a:lnTo>
                  <a:lnTo>
                    <a:pt x="56" y="72"/>
                  </a:lnTo>
                  <a:lnTo>
                    <a:pt x="57" y="67"/>
                  </a:lnTo>
                  <a:lnTo>
                    <a:pt x="59" y="64"/>
                  </a:lnTo>
                  <a:lnTo>
                    <a:pt x="62" y="61"/>
                  </a:lnTo>
                  <a:lnTo>
                    <a:pt x="67" y="59"/>
                  </a:lnTo>
                  <a:lnTo>
                    <a:pt x="68" y="56"/>
                  </a:lnTo>
                  <a:lnTo>
                    <a:pt x="68" y="51"/>
                  </a:lnTo>
                  <a:lnTo>
                    <a:pt x="68" y="48"/>
                  </a:lnTo>
                  <a:lnTo>
                    <a:pt x="70" y="45"/>
                  </a:lnTo>
                  <a:lnTo>
                    <a:pt x="70" y="42"/>
                  </a:lnTo>
                  <a:lnTo>
                    <a:pt x="68" y="40"/>
                  </a:lnTo>
                  <a:lnTo>
                    <a:pt x="71" y="37"/>
                  </a:lnTo>
                  <a:lnTo>
                    <a:pt x="71" y="34"/>
                  </a:lnTo>
                  <a:lnTo>
                    <a:pt x="71" y="30"/>
                  </a:lnTo>
                  <a:lnTo>
                    <a:pt x="76" y="27"/>
                  </a:lnTo>
                  <a:lnTo>
                    <a:pt x="76" y="21"/>
                  </a:lnTo>
                  <a:lnTo>
                    <a:pt x="79" y="23"/>
                  </a:lnTo>
                  <a:lnTo>
                    <a:pt x="83" y="19"/>
                  </a:lnTo>
                  <a:lnTo>
                    <a:pt x="81" y="16"/>
                  </a:lnTo>
                  <a:lnTo>
                    <a:pt x="79" y="13"/>
                  </a:lnTo>
                  <a:lnTo>
                    <a:pt x="79" y="10"/>
                  </a:lnTo>
                  <a:lnTo>
                    <a:pt x="76" y="7"/>
                  </a:lnTo>
                  <a:lnTo>
                    <a:pt x="73" y="7"/>
                  </a:lnTo>
                  <a:lnTo>
                    <a:pt x="71" y="5"/>
                  </a:lnTo>
                  <a:lnTo>
                    <a:pt x="68" y="0"/>
                  </a:lnTo>
                  <a:lnTo>
                    <a:pt x="63" y="2"/>
                  </a:lnTo>
                  <a:lnTo>
                    <a:pt x="63" y="5"/>
                  </a:lnTo>
                  <a:lnTo>
                    <a:pt x="65" y="7"/>
                  </a:lnTo>
                  <a:lnTo>
                    <a:pt x="67" y="8"/>
                  </a:lnTo>
                  <a:lnTo>
                    <a:pt x="63" y="7"/>
                  </a:lnTo>
                  <a:lnTo>
                    <a:pt x="60" y="5"/>
                  </a:lnTo>
                  <a:lnTo>
                    <a:pt x="57" y="7"/>
                  </a:lnTo>
                  <a:lnTo>
                    <a:pt x="59" y="7"/>
                  </a:lnTo>
                  <a:lnTo>
                    <a:pt x="59" y="10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5"/>
                  </a:lnTo>
                  <a:lnTo>
                    <a:pt x="54" y="5"/>
                  </a:lnTo>
                  <a:lnTo>
                    <a:pt x="52" y="3"/>
                  </a:lnTo>
                  <a:lnTo>
                    <a:pt x="48" y="7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48" y="7"/>
                  </a:lnTo>
                  <a:lnTo>
                    <a:pt x="44" y="8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1" y="7"/>
                  </a:lnTo>
                  <a:lnTo>
                    <a:pt x="38" y="7"/>
                  </a:lnTo>
                  <a:lnTo>
                    <a:pt x="33" y="7"/>
                  </a:lnTo>
                  <a:lnTo>
                    <a:pt x="32" y="7"/>
                  </a:lnTo>
                  <a:lnTo>
                    <a:pt x="30" y="7"/>
                  </a:lnTo>
                  <a:lnTo>
                    <a:pt x="27" y="8"/>
                  </a:lnTo>
                  <a:lnTo>
                    <a:pt x="30" y="11"/>
                  </a:lnTo>
                  <a:lnTo>
                    <a:pt x="25" y="13"/>
                  </a:lnTo>
                  <a:lnTo>
                    <a:pt x="19" y="10"/>
                  </a:lnTo>
                  <a:lnTo>
                    <a:pt x="16" y="13"/>
                  </a:lnTo>
                  <a:lnTo>
                    <a:pt x="17" y="16"/>
                  </a:lnTo>
                  <a:lnTo>
                    <a:pt x="21" y="18"/>
                  </a:lnTo>
                  <a:lnTo>
                    <a:pt x="10" y="24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7" name="Freeform 19"/>
            <p:cNvSpPr>
              <a:spLocks/>
            </p:cNvSpPr>
            <p:nvPr/>
          </p:nvSpPr>
          <p:spPr bwMode="auto">
            <a:xfrm>
              <a:off x="7438188" y="3036651"/>
              <a:ext cx="785173" cy="355409"/>
            </a:xfrm>
            <a:custGeom>
              <a:avLst/>
              <a:gdLst>
                <a:gd name="T0" fmla="*/ 27 w 1067"/>
                <a:gd name="T1" fmla="*/ 106 h 422"/>
                <a:gd name="T2" fmla="*/ 46 w 1067"/>
                <a:gd name="T3" fmla="*/ 92 h 422"/>
                <a:gd name="T4" fmla="*/ 73 w 1067"/>
                <a:gd name="T5" fmla="*/ 72 h 422"/>
                <a:gd name="T6" fmla="*/ 105 w 1067"/>
                <a:gd name="T7" fmla="*/ 57 h 422"/>
                <a:gd name="T8" fmla="*/ 135 w 1067"/>
                <a:gd name="T9" fmla="*/ 57 h 422"/>
                <a:gd name="T10" fmla="*/ 181 w 1067"/>
                <a:gd name="T11" fmla="*/ 67 h 422"/>
                <a:gd name="T12" fmla="*/ 211 w 1067"/>
                <a:gd name="T13" fmla="*/ 83 h 422"/>
                <a:gd name="T14" fmla="*/ 246 w 1067"/>
                <a:gd name="T15" fmla="*/ 84 h 422"/>
                <a:gd name="T16" fmla="*/ 289 w 1067"/>
                <a:gd name="T17" fmla="*/ 94 h 422"/>
                <a:gd name="T18" fmla="*/ 298 w 1067"/>
                <a:gd name="T19" fmla="*/ 62 h 422"/>
                <a:gd name="T20" fmla="*/ 278 w 1067"/>
                <a:gd name="T21" fmla="*/ 29 h 422"/>
                <a:gd name="T22" fmla="*/ 290 w 1067"/>
                <a:gd name="T23" fmla="*/ 0 h 422"/>
                <a:gd name="T24" fmla="*/ 332 w 1067"/>
                <a:gd name="T25" fmla="*/ 16 h 422"/>
                <a:gd name="T26" fmla="*/ 379 w 1067"/>
                <a:gd name="T27" fmla="*/ 26 h 422"/>
                <a:gd name="T28" fmla="*/ 414 w 1067"/>
                <a:gd name="T29" fmla="*/ 41 h 422"/>
                <a:gd name="T30" fmla="*/ 449 w 1067"/>
                <a:gd name="T31" fmla="*/ 70 h 422"/>
                <a:gd name="T32" fmla="*/ 490 w 1067"/>
                <a:gd name="T33" fmla="*/ 78 h 422"/>
                <a:gd name="T34" fmla="*/ 527 w 1067"/>
                <a:gd name="T35" fmla="*/ 65 h 422"/>
                <a:gd name="T36" fmla="*/ 563 w 1067"/>
                <a:gd name="T37" fmla="*/ 70 h 422"/>
                <a:gd name="T38" fmla="*/ 615 w 1067"/>
                <a:gd name="T39" fmla="*/ 86 h 422"/>
                <a:gd name="T40" fmla="*/ 649 w 1067"/>
                <a:gd name="T41" fmla="*/ 110 h 422"/>
                <a:gd name="T42" fmla="*/ 687 w 1067"/>
                <a:gd name="T43" fmla="*/ 114 h 422"/>
                <a:gd name="T44" fmla="*/ 727 w 1067"/>
                <a:gd name="T45" fmla="*/ 118 h 422"/>
                <a:gd name="T46" fmla="*/ 769 w 1067"/>
                <a:gd name="T47" fmla="*/ 102 h 422"/>
                <a:gd name="T48" fmla="*/ 795 w 1067"/>
                <a:gd name="T49" fmla="*/ 83 h 422"/>
                <a:gd name="T50" fmla="*/ 850 w 1067"/>
                <a:gd name="T51" fmla="*/ 87 h 422"/>
                <a:gd name="T52" fmla="*/ 895 w 1067"/>
                <a:gd name="T53" fmla="*/ 92 h 422"/>
                <a:gd name="T54" fmla="*/ 903 w 1067"/>
                <a:gd name="T55" fmla="*/ 154 h 422"/>
                <a:gd name="T56" fmla="*/ 926 w 1067"/>
                <a:gd name="T57" fmla="*/ 168 h 422"/>
                <a:gd name="T58" fmla="*/ 966 w 1067"/>
                <a:gd name="T59" fmla="*/ 173 h 422"/>
                <a:gd name="T60" fmla="*/ 1014 w 1067"/>
                <a:gd name="T61" fmla="*/ 175 h 422"/>
                <a:gd name="T62" fmla="*/ 1048 w 1067"/>
                <a:gd name="T63" fmla="*/ 195 h 422"/>
                <a:gd name="T64" fmla="*/ 1053 w 1067"/>
                <a:gd name="T65" fmla="*/ 217 h 422"/>
                <a:gd name="T66" fmla="*/ 1006 w 1067"/>
                <a:gd name="T67" fmla="*/ 219 h 422"/>
                <a:gd name="T68" fmla="*/ 976 w 1067"/>
                <a:gd name="T69" fmla="*/ 229 h 422"/>
                <a:gd name="T70" fmla="*/ 960 w 1067"/>
                <a:gd name="T71" fmla="*/ 260 h 422"/>
                <a:gd name="T72" fmla="*/ 920 w 1067"/>
                <a:gd name="T73" fmla="*/ 279 h 422"/>
                <a:gd name="T74" fmla="*/ 861 w 1067"/>
                <a:gd name="T75" fmla="*/ 281 h 422"/>
                <a:gd name="T76" fmla="*/ 844 w 1067"/>
                <a:gd name="T77" fmla="*/ 311 h 422"/>
                <a:gd name="T78" fmla="*/ 871 w 1067"/>
                <a:gd name="T79" fmla="*/ 338 h 422"/>
                <a:gd name="T80" fmla="*/ 844 w 1067"/>
                <a:gd name="T81" fmla="*/ 363 h 422"/>
                <a:gd name="T82" fmla="*/ 814 w 1067"/>
                <a:gd name="T83" fmla="*/ 387 h 422"/>
                <a:gd name="T84" fmla="*/ 774 w 1067"/>
                <a:gd name="T85" fmla="*/ 386 h 422"/>
                <a:gd name="T86" fmla="*/ 687 w 1067"/>
                <a:gd name="T87" fmla="*/ 416 h 422"/>
                <a:gd name="T88" fmla="*/ 633 w 1067"/>
                <a:gd name="T89" fmla="*/ 412 h 422"/>
                <a:gd name="T90" fmla="*/ 566 w 1067"/>
                <a:gd name="T91" fmla="*/ 390 h 422"/>
                <a:gd name="T92" fmla="*/ 500 w 1067"/>
                <a:gd name="T93" fmla="*/ 376 h 422"/>
                <a:gd name="T94" fmla="*/ 378 w 1067"/>
                <a:gd name="T95" fmla="*/ 371 h 422"/>
                <a:gd name="T96" fmla="*/ 336 w 1067"/>
                <a:gd name="T97" fmla="*/ 328 h 422"/>
                <a:gd name="T98" fmla="*/ 286 w 1067"/>
                <a:gd name="T99" fmla="*/ 303 h 422"/>
                <a:gd name="T100" fmla="*/ 235 w 1067"/>
                <a:gd name="T101" fmla="*/ 282 h 422"/>
                <a:gd name="T102" fmla="*/ 179 w 1067"/>
                <a:gd name="T103" fmla="*/ 278 h 422"/>
                <a:gd name="T104" fmla="*/ 148 w 1067"/>
                <a:gd name="T105" fmla="*/ 255 h 422"/>
                <a:gd name="T106" fmla="*/ 144 w 1067"/>
                <a:gd name="T107" fmla="*/ 221 h 422"/>
                <a:gd name="T108" fmla="*/ 111 w 1067"/>
                <a:gd name="T109" fmla="*/ 184 h 422"/>
                <a:gd name="T110" fmla="*/ 78 w 1067"/>
                <a:gd name="T111" fmla="*/ 167 h 422"/>
                <a:gd name="T112" fmla="*/ 40 w 1067"/>
                <a:gd name="T113" fmla="*/ 156 h 422"/>
                <a:gd name="T114" fmla="*/ 8 w 1067"/>
                <a:gd name="T115" fmla="*/ 133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67" h="422">
                  <a:moveTo>
                    <a:pt x="0" y="118"/>
                  </a:moveTo>
                  <a:lnTo>
                    <a:pt x="3" y="116"/>
                  </a:lnTo>
                  <a:lnTo>
                    <a:pt x="6" y="114"/>
                  </a:lnTo>
                  <a:lnTo>
                    <a:pt x="6" y="111"/>
                  </a:lnTo>
                  <a:lnTo>
                    <a:pt x="6" y="106"/>
                  </a:lnTo>
                  <a:lnTo>
                    <a:pt x="10" y="105"/>
                  </a:lnTo>
                  <a:lnTo>
                    <a:pt x="13" y="105"/>
                  </a:lnTo>
                  <a:lnTo>
                    <a:pt x="16" y="105"/>
                  </a:lnTo>
                  <a:lnTo>
                    <a:pt x="19" y="103"/>
                  </a:lnTo>
                  <a:lnTo>
                    <a:pt x="24" y="106"/>
                  </a:lnTo>
                  <a:lnTo>
                    <a:pt x="27" y="106"/>
                  </a:lnTo>
                  <a:lnTo>
                    <a:pt x="27" y="103"/>
                  </a:lnTo>
                  <a:lnTo>
                    <a:pt x="30" y="105"/>
                  </a:lnTo>
                  <a:lnTo>
                    <a:pt x="33" y="105"/>
                  </a:lnTo>
                  <a:lnTo>
                    <a:pt x="37" y="103"/>
                  </a:lnTo>
                  <a:lnTo>
                    <a:pt x="35" y="100"/>
                  </a:lnTo>
                  <a:lnTo>
                    <a:pt x="38" y="100"/>
                  </a:lnTo>
                  <a:lnTo>
                    <a:pt x="43" y="100"/>
                  </a:lnTo>
                  <a:lnTo>
                    <a:pt x="43" y="98"/>
                  </a:lnTo>
                  <a:lnTo>
                    <a:pt x="46" y="97"/>
                  </a:lnTo>
                  <a:lnTo>
                    <a:pt x="49" y="95"/>
                  </a:lnTo>
                  <a:lnTo>
                    <a:pt x="46" y="92"/>
                  </a:lnTo>
                  <a:lnTo>
                    <a:pt x="45" y="89"/>
                  </a:lnTo>
                  <a:lnTo>
                    <a:pt x="45" y="87"/>
                  </a:lnTo>
                  <a:lnTo>
                    <a:pt x="48" y="86"/>
                  </a:lnTo>
                  <a:lnTo>
                    <a:pt x="51" y="86"/>
                  </a:lnTo>
                  <a:lnTo>
                    <a:pt x="54" y="86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4" y="81"/>
                  </a:lnTo>
                  <a:lnTo>
                    <a:pt x="62" y="78"/>
                  </a:lnTo>
                  <a:lnTo>
                    <a:pt x="71" y="76"/>
                  </a:lnTo>
                  <a:lnTo>
                    <a:pt x="73" y="72"/>
                  </a:lnTo>
                  <a:lnTo>
                    <a:pt x="76" y="70"/>
                  </a:lnTo>
                  <a:lnTo>
                    <a:pt x="79" y="67"/>
                  </a:lnTo>
                  <a:lnTo>
                    <a:pt x="83" y="67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2" y="62"/>
                  </a:lnTo>
                  <a:lnTo>
                    <a:pt x="94" y="59"/>
                  </a:lnTo>
                  <a:lnTo>
                    <a:pt x="98" y="56"/>
                  </a:lnTo>
                  <a:lnTo>
                    <a:pt x="102" y="56"/>
                  </a:lnTo>
                  <a:lnTo>
                    <a:pt x="105" y="56"/>
                  </a:lnTo>
                  <a:lnTo>
                    <a:pt x="105" y="57"/>
                  </a:lnTo>
                  <a:lnTo>
                    <a:pt x="110" y="57"/>
                  </a:lnTo>
                  <a:lnTo>
                    <a:pt x="111" y="54"/>
                  </a:lnTo>
                  <a:lnTo>
                    <a:pt x="111" y="51"/>
                  </a:lnTo>
                  <a:lnTo>
                    <a:pt x="114" y="51"/>
                  </a:lnTo>
                  <a:lnTo>
                    <a:pt x="117" y="52"/>
                  </a:lnTo>
                  <a:lnTo>
                    <a:pt x="121" y="54"/>
                  </a:lnTo>
                  <a:lnTo>
                    <a:pt x="124" y="57"/>
                  </a:lnTo>
                  <a:lnTo>
                    <a:pt x="127" y="56"/>
                  </a:lnTo>
                  <a:lnTo>
                    <a:pt x="130" y="52"/>
                  </a:lnTo>
                  <a:lnTo>
                    <a:pt x="133" y="56"/>
                  </a:lnTo>
                  <a:lnTo>
                    <a:pt x="135" y="57"/>
                  </a:lnTo>
                  <a:lnTo>
                    <a:pt x="137" y="59"/>
                  </a:lnTo>
                  <a:lnTo>
                    <a:pt x="140" y="60"/>
                  </a:lnTo>
                  <a:lnTo>
                    <a:pt x="143" y="60"/>
                  </a:lnTo>
                  <a:lnTo>
                    <a:pt x="148" y="60"/>
                  </a:lnTo>
                  <a:lnTo>
                    <a:pt x="151" y="59"/>
                  </a:lnTo>
                  <a:lnTo>
                    <a:pt x="154" y="60"/>
                  </a:lnTo>
                  <a:lnTo>
                    <a:pt x="165" y="60"/>
                  </a:lnTo>
                  <a:lnTo>
                    <a:pt x="173" y="60"/>
                  </a:lnTo>
                  <a:lnTo>
                    <a:pt x="176" y="62"/>
                  </a:lnTo>
                  <a:lnTo>
                    <a:pt x="179" y="64"/>
                  </a:lnTo>
                  <a:lnTo>
                    <a:pt x="181" y="67"/>
                  </a:lnTo>
                  <a:lnTo>
                    <a:pt x="184" y="70"/>
                  </a:lnTo>
                  <a:lnTo>
                    <a:pt x="186" y="75"/>
                  </a:lnTo>
                  <a:lnTo>
                    <a:pt x="189" y="76"/>
                  </a:lnTo>
                  <a:lnTo>
                    <a:pt x="194" y="78"/>
                  </a:lnTo>
                  <a:lnTo>
                    <a:pt x="197" y="81"/>
                  </a:lnTo>
                  <a:lnTo>
                    <a:pt x="200" y="83"/>
                  </a:lnTo>
                  <a:lnTo>
                    <a:pt x="203" y="81"/>
                  </a:lnTo>
                  <a:lnTo>
                    <a:pt x="206" y="83"/>
                  </a:lnTo>
                  <a:lnTo>
                    <a:pt x="209" y="83"/>
                  </a:lnTo>
                  <a:lnTo>
                    <a:pt x="209" y="83"/>
                  </a:lnTo>
                  <a:lnTo>
                    <a:pt x="211" y="83"/>
                  </a:lnTo>
                  <a:lnTo>
                    <a:pt x="211" y="84"/>
                  </a:lnTo>
                  <a:lnTo>
                    <a:pt x="216" y="86"/>
                  </a:lnTo>
                  <a:lnTo>
                    <a:pt x="222" y="86"/>
                  </a:lnTo>
                  <a:lnTo>
                    <a:pt x="229" y="89"/>
                  </a:lnTo>
                  <a:lnTo>
                    <a:pt x="232" y="86"/>
                  </a:lnTo>
                  <a:lnTo>
                    <a:pt x="235" y="84"/>
                  </a:lnTo>
                  <a:lnTo>
                    <a:pt x="238" y="84"/>
                  </a:lnTo>
                  <a:lnTo>
                    <a:pt x="240" y="84"/>
                  </a:lnTo>
                  <a:lnTo>
                    <a:pt x="243" y="86"/>
                  </a:lnTo>
                  <a:lnTo>
                    <a:pt x="244" y="84"/>
                  </a:lnTo>
                  <a:lnTo>
                    <a:pt x="246" y="84"/>
                  </a:lnTo>
                  <a:lnTo>
                    <a:pt x="249" y="86"/>
                  </a:lnTo>
                  <a:lnTo>
                    <a:pt x="252" y="86"/>
                  </a:lnTo>
                  <a:lnTo>
                    <a:pt x="255" y="89"/>
                  </a:lnTo>
                  <a:lnTo>
                    <a:pt x="260" y="87"/>
                  </a:lnTo>
                  <a:lnTo>
                    <a:pt x="263" y="89"/>
                  </a:lnTo>
                  <a:lnTo>
                    <a:pt x="268" y="87"/>
                  </a:lnTo>
                  <a:lnTo>
                    <a:pt x="273" y="87"/>
                  </a:lnTo>
                  <a:lnTo>
                    <a:pt x="278" y="91"/>
                  </a:lnTo>
                  <a:lnTo>
                    <a:pt x="281" y="92"/>
                  </a:lnTo>
                  <a:lnTo>
                    <a:pt x="286" y="94"/>
                  </a:lnTo>
                  <a:lnTo>
                    <a:pt x="289" y="94"/>
                  </a:lnTo>
                  <a:lnTo>
                    <a:pt x="294" y="92"/>
                  </a:lnTo>
                  <a:lnTo>
                    <a:pt x="297" y="86"/>
                  </a:lnTo>
                  <a:lnTo>
                    <a:pt x="301" y="87"/>
                  </a:lnTo>
                  <a:lnTo>
                    <a:pt x="306" y="83"/>
                  </a:lnTo>
                  <a:lnTo>
                    <a:pt x="308" y="79"/>
                  </a:lnTo>
                  <a:lnTo>
                    <a:pt x="308" y="76"/>
                  </a:lnTo>
                  <a:lnTo>
                    <a:pt x="308" y="70"/>
                  </a:lnTo>
                  <a:lnTo>
                    <a:pt x="306" y="67"/>
                  </a:lnTo>
                  <a:lnTo>
                    <a:pt x="306" y="65"/>
                  </a:lnTo>
                  <a:lnTo>
                    <a:pt x="301" y="62"/>
                  </a:lnTo>
                  <a:lnTo>
                    <a:pt x="298" y="62"/>
                  </a:lnTo>
                  <a:lnTo>
                    <a:pt x="295" y="60"/>
                  </a:lnTo>
                  <a:lnTo>
                    <a:pt x="292" y="56"/>
                  </a:lnTo>
                  <a:lnTo>
                    <a:pt x="289" y="54"/>
                  </a:lnTo>
                  <a:lnTo>
                    <a:pt x="287" y="49"/>
                  </a:lnTo>
                  <a:lnTo>
                    <a:pt x="284" y="48"/>
                  </a:lnTo>
                  <a:lnTo>
                    <a:pt x="281" y="46"/>
                  </a:lnTo>
                  <a:lnTo>
                    <a:pt x="279" y="43"/>
                  </a:lnTo>
                  <a:lnTo>
                    <a:pt x="279" y="38"/>
                  </a:lnTo>
                  <a:lnTo>
                    <a:pt x="279" y="35"/>
                  </a:lnTo>
                  <a:lnTo>
                    <a:pt x="276" y="32"/>
                  </a:lnTo>
                  <a:lnTo>
                    <a:pt x="278" y="29"/>
                  </a:lnTo>
                  <a:lnTo>
                    <a:pt x="278" y="27"/>
                  </a:lnTo>
                  <a:lnTo>
                    <a:pt x="281" y="26"/>
                  </a:lnTo>
                  <a:lnTo>
                    <a:pt x="282" y="27"/>
                  </a:lnTo>
                  <a:lnTo>
                    <a:pt x="281" y="22"/>
                  </a:lnTo>
                  <a:lnTo>
                    <a:pt x="281" y="19"/>
                  </a:lnTo>
                  <a:lnTo>
                    <a:pt x="281" y="16"/>
                  </a:lnTo>
                  <a:lnTo>
                    <a:pt x="287" y="14"/>
                  </a:lnTo>
                  <a:lnTo>
                    <a:pt x="290" y="11"/>
                  </a:lnTo>
                  <a:lnTo>
                    <a:pt x="290" y="7"/>
                  </a:lnTo>
                  <a:lnTo>
                    <a:pt x="290" y="0"/>
                  </a:lnTo>
                  <a:lnTo>
                    <a:pt x="290" y="0"/>
                  </a:lnTo>
                  <a:lnTo>
                    <a:pt x="295" y="3"/>
                  </a:lnTo>
                  <a:lnTo>
                    <a:pt x="301" y="5"/>
                  </a:lnTo>
                  <a:lnTo>
                    <a:pt x="305" y="7"/>
                  </a:lnTo>
                  <a:lnTo>
                    <a:pt x="308" y="8"/>
                  </a:lnTo>
                  <a:lnTo>
                    <a:pt x="311" y="8"/>
                  </a:lnTo>
                  <a:lnTo>
                    <a:pt x="316" y="10"/>
                  </a:lnTo>
                  <a:lnTo>
                    <a:pt x="319" y="10"/>
                  </a:lnTo>
                  <a:lnTo>
                    <a:pt x="322" y="11"/>
                  </a:lnTo>
                  <a:lnTo>
                    <a:pt x="325" y="13"/>
                  </a:lnTo>
                  <a:lnTo>
                    <a:pt x="330" y="14"/>
                  </a:lnTo>
                  <a:lnTo>
                    <a:pt x="332" y="16"/>
                  </a:lnTo>
                  <a:lnTo>
                    <a:pt x="335" y="16"/>
                  </a:lnTo>
                  <a:lnTo>
                    <a:pt x="340" y="16"/>
                  </a:lnTo>
                  <a:lnTo>
                    <a:pt x="346" y="16"/>
                  </a:lnTo>
                  <a:lnTo>
                    <a:pt x="351" y="16"/>
                  </a:lnTo>
                  <a:lnTo>
                    <a:pt x="354" y="18"/>
                  </a:lnTo>
                  <a:lnTo>
                    <a:pt x="360" y="19"/>
                  </a:lnTo>
                  <a:lnTo>
                    <a:pt x="365" y="21"/>
                  </a:lnTo>
                  <a:lnTo>
                    <a:pt x="368" y="22"/>
                  </a:lnTo>
                  <a:lnTo>
                    <a:pt x="371" y="24"/>
                  </a:lnTo>
                  <a:lnTo>
                    <a:pt x="374" y="24"/>
                  </a:lnTo>
                  <a:lnTo>
                    <a:pt x="379" y="26"/>
                  </a:lnTo>
                  <a:lnTo>
                    <a:pt x="382" y="27"/>
                  </a:lnTo>
                  <a:lnTo>
                    <a:pt x="386" y="26"/>
                  </a:lnTo>
                  <a:lnTo>
                    <a:pt x="389" y="27"/>
                  </a:lnTo>
                  <a:lnTo>
                    <a:pt x="392" y="27"/>
                  </a:lnTo>
                  <a:lnTo>
                    <a:pt x="397" y="29"/>
                  </a:lnTo>
                  <a:lnTo>
                    <a:pt x="400" y="29"/>
                  </a:lnTo>
                  <a:lnTo>
                    <a:pt x="403" y="29"/>
                  </a:lnTo>
                  <a:lnTo>
                    <a:pt x="406" y="30"/>
                  </a:lnTo>
                  <a:lnTo>
                    <a:pt x="409" y="35"/>
                  </a:lnTo>
                  <a:lnTo>
                    <a:pt x="411" y="38"/>
                  </a:lnTo>
                  <a:lnTo>
                    <a:pt x="414" y="41"/>
                  </a:lnTo>
                  <a:lnTo>
                    <a:pt x="417" y="45"/>
                  </a:lnTo>
                  <a:lnTo>
                    <a:pt x="419" y="48"/>
                  </a:lnTo>
                  <a:lnTo>
                    <a:pt x="420" y="51"/>
                  </a:lnTo>
                  <a:lnTo>
                    <a:pt x="424" y="54"/>
                  </a:lnTo>
                  <a:lnTo>
                    <a:pt x="427" y="57"/>
                  </a:lnTo>
                  <a:lnTo>
                    <a:pt x="428" y="60"/>
                  </a:lnTo>
                  <a:lnTo>
                    <a:pt x="432" y="62"/>
                  </a:lnTo>
                  <a:lnTo>
                    <a:pt x="435" y="64"/>
                  </a:lnTo>
                  <a:lnTo>
                    <a:pt x="441" y="68"/>
                  </a:lnTo>
                  <a:lnTo>
                    <a:pt x="446" y="68"/>
                  </a:lnTo>
                  <a:lnTo>
                    <a:pt x="449" y="70"/>
                  </a:lnTo>
                  <a:lnTo>
                    <a:pt x="452" y="72"/>
                  </a:lnTo>
                  <a:lnTo>
                    <a:pt x="455" y="72"/>
                  </a:lnTo>
                  <a:lnTo>
                    <a:pt x="460" y="72"/>
                  </a:lnTo>
                  <a:lnTo>
                    <a:pt x="463" y="73"/>
                  </a:lnTo>
                  <a:lnTo>
                    <a:pt x="466" y="76"/>
                  </a:lnTo>
                  <a:lnTo>
                    <a:pt x="470" y="76"/>
                  </a:lnTo>
                  <a:lnTo>
                    <a:pt x="473" y="76"/>
                  </a:lnTo>
                  <a:lnTo>
                    <a:pt x="478" y="78"/>
                  </a:lnTo>
                  <a:lnTo>
                    <a:pt x="481" y="78"/>
                  </a:lnTo>
                  <a:lnTo>
                    <a:pt x="484" y="76"/>
                  </a:lnTo>
                  <a:lnTo>
                    <a:pt x="490" y="78"/>
                  </a:lnTo>
                  <a:lnTo>
                    <a:pt x="495" y="78"/>
                  </a:lnTo>
                  <a:lnTo>
                    <a:pt x="497" y="75"/>
                  </a:lnTo>
                  <a:lnTo>
                    <a:pt x="501" y="72"/>
                  </a:lnTo>
                  <a:lnTo>
                    <a:pt x="504" y="72"/>
                  </a:lnTo>
                  <a:lnTo>
                    <a:pt x="509" y="70"/>
                  </a:lnTo>
                  <a:lnTo>
                    <a:pt x="512" y="68"/>
                  </a:lnTo>
                  <a:lnTo>
                    <a:pt x="516" y="68"/>
                  </a:lnTo>
                  <a:lnTo>
                    <a:pt x="517" y="68"/>
                  </a:lnTo>
                  <a:lnTo>
                    <a:pt x="523" y="67"/>
                  </a:lnTo>
                  <a:lnTo>
                    <a:pt x="525" y="65"/>
                  </a:lnTo>
                  <a:lnTo>
                    <a:pt x="527" y="65"/>
                  </a:lnTo>
                  <a:lnTo>
                    <a:pt x="535" y="67"/>
                  </a:lnTo>
                  <a:lnTo>
                    <a:pt x="539" y="67"/>
                  </a:lnTo>
                  <a:lnTo>
                    <a:pt x="546" y="68"/>
                  </a:lnTo>
                  <a:lnTo>
                    <a:pt x="549" y="68"/>
                  </a:lnTo>
                  <a:lnTo>
                    <a:pt x="549" y="70"/>
                  </a:lnTo>
                  <a:lnTo>
                    <a:pt x="550" y="70"/>
                  </a:lnTo>
                  <a:lnTo>
                    <a:pt x="552" y="70"/>
                  </a:lnTo>
                  <a:lnTo>
                    <a:pt x="555" y="72"/>
                  </a:lnTo>
                  <a:lnTo>
                    <a:pt x="558" y="72"/>
                  </a:lnTo>
                  <a:lnTo>
                    <a:pt x="563" y="70"/>
                  </a:lnTo>
                  <a:lnTo>
                    <a:pt x="563" y="70"/>
                  </a:lnTo>
                  <a:lnTo>
                    <a:pt x="565" y="70"/>
                  </a:lnTo>
                  <a:lnTo>
                    <a:pt x="573" y="72"/>
                  </a:lnTo>
                  <a:lnTo>
                    <a:pt x="579" y="75"/>
                  </a:lnTo>
                  <a:lnTo>
                    <a:pt x="585" y="78"/>
                  </a:lnTo>
                  <a:lnTo>
                    <a:pt x="592" y="83"/>
                  </a:lnTo>
                  <a:lnTo>
                    <a:pt x="595" y="84"/>
                  </a:lnTo>
                  <a:lnTo>
                    <a:pt x="598" y="84"/>
                  </a:lnTo>
                  <a:lnTo>
                    <a:pt x="600" y="86"/>
                  </a:lnTo>
                  <a:lnTo>
                    <a:pt x="611" y="86"/>
                  </a:lnTo>
                  <a:lnTo>
                    <a:pt x="614" y="86"/>
                  </a:lnTo>
                  <a:lnTo>
                    <a:pt x="615" y="86"/>
                  </a:lnTo>
                  <a:lnTo>
                    <a:pt x="619" y="86"/>
                  </a:lnTo>
                  <a:lnTo>
                    <a:pt x="619" y="87"/>
                  </a:lnTo>
                  <a:lnTo>
                    <a:pt x="620" y="91"/>
                  </a:lnTo>
                  <a:lnTo>
                    <a:pt x="623" y="94"/>
                  </a:lnTo>
                  <a:lnTo>
                    <a:pt x="623" y="97"/>
                  </a:lnTo>
                  <a:lnTo>
                    <a:pt x="631" y="102"/>
                  </a:lnTo>
                  <a:lnTo>
                    <a:pt x="635" y="102"/>
                  </a:lnTo>
                  <a:lnTo>
                    <a:pt x="638" y="105"/>
                  </a:lnTo>
                  <a:lnTo>
                    <a:pt x="641" y="106"/>
                  </a:lnTo>
                  <a:lnTo>
                    <a:pt x="646" y="108"/>
                  </a:lnTo>
                  <a:lnTo>
                    <a:pt x="649" y="110"/>
                  </a:lnTo>
                  <a:lnTo>
                    <a:pt x="652" y="111"/>
                  </a:lnTo>
                  <a:lnTo>
                    <a:pt x="655" y="110"/>
                  </a:lnTo>
                  <a:lnTo>
                    <a:pt x="660" y="110"/>
                  </a:lnTo>
                  <a:lnTo>
                    <a:pt x="663" y="110"/>
                  </a:lnTo>
                  <a:lnTo>
                    <a:pt x="666" y="111"/>
                  </a:lnTo>
                  <a:lnTo>
                    <a:pt x="669" y="110"/>
                  </a:lnTo>
                  <a:lnTo>
                    <a:pt x="673" y="110"/>
                  </a:lnTo>
                  <a:lnTo>
                    <a:pt x="677" y="111"/>
                  </a:lnTo>
                  <a:lnTo>
                    <a:pt x="681" y="113"/>
                  </a:lnTo>
                  <a:lnTo>
                    <a:pt x="684" y="114"/>
                  </a:lnTo>
                  <a:lnTo>
                    <a:pt x="687" y="114"/>
                  </a:lnTo>
                  <a:lnTo>
                    <a:pt x="692" y="114"/>
                  </a:lnTo>
                  <a:lnTo>
                    <a:pt x="695" y="116"/>
                  </a:lnTo>
                  <a:lnTo>
                    <a:pt x="698" y="116"/>
                  </a:lnTo>
                  <a:lnTo>
                    <a:pt x="701" y="116"/>
                  </a:lnTo>
                  <a:lnTo>
                    <a:pt x="706" y="118"/>
                  </a:lnTo>
                  <a:lnTo>
                    <a:pt x="709" y="114"/>
                  </a:lnTo>
                  <a:lnTo>
                    <a:pt x="712" y="116"/>
                  </a:lnTo>
                  <a:lnTo>
                    <a:pt x="715" y="116"/>
                  </a:lnTo>
                  <a:lnTo>
                    <a:pt x="720" y="118"/>
                  </a:lnTo>
                  <a:lnTo>
                    <a:pt x="723" y="118"/>
                  </a:lnTo>
                  <a:lnTo>
                    <a:pt x="727" y="118"/>
                  </a:lnTo>
                  <a:lnTo>
                    <a:pt x="730" y="114"/>
                  </a:lnTo>
                  <a:lnTo>
                    <a:pt x="738" y="110"/>
                  </a:lnTo>
                  <a:lnTo>
                    <a:pt x="741" y="110"/>
                  </a:lnTo>
                  <a:lnTo>
                    <a:pt x="744" y="110"/>
                  </a:lnTo>
                  <a:lnTo>
                    <a:pt x="747" y="108"/>
                  </a:lnTo>
                  <a:lnTo>
                    <a:pt x="752" y="108"/>
                  </a:lnTo>
                  <a:lnTo>
                    <a:pt x="755" y="108"/>
                  </a:lnTo>
                  <a:lnTo>
                    <a:pt x="758" y="106"/>
                  </a:lnTo>
                  <a:lnTo>
                    <a:pt x="761" y="106"/>
                  </a:lnTo>
                  <a:lnTo>
                    <a:pt x="765" y="105"/>
                  </a:lnTo>
                  <a:lnTo>
                    <a:pt x="769" y="102"/>
                  </a:lnTo>
                  <a:lnTo>
                    <a:pt x="773" y="103"/>
                  </a:lnTo>
                  <a:lnTo>
                    <a:pt x="773" y="103"/>
                  </a:lnTo>
                  <a:lnTo>
                    <a:pt x="776" y="103"/>
                  </a:lnTo>
                  <a:lnTo>
                    <a:pt x="779" y="103"/>
                  </a:lnTo>
                  <a:lnTo>
                    <a:pt x="782" y="102"/>
                  </a:lnTo>
                  <a:lnTo>
                    <a:pt x="785" y="97"/>
                  </a:lnTo>
                  <a:lnTo>
                    <a:pt x="785" y="94"/>
                  </a:lnTo>
                  <a:lnTo>
                    <a:pt x="787" y="91"/>
                  </a:lnTo>
                  <a:lnTo>
                    <a:pt x="790" y="87"/>
                  </a:lnTo>
                  <a:lnTo>
                    <a:pt x="792" y="84"/>
                  </a:lnTo>
                  <a:lnTo>
                    <a:pt x="795" y="83"/>
                  </a:lnTo>
                  <a:lnTo>
                    <a:pt x="799" y="81"/>
                  </a:lnTo>
                  <a:lnTo>
                    <a:pt x="803" y="78"/>
                  </a:lnTo>
                  <a:lnTo>
                    <a:pt x="806" y="75"/>
                  </a:lnTo>
                  <a:lnTo>
                    <a:pt x="809" y="73"/>
                  </a:lnTo>
                  <a:lnTo>
                    <a:pt x="812" y="73"/>
                  </a:lnTo>
                  <a:lnTo>
                    <a:pt x="817" y="75"/>
                  </a:lnTo>
                  <a:lnTo>
                    <a:pt x="820" y="73"/>
                  </a:lnTo>
                  <a:lnTo>
                    <a:pt x="830" y="76"/>
                  </a:lnTo>
                  <a:lnTo>
                    <a:pt x="836" y="79"/>
                  </a:lnTo>
                  <a:lnTo>
                    <a:pt x="842" y="83"/>
                  </a:lnTo>
                  <a:lnTo>
                    <a:pt x="850" y="87"/>
                  </a:lnTo>
                  <a:lnTo>
                    <a:pt x="855" y="87"/>
                  </a:lnTo>
                  <a:lnTo>
                    <a:pt x="858" y="87"/>
                  </a:lnTo>
                  <a:lnTo>
                    <a:pt x="861" y="89"/>
                  </a:lnTo>
                  <a:lnTo>
                    <a:pt x="863" y="89"/>
                  </a:lnTo>
                  <a:lnTo>
                    <a:pt x="871" y="84"/>
                  </a:lnTo>
                  <a:lnTo>
                    <a:pt x="871" y="84"/>
                  </a:lnTo>
                  <a:lnTo>
                    <a:pt x="874" y="83"/>
                  </a:lnTo>
                  <a:lnTo>
                    <a:pt x="880" y="84"/>
                  </a:lnTo>
                  <a:lnTo>
                    <a:pt x="887" y="86"/>
                  </a:lnTo>
                  <a:lnTo>
                    <a:pt x="893" y="89"/>
                  </a:lnTo>
                  <a:lnTo>
                    <a:pt x="895" y="92"/>
                  </a:lnTo>
                  <a:lnTo>
                    <a:pt x="896" y="106"/>
                  </a:lnTo>
                  <a:lnTo>
                    <a:pt x="896" y="121"/>
                  </a:lnTo>
                  <a:lnTo>
                    <a:pt x="896" y="125"/>
                  </a:lnTo>
                  <a:lnTo>
                    <a:pt x="896" y="129"/>
                  </a:lnTo>
                  <a:lnTo>
                    <a:pt x="898" y="133"/>
                  </a:lnTo>
                  <a:lnTo>
                    <a:pt x="898" y="137"/>
                  </a:lnTo>
                  <a:lnTo>
                    <a:pt x="896" y="140"/>
                  </a:lnTo>
                  <a:lnTo>
                    <a:pt x="896" y="143"/>
                  </a:lnTo>
                  <a:lnTo>
                    <a:pt x="899" y="146"/>
                  </a:lnTo>
                  <a:lnTo>
                    <a:pt x="901" y="149"/>
                  </a:lnTo>
                  <a:lnTo>
                    <a:pt x="903" y="154"/>
                  </a:lnTo>
                  <a:lnTo>
                    <a:pt x="899" y="156"/>
                  </a:lnTo>
                  <a:lnTo>
                    <a:pt x="898" y="160"/>
                  </a:lnTo>
                  <a:lnTo>
                    <a:pt x="898" y="162"/>
                  </a:lnTo>
                  <a:lnTo>
                    <a:pt x="901" y="163"/>
                  </a:lnTo>
                  <a:lnTo>
                    <a:pt x="903" y="167"/>
                  </a:lnTo>
                  <a:lnTo>
                    <a:pt x="910" y="171"/>
                  </a:lnTo>
                  <a:lnTo>
                    <a:pt x="914" y="173"/>
                  </a:lnTo>
                  <a:lnTo>
                    <a:pt x="917" y="175"/>
                  </a:lnTo>
                  <a:lnTo>
                    <a:pt x="920" y="173"/>
                  </a:lnTo>
                  <a:lnTo>
                    <a:pt x="922" y="170"/>
                  </a:lnTo>
                  <a:lnTo>
                    <a:pt x="926" y="168"/>
                  </a:lnTo>
                  <a:lnTo>
                    <a:pt x="930" y="170"/>
                  </a:lnTo>
                  <a:lnTo>
                    <a:pt x="933" y="170"/>
                  </a:lnTo>
                  <a:lnTo>
                    <a:pt x="941" y="168"/>
                  </a:lnTo>
                  <a:lnTo>
                    <a:pt x="944" y="168"/>
                  </a:lnTo>
                  <a:lnTo>
                    <a:pt x="949" y="170"/>
                  </a:lnTo>
                  <a:lnTo>
                    <a:pt x="952" y="170"/>
                  </a:lnTo>
                  <a:lnTo>
                    <a:pt x="955" y="173"/>
                  </a:lnTo>
                  <a:lnTo>
                    <a:pt x="960" y="175"/>
                  </a:lnTo>
                  <a:lnTo>
                    <a:pt x="963" y="176"/>
                  </a:lnTo>
                  <a:lnTo>
                    <a:pt x="966" y="173"/>
                  </a:lnTo>
                  <a:lnTo>
                    <a:pt x="966" y="173"/>
                  </a:lnTo>
                  <a:lnTo>
                    <a:pt x="968" y="170"/>
                  </a:lnTo>
                  <a:lnTo>
                    <a:pt x="969" y="167"/>
                  </a:lnTo>
                  <a:lnTo>
                    <a:pt x="971" y="165"/>
                  </a:lnTo>
                  <a:lnTo>
                    <a:pt x="974" y="163"/>
                  </a:lnTo>
                  <a:lnTo>
                    <a:pt x="976" y="163"/>
                  </a:lnTo>
                  <a:lnTo>
                    <a:pt x="977" y="163"/>
                  </a:lnTo>
                  <a:lnTo>
                    <a:pt x="980" y="162"/>
                  </a:lnTo>
                  <a:lnTo>
                    <a:pt x="995" y="165"/>
                  </a:lnTo>
                  <a:lnTo>
                    <a:pt x="1001" y="168"/>
                  </a:lnTo>
                  <a:lnTo>
                    <a:pt x="1004" y="171"/>
                  </a:lnTo>
                  <a:lnTo>
                    <a:pt x="1014" y="175"/>
                  </a:lnTo>
                  <a:lnTo>
                    <a:pt x="1018" y="176"/>
                  </a:lnTo>
                  <a:lnTo>
                    <a:pt x="1022" y="179"/>
                  </a:lnTo>
                  <a:lnTo>
                    <a:pt x="1025" y="183"/>
                  </a:lnTo>
                  <a:lnTo>
                    <a:pt x="1028" y="184"/>
                  </a:lnTo>
                  <a:lnTo>
                    <a:pt x="1033" y="187"/>
                  </a:lnTo>
                  <a:lnTo>
                    <a:pt x="1033" y="187"/>
                  </a:lnTo>
                  <a:lnTo>
                    <a:pt x="1036" y="189"/>
                  </a:lnTo>
                  <a:lnTo>
                    <a:pt x="1039" y="190"/>
                  </a:lnTo>
                  <a:lnTo>
                    <a:pt x="1041" y="190"/>
                  </a:lnTo>
                  <a:lnTo>
                    <a:pt x="1045" y="194"/>
                  </a:lnTo>
                  <a:lnTo>
                    <a:pt x="1048" y="195"/>
                  </a:lnTo>
                  <a:lnTo>
                    <a:pt x="1052" y="197"/>
                  </a:lnTo>
                  <a:lnTo>
                    <a:pt x="1055" y="200"/>
                  </a:lnTo>
                  <a:lnTo>
                    <a:pt x="1058" y="203"/>
                  </a:lnTo>
                  <a:lnTo>
                    <a:pt x="1061" y="206"/>
                  </a:lnTo>
                  <a:lnTo>
                    <a:pt x="1064" y="209"/>
                  </a:lnTo>
                  <a:lnTo>
                    <a:pt x="1066" y="213"/>
                  </a:lnTo>
                  <a:lnTo>
                    <a:pt x="1067" y="217"/>
                  </a:lnTo>
                  <a:lnTo>
                    <a:pt x="1064" y="219"/>
                  </a:lnTo>
                  <a:lnTo>
                    <a:pt x="1060" y="219"/>
                  </a:lnTo>
                  <a:lnTo>
                    <a:pt x="1056" y="217"/>
                  </a:lnTo>
                  <a:lnTo>
                    <a:pt x="1053" y="217"/>
                  </a:lnTo>
                  <a:lnTo>
                    <a:pt x="1050" y="219"/>
                  </a:lnTo>
                  <a:lnTo>
                    <a:pt x="1041" y="216"/>
                  </a:lnTo>
                  <a:lnTo>
                    <a:pt x="1033" y="213"/>
                  </a:lnTo>
                  <a:lnTo>
                    <a:pt x="1029" y="216"/>
                  </a:lnTo>
                  <a:lnTo>
                    <a:pt x="1026" y="214"/>
                  </a:lnTo>
                  <a:lnTo>
                    <a:pt x="1023" y="216"/>
                  </a:lnTo>
                  <a:lnTo>
                    <a:pt x="1020" y="214"/>
                  </a:lnTo>
                  <a:lnTo>
                    <a:pt x="1015" y="214"/>
                  </a:lnTo>
                  <a:lnTo>
                    <a:pt x="1012" y="216"/>
                  </a:lnTo>
                  <a:lnTo>
                    <a:pt x="1009" y="217"/>
                  </a:lnTo>
                  <a:lnTo>
                    <a:pt x="1006" y="219"/>
                  </a:lnTo>
                  <a:lnTo>
                    <a:pt x="1002" y="222"/>
                  </a:lnTo>
                  <a:lnTo>
                    <a:pt x="999" y="222"/>
                  </a:lnTo>
                  <a:lnTo>
                    <a:pt x="995" y="219"/>
                  </a:lnTo>
                  <a:lnTo>
                    <a:pt x="991" y="222"/>
                  </a:lnTo>
                  <a:lnTo>
                    <a:pt x="991" y="225"/>
                  </a:lnTo>
                  <a:lnTo>
                    <a:pt x="990" y="229"/>
                  </a:lnTo>
                  <a:lnTo>
                    <a:pt x="990" y="229"/>
                  </a:lnTo>
                  <a:lnTo>
                    <a:pt x="985" y="229"/>
                  </a:lnTo>
                  <a:lnTo>
                    <a:pt x="982" y="229"/>
                  </a:lnTo>
                  <a:lnTo>
                    <a:pt x="979" y="229"/>
                  </a:lnTo>
                  <a:lnTo>
                    <a:pt x="976" y="229"/>
                  </a:lnTo>
                  <a:lnTo>
                    <a:pt x="971" y="230"/>
                  </a:lnTo>
                  <a:lnTo>
                    <a:pt x="969" y="233"/>
                  </a:lnTo>
                  <a:lnTo>
                    <a:pt x="968" y="238"/>
                  </a:lnTo>
                  <a:lnTo>
                    <a:pt x="966" y="241"/>
                  </a:lnTo>
                  <a:lnTo>
                    <a:pt x="966" y="244"/>
                  </a:lnTo>
                  <a:lnTo>
                    <a:pt x="966" y="248"/>
                  </a:lnTo>
                  <a:lnTo>
                    <a:pt x="971" y="252"/>
                  </a:lnTo>
                  <a:lnTo>
                    <a:pt x="969" y="252"/>
                  </a:lnTo>
                  <a:lnTo>
                    <a:pt x="968" y="255"/>
                  </a:lnTo>
                  <a:lnTo>
                    <a:pt x="963" y="257"/>
                  </a:lnTo>
                  <a:lnTo>
                    <a:pt x="960" y="260"/>
                  </a:lnTo>
                  <a:lnTo>
                    <a:pt x="958" y="265"/>
                  </a:lnTo>
                  <a:lnTo>
                    <a:pt x="955" y="267"/>
                  </a:lnTo>
                  <a:lnTo>
                    <a:pt x="945" y="267"/>
                  </a:lnTo>
                  <a:lnTo>
                    <a:pt x="937" y="268"/>
                  </a:lnTo>
                  <a:lnTo>
                    <a:pt x="934" y="268"/>
                  </a:lnTo>
                  <a:lnTo>
                    <a:pt x="930" y="267"/>
                  </a:lnTo>
                  <a:lnTo>
                    <a:pt x="926" y="267"/>
                  </a:lnTo>
                  <a:lnTo>
                    <a:pt x="923" y="270"/>
                  </a:lnTo>
                  <a:lnTo>
                    <a:pt x="923" y="273"/>
                  </a:lnTo>
                  <a:lnTo>
                    <a:pt x="922" y="276"/>
                  </a:lnTo>
                  <a:lnTo>
                    <a:pt x="920" y="279"/>
                  </a:lnTo>
                  <a:lnTo>
                    <a:pt x="917" y="284"/>
                  </a:lnTo>
                  <a:lnTo>
                    <a:pt x="915" y="287"/>
                  </a:lnTo>
                  <a:lnTo>
                    <a:pt x="912" y="287"/>
                  </a:lnTo>
                  <a:lnTo>
                    <a:pt x="909" y="290"/>
                  </a:lnTo>
                  <a:lnTo>
                    <a:pt x="906" y="294"/>
                  </a:lnTo>
                  <a:lnTo>
                    <a:pt x="890" y="292"/>
                  </a:lnTo>
                  <a:lnTo>
                    <a:pt x="874" y="287"/>
                  </a:lnTo>
                  <a:lnTo>
                    <a:pt x="869" y="287"/>
                  </a:lnTo>
                  <a:lnTo>
                    <a:pt x="866" y="284"/>
                  </a:lnTo>
                  <a:lnTo>
                    <a:pt x="866" y="284"/>
                  </a:lnTo>
                  <a:lnTo>
                    <a:pt x="861" y="281"/>
                  </a:lnTo>
                  <a:lnTo>
                    <a:pt x="853" y="281"/>
                  </a:lnTo>
                  <a:lnTo>
                    <a:pt x="845" y="281"/>
                  </a:lnTo>
                  <a:lnTo>
                    <a:pt x="841" y="284"/>
                  </a:lnTo>
                  <a:lnTo>
                    <a:pt x="841" y="286"/>
                  </a:lnTo>
                  <a:lnTo>
                    <a:pt x="841" y="289"/>
                  </a:lnTo>
                  <a:lnTo>
                    <a:pt x="841" y="294"/>
                  </a:lnTo>
                  <a:lnTo>
                    <a:pt x="841" y="297"/>
                  </a:lnTo>
                  <a:lnTo>
                    <a:pt x="842" y="300"/>
                  </a:lnTo>
                  <a:lnTo>
                    <a:pt x="842" y="303"/>
                  </a:lnTo>
                  <a:lnTo>
                    <a:pt x="841" y="308"/>
                  </a:lnTo>
                  <a:lnTo>
                    <a:pt x="844" y="311"/>
                  </a:lnTo>
                  <a:lnTo>
                    <a:pt x="847" y="313"/>
                  </a:lnTo>
                  <a:lnTo>
                    <a:pt x="850" y="316"/>
                  </a:lnTo>
                  <a:lnTo>
                    <a:pt x="853" y="319"/>
                  </a:lnTo>
                  <a:lnTo>
                    <a:pt x="857" y="322"/>
                  </a:lnTo>
                  <a:lnTo>
                    <a:pt x="861" y="324"/>
                  </a:lnTo>
                  <a:lnTo>
                    <a:pt x="864" y="325"/>
                  </a:lnTo>
                  <a:lnTo>
                    <a:pt x="868" y="328"/>
                  </a:lnTo>
                  <a:lnTo>
                    <a:pt x="871" y="333"/>
                  </a:lnTo>
                  <a:lnTo>
                    <a:pt x="872" y="336"/>
                  </a:lnTo>
                  <a:lnTo>
                    <a:pt x="871" y="336"/>
                  </a:lnTo>
                  <a:lnTo>
                    <a:pt x="871" y="338"/>
                  </a:lnTo>
                  <a:lnTo>
                    <a:pt x="868" y="338"/>
                  </a:lnTo>
                  <a:lnTo>
                    <a:pt x="866" y="341"/>
                  </a:lnTo>
                  <a:lnTo>
                    <a:pt x="863" y="344"/>
                  </a:lnTo>
                  <a:lnTo>
                    <a:pt x="860" y="344"/>
                  </a:lnTo>
                  <a:lnTo>
                    <a:pt x="858" y="346"/>
                  </a:lnTo>
                  <a:lnTo>
                    <a:pt x="855" y="347"/>
                  </a:lnTo>
                  <a:lnTo>
                    <a:pt x="852" y="349"/>
                  </a:lnTo>
                  <a:lnTo>
                    <a:pt x="847" y="352"/>
                  </a:lnTo>
                  <a:lnTo>
                    <a:pt x="847" y="357"/>
                  </a:lnTo>
                  <a:lnTo>
                    <a:pt x="845" y="360"/>
                  </a:lnTo>
                  <a:lnTo>
                    <a:pt x="844" y="363"/>
                  </a:lnTo>
                  <a:lnTo>
                    <a:pt x="842" y="366"/>
                  </a:lnTo>
                  <a:lnTo>
                    <a:pt x="841" y="371"/>
                  </a:lnTo>
                  <a:lnTo>
                    <a:pt x="839" y="374"/>
                  </a:lnTo>
                  <a:lnTo>
                    <a:pt x="836" y="376"/>
                  </a:lnTo>
                  <a:lnTo>
                    <a:pt x="831" y="379"/>
                  </a:lnTo>
                  <a:lnTo>
                    <a:pt x="828" y="379"/>
                  </a:lnTo>
                  <a:lnTo>
                    <a:pt x="825" y="379"/>
                  </a:lnTo>
                  <a:lnTo>
                    <a:pt x="822" y="381"/>
                  </a:lnTo>
                  <a:lnTo>
                    <a:pt x="817" y="384"/>
                  </a:lnTo>
                  <a:lnTo>
                    <a:pt x="814" y="386"/>
                  </a:lnTo>
                  <a:lnTo>
                    <a:pt x="814" y="387"/>
                  </a:lnTo>
                  <a:lnTo>
                    <a:pt x="811" y="387"/>
                  </a:lnTo>
                  <a:lnTo>
                    <a:pt x="807" y="387"/>
                  </a:lnTo>
                  <a:lnTo>
                    <a:pt x="803" y="387"/>
                  </a:lnTo>
                  <a:lnTo>
                    <a:pt x="799" y="386"/>
                  </a:lnTo>
                  <a:lnTo>
                    <a:pt x="795" y="389"/>
                  </a:lnTo>
                  <a:lnTo>
                    <a:pt x="792" y="389"/>
                  </a:lnTo>
                  <a:lnTo>
                    <a:pt x="788" y="387"/>
                  </a:lnTo>
                  <a:lnTo>
                    <a:pt x="785" y="387"/>
                  </a:lnTo>
                  <a:lnTo>
                    <a:pt x="782" y="387"/>
                  </a:lnTo>
                  <a:lnTo>
                    <a:pt x="777" y="387"/>
                  </a:lnTo>
                  <a:lnTo>
                    <a:pt x="774" y="386"/>
                  </a:lnTo>
                  <a:lnTo>
                    <a:pt x="771" y="387"/>
                  </a:lnTo>
                  <a:lnTo>
                    <a:pt x="768" y="387"/>
                  </a:lnTo>
                  <a:lnTo>
                    <a:pt x="763" y="389"/>
                  </a:lnTo>
                  <a:lnTo>
                    <a:pt x="760" y="387"/>
                  </a:lnTo>
                  <a:lnTo>
                    <a:pt x="744" y="390"/>
                  </a:lnTo>
                  <a:lnTo>
                    <a:pt x="728" y="392"/>
                  </a:lnTo>
                  <a:lnTo>
                    <a:pt x="715" y="400"/>
                  </a:lnTo>
                  <a:lnTo>
                    <a:pt x="703" y="406"/>
                  </a:lnTo>
                  <a:lnTo>
                    <a:pt x="698" y="409"/>
                  </a:lnTo>
                  <a:lnTo>
                    <a:pt x="692" y="412"/>
                  </a:lnTo>
                  <a:lnTo>
                    <a:pt x="687" y="416"/>
                  </a:lnTo>
                  <a:lnTo>
                    <a:pt x="682" y="422"/>
                  </a:lnTo>
                  <a:lnTo>
                    <a:pt x="679" y="419"/>
                  </a:lnTo>
                  <a:lnTo>
                    <a:pt x="671" y="419"/>
                  </a:lnTo>
                  <a:lnTo>
                    <a:pt x="668" y="419"/>
                  </a:lnTo>
                  <a:lnTo>
                    <a:pt x="665" y="416"/>
                  </a:lnTo>
                  <a:lnTo>
                    <a:pt x="663" y="412"/>
                  </a:lnTo>
                  <a:lnTo>
                    <a:pt x="660" y="411"/>
                  </a:lnTo>
                  <a:lnTo>
                    <a:pt x="655" y="411"/>
                  </a:lnTo>
                  <a:lnTo>
                    <a:pt x="652" y="412"/>
                  </a:lnTo>
                  <a:lnTo>
                    <a:pt x="641" y="412"/>
                  </a:lnTo>
                  <a:lnTo>
                    <a:pt x="633" y="412"/>
                  </a:lnTo>
                  <a:lnTo>
                    <a:pt x="625" y="409"/>
                  </a:lnTo>
                  <a:lnTo>
                    <a:pt x="615" y="405"/>
                  </a:lnTo>
                  <a:lnTo>
                    <a:pt x="609" y="405"/>
                  </a:lnTo>
                  <a:lnTo>
                    <a:pt x="603" y="403"/>
                  </a:lnTo>
                  <a:lnTo>
                    <a:pt x="598" y="403"/>
                  </a:lnTo>
                  <a:lnTo>
                    <a:pt x="592" y="401"/>
                  </a:lnTo>
                  <a:lnTo>
                    <a:pt x="587" y="400"/>
                  </a:lnTo>
                  <a:lnTo>
                    <a:pt x="582" y="398"/>
                  </a:lnTo>
                  <a:lnTo>
                    <a:pt x="576" y="397"/>
                  </a:lnTo>
                  <a:lnTo>
                    <a:pt x="573" y="397"/>
                  </a:lnTo>
                  <a:lnTo>
                    <a:pt x="566" y="390"/>
                  </a:lnTo>
                  <a:lnTo>
                    <a:pt x="562" y="386"/>
                  </a:lnTo>
                  <a:lnTo>
                    <a:pt x="557" y="384"/>
                  </a:lnTo>
                  <a:lnTo>
                    <a:pt x="552" y="382"/>
                  </a:lnTo>
                  <a:lnTo>
                    <a:pt x="546" y="382"/>
                  </a:lnTo>
                  <a:lnTo>
                    <a:pt x="533" y="382"/>
                  </a:lnTo>
                  <a:lnTo>
                    <a:pt x="522" y="379"/>
                  </a:lnTo>
                  <a:lnTo>
                    <a:pt x="517" y="379"/>
                  </a:lnTo>
                  <a:lnTo>
                    <a:pt x="512" y="378"/>
                  </a:lnTo>
                  <a:lnTo>
                    <a:pt x="506" y="378"/>
                  </a:lnTo>
                  <a:lnTo>
                    <a:pt x="501" y="378"/>
                  </a:lnTo>
                  <a:lnTo>
                    <a:pt x="500" y="376"/>
                  </a:lnTo>
                  <a:lnTo>
                    <a:pt x="497" y="378"/>
                  </a:lnTo>
                  <a:lnTo>
                    <a:pt x="493" y="379"/>
                  </a:lnTo>
                  <a:lnTo>
                    <a:pt x="484" y="382"/>
                  </a:lnTo>
                  <a:lnTo>
                    <a:pt x="481" y="381"/>
                  </a:lnTo>
                  <a:lnTo>
                    <a:pt x="463" y="381"/>
                  </a:lnTo>
                  <a:lnTo>
                    <a:pt x="447" y="379"/>
                  </a:lnTo>
                  <a:lnTo>
                    <a:pt x="432" y="376"/>
                  </a:lnTo>
                  <a:lnTo>
                    <a:pt x="416" y="374"/>
                  </a:lnTo>
                  <a:lnTo>
                    <a:pt x="398" y="373"/>
                  </a:lnTo>
                  <a:lnTo>
                    <a:pt x="379" y="376"/>
                  </a:lnTo>
                  <a:lnTo>
                    <a:pt x="378" y="371"/>
                  </a:lnTo>
                  <a:lnTo>
                    <a:pt x="376" y="368"/>
                  </a:lnTo>
                  <a:lnTo>
                    <a:pt x="371" y="365"/>
                  </a:lnTo>
                  <a:lnTo>
                    <a:pt x="362" y="359"/>
                  </a:lnTo>
                  <a:lnTo>
                    <a:pt x="359" y="355"/>
                  </a:lnTo>
                  <a:lnTo>
                    <a:pt x="355" y="352"/>
                  </a:lnTo>
                  <a:lnTo>
                    <a:pt x="352" y="349"/>
                  </a:lnTo>
                  <a:lnTo>
                    <a:pt x="351" y="346"/>
                  </a:lnTo>
                  <a:lnTo>
                    <a:pt x="347" y="343"/>
                  </a:lnTo>
                  <a:lnTo>
                    <a:pt x="344" y="340"/>
                  </a:lnTo>
                  <a:lnTo>
                    <a:pt x="338" y="332"/>
                  </a:lnTo>
                  <a:lnTo>
                    <a:pt x="336" y="328"/>
                  </a:lnTo>
                  <a:lnTo>
                    <a:pt x="332" y="325"/>
                  </a:lnTo>
                  <a:lnTo>
                    <a:pt x="328" y="324"/>
                  </a:lnTo>
                  <a:lnTo>
                    <a:pt x="325" y="324"/>
                  </a:lnTo>
                  <a:lnTo>
                    <a:pt x="324" y="320"/>
                  </a:lnTo>
                  <a:lnTo>
                    <a:pt x="322" y="316"/>
                  </a:lnTo>
                  <a:lnTo>
                    <a:pt x="324" y="313"/>
                  </a:lnTo>
                  <a:lnTo>
                    <a:pt x="316" y="313"/>
                  </a:lnTo>
                  <a:lnTo>
                    <a:pt x="306" y="311"/>
                  </a:lnTo>
                  <a:lnTo>
                    <a:pt x="297" y="308"/>
                  </a:lnTo>
                  <a:lnTo>
                    <a:pt x="289" y="303"/>
                  </a:lnTo>
                  <a:lnTo>
                    <a:pt x="286" y="303"/>
                  </a:lnTo>
                  <a:lnTo>
                    <a:pt x="281" y="300"/>
                  </a:lnTo>
                  <a:lnTo>
                    <a:pt x="278" y="297"/>
                  </a:lnTo>
                  <a:lnTo>
                    <a:pt x="273" y="297"/>
                  </a:lnTo>
                  <a:lnTo>
                    <a:pt x="270" y="297"/>
                  </a:lnTo>
                  <a:lnTo>
                    <a:pt x="270" y="297"/>
                  </a:lnTo>
                  <a:lnTo>
                    <a:pt x="265" y="294"/>
                  </a:lnTo>
                  <a:lnTo>
                    <a:pt x="262" y="290"/>
                  </a:lnTo>
                  <a:lnTo>
                    <a:pt x="259" y="289"/>
                  </a:lnTo>
                  <a:lnTo>
                    <a:pt x="254" y="287"/>
                  </a:lnTo>
                  <a:lnTo>
                    <a:pt x="251" y="286"/>
                  </a:lnTo>
                  <a:lnTo>
                    <a:pt x="235" y="282"/>
                  </a:lnTo>
                  <a:lnTo>
                    <a:pt x="219" y="282"/>
                  </a:lnTo>
                  <a:lnTo>
                    <a:pt x="216" y="284"/>
                  </a:lnTo>
                  <a:lnTo>
                    <a:pt x="208" y="282"/>
                  </a:lnTo>
                  <a:lnTo>
                    <a:pt x="205" y="282"/>
                  </a:lnTo>
                  <a:lnTo>
                    <a:pt x="202" y="281"/>
                  </a:lnTo>
                  <a:lnTo>
                    <a:pt x="198" y="281"/>
                  </a:lnTo>
                  <a:lnTo>
                    <a:pt x="194" y="281"/>
                  </a:lnTo>
                  <a:lnTo>
                    <a:pt x="190" y="281"/>
                  </a:lnTo>
                  <a:lnTo>
                    <a:pt x="187" y="281"/>
                  </a:lnTo>
                  <a:lnTo>
                    <a:pt x="184" y="279"/>
                  </a:lnTo>
                  <a:lnTo>
                    <a:pt x="179" y="278"/>
                  </a:lnTo>
                  <a:lnTo>
                    <a:pt x="178" y="279"/>
                  </a:lnTo>
                  <a:lnTo>
                    <a:pt x="175" y="278"/>
                  </a:lnTo>
                  <a:lnTo>
                    <a:pt x="170" y="276"/>
                  </a:lnTo>
                  <a:lnTo>
                    <a:pt x="167" y="274"/>
                  </a:lnTo>
                  <a:lnTo>
                    <a:pt x="163" y="276"/>
                  </a:lnTo>
                  <a:lnTo>
                    <a:pt x="157" y="270"/>
                  </a:lnTo>
                  <a:lnTo>
                    <a:pt x="154" y="267"/>
                  </a:lnTo>
                  <a:lnTo>
                    <a:pt x="151" y="263"/>
                  </a:lnTo>
                  <a:lnTo>
                    <a:pt x="149" y="263"/>
                  </a:lnTo>
                  <a:lnTo>
                    <a:pt x="148" y="260"/>
                  </a:lnTo>
                  <a:lnTo>
                    <a:pt x="148" y="255"/>
                  </a:lnTo>
                  <a:lnTo>
                    <a:pt x="148" y="252"/>
                  </a:lnTo>
                  <a:lnTo>
                    <a:pt x="149" y="251"/>
                  </a:lnTo>
                  <a:lnTo>
                    <a:pt x="151" y="246"/>
                  </a:lnTo>
                  <a:lnTo>
                    <a:pt x="152" y="243"/>
                  </a:lnTo>
                  <a:lnTo>
                    <a:pt x="151" y="240"/>
                  </a:lnTo>
                  <a:lnTo>
                    <a:pt x="151" y="238"/>
                  </a:lnTo>
                  <a:lnTo>
                    <a:pt x="151" y="238"/>
                  </a:lnTo>
                  <a:lnTo>
                    <a:pt x="146" y="233"/>
                  </a:lnTo>
                  <a:lnTo>
                    <a:pt x="144" y="230"/>
                  </a:lnTo>
                  <a:lnTo>
                    <a:pt x="144" y="227"/>
                  </a:lnTo>
                  <a:lnTo>
                    <a:pt x="144" y="221"/>
                  </a:lnTo>
                  <a:lnTo>
                    <a:pt x="143" y="217"/>
                  </a:lnTo>
                  <a:lnTo>
                    <a:pt x="141" y="213"/>
                  </a:lnTo>
                  <a:lnTo>
                    <a:pt x="138" y="211"/>
                  </a:lnTo>
                  <a:lnTo>
                    <a:pt x="135" y="208"/>
                  </a:lnTo>
                  <a:lnTo>
                    <a:pt x="132" y="205"/>
                  </a:lnTo>
                  <a:lnTo>
                    <a:pt x="129" y="203"/>
                  </a:lnTo>
                  <a:lnTo>
                    <a:pt x="124" y="200"/>
                  </a:lnTo>
                  <a:lnTo>
                    <a:pt x="117" y="194"/>
                  </a:lnTo>
                  <a:lnTo>
                    <a:pt x="114" y="190"/>
                  </a:lnTo>
                  <a:lnTo>
                    <a:pt x="113" y="187"/>
                  </a:lnTo>
                  <a:lnTo>
                    <a:pt x="111" y="184"/>
                  </a:lnTo>
                  <a:lnTo>
                    <a:pt x="108" y="181"/>
                  </a:lnTo>
                  <a:lnTo>
                    <a:pt x="105" y="178"/>
                  </a:lnTo>
                  <a:lnTo>
                    <a:pt x="102" y="176"/>
                  </a:lnTo>
                  <a:lnTo>
                    <a:pt x="98" y="175"/>
                  </a:lnTo>
                  <a:lnTo>
                    <a:pt x="95" y="173"/>
                  </a:lnTo>
                  <a:lnTo>
                    <a:pt x="94" y="170"/>
                  </a:lnTo>
                  <a:lnTo>
                    <a:pt x="89" y="168"/>
                  </a:lnTo>
                  <a:lnTo>
                    <a:pt x="89" y="170"/>
                  </a:lnTo>
                  <a:lnTo>
                    <a:pt x="84" y="170"/>
                  </a:lnTo>
                  <a:lnTo>
                    <a:pt x="81" y="168"/>
                  </a:lnTo>
                  <a:lnTo>
                    <a:pt x="78" y="167"/>
                  </a:lnTo>
                  <a:lnTo>
                    <a:pt x="75" y="163"/>
                  </a:lnTo>
                  <a:lnTo>
                    <a:pt x="71" y="162"/>
                  </a:lnTo>
                  <a:lnTo>
                    <a:pt x="67" y="162"/>
                  </a:lnTo>
                  <a:lnTo>
                    <a:pt x="64" y="163"/>
                  </a:lnTo>
                  <a:lnTo>
                    <a:pt x="60" y="163"/>
                  </a:lnTo>
                  <a:lnTo>
                    <a:pt x="57" y="163"/>
                  </a:lnTo>
                  <a:lnTo>
                    <a:pt x="54" y="160"/>
                  </a:lnTo>
                  <a:lnTo>
                    <a:pt x="49" y="159"/>
                  </a:lnTo>
                  <a:lnTo>
                    <a:pt x="46" y="159"/>
                  </a:lnTo>
                  <a:lnTo>
                    <a:pt x="43" y="157"/>
                  </a:lnTo>
                  <a:lnTo>
                    <a:pt x="40" y="156"/>
                  </a:lnTo>
                  <a:lnTo>
                    <a:pt x="38" y="151"/>
                  </a:lnTo>
                  <a:lnTo>
                    <a:pt x="35" y="148"/>
                  </a:lnTo>
                  <a:lnTo>
                    <a:pt x="30" y="148"/>
                  </a:lnTo>
                  <a:lnTo>
                    <a:pt x="27" y="144"/>
                  </a:lnTo>
                  <a:lnTo>
                    <a:pt x="24" y="143"/>
                  </a:lnTo>
                  <a:lnTo>
                    <a:pt x="21" y="143"/>
                  </a:lnTo>
                  <a:lnTo>
                    <a:pt x="16" y="141"/>
                  </a:lnTo>
                  <a:lnTo>
                    <a:pt x="13" y="140"/>
                  </a:lnTo>
                  <a:lnTo>
                    <a:pt x="16" y="137"/>
                  </a:lnTo>
                  <a:lnTo>
                    <a:pt x="11" y="133"/>
                  </a:lnTo>
                  <a:lnTo>
                    <a:pt x="8" y="133"/>
                  </a:lnTo>
                  <a:lnTo>
                    <a:pt x="5" y="130"/>
                  </a:lnTo>
                  <a:lnTo>
                    <a:pt x="2" y="127"/>
                  </a:lnTo>
                  <a:lnTo>
                    <a:pt x="5" y="124"/>
                  </a:lnTo>
                  <a:lnTo>
                    <a:pt x="2" y="121"/>
                  </a:lnTo>
                  <a:lnTo>
                    <a:pt x="0" y="118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8" name="Freeform 20"/>
            <p:cNvSpPr>
              <a:spLocks/>
            </p:cNvSpPr>
            <p:nvPr/>
          </p:nvSpPr>
          <p:spPr bwMode="auto">
            <a:xfrm>
              <a:off x="8432153" y="3344673"/>
              <a:ext cx="120570" cy="182783"/>
            </a:xfrm>
            <a:custGeom>
              <a:avLst/>
              <a:gdLst>
                <a:gd name="T0" fmla="*/ 8 w 165"/>
                <a:gd name="T1" fmla="*/ 106 h 216"/>
                <a:gd name="T2" fmla="*/ 15 w 165"/>
                <a:gd name="T3" fmla="*/ 98 h 216"/>
                <a:gd name="T4" fmla="*/ 26 w 165"/>
                <a:gd name="T5" fmla="*/ 92 h 216"/>
                <a:gd name="T6" fmla="*/ 37 w 165"/>
                <a:gd name="T7" fmla="*/ 86 h 216"/>
                <a:gd name="T8" fmla="*/ 45 w 165"/>
                <a:gd name="T9" fmla="*/ 62 h 216"/>
                <a:gd name="T10" fmla="*/ 50 w 165"/>
                <a:gd name="T11" fmla="*/ 51 h 216"/>
                <a:gd name="T12" fmla="*/ 62 w 165"/>
                <a:gd name="T13" fmla="*/ 57 h 216"/>
                <a:gd name="T14" fmla="*/ 78 w 165"/>
                <a:gd name="T15" fmla="*/ 62 h 216"/>
                <a:gd name="T16" fmla="*/ 94 w 165"/>
                <a:gd name="T17" fmla="*/ 62 h 216"/>
                <a:gd name="T18" fmla="*/ 97 w 165"/>
                <a:gd name="T19" fmla="*/ 54 h 216"/>
                <a:gd name="T20" fmla="*/ 88 w 165"/>
                <a:gd name="T21" fmla="*/ 46 h 216"/>
                <a:gd name="T22" fmla="*/ 94 w 165"/>
                <a:gd name="T23" fmla="*/ 38 h 216"/>
                <a:gd name="T24" fmla="*/ 107 w 165"/>
                <a:gd name="T25" fmla="*/ 38 h 216"/>
                <a:gd name="T26" fmla="*/ 115 w 165"/>
                <a:gd name="T27" fmla="*/ 25 h 216"/>
                <a:gd name="T28" fmla="*/ 124 w 165"/>
                <a:gd name="T29" fmla="*/ 24 h 216"/>
                <a:gd name="T30" fmla="*/ 124 w 165"/>
                <a:gd name="T31" fmla="*/ 11 h 216"/>
                <a:gd name="T32" fmla="*/ 126 w 165"/>
                <a:gd name="T33" fmla="*/ 0 h 216"/>
                <a:gd name="T34" fmla="*/ 137 w 165"/>
                <a:gd name="T35" fmla="*/ 5 h 216"/>
                <a:gd name="T36" fmla="*/ 149 w 165"/>
                <a:gd name="T37" fmla="*/ 16 h 216"/>
                <a:gd name="T38" fmla="*/ 165 w 165"/>
                <a:gd name="T39" fmla="*/ 28 h 216"/>
                <a:gd name="T40" fmla="*/ 151 w 165"/>
                <a:gd name="T41" fmla="*/ 33 h 216"/>
                <a:gd name="T42" fmla="*/ 148 w 165"/>
                <a:gd name="T43" fmla="*/ 41 h 216"/>
                <a:gd name="T44" fmla="*/ 148 w 165"/>
                <a:gd name="T45" fmla="*/ 59 h 216"/>
                <a:gd name="T46" fmla="*/ 161 w 165"/>
                <a:gd name="T47" fmla="*/ 87 h 216"/>
                <a:gd name="T48" fmla="*/ 149 w 165"/>
                <a:gd name="T49" fmla="*/ 101 h 216"/>
                <a:gd name="T50" fmla="*/ 135 w 165"/>
                <a:gd name="T51" fmla="*/ 117 h 216"/>
                <a:gd name="T52" fmla="*/ 121 w 165"/>
                <a:gd name="T53" fmla="*/ 124 h 216"/>
                <a:gd name="T54" fmla="*/ 116 w 165"/>
                <a:gd name="T55" fmla="*/ 138 h 216"/>
                <a:gd name="T56" fmla="*/ 116 w 165"/>
                <a:gd name="T57" fmla="*/ 146 h 216"/>
                <a:gd name="T58" fmla="*/ 124 w 165"/>
                <a:gd name="T59" fmla="*/ 155 h 216"/>
                <a:gd name="T60" fmla="*/ 142 w 165"/>
                <a:gd name="T61" fmla="*/ 165 h 216"/>
                <a:gd name="T62" fmla="*/ 159 w 165"/>
                <a:gd name="T63" fmla="*/ 174 h 216"/>
                <a:gd name="T64" fmla="*/ 161 w 165"/>
                <a:gd name="T65" fmla="*/ 189 h 216"/>
                <a:gd name="T66" fmla="*/ 146 w 165"/>
                <a:gd name="T67" fmla="*/ 189 h 216"/>
                <a:gd name="T68" fmla="*/ 124 w 165"/>
                <a:gd name="T69" fmla="*/ 195 h 216"/>
                <a:gd name="T70" fmla="*/ 119 w 165"/>
                <a:gd name="T71" fmla="*/ 209 h 216"/>
                <a:gd name="T72" fmla="*/ 102 w 165"/>
                <a:gd name="T73" fmla="*/ 209 h 216"/>
                <a:gd name="T74" fmla="*/ 91 w 165"/>
                <a:gd name="T75" fmla="*/ 206 h 216"/>
                <a:gd name="T76" fmla="*/ 86 w 165"/>
                <a:gd name="T77" fmla="*/ 206 h 216"/>
                <a:gd name="T78" fmla="*/ 77 w 165"/>
                <a:gd name="T79" fmla="*/ 212 h 216"/>
                <a:gd name="T80" fmla="*/ 72 w 165"/>
                <a:gd name="T81" fmla="*/ 206 h 216"/>
                <a:gd name="T82" fmla="*/ 64 w 165"/>
                <a:gd name="T83" fmla="*/ 204 h 216"/>
                <a:gd name="T84" fmla="*/ 59 w 165"/>
                <a:gd name="T85" fmla="*/ 200 h 216"/>
                <a:gd name="T86" fmla="*/ 54 w 165"/>
                <a:gd name="T87" fmla="*/ 195 h 216"/>
                <a:gd name="T88" fmla="*/ 51 w 165"/>
                <a:gd name="T89" fmla="*/ 181 h 216"/>
                <a:gd name="T90" fmla="*/ 62 w 165"/>
                <a:gd name="T91" fmla="*/ 174 h 216"/>
                <a:gd name="T92" fmla="*/ 64 w 165"/>
                <a:gd name="T93" fmla="*/ 173 h 216"/>
                <a:gd name="T94" fmla="*/ 50 w 165"/>
                <a:gd name="T95" fmla="*/ 166 h 216"/>
                <a:gd name="T96" fmla="*/ 51 w 165"/>
                <a:gd name="T97" fmla="*/ 149 h 216"/>
                <a:gd name="T98" fmla="*/ 43 w 165"/>
                <a:gd name="T99" fmla="*/ 139 h 216"/>
                <a:gd name="T100" fmla="*/ 27 w 165"/>
                <a:gd name="T101" fmla="*/ 135 h 216"/>
                <a:gd name="T102" fmla="*/ 18 w 165"/>
                <a:gd name="T103" fmla="*/ 133 h 216"/>
                <a:gd name="T104" fmla="*/ 4 w 165"/>
                <a:gd name="T105" fmla="*/ 122 h 216"/>
                <a:gd name="T106" fmla="*/ 0 w 165"/>
                <a:gd name="T107" fmla="*/ 117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5" h="216">
                  <a:moveTo>
                    <a:pt x="0" y="117"/>
                  </a:moveTo>
                  <a:lnTo>
                    <a:pt x="0" y="116"/>
                  </a:lnTo>
                  <a:lnTo>
                    <a:pt x="4" y="112"/>
                  </a:lnTo>
                  <a:lnTo>
                    <a:pt x="5" y="109"/>
                  </a:lnTo>
                  <a:lnTo>
                    <a:pt x="8" y="106"/>
                  </a:lnTo>
                  <a:lnTo>
                    <a:pt x="10" y="103"/>
                  </a:lnTo>
                  <a:lnTo>
                    <a:pt x="13" y="103"/>
                  </a:lnTo>
                  <a:lnTo>
                    <a:pt x="13" y="101"/>
                  </a:lnTo>
                  <a:lnTo>
                    <a:pt x="15" y="101"/>
                  </a:lnTo>
                  <a:lnTo>
                    <a:pt x="15" y="98"/>
                  </a:lnTo>
                  <a:lnTo>
                    <a:pt x="18" y="97"/>
                  </a:lnTo>
                  <a:lnTo>
                    <a:pt x="21" y="95"/>
                  </a:lnTo>
                  <a:lnTo>
                    <a:pt x="23" y="95"/>
                  </a:lnTo>
                  <a:lnTo>
                    <a:pt x="24" y="95"/>
                  </a:lnTo>
                  <a:lnTo>
                    <a:pt x="26" y="92"/>
                  </a:lnTo>
                  <a:lnTo>
                    <a:pt x="29" y="90"/>
                  </a:lnTo>
                  <a:lnTo>
                    <a:pt x="29" y="87"/>
                  </a:lnTo>
                  <a:lnTo>
                    <a:pt x="31" y="86"/>
                  </a:lnTo>
                  <a:lnTo>
                    <a:pt x="34" y="86"/>
                  </a:lnTo>
                  <a:lnTo>
                    <a:pt x="37" y="86"/>
                  </a:lnTo>
                  <a:lnTo>
                    <a:pt x="40" y="82"/>
                  </a:lnTo>
                  <a:lnTo>
                    <a:pt x="40" y="78"/>
                  </a:lnTo>
                  <a:lnTo>
                    <a:pt x="43" y="70"/>
                  </a:lnTo>
                  <a:lnTo>
                    <a:pt x="45" y="63"/>
                  </a:lnTo>
                  <a:lnTo>
                    <a:pt x="45" y="62"/>
                  </a:lnTo>
                  <a:lnTo>
                    <a:pt x="45" y="60"/>
                  </a:lnTo>
                  <a:lnTo>
                    <a:pt x="45" y="57"/>
                  </a:lnTo>
                  <a:lnTo>
                    <a:pt x="43" y="54"/>
                  </a:lnTo>
                  <a:lnTo>
                    <a:pt x="45" y="54"/>
                  </a:lnTo>
                  <a:lnTo>
                    <a:pt x="50" y="51"/>
                  </a:lnTo>
                  <a:lnTo>
                    <a:pt x="50" y="47"/>
                  </a:lnTo>
                  <a:lnTo>
                    <a:pt x="54" y="49"/>
                  </a:lnTo>
                  <a:lnTo>
                    <a:pt x="57" y="52"/>
                  </a:lnTo>
                  <a:lnTo>
                    <a:pt x="59" y="54"/>
                  </a:lnTo>
                  <a:lnTo>
                    <a:pt x="62" y="57"/>
                  </a:lnTo>
                  <a:lnTo>
                    <a:pt x="65" y="59"/>
                  </a:lnTo>
                  <a:lnTo>
                    <a:pt x="69" y="60"/>
                  </a:lnTo>
                  <a:lnTo>
                    <a:pt x="73" y="62"/>
                  </a:lnTo>
                  <a:lnTo>
                    <a:pt x="77" y="62"/>
                  </a:lnTo>
                  <a:lnTo>
                    <a:pt x="78" y="62"/>
                  </a:lnTo>
                  <a:lnTo>
                    <a:pt x="83" y="63"/>
                  </a:lnTo>
                  <a:lnTo>
                    <a:pt x="86" y="63"/>
                  </a:lnTo>
                  <a:lnTo>
                    <a:pt x="89" y="63"/>
                  </a:lnTo>
                  <a:lnTo>
                    <a:pt x="92" y="63"/>
                  </a:lnTo>
                  <a:lnTo>
                    <a:pt x="94" y="62"/>
                  </a:lnTo>
                  <a:lnTo>
                    <a:pt x="97" y="65"/>
                  </a:lnTo>
                  <a:lnTo>
                    <a:pt x="100" y="63"/>
                  </a:lnTo>
                  <a:lnTo>
                    <a:pt x="100" y="60"/>
                  </a:lnTo>
                  <a:lnTo>
                    <a:pt x="102" y="57"/>
                  </a:lnTo>
                  <a:lnTo>
                    <a:pt x="97" y="54"/>
                  </a:lnTo>
                  <a:lnTo>
                    <a:pt x="94" y="52"/>
                  </a:lnTo>
                  <a:lnTo>
                    <a:pt x="92" y="51"/>
                  </a:lnTo>
                  <a:lnTo>
                    <a:pt x="92" y="51"/>
                  </a:lnTo>
                  <a:lnTo>
                    <a:pt x="89" y="47"/>
                  </a:lnTo>
                  <a:lnTo>
                    <a:pt x="88" y="46"/>
                  </a:lnTo>
                  <a:lnTo>
                    <a:pt x="84" y="41"/>
                  </a:lnTo>
                  <a:lnTo>
                    <a:pt x="84" y="40"/>
                  </a:lnTo>
                  <a:lnTo>
                    <a:pt x="88" y="40"/>
                  </a:lnTo>
                  <a:lnTo>
                    <a:pt x="91" y="38"/>
                  </a:lnTo>
                  <a:lnTo>
                    <a:pt x="94" y="38"/>
                  </a:lnTo>
                  <a:lnTo>
                    <a:pt x="97" y="40"/>
                  </a:lnTo>
                  <a:lnTo>
                    <a:pt x="97" y="40"/>
                  </a:lnTo>
                  <a:lnTo>
                    <a:pt x="100" y="40"/>
                  </a:lnTo>
                  <a:lnTo>
                    <a:pt x="103" y="40"/>
                  </a:lnTo>
                  <a:lnTo>
                    <a:pt x="107" y="38"/>
                  </a:lnTo>
                  <a:lnTo>
                    <a:pt x="111" y="38"/>
                  </a:lnTo>
                  <a:lnTo>
                    <a:pt x="113" y="36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15" y="25"/>
                  </a:lnTo>
                  <a:lnTo>
                    <a:pt x="116" y="24"/>
                  </a:lnTo>
                  <a:lnTo>
                    <a:pt x="119" y="22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4" y="24"/>
                  </a:lnTo>
                  <a:lnTo>
                    <a:pt x="127" y="22"/>
                  </a:lnTo>
                  <a:lnTo>
                    <a:pt x="127" y="19"/>
                  </a:lnTo>
                  <a:lnTo>
                    <a:pt x="127" y="16"/>
                  </a:lnTo>
                  <a:lnTo>
                    <a:pt x="124" y="11"/>
                  </a:lnTo>
                  <a:lnTo>
                    <a:pt x="124" y="11"/>
                  </a:lnTo>
                  <a:lnTo>
                    <a:pt x="124" y="8"/>
                  </a:lnTo>
                  <a:lnTo>
                    <a:pt x="123" y="5"/>
                  </a:lnTo>
                  <a:lnTo>
                    <a:pt x="123" y="1"/>
                  </a:lnTo>
                  <a:lnTo>
                    <a:pt x="123" y="1"/>
                  </a:lnTo>
                  <a:lnTo>
                    <a:pt x="126" y="0"/>
                  </a:lnTo>
                  <a:lnTo>
                    <a:pt x="127" y="1"/>
                  </a:lnTo>
                  <a:lnTo>
                    <a:pt x="130" y="0"/>
                  </a:lnTo>
                  <a:lnTo>
                    <a:pt x="134" y="3"/>
                  </a:lnTo>
                  <a:lnTo>
                    <a:pt x="137" y="3"/>
                  </a:lnTo>
                  <a:lnTo>
                    <a:pt x="137" y="5"/>
                  </a:lnTo>
                  <a:lnTo>
                    <a:pt x="138" y="8"/>
                  </a:lnTo>
                  <a:lnTo>
                    <a:pt x="140" y="11"/>
                  </a:lnTo>
                  <a:lnTo>
                    <a:pt x="143" y="13"/>
                  </a:lnTo>
                  <a:lnTo>
                    <a:pt x="146" y="14"/>
                  </a:lnTo>
                  <a:lnTo>
                    <a:pt x="149" y="16"/>
                  </a:lnTo>
                  <a:lnTo>
                    <a:pt x="153" y="17"/>
                  </a:lnTo>
                  <a:lnTo>
                    <a:pt x="154" y="19"/>
                  </a:lnTo>
                  <a:lnTo>
                    <a:pt x="159" y="22"/>
                  </a:lnTo>
                  <a:lnTo>
                    <a:pt x="162" y="25"/>
                  </a:lnTo>
                  <a:lnTo>
                    <a:pt x="165" y="28"/>
                  </a:lnTo>
                  <a:lnTo>
                    <a:pt x="162" y="30"/>
                  </a:lnTo>
                  <a:lnTo>
                    <a:pt x="159" y="27"/>
                  </a:lnTo>
                  <a:lnTo>
                    <a:pt x="154" y="27"/>
                  </a:lnTo>
                  <a:lnTo>
                    <a:pt x="154" y="32"/>
                  </a:lnTo>
                  <a:lnTo>
                    <a:pt x="151" y="33"/>
                  </a:lnTo>
                  <a:lnTo>
                    <a:pt x="151" y="36"/>
                  </a:lnTo>
                  <a:lnTo>
                    <a:pt x="149" y="40"/>
                  </a:lnTo>
                  <a:lnTo>
                    <a:pt x="148" y="40"/>
                  </a:lnTo>
                  <a:lnTo>
                    <a:pt x="149" y="41"/>
                  </a:lnTo>
                  <a:lnTo>
                    <a:pt x="148" y="41"/>
                  </a:lnTo>
                  <a:lnTo>
                    <a:pt x="146" y="46"/>
                  </a:lnTo>
                  <a:lnTo>
                    <a:pt x="148" y="49"/>
                  </a:lnTo>
                  <a:lnTo>
                    <a:pt x="146" y="52"/>
                  </a:lnTo>
                  <a:lnTo>
                    <a:pt x="146" y="55"/>
                  </a:lnTo>
                  <a:lnTo>
                    <a:pt x="148" y="59"/>
                  </a:lnTo>
                  <a:lnTo>
                    <a:pt x="151" y="63"/>
                  </a:lnTo>
                  <a:lnTo>
                    <a:pt x="154" y="65"/>
                  </a:lnTo>
                  <a:lnTo>
                    <a:pt x="157" y="74"/>
                  </a:lnTo>
                  <a:lnTo>
                    <a:pt x="162" y="84"/>
                  </a:lnTo>
                  <a:lnTo>
                    <a:pt x="161" y="87"/>
                  </a:lnTo>
                  <a:lnTo>
                    <a:pt x="154" y="90"/>
                  </a:lnTo>
                  <a:lnTo>
                    <a:pt x="149" y="95"/>
                  </a:lnTo>
                  <a:lnTo>
                    <a:pt x="151" y="98"/>
                  </a:lnTo>
                  <a:lnTo>
                    <a:pt x="151" y="98"/>
                  </a:lnTo>
                  <a:lnTo>
                    <a:pt x="149" y="101"/>
                  </a:lnTo>
                  <a:lnTo>
                    <a:pt x="146" y="103"/>
                  </a:lnTo>
                  <a:lnTo>
                    <a:pt x="143" y="108"/>
                  </a:lnTo>
                  <a:lnTo>
                    <a:pt x="140" y="111"/>
                  </a:lnTo>
                  <a:lnTo>
                    <a:pt x="140" y="114"/>
                  </a:lnTo>
                  <a:lnTo>
                    <a:pt x="135" y="117"/>
                  </a:lnTo>
                  <a:lnTo>
                    <a:pt x="132" y="119"/>
                  </a:lnTo>
                  <a:lnTo>
                    <a:pt x="129" y="120"/>
                  </a:lnTo>
                  <a:lnTo>
                    <a:pt x="126" y="119"/>
                  </a:lnTo>
                  <a:lnTo>
                    <a:pt x="123" y="120"/>
                  </a:lnTo>
                  <a:lnTo>
                    <a:pt x="121" y="124"/>
                  </a:lnTo>
                  <a:lnTo>
                    <a:pt x="119" y="127"/>
                  </a:lnTo>
                  <a:lnTo>
                    <a:pt x="116" y="128"/>
                  </a:lnTo>
                  <a:lnTo>
                    <a:pt x="111" y="132"/>
                  </a:lnTo>
                  <a:lnTo>
                    <a:pt x="113" y="135"/>
                  </a:lnTo>
                  <a:lnTo>
                    <a:pt x="116" y="138"/>
                  </a:lnTo>
                  <a:lnTo>
                    <a:pt x="118" y="141"/>
                  </a:lnTo>
                  <a:lnTo>
                    <a:pt x="119" y="144"/>
                  </a:lnTo>
                  <a:lnTo>
                    <a:pt x="119" y="147"/>
                  </a:lnTo>
                  <a:lnTo>
                    <a:pt x="118" y="144"/>
                  </a:lnTo>
                  <a:lnTo>
                    <a:pt x="116" y="146"/>
                  </a:lnTo>
                  <a:lnTo>
                    <a:pt x="118" y="149"/>
                  </a:lnTo>
                  <a:lnTo>
                    <a:pt x="118" y="152"/>
                  </a:lnTo>
                  <a:lnTo>
                    <a:pt x="121" y="155"/>
                  </a:lnTo>
                  <a:lnTo>
                    <a:pt x="123" y="154"/>
                  </a:lnTo>
                  <a:lnTo>
                    <a:pt x="124" y="155"/>
                  </a:lnTo>
                  <a:lnTo>
                    <a:pt x="127" y="155"/>
                  </a:lnTo>
                  <a:lnTo>
                    <a:pt x="130" y="157"/>
                  </a:lnTo>
                  <a:lnTo>
                    <a:pt x="135" y="158"/>
                  </a:lnTo>
                  <a:lnTo>
                    <a:pt x="138" y="162"/>
                  </a:lnTo>
                  <a:lnTo>
                    <a:pt x="142" y="165"/>
                  </a:lnTo>
                  <a:lnTo>
                    <a:pt x="145" y="166"/>
                  </a:lnTo>
                  <a:lnTo>
                    <a:pt x="149" y="168"/>
                  </a:lnTo>
                  <a:lnTo>
                    <a:pt x="153" y="171"/>
                  </a:lnTo>
                  <a:lnTo>
                    <a:pt x="156" y="173"/>
                  </a:lnTo>
                  <a:lnTo>
                    <a:pt x="159" y="174"/>
                  </a:lnTo>
                  <a:lnTo>
                    <a:pt x="162" y="177"/>
                  </a:lnTo>
                  <a:lnTo>
                    <a:pt x="161" y="177"/>
                  </a:lnTo>
                  <a:lnTo>
                    <a:pt x="162" y="181"/>
                  </a:lnTo>
                  <a:lnTo>
                    <a:pt x="162" y="185"/>
                  </a:lnTo>
                  <a:lnTo>
                    <a:pt x="161" y="189"/>
                  </a:lnTo>
                  <a:lnTo>
                    <a:pt x="157" y="190"/>
                  </a:lnTo>
                  <a:lnTo>
                    <a:pt x="153" y="189"/>
                  </a:lnTo>
                  <a:lnTo>
                    <a:pt x="149" y="190"/>
                  </a:lnTo>
                  <a:lnTo>
                    <a:pt x="148" y="189"/>
                  </a:lnTo>
                  <a:lnTo>
                    <a:pt x="146" y="189"/>
                  </a:lnTo>
                  <a:lnTo>
                    <a:pt x="143" y="189"/>
                  </a:lnTo>
                  <a:lnTo>
                    <a:pt x="137" y="189"/>
                  </a:lnTo>
                  <a:lnTo>
                    <a:pt x="127" y="190"/>
                  </a:lnTo>
                  <a:lnTo>
                    <a:pt x="124" y="193"/>
                  </a:lnTo>
                  <a:lnTo>
                    <a:pt x="124" y="195"/>
                  </a:lnTo>
                  <a:lnTo>
                    <a:pt x="123" y="198"/>
                  </a:lnTo>
                  <a:lnTo>
                    <a:pt x="121" y="201"/>
                  </a:lnTo>
                  <a:lnTo>
                    <a:pt x="118" y="204"/>
                  </a:lnTo>
                  <a:lnTo>
                    <a:pt x="119" y="206"/>
                  </a:lnTo>
                  <a:lnTo>
                    <a:pt x="119" y="209"/>
                  </a:lnTo>
                  <a:lnTo>
                    <a:pt x="116" y="211"/>
                  </a:lnTo>
                  <a:lnTo>
                    <a:pt x="113" y="209"/>
                  </a:lnTo>
                  <a:lnTo>
                    <a:pt x="110" y="208"/>
                  </a:lnTo>
                  <a:lnTo>
                    <a:pt x="107" y="209"/>
                  </a:lnTo>
                  <a:lnTo>
                    <a:pt x="102" y="209"/>
                  </a:lnTo>
                  <a:lnTo>
                    <a:pt x="103" y="212"/>
                  </a:lnTo>
                  <a:lnTo>
                    <a:pt x="100" y="211"/>
                  </a:lnTo>
                  <a:lnTo>
                    <a:pt x="97" y="208"/>
                  </a:lnTo>
                  <a:lnTo>
                    <a:pt x="94" y="208"/>
                  </a:lnTo>
                  <a:lnTo>
                    <a:pt x="91" y="206"/>
                  </a:lnTo>
                  <a:lnTo>
                    <a:pt x="86" y="203"/>
                  </a:lnTo>
                  <a:lnTo>
                    <a:pt x="83" y="201"/>
                  </a:lnTo>
                  <a:lnTo>
                    <a:pt x="80" y="201"/>
                  </a:lnTo>
                  <a:lnTo>
                    <a:pt x="83" y="203"/>
                  </a:lnTo>
                  <a:lnTo>
                    <a:pt x="86" y="206"/>
                  </a:lnTo>
                  <a:lnTo>
                    <a:pt x="83" y="206"/>
                  </a:lnTo>
                  <a:lnTo>
                    <a:pt x="84" y="209"/>
                  </a:lnTo>
                  <a:lnTo>
                    <a:pt x="81" y="212"/>
                  </a:lnTo>
                  <a:lnTo>
                    <a:pt x="78" y="216"/>
                  </a:lnTo>
                  <a:lnTo>
                    <a:pt x="77" y="212"/>
                  </a:lnTo>
                  <a:lnTo>
                    <a:pt x="80" y="211"/>
                  </a:lnTo>
                  <a:lnTo>
                    <a:pt x="78" y="206"/>
                  </a:lnTo>
                  <a:lnTo>
                    <a:pt x="75" y="206"/>
                  </a:lnTo>
                  <a:lnTo>
                    <a:pt x="75" y="209"/>
                  </a:lnTo>
                  <a:lnTo>
                    <a:pt x="72" y="206"/>
                  </a:lnTo>
                  <a:lnTo>
                    <a:pt x="69" y="208"/>
                  </a:lnTo>
                  <a:lnTo>
                    <a:pt x="65" y="208"/>
                  </a:lnTo>
                  <a:lnTo>
                    <a:pt x="61" y="204"/>
                  </a:lnTo>
                  <a:lnTo>
                    <a:pt x="61" y="204"/>
                  </a:lnTo>
                  <a:lnTo>
                    <a:pt x="64" y="204"/>
                  </a:lnTo>
                  <a:lnTo>
                    <a:pt x="64" y="201"/>
                  </a:lnTo>
                  <a:lnTo>
                    <a:pt x="67" y="201"/>
                  </a:lnTo>
                  <a:lnTo>
                    <a:pt x="64" y="198"/>
                  </a:lnTo>
                  <a:lnTo>
                    <a:pt x="61" y="200"/>
                  </a:lnTo>
                  <a:lnTo>
                    <a:pt x="59" y="200"/>
                  </a:lnTo>
                  <a:lnTo>
                    <a:pt x="56" y="198"/>
                  </a:lnTo>
                  <a:lnTo>
                    <a:pt x="53" y="198"/>
                  </a:lnTo>
                  <a:lnTo>
                    <a:pt x="50" y="198"/>
                  </a:lnTo>
                  <a:lnTo>
                    <a:pt x="51" y="195"/>
                  </a:lnTo>
                  <a:lnTo>
                    <a:pt x="54" y="195"/>
                  </a:lnTo>
                  <a:lnTo>
                    <a:pt x="51" y="192"/>
                  </a:lnTo>
                  <a:lnTo>
                    <a:pt x="50" y="189"/>
                  </a:lnTo>
                  <a:lnTo>
                    <a:pt x="51" y="184"/>
                  </a:lnTo>
                  <a:lnTo>
                    <a:pt x="51" y="182"/>
                  </a:lnTo>
                  <a:lnTo>
                    <a:pt x="51" y="181"/>
                  </a:lnTo>
                  <a:lnTo>
                    <a:pt x="50" y="177"/>
                  </a:lnTo>
                  <a:lnTo>
                    <a:pt x="53" y="179"/>
                  </a:lnTo>
                  <a:lnTo>
                    <a:pt x="53" y="176"/>
                  </a:lnTo>
                  <a:lnTo>
                    <a:pt x="59" y="174"/>
                  </a:lnTo>
                  <a:lnTo>
                    <a:pt x="62" y="174"/>
                  </a:lnTo>
                  <a:lnTo>
                    <a:pt x="65" y="174"/>
                  </a:lnTo>
                  <a:lnTo>
                    <a:pt x="70" y="177"/>
                  </a:lnTo>
                  <a:lnTo>
                    <a:pt x="70" y="176"/>
                  </a:lnTo>
                  <a:lnTo>
                    <a:pt x="67" y="174"/>
                  </a:lnTo>
                  <a:lnTo>
                    <a:pt x="64" y="173"/>
                  </a:lnTo>
                  <a:lnTo>
                    <a:pt x="61" y="171"/>
                  </a:lnTo>
                  <a:lnTo>
                    <a:pt x="56" y="173"/>
                  </a:lnTo>
                  <a:lnTo>
                    <a:pt x="56" y="171"/>
                  </a:lnTo>
                  <a:lnTo>
                    <a:pt x="51" y="170"/>
                  </a:lnTo>
                  <a:lnTo>
                    <a:pt x="50" y="166"/>
                  </a:lnTo>
                  <a:lnTo>
                    <a:pt x="50" y="163"/>
                  </a:lnTo>
                  <a:lnTo>
                    <a:pt x="50" y="160"/>
                  </a:lnTo>
                  <a:lnTo>
                    <a:pt x="50" y="157"/>
                  </a:lnTo>
                  <a:lnTo>
                    <a:pt x="50" y="152"/>
                  </a:lnTo>
                  <a:lnTo>
                    <a:pt x="51" y="149"/>
                  </a:lnTo>
                  <a:lnTo>
                    <a:pt x="50" y="146"/>
                  </a:lnTo>
                  <a:lnTo>
                    <a:pt x="46" y="146"/>
                  </a:lnTo>
                  <a:lnTo>
                    <a:pt x="46" y="141"/>
                  </a:lnTo>
                  <a:lnTo>
                    <a:pt x="46" y="138"/>
                  </a:lnTo>
                  <a:lnTo>
                    <a:pt x="43" y="139"/>
                  </a:lnTo>
                  <a:lnTo>
                    <a:pt x="40" y="138"/>
                  </a:lnTo>
                  <a:lnTo>
                    <a:pt x="35" y="138"/>
                  </a:lnTo>
                  <a:lnTo>
                    <a:pt x="32" y="136"/>
                  </a:lnTo>
                  <a:lnTo>
                    <a:pt x="31" y="136"/>
                  </a:lnTo>
                  <a:lnTo>
                    <a:pt x="27" y="135"/>
                  </a:lnTo>
                  <a:lnTo>
                    <a:pt x="23" y="132"/>
                  </a:lnTo>
                  <a:lnTo>
                    <a:pt x="19" y="130"/>
                  </a:lnTo>
                  <a:lnTo>
                    <a:pt x="21" y="133"/>
                  </a:lnTo>
                  <a:lnTo>
                    <a:pt x="19" y="138"/>
                  </a:lnTo>
                  <a:lnTo>
                    <a:pt x="18" y="133"/>
                  </a:lnTo>
                  <a:lnTo>
                    <a:pt x="15" y="132"/>
                  </a:lnTo>
                  <a:lnTo>
                    <a:pt x="11" y="128"/>
                  </a:lnTo>
                  <a:lnTo>
                    <a:pt x="7" y="128"/>
                  </a:lnTo>
                  <a:lnTo>
                    <a:pt x="4" y="125"/>
                  </a:lnTo>
                  <a:lnTo>
                    <a:pt x="4" y="122"/>
                  </a:lnTo>
                  <a:lnTo>
                    <a:pt x="2" y="120"/>
                  </a:lnTo>
                  <a:lnTo>
                    <a:pt x="5" y="120"/>
                  </a:lnTo>
                  <a:lnTo>
                    <a:pt x="5" y="120"/>
                  </a:lnTo>
                  <a:lnTo>
                    <a:pt x="4" y="119"/>
                  </a:lnTo>
                  <a:lnTo>
                    <a:pt x="0" y="117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grpSp>
          <p:nvGrpSpPr>
            <p:cNvPr id="29" name="Group 908"/>
            <p:cNvGrpSpPr>
              <a:grpSpLocks/>
            </p:cNvGrpSpPr>
            <p:nvPr/>
          </p:nvGrpSpPr>
          <p:grpSpPr bwMode="auto">
            <a:xfrm>
              <a:off x="8517433" y="3495299"/>
              <a:ext cx="101455" cy="186168"/>
              <a:chOff x="4741" y="1701"/>
              <a:chExt cx="69" cy="110"/>
            </a:xfrm>
            <a:solidFill>
              <a:srgbClr val="A6A6A6"/>
            </a:solidFill>
          </p:grpSpPr>
          <p:sp>
            <p:nvSpPr>
              <p:cNvPr id="890" name="Freeform 22"/>
              <p:cNvSpPr>
                <a:spLocks/>
              </p:cNvSpPr>
              <p:nvPr/>
            </p:nvSpPr>
            <p:spPr bwMode="auto">
              <a:xfrm>
                <a:off x="4760" y="1776"/>
                <a:ext cx="3" cy="2"/>
              </a:xfrm>
              <a:custGeom>
                <a:avLst/>
                <a:gdLst>
                  <a:gd name="T0" fmla="*/ 1 w 5"/>
                  <a:gd name="T1" fmla="*/ 0 h 5"/>
                  <a:gd name="T2" fmla="*/ 0 w 5"/>
                  <a:gd name="T3" fmla="*/ 3 h 5"/>
                  <a:gd name="T4" fmla="*/ 5 w 5"/>
                  <a:gd name="T5" fmla="*/ 5 h 5"/>
                  <a:gd name="T6" fmla="*/ 1 w 5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5">
                    <a:moveTo>
                      <a:pt x="1" y="0"/>
                    </a:moveTo>
                    <a:lnTo>
                      <a:pt x="0" y="3"/>
                    </a:lnTo>
                    <a:lnTo>
                      <a:pt x="5" y="5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91" name="Freeform 23"/>
              <p:cNvSpPr>
                <a:spLocks/>
              </p:cNvSpPr>
              <p:nvPr/>
            </p:nvSpPr>
            <p:spPr bwMode="auto">
              <a:xfrm>
                <a:off x="4762" y="1783"/>
                <a:ext cx="4" cy="4"/>
              </a:xfrm>
              <a:custGeom>
                <a:avLst/>
                <a:gdLst>
                  <a:gd name="T0" fmla="*/ 8 w 8"/>
                  <a:gd name="T1" fmla="*/ 4 h 8"/>
                  <a:gd name="T2" fmla="*/ 5 w 8"/>
                  <a:gd name="T3" fmla="*/ 2 h 8"/>
                  <a:gd name="T4" fmla="*/ 2 w 8"/>
                  <a:gd name="T5" fmla="*/ 0 h 8"/>
                  <a:gd name="T6" fmla="*/ 0 w 8"/>
                  <a:gd name="T7" fmla="*/ 4 h 8"/>
                  <a:gd name="T8" fmla="*/ 0 w 8"/>
                  <a:gd name="T9" fmla="*/ 7 h 8"/>
                  <a:gd name="T10" fmla="*/ 3 w 8"/>
                  <a:gd name="T11" fmla="*/ 8 h 8"/>
                  <a:gd name="T12" fmla="*/ 8 w 8"/>
                  <a:gd name="T13" fmla="*/ 7 h 8"/>
                  <a:gd name="T14" fmla="*/ 8 w 8"/>
                  <a:gd name="T15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8">
                    <a:moveTo>
                      <a:pt x="8" y="4"/>
                    </a:moveTo>
                    <a:lnTo>
                      <a:pt x="5" y="2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3" y="8"/>
                    </a:lnTo>
                    <a:lnTo>
                      <a:pt x="8" y="7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92" name="Freeform 24"/>
              <p:cNvSpPr>
                <a:spLocks/>
              </p:cNvSpPr>
              <p:nvPr/>
            </p:nvSpPr>
            <p:spPr bwMode="auto">
              <a:xfrm>
                <a:off x="4771" y="1804"/>
                <a:ext cx="12" cy="7"/>
              </a:xfrm>
              <a:custGeom>
                <a:avLst/>
                <a:gdLst>
                  <a:gd name="T0" fmla="*/ 21 w 26"/>
                  <a:gd name="T1" fmla="*/ 0 h 14"/>
                  <a:gd name="T2" fmla="*/ 21 w 26"/>
                  <a:gd name="T3" fmla="*/ 0 h 14"/>
                  <a:gd name="T4" fmla="*/ 13 w 26"/>
                  <a:gd name="T5" fmla="*/ 1 h 14"/>
                  <a:gd name="T6" fmla="*/ 10 w 26"/>
                  <a:gd name="T7" fmla="*/ 1 h 14"/>
                  <a:gd name="T8" fmla="*/ 7 w 26"/>
                  <a:gd name="T9" fmla="*/ 3 h 14"/>
                  <a:gd name="T10" fmla="*/ 4 w 26"/>
                  <a:gd name="T11" fmla="*/ 6 h 14"/>
                  <a:gd name="T12" fmla="*/ 0 w 26"/>
                  <a:gd name="T13" fmla="*/ 9 h 14"/>
                  <a:gd name="T14" fmla="*/ 4 w 26"/>
                  <a:gd name="T15" fmla="*/ 12 h 14"/>
                  <a:gd name="T16" fmla="*/ 7 w 26"/>
                  <a:gd name="T17" fmla="*/ 14 h 14"/>
                  <a:gd name="T18" fmla="*/ 10 w 26"/>
                  <a:gd name="T19" fmla="*/ 12 h 14"/>
                  <a:gd name="T20" fmla="*/ 15 w 26"/>
                  <a:gd name="T21" fmla="*/ 14 h 14"/>
                  <a:gd name="T22" fmla="*/ 18 w 26"/>
                  <a:gd name="T23" fmla="*/ 12 h 14"/>
                  <a:gd name="T24" fmla="*/ 23 w 26"/>
                  <a:gd name="T25" fmla="*/ 11 h 14"/>
                  <a:gd name="T26" fmla="*/ 26 w 26"/>
                  <a:gd name="T27" fmla="*/ 8 h 14"/>
                  <a:gd name="T28" fmla="*/ 26 w 26"/>
                  <a:gd name="T29" fmla="*/ 4 h 14"/>
                  <a:gd name="T30" fmla="*/ 26 w 26"/>
                  <a:gd name="T31" fmla="*/ 3 h 14"/>
                  <a:gd name="T32" fmla="*/ 24 w 26"/>
                  <a:gd name="T33" fmla="*/ 1 h 14"/>
                  <a:gd name="T34" fmla="*/ 21 w 26"/>
                  <a:gd name="T3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6" h="14">
                    <a:moveTo>
                      <a:pt x="21" y="0"/>
                    </a:moveTo>
                    <a:lnTo>
                      <a:pt x="21" y="0"/>
                    </a:lnTo>
                    <a:lnTo>
                      <a:pt x="13" y="1"/>
                    </a:lnTo>
                    <a:lnTo>
                      <a:pt x="10" y="1"/>
                    </a:lnTo>
                    <a:lnTo>
                      <a:pt x="7" y="3"/>
                    </a:lnTo>
                    <a:lnTo>
                      <a:pt x="4" y="6"/>
                    </a:lnTo>
                    <a:lnTo>
                      <a:pt x="0" y="9"/>
                    </a:lnTo>
                    <a:lnTo>
                      <a:pt x="4" y="12"/>
                    </a:lnTo>
                    <a:lnTo>
                      <a:pt x="7" y="14"/>
                    </a:lnTo>
                    <a:lnTo>
                      <a:pt x="10" y="12"/>
                    </a:lnTo>
                    <a:lnTo>
                      <a:pt x="15" y="14"/>
                    </a:lnTo>
                    <a:lnTo>
                      <a:pt x="18" y="12"/>
                    </a:lnTo>
                    <a:lnTo>
                      <a:pt x="23" y="11"/>
                    </a:lnTo>
                    <a:lnTo>
                      <a:pt x="26" y="8"/>
                    </a:lnTo>
                    <a:lnTo>
                      <a:pt x="26" y="4"/>
                    </a:lnTo>
                    <a:lnTo>
                      <a:pt x="26" y="3"/>
                    </a:lnTo>
                    <a:lnTo>
                      <a:pt x="24" y="1"/>
                    </a:lnTo>
                    <a:lnTo>
                      <a:pt x="21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93" name="Freeform 25"/>
              <p:cNvSpPr>
                <a:spLocks/>
              </p:cNvSpPr>
              <p:nvPr/>
            </p:nvSpPr>
            <p:spPr bwMode="auto">
              <a:xfrm>
                <a:off x="4772" y="1786"/>
                <a:ext cx="2" cy="3"/>
              </a:xfrm>
              <a:custGeom>
                <a:avLst/>
                <a:gdLst>
                  <a:gd name="T0" fmla="*/ 0 w 5"/>
                  <a:gd name="T1" fmla="*/ 1 h 5"/>
                  <a:gd name="T2" fmla="*/ 2 w 5"/>
                  <a:gd name="T3" fmla="*/ 3 h 5"/>
                  <a:gd name="T4" fmla="*/ 5 w 5"/>
                  <a:gd name="T5" fmla="*/ 5 h 5"/>
                  <a:gd name="T6" fmla="*/ 2 w 5"/>
                  <a:gd name="T7" fmla="*/ 0 h 5"/>
                  <a:gd name="T8" fmla="*/ 0 w 5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0" y="1"/>
                    </a:moveTo>
                    <a:lnTo>
                      <a:pt x="2" y="3"/>
                    </a:lnTo>
                    <a:lnTo>
                      <a:pt x="5" y="5"/>
                    </a:lnTo>
                    <a:lnTo>
                      <a:pt x="2" y="0"/>
                    </a:lnTo>
                    <a:lnTo>
                      <a:pt x="0" y="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94" name="Freeform 26"/>
              <p:cNvSpPr>
                <a:spLocks/>
              </p:cNvSpPr>
              <p:nvPr/>
            </p:nvSpPr>
            <p:spPr bwMode="auto">
              <a:xfrm>
                <a:off x="4741" y="1701"/>
                <a:ext cx="69" cy="88"/>
              </a:xfrm>
              <a:custGeom>
                <a:avLst/>
                <a:gdLst>
                  <a:gd name="T0" fmla="*/ 7 w 138"/>
                  <a:gd name="T1" fmla="*/ 39 h 177"/>
                  <a:gd name="T2" fmla="*/ 5 w 138"/>
                  <a:gd name="T3" fmla="*/ 32 h 177"/>
                  <a:gd name="T4" fmla="*/ 5 w 138"/>
                  <a:gd name="T5" fmla="*/ 24 h 177"/>
                  <a:gd name="T6" fmla="*/ 11 w 138"/>
                  <a:gd name="T7" fmla="*/ 13 h 177"/>
                  <a:gd name="T8" fmla="*/ 22 w 138"/>
                  <a:gd name="T9" fmla="*/ 13 h 177"/>
                  <a:gd name="T10" fmla="*/ 33 w 138"/>
                  <a:gd name="T11" fmla="*/ 13 h 177"/>
                  <a:gd name="T12" fmla="*/ 46 w 138"/>
                  <a:gd name="T13" fmla="*/ 7 h 177"/>
                  <a:gd name="T14" fmla="*/ 76 w 138"/>
                  <a:gd name="T15" fmla="*/ 31 h 177"/>
                  <a:gd name="T16" fmla="*/ 97 w 138"/>
                  <a:gd name="T17" fmla="*/ 50 h 177"/>
                  <a:gd name="T18" fmla="*/ 106 w 138"/>
                  <a:gd name="T19" fmla="*/ 59 h 177"/>
                  <a:gd name="T20" fmla="*/ 116 w 138"/>
                  <a:gd name="T21" fmla="*/ 73 h 177"/>
                  <a:gd name="T22" fmla="*/ 121 w 138"/>
                  <a:gd name="T23" fmla="*/ 88 h 177"/>
                  <a:gd name="T24" fmla="*/ 125 w 138"/>
                  <a:gd name="T25" fmla="*/ 102 h 177"/>
                  <a:gd name="T26" fmla="*/ 135 w 138"/>
                  <a:gd name="T27" fmla="*/ 107 h 177"/>
                  <a:gd name="T28" fmla="*/ 137 w 138"/>
                  <a:gd name="T29" fmla="*/ 121 h 177"/>
                  <a:gd name="T30" fmla="*/ 135 w 138"/>
                  <a:gd name="T31" fmla="*/ 129 h 177"/>
                  <a:gd name="T32" fmla="*/ 133 w 138"/>
                  <a:gd name="T33" fmla="*/ 143 h 177"/>
                  <a:gd name="T34" fmla="*/ 125 w 138"/>
                  <a:gd name="T35" fmla="*/ 143 h 177"/>
                  <a:gd name="T36" fmla="*/ 114 w 138"/>
                  <a:gd name="T37" fmla="*/ 140 h 177"/>
                  <a:gd name="T38" fmla="*/ 113 w 138"/>
                  <a:gd name="T39" fmla="*/ 146 h 177"/>
                  <a:gd name="T40" fmla="*/ 113 w 138"/>
                  <a:gd name="T41" fmla="*/ 153 h 177"/>
                  <a:gd name="T42" fmla="*/ 99 w 138"/>
                  <a:gd name="T43" fmla="*/ 148 h 177"/>
                  <a:gd name="T44" fmla="*/ 91 w 138"/>
                  <a:gd name="T45" fmla="*/ 150 h 177"/>
                  <a:gd name="T46" fmla="*/ 92 w 138"/>
                  <a:gd name="T47" fmla="*/ 156 h 177"/>
                  <a:gd name="T48" fmla="*/ 87 w 138"/>
                  <a:gd name="T49" fmla="*/ 159 h 177"/>
                  <a:gd name="T50" fmla="*/ 79 w 138"/>
                  <a:gd name="T51" fmla="*/ 157 h 177"/>
                  <a:gd name="T52" fmla="*/ 83 w 138"/>
                  <a:gd name="T53" fmla="*/ 165 h 177"/>
                  <a:gd name="T54" fmla="*/ 76 w 138"/>
                  <a:gd name="T55" fmla="*/ 164 h 177"/>
                  <a:gd name="T56" fmla="*/ 75 w 138"/>
                  <a:gd name="T57" fmla="*/ 157 h 177"/>
                  <a:gd name="T58" fmla="*/ 68 w 138"/>
                  <a:gd name="T59" fmla="*/ 172 h 177"/>
                  <a:gd name="T60" fmla="*/ 60 w 138"/>
                  <a:gd name="T61" fmla="*/ 173 h 177"/>
                  <a:gd name="T62" fmla="*/ 56 w 138"/>
                  <a:gd name="T63" fmla="*/ 167 h 177"/>
                  <a:gd name="T64" fmla="*/ 46 w 138"/>
                  <a:gd name="T65" fmla="*/ 159 h 177"/>
                  <a:gd name="T66" fmla="*/ 53 w 138"/>
                  <a:gd name="T67" fmla="*/ 161 h 177"/>
                  <a:gd name="T68" fmla="*/ 53 w 138"/>
                  <a:gd name="T69" fmla="*/ 156 h 177"/>
                  <a:gd name="T70" fmla="*/ 45 w 138"/>
                  <a:gd name="T71" fmla="*/ 151 h 177"/>
                  <a:gd name="T72" fmla="*/ 38 w 138"/>
                  <a:gd name="T73" fmla="*/ 143 h 177"/>
                  <a:gd name="T74" fmla="*/ 38 w 138"/>
                  <a:gd name="T75" fmla="*/ 134 h 177"/>
                  <a:gd name="T76" fmla="*/ 43 w 138"/>
                  <a:gd name="T77" fmla="*/ 124 h 177"/>
                  <a:gd name="T78" fmla="*/ 40 w 138"/>
                  <a:gd name="T79" fmla="*/ 118 h 177"/>
                  <a:gd name="T80" fmla="*/ 35 w 138"/>
                  <a:gd name="T81" fmla="*/ 110 h 177"/>
                  <a:gd name="T82" fmla="*/ 33 w 138"/>
                  <a:gd name="T83" fmla="*/ 105 h 177"/>
                  <a:gd name="T84" fmla="*/ 24 w 138"/>
                  <a:gd name="T85" fmla="*/ 91 h 177"/>
                  <a:gd name="T86" fmla="*/ 22 w 138"/>
                  <a:gd name="T87" fmla="*/ 88 h 177"/>
                  <a:gd name="T88" fmla="*/ 13 w 138"/>
                  <a:gd name="T89" fmla="*/ 78 h 177"/>
                  <a:gd name="T90" fmla="*/ 10 w 138"/>
                  <a:gd name="T91" fmla="*/ 78 h 177"/>
                  <a:gd name="T92" fmla="*/ 7 w 138"/>
                  <a:gd name="T93" fmla="*/ 67 h 177"/>
                  <a:gd name="T94" fmla="*/ 13 w 138"/>
                  <a:gd name="T95" fmla="*/ 72 h 177"/>
                  <a:gd name="T96" fmla="*/ 19 w 138"/>
                  <a:gd name="T97" fmla="*/ 67 h 177"/>
                  <a:gd name="T98" fmla="*/ 27 w 138"/>
                  <a:gd name="T99" fmla="*/ 72 h 177"/>
                  <a:gd name="T100" fmla="*/ 24 w 138"/>
                  <a:gd name="T101" fmla="*/ 67 h 177"/>
                  <a:gd name="T102" fmla="*/ 18 w 138"/>
                  <a:gd name="T103" fmla="*/ 61 h 177"/>
                  <a:gd name="T104" fmla="*/ 16 w 138"/>
                  <a:gd name="T105" fmla="*/ 53 h 177"/>
                  <a:gd name="T106" fmla="*/ 8 w 138"/>
                  <a:gd name="T107" fmla="*/ 43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38" h="177">
                    <a:moveTo>
                      <a:pt x="0" y="37"/>
                    </a:moveTo>
                    <a:lnTo>
                      <a:pt x="2" y="35"/>
                    </a:lnTo>
                    <a:lnTo>
                      <a:pt x="5" y="35"/>
                    </a:lnTo>
                    <a:lnTo>
                      <a:pt x="7" y="39"/>
                    </a:lnTo>
                    <a:lnTo>
                      <a:pt x="10" y="40"/>
                    </a:lnTo>
                    <a:lnTo>
                      <a:pt x="8" y="39"/>
                    </a:lnTo>
                    <a:lnTo>
                      <a:pt x="5" y="35"/>
                    </a:lnTo>
                    <a:lnTo>
                      <a:pt x="5" y="32"/>
                    </a:lnTo>
                    <a:lnTo>
                      <a:pt x="3" y="32"/>
                    </a:lnTo>
                    <a:lnTo>
                      <a:pt x="3" y="29"/>
                    </a:lnTo>
                    <a:lnTo>
                      <a:pt x="2" y="27"/>
                    </a:lnTo>
                    <a:lnTo>
                      <a:pt x="5" y="24"/>
                    </a:lnTo>
                    <a:lnTo>
                      <a:pt x="7" y="21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11" y="13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3"/>
                    </a:lnTo>
                    <a:lnTo>
                      <a:pt x="22" y="13"/>
                    </a:lnTo>
                    <a:lnTo>
                      <a:pt x="27" y="12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3" y="13"/>
                    </a:lnTo>
                    <a:lnTo>
                      <a:pt x="37" y="12"/>
                    </a:lnTo>
                    <a:lnTo>
                      <a:pt x="43" y="12"/>
                    </a:lnTo>
                    <a:lnTo>
                      <a:pt x="46" y="10"/>
                    </a:lnTo>
                    <a:lnTo>
                      <a:pt x="46" y="7"/>
                    </a:lnTo>
                    <a:lnTo>
                      <a:pt x="45" y="0"/>
                    </a:lnTo>
                    <a:lnTo>
                      <a:pt x="46" y="0"/>
                    </a:lnTo>
                    <a:lnTo>
                      <a:pt x="60" y="15"/>
                    </a:lnTo>
                    <a:lnTo>
                      <a:pt x="76" y="31"/>
                    </a:lnTo>
                    <a:lnTo>
                      <a:pt x="84" y="37"/>
                    </a:lnTo>
                    <a:lnTo>
                      <a:pt x="92" y="45"/>
                    </a:lnTo>
                    <a:lnTo>
                      <a:pt x="95" y="48"/>
                    </a:lnTo>
                    <a:lnTo>
                      <a:pt x="97" y="50"/>
                    </a:lnTo>
                    <a:lnTo>
                      <a:pt x="102" y="53"/>
                    </a:lnTo>
                    <a:lnTo>
                      <a:pt x="105" y="56"/>
                    </a:lnTo>
                    <a:lnTo>
                      <a:pt x="106" y="59"/>
                    </a:lnTo>
                    <a:lnTo>
                      <a:pt x="106" y="59"/>
                    </a:lnTo>
                    <a:lnTo>
                      <a:pt x="110" y="64"/>
                    </a:lnTo>
                    <a:lnTo>
                      <a:pt x="111" y="67"/>
                    </a:lnTo>
                    <a:lnTo>
                      <a:pt x="113" y="70"/>
                    </a:lnTo>
                    <a:lnTo>
                      <a:pt x="116" y="73"/>
                    </a:lnTo>
                    <a:lnTo>
                      <a:pt x="118" y="77"/>
                    </a:lnTo>
                    <a:lnTo>
                      <a:pt x="118" y="81"/>
                    </a:lnTo>
                    <a:lnTo>
                      <a:pt x="119" y="85"/>
                    </a:lnTo>
                    <a:lnTo>
                      <a:pt x="121" y="88"/>
                    </a:lnTo>
                    <a:lnTo>
                      <a:pt x="122" y="91"/>
                    </a:lnTo>
                    <a:lnTo>
                      <a:pt x="122" y="94"/>
                    </a:lnTo>
                    <a:lnTo>
                      <a:pt x="124" y="97"/>
                    </a:lnTo>
                    <a:lnTo>
                      <a:pt x="125" y="102"/>
                    </a:lnTo>
                    <a:lnTo>
                      <a:pt x="127" y="105"/>
                    </a:lnTo>
                    <a:lnTo>
                      <a:pt x="130" y="107"/>
                    </a:lnTo>
                    <a:lnTo>
                      <a:pt x="132" y="104"/>
                    </a:lnTo>
                    <a:lnTo>
                      <a:pt x="135" y="107"/>
                    </a:lnTo>
                    <a:lnTo>
                      <a:pt x="135" y="110"/>
                    </a:lnTo>
                    <a:lnTo>
                      <a:pt x="135" y="115"/>
                    </a:lnTo>
                    <a:lnTo>
                      <a:pt x="137" y="118"/>
                    </a:lnTo>
                    <a:lnTo>
                      <a:pt x="137" y="121"/>
                    </a:lnTo>
                    <a:lnTo>
                      <a:pt x="138" y="124"/>
                    </a:lnTo>
                    <a:lnTo>
                      <a:pt x="138" y="129"/>
                    </a:lnTo>
                    <a:lnTo>
                      <a:pt x="135" y="126"/>
                    </a:lnTo>
                    <a:lnTo>
                      <a:pt x="135" y="129"/>
                    </a:lnTo>
                    <a:lnTo>
                      <a:pt x="138" y="132"/>
                    </a:lnTo>
                    <a:lnTo>
                      <a:pt x="137" y="137"/>
                    </a:lnTo>
                    <a:lnTo>
                      <a:pt x="137" y="140"/>
                    </a:lnTo>
                    <a:lnTo>
                      <a:pt x="133" y="143"/>
                    </a:lnTo>
                    <a:lnTo>
                      <a:pt x="130" y="146"/>
                    </a:lnTo>
                    <a:lnTo>
                      <a:pt x="129" y="142"/>
                    </a:lnTo>
                    <a:lnTo>
                      <a:pt x="129" y="142"/>
                    </a:lnTo>
                    <a:lnTo>
                      <a:pt x="125" y="143"/>
                    </a:lnTo>
                    <a:lnTo>
                      <a:pt x="124" y="143"/>
                    </a:lnTo>
                    <a:lnTo>
                      <a:pt x="121" y="143"/>
                    </a:lnTo>
                    <a:lnTo>
                      <a:pt x="118" y="142"/>
                    </a:lnTo>
                    <a:lnTo>
                      <a:pt x="114" y="140"/>
                    </a:lnTo>
                    <a:lnTo>
                      <a:pt x="114" y="143"/>
                    </a:lnTo>
                    <a:lnTo>
                      <a:pt x="111" y="143"/>
                    </a:lnTo>
                    <a:lnTo>
                      <a:pt x="110" y="148"/>
                    </a:lnTo>
                    <a:lnTo>
                      <a:pt x="113" y="146"/>
                    </a:lnTo>
                    <a:lnTo>
                      <a:pt x="113" y="150"/>
                    </a:lnTo>
                    <a:lnTo>
                      <a:pt x="114" y="153"/>
                    </a:lnTo>
                    <a:lnTo>
                      <a:pt x="114" y="154"/>
                    </a:lnTo>
                    <a:lnTo>
                      <a:pt x="113" y="153"/>
                    </a:lnTo>
                    <a:lnTo>
                      <a:pt x="110" y="150"/>
                    </a:lnTo>
                    <a:lnTo>
                      <a:pt x="106" y="150"/>
                    </a:lnTo>
                    <a:lnTo>
                      <a:pt x="103" y="151"/>
                    </a:lnTo>
                    <a:lnTo>
                      <a:pt x="99" y="148"/>
                    </a:lnTo>
                    <a:lnTo>
                      <a:pt x="99" y="145"/>
                    </a:lnTo>
                    <a:lnTo>
                      <a:pt x="97" y="148"/>
                    </a:lnTo>
                    <a:lnTo>
                      <a:pt x="94" y="150"/>
                    </a:lnTo>
                    <a:lnTo>
                      <a:pt x="91" y="150"/>
                    </a:lnTo>
                    <a:lnTo>
                      <a:pt x="89" y="150"/>
                    </a:lnTo>
                    <a:lnTo>
                      <a:pt x="86" y="153"/>
                    </a:lnTo>
                    <a:lnTo>
                      <a:pt x="89" y="156"/>
                    </a:lnTo>
                    <a:lnTo>
                      <a:pt x="92" y="156"/>
                    </a:lnTo>
                    <a:lnTo>
                      <a:pt x="92" y="159"/>
                    </a:lnTo>
                    <a:lnTo>
                      <a:pt x="89" y="159"/>
                    </a:lnTo>
                    <a:lnTo>
                      <a:pt x="91" y="162"/>
                    </a:lnTo>
                    <a:lnTo>
                      <a:pt x="87" y="159"/>
                    </a:lnTo>
                    <a:lnTo>
                      <a:pt x="86" y="156"/>
                    </a:lnTo>
                    <a:lnTo>
                      <a:pt x="83" y="153"/>
                    </a:lnTo>
                    <a:lnTo>
                      <a:pt x="83" y="154"/>
                    </a:lnTo>
                    <a:lnTo>
                      <a:pt x="79" y="157"/>
                    </a:lnTo>
                    <a:lnTo>
                      <a:pt x="83" y="161"/>
                    </a:lnTo>
                    <a:lnTo>
                      <a:pt x="86" y="162"/>
                    </a:lnTo>
                    <a:lnTo>
                      <a:pt x="87" y="165"/>
                    </a:lnTo>
                    <a:lnTo>
                      <a:pt x="83" y="165"/>
                    </a:lnTo>
                    <a:lnTo>
                      <a:pt x="86" y="167"/>
                    </a:lnTo>
                    <a:lnTo>
                      <a:pt x="83" y="170"/>
                    </a:lnTo>
                    <a:lnTo>
                      <a:pt x="79" y="167"/>
                    </a:lnTo>
                    <a:lnTo>
                      <a:pt x="76" y="164"/>
                    </a:lnTo>
                    <a:lnTo>
                      <a:pt x="78" y="165"/>
                    </a:lnTo>
                    <a:lnTo>
                      <a:pt x="79" y="162"/>
                    </a:lnTo>
                    <a:lnTo>
                      <a:pt x="79" y="157"/>
                    </a:lnTo>
                    <a:lnTo>
                      <a:pt x="75" y="157"/>
                    </a:lnTo>
                    <a:lnTo>
                      <a:pt x="73" y="161"/>
                    </a:lnTo>
                    <a:lnTo>
                      <a:pt x="70" y="164"/>
                    </a:lnTo>
                    <a:lnTo>
                      <a:pt x="70" y="169"/>
                    </a:lnTo>
                    <a:lnTo>
                      <a:pt x="68" y="172"/>
                    </a:lnTo>
                    <a:lnTo>
                      <a:pt x="65" y="170"/>
                    </a:lnTo>
                    <a:lnTo>
                      <a:pt x="62" y="167"/>
                    </a:lnTo>
                    <a:lnTo>
                      <a:pt x="62" y="170"/>
                    </a:lnTo>
                    <a:lnTo>
                      <a:pt x="60" y="173"/>
                    </a:lnTo>
                    <a:lnTo>
                      <a:pt x="59" y="177"/>
                    </a:lnTo>
                    <a:lnTo>
                      <a:pt x="56" y="175"/>
                    </a:lnTo>
                    <a:lnTo>
                      <a:pt x="54" y="170"/>
                    </a:lnTo>
                    <a:lnTo>
                      <a:pt x="56" y="167"/>
                    </a:lnTo>
                    <a:lnTo>
                      <a:pt x="51" y="167"/>
                    </a:lnTo>
                    <a:lnTo>
                      <a:pt x="48" y="165"/>
                    </a:lnTo>
                    <a:lnTo>
                      <a:pt x="45" y="162"/>
                    </a:lnTo>
                    <a:lnTo>
                      <a:pt x="46" y="159"/>
                    </a:lnTo>
                    <a:lnTo>
                      <a:pt x="48" y="162"/>
                    </a:lnTo>
                    <a:lnTo>
                      <a:pt x="51" y="164"/>
                    </a:lnTo>
                    <a:lnTo>
                      <a:pt x="49" y="161"/>
                    </a:lnTo>
                    <a:lnTo>
                      <a:pt x="53" y="161"/>
                    </a:lnTo>
                    <a:lnTo>
                      <a:pt x="49" y="159"/>
                    </a:lnTo>
                    <a:lnTo>
                      <a:pt x="46" y="157"/>
                    </a:lnTo>
                    <a:lnTo>
                      <a:pt x="49" y="157"/>
                    </a:lnTo>
                    <a:lnTo>
                      <a:pt x="53" y="156"/>
                    </a:lnTo>
                    <a:lnTo>
                      <a:pt x="49" y="153"/>
                    </a:lnTo>
                    <a:lnTo>
                      <a:pt x="48" y="156"/>
                    </a:lnTo>
                    <a:lnTo>
                      <a:pt x="45" y="156"/>
                    </a:lnTo>
                    <a:lnTo>
                      <a:pt x="45" y="151"/>
                    </a:lnTo>
                    <a:lnTo>
                      <a:pt x="41" y="148"/>
                    </a:lnTo>
                    <a:lnTo>
                      <a:pt x="38" y="145"/>
                    </a:lnTo>
                    <a:lnTo>
                      <a:pt x="35" y="142"/>
                    </a:lnTo>
                    <a:lnTo>
                      <a:pt x="38" y="143"/>
                    </a:lnTo>
                    <a:lnTo>
                      <a:pt x="43" y="143"/>
                    </a:lnTo>
                    <a:lnTo>
                      <a:pt x="38" y="140"/>
                    </a:lnTo>
                    <a:lnTo>
                      <a:pt x="37" y="137"/>
                    </a:lnTo>
                    <a:lnTo>
                      <a:pt x="38" y="134"/>
                    </a:lnTo>
                    <a:lnTo>
                      <a:pt x="37" y="131"/>
                    </a:lnTo>
                    <a:lnTo>
                      <a:pt x="37" y="129"/>
                    </a:lnTo>
                    <a:lnTo>
                      <a:pt x="38" y="126"/>
                    </a:lnTo>
                    <a:lnTo>
                      <a:pt x="43" y="124"/>
                    </a:lnTo>
                    <a:lnTo>
                      <a:pt x="38" y="124"/>
                    </a:lnTo>
                    <a:lnTo>
                      <a:pt x="35" y="123"/>
                    </a:lnTo>
                    <a:lnTo>
                      <a:pt x="37" y="119"/>
                    </a:lnTo>
                    <a:lnTo>
                      <a:pt x="40" y="118"/>
                    </a:lnTo>
                    <a:lnTo>
                      <a:pt x="41" y="115"/>
                    </a:lnTo>
                    <a:lnTo>
                      <a:pt x="43" y="110"/>
                    </a:lnTo>
                    <a:lnTo>
                      <a:pt x="38" y="111"/>
                    </a:lnTo>
                    <a:lnTo>
                      <a:pt x="35" y="110"/>
                    </a:lnTo>
                    <a:lnTo>
                      <a:pt x="37" y="107"/>
                    </a:lnTo>
                    <a:lnTo>
                      <a:pt x="41" y="104"/>
                    </a:lnTo>
                    <a:lnTo>
                      <a:pt x="38" y="107"/>
                    </a:lnTo>
                    <a:lnTo>
                      <a:pt x="33" y="105"/>
                    </a:lnTo>
                    <a:lnTo>
                      <a:pt x="30" y="102"/>
                    </a:lnTo>
                    <a:lnTo>
                      <a:pt x="27" y="102"/>
                    </a:lnTo>
                    <a:lnTo>
                      <a:pt x="27" y="94"/>
                    </a:lnTo>
                    <a:lnTo>
                      <a:pt x="24" y="91"/>
                    </a:lnTo>
                    <a:lnTo>
                      <a:pt x="24" y="88"/>
                    </a:lnTo>
                    <a:lnTo>
                      <a:pt x="26" y="88"/>
                    </a:lnTo>
                    <a:lnTo>
                      <a:pt x="26" y="88"/>
                    </a:lnTo>
                    <a:lnTo>
                      <a:pt x="22" y="88"/>
                    </a:lnTo>
                    <a:lnTo>
                      <a:pt x="19" y="85"/>
                    </a:lnTo>
                    <a:lnTo>
                      <a:pt x="19" y="81"/>
                    </a:lnTo>
                    <a:lnTo>
                      <a:pt x="18" y="78"/>
                    </a:lnTo>
                    <a:lnTo>
                      <a:pt x="13" y="78"/>
                    </a:lnTo>
                    <a:lnTo>
                      <a:pt x="13" y="81"/>
                    </a:lnTo>
                    <a:lnTo>
                      <a:pt x="10" y="78"/>
                    </a:lnTo>
                    <a:lnTo>
                      <a:pt x="10" y="78"/>
                    </a:lnTo>
                    <a:lnTo>
                      <a:pt x="10" y="78"/>
                    </a:lnTo>
                    <a:lnTo>
                      <a:pt x="5" y="77"/>
                    </a:lnTo>
                    <a:lnTo>
                      <a:pt x="3" y="72"/>
                    </a:lnTo>
                    <a:lnTo>
                      <a:pt x="8" y="72"/>
                    </a:lnTo>
                    <a:lnTo>
                      <a:pt x="7" y="67"/>
                    </a:lnTo>
                    <a:lnTo>
                      <a:pt x="8" y="72"/>
                    </a:lnTo>
                    <a:lnTo>
                      <a:pt x="8" y="67"/>
                    </a:lnTo>
                    <a:lnTo>
                      <a:pt x="11" y="69"/>
                    </a:lnTo>
                    <a:lnTo>
                      <a:pt x="13" y="72"/>
                    </a:lnTo>
                    <a:lnTo>
                      <a:pt x="14" y="69"/>
                    </a:lnTo>
                    <a:lnTo>
                      <a:pt x="13" y="64"/>
                    </a:lnTo>
                    <a:lnTo>
                      <a:pt x="16" y="67"/>
                    </a:lnTo>
                    <a:lnTo>
                      <a:pt x="19" y="67"/>
                    </a:lnTo>
                    <a:lnTo>
                      <a:pt x="24" y="69"/>
                    </a:lnTo>
                    <a:lnTo>
                      <a:pt x="26" y="72"/>
                    </a:lnTo>
                    <a:lnTo>
                      <a:pt x="27" y="75"/>
                    </a:lnTo>
                    <a:lnTo>
                      <a:pt x="27" y="72"/>
                    </a:lnTo>
                    <a:lnTo>
                      <a:pt x="30" y="69"/>
                    </a:lnTo>
                    <a:lnTo>
                      <a:pt x="30" y="69"/>
                    </a:lnTo>
                    <a:lnTo>
                      <a:pt x="27" y="69"/>
                    </a:lnTo>
                    <a:lnTo>
                      <a:pt x="24" y="67"/>
                    </a:lnTo>
                    <a:lnTo>
                      <a:pt x="24" y="62"/>
                    </a:lnTo>
                    <a:lnTo>
                      <a:pt x="21" y="64"/>
                    </a:lnTo>
                    <a:lnTo>
                      <a:pt x="21" y="61"/>
                    </a:lnTo>
                    <a:lnTo>
                      <a:pt x="18" y="61"/>
                    </a:lnTo>
                    <a:lnTo>
                      <a:pt x="14" y="59"/>
                    </a:lnTo>
                    <a:lnTo>
                      <a:pt x="16" y="56"/>
                    </a:lnTo>
                    <a:lnTo>
                      <a:pt x="21" y="54"/>
                    </a:lnTo>
                    <a:lnTo>
                      <a:pt x="16" y="53"/>
                    </a:lnTo>
                    <a:lnTo>
                      <a:pt x="14" y="50"/>
                    </a:lnTo>
                    <a:lnTo>
                      <a:pt x="11" y="50"/>
                    </a:lnTo>
                    <a:lnTo>
                      <a:pt x="8" y="46"/>
                    </a:lnTo>
                    <a:lnTo>
                      <a:pt x="8" y="43"/>
                    </a:lnTo>
                    <a:lnTo>
                      <a:pt x="7" y="42"/>
                    </a:lnTo>
                    <a:lnTo>
                      <a:pt x="3" y="40"/>
                    </a:lnTo>
                    <a:lnTo>
                      <a:pt x="0" y="3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grpSp>
          <p:nvGrpSpPr>
            <p:cNvPr id="30" name="Group 27"/>
            <p:cNvGrpSpPr>
              <a:grpSpLocks/>
            </p:cNvGrpSpPr>
            <p:nvPr/>
          </p:nvGrpSpPr>
          <p:grpSpPr bwMode="auto">
            <a:xfrm>
              <a:off x="8626110" y="3258279"/>
              <a:ext cx="273483" cy="670182"/>
              <a:chOff x="4815" y="1561"/>
              <a:chExt cx="186" cy="396"/>
            </a:xfrm>
            <a:solidFill>
              <a:srgbClr val="A6A6A6"/>
            </a:solidFill>
          </p:grpSpPr>
          <p:sp>
            <p:nvSpPr>
              <p:cNvPr id="874" name="Freeform 28"/>
              <p:cNvSpPr>
                <a:spLocks/>
              </p:cNvSpPr>
              <p:nvPr/>
            </p:nvSpPr>
            <p:spPr bwMode="auto">
              <a:xfrm>
                <a:off x="4906" y="1561"/>
                <a:ext cx="93" cy="83"/>
              </a:xfrm>
              <a:custGeom>
                <a:avLst/>
                <a:gdLst>
                  <a:gd name="T0" fmla="*/ 2 w 187"/>
                  <a:gd name="T1" fmla="*/ 10 h 165"/>
                  <a:gd name="T2" fmla="*/ 11 w 187"/>
                  <a:gd name="T3" fmla="*/ 19 h 165"/>
                  <a:gd name="T4" fmla="*/ 29 w 187"/>
                  <a:gd name="T5" fmla="*/ 46 h 165"/>
                  <a:gd name="T6" fmla="*/ 37 w 187"/>
                  <a:gd name="T7" fmla="*/ 59 h 165"/>
                  <a:gd name="T8" fmla="*/ 37 w 187"/>
                  <a:gd name="T9" fmla="*/ 67 h 165"/>
                  <a:gd name="T10" fmla="*/ 38 w 187"/>
                  <a:gd name="T11" fmla="*/ 78 h 165"/>
                  <a:gd name="T12" fmla="*/ 46 w 187"/>
                  <a:gd name="T13" fmla="*/ 88 h 165"/>
                  <a:gd name="T14" fmla="*/ 44 w 187"/>
                  <a:gd name="T15" fmla="*/ 96 h 165"/>
                  <a:gd name="T16" fmla="*/ 33 w 187"/>
                  <a:gd name="T17" fmla="*/ 92 h 165"/>
                  <a:gd name="T18" fmla="*/ 22 w 187"/>
                  <a:gd name="T19" fmla="*/ 91 h 165"/>
                  <a:gd name="T20" fmla="*/ 11 w 187"/>
                  <a:gd name="T21" fmla="*/ 89 h 165"/>
                  <a:gd name="T22" fmla="*/ 21 w 187"/>
                  <a:gd name="T23" fmla="*/ 97 h 165"/>
                  <a:gd name="T24" fmla="*/ 22 w 187"/>
                  <a:gd name="T25" fmla="*/ 107 h 165"/>
                  <a:gd name="T26" fmla="*/ 16 w 187"/>
                  <a:gd name="T27" fmla="*/ 115 h 165"/>
                  <a:gd name="T28" fmla="*/ 14 w 187"/>
                  <a:gd name="T29" fmla="*/ 121 h 165"/>
                  <a:gd name="T30" fmla="*/ 19 w 187"/>
                  <a:gd name="T31" fmla="*/ 132 h 165"/>
                  <a:gd name="T32" fmla="*/ 38 w 187"/>
                  <a:gd name="T33" fmla="*/ 146 h 165"/>
                  <a:gd name="T34" fmla="*/ 40 w 187"/>
                  <a:gd name="T35" fmla="*/ 157 h 165"/>
                  <a:gd name="T36" fmla="*/ 49 w 187"/>
                  <a:gd name="T37" fmla="*/ 165 h 165"/>
                  <a:gd name="T38" fmla="*/ 54 w 187"/>
                  <a:gd name="T39" fmla="*/ 157 h 165"/>
                  <a:gd name="T40" fmla="*/ 62 w 187"/>
                  <a:gd name="T41" fmla="*/ 151 h 165"/>
                  <a:gd name="T42" fmla="*/ 73 w 187"/>
                  <a:gd name="T43" fmla="*/ 151 h 165"/>
                  <a:gd name="T44" fmla="*/ 67 w 187"/>
                  <a:gd name="T45" fmla="*/ 146 h 165"/>
                  <a:gd name="T46" fmla="*/ 56 w 187"/>
                  <a:gd name="T47" fmla="*/ 138 h 165"/>
                  <a:gd name="T48" fmla="*/ 43 w 187"/>
                  <a:gd name="T49" fmla="*/ 135 h 165"/>
                  <a:gd name="T50" fmla="*/ 32 w 187"/>
                  <a:gd name="T51" fmla="*/ 127 h 165"/>
                  <a:gd name="T52" fmla="*/ 37 w 187"/>
                  <a:gd name="T53" fmla="*/ 118 h 165"/>
                  <a:gd name="T54" fmla="*/ 46 w 187"/>
                  <a:gd name="T55" fmla="*/ 121 h 165"/>
                  <a:gd name="T56" fmla="*/ 59 w 187"/>
                  <a:gd name="T57" fmla="*/ 126 h 165"/>
                  <a:gd name="T58" fmla="*/ 68 w 187"/>
                  <a:gd name="T59" fmla="*/ 118 h 165"/>
                  <a:gd name="T60" fmla="*/ 87 w 187"/>
                  <a:gd name="T61" fmla="*/ 123 h 165"/>
                  <a:gd name="T62" fmla="*/ 117 w 187"/>
                  <a:gd name="T63" fmla="*/ 135 h 165"/>
                  <a:gd name="T64" fmla="*/ 129 w 187"/>
                  <a:gd name="T65" fmla="*/ 138 h 165"/>
                  <a:gd name="T66" fmla="*/ 140 w 187"/>
                  <a:gd name="T67" fmla="*/ 142 h 165"/>
                  <a:gd name="T68" fmla="*/ 135 w 187"/>
                  <a:gd name="T69" fmla="*/ 130 h 165"/>
                  <a:gd name="T70" fmla="*/ 135 w 187"/>
                  <a:gd name="T71" fmla="*/ 121 h 165"/>
                  <a:gd name="T72" fmla="*/ 136 w 187"/>
                  <a:gd name="T73" fmla="*/ 113 h 165"/>
                  <a:gd name="T74" fmla="*/ 144 w 187"/>
                  <a:gd name="T75" fmla="*/ 102 h 165"/>
                  <a:gd name="T76" fmla="*/ 154 w 187"/>
                  <a:gd name="T77" fmla="*/ 103 h 165"/>
                  <a:gd name="T78" fmla="*/ 163 w 187"/>
                  <a:gd name="T79" fmla="*/ 100 h 165"/>
                  <a:gd name="T80" fmla="*/ 175 w 187"/>
                  <a:gd name="T81" fmla="*/ 100 h 165"/>
                  <a:gd name="T82" fmla="*/ 179 w 187"/>
                  <a:gd name="T83" fmla="*/ 94 h 165"/>
                  <a:gd name="T84" fmla="*/ 187 w 187"/>
                  <a:gd name="T85" fmla="*/ 88 h 165"/>
                  <a:gd name="T86" fmla="*/ 181 w 187"/>
                  <a:gd name="T87" fmla="*/ 91 h 165"/>
                  <a:gd name="T88" fmla="*/ 173 w 187"/>
                  <a:gd name="T89" fmla="*/ 88 h 165"/>
                  <a:gd name="T90" fmla="*/ 165 w 187"/>
                  <a:gd name="T91" fmla="*/ 78 h 165"/>
                  <a:gd name="T92" fmla="*/ 162 w 187"/>
                  <a:gd name="T93" fmla="*/ 77 h 165"/>
                  <a:gd name="T94" fmla="*/ 154 w 187"/>
                  <a:gd name="T95" fmla="*/ 67 h 165"/>
                  <a:gd name="T96" fmla="*/ 151 w 187"/>
                  <a:gd name="T97" fmla="*/ 50 h 165"/>
                  <a:gd name="T98" fmla="*/ 141 w 187"/>
                  <a:gd name="T99" fmla="*/ 64 h 165"/>
                  <a:gd name="T100" fmla="*/ 124 w 187"/>
                  <a:gd name="T101" fmla="*/ 61 h 165"/>
                  <a:gd name="T102" fmla="*/ 114 w 187"/>
                  <a:gd name="T103" fmla="*/ 56 h 165"/>
                  <a:gd name="T104" fmla="*/ 103 w 187"/>
                  <a:gd name="T105" fmla="*/ 57 h 165"/>
                  <a:gd name="T106" fmla="*/ 94 w 187"/>
                  <a:gd name="T107" fmla="*/ 51 h 165"/>
                  <a:gd name="T108" fmla="*/ 84 w 187"/>
                  <a:gd name="T109" fmla="*/ 46 h 165"/>
                  <a:gd name="T110" fmla="*/ 56 w 187"/>
                  <a:gd name="T111" fmla="*/ 32 h 165"/>
                  <a:gd name="T112" fmla="*/ 27 w 187"/>
                  <a:gd name="T113" fmla="*/ 11 h 165"/>
                  <a:gd name="T114" fmla="*/ 16 w 187"/>
                  <a:gd name="T115" fmla="*/ 5 h 165"/>
                  <a:gd name="T116" fmla="*/ 6 w 187"/>
                  <a:gd name="T117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87" h="165">
                    <a:moveTo>
                      <a:pt x="0" y="2"/>
                    </a:moveTo>
                    <a:lnTo>
                      <a:pt x="2" y="7"/>
                    </a:lnTo>
                    <a:lnTo>
                      <a:pt x="2" y="10"/>
                    </a:lnTo>
                    <a:lnTo>
                      <a:pt x="3" y="13"/>
                    </a:lnTo>
                    <a:lnTo>
                      <a:pt x="6" y="16"/>
                    </a:lnTo>
                    <a:lnTo>
                      <a:pt x="11" y="19"/>
                    </a:lnTo>
                    <a:lnTo>
                      <a:pt x="19" y="26"/>
                    </a:lnTo>
                    <a:lnTo>
                      <a:pt x="25" y="35"/>
                    </a:lnTo>
                    <a:lnTo>
                      <a:pt x="29" y="46"/>
                    </a:lnTo>
                    <a:lnTo>
                      <a:pt x="32" y="53"/>
                    </a:lnTo>
                    <a:lnTo>
                      <a:pt x="33" y="56"/>
                    </a:lnTo>
                    <a:lnTo>
                      <a:pt x="37" y="59"/>
                    </a:lnTo>
                    <a:lnTo>
                      <a:pt x="38" y="62"/>
                    </a:lnTo>
                    <a:lnTo>
                      <a:pt x="38" y="64"/>
                    </a:lnTo>
                    <a:lnTo>
                      <a:pt x="37" y="67"/>
                    </a:lnTo>
                    <a:lnTo>
                      <a:pt x="33" y="72"/>
                    </a:lnTo>
                    <a:lnTo>
                      <a:pt x="37" y="75"/>
                    </a:lnTo>
                    <a:lnTo>
                      <a:pt x="38" y="78"/>
                    </a:lnTo>
                    <a:lnTo>
                      <a:pt x="41" y="81"/>
                    </a:lnTo>
                    <a:lnTo>
                      <a:pt x="44" y="84"/>
                    </a:lnTo>
                    <a:lnTo>
                      <a:pt x="46" y="88"/>
                    </a:lnTo>
                    <a:lnTo>
                      <a:pt x="46" y="91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0" y="96"/>
                    </a:lnTo>
                    <a:lnTo>
                      <a:pt x="37" y="94"/>
                    </a:lnTo>
                    <a:lnTo>
                      <a:pt x="33" y="92"/>
                    </a:lnTo>
                    <a:lnTo>
                      <a:pt x="30" y="94"/>
                    </a:lnTo>
                    <a:lnTo>
                      <a:pt x="25" y="92"/>
                    </a:lnTo>
                    <a:lnTo>
                      <a:pt x="22" y="91"/>
                    </a:lnTo>
                    <a:lnTo>
                      <a:pt x="19" y="89"/>
                    </a:lnTo>
                    <a:lnTo>
                      <a:pt x="16" y="86"/>
                    </a:lnTo>
                    <a:lnTo>
                      <a:pt x="11" y="89"/>
                    </a:lnTo>
                    <a:lnTo>
                      <a:pt x="13" y="92"/>
                    </a:lnTo>
                    <a:lnTo>
                      <a:pt x="18" y="96"/>
                    </a:lnTo>
                    <a:lnTo>
                      <a:pt x="21" y="97"/>
                    </a:lnTo>
                    <a:lnTo>
                      <a:pt x="24" y="100"/>
                    </a:lnTo>
                    <a:lnTo>
                      <a:pt x="24" y="103"/>
                    </a:lnTo>
                    <a:lnTo>
                      <a:pt x="22" y="107"/>
                    </a:lnTo>
                    <a:lnTo>
                      <a:pt x="22" y="111"/>
                    </a:lnTo>
                    <a:lnTo>
                      <a:pt x="18" y="110"/>
                    </a:lnTo>
                    <a:lnTo>
                      <a:pt x="16" y="115"/>
                    </a:lnTo>
                    <a:lnTo>
                      <a:pt x="13" y="115"/>
                    </a:lnTo>
                    <a:lnTo>
                      <a:pt x="11" y="118"/>
                    </a:lnTo>
                    <a:lnTo>
                      <a:pt x="14" y="121"/>
                    </a:lnTo>
                    <a:lnTo>
                      <a:pt x="16" y="124"/>
                    </a:lnTo>
                    <a:lnTo>
                      <a:pt x="16" y="129"/>
                    </a:lnTo>
                    <a:lnTo>
                      <a:pt x="19" y="132"/>
                    </a:lnTo>
                    <a:lnTo>
                      <a:pt x="29" y="137"/>
                    </a:lnTo>
                    <a:lnTo>
                      <a:pt x="37" y="143"/>
                    </a:lnTo>
                    <a:lnTo>
                      <a:pt x="38" y="146"/>
                    </a:lnTo>
                    <a:lnTo>
                      <a:pt x="38" y="149"/>
                    </a:lnTo>
                    <a:lnTo>
                      <a:pt x="40" y="154"/>
                    </a:lnTo>
                    <a:lnTo>
                      <a:pt x="40" y="157"/>
                    </a:lnTo>
                    <a:lnTo>
                      <a:pt x="40" y="157"/>
                    </a:lnTo>
                    <a:lnTo>
                      <a:pt x="44" y="164"/>
                    </a:lnTo>
                    <a:lnTo>
                      <a:pt x="49" y="165"/>
                    </a:lnTo>
                    <a:lnTo>
                      <a:pt x="52" y="164"/>
                    </a:lnTo>
                    <a:lnTo>
                      <a:pt x="57" y="161"/>
                    </a:lnTo>
                    <a:lnTo>
                      <a:pt x="54" y="157"/>
                    </a:lnTo>
                    <a:lnTo>
                      <a:pt x="57" y="154"/>
                    </a:lnTo>
                    <a:lnTo>
                      <a:pt x="60" y="151"/>
                    </a:lnTo>
                    <a:lnTo>
                      <a:pt x="62" y="151"/>
                    </a:lnTo>
                    <a:lnTo>
                      <a:pt x="67" y="151"/>
                    </a:lnTo>
                    <a:lnTo>
                      <a:pt x="70" y="153"/>
                    </a:lnTo>
                    <a:lnTo>
                      <a:pt x="73" y="151"/>
                    </a:lnTo>
                    <a:lnTo>
                      <a:pt x="73" y="148"/>
                    </a:lnTo>
                    <a:lnTo>
                      <a:pt x="70" y="146"/>
                    </a:lnTo>
                    <a:lnTo>
                      <a:pt x="67" y="146"/>
                    </a:lnTo>
                    <a:lnTo>
                      <a:pt x="63" y="143"/>
                    </a:lnTo>
                    <a:lnTo>
                      <a:pt x="59" y="142"/>
                    </a:lnTo>
                    <a:lnTo>
                      <a:pt x="56" y="138"/>
                    </a:lnTo>
                    <a:lnTo>
                      <a:pt x="52" y="137"/>
                    </a:lnTo>
                    <a:lnTo>
                      <a:pt x="49" y="137"/>
                    </a:lnTo>
                    <a:lnTo>
                      <a:pt x="43" y="135"/>
                    </a:lnTo>
                    <a:lnTo>
                      <a:pt x="37" y="132"/>
                    </a:lnTo>
                    <a:lnTo>
                      <a:pt x="35" y="130"/>
                    </a:lnTo>
                    <a:lnTo>
                      <a:pt x="32" y="127"/>
                    </a:lnTo>
                    <a:lnTo>
                      <a:pt x="32" y="124"/>
                    </a:lnTo>
                    <a:lnTo>
                      <a:pt x="32" y="121"/>
                    </a:lnTo>
                    <a:lnTo>
                      <a:pt x="37" y="118"/>
                    </a:lnTo>
                    <a:lnTo>
                      <a:pt x="40" y="118"/>
                    </a:lnTo>
                    <a:lnTo>
                      <a:pt x="43" y="119"/>
                    </a:lnTo>
                    <a:lnTo>
                      <a:pt x="46" y="121"/>
                    </a:lnTo>
                    <a:lnTo>
                      <a:pt x="51" y="126"/>
                    </a:lnTo>
                    <a:lnTo>
                      <a:pt x="57" y="129"/>
                    </a:lnTo>
                    <a:lnTo>
                      <a:pt x="59" y="126"/>
                    </a:lnTo>
                    <a:lnTo>
                      <a:pt x="62" y="123"/>
                    </a:lnTo>
                    <a:lnTo>
                      <a:pt x="65" y="118"/>
                    </a:lnTo>
                    <a:lnTo>
                      <a:pt x="68" y="118"/>
                    </a:lnTo>
                    <a:lnTo>
                      <a:pt x="73" y="116"/>
                    </a:lnTo>
                    <a:lnTo>
                      <a:pt x="76" y="118"/>
                    </a:lnTo>
                    <a:lnTo>
                      <a:pt x="87" y="123"/>
                    </a:lnTo>
                    <a:lnTo>
                      <a:pt x="97" y="127"/>
                    </a:lnTo>
                    <a:lnTo>
                      <a:pt x="108" y="132"/>
                    </a:lnTo>
                    <a:lnTo>
                      <a:pt x="117" y="135"/>
                    </a:lnTo>
                    <a:lnTo>
                      <a:pt x="122" y="137"/>
                    </a:lnTo>
                    <a:lnTo>
                      <a:pt x="125" y="137"/>
                    </a:lnTo>
                    <a:lnTo>
                      <a:pt x="129" y="138"/>
                    </a:lnTo>
                    <a:lnTo>
                      <a:pt x="132" y="140"/>
                    </a:lnTo>
                    <a:lnTo>
                      <a:pt x="136" y="142"/>
                    </a:lnTo>
                    <a:lnTo>
                      <a:pt x="140" y="142"/>
                    </a:lnTo>
                    <a:lnTo>
                      <a:pt x="140" y="138"/>
                    </a:lnTo>
                    <a:lnTo>
                      <a:pt x="138" y="135"/>
                    </a:lnTo>
                    <a:lnTo>
                      <a:pt x="135" y="130"/>
                    </a:lnTo>
                    <a:lnTo>
                      <a:pt x="135" y="127"/>
                    </a:lnTo>
                    <a:lnTo>
                      <a:pt x="133" y="124"/>
                    </a:lnTo>
                    <a:lnTo>
                      <a:pt x="135" y="121"/>
                    </a:lnTo>
                    <a:lnTo>
                      <a:pt x="135" y="116"/>
                    </a:lnTo>
                    <a:lnTo>
                      <a:pt x="136" y="113"/>
                    </a:lnTo>
                    <a:lnTo>
                      <a:pt x="136" y="113"/>
                    </a:lnTo>
                    <a:lnTo>
                      <a:pt x="140" y="108"/>
                    </a:lnTo>
                    <a:lnTo>
                      <a:pt x="141" y="105"/>
                    </a:lnTo>
                    <a:lnTo>
                      <a:pt x="144" y="102"/>
                    </a:lnTo>
                    <a:lnTo>
                      <a:pt x="151" y="102"/>
                    </a:lnTo>
                    <a:lnTo>
                      <a:pt x="151" y="102"/>
                    </a:lnTo>
                    <a:lnTo>
                      <a:pt x="154" y="103"/>
                    </a:lnTo>
                    <a:lnTo>
                      <a:pt x="162" y="103"/>
                    </a:lnTo>
                    <a:lnTo>
                      <a:pt x="165" y="105"/>
                    </a:lnTo>
                    <a:lnTo>
                      <a:pt x="163" y="100"/>
                    </a:lnTo>
                    <a:lnTo>
                      <a:pt x="167" y="102"/>
                    </a:lnTo>
                    <a:lnTo>
                      <a:pt x="170" y="102"/>
                    </a:lnTo>
                    <a:lnTo>
                      <a:pt x="175" y="100"/>
                    </a:lnTo>
                    <a:lnTo>
                      <a:pt x="173" y="96"/>
                    </a:lnTo>
                    <a:lnTo>
                      <a:pt x="176" y="96"/>
                    </a:lnTo>
                    <a:lnTo>
                      <a:pt x="179" y="94"/>
                    </a:lnTo>
                    <a:lnTo>
                      <a:pt x="182" y="94"/>
                    </a:lnTo>
                    <a:lnTo>
                      <a:pt x="184" y="91"/>
                    </a:lnTo>
                    <a:lnTo>
                      <a:pt x="187" y="88"/>
                    </a:lnTo>
                    <a:lnTo>
                      <a:pt x="184" y="86"/>
                    </a:lnTo>
                    <a:lnTo>
                      <a:pt x="182" y="88"/>
                    </a:lnTo>
                    <a:lnTo>
                      <a:pt x="181" y="91"/>
                    </a:lnTo>
                    <a:lnTo>
                      <a:pt x="181" y="91"/>
                    </a:lnTo>
                    <a:lnTo>
                      <a:pt x="178" y="91"/>
                    </a:lnTo>
                    <a:lnTo>
                      <a:pt x="173" y="88"/>
                    </a:lnTo>
                    <a:lnTo>
                      <a:pt x="170" y="84"/>
                    </a:lnTo>
                    <a:lnTo>
                      <a:pt x="167" y="81"/>
                    </a:lnTo>
                    <a:lnTo>
                      <a:pt x="165" y="78"/>
                    </a:lnTo>
                    <a:lnTo>
                      <a:pt x="168" y="78"/>
                    </a:lnTo>
                    <a:lnTo>
                      <a:pt x="165" y="77"/>
                    </a:lnTo>
                    <a:lnTo>
                      <a:pt x="162" y="77"/>
                    </a:lnTo>
                    <a:lnTo>
                      <a:pt x="159" y="73"/>
                    </a:lnTo>
                    <a:lnTo>
                      <a:pt x="155" y="72"/>
                    </a:lnTo>
                    <a:lnTo>
                      <a:pt x="154" y="67"/>
                    </a:lnTo>
                    <a:lnTo>
                      <a:pt x="152" y="64"/>
                    </a:lnTo>
                    <a:lnTo>
                      <a:pt x="152" y="53"/>
                    </a:lnTo>
                    <a:lnTo>
                      <a:pt x="151" y="50"/>
                    </a:lnTo>
                    <a:lnTo>
                      <a:pt x="148" y="48"/>
                    </a:lnTo>
                    <a:lnTo>
                      <a:pt x="144" y="56"/>
                    </a:lnTo>
                    <a:lnTo>
                      <a:pt x="141" y="64"/>
                    </a:lnTo>
                    <a:lnTo>
                      <a:pt x="135" y="64"/>
                    </a:lnTo>
                    <a:lnTo>
                      <a:pt x="129" y="64"/>
                    </a:lnTo>
                    <a:lnTo>
                      <a:pt x="124" y="61"/>
                    </a:lnTo>
                    <a:lnTo>
                      <a:pt x="119" y="57"/>
                    </a:lnTo>
                    <a:lnTo>
                      <a:pt x="116" y="59"/>
                    </a:lnTo>
                    <a:lnTo>
                      <a:pt x="114" y="56"/>
                    </a:lnTo>
                    <a:lnTo>
                      <a:pt x="111" y="56"/>
                    </a:lnTo>
                    <a:lnTo>
                      <a:pt x="106" y="57"/>
                    </a:lnTo>
                    <a:lnTo>
                      <a:pt x="103" y="57"/>
                    </a:lnTo>
                    <a:lnTo>
                      <a:pt x="102" y="53"/>
                    </a:lnTo>
                    <a:lnTo>
                      <a:pt x="97" y="53"/>
                    </a:lnTo>
                    <a:lnTo>
                      <a:pt x="94" y="51"/>
                    </a:lnTo>
                    <a:lnTo>
                      <a:pt x="90" y="50"/>
                    </a:lnTo>
                    <a:lnTo>
                      <a:pt x="87" y="48"/>
                    </a:lnTo>
                    <a:lnTo>
                      <a:pt x="84" y="46"/>
                    </a:lnTo>
                    <a:lnTo>
                      <a:pt x="79" y="45"/>
                    </a:lnTo>
                    <a:lnTo>
                      <a:pt x="67" y="38"/>
                    </a:lnTo>
                    <a:lnTo>
                      <a:pt x="56" y="32"/>
                    </a:lnTo>
                    <a:lnTo>
                      <a:pt x="43" y="23"/>
                    </a:lnTo>
                    <a:lnTo>
                      <a:pt x="30" y="15"/>
                    </a:lnTo>
                    <a:lnTo>
                      <a:pt x="27" y="11"/>
                    </a:lnTo>
                    <a:lnTo>
                      <a:pt x="24" y="10"/>
                    </a:lnTo>
                    <a:lnTo>
                      <a:pt x="19" y="7"/>
                    </a:lnTo>
                    <a:lnTo>
                      <a:pt x="16" y="5"/>
                    </a:lnTo>
                    <a:lnTo>
                      <a:pt x="13" y="4"/>
                    </a:lnTo>
                    <a:lnTo>
                      <a:pt x="10" y="2"/>
                    </a:lnTo>
                    <a:lnTo>
                      <a:pt x="6" y="0"/>
                    </a:lnTo>
                    <a:lnTo>
                      <a:pt x="3" y="4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75" name="Freeform 29"/>
              <p:cNvSpPr>
                <a:spLocks/>
              </p:cNvSpPr>
              <p:nvPr/>
            </p:nvSpPr>
            <p:spPr bwMode="auto">
              <a:xfrm>
                <a:off x="4838" y="1829"/>
                <a:ext cx="4" cy="2"/>
              </a:xfrm>
              <a:custGeom>
                <a:avLst/>
                <a:gdLst>
                  <a:gd name="T0" fmla="*/ 0 w 2"/>
                  <a:gd name="T1" fmla="*/ 0 h 1"/>
                  <a:gd name="T2" fmla="*/ 0 w 2"/>
                  <a:gd name="T3" fmla="*/ 1 h 1"/>
                  <a:gd name="T4" fmla="*/ 1 w 2"/>
                  <a:gd name="T5" fmla="*/ 1 h 1"/>
                  <a:gd name="T6" fmla="*/ 2 w 2"/>
                  <a:gd name="T7" fmla="*/ 1 h 1"/>
                  <a:gd name="T8" fmla="*/ 2 w 2"/>
                  <a:gd name="T9" fmla="*/ 0 h 1"/>
                  <a:gd name="T10" fmla="*/ 1 w 2"/>
                  <a:gd name="T11" fmla="*/ 0 h 1"/>
                  <a:gd name="T12" fmla="*/ 0 w 2"/>
                  <a:gd name="T13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lnTo>
                      <a:pt x="0" y="1"/>
                    </a:lnTo>
                    <a:lnTo>
                      <a:pt x="1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76" name="Freeform 30"/>
              <p:cNvSpPr>
                <a:spLocks/>
              </p:cNvSpPr>
              <p:nvPr/>
            </p:nvSpPr>
            <p:spPr bwMode="auto">
              <a:xfrm>
                <a:off x="4815" y="1781"/>
                <a:ext cx="3" cy="7"/>
              </a:xfrm>
              <a:custGeom>
                <a:avLst/>
                <a:gdLst>
                  <a:gd name="T0" fmla="*/ 3 w 7"/>
                  <a:gd name="T1" fmla="*/ 0 h 14"/>
                  <a:gd name="T2" fmla="*/ 3 w 7"/>
                  <a:gd name="T3" fmla="*/ 0 h 14"/>
                  <a:gd name="T4" fmla="*/ 0 w 7"/>
                  <a:gd name="T5" fmla="*/ 1 h 14"/>
                  <a:gd name="T6" fmla="*/ 0 w 7"/>
                  <a:gd name="T7" fmla="*/ 4 h 14"/>
                  <a:gd name="T8" fmla="*/ 0 w 7"/>
                  <a:gd name="T9" fmla="*/ 9 h 14"/>
                  <a:gd name="T10" fmla="*/ 3 w 7"/>
                  <a:gd name="T11" fmla="*/ 12 h 14"/>
                  <a:gd name="T12" fmla="*/ 7 w 7"/>
                  <a:gd name="T13" fmla="*/ 14 h 14"/>
                  <a:gd name="T14" fmla="*/ 5 w 7"/>
                  <a:gd name="T15" fmla="*/ 9 h 14"/>
                  <a:gd name="T16" fmla="*/ 7 w 7"/>
                  <a:gd name="T17" fmla="*/ 6 h 14"/>
                  <a:gd name="T18" fmla="*/ 5 w 7"/>
                  <a:gd name="T19" fmla="*/ 3 h 14"/>
                  <a:gd name="T20" fmla="*/ 3 w 7"/>
                  <a:gd name="T21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14">
                    <a:moveTo>
                      <a:pt x="3" y="0"/>
                    </a:moveTo>
                    <a:lnTo>
                      <a:pt x="3" y="0"/>
                    </a:lnTo>
                    <a:lnTo>
                      <a:pt x="0" y="1"/>
                    </a:lnTo>
                    <a:lnTo>
                      <a:pt x="0" y="4"/>
                    </a:lnTo>
                    <a:lnTo>
                      <a:pt x="0" y="9"/>
                    </a:lnTo>
                    <a:lnTo>
                      <a:pt x="3" y="12"/>
                    </a:lnTo>
                    <a:lnTo>
                      <a:pt x="7" y="14"/>
                    </a:lnTo>
                    <a:lnTo>
                      <a:pt x="5" y="9"/>
                    </a:lnTo>
                    <a:lnTo>
                      <a:pt x="7" y="6"/>
                    </a:lnTo>
                    <a:lnTo>
                      <a:pt x="5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77" name="Freeform 31"/>
              <p:cNvSpPr>
                <a:spLocks/>
              </p:cNvSpPr>
              <p:nvPr/>
            </p:nvSpPr>
            <p:spPr bwMode="auto">
              <a:xfrm>
                <a:off x="4818" y="1820"/>
                <a:ext cx="5" cy="4"/>
              </a:xfrm>
              <a:custGeom>
                <a:avLst/>
                <a:gdLst>
                  <a:gd name="T0" fmla="*/ 2 w 11"/>
                  <a:gd name="T1" fmla="*/ 4 h 8"/>
                  <a:gd name="T2" fmla="*/ 2 w 11"/>
                  <a:gd name="T3" fmla="*/ 4 h 8"/>
                  <a:gd name="T4" fmla="*/ 3 w 11"/>
                  <a:gd name="T5" fmla="*/ 8 h 8"/>
                  <a:gd name="T6" fmla="*/ 8 w 11"/>
                  <a:gd name="T7" fmla="*/ 7 h 8"/>
                  <a:gd name="T8" fmla="*/ 11 w 11"/>
                  <a:gd name="T9" fmla="*/ 5 h 8"/>
                  <a:gd name="T10" fmla="*/ 8 w 11"/>
                  <a:gd name="T11" fmla="*/ 2 h 8"/>
                  <a:gd name="T12" fmla="*/ 5 w 11"/>
                  <a:gd name="T13" fmla="*/ 2 h 8"/>
                  <a:gd name="T14" fmla="*/ 0 w 11"/>
                  <a:gd name="T15" fmla="*/ 0 h 8"/>
                  <a:gd name="T16" fmla="*/ 2 w 11"/>
                  <a:gd name="T1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8">
                    <a:moveTo>
                      <a:pt x="2" y="4"/>
                    </a:moveTo>
                    <a:lnTo>
                      <a:pt x="2" y="4"/>
                    </a:lnTo>
                    <a:lnTo>
                      <a:pt x="3" y="8"/>
                    </a:lnTo>
                    <a:lnTo>
                      <a:pt x="8" y="7"/>
                    </a:lnTo>
                    <a:lnTo>
                      <a:pt x="11" y="5"/>
                    </a:lnTo>
                    <a:lnTo>
                      <a:pt x="8" y="2"/>
                    </a:lnTo>
                    <a:lnTo>
                      <a:pt x="5" y="2"/>
                    </a:lnTo>
                    <a:lnTo>
                      <a:pt x="0" y="0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78" name="Freeform 32"/>
              <p:cNvSpPr>
                <a:spLocks/>
              </p:cNvSpPr>
              <p:nvPr/>
            </p:nvSpPr>
            <p:spPr bwMode="auto">
              <a:xfrm>
                <a:off x="4829" y="1796"/>
                <a:ext cx="46" cy="59"/>
              </a:xfrm>
              <a:custGeom>
                <a:avLst/>
                <a:gdLst>
                  <a:gd name="T0" fmla="*/ 3 w 92"/>
                  <a:gd name="T1" fmla="*/ 25 h 119"/>
                  <a:gd name="T2" fmla="*/ 5 w 92"/>
                  <a:gd name="T3" fmla="*/ 30 h 119"/>
                  <a:gd name="T4" fmla="*/ 14 w 92"/>
                  <a:gd name="T5" fmla="*/ 36 h 119"/>
                  <a:gd name="T6" fmla="*/ 22 w 92"/>
                  <a:gd name="T7" fmla="*/ 46 h 119"/>
                  <a:gd name="T8" fmla="*/ 16 w 92"/>
                  <a:gd name="T9" fmla="*/ 44 h 119"/>
                  <a:gd name="T10" fmla="*/ 8 w 92"/>
                  <a:gd name="T11" fmla="*/ 41 h 119"/>
                  <a:gd name="T12" fmla="*/ 17 w 92"/>
                  <a:gd name="T13" fmla="*/ 49 h 119"/>
                  <a:gd name="T14" fmla="*/ 24 w 92"/>
                  <a:gd name="T15" fmla="*/ 49 h 119"/>
                  <a:gd name="T16" fmla="*/ 30 w 92"/>
                  <a:gd name="T17" fmla="*/ 52 h 119"/>
                  <a:gd name="T18" fmla="*/ 36 w 92"/>
                  <a:gd name="T19" fmla="*/ 49 h 119"/>
                  <a:gd name="T20" fmla="*/ 27 w 92"/>
                  <a:gd name="T21" fmla="*/ 46 h 119"/>
                  <a:gd name="T22" fmla="*/ 25 w 92"/>
                  <a:gd name="T23" fmla="*/ 36 h 119"/>
                  <a:gd name="T24" fmla="*/ 28 w 92"/>
                  <a:gd name="T25" fmla="*/ 33 h 119"/>
                  <a:gd name="T26" fmla="*/ 35 w 92"/>
                  <a:gd name="T27" fmla="*/ 39 h 119"/>
                  <a:gd name="T28" fmla="*/ 41 w 92"/>
                  <a:gd name="T29" fmla="*/ 44 h 119"/>
                  <a:gd name="T30" fmla="*/ 47 w 92"/>
                  <a:gd name="T31" fmla="*/ 54 h 119"/>
                  <a:gd name="T32" fmla="*/ 47 w 92"/>
                  <a:gd name="T33" fmla="*/ 62 h 119"/>
                  <a:gd name="T34" fmla="*/ 44 w 92"/>
                  <a:gd name="T35" fmla="*/ 73 h 119"/>
                  <a:gd name="T36" fmla="*/ 43 w 92"/>
                  <a:gd name="T37" fmla="*/ 81 h 119"/>
                  <a:gd name="T38" fmla="*/ 46 w 92"/>
                  <a:gd name="T39" fmla="*/ 90 h 119"/>
                  <a:gd name="T40" fmla="*/ 52 w 92"/>
                  <a:gd name="T41" fmla="*/ 100 h 119"/>
                  <a:gd name="T42" fmla="*/ 51 w 92"/>
                  <a:gd name="T43" fmla="*/ 106 h 119"/>
                  <a:gd name="T44" fmla="*/ 62 w 92"/>
                  <a:gd name="T45" fmla="*/ 111 h 119"/>
                  <a:gd name="T46" fmla="*/ 68 w 92"/>
                  <a:gd name="T47" fmla="*/ 109 h 119"/>
                  <a:gd name="T48" fmla="*/ 60 w 92"/>
                  <a:gd name="T49" fmla="*/ 100 h 119"/>
                  <a:gd name="T50" fmla="*/ 60 w 92"/>
                  <a:gd name="T51" fmla="*/ 93 h 119"/>
                  <a:gd name="T52" fmla="*/ 68 w 92"/>
                  <a:gd name="T53" fmla="*/ 97 h 119"/>
                  <a:gd name="T54" fmla="*/ 71 w 92"/>
                  <a:gd name="T55" fmla="*/ 106 h 119"/>
                  <a:gd name="T56" fmla="*/ 76 w 92"/>
                  <a:gd name="T57" fmla="*/ 117 h 119"/>
                  <a:gd name="T58" fmla="*/ 84 w 92"/>
                  <a:gd name="T59" fmla="*/ 109 h 119"/>
                  <a:gd name="T60" fmla="*/ 82 w 92"/>
                  <a:gd name="T61" fmla="*/ 101 h 119"/>
                  <a:gd name="T62" fmla="*/ 89 w 92"/>
                  <a:gd name="T63" fmla="*/ 97 h 119"/>
                  <a:gd name="T64" fmla="*/ 89 w 92"/>
                  <a:gd name="T65" fmla="*/ 87 h 119"/>
                  <a:gd name="T66" fmla="*/ 85 w 92"/>
                  <a:gd name="T67" fmla="*/ 73 h 119"/>
                  <a:gd name="T68" fmla="*/ 85 w 92"/>
                  <a:gd name="T69" fmla="*/ 63 h 119"/>
                  <a:gd name="T70" fmla="*/ 87 w 92"/>
                  <a:gd name="T71" fmla="*/ 52 h 119"/>
                  <a:gd name="T72" fmla="*/ 89 w 92"/>
                  <a:gd name="T73" fmla="*/ 43 h 119"/>
                  <a:gd name="T74" fmla="*/ 84 w 92"/>
                  <a:gd name="T75" fmla="*/ 36 h 119"/>
                  <a:gd name="T76" fmla="*/ 78 w 92"/>
                  <a:gd name="T77" fmla="*/ 28 h 119"/>
                  <a:gd name="T78" fmla="*/ 66 w 92"/>
                  <a:gd name="T79" fmla="*/ 25 h 119"/>
                  <a:gd name="T80" fmla="*/ 71 w 92"/>
                  <a:gd name="T81" fmla="*/ 16 h 119"/>
                  <a:gd name="T82" fmla="*/ 60 w 92"/>
                  <a:gd name="T83" fmla="*/ 12 h 119"/>
                  <a:gd name="T84" fmla="*/ 51 w 92"/>
                  <a:gd name="T85" fmla="*/ 14 h 119"/>
                  <a:gd name="T86" fmla="*/ 41 w 92"/>
                  <a:gd name="T87" fmla="*/ 6 h 119"/>
                  <a:gd name="T88" fmla="*/ 38 w 92"/>
                  <a:gd name="T89" fmla="*/ 0 h 119"/>
                  <a:gd name="T90" fmla="*/ 30 w 92"/>
                  <a:gd name="T91" fmla="*/ 1 h 119"/>
                  <a:gd name="T92" fmla="*/ 24 w 92"/>
                  <a:gd name="T93" fmla="*/ 8 h 119"/>
                  <a:gd name="T94" fmla="*/ 19 w 92"/>
                  <a:gd name="T95" fmla="*/ 14 h 119"/>
                  <a:gd name="T96" fmla="*/ 14 w 92"/>
                  <a:gd name="T97" fmla="*/ 20 h 119"/>
                  <a:gd name="T98" fmla="*/ 8 w 92"/>
                  <a:gd name="T99" fmla="*/ 17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92" h="119">
                    <a:moveTo>
                      <a:pt x="8" y="25"/>
                    </a:moveTo>
                    <a:lnTo>
                      <a:pt x="8" y="24"/>
                    </a:lnTo>
                    <a:lnTo>
                      <a:pt x="3" y="25"/>
                    </a:lnTo>
                    <a:lnTo>
                      <a:pt x="0" y="25"/>
                    </a:lnTo>
                    <a:lnTo>
                      <a:pt x="1" y="30"/>
                    </a:lnTo>
                    <a:lnTo>
                      <a:pt x="5" y="30"/>
                    </a:lnTo>
                    <a:lnTo>
                      <a:pt x="6" y="35"/>
                    </a:lnTo>
                    <a:lnTo>
                      <a:pt x="9" y="36"/>
                    </a:lnTo>
                    <a:lnTo>
                      <a:pt x="14" y="36"/>
                    </a:lnTo>
                    <a:lnTo>
                      <a:pt x="17" y="38"/>
                    </a:lnTo>
                    <a:lnTo>
                      <a:pt x="19" y="41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19" y="44"/>
                    </a:lnTo>
                    <a:lnTo>
                      <a:pt x="16" y="44"/>
                    </a:lnTo>
                    <a:lnTo>
                      <a:pt x="14" y="41"/>
                    </a:lnTo>
                    <a:lnTo>
                      <a:pt x="11" y="38"/>
                    </a:lnTo>
                    <a:lnTo>
                      <a:pt x="8" y="41"/>
                    </a:lnTo>
                    <a:lnTo>
                      <a:pt x="11" y="44"/>
                    </a:lnTo>
                    <a:lnTo>
                      <a:pt x="14" y="46"/>
                    </a:lnTo>
                    <a:lnTo>
                      <a:pt x="17" y="49"/>
                    </a:lnTo>
                    <a:lnTo>
                      <a:pt x="19" y="54"/>
                    </a:lnTo>
                    <a:lnTo>
                      <a:pt x="22" y="49"/>
                    </a:lnTo>
                    <a:lnTo>
                      <a:pt x="24" y="49"/>
                    </a:lnTo>
                    <a:lnTo>
                      <a:pt x="27" y="47"/>
                    </a:lnTo>
                    <a:lnTo>
                      <a:pt x="30" y="49"/>
                    </a:lnTo>
                    <a:lnTo>
                      <a:pt x="30" y="52"/>
                    </a:lnTo>
                    <a:lnTo>
                      <a:pt x="33" y="55"/>
                    </a:lnTo>
                    <a:lnTo>
                      <a:pt x="36" y="52"/>
                    </a:lnTo>
                    <a:lnTo>
                      <a:pt x="36" y="49"/>
                    </a:lnTo>
                    <a:lnTo>
                      <a:pt x="33" y="44"/>
                    </a:lnTo>
                    <a:lnTo>
                      <a:pt x="30" y="44"/>
                    </a:lnTo>
                    <a:lnTo>
                      <a:pt x="27" y="46"/>
                    </a:lnTo>
                    <a:lnTo>
                      <a:pt x="27" y="41"/>
                    </a:lnTo>
                    <a:lnTo>
                      <a:pt x="27" y="41"/>
                    </a:lnTo>
                    <a:lnTo>
                      <a:pt x="25" y="36"/>
                    </a:lnTo>
                    <a:lnTo>
                      <a:pt x="22" y="33"/>
                    </a:lnTo>
                    <a:lnTo>
                      <a:pt x="25" y="32"/>
                    </a:lnTo>
                    <a:lnTo>
                      <a:pt x="28" y="33"/>
                    </a:lnTo>
                    <a:lnTo>
                      <a:pt x="30" y="33"/>
                    </a:lnTo>
                    <a:lnTo>
                      <a:pt x="33" y="36"/>
                    </a:lnTo>
                    <a:lnTo>
                      <a:pt x="35" y="39"/>
                    </a:lnTo>
                    <a:lnTo>
                      <a:pt x="35" y="39"/>
                    </a:lnTo>
                    <a:lnTo>
                      <a:pt x="38" y="43"/>
                    </a:lnTo>
                    <a:lnTo>
                      <a:pt x="41" y="44"/>
                    </a:lnTo>
                    <a:lnTo>
                      <a:pt x="44" y="49"/>
                    </a:lnTo>
                    <a:lnTo>
                      <a:pt x="44" y="52"/>
                    </a:lnTo>
                    <a:lnTo>
                      <a:pt x="47" y="54"/>
                    </a:lnTo>
                    <a:lnTo>
                      <a:pt x="46" y="57"/>
                    </a:lnTo>
                    <a:lnTo>
                      <a:pt x="47" y="58"/>
                    </a:lnTo>
                    <a:lnTo>
                      <a:pt x="47" y="62"/>
                    </a:lnTo>
                    <a:lnTo>
                      <a:pt x="47" y="65"/>
                    </a:lnTo>
                    <a:lnTo>
                      <a:pt x="46" y="70"/>
                    </a:lnTo>
                    <a:lnTo>
                      <a:pt x="44" y="73"/>
                    </a:lnTo>
                    <a:lnTo>
                      <a:pt x="41" y="74"/>
                    </a:lnTo>
                    <a:lnTo>
                      <a:pt x="41" y="77"/>
                    </a:lnTo>
                    <a:lnTo>
                      <a:pt x="43" y="81"/>
                    </a:lnTo>
                    <a:lnTo>
                      <a:pt x="43" y="85"/>
                    </a:lnTo>
                    <a:lnTo>
                      <a:pt x="46" y="87"/>
                    </a:lnTo>
                    <a:lnTo>
                      <a:pt x="46" y="90"/>
                    </a:lnTo>
                    <a:lnTo>
                      <a:pt x="51" y="93"/>
                    </a:lnTo>
                    <a:lnTo>
                      <a:pt x="52" y="97"/>
                    </a:lnTo>
                    <a:lnTo>
                      <a:pt x="52" y="100"/>
                    </a:lnTo>
                    <a:lnTo>
                      <a:pt x="52" y="104"/>
                    </a:lnTo>
                    <a:lnTo>
                      <a:pt x="49" y="103"/>
                    </a:lnTo>
                    <a:lnTo>
                      <a:pt x="51" y="106"/>
                    </a:lnTo>
                    <a:lnTo>
                      <a:pt x="54" y="111"/>
                    </a:lnTo>
                    <a:lnTo>
                      <a:pt x="58" y="111"/>
                    </a:lnTo>
                    <a:lnTo>
                      <a:pt x="62" y="111"/>
                    </a:lnTo>
                    <a:lnTo>
                      <a:pt x="65" y="114"/>
                    </a:lnTo>
                    <a:lnTo>
                      <a:pt x="68" y="112"/>
                    </a:lnTo>
                    <a:lnTo>
                      <a:pt x="68" y="109"/>
                    </a:lnTo>
                    <a:lnTo>
                      <a:pt x="65" y="108"/>
                    </a:lnTo>
                    <a:lnTo>
                      <a:pt x="62" y="104"/>
                    </a:lnTo>
                    <a:lnTo>
                      <a:pt x="60" y="100"/>
                    </a:lnTo>
                    <a:lnTo>
                      <a:pt x="60" y="97"/>
                    </a:lnTo>
                    <a:lnTo>
                      <a:pt x="60" y="93"/>
                    </a:lnTo>
                    <a:lnTo>
                      <a:pt x="60" y="93"/>
                    </a:lnTo>
                    <a:lnTo>
                      <a:pt x="63" y="92"/>
                    </a:lnTo>
                    <a:lnTo>
                      <a:pt x="68" y="92"/>
                    </a:lnTo>
                    <a:lnTo>
                      <a:pt x="68" y="97"/>
                    </a:lnTo>
                    <a:lnTo>
                      <a:pt x="63" y="95"/>
                    </a:lnTo>
                    <a:lnTo>
                      <a:pt x="68" y="101"/>
                    </a:lnTo>
                    <a:lnTo>
                      <a:pt x="71" y="106"/>
                    </a:lnTo>
                    <a:lnTo>
                      <a:pt x="73" y="111"/>
                    </a:lnTo>
                    <a:lnTo>
                      <a:pt x="71" y="119"/>
                    </a:lnTo>
                    <a:lnTo>
                      <a:pt x="76" y="117"/>
                    </a:lnTo>
                    <a:lnTo>
                      <a:pt x="79" y="116"/>
                    </a:lnTo>
                    <a:lnTo>
                      <a:pt x="81" y="112"/>
                    </a:lnTo>
                    <a:lnTo>
                      <a:pt x="84" y="109"/>
                    </a:lnTo>
                    <a:lnTo>
                      <a:pt x="81" y="106"/>
                    </a:lnTo>
                    <a:lnTo>
                      <a:pt x="79" y="103"/>
                    </a:lnTo>
                    <a:lnTo>
                      <a:pt x="82" y="101"/>
                    </a:lnTo>
                    <a:lnTo>
                      <a:pt x="89" y="104"/>
                    </a:lnTo>
                    <a:lnTo>
                      <a:pt x="90" y="101"/>
                    </a:lnTo>
                    <a:lnTo>
                      <a:pt x="89" y="97"/>
                    </a:lnTo>
                    <a:lnTo>
                      <a:pt x="90" y="93"/>
                    </a:lnTo>
                    <a:lnTo>
                      <a:pt x="89" y="92"/>
                    </a:lnTo>
                    <a:lnTo>
                      <a:pt x="89" y="87"/>
                    </a:lnTo>
                    <a:lnTo>
                      <a:pt x="85" y="84"/>
                    </a:lnTo>
                    <a:lnTo>
                      <a:pt x="85" y="76"/>
                    </a:lnTo>
                    <a:lnTo>
                      <a:pt x="85" y="73"/>
                    </a:lnTo>
                    <a:lnTo>
                      <a:pt x="85" y="70"/>
                    </a:lnTo>
                    <a:lnTo>
                      <a:pt x="85" y="66"/>
                    </a:lnTo>
                    <a:lnTo>
                      <a:pt x="85" y="63"/>
                    </a:lnTo>
                    <a:lnTo>
                      <a:pt x="87" y="58"/>
                    </a:lnTo>
                    <a:lnTo>
                      <a:pt x="84" y="55"/>
                    </a:lnTo>
                    <a:lnTo>
                      <a:pt x="87" y="52"/>
                    </a:lnTo>
                    <a:lnTo>
                      <a:pt x="89" y="49"/>
                    </a:lnTo>
                    <a:lnTo>
                      <a:pt x="92" y="46"/>
                    </a:lnTo>
                    <a:lnTo>
                      <a:pt x="89" y="43"/>
                    </a:lnTo>
                    <a:lnTo>
                      <a:pt x="85" y="39"/>
                    </a:lnTo>
                    <a:lnTo>
                      <a:pt x="89" y="36"/>
                    </a:lnTo>
                    <a:lnTo>
                      <a:pt x="84" y="36"/>
                    </a:lnTo>
                    <a:lnTo>
                      <a:pt x="81" y="33"/>
                    </a:lnTo>
                    <a:lnTo>
                      <a:pt x="81" y="30"/>
                    </a:lnTo>
                    <a:lnTo>
                      <a:pt x="78" y="28"/>
                    </a:lnTo>
                    <a:lnTo>
                      <a:pt x="73" y="28"/>
                    </a:lnTo>
                    <a:lnTo>
                      <a:pt x="70" y="28"/>
                    </a:lnTo>
                    <a:lnTo>
                      <a:pt x="66" y="25"/>
                    </a:lnTo>
                    <a:lnTo>
                      <a:pt x="70" y="24"/>
                    </a:lnTo>
                    <a:lnTo>
                      <a:pt x="71" y="20"/>
                    </a:lnTo>
                    <a:lnTo>
                      <a:pt x="71" y="16"/>
                    </a:lnTo>
                    <a:lnTo>
                      <a:pt x="68" y="12"/>
                    </a:lnTo>
                    <a:lnTo>
                      <a:pt x="65" y="11"/>
                    </a:lnTo>
                    <a:lnTo>
                      <a:pt x="60" y="12"/>
                    </a:lnTo>
                    <a:lnTo>
                      <a:pt x="57" y="16"/>
                    </a:lnTo>
                    <a:lnTo>
                      <a:pt x="54" y="14"/>
                    </a:lnTo>
                    <a:lnTo>
                      <a:pt x="51" y="14"/>
                    </a:lnTo>
                    <a:lnTo>
                      <a:pt x="47" y="12"/>
                    </a:lnTo>
                    <a:lnTo>
                      <a:pt x="44" y="11"/>
                    </a:lnTo>
                    <a:lnTo>
                      <a:pt x="41" y="6"/>
                    </a:lnTo>
                    <a:lnTo>
                      <a:pt x="39" y="3"/>
                    </a:lnTo>
                    <a:lnTo>
                      <a:pt x="39" y="0"/>
                    </a:lnTo>
                    <a:lnTo>
                      <a:pt x="38" y="0"/>
                    </a:lnTo>
                    <a:lnTo>
                      <a:pt x="38" y="1"/>
                    </a:lnTo>
                    <a:lnTo>
                      <a:pt x="35" y="1"/>
                    </a:lnTo>
                    <a:lnTo>
                      <a:pt x="30" y="1"/>
                    </a:lnTo>
                    <a:lnTo>
                      <a:pt x="27" y="3"/>
                    </a:lnTo>
                    <a:lnTo>
                      <a:pt x="24" y="3"/>
                    </a:lnTo>
                    <a:lnTo>
                      <a:pt x="24" y="8"/>
                    </a:lnTo>
                    <a:lnTo>
                      <a:pt x="22" y="11"/>
                    </a:lnTo>
                    <a:lnTo>
                      <a:pt x="24" y="14"/>
                    </a:lnTo>
                    <a:lnTo>
                      <a:pt x="19" y="14"/>
                    </a:lnTo>
                    <a:lnTo>
                      <a:pt x="16" y="12"/>
                    </a:lnTo>
                    <a:lnTo>
                      <a:pt x="16" y="16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1" y="17"/>
                    </a:lnTo>
                    <a:lnTo>
                      <a:pt x="8" y="17"/>
                    </a:lnTo>
                    <a:lnTo>
                      <a:pt x="8" y="22"/>
                    </a:lnTo>
                    <a:lnTo>
                      <a:pt x="8" y="2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79" name="Freeform 33"/>
              <p:cNvSpPr>
                <a:spLocks/>
              </p:cNvSpPr>
              <p:nvPr/>
            </p:nvSpPr>
            <p:spPr bwMode="auto">
              <a:xfrm>
                <a:off x="4841" y="1942"/>
                <a:ext cx="10" cy="15"/>
              </a:xfrm>
              <a:custGeom>
                <a:avLst/>
                <a:gdLst>
                  <a:gd name="T0" fmla="*/ 3 w 19"/>
                  <a:gd name="T1" fmla="*/ 30 h 30"/>
                  <a:gd name="T2" fmla="*/ 6 w 19"/>
                  <a:gd name="T3" fmla="*/ 27 h 30"/>
                  <a:gd name="T4" fmla="*/ 4 w 19"/>
                  <a:gd name="T5" fmla="*/ 23 h 30"/>
                  <a:gd name="T6" fmla="*/ 6 w 19"/>
                  <a:gd name="T7" fmla="*/ 20 h 30"/>
                  <a:gd name="T8" fmla="*/ 6 w 19"/>
                  <a:gd name="T9" fmla="*/ 17 h 30"/>
                  <a:gd name="T10" fmla="*/ 9 w 19"/>
                  <a:gd name="T11" fmla="*/ 14 h 30"/>
                  <a:gd name="T12" fmla="*/ 12 w 19"/>
                  <a:gd name="T13" fmla="*/ 11 h 30"/>
                  <a:gd name="T14" fmla="*/ 14 w 19"/>
                  <a:gd name="T15" fmla="*/ 7 h 30"/>
                  <a:gd name="T16" fmla="*/ 17 w 19"/>
                  <a:gd name="T17" fmla="*/ 6 h 30"/>
                  <a:gd name="T18" fmla="*/ 19 w 19"/>
                  <a:gd name="T19" fmla="*/ 3 h 30"/>
                  <a:gd name="T20" fmla="*/ 17 w 19"/>
                  <a:gd name="T21" fmla="*/ 0 h 30"/>
                  <a:gd name="T22" fmla="*/ 14 w 19"/>
                  <a:gd name="T23" fmla="*/ 0 h 30"/>
                  <a:gd name="T24" fmla="*/ 11 w 19"/>
                  <a:gd name="T25" fmla="*/ 4 h 30"/>
                  <a:gd name="T26" fmla="*/ 8 w 19"/>
                  <a:gd name="T27" fmla="*/ 6 h 30"/>
                  <a:gd name="T28" fmla="*/ 4 w 19"/>
                  <a:gd name="T29" fmla="*/ 4 h 30"/>
                  <a:gd name="T30" fmla="*/ 6 w 19"/>
                  <a:gd name="T31" fmla="*/ 7 h 30"/>
                  <a:gd name="T32" fmla="*/ 6 w 19"/>
                  <a:gd name="T33" fmla="*/ 11 h 30"/>
                  <a:gd name="T34" fmla="*/ 3 w 19"/>
                  <a:gd name="T35" fmla="*/ 14 h 30"/>
                  <a:gd name="T36" fmla="*/ 1 w 19"/>
                  <a:gd name="T37" fmla="*/ 19 h 30"/>
                  <a:gd name="T38" fmla="*/ 3 w 19"/>
                  <a:gd name="T39" fmla="*/ 22 h 30"/>
                  <a:gd name="T40" fmla="*/ 0 w 19"/>
                  <a:gd name="T41" fmla="*/ 25 h 30"/>
                  <a:gd name="T42" fmla="*/ 1 w 19"/>
                  <a:gd name="T43" fmla="*/ 28 h 30"/>
                  <a:gd name="T44" fmla="*/ 3 w 19"/>
                  <a:gd name="T45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9" h="30">
                    <a:moveTo>
                      <a:pt x="3" y="30"/>
                    </a:moveTo>
                    <a:lnTo>
                      <a:pt x="6" y="27"/>
                    </a:lnTo>
                    <a:lnTo>
                      <a:pt x="4" y="23"/>
                    </a:lnTo>
                    <a:lnTo>
                      <a:pt x="6" y="20"/>
                    </a:lnTo>
                    <a:lnTo>
                      <a:pt x="6" y="17"/>
                    </a:lnTo>
                    <a:lnTo>
                      <a:pt x="9" y="14"/>
                    </a:lnTo>
                    <a:lnTo>
                      <a:pt x="12" y="11"/>
                    </a:lnTo>
                    <a:lnTo>
                      <a:pt x="14" y="7"/>
                    </a:lnTo>
                    <a:lnTo>
                      <a:pt x="17" y="6"/>
                    </a:lnTo>
                    <a:lnTo>
                      <a:pt x="19" y="3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4"/>
                    </a:lnTo>
                    <a:lnTo>
                      <a:pt x="8" y="6"/>
                    </a:lnTo>
                    <a:lnTo>
                      <a:pt x="4" y="4"/>
                    </a:lnTo>
                    <a:lnTo>
                      <a:pt x="6" y="7"/>
                    </a:lnTo>
                    <a:lnTo>
                      <a:pt x="6" y="11"/>
                    </a:lnTo>
                    <a:lnTo>
                      <a:pt x="3" y="14"/>
                    </a:lnTo>
                    <a:lnTo>
                      <a:pt x="1" y="19"/>
                    </a:lnTo>
                    <a:lnTo>
                      <a:pt x="3" y="22"/>
                    </a:lnTo>
                    <a:lnTo>
                      <a:pt x="0" y="25"/>
                    </a:lnTo>
                    <a:lnTo>
                      <a:pt x="1" y="28"/>
                    </a:lnTo>
                    <a:lnTo>
                      <a:pt x="3" y="3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80" name="Freeform 34"/>
              <p:cNvSpPr>
                <a:spLocks/>
              </p:cNvSpPr>
              <p:nvPr/>
            </p:nvSpPr>
            <p:spPr bwMode="auto">
              <a:xfrm>
                <a:off x="4843" y="1824"/>
                <a:ext cx="5" cy="8"/>
              </a:xfrm>
              <a:custGeom>
                <a:avLst/>
                <a:gdLst>
                  <a:gd name="T0" fmla="*/ 1 w 9"/>
                  <a:gd name="T1" fmla="*/ 5 h 14"/>
                  <a:gd name="T2" fmla="*/ 1 w 9"/>
                  <a:gd name="T3" fmla="*/ 6 h 14"/>
                  <a:gd name="T4" fmla="*/ 3 w 9"/>
                  <a:gd name="T5" fmla="*/ 9 h 14"/>
                  <a:gd name="T6" fmla="*/ 3 w 9"/>
                  <a:gd name="T7" fmla="*/ 11 h 14"/>
                  <a:gd name="T8" fmla="*/ 5 w 9"/>
                  <a:gd name="T9" fmla="*/ 13 h 14"/>
                  <a:gd name="T10" fmla="*/ 5 w 9"/>
                  <a:gd name="T11" fmla="*/ 14 h 14"/>
                  <a:gd name="T12" fmla="*/ 5 w 9"/>
                  <a:gd name="T13" fmla="*/ 14 h 14"/>
                  <a:gd name="T14" fmla="*/ 6 w 9"/>
                  <a:gd name="T15" fmla="*/ 13 h 14"/>
                  <a:gd name="T16" fmla="*/ 8 w 9"/>
                  <a:gd name="T17" fmla="*/ 9 h 14"/>
                  <a:gd name="T18" fmla="*/ 9 w 9"/>
                  <a:gd name="T19" fmla="*/ 6 h 14"/>
                  <a:gd name="T20" fmla="*/ 8 w 9"/>
                  <a:gd name="T21" fmla="*/ 3 h 14"/>
                  <a:gd name="T22" fmla="*/ 5 w 9"/>
                  <a:gd name="T23" fmla="*/ 0 h 14"/>
                  <a:gd name="T24" fmla="*/ 0 w 9"/>
                  <a:gd name="T25" fmla="*/ 1 h 14"/>
                  <a:gd name="T26" fmla="*/ 1 w 9"/>
                  <a:gd name="T27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14">
                    <a:moveTo>
                      <a:pt x="1" y="5"/>
                    </a:moveTo>
                    <a:lnTo>
                      <a:pt x="1" y="6"/>
                    </a:lnTo>
                    <a:lnTo>
                      <a:pt x="3" y="9"/>
                    </a:lnTo>
                    <a:lnTo>
                      <a:pt x="3" y="11"/>
                    </a:lnTo>
                    <a:lnTo>
                      <a:pt x="5" y="13"/>
                    </a:lnTo>
                    <a:lnTo>
                      <a:pt x="5" y="14"/>
                    </a:lnTo>
                    <a:lnTo>
                      <a:pt x="5" y="14"/>
                    </a:lnTo>
                    <a:lnTo>
                      <a:pt x="6" y="13"/>
                    </a:lnTo>
                    <a:lnTo>
                      <a:pt x="8" y="9"/>
                    </a:lnTo>
                    <a:lnTo>
                      <a:pt x="9" y="6"/>
                    </a:lnTo>
                    <a:lnTo>
                      <a:pt x="8" y="3"/>
                    </a:lnTo>
                    <a:lnTo>
                      <a:pt x="5" y="0"/>
                    </a:lnTo>
                    <a:lnTo>
                      <a:pt x="0" y="1"/>
                    </a:lnTo>
                    <a:lnTo>
                      <a:pt x="1" y="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81" name="Freeform 35"/>
              <p:cNvSpPr>
                <a:spLocks/>
              </p:cNvSpPr>
              <p:nvPr/>
            </p:nvSpPr>
            <p:spPr bwMode="auto">
              <a:xfrm>
                <a:off x="4844" y="1841"/>
                <a:ext cx="1" cy="2"/>
              </a:xfrm>
              <a:custGeom>
                <a:avLst/>
                <a:gdLst>
                  <a:gd name="T0" fmla="*/ 0 w 2"/>
                  <a:gd name="T1" fmla="*/ 3 h 3"/>
                  <a:gd name="T2" fmla="*/ 2 w 2"/>
                  <a:gd name="T3" fmla="*/ 3 h 3"/>
                  <a:gd name="T4" fmla="*/ 2 w 2"/>
                  <a:gd name="T5" fmla="*/ 0 h 3"/>
                  <a:gd name="T6" fmla="*/ 0 w 2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2" y="3"/>
                    </a:lnTo>
                    <a:lnTo>
                      <a:pt x="2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82" name="Freeform 36"/>
              <p:cNvSpPr>
                <a:spLocks/>
              </p:cNvSpPr>
              <p:nvPr/>
            </p:nvSpPr>
            <p:spPr bwMode="auto">
              <a:xfrm>
                <a:off x="4844" y="1642"/>
                <a:ext cx="157" cy="164"/>
              </a:xfrm>
              <a:custGeom>
                <a:avLst/>
                <a:gdLst>
                  <a:gd name="T0" fmla="*/ 22 w 314"/>
                  <a:gd name="T1" fmla="*/ 306 h 328"/>
                  <a:gd name="T2" fmla="*/ 48 w 314"/>
                  <a:gd name="T3" fmla="*/ 311 h 328"/>
                  <a:gd name="T4" fmla="*/ 48 w 314"/>
                  <a:gd name="T5" fmla="*/ 292 h 328"/>
                  <a:gd name="T6" fmla="*/ 74 w 314"/>
                  <a:gd name="T7" fmla="*/ 290 h 328"/>
                  <a:gd name="T8" fmla="*/ 84 w 314"/>
                  <a:gd name="T9" fmla="*/ 286 h 328"/>
                  <a:gd name="T10" fmla="*/ 101 w 314"/>
                  <a:gd name="T11" fmla="*/ 281 h 328"/>
                  <a:gd name="T12" fmla="*/ 111 w 314"/>
                  <a:gd name="T13" fmla="*/ 276 h 328"/>
                  <a:gd name="T14" fmla="*/ 140 w 314"/>
                  <a:gd name="T15" fmla="*/ 278 h 328"/>
                  <a:gd name="T16" fmla="*/ 146 w 314"/>
                  <a:gd name="T17" fmla="*/ 292 h 328"/>
                  <a:gd name="T18" fmla="*/ 151 w 314"/>
                  <a:gd name="T19" fmla="*/ 311 h 328"/>
                  <a:gd name="T20" fmla="*/ 178 w 314"/>
                  <a:gd name="T21" fmla="*/ 327 h 328"/>
                  <a:gd name="T22" fmla="*/ 184 w 314"/>
                  <a:gd name="T23" fmla="*/ 311 h 328"/>
                  <a:gd name="T24" fmla="*/ 198 w 314"/>
                  <a:gd name="T25" fmla="*/ 294 h 328"/>
                  <a:gd name="T26" fmla="*/ 190 w 314"/>
                  <a:gd name="T27" fmla="*/ 281 h 328"/>
                  <a:gd name="T28" fmla="*/ 187 w 314"/>
                  <a:gd name="T29" fmla="*/ 263 h 328"/>
                  <a:gd name="T30" fmla="*/ 197 w 314"/>
                  <a:gd name="T31" fmla="*/ 271 h 328"/>
                  <a:gd name="T32" fmla="*/ 208 w 314"/>
                  <a:gd name="T33" fmla="*/ 279 h 328"/>
                  <a:gd name="T34" fmla="*/ 222 w 314"/>
                  <a:gd name="T35" fmla="*/ 278 h 328"/>
                  <a:gd name="T36" fmla="*/ 244 w 314"/>
                  <a:gd name="T37" fmla="*/ 281 h 328"/>
                  <a:gd name="T38" fmla="*/ 255 w 314"/>
                  <a:gd name="T39" fmla="*/ 260 h 328"/>
                  <a:gd name="T40" fmla="*/ 266 w 314"/>
                  <a:gd name="T41" fmla="*/ 281 h 328"/>
                  <a:gd name="T42" fmla="*/ 265 w 314"/>
                  <a:gd name="T43" fmla="*/ 259 h 328"/>
                  <a:gd name="T44" fmla="*/ 281 w 314"/>
                  <a:gd name="T45" fmla="*/ 252 h 328"/>
                  <a:gd name="T46" fmla="*/ 285 w 314"/>
                  <a:gd name="T47" fmla="*/ 238 h 328"/>
                  <a:gd name="T48" fmla="*/ 290 w 314"/>
                  <a:gd name="T49" fmla="*/ 259 h 328"/>
                  <a:gd name="T50" fmla="*/ 303 w 314"/>
                  <a:gd name="T51" fmla="*/ 260 h 328"/>
                  <a:gd name="T52" fmla="*/ 306 w 314"/>
                  <a:gd name="T53" fmla="*/ 238 h 328"/>
                  <a:gd name="T54" fmla="*/ 300 w 314"/>
                  <a:gd name="T55" fmla="*/ 221 h 328"/>
                  <a:gd name="T56" fmla="*/ 290 w 314"/>
                  <a:gd name="T57" fmla="*/ 197 h 328"/>
                  <a:gd name="T58" fmla="*/ 281 w 314"/>
                  <a:gd name="T59" fmla="*/ 152 h 328"/>
                  <a:gd name="T60" fmla="*/ 271 w 314"/>
                  <a:gd name="T61" fmla="*/ 127 h 328"/>
                  <a:gd name="T62" fmla="*/ 284 w 314"/>
                  <a:gd name="T63" fmla="*/ 127 h 328"/>
                  <a:gd name="T64" fmla="*/ 276 w 314"/>
                  <a:gd name="T65" fmla="*/ 103 h 328"/>
                  <a:gd name="T66" fmla="*/ 277 w 314"/>
                  <a:gd name="T67" fmla="*/ 81 h 328"/>
                  <a:gd name="T68" fmla="*/ 263 w 314"/>
                  <a:gd name="T69" fmla="*/ 60 h 328"/>
                  <a:gd name="T70" fmla="*/ 243 w 314"/>
                  <a:gd name="T71" fmla="*/ 41 h 328"/>
                  <a:gd name="T72" fmla="*/ 212 w 314"/>
                  <a:gd name="T73" fmla="*/ 6 h 328"/>
                  <a:gd name="T74" fmla="*/ 197 w 314"/>
                  <a:gd name="T75" fmla="*/ 8 h 328"/>
                  <a:gd name="T76" fmla="*/ 216 w 314"/>
                  <a:gd name="T77" fmla="*/ 16 h 328"/>
                  <a:gd name="T78" fmla="*/ 208 w 314"/>
                  <a:gd name="T79" fmla="*/ 24 h 328"/>
                  <a:gd name="T80" fmla="*/ 190 w 314"/>
                  <a:gd name="T81" fmla="*/ 11 h 328"/>
                  <a:gd name="T82" fmla="*/ 189 w 314"/>
                  <a:gd name="T83" fmla="*/ 26 h 328"/>
                  <a:gd name="T84" fmla="*/ 187 w 314"/>
                  <a:gd name="T85" fmla="*/ 43 h 328"/>
                  <a:gd name="T86" fmla="*/ 192 w 314"/>
                  <a:gd name="T87" fmla="*/ 62 h 328"/>
                  <a:gd name="T88" fmla="*/ 206 w 314"/>
                  <a:gd name="T89" fmla="*/ 72 h 328"/>
                  <a:gd name="T90" fmla="*/ 212 w 314"/>
                  <a:gd name="T91" fmla="*/ 94 h 328"/>
                  <a:gd name="T92" fmla="*/ 216 w 314"/>
                  <a:gd name="T93" fmla="*/ 113 h 328"/>
                  <a:gd name="T94" fmla="*/ 217 w 314"/>
                  <a:gd name="T95" fmla="*/ 140 h 328"/>
                  <a:gd name="T96" fmla="*/ 206 w 314"/>
                  <a:gd name="T97" fmla="*/ 156 h 328"/>
                  <a:gd name="T98" fmla="*/ 178 w 314"/>
                  <a:gd name="T99" fmla="*/ 186 h 328"/>
                  <a:gd name="T100" fmla="*/ 162 w 314"/>
                  <a:gd name="T101" fmla="*/ 184 h 328"/>
                  <a:gd name="T102" fmla="*/ 162 w 314"/>
                  <a:gd name="T103" fmla="*/ 170 h 328"/>
                  <a:gd name="T104" fmla="*/ 144 w 314"/>
                  <a:gd name="T105" fmla="*/ 170 h 328"/>
                  <a:gd name="T106" fmla="*/ 154 w 314"/>
                  <a:gd name="T107" fmla="*/ 195 h 328"/>
                  <a:gd name="T108" fmla="*/ 144 w 314"/>
                  <a:gd name="T109" fmla="*/ 217 h 328"/>
                  <a:gd name="T110" fmla="*/ 149 w 314"/>
                  <a:gd name="T111" fmla="*/ 236 h 328"/>
                  <a:gd name="T112" fmla="*/ 133 w 314"/>
                  <a:gd name="T113" fmla="*/ 243 h 328"/>
                  <a:gd name="T114" fmla="*/ 122 w 314"/>
                  <a:gd name="T115" fmla="*/ 233 h 328"/>
                  <a:gd name="T116" fmla="*/ 84 w 314"/>
                  <a:gd name="T117" fmla="*/ 244 h 328"/>
                  <a:gd name="T118" fmla="*/ 59 w 314"/>
                  <a:gd name="T119" fmla="*/ 243 h 328"/>
                  <a:gd name="T120" fmla="*/ 41 w 314"/>
                  <a:gd name="T121" fmla="*/ 254 h 328"/>
                  <a:gd name="T122" fmla="*/ 24 w 314"/>
                  <a:gd name="T123" fmla="*/ 278 h 328"/>
                  <a:gd name="T124" fmla="*/ 5 w 314"/>
                  <a:gd name="T125" fmla="*/ 28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314" h="328">
                    <a:moveTo>
                      <a:pt x="6" y="309"/>
                    </a:moveTo>
                    <a:lnTo>
                      <a:pt x="8" y="306"/>
                    </a:lnTo>
                    <a:lnTo>
                      <a:pt x="8" y="305"/>
                    </a:lnTo>
                    <a:lnTo>
                      <a:pt x="11" y="305"/>
                    </a:lnTo>
                    <a:lnTo>
                      <a:pt x="16" y="308"/>
                    </a:lnTo>
                    <a:lnTo>
                      <a:pt x="19" y="308"/>
                    </a:lnTo>
                    <a:lnTo>
                      <a:pt x="22" y="306"/>
                    </a:lnTo>
                    <a:lnTo>
                      <a:pt x="25" y="306"/>
                    </a:lnTo>
                    <a:lnTo>
                      <a:pt x="28" y="305"/>
                    </a:lnTo>
                    <a:lnTo>
                      <a:pt x="33" y="303"/>
                    </a:lnTo>
                    <a:lnTo>
                      <a:pt x="36" y="306"/>
                    </a:lnTo>
                    <a:lnTo>
                      <a:pt x="40" y="308"/>
                    </a:lnTo>
                    <a:lnTo>
                      <a:pt x="43" y="309"/>
                    </a:lnTo>
                    <a:lnTo>
                      <a:pt x="48" y="311"/>
                    </a:lnTo>
                    <a:lnTo>
                      <a:pt x="51" y="313"/>
                    </a:lnTo>
                    <a:lnTo>
                      <a:pt x="48" y="308"/>
                    </a:lnTo>
                    <a:lnTo>
                      <a:pt x="49" y="305"/>
                    </a:lnTo>
                    <a:lnTo>
                      <a:pt x="48" y="301"/>
                    </a:lnTo>
                    <a:lnTo>
                      <a:pt x="48" y="298"/>
                    </a:lnTo>
                    <a:lnTo>
                      <a:pt x="46" y="297"/>
                    </a:lnTo>
                    <a:lnTo>
                      <a:pt x="48" y="292"/>
                    </a:lnTo>
                    <a:lnTo>
                      <a:pt x="51" y="290"/>
                    </a:lnTo>
                    <a:lnTo>
                      <a:pt x="54" y="294"/>
                    </a:lnTo>
                    <a:lnTo>
                      <a:pt x="57" y="297"/>
                    </a:lnTo>
                    <a:lnTo>
                      <a:pt x="62" y="297"/>
                    </a:lnTo>
                    <a:lnTo>
                      <a:pt x="65" y="294"/>
                    </a:lnTo>
                    <a:lnTo>
                      <a:pt x="71" y="292"/>
                    </a:lnTo>
                    <a:lnTo>
                      <a:pt x="74" y="290"/>
                    </a:lnTo>
                    <a:lnTo>
                      <a:pt x="76" y="292"/>
                    </a:lnTo>
                    <a:lnTo>
                      <a:pt x="78" y="294"/>
                    </a:lnTo>
                    <a:lnTo>
                      <a:pt x="78" y="292"/>
                    </a:lnTo>
                    <a:lnTo>
                      <a:pt x="78" y="289"/>
                    </a:lnTo>
                    <a:lnTo>
                      <a:pt x="79" y="290"/>
                    </a:lnTo>
                    <a:lnTo>
                      <a:pt x="82" y="290"/>
                    </a:lnTo>
                    <a:lnTo>
                      <a:pt x="84" y="286"/>
                    </a:lnTo>
                    <a:lnTo>
                      <a:pt x="87" y="287"/>
                    </a:lnTo>
                    <a:lnTo>
                      <a:pt x="90" y="284"/>
                    </a:lnTo>
                    <a:lnTo>
                      <a:pt x="94" y="286"/>
                    </a:lnTo>
                    <a:lnTo>
                      <a:pt x="98" y="287"/>
                    </a:lnTo>
                    <a:lnTo>
                      <a:pt x="101" y="286"/>
                    </a:lnTo>
                    <a:lnTo>
                      <a:pt x="101" y="284"/>
                    </a:lnTo>
                    <a:lnTo>
                      <a:pt x="101" y="281"/>
                    </a:lnTo>
                    <a:lnTo>
                      <a:pt x="98" y="282"/>
                    </a:lnTo>
                    <a:lnTo>
                      <a:pt x="101" y="281"/>
                    </a:lnTo>
                    <a:lnTo>
                      <a:pt x="105" y="279"/>
                    </a:lnTo>
                    <a:lnTo>
                      <a:pt x="108" y="276"/>
                    </a:lnTo>
                    <a:lnTo>
                      <a:pt x="108" y="276"/>
                    </a:lnTo>
                    <a:lnTo>
                      <a:pt x="109" y="276"/>
                    </a:lnTo>
                    <a:lnTo>
                      <a:pt x="111" y="276"/>
                    </a:lnTo>
                    <a:lnTo>
                      <a:pt x="117" y="274"/>
                    </a:lnTo>
                    <a:lnTo>
                      <a:pt x="120" y="273"/>
                    </a:lnTo>
                    <a:lnTo>
                      <a:pt x="124" y="274"/>
                    </a:lnTo>
                    <a:lnTo>
                      <a:pt x="130" y="278"/>
                    </a:lnTo>
                    <a:lnTo>
                      <a:pt x="133" y="279"/>
                    </a:lnTo>
                    <a:lnTo>
                      <a:pt x="136" y="279"/>
                    </a:lnTo>
                    <a:lnTo>
                      <a:pt x="140" y="278"/>
                    </a:lnTo>
                    <a:lnTo>
                      <a:pt x="144" y="276"/>
                    </a:lnTo>
                    <a:lnTo>
                      <a:pt x="147" y="278"/>
                    </a:lnTo>
                    <a:lnTo>
                      <a:pt x="147" y="278"/>
                    </a:lnTo>
                    <a:lnTo>
                      <a:pt x="149" y="281"/>
                    </a:lnTo>
                    <a:lnTo>
                      <a:pt x="151" y="284"/>
                    </a:lnTo>
                    <a:lnTo>
                      <a:pt x="149" y="287"/>
                    </a:lnTo>
                    <a:lnTo>
                      <a:pt x="146" y="292"/>
                    </a:lnTo>
                    <a:lnTo>
                      <a:pt x="143" y="294"/>
                    </a:lnTo>
                    <a:lnTo>
                      <a:pt x="143" y="294"/>
                    </a:lnTo>
                    <a:lnTo>
                      <a:pt x="146" y="297"/>
                    </a:lnTo>
                    <a:lnTo>
                      <a:pt x="147" y="300"/>
                    </a:lnTo>
                    <a:lnTo>
                      <a:pt x="149" y="303"/>
                    </a:lnTo>
                    <a:lnTo>
                      <a:pt x="149" y="306"/>
                    </a:lnTo>
                    <a:lnTo>
                      <a:pt x="151" y="311"/>
                    </a:lnTo>
                    <a:lnTo>
                      <a:pt x="154" y="313"/>
                    </a:lnTo>
                    <a:lnTo>
                      <a:pt x="162" y="316"/>
                    </a:lnTo>
                    <a:lnTo>
                      <a:pt x="163" y="320"/>
                    </a:lnTo>
                    <a:lnTo>
                      <a:pt x="166" y="324"/>
                    </a:lnTo>
                    <a:lnTo>
                      <a:pt x="170" y="325"/>
                    </a:lnTo>
                    <a:lnTo>
                      <a:pt x="173" y="325"/>
                    </a:lnTo>
                    <a:lnTo>
                      <a:pt x="178" y="327"/>
                    </a:lnTo>
                    <a:lnTo>
                      <a:pt x="181" y="328"/>
                    </a:lnTo>
                    <a:lnTo>
                      <a:pt x="182" y="325"/>
                    </a:lnTo>
                    <a:lnTo>
                      <a:pt x="184" y="322"/>
                    </a:lnTo>
                    <a:lnTo>
                      <a:pt x="184" y="319"/>
                    </a:lnTo>
                    <a:lnTo>
                      <a:pt x="184" y="319"/>
                    </a:lnTo>
                    <a:lnTo>
                      <a:pt x="184" y="314"/>
                    </a:lnTo>
                    <a:lnTo>
                      <a:pt x="184" y="311"/>
                    </a:lnTo>
                    <a:lnTo>
                      <a:pt x="189" y="308"/>
                    </a:lnTo>
                    <a:lnTo>
                      <a:pt x="187" y="305"/>
                    </a:lnTo>
                    <a:lnTo>
                      <a:pt x="189" y="301"/>
                    </a:lnTo>
                    <a:lnTo>
                      <a:pt x="187" y="297"/>
                    </a:lnTo>
                    <a:lnTo>
                      <a:pt x="192" y="297"/>
                    </a:lnTo>
                    <a:lnTo>
                      <a:pt x="195" y="295"/>
                    </a:lnTo>
                    <a:lnTo>
                      <a:pt x="198" y="294"/>
                    </a:lnTo>
                    <a:lnTo>
                      <a:pt x="201" y="295"/>
                    </a:lnTo>
                    <a:lnTo>
                      <a:pt x="205" y="294"/>
                    </a:lnTo>
                    <a:lnTo>
                      <a:pt x="203" y="290"/>
                    </a:lnTo>
                    <a:lnTo>
                      <a:pt x="201" y="287"/>
                    </a:lnTo>
                    <a:lnTo>
                      <a:pt x="198" y="286"/>
                    </a:lnTo>
                    <a:lnTo>
                      <a:pt x="193" y="284"/>
                    </a:lnTo>
                    <a:lnTo>
                      <a:pt x="190" y="281"/>
                    </a:lnTo>
                    <a:lnTo>
                      <a:pt x="187" y="281"/>
                    </a:lnTo>
                    <a:lnTo>
                      <a:pt x="185" y="278"/>
                    </a:lnTo>
                    <a:lnTo>
                      <a:pt x="184" y="274"/>
                    </a:lnTo>
                    <a:lnTo>
                      <a:pt x="185" y="271"/>
                    </a:lnTo>
                    <a:lnTo>
                      <a:pt x="185" y="267"/>
                    </a:lnTo>
                    <a:lnTo>
                      <a:pt x="185" y="263"/>
                    </a:lnTo>
                    <a:lnTo>
                      <a:pt x="187" y="263"/>
                    </a:lnTo>
                    <a:lnTo>
                      <a:pt x="189" y="262"/>
                    </a:lnTo>
                    <a:lnTo>
                      <a:pt x="192" y="265"/>
                    </a:lnTo>
                    <a:lnTo>
                      <a:pt x="192" y="268"/>
                    </a:lnTo>
                    <a:lnTo>
                      <a:pt x="193" y="271"/>
                    </a:lnTo>
                    <a:lnTo>
                      <a:pt x="195" y="274"/>
                    </a:lnTo>
                    <a:lnTo>
                      <a:pt x="198" y="274"/>
                    </a:lnTo>
                    <a:lnTo>
                      <a:pt x="197" y="271"/>
                    </a:lnTo>
                    <a:lnTo>
                      <a:pt x="197" y="268"/>
                    </a:lnTo>
                    <a:lnTo>
                      <a:pt x="198" y="273"/>
                    </a:lnTo>
                    <a:lnTo>
                      <a:pt x="201" y="274"/>
                    </a:lnTo>
                    <a:lnTo>
                      <a:pt x="206" y="274"/>
                    </a:lnTo>
                    <a:lnTo>
                      <a:pt x="209" y="273"/>
                    </a:lnTo>
                    <a:lnTo>
                      <a:pt x="212" y="276"/>
                    </a:lnTo>
                    <a:lnTo>
                      <a:pt x="208" y="279"/>
                    </a:lnTo>
                    <a:lnTo>
                      <a:pt x="208" y="282"/>
                    </a:lnTo>
                    <a:lnTo>
                      <a:pt x="211" y="281"/>
                    </a:lnTo>
                    <a:lnTo>
                      <a:pt x="214" y="279"/>
                    </a:lnTo>
                    <a:lnTo>
                      <a:pt x="217" y="279"/>
                    </a:lnTo>
                    <a:lnTo>
                      <a:pt x="219" y="279"/>
                    </a:lnTo>
                    <a:lnTo>
                      <a:pt x="222" y="278"/>
                    </a:lnTo>
                    <a:lnTo>
                      <a:pt x="222" y="278"/>
                    </a:lnTo>
                    <a:lnTo>
                      <a:pt x="225" y="279"/>
                    </a:lnTo>
                    <a:lnTo>
                      <a:pt x="228" y="279"/>
                    </a:lnTo>
                    <a:lnTo>
                      <a:pt x="231" y="279"/>
                    </a:lnTo>
                    <a:lnTo>
                      <a:pt x="235" y="279"/>
                    </a:lnTo>
                    <a:lnTo>
                      <a:pt x="238" y="279"/>
                    </a:lnTo>
                    <a:lnTo>
                      <a:pt x="241" y="281"/>
                    </a:lnTo>
                    <a:lnTo>
                      <a:pt x="244" y="281"/>
                    </a:lnTo>
                    <a:lnTo>
                      <a:pt x="243" y="278"/>
                    </a:lnTo>
                    <a:lnTo>
                      <a:pt x="244" y="274"/>
                    </a:lnTo>
                    <a:lnTo>
                      <a:pt x="244" y="271"/>
                    </a:lnTo>
                    <a:lnTo>
                      <a:pt x="246" y="268"/>
                    </a:lnTo>
                    <a:lnTo>
                      <a:pt x="247" y="262"/>
                    </a:lnTo>
                    <a:lnTo>
                      <a:pt x="252" y="260"/>
                    </a:lnTo>
                    <a:lnTo>
                      <a:pt x="255" y="260"/>
                    </a:lnTo>
                    <a:lnTo>
                      <a:pt x="260" y="263"/>
                    </a:lnTo>
                    <a:lnTo>
                      <a:pt x="257" y="265"/>
                    </a:lnTo>
                    <a:lnTo>
                      <a:pt x="258" y="270"/>
                    </a:lnTo>
                    <a:lnTo>
                      <a:pt x="258" y="273"/>
                    </a:lnTo>
                    <a:lnTo>
                      <a:pt x="260" y="276"/>
                    </a:lnTo>
                    <a:lnTo>
                      <a:pt x="263" y="279"/>
                    </a:lnTo>
                    <a:lnTo>
                      <a:pt x="266" y="281"/>
                    </a:lnTo>
                    <a:lnTo>
                      <a:pt x="270" y="276"/>
                    </a:lnTo>
                    <a:lnTo>
                      <a:pt x="271" y="271"/>
                    </a:lnTo>
                    <a:lnTo>
                      <a:pt x="271" y="268"/>
                    </a:lnTo>
                    <a:lnTo>
                      <a:pt x="270" y="267"/>
                    </a:lnTo>
                    <a:lnTo>
                      <a:pt x="268" y="263"/>
                    </a:lnTo>
                    <a:lnTo>
                      <a:pt x="266" y="262"/>
                    </a:lnTo>
                    <a:lnTo>
                      <a:pt x="265" y="259"/>
                    </a:lnTo>
                    <a:lnTo>
                      <a:pt x="266" y="254"/>
                    </a:lnTo>
                    <a:lnTo>
                      <a:pt x="271" y="252"/>
                    </a:lnTo>
                    <a:lnTo>
                      <a:pt x="276" y="252"/>
                    </a:lnTo>
                    <a:lnTo>
                      <a:pt x="279" y="254"/>
                    </a:lnTo>
                    <a:lnTo>
                      <a:pt x="284" y="259"/>
                    </a:lnTo>
                    <a:lnTo>
                      <a:pt x="284" y="254"/>
                    </a:lnTo>
                    <a:lnTo>
                      <a:pt x="281" y="252"/>
                    </a:lnTo>
                    <a:lnTo>
                      <a:pt x="279" y="249"/>
                    </a:lnTo>
                    <a:lnTo>
                      <a:pt x="277" y="246"/>
                    </a:lnTo>
                    <a:lnTo>
                      <a:pt x="281" y="244"/>
                    </a:lnTo>
                    <a:lnTo>
                      <a:pt x="281" y="243"/>
                    </a:lnTo>
                    <a:lnTo>
                      <a:pt x="282" y="238"/>
                    </a:lnTo>
                    <a:lnTo>
                      <a:pt x="282" y="240"/>
                    </a:lnTo>
                    <a:lnTo>
                      <a:pt x="285" y="238"/>
                    </a:lnTo>
                    <a:lnTo>
                      <a:pt x="289" y="240"/>
                    </a:lnTo>
                    <a:lnTo>
                      <a:pt x="292" y="243"/>
                    </a:lnTo>
                    <a:lnTo>
                      <a:pt x="290" y="246"/>
                    </a:lnTo>
                    <a:lnTo>
                      <a:pt x="289" y="249"/>
                    </a:lnTo>
                    <a:lnTo>
                      <a:pt x="287" y="252"/>
                    </a:lnTo>
                    <a:lnTo>
                      <a:pt x="290" y="255"/>
                    </a:lnTo>
                    <a:lnTo>
                      <a:pt x="290" y="259"/>
                    </a:lnTo>
                    <a:lnTo>
                      <a:pt x="292" y="263"/>
                    </a:lnTo>
                    <a:lnTo>
                      <a:pt x="290" y="267"/>
                    </a:lnTo>
                    <a:lnTo>
                      <a:pt x="295" y="268"/>
                    </a:lnTo>
                    <a:lnTo>
                      <a:pt x="298" y="268"/>
                    </a:lnTo>
                    <a:lnTo>
                      <a:pt x="298" y="263"/>
                    </a:lnTo>
                    <a:lnTo>
                      <a:pt x="300" y="263"/>
                    </a:lnTo>
                    <a:lnTo>
                      <a:pt x="303" y="260"/>
                    </a:lnTo>
                    <a:lnTo>
                      <a:pt x="306" y="260"/>
                    </a:lnTo>
                    <a:lnTo>
                      <a:pt x="308" y="255"/>
                    </a:lnTo>
                    <a:lnTo>
                      <a:pt x="306" y="252"/>
                    </a:lnTo>
                    <a:lnTo>
                      <a:pt x="304" y="249"/>
                    </a:lnTo>
                    <a:lnTo>
                      <a:pt x="304" y="246"/>
                    </a:lnTo>
                    <a:lnTo>
                      <a:pt x="304" y="241"/>
                    </a:lnTo>
                    <a:lnTo>
                      <a:pt x="306" y="238"/>
                    </a:lnTo>
                    <a:lnTo>
                      <a:pt x="311" y="236"/>
                    </a:lnTo>
                    <a:lnTo>
                      <a:pt x="314" y="235"/>
                    </a:lnTo>
                    <a:lnTo>
                      <a:pt x="314" y="235"/>
                    </a:lnTo>
                    <a:lnTo>
                      <a:pt x="309" y="232"/>
                    </a:lnTo>
                    <a:lnTo>
                      <a:pt x="306" y="228"/>
                    </a:lnTo>
                    <a:lnTo>
                      <a:pt x="303" y="225"/>
                    </a:lnTo>
                    <a:lnTo>
                      <a:pt x="300" y="221"/>
                    </a:lnTo>
                    <a:lnTo>
                      <a:pt x="297" y="217"/>
                    </a:lnTo>
                    <a:lnTo>
                      <a:pt x="295" y="214"/>
                    </a:lnTo>
                    <a:lnTo>
                      <a:pt x="293" y="211"/>
                    </a:lnTo>
                    <a:lnTo>
                      <a:pt x="292" y="206"/>
                    </a:lnTo>
                    <a:lnTo>
                      <a:pt x="292" y="203"/>
                    </a:lnTo>
                    <a:lnTo>
                      <a:pt x="292" y="200"/>
                    </a:lnTo>
                    <a:lnTo>
                      <a:pt x="290" y="197"/>
                    </a:lnTo>
                    <a:lnTo>
                      <a:pt x="290" y="192"/>
                    </a:lnTo>
                    <a:lnTo>
                      <a:pt x="290" y="189"/>
                    </a:lnTo>
                    <a:lnTo>
                      <a:pt x="290" y="187"/>
                    </a:lnTo>
                    <a:lnTo>
                      <a:pt x="293" y="186"/>
                    </a:lnTo>
                    <a:lnTo>
                      <a:pt x="289" y="170"/>
                    </a:lnTo>
                    <a:lnTo>
                      <a:pt x="282" y="157"/>
                    </a:lnTo>
                    <a:lnTo>
                      <a:pt x="281" y="152"/>
                    </a:lnTo>
                    <a:lnTo>
                      <a:pt x="276" y="151"/>
                    </a:lnTo>
                    <a:lnTo>
                      <a:pt x="274" y="146"/>
                    </a:lnTo>
                    <a:lnTo>
                      <a:pt x="273" y="144"/>
                    </a:lnTo>
                    <a:lnTo>
                      <a:pt x="270" y="138"/>
                    </a:lnTo>
                    <a:lnTo>
                      <a:pt x="270" y="135"/>
                    </a:lnTo>
                    <a:lnTo>
                      <a:pt x="270" y="132"/>
                    </a:lnTo>
                    <a:lnTo>
                      <a:pt x="271" y="127"/>
                    </a:lnTo>
                    <a:lnTo>
                      <a:pt x="273" y="127"/>
                    </a:lnTo>
                    <a:lnTo>
                      <a:pt x="276" y="125"/>
                    </a:lnTo>
                    <a:lnTo>
                      <a:pt x="277" y="125"/>
                    </a:lnTo>
                    <a:lnTo>
                      <a:pt x="279" y="127"/>
                    </a:lnTo>
                    <a:lnTo>
                      <a:pt x="282" y="129"/>
                    </a:lnTo>
                    <a:lnTo>
                      <a:pt x="285" y="130"/>
                    </a:lnTo>
                    <a:lnTo>
                      <a:pt x="284" y="127"/>
                    </a:lnTo>
                    <a:lnTo>
                      <a:pt x="281" y="124"/>
                    </a:lnTo>
                    <a:lnTo>
                      <a:pt x="279" y="121"/>
                    </a:lnTo>
                    <a:lnTo>
                      <a:pt x="279" y="116"/>
                    </a:lnTo>
                    <a:lnTo>
                      <a:pt x="279" y="113"/>
                    </a:lnTo>
                    <a:lnTo>
                      <a:pt x="276" y="110"/>
                    </a:lnTo>
                    <a:lnTo>
                      <a:pt x="277" y="106"/>
                    </a:lnTo>
                    <a:lnTo>
                      <a:pt x="276" y="103"/>
                    </a:lnTo>
                    <a:lnTo>
                      <a:pt x="277" y="100"/>
                    </a:lnTo>
                    <a:lnTo>
                      <a:pt x="281" y="98"/>
                    </a:lnTo>
                    <a:lnTo>
                      <a:pt x="279" y="95"/>
                    </a:lnTo>
                    <a:lnTo>
                      <a:pt x="281" y="92"/>
                    </a:lnTo>
                    <a:lnTo>
                      <a:pt x="279" y="89"/>
                    </a:lnTo>
                    <a:lnTo>
                      <a:pt x="277" y="86"/>
                    </a:lnTo>
                    <a:lnTo>
                      <a:pt x="277" y="81"/>
                    </a:lnTo>
                    <a:lnTo>
                      <a:pt x="276" y="78"/>
                    </a:lnTo>
                    <a:lnTo>
                      <a:pt x="273" y="75"/>
                    </a:lnTo>
                    <a:lnTo>
                      <a:pt x="271" y="72"/>
                    </a:lnTo>
                    <a:lnTo>
                      <a:pt x="268" y="68"/>
                    </a:lnTo>
                    <a:lnTo>
                      <a:pt x="265" y="64"/>
                    </a:lnTo>
                    <a:lnTo>
                      <a:pt x="263" y="60"/>
                    </a:lnTo>
                    <a:lnTo>
                      <a:pt x="263" y="60"/>
                    </a:lnTo>
                    <a:lnTo>
                      <a:pt x="258" y="59"/>
                    </a:lnTo>
                    <a:lnTo>
                      <a:pt x="258" y="56"/>
                    </a:lnTo>
                    <a:lnTo>
                      <a:pt x="255" y="51"/>
                    </a:lnTo>
                    <a:lnTo>
                      <a:pt x="252" y="49"/>
                    </a:lnTo>
                    <a:lnTo>
                      <a:pt x="247" y="46"/>
                    </a:lnTo>
                    <a:lnTo>
                      <a:pt x="244" y="43"/>
                    </a:lnTo>
                    <a:lnTo>
                      <a:pt x="243" y="41"/>
                    </a:lnTo>
                    <a:lnTo>
                      <a:pt x="239" y="40"/>
                    </a:lnTo>
                    <a:lnTo>
                      <a:pt x="236" y="38"/>
                    </a:lnTo>
                    <a:lnTo>
                      <a:pt x="230" y="30"/>
                    </a:lnTo>
                    <a:lnTo>
                      <a:pt x="224" y="22"/>
                    </a:lnTo>
                    <a:lnTo>
                      <a:pt x="219" y="13"/>
                    </a:lnTo>
                    <a:lnTo>
                      <a:pt x="216" y="5"/>
                    </a:lnTo>
                    <a:lnTo>
                      <a:pt x="212" y="6"/>
                    </a:lnTo>
                    <a:lnTo>
                      <a:pt x="209" y="6"/>
                    </a:lnTo>
                    <a:lnTo>
                      <a:pt x="206" y="3"/>
                    </a:lnTo>
                    <a:lnTo>
                      <a:pt x="203" y="2"/>
                    </a:lnTo>
                    <a:lnTo>
                      <a:pt x="198" y="0"/>
                    </a:lnTo>
                    <a:lnTo>
                      <a:pt x="195" y="2"/>
                    </a:lnTo>
                    <a:lnTo>
                      <a:pt x="195" y="5"/>
                    </a:lnTo>
                    <a:lnTo>
                      <a:pt x="197" y="8"/>
                    </a:lnTo>
                    <a:lnTo>
                      <a:pt x="198" y="11"/>
                    </a:lnTo>
                    <a:lnTo>
                      <a:pt x="201" y="14"/>
                    </a:lnTo>
                    <a:lnTo>
                      <a:pt x="205" y="13"/>
                    </a:lnTo>
                    <a:lnTo>
                      <a:pt x="208" y="13"/>
                    </a:lnTo>
                    <a:lnTo>
                      <a:pt x="209" y="10"/>
                    </a:lnTo>
                    <a:lnTo>
                      <a:pt x="212" y="11"/>
                    </a:lnTo>
                    <a:lnTo>
                      <a:pt x="216" y="16"/>
                    </a:lnTo>
                    <a:lnTo>
                      <a:pt x="217" y="19"/>
                    </a:lnTo>
                    <a:lnTo>
                      <a:pt x="217" y="22"/>
                    </a:lnTo>
                    <a:lnTo>
                      <a:pt x="217" y="26"/>
                    </a:lnTo>
                    <a:lnTo>
                      <a:pt x="212" y="24"/>
                    </a:lnTo>
                    <a:lnTo>
                      <a:pt x="209" y="22"/>
                    </a:lnTo>
                    <a:lnTo>
                      <a:pt x="206" y="21"/>
                    </a:lnTo>
                    <a:lnTo>
                      <a:pt x="208" y="24"/>
                    </a:lnTo>
                    <a:lnTo>
                      <a:pt x="206" y="27"/>
                    </a:lnTo>
                    <a:lnTo>
                      <a:pt x="203" y="27"/>
                    </a:lnTo>
                    <a:lnTo>
                      <a:pt x="200" y="22"/>
                    </a:lnTo>
                    <a:lnTo>
                      <a:pt x="198" y="19"/>
                    </a:lnTo>
                    <a:lnTo>
                      <a:pt x="195" y="16"/>
                    </a:lnTo>
                    <a:lnTo>
                      <a:pt x="193" y="13"/>
                    </a:lnTo>
                    <a:lnTo>
                      <a:pt x="190" y="11"/>
                    </a:lnTo>
                    <a:lnTo>
                      <a:pt x="185" y="11"/>
                    </a:lnTo>
                    <a:lnTo>
                      <a:pt x="182" y="10"/>
                    </a:lnTo>
                    <a:lnTo>
                      <a:pt x="182" y="11"/>
                    </a:lnTo>
                    <a:lnTo>
                      <a:pt x="182" y="16"/>
                    </a:lnTo>
                    <a:lnTo>
                      <a:pt x="187" y="18"/>
                    </a:lnTo>
                    <a:lnTo>
                      <a:pt x="187" y="22"/>
                    </a:lnTo>
                    <a:lnTo>
                      <a:pt x="189" y="26"/>
                    </a:lnTo>
                    <a:lnTo>
                      <a:pt x="190" y="29"/>
                    </a:lnTo>
                    <a:lnTo>
                      <a:pt x="187" y="30"/>
                    </a:lnTo>
                    <a:lnTo>
                      <a:pt x="182" y="30"/>
                    </a:lnTo>
                    <a:lnTo>
                      <a:pt x="182" y="35"/>
                    </a:lnTo>
                    <a:lnTo>
                      <a:pt x="182" y="38"/>
                    </a:lnTo>
                    <a:lnTo>
                      <a:pt x="185" y="40"/>
                    </a:lnTo>
                    <a:lnTo>
                      <a:pt x="187" y="43"/>
                    </a:lnTo>
                    <a:lnTo>
                      <a:pt x="190" y="46"/>
                    </a:lnTo>
                    <a:lnTo>
                      <a:pt x="192" y="46"/>
                    </a:lnTo>
                    <a:lnTo>
                      <a:pt x="193" y="49"/>
                    </a:lnTo>
                    <a:lnTo>
                      <a:pt x="195" y="54"/>
                    </a:lnTo>
                    <a:lnTo>
                      <a:pt x="195" y="57"/>
                    </a:lnTo>
                    <a:lnTo>
                      <a:pt x="195" y="60"/>
                    </a:lnTo>
                    <a:lnTo>
                      <a:pt x="192" y="62"/>
                    </a:lnTo>
                    <a:lnTo>
                      <a:pt x="189" y="60"/>
                    </a:lnTo>
                    <a:lnTo>
                      <a:pt x="192" y="65"/>
                    </a:lnTo>
                    <a:lnTo>
                      <a:pt x="195" y="67"/>
                    </a:lnTo>
                    <a:lnTo>
                      <a:pt x="198" y="65"/>
                    </a:lnTo>
                    <a:lnTo>
                      <a:pt x="201" y="67"/>
                    </a:lnTo>
                    <a:lnTo>
                      <a:pt x="203" y="68"/>
                    </a:lnTo>
                    <a:lnTo>
                      <a:pt x="206" y="72"/>
                    </a:lnTo>
                    <a:lnTo>
                      <a:pt x="208" y="75"/>
                    </a:lnTo>
                    <a:lnTo>
                      <a:pt x="211" y="78"/>
                    </a:lnTo>
                    <a:lnTo>
                      <a:pt x="211" y="81"/>
                    </a:lnTo>
                    <a:lnTo>
                      <a:pt x="212" y="84"/>
                    </a:lnTo>
                    <a:lnTo>
                      <a:pt x="212" y="87"/>
                    </a:lnTo>
                    <a:lnTo>
                      <a:pt x="212" y="91"/>
                    </a:lnTo>
                    <a:lnTo>
                      <a:pt x="212" y="94"/>
                    </a:lnTo>
                    <a:lnTo>
                      <a:pt x="214" y="97"/>
                    </a:lnTo>
                    <a:lnTo>
                      <a:pt x="214" y="98"/>
                    </a:lnTo>
                    <a:lnTo>
                      <a:pt x="216" y="102"/>
                    </a:lnTo>
                    <a:lnTo>
                      <a:pt x="216" y="105"/>
                    </a:lnTo>
                    <a:lnTo>
                      <a:pt x="216" y="106"/>
                    </a:lnTo>
                    <a:lnTo>
                      <a:pt x="217" y="110"/>
                    </a:lnTo>
                    <a:lnTo>
                      <a:pt x="216" y="113"/>
                    </a:lnTo>
                    <a:lnTo>
                      <a:pt x="214" y="116"/>
                    </a:lnTo>
                    <a:lnTo>
                      <a:pt x="214" y="122"/>
                    </a:lnTo>
                    <a:lnTo>
                      <a:pt x="214" y="125"/>
                    </a:lnTo>
                    <a:lnTo>
                      <a:pt x="217" y="132"/>
                    </a:lnTo>
                    <a:lnTo>
                      <a:pt x="219" y="137"/>
                    </a:lnTo>
                    <a:lnTo>
                      <a:pt x="217" y="138"/>
                    </a:lnTo>
                    <a:lnTo>
                      <a:pt x="217" y="140"/>
                    </a:lnTo>
                    <a:lnTo>
                      <a:pt x="214" y="143"/>
                    </a:lnTo>
                    <a:lnTo>
                      <a:pt x="211" y="146"/>
                    </a:lnTo>
                    <a:lnTo>
                      <a:pt x="211" y="146"/>
                    </a:lnTo>
                    <a:lnTo>
                      <a:pt x="209" y="146"/>
                    </a:lnTo>
                    <a:lnTo>
                      <a:pt x="206" y="149"/>
                    </a:lnTo>
                    <a:lnTo>
                      <a:pt x="205" y="152"/>
                    </a:lnTo>
                    <a:lnTo>
                      <a:pt x="206" y="156"/>
                    </a:lnTo>
                    <a:lnTo>
                      <a:pt x="206" y="159"/>
                    </a:lnTo>
                    <a:lnTo>
                      <a:pt x="205" y="163"/>
                    </a:lnTo>
                    <a:lnTo>
                      <a:pt x="203" y="170"/>
                    </a:lnTo>
                    <a:lnTo>
                      <a:pt x="200" y="175"/>
                    </a:lnTo>
                    <a:lnTo>
                      <a:pt x="195" y="176"/>
                    </a:lnTo>
                    <a:lnTo>
                      <a:pt x="185" y="181"/>
                    </a:lnTo>
                    <a:lnTo>
                      <a:pt x="178" y="186"/>
                    </a:lnTo>
                    <a:lnTo>
                      <a:pt x="176" y="189"/>
                    </a:lnTo>
                    <a:lnTo>
                      <a:pt x="176" y="192"/>
                    </a:lnTo>
                    <a:lnTo>
                      <a:pt x="173" y="194"/>
                    </a:lnTo>
                    <a:lnTo>
                      <a:pt x="168" y="194"/>
                    </a:lnTo>
                    <a:lnTo>
                      <a:pt x="165" y="192"/>
                    </a:lnTo>
                    <a:lnTo>
                      <a:pt x="162" y="189"/>
                    </a:lnTo>
                    <a:lnTo>
                      <a:pt x="162" y="184"/>
                    </a:lnTo>
                    <a:lnTo>
                      <a:pt x="160" y="181"/>
                    </a:lnTo>
                    <a:lnTo>
                      <a:pt x="157" y="181"/>
                    </a:lnTo>
                    <a:lnTo>
                      <a:pt x="154" y="179"/>
                    </a:lnTo>
                    <a:lnTo>
                      <a:pt x="154" y="175"/>
                    </a:lnTo>
                    <a:lnTo>
                      <a:pt x="159" y="175"/>
                    </a:lnTo>
                    <a:lnTo>
                      <a:pt x="159" y="171"/>
                    </a:lnTo>
                    <a:lnTo>
                      <a:pt x="162" y="170"/>
                    </a:lnTo>
                    <a:lnTo>
                      <a:pt x="160" y="165"/>
                    </a:lnTo>
                    <a:lnTo>
                      <a:pt x="162" y="162"/>
                    </a:lnTo>
                    <a:lnTo>
                      <a:pt x="159" y="162"/>
                    </a:lnTo>
                    <a:lnTo>
                      <a:pt x="154" y="163"/>
                    </a:lnTo>
                    <a:lnTo>
                      <a:pt x="151" y="167"/>
                    </a:lnTo>
                    <a:lnTo>
                      <a:pt x="147" y="167"/>
                    </a:lnTo>
                    <a:lnTo>
                      <a:pt x="144" y="170"/>
                    </a:lnTo>
                    <a:lnTo>
                      <a:pt x="144" y="175"/>
                    </a:lnTo>
                    <a:lnTo>
                      <a:pt x="147" y="178"/>
                    </a:lnTo>
                    <a:lnTo>
                      <a:pt x="149" y="181"/>
                    </a:lnTo>
                    <a:lnTo>
                      <a:pt x="152" y="184"/>
                    </a:lnTo>
                    <a:lnTo>
                      <a:pt x="154" y="189"/>
                    </a:lnTo>
                    <a:lnTo>
                      <a:pt x="154" y="192"/>
                    </a:lnTo>
                    <a:lnTo>
                      <a:pt x="154" y="195"/>
                    </a:lnTo>
                    <a:lnTo>
                      <a:pt x="154" y="198"/>
                    </a:lnTo>
                    <a:lnTo>
                      <a:pt x="152" y="203"/>
                    </a:lnTo>
                    <a:lnTo>
                      <a:pt x="151" y="206"/>
                    </a:lnTo>
                    <a:lnTo>
                      <a:pt x="149" y="209"/>
                    </a:lnTo>
                    <a:lnTo>
                      <a:pt x="147" y="213"/>
                    </a:lnTo>
                    <a:lnTo>
                      <a:pt x="144" y="214"/>
                    </a:lnTo>
                    <a:lnTo>
                      <a:pt x="144" y="217"/>
                    </a:lnTo>
                    <a:lnTo>
                      <a:pt x="143" y="221"/>
                    </a:lnTo>
                    <a:lnTo>
                      <a:pt x="143" y="225"/>
                    </a:lnTo>
                    <a:lnTo>
                      <a:pt x="146" y="228"/>
                    </a:lnTo>
                    <a:lnTo>
                      <a:pt x="149" y="232"/>
                    </a:lnTo>
                    <a:lnTo>
                      <a:pt x="152" y="235"/>
                    </a:lnTo>
                    <a:lnTo>
                      <a:pt x="152" y="238"/>
                    </a:lnTo>
                    <a:lnTo>
                      <a:pt x="149" y="236"/>
                    </a:lnTo>
                    <a:lnTo>
                      <a:pt x="147" y="240"/>
                    </a:lnTo>
                    <a:lnTo>
                      <a:pt x="144" y="240"/>
                    </a:lnTo>
                    <a:lnTo>
                      <a:pt x="144" y="243"/>
                    </a:lnTo>
                    <a:lnTo>
                      <a:pt x="141" y="244"/>
                    </a:lnTo>
                    <a:lnTo>
                      <a:pt x="138" y="244"/>
                    </a:lnTo>
                    <a:lnTo>
                      <a:pt x="135" y="243"/>
                    </a:lnTo>
                    <a:lnTo>
                      <a:pt x="133" y="243"/>
                    </a:lnTo>
                    <a:lnTo>
                      <a:pt x="130" y="243"/>
                    </a:lnTo>
                    <a:lnTo>
                      <a:pt x="133" y="246"/>
                    </a:lnTo>
                    <a:lnTo>
                      <a:pt x="128" y="244"/>
                    </a:lnTo>
                    <a:lnTo>
                      <a:pt x="125" y="243"/>
                    </a:lnTo>
                    <a:lnTo>
                      <a:pt x="125" y="240"/>
                    </a:lnTo>
                    <a:lnTo>
                      <a:pt x="125" y="236"/>
                    </a:lnTo>
                    <a:lnTo>
                      <a:pt x="122" y="233"/>
                    </a:lnTo>
                    <a:lnTo>
                      <a:pt x="119" y="235"/>
                    </a:lnTo>
                    <a:lnTo>
                      <a:pt x="116" y="236"/>
                    </a:lnTo>
                    <a:lnTo>
                      <a:pt x="113" y="238"/>
                    </a:lnTo>
                    <a:lnTo>
                      <a:pt x="109" y="238"/>
                    </a:lnTo>
                    <a:lnTo>
                      <a:pt x="106" y="238"/>
                    </a:lnTo>
                    <a:lnTo>
                      <a:pt x="95" y="241"/>
                    </a:lnTo>
                    <a:lnTo>
                      <a:pt x="84" y="244"/>
                    </a:lnTo>
                    <a:lnTo>
                      <a:pt x="79" y="244"/>
                    </a:lnTo>
                    <a:lnTo>
                      <a:pt x="76" y="244"/>
                    </a:lnTo>
                    <a:lnTo>
                      <a:pt x="73" y="244"/>
                    </a:lnTo>
                    <a:lnTo>
                      <a:pt x="70" y="244"/>
                    </a:lnTo>
                    <a:lnTo>
                      <a:pt x="67" y="246"/>
                    </a:lnTo>
                    <a:lnTo>
                      <a:pt x="62" y="246"/>
                    </a:lnTo>
                    <a:lnTo>
                      <a:pt x="59" y="243"/>
                    </a:lnTo>
                    <a:lnTo>
                      <a:pt x="59" y="241"/>
                    </a:lnTo>
                    <a:lnTo>
                      <a:pt x="54" y="241"/>
                    </a:lnTo>
                    <a:lnTo>
                      <a:pt x="51" y="243"/>
                    </a:lnTo>
                    <a:lnTo>
                      <a:pt x="48" y="244"/>
                    </a:lnTo>
                    <a:lnTo>
                      <a:pt x="41" y="248"/>
                    </a:lnTo>
                    <a:lnTo>
                      <a:pt x="43" y="251"/>
                    </a:lnTo>
                    <a:lnTo>
                      <a:pt x="41" y="254"/>
                    </a:lnTo>
                    <a:lnTo>
                      <a:pt x="38" y="257"/>
                    </a:lnTo>
                    <a:lnTo>
                      <a:pt x="36" y="260"/>
                    </a:lnTo>
                    <a:lnTo>
                      <a:pt x="33" y="263"/>
                    </a:lnTo>
                    <a:lnTo>
                      <a:pt x="30" y="267"/>
                    </a:lnTo>
                    <a:lnTo>
                      <a:pt x="28" y="270"/>
                    </a:lnTo>
                    <a:lnTo>
                      <a:pt x="27" y="274"/>
                    </a:lnTo>
                    <a:lnTo>
                      <a:pt x="24" y="278"/>
                    </a:lnTo>
                    <a:lnTo>
                      <a:pt x="21" y="278"/>
                    </a:lnTo>
                    <a:lnTo>
                      <a:pt x="17" y="281"/>
                    </a:lnTo>
                    <a:lnTo>
                      <a:pt x="16" y="286"/>
                    </a:lnTo>
                    <a:lnTo>
                      <a:pt x="14" y="289"/>
                    </a:lnTo>
                    <a:lnTo>
                      <a:pt x="11" y="290"/>
                    </a:lnTo>
                    <a:lnTo>
                      <a:pt x="8" y="290"/>
                    </a:lnTo>
                    <a:lnTo>
                      <a:pt x="5" y="289"/>
                    </a:lnTo>
                    <a:lnTo>
                      <a:pt x="0" y="290"/>
                    </a:lnTo>
                    <a:lnTo>
                      <a:pt x="0" y="294"/>
                    </a:lnTo>
                    <a:lnTo>
                      <a:pt x="3" y="298"/>
                    </a:lnTo>
                    <a:lnTo>
                      <a:pt x="2" y="301"/>
                    </a:lnTo>
                    <a:lnTo>
                      <a:pt x="5" y="305"/>
                    </a:lnTo>
                    <a:lnTo>
                      <a:pt x="6" y="309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83" name="Freeform 37"/>
              <p:cNvSpPr>
                <a:spLocks/>
              </p:cNvSpPr>
              <p:nvPr/>
            </p:nvSpPr>
            <p:spPr bwMode="auto">
              <a:xfrm>
                <a:off x="4847" y="1825"/>
                <a:ext cx="4" cy="3"/>
              </a:xfrm>
              <a:custGeom>
                <a:avLst/>
                <a:gdLst>
                  <a:gd name="T0" fmla="*/ 1 w 8"/>
                  <a:gd name="T1" fmla="*/ 2 h 5"/>
                  <a:gd name="T2" fmla="*/ 0 w 8"/>
                  <a:gd name="T3" fmla="*/ 4 h 5"/>
                  <a:gd name="T4" fmla="*/ 4 w 8"/>
                  <a:gd name="T5" fmla="*/ 5 h 5"/>
                  <a:gd name="T6" fmla="*/ 8 w 8"/>
                  <a:gd name="T7" fmla="*/ 4 h 5"/>
                  <a:gd name="T8" fmla="*/ 8 w 8"/>
                  <a:gd name="T9" fmla="*/ 0 h 5"/>
                  <a:gd name="T10" fmla="*/ 4 w 8"/>
                  <a:gd name="T11" fmla="*/ 0 h 5"/>
                  <a:gd name="T12" fmla="*/ 1 w 8"/>
                  <a:gd name="T13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5">
                    <a:moveTo>
                      <a:pt x="1" y="2"/>
                    </a:moveTo>
                    <a:lnTo>
                      <a:pt x="0" y="4"/>
                    </a:lnTo>
                    <a:lnTo>
                      <a:pt x="4" y="5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1" y="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84" name="Freeform 38"/>
              <p:cNvSpPr>
                <a:spLocks/>
              </p:cNvSpPr>
              <p:nvPr/>
            </p:nvSpPr>
            <p:spPr bwMode="auto">
              <a:xfrm>
                <a:off x="4865" y="1867"/>
                <a:ext cx="5" cy="5"/>
              </a:xfrm>
              <a:custGeom>
                <a:avLst/>
                <a:gdLst>
                  <a:gd name="T0" fmla="*/ 3 w 10"/>
                  <a:gd name="T1" fmla="*/ 0 h 9"/>
                  <a:gd name="T2" fmla="*/ 0 w 10"/>
                  <a:gd name="T3" fmla="*/ 1 h 9"/>
                  <a:gd name="T4" fmla="*/ 2 w 10"/>
                  <a:gd name="T5" fmla="*/ 4 h 9"/>
                  <a:gd name="T6" fmla="*/ 5 w 10"/>
                  <a:gd name="T7" fmla="*/ 7 h 9"/>
                  <a:gd name="T8" fmla="*/ 8 w 10"/>
                  <a:gd name="T9" fmla="*/ 9 h 9"/>
                  <a:gd name="T10" fmla="*/ 10 w 10"/>
                  <a:gd name="T11" fmla="*/ 4 h 9"/>
                  <a:gd name="T12" fmla="*/ 7 w 10"/>
                  <a:gd name="T13" fmla="*/ 1 h 9"/>
                  <a:gd name="T14" fmla="*/ 3 w 10"/>
                  <a:gd name="T1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9">
                    <a:moveTo>
                      <a:pt x="3" y="0"/>
                    </a:moveTo>
                    <a:lnTo>
                      <a:pt x="0" y="1"/>
                    </a:lnTo>
                    <a:lnTo>
                      <a:pt x="2" y="4"/>
                    </a:lnTo>
                    <a:lnTo>
                      <a:pt x="5" y="7"/>
                    </a:lnTo>
                    <a:lnTo>
                      <a:pt x="8" y="9"/>
                    </a:lnTo>
                    <a:lnTo>
                      <a:pt x="10" y="4"/>
                    </a:lnTo>
                    <a:lnTo>
                      <a:pt x="7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85" name="Freeform 39"/>
              <p:cNvSpPr>
                <a:spLocks/>
              </p:cNvSpPr>
              <p:nvPr/>
            </p:nvSpPr>
            <p:spPr bwMode="auto">
              <a:xfrm>
                <a:off x="4871" y="1787"/>
                <a:ext cx="42" cy="34"/>
              </a:xfrm>
              <a:custGeom>
                <a:avLst/>
                <a:gdLst>
                  <a:gd name="T0" fmla="*/ 9 w 84"/>
                  <a:gd name="T1" fmla="*/ 34 h 69"/>
                  <a:gd name="T2" fmla="*/ 3 w 84"/>
                  <a:gd name="T3" fmla="*/ 38 h 69"/>
                  <a:gd name="T4" fmla="*/ 3 w 84"/>
                  <a:gd name="T5" fmla="*/ 42 h 69"/>
                  <a:gd name="T6" fmla="*/ 9 w 84"/>
                  <a:gd name="T7" fmla="*/ 37 h 69"/>
                  <a:gd name="T8" fmla="*/ 14 w 84"/>
                  <a:gd name="T9" fmla="*/ 45 h 69"/>
                  <a:gd name="T10" fmla="*/ 19 w 84"/>
                  <a:gd name="T11" fmla="*/ 48 h 69"/>
                  <a:gd name="T12" fmla="*/ 19 w 84"/>
                  <a:gd name="T13" fmla="*/ 51 h 69"/>
                  <a:gd name="T14" fmla="*/ 22 w 84"/>
                  <a:gd name="T15" fmla="*/ 56 h 69"/>
                  <a:gd name="T16" fmla="*/ 25 w 84"/>
                  <a:gd name="T17" fmla="*/ 59 h 69"/>
                  <a:gd name="T18" fmla="*/ 30 w 84"/>
                  <a:gd name="T19" fmla="*/ 64 h 69"/>
                  <a:gd name="T20" fmla="*/ 36 w 84"/>
                  <a:gd name="T21" fmla="*/ 67 h 69"/>
                  <a:gd name="T22" fmla="*/ 44 w 84"/>
                  <a:gd name="T23" fmla="*/ 69 h 69"/>
                  <a:gd name="T24" fmla="*/ 41 w 84"/>
                  <a:gd name="T25" fmla="*/ 62 h 69"/>
                  <a:gd name="T26" fmla="*/ 41 w 84"/>
                  <a:gd name="T27" fmla="*/ 54 h 69"/>
                  <a:gd name="T28" fmla="*/ 44 w 84"/>
                  <a:gd name="T29" fmla="*/ 48 h 69"/>
                  <a:gd name="T30" fmla="*/ 47 w 84"/>
                  <a:gd name="T31" fmla="*/ 40 h 69"/>
                  <a:gd name="T32" fmla="*/ 55 w 84"/>
                  <a:gd name="T33" fmla="*/ 35 h 69"/>
                  <a:gd name="T34" fmla="*/ 65 w 84"/>
                  <a:gd name="T35" fmla="*/ 38 h 69"/>
                  <a:gd name="T36" fmla="*/ 74 w 84"/>
                  <a:gd name="T37" fmla="*/ 38 h 69"/>
                  <a:gd name="T38" fmla="*/ 78 w 84"/>
                  <a:gd name="T39" fmla="*/ 29 h 69"/>
                  <a:gd name="T40" fmla="*/ 79 w 84"/>
                  <a:gd name="T41" fmla="*/ 16 h 69"/>
                  <a:gd name="T42" fmla="*/ 76 w 84"/>
                  <a:gd name="T43" fmla="*/ 13 h 69"/>
                  <a:gd name="T44" fmla="*/ 71 w 84"/>
                  <a:gd name="T45" fmla="*/ 7 h 69"/>
                  <a:gd name="T46" fmla="*/ 65 w 84"/>
                  <a:gd name="T47" fmla="*/ 5 h 69"/>
                  <a:gd name="T48" fmla="*/ 57 w 84"/>
                  <a:gd name="T49" fmla="*/ 2 h 69"/>
                  <a:gd name="T50" fmla="*/ 52 w 84"/>
                  <a:gd name="T51" fmla="*/ 2 h 69"/>
                  <a:gd name="T52" fmla="*/ 46 w 84"/>
                  <a:gd name="T53" fmla="*/ 4 h 69"/>
                  <a:gd name="T54" fmla="*/ 40 w 84"/>
                  <a:gd name="T55" fmla="*/ 5 h 69"/>
                  <a:gd name="T56" fmla="*/ 43 w 84"/>
                  <a:gd name="T57" fmla="*/ 13 h 69"/>
                  <a:gd name="T58" fmla="*/ 38 w 84"/>
                  <a:gd name="T59" fmla="*/ 16 h 69"/>
                  <a:gd name="T60" fmla="*/ 32 w 84"/>
                  <a:gd name="T61" fmla="*/ 18 h 69"/>
                  <a:gd name="T62" fmla="*/ 25 w 84"/>
                  <a:gd name="T63" fmla="*/ 16 h 69"/>
                  <a:gd name="T64" fmla="*/ 17 w 84"/>
                  <a:gd name="T65" fmla="*/ 11 h 69"/>
                  <a:gd name="T66" fmla="*/ 16 w 84"/>
                  <a:gd name="T67" fmla="*/ 18 h 69"/>
                  <a:gd name="T68" fmla="*/ 16 w 84"/>
                  <a:gd name="T69" fmla="*/ 24 h 69"/>
                  <a:gd name="T70" fmla="*/ 13 w 84"/>
                  <a:gd name="T71" fmla="*/ 3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84" h="69">
                    <a:moveTo>
                      <a:pt x="13" y="30"/>
                    </a:moveTo>
                    <a:lnTo>
                      <a:pt x="9" y="34"/>
                    </a:lnTo>
                    <a:lnTo>
                      <a:pt x="6" y="37"/>
                    </a:lnTo>
                    <a:lnTo>
                      <a:pt x="3" y="38"/>
                    </a:lnTo>
                    <a:lnTo>
                      <a:pt x="0" y="43"/>
                    </a:lnTo>
                    <a:lnTo>
                      <a:pt x="3" y="42"/>
                    </a:lnTo>
                    <a:lnTo>
                      <a:pt x="6" y="38"/>
                    </a:lnTo>
                    <a:lnTo>
                      <a:pt x="9" y="37"/>
                    </a:lnTo>
                    <a:lnTo>
                      <a:pt x="11" y="42"/>
                    </a:lnTo>
                    <a:lnTo>
                      <a:pt x="14" y="45"/>
                    </a:lnTo>
                    <a:lnTo>
                      <a:pt x="17" y="45"/>
                    </a:lnTo>
                    <a:lnTo>
                      <a:pt x="19" y="48"/>
                    </a:lnTo>
                    <a:lnTo>
                      <a:pt x="16" y="48"/>
                    </a:lnTo>
                    <a:lnTo>
                      <a:pt x="19" y="51"/>
                    </a:lnTo>
                    <a:lnTo>
                      <a:pt x="17" y="54"/>
                    </a:lnTo>
                    <a:lnTo>
                      <a:pt x="22" y="56"/>
                    </a:lnTo>
                    <a:lnTo>
                      <a:pt x="22" y="59"/>
                    </a:lnTo>
                    <a:lnTo>
                      <a:pt x="25" y="59"/>
                    </a:lnTo>
                    <a:lnTo>
                      <a:pt x="27" y="61"/>
                    </a:lnTo>
                    <a:lnTo>
                      <a:pt x="30" y="64"/>
                    </a:lnTo>
                    <a:lnTo>
                      <a:pt x="33" y="65"/>
                    </a:lnTo>
                    <a:lnTo>
                      <a:pt x="36" y="67"/>
                    </a:lnTo>
                    <a:lnTo>
                      <a:pt x="40" y="65"/>
                    </a:lnTo>
                    <a:lnTo>
                      <a:pt x="44" y="69"/>
                    </a:lnTo>
                    <a:lnTo>
                      <a:pt x="41" y="65"/>
                    </a:lnTo>
                    <a:lnTo>
                      <a:pt x="41" y="62"/>
                    </a:lnTo>
                    <a:lnTo>
                      <a:pt x="40" y="57"/>
                    </a:lnTo>
                    <a:lnTo>
                      <a:pt x="41" y="54"/>
                    </a:lnTo>
                    <a:lnTo>
                      <a:pt x="43" y="51"/>
                    </a:lnTo>
                    <a:lnTo>
                      <a:pt x="44" y="48"/>
                    </a:lnTo>
                    <a:lnTo>
                      <a:pt x="43" y="43"/>
                    </a:lnTo>
                    <a:lnTo>
                      <a:pt x="47" y="40"/>
                    </a:lnTo>
                    <a:lnTo>
                      <a:pt x="51" y="37"/>
                    </a:lnTo>
                    <a:lnTo>
                      <a:pt x="55" y="35"/>
                    </a:lnTo>
                    <a:lnTo>
                      <a:pt x="59" y="35"/>
                    </a:lnTo>
                    <a:lnTo>
                      <a:pt x="65" y="38"/>
                    </a:lnTo>
                    <a:lnTo>
                      <a:pt x="74" y="45"/>
                    </a:lnTo>
                    <a:lnTo>
                      <a:pt x="74" y="38"/>
                    </a:lnTo>
                    <a:lnTo>
                      <a:pt x="76" y="34"/>
                    </a:lnTo>
                    <a:lnTo>
                      <a:pt x="78" y="29"/>
                    </a:lnTo>
                    <a:lnTo>
                      <a:pt x="84" y="24"/>
                    </a:lnTo>
                    <a:lnTo>
                      <a:pt x="79" y="16"/>
                    </a:lnTo>
                    <a:lnTo>
                      <a:pt x="78" y="15"/>
                    </a:lnTo>
                    <a:lnTo>
                      <a:pt x="76" y="13"/>
                    </a:lnTo>
                    <a:lnTo>
                      <a:pt x="74" y="7"/>
                    </a:lnTo>
                    <a:lnTo>
                      <a:pt x="71" y="7"/>
                    </a:lnTo>
                    <a:lnTo>
                      <a:pt x="68" y="7"/>
                    </a:lnTo>
                    <a:lnTo>
                      <a:pt x="65" y="5"/>
                    </a:lnTo>
                    <a:lnTo>
                      <a:pt x="62" y="4"/>
                    </a:lnTo>
                    <a:lnTo>
                      <a:pt x="57" y="2"/>
                    </a:lnTo>
                    <a:lnTo>
                      <a:pt x="54" y="0"/>
                    </a:lnTo>
                    <a:lnTo>
                      <a:pt x="52" y="2"/>
                    </a:lnTo>
                    <a:lnTo>
                      <a:pt x="49" y="0"/>
                    </a:lnTo>
                    <a:lnTo>
                      <a:pt x="46" y="4"/>
                    </a:lnTo>
                    <a:lnTo>
                      <a:pt x="43" y="7"/>
                    </a:lnTo>
                    <a:lnTo>
                      <a:pt x="40" y="5"/>
                    </a:lnTo>
                    <a:lnTo>
                      <a:pt x="41" y="8"/>
                    </a:lnTo>
                    <a:lnTo>
                      <a:pt x="43" y="13"/>
                    </a:lnTo>
                    <a:lnTo>
                      <a:pt x="43" y="15"/>
                    </a:lnTo>
                    <a:lnTo>
                      <a:pt x="38" y="16"/>
                    </a:lnTo>
                    <a:lnTo>
                      <a:pt x="35" y="16"/>
                    </a:lnTo>
                    <a:lnTo>
                      <a:pt x="32" y="18"/>
                    </a:lnTo>
                    <a:lnTo>
                      <a:pt x="28" y="19"/>
                    </a:lnTo>
                    <a:lnTo>
                      <a:pt x="25" y="16"/>
                    </a:lnTo>
                    <a:lnTo>
                      <a:pt x="20" y="11"/>
                    </a:lnTo>
                    <a:lnTo>
                      <a:pt x="17" y="11"/>
                    </a:lnTo>
                    <a:lnTo>
                      <a:pt x="17" y="15"/>
                    </a:lnTo>
                    <a:lnTo>
                      <a:pt x="16" y="18"/>
                    </a:lnTo>
                    <a:lnTo>
                      <a:pt x="14" y="21"/>
                    </a:lnTo>
                    <a:lnTo>
                      <a:pt x="16" y="24"/>
                    </a:lnTo>
                    <a:lnTo>
                      <a:pt x="16" y="27"/>
                    </a:lnTo>
                    <a:lnTo>
                      <a:pt x="13" y="30"/>
                    </a:lnTo>
                    <a:lnTo>
                      <a:pt x="13" y="3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86" name="Freeform 40"/>
              <p:cNvSpPr>
                <a:spLocks/>
              </p:cNvSpPr>
              <p:nvPr/>
            </p:nvSpPr>
            <p:spPr bwMode="auto">
              <a:xfrm>
                <a:off x="4873" y="1859"/>
                <a:ext cx="2" cy="9"/>
              </a:xfrm>
              <a:custGeom>
                <a:avLst/>
                <a:gdLst>
                  <a:gd name="T0" fmla="*/ 2 w 3"/>
                  <a:gd name="T1" fmla="*/ 0 h 17"/>
                  <a:gd name="T2" fmla="*/ 0 w 3"/>
                  <a:gd name="T3" fmla="*/ 1 h 17"/>
                  <a:gd name="T4" fmla="*/ 0 w 3"/>
                  <a:gd name="T5" fmla="*/ 9 h 17"/>
                  <a:gd name="T6" fmla="*/ 0 w 3"/>
                  <a:gd name="T7" fmla="*/ 17 h 17"/>
                  <a:gd name="T8" fmla="*/ 3 w 3"/>
                  <a:gd name="T9" fmla="*/ 17 h 17"/>
                  <a:gd name="T10" fmla="*/ 3 w 3"/>
                  <a:gd name="T11" fmla="*/ 14 h 17"/>
                  <a:gd name="T12" fmla="*/ 3 w 3"/>
                  <a:gd name="T13" fmla="*/ 11 h 17"/>
                  <a:gd name="T14" fmla="*/ 3 w 3"/>
                  <a:gd name="T15" fmla="*/ 8 h 17"/>
                  <a:gd name="T16" fmla="*/ 3 w 3"/>
                  <a:gd name="T17" fmla="*/ 3 h 17"/>
                  <a:gd name="T18" fmla="*/ 2 w 3"/>
                  <a:gd name="T1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" h="17">
                    <a:moveTo>
                      <a:pt x="2" y="0"/>
                    </a:moveTo>
                    <a:lnTo>
                      <a:pt x="0" y="1"/>
                    </a:lnTo>
                    <a:lnTo>
                      <a:pt x="0" y="9"/>
                    </a:lnTo>
                    <a:lnTo>
                      <a:pt x="0" y="17"/>
                    </a:lnTo>
                    <a:lnTo>
                      <a:pt x="3" y="17"/>
                    </a:lnTo>
                    <a:lnTo>
                      <a:pt x="3" y="14"/>
                    </a:lnTo>
                    <a:lnTo>
                      <a:pt x="3" y="11"/>
                    </a:lnTo>
                    <a:lnTo>
                      <a:pt x="3" y="8"/>
                    </a:lnTo>
                    <a:lnTo>
                      <a:pt x="3" y="3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87" name="Freeform 41"/>
              <p:cNvSpPr>
                <a:spLocks/>
              </p:cNvSpPr>
              <p:nvPr/>
            </p:nvSpPr>
            <p:spPr bwMode="auto">
              <a:xfrm>
                <a:off x="4909" y="1784"/>
                <a:ext cx="4" cy="6"/>
              </a:xfrm>
              <a:custGeom>
                <a:avLst/>
                <a:gdLst>
                  <a:gd name="T0" fmla="*/ 8 w 8"/>
                  <a:gd name="T1" fmla="*/ 0 h 13"/>
                  <a:gd name="T2" fmla="*/ 4 w 8"/>
                  <a:gd name="T3" fmla="*/ 0 h 13"/>
                  <a:gd name="T4" fmla="*/ 2 w 8"/>
                  <a:gd name="T5" fmla="*/ 3 h 13"/>
                  <a:gd name="T6" fmla="*/ 2 w 8"/>
                  <a:gd name="T7" fmla="*/ 8 h 13"/>
                  <a:gd name="T8" fmla="*/ 0 w 8"/>
                  <a:gd name="T9" fmla="*/ 11 h 13"/>
                  <a:gd name="T10" fmla="*/ 5 w 8"/>
                  <a:gd name="T11" fmla="*/ 13 h 13"/>
                  <a:gd name="T12" fmla="*/ 8 w 8"/>
                  <a:gd name="T13" fmla="*/ 13 h 13"/>
                  <a:gd name="T14" fmla="*/ 8 w 8"/>
                  <a:gd name="T15" fmla="*/ 8 h 13"/>
                  <a:gd name="T16" fmla="*/ 7 w 8"/>
                  <a:gd name="T17" fmla="*/ 5 h 13"/>
                  <a:gd name="T18" fmla="*/ 8 w 8"/>
                  <a:gd name="T19" fmla="*/ 2 h 13"/>
                  <a:gd name="T20" fmla="*/ 8 w 8"/>
                  <a:gd name="T21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13">
                    <a:moveTo>
                      <a:pt x="8" y="0"/>
                    </a:moveTo>
                    <a:lnTo>
                      <a:pt x="4" y="0"/>
                    </a:lnTo>
                    <a:lnTo>
                      <a:pt x="2" y="3"/>
                    </a:lnTo>
                    <a:lnTo>
                      <a:pt x="2" y="8"/>
                    </a:lnTo>
                    <a:lnTo>
                      <a:pt x="0" y="11"/>
                    </a:lnTo>
                    <a:lnTo>
                      <a:pt x="5" y="13"/>
                    </a:lnTo>
                    <a:lnTo>
                      <a:pt x="8" y="13"/>
                    </a:lnTo>
                    <a:lnTo>
                      <a:pt x="8" y="8"/>
                    </a:lnTo>
                    <a:lnTo>
                      <a:pt x="7" y="5"/>
                    </a:lnTo>
                    <a:lnTo>
                      <a:pt x="8" y="2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88" name="Freeform 42"/>
              <p:cNvSpPr>
                <a:spLocks/>
              </p:cNvSpPr>
              <p:nvPr/>
            </p:nvSpPr>
            <p:spPr bwMode="auto">
              <a:xfrm>
                <a:off x="4934" y="1707"/>
                <a:ext cx="6" cy="10"/>
              </a:xfrm>
              <a:custGeom>
                <a:avLst/>
                <a:gdLst>
                  <a:gd name="T0" fmla="*/ 6 w 13"/>
                  <a:gd name="T1" fmla="*/ 0 h 21"/>
                  <a:gd name="T2" fmla="*/ 3 w 13"/>
                  <a:gd name="T3" fmla="*/ 2 h 21"/>
                  <a:gd name="T4" fmla="*/ 2 w 13"/>
                  <a:gd name="T5" fmla="*/ 5 h 21"/>
                  <a:gd name="T6" fmla="*/ 0 w 13"/>
                  <a:gd name="T7" fmla="*/ 10 h 21"/>
                  <a:gd name="T8" fmla="*/ 3 w 13"/>
                  <a:gd name="T9" fmla="*/ 13 h 21"/>
                  <a:gd name="T10" fmla="*/ 6 w 13"/>
                  <a:gd name="T11" fmla="*/ 13 h 21"/>
                  <a:gd name="T12" fmla="*/ 6 w 13"/>
                  <a:gd name="T13" fmla="*/ 18 h 21"/>
                  <a:gd name="T14" fmla="*/ 6 w 13"/>
                  <a:gd name="T15" fmla="*/ 21 h 21"/>
                  <a:gd name="T16" fmla="*/ 10 w 13"/>
                  <a:gd name="T17" fmla="*/ 19 h 21"/>
                  <a:gd name="T18" fmla="*/ 13 w 13"/>
                  <a:gd name="T19" fmla="*/ 16 h 21"/>
                  <a:gd name="T20" fmla="*/ 13 w 13"/>
                  <a:gd name="T21" fmla="*/ 13 h 21"/>
                  <a:gd name="T22" fmla="*/ 11 w 13"/>
                  <a:gd name="T23" fmla="*/ 10 h 21"/>
                  <a:gd name="T24" fmla="*/ 6 w 13"/>
                  <a:gd name="T25" fmla="*/ 8 h 21"/>
                  <a:gd name="T26" fmla="*/ 6 w 13"/>
                  <a:gd name="T27" fmla="*/ 5 h 21"/>
                  <a:gd name="T28" fmla="*/ 6 w 13"/>
                  <a:gd name="T2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" h="21">
                    <a:moveTo>
                      <a:pt x="6" y="0"/>
                    </a:moveTo>
                    <a:lnTo>
                      <a:pt x="3" y="2"/>
                    </a:lnTo>
                    <a:lnTo>
                      <a:pt x="2" y="5"/>
                    </a:lnTo>
                    <a:lnTo>
                      <a:pt x="0" y="10"/>
                    </a:lnTo>
                    <a:lnTo>
                      <a:pt x="3" y="13"/>
                    </a:lnTo>
                    <a:lnTo>
                      <a:pt x="6" y="13"/>
                    </a:lnTo>
                    <a:lnTo>
                      <a:pt x="6" y="18"/>
                    </a:lnTo>
                    <a:lnTo>
                      <a:pt x="6" y="21"/>
                    </a:lnTo>
                    <a:lnTo>
                      <a:pt x="10" y="19"/>
                    </a:lnTo>
                    <a:lnTo>
                      <a:pt x="13" y="16"/>
                    </a:lnTo>
                    <a:lnTo>
                      <a:pt x="13" y="13"/>
                    </a:lnTo>
                    <a:lnTo>
                      <a:pt x="11" y="10"/>
                    </a:lnTo>
                    <a:lnTo>
                      <a:pt x="6" y="8"/>
                    </a:lnTo>
                    <a:lnTo>
                      <a:pt x="6" y="5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89" name="Freeform 43"/>
              <p:cNvSpPr>
                <a:spLocks/>
              </p:cNvSpPr>
              <p:nvPr/>
            </p:nvSpPr>
            <p:spPr bwMode="auto">
              <a:xfrm>
                <a:off x="4858" y="1907"/>
                <a:ext cx="8" cy="8"/>
              </a:xfrm>
              <a:custGeom>
                <a:avLst/>
                <a:gdLst>
                  <a:gd name="T0" fmla="*/ 13 w 16"/>
                  <a:gd name="T1" fmla="*/ 0 h 16"/>
                  <a:gd name="T2" fmla="*/ 11 w 16"/>
                  <a:gd name="T3" fmla="*/ 1 h 16"/>
                  <a:gd name="T4" fmla="*/ 6 w 16"/>
                  <a:gd name="T5" fmla="*/ 5 h 16"/>
                  <a:gd name="T6" fmla="*/ 3 w 16"/>
                  <a:gd name="T7" fmla="*/ 6 h 16"/>
                  <a:gd name="T8" fmla="*/ 0 w 16"/>
                  <a:gd name="T9" fmla="*/ 9 h 16"/>
                  <a:gd name="T10" fmla="*/ 0 w 16"/>
                  <a:gd name="T11" fmla="*/ 12 h 16"/>
                  <a:gd name="T12" fmla="*/ 3 w 16"/>
                  <a:gd name="T13" fmla="*/ 14 h 16"/>
                  <a:gd name="T14" fmla="*/ 6 w 16"/>
                  <a:gd name="T15" fmla="*/ 16 h 16"/>
                  <a:gd name="T16" fmla="*/ 9 w 16"/>
                  <a:gd name="T17" fmla="*/ 12 h 16"/>
                  <a:gd name="T18" fmla="*/ 8 w 16"/>
                  <a:gd name="T19" fmla="*/ 9 h 16"/>
                  <a:gd name="T20" fmla="*/ 11 w 16"/>
                  <a:gd name="T21" fmla="*/ 6 h 16"/>
                  <a:gd name="T22" fmla="*/ 16 w 16"/>
                  <a:gd name="T23" fmla="*/ 3 h 16"/>
                  <a:gd name="T24" fmla="*/ 13 w 16"/>
                  <a:gd name="T25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16">
                    <a:moveTo>
                      <a:pt x="13" y="0"/>
                    </a:moveTo>
                    <a:lnTo>
                      <a:pt x="11" y="1"/>
                    </a:lnTo>
                    <a:lnTo>
                      <a:pt x="6" y="5"/>
                    </a:lnTo>
                    <a:lnTo>
                      <a:pt x="3" y="6"/>
                    </a:lnTo>
                    <a:lnTo>
                      <a:pt x="0" y="9"/>
                    </a:lnTo>
                    <a:lnTo>
                      <a:pt x="0" y="12"/>
                    </a:lnTo>
                    <a:lnTo>
                      <a:pt x="3" y="14"/>
                    </a:lnTo>
                    <a:lnTo>
                      <a:pt x="6" y="16"/>
                    </a:lnTo>
                    <a:lnTo>
                      <a:pt x="9" y="12"/>
                    </a:lnTo>
                    <a:lnTo>
                      <a:pt x="8" y="9"/>
                    </a:lnTo>
                    <a:lnTo>
                      <a:pt x="11" y="6"/>
                    </a:lnTo>
                    <a:lnTo>
                      <a:pt x="16" y="3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sp>
          <p:nvSpPr>
            <p:cNvPr id="31" name="Freeform 44"/>
            <p:cNvSpPr>
              <a:spLocks/>
            </p:cNvSpPr>
            <p:nvPr/>
          </p:nvSpPr>
          <p:spPr bwMode="auto">
            <a:xfrm>
              <a:off x="7424954" y="3777935"/>
              <a:ext cx="220554" cy="140472"/>
            </a:xfrm>
            <a:custGeom>
              <a:avLst/>
              <a:gdLst>
                <a:gd name="T0" fmla="*/ 1 w 299"/>
                <a:gd name="T1" fmla="*/ 54 h 167"/>
                <a:gd name="T2" fmla="*/ 6 w 299"/>
                <a:gd name="T3" fmla="*/ 44 h 167"/>
                <a:gd name="T4" fmla="*/ 6 w 299"/>
                <a:gd name="T5" fmla="*/ 35 h 167"/>
                <a:gd name="T6" fmla="*/ 11 w 299"/>
                <a:gd name="T7" fmla="*/ 22 h 167"/>
                <a:gd name="T8" fmla="*/ 17 w 299"/>
                <a:gd name="T9" fmla="*/ 13 h 167"/>
                <a:gd name="T10" fmla="*/ 27 w 299"/>
                <a:gd name="T11" fmla="*/ 13 h 167"/>
                <a:gd name="T12" fmla="*/ 36 w 299"/>
                <a:gd name="T13" fmla="*/ 11 h 167"/>
                <a:gd name="T14" fmla="*/ 41 w 299"/>
                <a:gd name="T15" fmla="*/ 3 h 167"/>
                <a:gd name="T16" fmla="*/ 55 w 299"/>
                <a:gd name="T17" fmla="*/ 2 h 167"/>
                <a:gd name="T18" fmla="*/ 68 w 299"/>
                <a:gd name="T19" fmla="*/ 14 h 167"/>
                <a:gd name="T20" fmla="*/ 82 w 299"/>
                <a:gd name="T21" fmla="*/ 22 h 167"/>
                <a:gd name="T22" fmla="*/ 98 w 299"/>
                <a:gd name="T23" fmla="*/ 30 h 167"/>
                <a:gd name="T24" fmla="*/ 119 w 299"/>
                <a:gd name="T25" fmla="*/ 48 h 167"/>
                <a:gd name="T26" fmla="*/ 131 w 299"/>
                <a:gd name="T27" fmla="*/ 48 h 167"/>
                <a:gd name="T28" fmla="*/ 141 w 299"/>
                <a:gd name="T29" fmla="*/ 52 h 167"/>
                <a:gd name="T30" fmla="*/ 154 w 299"/>
                <a:gd name="T31" fmla="*/ 65 h 167"/>
                <a:gd name="T32" fmla="*/ 166 w 299"/>
                <a:gd name="T33" fmla="*/ 75 h 167"/>
                <a:gd name="T34" fmla="*/ 179 w 299"/>
                <a:gd name="T35" fmla="*/ 73 h 167"/>
                <a:gd name="T36" fmla="*/ 180 w 299"/>
                <a:gd name="T37" fmla="*/ 84 h 167"/>
                <a:gd name="T38" fmla="*/ 195 w 299"/>
                <a:gd name="T39" fmla="*/ 87 h 167"/>
                <a:gd name="T40" fmla="*/ 207 w 299"/>
                <a:gd name="T41" fmla="*/ 92 h 167"/>
                <a:gd name="T42" fmla="*/ 214 w 299"/>
                <a:gd name="T43" fmla="*/ 102 h 167"/>
                <a:gd name="T44" fmla="*/ 219 w 299"/>
                <a:gd name="T45" fmla="*/ 92 h 167"/>
                <a:gd name="T46" fmla="*/ 231 w 299"/>
                <a:gd name="T47" fmla="*/ 102 h 167"/>
                <a:gd name="T48" fmla="*/ 241 w 299"/>
                <a:gd name="T49" fmla="*/ 98 h 167"/>
                <a:gd name="T50" fmla="*/ 255 w 299"/>
                <a:gd name="T51" fmla="*/ 105 h 167"/>
                <a:gd name="T52" fmla="*/ 269 w 299"/>
                <a:gd name="T53" fmla="*/ 105 h 167"/>
                <a:gd name="T54" fmla="*/ 282 w 299"/>
                <a:gd name="T55" fmla="*/ 103 h 167"/>
                <a:gd name="T56" fmla="*/ 291 w 299"/>
                <a:gd name="T57" fmla="*/ 111 h 167"/>
                <a:gd name="T58" fmla="*/ 290 w 299"/>
                <a:gd name="T59" fmla="*/ 125 h 167"/>
                <a:gd name="T60" fmla="*/ 295 w 299"/>
                <a:gd name="T61" fmla="*/ 141 h 167"/>
                <a:gd name="T62" fmla="*/ 299 w 299"/>
                <a:gd name="T63" fmla="*/ 154 h 167"/>
                <a:gd name="T64" fmla="*/ 293 w 299"/>
                <a:gd name="T65" fmla="*/ 163 h 167"/>
                <a:gd name="T66" fmla="*/ 279 w 299"/>
                <a:gd name="T67" fmla="*/ 163 h 167"/>
                <a:gd name="T68" fmla="*/ 265 w 299"/>
                <a:gd name="T69" fmla="*/ 163 h 167"/>
                <a:gd name="T70" fmla="*/ 257 w 299"/>
                <a:gd name="T71" fmla="*/ 159 h 167"/>
                <a:gd name="T72" fmla="*/ 244 w 299"/>
                <a:gd name="T73" fmla="*/ 159 h 167"/>
                <a:gd name="T74" fmla="*/ 228 w 299"/>
                <a:gd name="T75" fmla="*/ 155 h 167"/>
                <a:gd name="T76" fmla="*/ 217 w 299"/>
                <a:gd name="T77" fmla="*/ 155 h 167"/>
                <a:gd name="T78" fmla="*/ 206 w 299"/>
                <a:gd name="T79" fmla="*/ 146 h 167"/>
                <a:gd name="T80" fmla="*/ 195 w 299"/>
                <a:gd name="T81" fmla="*/ 146 h 167"/>
                <a:gd name="T82" fmla="*/ 184 w 299"/>
                <a:gd name="T83" fmla="*/ 141 h 167"/>
                <a:gd name="T84" fmla="*/ 174 w 299"/>
                <a:gd name="T85" fmla="*/ 135 h 167"/>
                <a:gd name="T86" fmla="*/ 158 w 299"/>
                <a:gd name="T87" fmla="*/ 122 h 167"/>
                <a:gd name="T88" fmla="*/ 144 w 299"/>
                <a:gd name="T89" fmla="*/ 122 h 167"/>
                <a:gd name="T90" fmla="*/ 136 w 299"/>
                <a:gd name="T91" fmla="*/ 122 h 167"/>
                <a:gd name="T92" fmla="*/ 123 w 299"/>
                <a:gd name="T93" fmla="*/ 125 h 167"/>
                <a:gd name="T94" fmla="*/ 109 w 299"/>
                <a:gd name="T95" fmla="*/ 119 h 167"/>
                <a:gd name="T96" fmla="*/ 100 w 299"/>
                <a:gd name="T97" fmla="*/ 111 h 167"/>
                <a:gd name="T98" fmla="*/ 82 w 299"/>
                <a:gd name="T99" fmla="*/ 105 h 167"/>
                <a:gd name="T100" fmla="*/ 69 w 299"/>
                <a:gd name="T101" fmla="*/ 105 h 167"/>
                <a:gd name="T102" fmla="*/ 57 w 299"/>
                <a:gd name="T103" fmla="*/ 97 h 167"/>
                <a:gd name="T104" fmla="*/ 44 w 299"/>
                <a:gd name="T105" fmla="*/ 86 h 167"/>
                <a:gd name="T106" fmla="*/ 19 w 299"/>
                <a:gd name="T107" fmla="*/ 71 h 167"/>
                <a:gd name="T108" fmla="*/ 8 w 299"/>
                <a:gd name="T109" fmla="*/ 68 h 167"/>
                <a:gd name="T110" fmla="*/ 1 w 299"/>
                <a:gd name="T111" fmla="*/ 59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99" h="167">
                  <a:moveTo>
                    <a:pt x="1" y="59"/>
                  </a:moveTo>
                  <a:lnTo>
                    <a:pt x="1" y="59"/>
                  </a:lnTo>
                  <a:lnTo>
                    <a:pt x="1" y="56"/>
                  </a:lnTo>
                  <a:lnTo>
                    <a:pt x="1" y="54"/>
                  </a:lnTo>
                  <a:lnTo>
                    <a:pt x="1" y="54"/>
                  </a:lnTo>
                  <a:lnTo>
                    <a:pt x="6" y="52"/>
                  </a:lnTo>
                  <a:lnTo>
                    <a:pt x="6" y="49"/>
                  </a:lnTo>
                  <a:lnTo>
                    <a:pt x="6" y="44"/>
                  </a:lnTo>
                  <a:lnTo>
                    <a:pt x="3" y="41"/>
                  </a:lnTo>
                  <a:lnTo>
                    <a:pt x="4" y="38"/>
                  </a:lnTo>
                  <a:lnTo>
                    <a:pt x="4" y="37"/>
                  </a:lnTo>
                  <a:lnTo>
                    <a:pt x="6" y="35"/>
                  </a:lnTo>
                  <a:lnTo>
                    <a:pt x="8" y="32"/>
                  </a:lnTo>
                  <a:lnTo>
                    <a:pt x="4" y="27"/>
                  </a:lnTo>
                  <a:lnTo>
                    <a:pt x="9" y="25"/>
                  </a:lnTo>
                  <a:lnTo>
                    <a:pt x="11" y="22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6" y="16"/>
                  </a:lnTo>
                  <a:lnTo>
                    <a:pt x="17" y="13"/>
                  </a:lnTo>
                  <a:lnTo>
                    <a:pt x="19" y="10"/>
                  </a:lnTo>
                  <a:lnTo>
                    <a:pt x="22" y="10"/>
                  </a:lnTo>
                  <a:lnTo>
                    <a:pt x="23" y="8"/>
                  </a:lnTo>
                  <a:lnTo>
                    <a:pt x="27" y="13"/>
                  </a:lnTo>
                  <a:lnTo>
                    <a:pt x="28" y="16"/>
                  </a:lnTo>
                  <a:lnTo>
                    <a:pt x="31" y="16"/>
                  </a:lnTo>
                  <a:lnTo>
                    <a:pt x="35" y="14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6" y="6"/>
                  </a:lnTo>
                  <a:lnTo>
                    <a:pt x="36" y="3"/>
                  </a:lnTo>
                  <a:lnTo>
                    <a:pt x="41" y="3"/>
                  </a:lnTo>
                  <a:lnTo>
                    <a:pt x="42" y="0"/>
                  </a:lnTo>
                  <a:lnTo>
                    <a:pt x="47" y="0"/>
                  </a:lnTo>
                  <a:lnTo>
                    <a:pt x="50" y="2"/>
                  </a:lnTo>
                  <a:lnTo>
                    <a:pt x="55" y="2"/>
                  </a:lnTo>
                  <a:lnTo>
                    <a:pt x="58" y="3"/>
                  </a:lnTo>
                  <a:lnTo>
                    <a:pt x="62" y="8"/>
                  </a:lnTo>
                  <a:lnTo>
                    <a:pt x="65" y="11"/>
                  </a:lnTo>
                  <a:lnTo>
                    <a:pt x="68" y="14"/>
                  </a:lnTo>
                  <a:lnTo>
                    <a:pt x="71" y="16"/>
                  </a:lnTo>
                  <a:lnTo>
                    <a:pt x="74" y="18"/>
                  </a:lnTo>
                  <a:lnTo>
                    <a:pt x="79" y="19"/>
                  </a:lnTo>
                  <a:lnTo>
                    <a:pt x="82" y="22"/>
                  </a:lnTo>
                  <a:lnTo>
                    <a:pt x="87" y="25"/>
                  </a:lnTo>
                  <a:lnTo>
                    <a:pt x="90" y="29"/>
                  </a:lnTo>
                  <a:lnTo>
                    <a:pt x="93" y="30"/>
                  </a:lnTo>
                  <a:lnTo>
                    <a:pt x="98" y="30"/>
                  </a:lnTo>
                  <a:lnTo>
                    <a:pt x="101" y="33"/>
                  </a:lnTo>
                  <a:lnTo>
                    <a:pt x="104" y="32"/>
                  </a:lnTo>
                  <a:lnTo>
                    <a:pt x="112" y="40"/>
                  </a:lnTo>
                  <a:lnTo>
                    <a:pt x="119" y="48"/>
                  </a:lnTo>
                  <a:lnTo>
                    <a:pt x="122" y="51"/>
                  </a:lnTo>
                  <a:lnTo>
                    <a:pt x="123" y="51"/>
                  </a:lnTo>
                  <a:lnTo>
                    <a:pt x="127" y="48"/>
                  </a:lnTo>
                  <a:lnTo>
                    <a:pt x="131" y="48"/>
                  </a:lnTo>
                  <a:lnTo>
                    <a:pt x="134" y="46"/>
                  </a:lnTo>
                  <a:lnTo>
                    <a:pt x="136" y="48"/>
                  </a:lnTo>
                  <a:lnTo>
                    <a:pt x="139" y="49"/>
                  </a:lnTo>
                  <a:lnTo>
                    <a:pt x="141" y="52"/>
                  </a:lnTo>
                  <a:lnTo>
                    <a:pt x="146" y="56"/>
                  </a:lnTo>
                  <a:lnTo>
                    <a:pt x="146" y="60"/>
                  </a:lnTo>
                  <a:lnTo>
                    <a:pt x="146" y="60"/>
                  </a:lnTo>
                  <a:lnTo>
                    <a:pt x="154" y="65"/>
                  </a:lnTo>
                  <a:lnTo>
                    <a:pt x="155" y="68"/>
                  </a:lnTo>
                  <a:lnTo>
                    <a:pt x="160" y="70"/>
                  </a:lnTo>
                  <a:lnTo>
                    <a:pt x="163" y="71"/>
                  </a:lnTo>
                  <a:lnTo>
                    <a:pt x="166" y="75"/>
                  </a:lnTo>
                  <a:lnTo>
                    <a:pt x="171" y="76"/>
                  </a:lnTo>
                  <a:lnTo>
                    <a:pt x="174" y="75"/>
                  </a:lnTo>
                  <a:lnTo>
                    <a:pt x="174" y="75"/>
                  </a:lnTo>
                  <a:lnTo>
                    <a:pt x="179" y="73"/>
                  </a:lnTo>
                  <a:lnTo>
                    <a:pt x="182" y="78"/>
                  </a:lnTo>
                  <a:lnTo>
                    <a:pt x="179" y="81"/>
                  </a:lnTo>
                  <a:lnTo>
                    <a:pt x="180" y="84"/>
                  </a:lnTo>
                  <a:lnTo>
                    <a:pt x="180" y="84"/>
                  </a:lnTo>
                  <a:lnTo>
                    <a:pt x="184" y="86"/>
                  </a:lnTo>
                  <a:lnTo>
                    <a:pt x="188" y="87"/>
                  </a:lnTo>
                  <a:lnTo>
                    <a:pt x="192" y="87"/>
                  </a:lnTo>
                  <a:lnTo>
                    <a:pt x="195" y="87"/>
                  </a:lnTo>
                  <a:lnTo>
                    <a:pt x="200" y="89"/>
                  </a:lnTo>
                  <a:lnTo>
                    <a:pt x="201" y="84"/>
                  </a:lnTo>
                  <a:lnTo>
                    <a:pt x="203" y="89"/>
                  </a:lnTo>
                  <a:lnTo>
                    <a:pt x="207" y="92"/>
                  </a:lnTo>
                  <a:lnTo>
                    <a:pt x="211" y="95"/>
                  </a:lnTo>
                  <a:lnTo>
                    <a:pt x="212" y="98"/>
                  </a:lnTo>
                  <a:lnTo>
                    <a:pt x="212" y="98"/>
                  </a:lnTo>
                  <a:lnTo>
                    <a:pt x="214" y="102"/>
                  </a:lnTo>
                  <a:lnTo>
                    <a:pt x="217" y="103"/>
                  </a:lnTo>
                  <a:lnTo>
                    <a:pt x="219" y="100"/>
                  </a:lnTo>
                  <a:lnTo>
                    <a:pt x="217" y="95"/>
                  </a:lnTo>
                  <a:lnTo>
                    <a:pt x="219" y="92"/>
                  </a:lnTo>
                  <a:lnTo>
                    <a:pt x="220" y="95"/>
                  </a:lnTo>
                  <a:lnTo>
                    <a:pt x="225" y="100"/>
                  </a:lnTo>
                  <a:lnTo>
                    <a:pt x="228" y="102"/>
                  </a:lnTo>
                  <a:lnTo>
                    <a:pt x="231" y="102"/>
                  </a:lnTo>
                  <a:lnTo>
                    <a:pt x="233" y="100"/>
                  </a:lnTo>
                  <a:lnTo>
                    <a:pt x="233" y="97"/>
                  </a:lnTo>
                  <a:lnTo>
                    <a:pt x="238" y="95"/>
                  </a:lnTo>
                  <a:lnTo>
                    <a:pt x="241" y="98"/>
                  </a:lnTo>
                  <a:lnTo>
                    <a:pt x="244" y="98"/>
                  </a:lnTo>
                  <a:lnTo>
                    <a:pt x="249" y="102"/>
                  </a:lnTo>
                  <a:lnTo>
                    <a:pt x="252" y="102"/>
                  </a:lnTo>
                  <a:lnTo>
                    <a:pt x="255" y="105"/>
                  </a:lnTo>
                  <a:lnTo>
                    <a:pt x="258" y="105"/>
                  </a:lnTo>
                  <a:lnTo>
                    <a:pt x="263" y="105"/>
                  </a:lnTo>
                  <a:lnTo>
                    <a:pt x="265" y="106"/>
                  </a:lnTo>
                  <a:lnTo>
                    <a:pt x="269" y="105"/>
                  </a:lnTo>
                  <a:lnTo>
                    <a:pt x="272" y="106"/>
                  </a:lnTo>
                  <a:lnTo>
                    <a:pt x="274" y="106"/>
                  </a:lnTo>
                  <a:lnTo>
                    <a:pt x="277" y="105"/>
                  </a:lnTo>
                  <a:lnTo>
                    <a:pt x="282" y="103"/>
                  </a:lnTo>
                  <a:lnTo>
                    <a:pt x="285" y="103"/>
                  </a:lnTo>
                  <a:lnTo>
                    <a:pt x="290" y="105"/>
                  </a:lnTo>
                  <a:lnTo>
                    <a:pt x="291" y="108"/>
                  </a:lnTo>
                  <a:lnTo>
                    <a:pt x="291" y="111"/>
                  </a:lnTo>
                  <a:lnTo>
                    <a:pt x="290" y="114"/>
                  </a:lnTo>
                  <a:lnTo>
                    <a:pt x="288" y="117"/>
                  </a:lnTo>
                  <a:lnTo>
                    <a:pt x="290" y="122"/>
                  </a:lnTo>
                  <a:lnTo>
                    <a:pt x="290" y="125"/>
                  </a:lnTo>
                  <a:lnTo>
                    <a:pt x="290" y="130"/>
                  </a:lnTo>
                  <a:lnTo>
                    <a:pt x="290" y="133"/>
                  </a:lnTo>
                  <a:lnTo>
                    <a:pt x="291" y="136"/>
                  </a:lnTo>
                  <a:lnTo>
                    <a:pt x="295" y="141"/>
                  </a:lnTo>
                  <a:lnTo>
                    <a:pt x="298" y="144"/>
                  </a:lnTo>
                  <a:lnTo>
                    <a:pt x="299" y="149"/>
                  </a:lnTo>
                  <a:lnTo>
                    <a:pt x="299" y="152"/>
                  </a:lnTo>
                  <a:lnTo>
                    <a:pt x="299" y="154"/>
                  </a:lnTo>
                  <a:lnTo>
                    <a:pt x="298" y="157"/>
                  </a:lnTo>
                  <a:lnTo>
                    <a:pt x="298" y="162"/>
                  </a:lnTo>
                  <a:lnTo>
                    <a:pt x="296" y="165"/>
                  </a:lnTo>
                  <a:lnTo>
                    <a:pt x="293" y="163"/>
                  </a:lnTo>
                  <a:lnTo>
                    <a:pt x="290" y="162"/>
                  </a:lnTo>
                  <a:lnTo>
                    <a:pt x="285" y="163"/>
                  </a:lnTo>
                  <a:lnTo>
                    <a:pt x="284" y="163"/>
                  </a:lnTo>
                  <a:lnTo>
                    <a:pt x="279" y="163"/>
                  </a:lnTo>
                  <a:lnTo>
                    <a:pt x="276" y="163"/>
                  </a:lnTo>
                  <a:lnTo>
                    <a:pt x="272" y="167"/>
                  </a:lnTo>
                  <a:lnTo>
                    <a:pt x="269" y="163"/>
                  </a:lnTo>
                  <a:lnTo>
                    <a:pt x="265" y="163"/>
                  </a:lnTo>
                  <a:lnTo>
                    <a:pt x="263" y="160"/>
                  </a:lnTo>
                  <a:lnTo>
                    <a:pt x="261" y="157"/>
                  </a:lnTo>
                  <a:lnTo>
                    <a:pt x="258" y="159"/>
                  </a:lnTo>
                  <a:lnTo>
                    <a:pt x="257" y="159"/>
                  </a:lnTo>
                  <a:lnTo>
                    <a:pt x="253" y="162"/>
                  </a:lnTo>
                  <a:lnTo>
                    <a:pt x="250" y="163"/>
                  </a:lnTo>
                  <a:lnTo>
                    <a:pt x="247" y="162"/>
                  </a:lnTo>
                  <a:lnTo>
                    <a:pt x="244" y="159"/>
                  </a:lnTo>
                  <a:lnTo>
                    <a:pt x="239" y="157"/>
                  </a:lnTo>
                  <a:lnTo>
                    <a:pt x="236" y="157"/>
                  </a:lnTo>
                  <a:lnTo>
                    <a:pt x="233" y="155"/>
                  </a:lnTo>
                  <a:lnTo>
                    <a:pt x="228" y="155"/>
                  </a:lnTo>
                  <a:lnTo>
                    <a:pt x="225" y="154"/>
                  </a:lnTo>
                  <a:lnTo>
                    <a:pt x="222" y="155"/>
                  </a:lnTo>
                  <a:lnTo>
                    <a:pt x="217" y="155"/>
                  </a:lnTo>
                  <a:lnTo>
                    <a:pt x="217" y="155"/>
                  </a:lnTo>
                  <a:lnTo>
                    <a:pt x="214" y="152"/>
                  </a:lnTo>
                  <a:lnTo>
                    <a:pt x="214" y="149"/>
                  </a:lnTo>
                  <a:lnTo>
                    <a:pt x="211" y="146"/>
                  </a:lnTo>
                  <a:lnTo>
                    <a:pt x="206" y="146"/>
                  </a:lnTo>
                  <a:lnTo>
                    <a:pt x="203" y="148"/>
                  </a:lnTo>
                  <a:lnTo>
                    <a:pt x="200" y="149"/>
                  </a:lnTo>
                  <a:lnTo>
                    <a:pt x="196" y="149"/>
                  </a:lnTo>
                  <a:lnTo>
                    <a:pt x="195" y="146"/>
                  </a:lnTo>
                  <a:lnTo>
                    <a:pt x="190" y="144"/>
                  </a:lnTo>
                  <a:lnTo>
                    <a:pt x="187" y="144"/>
                  </a:lnTo>
                  <a:lnTo>
                    <a:pt x="187" y="144"/>
                  </a:lnTo>
                  <a:lnTo>
                    <a:pt x="184" y="141"/>
                  </a:lnTo>
                  <a:lnTo>
                    <a:pt x="182" y="140"/>
                  </a:lnTo>
                  <a:lnTo>
                    <a:pt x="179" y="140"/>
                  </a:lnTo>
                  <a:lnTo>
                    <a:pt x="174" y="138"/>
                  </a:lnTo>
                  <a:lnTo>
                    <a:pt x="174" y="135"/>
                  </a:lnTo>
                  <a:lnTo>
                    <a:pt x="174" y="132"/>
                  </a:lnTo>
                  <a:lnTo>
                    <a:pt x="173" y="129"/>
                  </a:lnTo>
                  <a:lnTo>
                    <a:pt x="168" y="125"/>
                  </a:lnTo>
                  <a:lnTo>
                    <a:pt x="158" y="122"/>
                  </a:lnTo>
                  <a:lnTo>
                    <a:pt x="150" y="119"/>
                  </a:lnTo>
                  <a:lnTo>
                    <a:pt x="147" y="121"/>
                  </a:lnTo>
                  <a:lnTo>
                    <a:pt x="146" y="121"/>
                  </a:lnTo>
                  <a:lnTo>
                    <a:pt x="144" y="122"/>
                  </a:lnTo>
                  <a:lnTo>
                    <a:pt x="144" y="124"/>
                  </a:lnTo>
                  <a:lnTo>
                    <a:pt x="144" y="125"/>
                  </a:lnTo>
                  <a:lnTo>
                    <a:pt x="139" y="124"/>
                  </a:lnTo>
                  <a:lnTo>
                    <a:pt x="136" y="122"/>
                  </a:lnTo>
                  <a:lnTo>
                    <a:pt x="133" y="121"/>
                  </a:lnTo>
                  <a:lnTo>
                    <a:pt x="130" y="121"/>
                  </a:lnTo>
                  <a:lnTo>
                    <a:pt x="127" y="124"/>
                  </a:lnTo>
                  <a:lnTo>
                    <a:pt x="123" y="125"/>
                  </a:lnTo>
                  <a:lnTo>
                    <a:pt x="120" y="122"/>
                  </a:lnTo>
                  <a:lnTo>
                    <a:pt x="117" y="121"/>
                  </a:lnTo>
                  <a:lnTo>
                    <a:pt x="112" y="121"/>
                  </a:lnTo>
                  <a:lnTo>
                    <a:pt x="109" y="119"/>
                  </a:lnTo>
                  <a:lnTo>
                    <a:pt x="106" y="119"/>
                  </a:lnTo>
                  <a:lnTo>
                    <a:pt x="103" y="116"/>
                  </a:lnTo>
                  <a:lnTo>
                    <a:pt x="101" y="113"/>
                  </a:lnTo>
                  <a:lnTo>
                    <a:pt x="100" y="111"/>
                  </a:lnTo>
                  <a:lnTo>
                    <a:pt x="96" y="111"/>
                  </a:lnTo>
                  <a:lnTo>
                    <a:pt x="93" y="113"/>
                  </a:lnTo>
                  <a:lnTo>
                    <a:pt x="85" y="108"/>
                  </a:lnTo>
                  <a:lnTo>
                    <a:pt x="82" y="105"/>
                  </a:lnTo>
                  <a:lnTo>
                    <a:pt x="79" y="105"/>
                  </a:lnTo>
                  <a:lnTo>
                    <a:pt x="76" y="102"/>
                  </a:lnTo>
                  <a:lnTo>
                    <a:pt x="73" y="103"/>
                  </a:lnTo>
                  <a:lnTo>
                    <a:pt x="69" y="105"/>
                  </a:lnTo>
                  <a:lnTo>
                    <a:pt x="66" y="102"/>
                  </a:lnTo>
                  <a:lnTo>
                    <a:pt x="63" y="100"/>
                  </a:lnTo>
                  <a:lnTo>
                    <a:pt x="60" y="98"/>
                  </a:lnTo>
                  <a:lnTo>
                    <a:pt x="57" y="97"/>
                  </a:lnTo>
                  <a:lnTo>
                    <a:pt x="54" y="92"/>
                  </a:lnTo>
                  <a:lnTo>
                    <a:pt x="50" y="94"/>
                  </a:lnTo>
                  <a:lnTo>
                    <a:pt x="47" y="89"/>
                  </a:lnTo>
                  <a:lnTo>
                    <a:pt x="44" y="86"/>
                  </a:lnTo>
                  <a:lnTo>
                    <a:pt x="42" y="84"/>
                  </a:lnTo>
                  <a:lnTo>
                    <a:pt x="38" y="83"/>
                  </a:lnTo>
                  <a:lnTo>
                    <a:pt x="28" y="76"/>
                  </a:lnTo>
                  <a:lnTo>
                    <a:pt x="19" y="71"/>
                  </a:lnTo>
                  <a:lnTo>
                    <a:pt x="19" y="75"/>
                  </a:lnTo>
                  <a:lnTo>
                    <a:pt x="16" y="73"/>
                  </a:lnTo>
                  <a:lnTo>
                    <a:pt x="11" y="71"/>
                  </a:lnTo>
                  <a:lnTo>
                    <a:pt x="8" y="68"/>
                  </a:lnTo>
                  <a:lnTo>
                    <a:pt x="4" y="67"/>
                  </a:lnTo>
                  <a:lnTo>
                    <a:pt x="3" y="65"/>
                  </a:lnTo>
                  <a:lnTo>
                    <a:pt x="0" y="62"/>
                  </a:lnTo>
                  <a:lnTo>
                    <a:pt x="1" y="59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2" name="Freeform 45"/>
            <p:cNvSpPr>
              <a:spLocks/>
            </p:cNvSpPr>
            <p:nvPr/>
          </p:nvSpPr>
          <p:spPr bwMode="auto">
            <a:xfrm>
              <a:off x="7658743" y="3850710"/>
              <a:ext cx="86751" cy="55851"/>
            </a:xfrm>
            <a:custGeom>
              <a:avLst/>
              <a:gdLst>
                <a:gd name="T0" fmla="*/ 0 w 119"/>
                <a:gd name="T1" fmla="*/ 44 h 66"/>
                <a:gd name="T2" fmla="*/ 3 w 119"/>
                <a:gd name="T3" fmla="*/ 41 h 66"/>
                <a:gd name="T4" fmla="*/ 5 w 119"/>
                <a:gd name="T5" fmla="*/ 35 h 66"/>
                <a:gd name="T6" fmla="*/ 9 w 119"/>
                <a:gd name="T7" fmla="*/ 30 h 66"/>
                <a:gd name="T8" fmla="*/ 11 w 119"/>
                <a:gd name="T9" fmla="*/ 22 h 66"/>
                <a:gd name="T10" fmla="*/ 14 w 119"/>
                <a:gd name="T11" fmla="*/ 19 h 66"/>
                <a:gd name="T12" fmla="*/ 17 w 119"/>
                <a:gd name="T13" fmla="*/ 11 h 66"/>
                <a:gd name="T14" fmla="*/ 22 w 119"/>
                <a:gd name="T15" fmla="*/ 6 h 66"/>
                <a:gd name="T16" fmla="*/ 28 w 119"/>
                <a:gd name="T17" fmla="*/ 3 h 66"/>
                <a:gd name="T18" fmla="*/ 33 w 119"/>
                <a:gd name="T19" fmla="*/ 0 h 66"/>
                <a:gd name="T20" fmla="*/ 38 w 119"/>
                <a:gd name="T21" fmla="*/ 0 h 66"/>
                <a:gd name="T22" fmla="*/ 44 w 119"/>
                <a:gd name="T23" fmla="*/ 1 h 66"/>
                <a:gd name="T24" fmla="*/ 47 w 119"/>
                <a:gd name="T25" fmla="*/ 6 h 66"/>
                <a:gd name="T26" fmla="*/ 52 w 119"/>
                <a:gd name="T27" fmla="*/ 9 h 66"/>
                <a:gd name="T28" fmla="*/ 62 w 119"/>
                <a:gd name="T29" fmla="*/ 9 h 66"/>
                <a:gd name="T30" fmla="*/ 68 w 119"/>
                <a:gd name="T31" fmla="*/ 11 h 66"/>
                <a:gd name="T32" fmla="*/ 73 w 119"/>
                <a:gd name="T33" fmla="*/ 14 h 66"/>
                <a:gd name="T34" fmla="*/ 76 w 119"/>
                <a:gd name="T35" fmla="*/ 14 h 66"/>
                <a:gd name="T36" fmla="*/ 81 w 119"/>
                <a:gd name="T37" fmla="*/ 9 h 66"/>
                <a:gd name="T38" fmla="*/ 89 w 119"/>
                <a:gd name="T39" fmla="*/ 14 h 66"/>
                <a:gd name="T40" fmla="*/ 92 w 119"/>
                <a:gd name="T41" fmla="*/ 14 h 66"/>
                <a:gd name="T42" fmla="*/ 95 w 119"/>
                <a:gd name="T43" fmla="*/ 19 h 66"/>
                <a:gd name="T44" fmla="*/ 97 w 119"/>
                <a:gd name="T45" fmla="*/ 24 h 66"/>
                <a:gd name="T46" fmla="*/ 97 w 119"/>
                <a:gd name="T47" fmla="*/ 30 h 66"/>
                <a:gd name="T48" fmla="*/ 100 w 119"/>
                <a:gd name="T49" fmla="*/ 35 h 66"/>
                <a:gd name="T50" fmla="*/ 108 w 119"/>
                <a:gd name="T51" fmla="*/ 35 h 66"/>
                <a:gd name="T52" fmla="*/ 112 w 119"/>
                <a:gd name="T53" fmla="*/ 36 h 66"/>
                <a:gd name="T54" fmla="*/ 114 w 119"/>
                <a:gd name="T55" fmla="*/ 44 h 66"/>
                <a:gd name="T56" fmla="*/ 114 w 119"/>
                <a:gd name="T57" fmla="*/ 50 h 66"/>
                <a:gd name="T58" fmla="*/ 119 w 119"/>
                <a:gd name="T59" fmla="*/ 57 h 66"/>
                <a:gd name="T60" fmla="*/ 111 w 119"/>
                <a:gd name="T61" fmla="*/ 60 h 66"/>
                <a:gd name="T62" fmla="*/ 103 w 119"/>
                <a:gd name="T63" fmla="*/ 62 h 66"/>
                <a:gd name="T64" fmla="*/ 97 w 119"/>
                <a:gd name="T65" fmla="*/ 58 h 66"/>
                <a:gd name="T66" fmla="*/ 90 w 119"/>
                <a:gd name="T67" fmla="*/ 62 h 66"/>
                <a:gd name="T68" fmla="*/ 82 w 119"/>
                <a:gd name="T69" fmla="*/ 62 h 66"/>
                <a:gd name="T70" fmla="*/ 79 w 119"/>
                <a:gd name="T71" fmla="*/ 63 h 66"/>
                <a:gd name="T72" fmla="*/ 68 w 119"/>
                <a:gd name="T73" fmla="*/ 63 h 66"/>
                <a:gd name="T74" fmla="*/ 59 w 119"/>
                <a:gd name="T75" fmla="*/ 58 h 66"/>
                <a:gd name="T76" fmla="*/ 52 w 119"/>
                <a:gd name="T77" fmla="*/ 60 h 66"/>
                <a:gd name="T78" fmla="*/ 46 w 119"/>
                <a:gd name="T79" fmla="*/ 65 h 66"/>
                <a:gd name="T80" fmla="*/ 41 w 119"/>
                <a:gd name="T81" fmla="*/ 65 h 66"/>
                <a:gd name="T82" fmla="*/ 38 w 119"/>
                <a:gd name="T83" fmla="*/ 66 h 66"/>
                <a:gd name="T84" fmla="*/ 33 w 119"/>
                <a:gd name="T85" fmla="*/ 63 h 66"/>
                <a:gd name="T86" fmla="*/ 27 w 119"/>
                <a:gd name="T87" fmla="*/ 62 h 66"/>
                <a:gd name="T88" fmla="*/ 22 w 119"/>
                <a:gd name="T89" fmla="*/ 60 h 66"/>
                <a:gd name="T90" fmla="*/ 16 w 119"/>
                <a:gd name="T91" fmla="*/ 62 h 66"/>
                <a:gd name="T92" fmla="*/ 9 w 119"/>
                <a:gd name="T93" fmla="*/ 57 h 66"/>
                <a:gd name="T94" fmla="*/ 5 w 119"/>
                <a:gd name="T95" fmla="*/ 52 h 66"/>
                <a:gd name="T96" fmla="*/ 0 w 119"/>
                <a:gd name="T97" fmla="*/ 47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9" h="66">
                  <a:moveTo>
                    <a:pt x="0" y="47"/>
                  </a:moveTo>
                  <a:lnTo>
                    <a:pt x="0" y="44"/>
                  </a:lnTo>
                  <a:lnTo>
                    <a:pt x="3" y="43"/>
                  </a:lnTo>
                  <a:lnTo>
                    <a:pt x="3" y="41"/>
                  </a:lnTo>
                  <a:lnTo>
                    <a:pt x="5" y="38"/>
                  </a:lnTo>
                  <a:lnTo>
                    <a:pt x="5" y="35"/>
                  </a:lnTo>
                  <a:lnTo>
                    <a:pt x="8" y="31"/>
                  </a:lnTo>
                  <a:lnTo>
                    <a:pt x="9" y="30"/>
                  </a:lnTo>
                  <a:lnTo>
                    <a:pt x="9" y="25"/>
                  </a:lnTo>
                  <a:lnTo>
                    <a:pt x="11" y="22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6" y="16"/>
                  </a:lnTo>
                  <a:lnTo>
                    <a:pt x="17" y="11"/>
                  </a:lnTo>
                  <a:lnTo>
                    <a:pt x="19" y="9"/>
                  </a:lnTo>
                  <a:lnTo>
                    <a:pt x="22" y="6"/>
                  </a:lnTo>
                  <a:lnTo>
                    <a:pt x="25" y="6"/>
                  </a:lnTo>
                  <a:lnTo>
                    <a:pt x="28" y="3"/>
                  </a:lnTo>
                  <a:lnTo>
                    <a:pt x="33" y="1"/>
                  </a:lnTo>
                  <a:lnTo>
                    <a:pt x="33" y="0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41" y="1"/>
                  </a:lnTo>
                  <a:lnTo>
                    <a:pt x="44" y="1"/>
                  </a:lnTo>
                  <a:lnTo>
                    <a:pt x="47" y="3"/>
                  </a:lnTo>
                  <a:lnTo>
                    <a:pt x="47" y="6"/>
                  </a:lnTo>
                  <a:lnTo>
                    <a:pt x="47" y="9"/>
                  </a:lnTo>
                  <a:lnTo>
                    <a:pt x="52" y="9"/>
                  </a:lnTo>
                  <a:lnTo>
                    <a:pt x="57" y="9"/>
                  </a:lnTo>
                  <a:lnTo>
                    <a:pt x="62" y="9"/>
                  </a:lnTo>
                  <a:lnTo>
                    <a:pt x="65" y="11"/>
                  </a:lnTo>
                  <a:lnTo>
                    <a:pt x="68" y="11"/>
                  </a:lnTo>
                  <a:lnTo>
                    <a:pt x="71" y="14"/>
                  </a:lnTo>
                  <a:lnTo>
                    <a:pt x="73" y="14"/>
                  </a:lnTo>
                  <a:lnTo>
                    <a:pt x="73" y="14"/>
                  </a:lnTo>
                  <a:lnTo>
                    <a:pt x="76" y="14"/>
                  </a:lnTo>
                  <a:lnTo>
                    <a:pt x="78" y="11"/>
                  </a:lnTo>
                  <a:lnTo>
                    <a:pt x="81" y="9"/>
                  </a:lnTo>
                  <a:lnTo>
                    <a:pt x="84" y="11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92" y="14"/>
                  </a:lnTo>
                  <a:lnTo>
                    <a:pt x="95" y="16"/>
                  </a:lnTo>
                  <a:lnTo>
                    <a:pt x="95" y="19"/>
                  </a:lnTo>
                  <a:lnTo>
                    <a:pt x="95" y="22"/>
                  </a:lnTo>
                  <a:lnTo>
                    <a:pt x="97" y="24"/>
                  </a:lnTo>
                  <a:lnTo>
                    <a:pt x="95" y="27"/>
                  </a:lnTo>
                  <a:lnTo>
                    <a:pt x="97" y="30"/>
                  </a:lnTo>
                  <a:lnTo>
                    <a:pt x="98" y="33"/>
                  </a:lnTo>
                  <a:lnTo>
                    <a:pt x="100" y="35"/>
                  </a:lnTo>
                  <a:lnTo>
                    <a:pt x="103" y="36"/>
                  </a:lnTo>
                  <a:lnTo>
                    <a:pt x="108" y="35"/>
                  </a:lnTo>
                  <a:lnTo>
                    <a:pt x="109" y="35"/>
                  </a:lnTo>
                  <a:lnTo>
                    <a:pt x="112" y="36"/>
                  </a:lnTo>
                  <a:lnTo>
                    <a:pt x="114" y="39"/>
                  </a:lnTo>
                  <a:lnTo>
                    <a:pt x="114" y="44"/>
                  </a:lnTo>
                  <a:lnTo>
                    <a:pt x="112" y="47"/>
                  </a:lnTo>
                  <a:lnTo>
                    <a:pt x="114" y="50"/>
                  </a:lnTo>
                  <a:lnTo>
                    <a:pt x="117" y="54"/>
                  </a:lnTo>
                  <a:lnTo>
                    <a:pt x="119" y="57"/>
                  </a:lnTo>
                  <a:lnTo>
                    <a:pt x="117" y="58"/>
                  </a:lnTo>
                  <a:lnTo>
                    <a:pt x="111" y="60"/>
                  </a:lnTo>
                  <a:lnTo>
                    <a:pt x="108" y="60"/>
                  </a:lnTo>
                  <a:lnTo>
                    <a:pt x="103" y="62"/>
                  </a:lnTo>
                  <a:lnTo>
                    <a:pt x="100" y="62"/>
                  </a:lnTo>
                  <a:lnTo>
                    <a:pt x="97" y="58"/>
                  </a:lnTo>
                  <a:lnTo>
                    <a:pt x="93" y="62"/>
                  </a:lnTo>
                  <a:lnTo>
                    <a:pt x="90" y="62"/>
                  </a:lnTo>
                  <a:lnTo>
                    <a:pt x="86" y="62"/>
                  </a:lnTo>
                  <a:lnTo>
                    <a:pt x="82" y="62"/>
                  </a:lnTo>
                  <a:lnTo>
                    <a:pt x="79" y="63"/>
                  </a:lnTo>
                  <a:lnTo>
                    <a:pt x="79" y="63"/>
                  </a:lnTo>
                  <a:lnTo>
                    <a:pt x="73" y="63"/>
                  </a:lnTo>
                  <a:lnTo>
                    <a:pt x="68" y="63"/>
                  </a:lnTo>
                  <a:lnTo>
                    <a:pt x="63" y="62"/>
                  </a:lnTo>
                  <a:lnTo>
                    <a:pt x="59" y="58"/>
                  </a:lnTo>
                  <a:lnTo>
                    <a:pt x="55" y="60"/>
                  </a:lnTo>
                  <a:lnTo>
                    <a:pt x="52" y="60"/>
                  </a:lnTo>
                  <a:lnTo>
                    <a:pt x="49" y="65"/>
                  </a:lnTo>
                  <a:lnTo>
                    <a:pt x="46" y="65"/>
                  </a:lnTo>
                  <a:lnTo>
                    <a:pt x="43" y="65"/>
                  </a:lnTo>
                  <a:lnTo>
                    <a:pt x="41" y="65"/>
                  </a:lnTo>
                  <a:lnTo>
                    <a:pt x="41" y="66"/>
                  </a:lnTo>
                  <a:lnTo>
                    <a:pt x="38" y="66"/>
                  </a:lnTo>
                  <a:lnTo>
                    <a:pt x="33" y="65"/>
                  </a:lnTo>
                  <a:lnTo>
                    <a:pt x="33" y="63"/>
                  </a:lnTo>
                  <a:lnTo>
                    <a:pt x="32" y="62"/>
                  </a:lnTo>
                  <a:lnTo>
                    <a:pt x="27" y="62"/>
                  </a:lnTo>
                  <a:lnTo>
                    <a:pt x="24" y="60"/>
                  </a:lnTo>
                  <a:lnTo>
                    <a:pt x="22" y="60"/>
                  </a:lnTo>
                  <a:lnTo>
                    <a:pt x="19" y="62"/>
                  </a:lnTo>
                  <a:lnTo>
                    <a:pt x="16" y="62"/>
                  </a:lnTo>
                  <a:lnTo>
                    <a:pt x="13" y="58"/>
                  </a:lnTo>
                  <a:lnTo>
                    <a:pt x="9" y="57"/>
                  </a:lnTo>
                  <a:lnTo>
                    <a:pt x="5" y="55"/>
                  </a:lnTo>
                  <a:lnTo>
                    <a:pt x="5" y="52"/>
                  </a:lnTo>
                  <a:lnTo>
                    <a:pt x="0" y="47"/>
                  </a:lnTo>
                  <a:lnTo>
                    <a:pt x="0" y="47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3" name="Freeform 46"/>
            <p:cNvSpPr>
              <a:spLocks/>
            </p:cNvSpPr>
            <p:nvPr/>
          </p:nvSpPr>
          <p:spPr bwMode="auto">
            <a:xfrm>
              <a:off x="7646979" y="3909945"/>
              <a:ext cx="138213" cy="201400"/>
            </a:xfrm>
            <a:custGeom>
              <a:avLst/>
              <a:gdLst>
                <a:gd name="T0" fmla="*/ 14 w 189"/>
                <a:gd name="T1" fmla="*/ 7 h 238"/>
                <a:gd name="T2" fmla="*/ 29 w 189"/>
                <a:gd name="T3" fmla="*/ 16 h 238"/>
                <a:gd name="T4" fmla="*/ 35 w 189"/>
                <a:gd name="T5" fmla="*/ 18 h 238"/>
                <a:gd name="T6" fmla="*/ 52 w 189"/>
                <a:gd name="T7" fmla="*/ 24 h 238"/>
                <a:gd name="T8" fmla="*/ 60 w 189"/>
                <a:gd name="T9" fmla="*/ 27 h 238"/>
                <a:gd name="T10" fmla="*/ 62 w 189"/>
                <a:gd name="T11" fmla="*/ 35 h 238"/>
                <a:gd name="T12" fmla="*/ 65 w 189"/>
                <a:gd name="T13" fmla="*/ 45 h 238"/>
                <a:gd name="T14" fmla="*/ 73 w 189"/>
                <a:gd name="T15" fmla="*/ 56 h 238"/>
                <a:gd name="T16" fmla="*/ 121 w 189"/>
                <a:gd name="T17" fmla="*/ 59 h 238"/>
                <a:gd name="T18" fmla="*/ 151 w 189"/>
                <a:gd name="T19" fmla="*/ 62 h 238"/>
                <a:gd name="T20" fmla="*/ 159 w 189"/>
                <a:gd name="T21" fmla="*/ 72 h 238"/>
                <a:gd name="T22" fmla="*/ 152 w 189"/>
                <a:gd name="T23" fmla="*/ 81 h 238"/>
                <a:gd name="T24" fmla="*/ 141 w 189"/>
                <a:gd name="T25" fmla="*/ 99 h 238"/>
                <a:gd name="T26" fmla="*/ 127 w 189"/>
                <a:gd name="T27" fmla="*/ 107 h 238"/>
                <a:gd name="T28" fmla="*/ 124 w 189"/>
                <a:gd name="T29" fmla="*/ 121 h 238"/>
                <a:gd name="T30" fmla="*/ 130 w 189"/>
                <a:gd name="T31" fmla="*/ 140 h 238"/>
                <a:gd name="T32" fmla="*/ 138 w 189"/>
                <a:gd name="T33" fmla="*/ 145 h 238"/>
                <a:gd name="T34" fmla="*/ 146 w 189"/>
                <a:gd name="T35" fmla="*/ 138 h 238"/>
                <a:gd name="T36" fmla="*/ 152 w 189"/>
                <a:gd name="T37" fmla="*/ 123 h 238"/>
                <a:gd name="T38" fmla="*/ 163 w 189"/>
                <a:gd name="T39" fmla="*/ 127 h 238"/>
                <a:gd name="T40" fmla="*/ 168 w 189"/>
                <a:gd name="T41" fmla="*/ 150 h 238"/>
                <a:gd name="T42" fmla="*/ 179 w 189"/>
                <a:gd name="T43" fmla="*/ 178 h 238"/>
                <a:gd name="T44" fmla="*/ 189 w 189"/>
                <a:gd name="T45" fmla="*/ 218 h 238"/>
                <a:gd name="T46" fmla="*/ 171 w 189"/>
                <a:gd name="T47" fmla="*/ 219 h 238"/>
                <a:gd name="T48" fmla="*/ 178 w 189"/>
                <a:gd name="T49" fmla="*/ 238 h 238"/>
                <a:gd name="T50" fmla="*/ 165 w 189"/>
                <a:gd name="T51" fmla="*/ 216 h 238"/>
                <a:gd name="T52" fmla="*/ 157 w 189"/>
                <a:gd name="T53" fmla="*/ 192 h 238"/>
                <a:gd name="T54" fmla="*/ 152 w 189"/>
                <a:gd name="T55" fmla="*/ 175 h 238"/>
                <a:gd name="T56" fmla="*/ 143 w 189"/>
                <a:gd name="T57" fmla="*/ 162 h 238"/>
                <a:gd name="T58" fmla="*/ 132 w 189"/>
                <a:gd name="T59" fmla="*/ 161 h 238"/>
                <a:gd name="T60" fmla="*/ 113 w 189"/>
                <a:gd name="T61" fmla="*/ 157 h 238"/>
                <a:gd name="T62" fmla="*/ 103 w 189"/>
                <a:gd name="T63" fmla="*/ 129 h 238"/>
                <a:gd name="T64" fmla="*/ 103 w 189"/>
                <a:gd name="T65" fmla="*/ 127 h 238"/>
                <a:gd name="T66" fmla="*/ 102 w 189"/>
                <a:gd name="T67" fmla="*/ 132 h 238"/>
                <a:gd name="T68" fmla="*/ 92 w 189"/>
                <a:gd name="T69" fmla="*/ 131 h 238"/>
                <a:gd name="T70" fmla="*/ 100 w 189"/>
                <a:gd name="T71" fmla="*/ 146 h 238"/>
                <a:gd name="T72" fmla="*/ 102 w 189"/>
                <a:gd name="T73" fmla="*/ 159 h 238"/>
                <a:gd name="T74" fmla="*/ 109 w 189"/>
                <a:gd name="T75" fmla="*/ 177 h 238"/>
                <a:gd name="T76" fmla="*/ 103 w 189"/>
                <a:gd name="T77" fmla="*/ 184 h 238"/>
                <a:gd name="T78" fmla="*/ 95 w 189"/>
                <a:gd name="T79" fmla="*/ 192 h 238"/>
                <a:gd name="T80" fmla="*/ 94 w 189"/>
                <a:gd name="T81" fmla="*/ 186 h 238"/>
                <a:gd name="T82" fmla="*/ 90 w 189"/>
                <a:gd name="T83" fmla="*/ 188 h 238"/>
                <a:gd name="T84" fmla="*/ 87 w 189"/>
                <a:gd name="T85" fmla="*/ 170 h 238"/>
                <a:gd name="T86" fmla="*/ 84 w 189"/>
                <a:gd name="T87" fmla="*/ 188 h 238"/>
                <a:gd name="T88" fmla="*/ 78 w 189"/>
                <a:gd name="T89" fmla="*/ 199 h 238"/>
                <a:gd name="T90" fmla="*/ 75 w 189"/>
                <a:gd name="T91" fmla="*/ 189 h 238"/>
                <a:gd name="T92" fmla="*/ 71 w 189"/>
                <a:gd name="T93" fmla="*/ 184 h 238"/>
                <a:gd name="T94" fmla="*/ 68 w 189"/>
                <a:gd name="T95" fmla="*/ 197 h 238"/>
                <a:gd name="T96" fmla="*/ 63 w 189"/>
                <a:gd name="T97" fmla="*/ 200 h 238"/>
                <a:gd name="T98" fmla="*/ 56 w 189"/>
                <a:gd name="T99" fmla="*/ 181 h 238"/>
                <a:gd name="T100" fmla="*/ 49 w 189"/>
                <a:gd name="T101" fmla="*/ 162 h 238"/>
                <a:gd name="T102" fmla="*/ 46 w 189"/>
                <a:gd name="T103" fmla="*/ 143 h 238"/>
                <a:gd name="T104" fmla="*/ 40 w 189"/>
                <a:gd name="T105" fmla="*/ 129 h 238"/>
                <a:gd name="T106" fmla="*/ 35 w 189"/>
                <a:gd name="T107" fmla="*/ 110 h 238"/>
                <a:gd name="T108" fmla="*/ 33 w 189"/>
                <a:gd name="T109" fmla="*/ 97 h 238"/>
                <a:gd name="T110" fmla="*/ 19 w 189"/>
                <a:gd name="T111" fmla="*/ 91 h 238"/>
                <a:gd name="T112" fmla="*/ 10 w 189"/>
                <a:gd name="T113" fmla="*/ 83 h 238"/>
                <a:gd name="T114" fmla="*/ 14 w 189"/>
                <a:gd name="T115" fmla="*/ 72 h 238"/>
                <a:gd name="T116" fmla="*/ 25 w 189"/>
                <a:gd name="T117" fmla="*/ 59 h 238"/>
                <a:gd name="T118" fmla="*/ 33 w 189"/>
                <a:gd name="T119" fmla="*/ 53 h 238"/>
                <a:gd name="T120" fmla="*/ 14 w 189"/>
                <a:gd name="T121" fmla="*/ 40 h 238"/>
                <a:gd name="T122" fmla="*/ 2 w 189"/>
                <a:gd name="T123" fmla="*/ 26 h 238"/>
                <a:gd name="T124" fmla="*/ 13 w 189"/>
                <a:gd name="T125" fmla="*/ 10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9" h="238">
                  <a:moveTo>
                    <a:pt x="5" y="5"/>
                  </a:moveTo>
                  <a:lnTo>
                    <a:pt x="6" y="2"/>
                  </a:lnTo>
                  <a:lnTo>
                    <a:pt x="6" y="0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4" y="7"/>
                  </a:lnTo>
                  <a:lnTo>
                    <a:pt x="17" y="10"/>
                  </a:lnTo>
                  <a:lnTo>
                    <a:pt x="19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9" y="16"/>
                  </a:lnTo>
                  <a:lnTo>
                    <a:pt x="32" y="16"/>
                  </a:lnTo>
                  <a:lnTo>
                    <a:pt x="30" y="12"/>
                  </a:lnTo>
                  <a:lnTo>
                    <a:pt x="27" y="8"/>
                  </a:lnTo>
                  <a:lnTo>
                    <a:pt x="30" y="8"/>
                  </a:lnTo>
                  <a:lnTo>
                    <a:pt x="33" y="12"/>
                  </a:lnTo>
                  <a:lnTo>
                    <a:pt x="33" y="15"/>
                  </a:lnTo>
                  <a:lnTo>
                    <a:pt x="35" y="18"/>
                  </a:lnTo>
                  <a:lnTo>
                    <a:pt x="40" y="21"/>
                  </a:lnTo>
                  <a:lnTo>
                    <a:pt x="43" y="24"/>
                  </a:lnTo>
                  <a:lnTo>
                    <a:pt x="46" y="24"/>
                  </a:lnTo>
                  <a:lnTo>
                    <a:pt x="48" y="26"/>
                  </a:lnTo>
                  <a:lnTo>
                    <a:pt x="48" y="26"/>
                  </a:lnTo>
                  <a:lnTo>
                    <a:pt x="52" y="27"/>
                  </a:lnTo>
                  <a:lnTo>
                    <a:pt x="52" y="24"/>
                  </a:lnTo>
                  <a:lnTo>
                    <a:pt x="54" y="23"/>
                  </a:lnTo>
                  <a:lnTo>
                    <a:pt x="52" y="18"/>
                  </a:lnTo>
                  <a:lnTo>
                    <a:pt x="56" y="20"/>
                  </a:lnTo>
                  <a:lnTo>
                    <a:pt x="57" y="21"/>
                  </a:lnTo>
                  <a:lnTo>
                    <a:pt x="60" y="24"/>
                  </a:lnTo>
                  <a:lnTo>
                    <a:pt x="62" y="26"/>
                  </a:lnTo>
                  <a:lnTo>
                    <a:pt x="60" y="27"/>
                  </a:lnTo>
                  <a:lnTo>
                    <a:pt x="62" y="27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62" y="35"/>
                  </a:lnTo>
                  <a:lnTo>
                    <a:pt x="62" y="35"/>
                  </a:lnTo>
                  <a:lnTo>
                    <a:pt x="63" y="37"/>
                  </a:lnTo>
                  <a:lnTo>
                    <a:pt x="63" y="39"/>
                  </a:lnTo>
                  <a:lnTo>
                    <a:pt x="65" y="42"/>
                  </a:lnTo>
                  <a:lnTo>
                    <a:pt x="65" y="42"/>
                  </a:lnTo>
                  <a:lnTo>
                    <a:pt x="65" y="43"/>
                  </a:lnTo>
                  <a:lnTo>
                    <a:pt x="65" y="45"/>
                  </a:lnTo>
                  <a:lnTo>
                    <a:pt x="65" y="48"/>
                  </a:lnTo>
                  <a:lnTo>
                    <a:pt x="65" y="50"/>
                  </a:lnTo>
                  <a:lnTo>
                    <a:pt x="65" y="51"/>
                  </a:lnTo>
                  <a:lnTo>
                    <a:pt x="67" y="54"/>
                  </a:lnTo>
                  <a:lnTo>
                    <a:pt x="70" y="54"/>
                  </a:lnTo>
                  <a:lnTo>
                    <a:pt x="71" y="54"/>
                  </a:lnTo>
                  <a:lnTo>
                    <a:pt x="73" y="56"/>
                  </a:lnTo>
                  <a:lnTo>
                    <a:pt x="76" y="58"/>
                  </a:lnTo>
                  <a:lnTo>
                    <a:pt x="79" y="58"/>
                  </a:lnTo>
                  <a:lnTo>
                    <a:pt x="90" y="59"/>
                  </a:lnTo>
                  <a:lnTo>
                    <a:pt x="98" y="59"/>
                  </a:lnTo>
                  <a:lnTo>
                    <a:pt x="106" y="59"/>
                  </a:lnTo>
                  <a:lnTo>
                    <a:pt x="113" y="59"/>
                  </a:lnTo>
                  <a:lnTo>
                    <a:pt x="121" y="59"/>
                  </a:lnTo>
                  <a:lnTo>
                    <a:pt x="132" y="61"/>
                  </a:lnTo>
                  <a:lnTo>
                    <a:pt x="133" y="59"/>
                  </a:lnTo>
                  <a:lnTo>
                    <a:pt x="140" y="59"/>
                  </a:lnTo>
                  <a:lnTo>
                    <a:pt x="143" y="59"/>
                  </a:lnTo>
                  <a:lnTo>
                    <a:pt x="144" y="59"/>
                  </a:lnTo>
                  <a:lnTo>
                    <a:pt x="148" y="61"/>
                  </a:lnTo>
                  <a:lnTo>
                    <a:pt x="151" y="62"/>
                  </a:lnTo>
                  <a:lnTo>
                    <a:pt x="155" y="64"/>
                  </a:lnTo>
                  <a:lnTo>
                    <a:pt x="159" y="66"/>
                  </a:lnTo>
                  <a:lnTo>
                    <a:pt x="159" y="67"/>
                  </a:lnTo>
                  <a:lnTo>
                    <a:pt x="159" y="67"/>
                  </a:lnTo>
                  <a:lnTo>
                    <a:pt x="162" y="70"/>
                  </a:lnTo>
                  <a:lnTo>
                    <a:pt x="162" y="72"/>
                  </a:lnTo>
                  <a:lnTo>
                    <a:pt x="159" y="72"/>
                  </a:lnTo>
                  <a:lnTo>
                    <a:pt x="157" y="72"/>
                  </a:lnTo>
                  <a:lnTo>
                    <a:pt x="154" y="72"/>
                  </a:lnTo>
                  <a:lnTo>
                    <a:pt x="154" y="73"/>
                  </a:lnTo>
                  <a:lnTo>
                    <a:pt x="154" y="73"/>
                  </a:lnTo>
                  <a:lnTo>
                    <a:pt x="154" y="75"/>
                  </a:lnTo>
                  <a:lnTo>
                    <a:pt x="154" y="78"/>
                  </a:lnTo>
                  <a:lnTo>
                    <a:pt x="152" y="81"/>
                  </a:lnTo>
                  <a:lnTo>
                    <a:pt x="152" y="86"/>
                  </a:lnTo>
                  <a:lnTo>
                    <a:pt x="152" y="88"/>
                  </a:lnTo>
                  <a:lnTo>
                    <a:pt x="149" y="92"/>
                  </a:lnTo>
                  <a:lnTo>
                    <a:pt x="146" y="92"/>
                  </a:lnTo>
                  <a:lnTo>
                    <a:pt x="146" y="97"/>
                  </a:lnTo>
                  <a:lnTo>
                    <a:pt x="146" y="100"/>
                  </a:lnTo>
                  <a:lnTo>
                    <a:pt x="141" y="99"/>
                  </a:lnTo>
                  <a:lnTo>
                    <a:pt x="138" y="100"/>
                  </a:lnTo>
                  <a:lnTo>
                    <a:pt x="136" y="99"/>
                  </a:lnTo>
                  <a:lnTo>
                    <a:pt x="136" y="102"/>
                  </a:lnTo>
                  <a:lnTo>
                    <a:pt x="133" y="104"/>
                  </a:lnTo>
                  <a:lnTo>
                    <a:pt x="130" y="104"/>
                  </a:lnTo>
                  <a:lnTo>
                    <a:pt x="127" y="104"/>
                  </a:lnTo>
                  <a:lnTo>
                    <a:pt x="127" y="107"/>
                  </a:lnTo>
                  <a:lnTo>
                    <a:pt x="127" y="107"/>
                  </a:lnTo>
                  <a:lnTo>
                    <a:pt x="125" y="108"/>
                  </a:lnTo>
                  <a:lnTo>
                    <a:pt x="124" y="112"/>
                  </a:lnTo>
                  <a:lnTo>
                    <a:pt x="124" y="113"/>
                  </a:lnTo>
                  <a:lnTo>
                    <a:pt x="124" y="115"/>
                  </a:lnTo>
                  <a:lnTo>
                    <a:pt x="124" y="118"/>
                  </a:lnTo>
                  <a:lnTo>
                    <a:pt x="124" y="121"/>
                  </a:lnTo>
                  <a:lnTo>
                    <a:pt x="122" y="121"/>
                  </a:lnTo>
                  <a:lnTo>
                    <a:pt x="124" y="124"/>
                  </a:lnTo>
                  <a:lnTo>
                    <a:pt x="125" y="127"/>
                  </a:lnTo>
                  <a:lnTo>
                    <a:pt x="127" y="129"/>
                  </a:lnTo>
                  <a:lnTo>
                    <a:pt x="128" y="132"/>
                  </a:lnTo>
                  <a:lnTo>
                    <a:pt x="128" y="137"/>
                  </a:lnTo>
                  <a:lnTo>
                    <a:pt x="130" y="140"/>
                  </a:lnTo>
                  <a:lnTo>
                    <a:pt x="132" y="143"/>
                  </a:lnTo>
                  <a:lnTo>
                    <a:pt x="132" y="145"/>
                  </a:lnTo>
                  <a:lnTo>
                    <a:pt x="133" y="142"/>
                  </a:lnTo>
                  <a:lnTo>
                    <a:pt x="132" y="138"/>
                  </a:lnTo>
                  <a:lnTo>
                    <a:pt x="136" y="140"/>
                  </a:lnTo>
                  <a:lnTo>
                    <a:pt x="136" y="142"/>
                  </a:lnTo>
                  <a:lnTo>
                    <a:pt x="138" y="145"/>
                  </a:lnTo>
                  <a:lnTo>
                    <a:pt x="140" y="148"/>
                  </a:lnTo>
                  <a:lnTo>
                    <a:pt x="141" y="150"/>
                  </a:lnTo>
                  <a:lnTo>
                    <a:pt x="144" y="150"/>
                  </a:lnTo>
                  <a:lnTo>
                    <a:pt x="144" y="148"/>
                  </a:lnTo>
                  <a:lnTo>
                    <a:pt x="148" y="145"/>
                  </a:lnTo>
                  <a:lnTo>
                    <a:pt x="148" y="142"/>
                  </a:lnTo>
                  <a:lnTo>
                    <a:pt x="146" y="138"/>
                  </a:lnTo>
                  <a:lnTo>
                    <a:pt x="146" y="135"/>
                  </a:lnTo>
                  <a:lnTo>
                    <a:pt x="148" y="132"/>
                  </a:lnTo>
                  <a:lnTo>
                    <a:pt x="151" y="129"/>
                  </a:lnTo>
                  <a:lnTo>
                    <a:pt x="151" y="127"/>
                  </a:lnTo>
                  <a:lnTo>
                    <a:pt x="151" y="124"/>
                  </a:lnTo>
                  <a:lnTo>
                    <a:pt x="149" y="119"/>
                  </a:lnTo>
                  <a:lnTo>
                    <a:pt x="152" y="123"/>
                  </a:lnTo>
                  <a:lnTo>
                    <a:pt x="154" y="123"/>
                  </a:lnTo>
                  <a:lnTo>
                    <a:pt x="157" y="118"/>
                  </a:lnTo>
                  <a:lnTo>
                    <a:pt x="157" y="118"/>
                  </a:lnTo>
                  <a:lnTo>
                    <a:pt x="160" y="119"/>
                  </a:lnTo>
                  <a:lnTo>
                    <a:pt x="162" y="119"/>
                  </a:lnTo>
                  <a:lnTo>
                    <a:pt x="162" y="124"/>
                  </a:lnTo>
                  <a:lnTo>
                    <a:pt x="163" y="127"/>
                  </a:lnTo>
                  <a:lnTo>
                    <a:pt x="165" y="131"/>
                  </a:lnTo>
                  <a:lnTo>
                    <a:pt x="167" y="134"/>
                  </a:lnTo>
                  <a:lnTo>
                    <a:pt x="167" y="137"/>
                  </a:lnTo>
                  <a:lnTo>
                    <a:pt x="167" y="138"/>
                  </a:lnTo>
                  <a:lnTo>
                    <a:pt x="167" y="142"/>
                  </a:lnTo>
                  <a:lnTo>
                    <a:pt x="168" y="146"/>
                  </a:lnTo>
                  <a:lnTo>
                    <a:pt x="168" y="150"/>
                  </a:lnTo>
                  <a:lnTo>
                    <a:pt x="171" y="153"/>
                  </a:lnTo>
                  <a:lnTo>
                    <a:pt x="171" y="154"/>
                  </a:lnTo>
                  <a:lnTo>
                    <a:pt x="173" y="157"/>
                  </a:lnTo>
                  <a:lnTo>
                    <a:pt x="176" y="162"/>
                  </a:lnTo>
                  <a:lnTo>
                    <a:pt x="176" y="165"/>
                  </a:lnTo>
                  <a:lnTo>
                    <a:pt x="178" y="169"/>
                  </a:lnTo>
                  <a:lnTo>
                    <a:pt x="179" y="178"/>
                  </a:lnTo>
                  <a:lnTo>
                    <a:pt x="181" y="186"/>
                  </a:lnTo>
                  <a:lnTo>
                    <a:pt x="182" y="189"/>
                  </a:lnTo>
                  <a:lnTo>
                    <a:pt x="184" y="194"/>
                  </a:lnTo>
                  <a:lnTo>
                    <a:pt x="182" y="197"/>
                  </a:lnTo>
                  <a:lnTo>
                    <a:pt x="184" y="200"/>
                  </a:lnTo>
                  <a:lnTo>
                    <a:pt x="186" y="210"/>
                  </a:lnTo>
                  <a:lnTo>
                    <a:pt x="189" y="218"/>
                  </a:lnTo>
                  <a:lnTo>
                    <a:pt x="186" y="218"/>
                  </a:lnTo>
                  <a:lnTo>
                    <a:pt x="182" y="215"/>
                  </a:lnTo>
                  <a:lnTo>
                    <a:pt x="179" y="215"/>
                  </a:lnTo>
                  <a:lnTo>
                    <a:pt x="179" y="213"/>
                  </a:lnTo>
                  <a:lnTo>
                    <a:pt x="176" y="211"/>
                  </a:lnTo>
                  <a:lnTo>
                    <a:pt x="171" y="216"/>
                  </a:lnTo>
                  <a:lnTo>
                    <a:pt x="171" y="219"/>
                  </a:lnTo>
                  <a:lnTo>
                    <a:pt x="171" y="223"/>
                  </a:lnTo>
                  <a:lnTo>
                    <a:pt x="173" y="224"/>
                  </a:lnTo>
                  <a:lnTo>
                    <a:pt x="174" y="227"/>
                  </a:lnTo>
                  <a:lnTo>
                    <a:pt x="174" y="227"/>
                  </a:lnTo>
                  <a:lnTo>
                    <a:pt x="176" y="232"/>
                  </a:lnTo>
                  <a:lnTo>
                    <a:pt x="176" y="235"/>
                  </a:lnTo>
                  <a:lnTo>
                    <a:pt x="178" y="238"/>
                  </a:lnTo>
                  <a:lnTo>
                    <a:pt x="174" y="235"/>
                  </a:lnTo>
                  <a:lnTo>
                    <a:pt x="174" y="234"/>
                  </a:lnTo>
                  <a:lnTo>
                    <a:pt x="173" y="230"/>
                  </a:lnTo>
                  <a:lnTo>
                    <a:pt x="170" y="227"/>
                  </a:lnTo>
                  <a:lnTo>
                    <a:pt x="167" y="223"/>
                  </a:lnTo>
                  <a:lnTo>
                    <a:pt x="167" y="219"/>
                  </a:lnTo>
                  <a:lnTo>
                    <a:pt x="165" y="216"/>
                  </a:lnTo>
                  <a:lnTo>
                    <a:pt x="162" y="213"/>
                  </a:lnTo>
                  <a:lnTo>
                    <a:pt x="163" y="210"/>
                  </a:lnTo>
                  <a:lnTo>
                    <a:pt x="163" y="207"/>
                  </a:lnTo>
                  <a:lnTo>
                    <a:pt x="162" y="202"/>
                  </a:lnTo>
                  <a:lnTo>
                    <a:pt x="160" y="199"/>
                  </a:lnTo>
                  <a:lnTo>
                    <a:pt x="159" y="196"/>
                  </a:lnTo>
                  <a:lnTo>
                    <a:pt x="157" y="192"/>
                  </a:lnTo>
                  <a:lnTo>
                    <a:pt x="155" y="188"/>
                  </a:lnTo>
                  <a:lnTo>
                    <a:pt x="154" y="181"/>
                  </a:lnTo>
                  <a:lnTo>
                    <a:pt x="154" y="177"/>
                  </a:lnTo>
                  <a:lnTo>
                    <a:pt x="155" y="172"/>
                  </a:lnTo>
                  <a:lnTo>
                    <a:pt x="154" y="172"/>
                  </a:lnTo>
                  <a:lnTo>
                    <a:pt x="154" y="173"/>
                  </a:lnTo>
                  <a:lnTo>
                    <a:pt x="152" y="175"/>
                  </a:lnTo>
                  <a:lnTo>
                    <a:pt x="152" y="177"/>
                  </a:lnTo>
                  <a:lnTo>
                    <a:pt x="152" y="180"/>
                  </a:lnTo>
                  <a:lnTo>
                    <a:pt x="151" y="177"/>
                  </a:lnTo>
                  <a:lnTo>
                    <a:pt x="149" y="172"/>
                  </a:lnTo>
                  <a:lnTo>
                    <a:pt x="148" y="169"/>
                  </a:lnTo>
                  <a:lnTo>
                    <a:pt x="146" y="165"/>
                  </a:lnTo>
                  <a:lnTo>
                    <a:pt x="143" y="162"/>
                  </a:lnTo>
                  <a:lnTo>
                    <a:pt x="138" y="159"/>
                  </a:lnTo>
                  <a:lnTo>
                    <a:pt x="138" y="156"/>
                  </a:lnTo>
                  <a:lnTo>
                    <a:pt x="138" y="153"/>
                  </a:lnTo>
                  <a:lnTo>
                    <a:pt x="138" y="154"/>
                  </a:lnTo>
                  <a:lnTo>
                    <a:pt x="133" y="157"/>
                  </a:lnTo>
                  <a:lnTo>
                    <a:pt x="133" y="157"/>
                  </a:lnTo>
                  <a:lnTo>
                    <a:pt x="132" y="161"/>
                  </a:lnTo>
                  <a:lnTo>
                    <a:pt x="128" y="161"/>
                  </a:lnTo>
                  <a:lnTo>
                    <a:pt x="128" y="165"/>
                  </a:lnTo>
                  <a:lnTo>
                    <a:pt x="125" y="165"/>
                  </a:lnTo>
                  <a:lnTo>
                    <a:pt x="122" y="162"/>
                  </a:lnTo>
                  <a:lnTo>
                    <a:pt x="122" y="165"/>
                  </a:lnTo>
                  <a:lnTo>
                    <a:pt x="122" y="165"/>
                  </a:lnTo>
                  <a:lnTo>
                    <a:pt x="113" y="157"/>
                  </a:lnTo>
                  <a:lnTo>
                    <a:pt x="108" y="146"/>
                  </a:lnTo>
                  <a:lnTo>
                    <a:pt x="106" y="145"/>
                  </a:lnTo>
                  <a:lnTo>
                    <a:pt x="106" y="142"/>
                  </a:lnTo>
                  <a:lnTo>
                    <a:pt x="106" y="138"/>
                  </a:lnTo>
                  <a:lnTo>
                    <a:pt x="106" y="135"/>
                  </a:lnTo>
                  <a:lnTo>
                    <a:pt x="103" y="132"/>
                  </a:lnTo>
                  <a:lnTo>
                    <a:pt x="103" y="129"/>
                  </a:lnTo>
                  <a:lnTo>
                    <a:pt x="106" y="129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6" y="126"/>
                  </a:lnTo>
                  <a:lnTo>
                    <a:pt x="106" y="127"/>
                  </a:lnTo>
                  <a:lnTo>
                    <a:pt x="106" y="127"/>
                  </a:lnTo>
                  <a:lnTo>
                    <a:pt x="103" y="127"/>
                  </a:lnTo>
                  <a:lnTo>
                    <a:pt x="103" y="124"/>
                  </a:lnTo>
                  <a:lnTo>
                    <a:pt x="103" y="124"/>
                  </a:lnTo>
                  <a:lnTo>
                    <a:pt x="100" y="126"/>
                  </a:lnTo>
                  <a:lnTo>
                    <a:pt x="98" y="124"/>
                  </a:lnTo>
                  <a:lnTo>
                    <a:pt x="100" y="126"/>
                  </a:lnTo>
                  <a:lnTo>
                    <a:pt x="102" y="129"/>
                  </a:lnTo>
                  <a:lnTo>
                    <a:pt x="102" y="132"/>
                  </a:lnTo>
                  <a:lnTo>
                    <a:pt x="102" y="132"/>
                  </a:lnTo>
                  <a:lnTo>
                    <a:pt x="98" y="132"/>
                  </a:lnTo>
                  <a:lnTo>
                    <a:pt x="95" y="131"/>
                  </a:lnTo>
                  <a:lnTo>
                    <a:pt x="90" y="129"/>
                  </a:lnTo>
                  <a:lnTo>
                    <a:pt x="90" y="131"/>
                  </a:lnTo>
                  <a:lnTo>
                    <a:pt x="90" y="131"/>
                  </a:lnTo>
                  <a:lnTo>
                    <a:pt x="92" y="131"/>
                  </a:lnTo>
                  <a:lnTo>
                    <a:pt x="95" y="132"/>
                  </a:lnTo>
                  <a:lnTo>
                    <a:pt x="98" y="135"/>
                  </a:lnTo>
                  <a:lnTo>
                    <a:pt x="102" y="137"/>
                  </a:lnTo>
                  <a:lnTo>
                    <a:pt x="105" y="138"/>
                  </a:lnTo>
                  <a:lnTo>
                    <a:pt x="105" y="142"/>
                  </a:lnTo>
                  <a:lnTo>
                    <a:pt x="102" y="145"/>
                  </a:lnTo>
                  <a:lnTo>
                    <a:pt x="100" y="146"/>
                  </a:lnTo>
                  <a:lnTo>
                    <a:pt x="102" y="148"/>
                  </a:lnTo>
                  <a:lnTo>
                    <a:pt x="103" y="151"/>
                  </a:lnTo>
                  <a:lnTo>
                    <a:pt x="102" y="154"/>
                  </a:lnTo>
                  <a:lnTo>
                    <a:pt x="100" y="157"/>
                  </a:lnTo>
                  <a:lnTo>
                    <a:pt x="98" y="157"/>
                  </a:lnTo>
                  <a:lnTo>
                    <a:pt x="102" y="159"/>
                  </a:lnTo>
                  <a:lnTo>
                    <a:pt x="102" y="159"/>
                  </a:lnTo>
                  <a:lnTo>
                    <a:pt x="105" y="162"/>
                  </a:lnTo>
                  <a:lnTo>
                    <a:pt x="103" y="165"/>
                  </a:lnTo>
                  <a:lnTo>
                    <a:pt x="103" y="169"/>
                  </a:lnTo>
                  <a:lnTo>
                    <a:pt x="106" y="165"/>
                  </a:lnTo>
                  <a:lnTo>
                    <a:pt x="108" y="169"/>
                  </a:lnTo>
                  <a:lnTo>
                    <a:pt x="109" y="172"/>
                  </a:lnTo>
                  <a:lnTo>
                    <a:pt x="109" y="177"/>
                  </a:lnTo>
                  <a:lnTo>
                    <a:pt x="109" y="180"/>
                  </a:lnTo>
                  <a:lnTo>
                    <a:pt x="106" y="183"/>
                  </a:lnTo>
                  <a:lnTo>
                    <a:pt x="103" y="184"/>
                  </a:lnTo>
                  <a:lnTo>
                    <a:pt x="103" y="181"/>
                  </a:lnTo>
                  <a:lnTo>
                    <a:pt x="102" y="178"/>
                  </a:lnTo>
                  <a:lnTo>
                    <a:pt x="103" y="180"/>
                  </a:lnTo>
                  <a:lnTo>
                    <a:pt x="103" y="184"/>
                  </a:lnTo>
                  <a:lnTo>
                    <a:pt x="102" y="189"/>
                  </a:lnTo>
                  <a:lnTo>
                    <a:pt x="102" y="191"/>
                  </a:lnTo>
                  <a:lnTo>
                    <a:pt x="102" y="191"/>
                  </a:lnTo>
                  <a:lnTo>
                    <a:pt x="100" y="194"/>
                  </a:lnTo>
                  <a:lnTo>
                    <a:pt x="97" y="197"/>
                  </a:lnTo>
                  <a:lnTo>
                    <a:pt x="94" y="196"/>
                  </a:lnTo>
                  <a:lnTo>
                    <a:pt x="95" y="192"/>
                  </a:lnTo>
                  <a:lnTo>
                    <a:pt x="92" y="196"/>
                  </a:lnTo>
                  <a:lnTo>
                    <a:pt x="92" y="191"/>
                  </a:lnTo>
                  <a:lnTo>
                    <a:pt x="94" y="188"/>
                  </a:lnTo>
                  <a:lnTo>
                    <a:pt x="97" y="184"/>
                  </a:lnTo>
                  <a:lnTo>
                    <a:pt x="97" y="181"/>
                  </a:lnTo>
                  <a:lnTo>
                    <a:pt x="97" y="183"/>
                  </a:lnTo>
                  <a:lnTo>
                    <a:pt x="94" y="186"/>
                  </a:lnTo>
                  <a:lnTo>
                    <a:pt x="90" y="189"/>
                  </a:lnTo>
                  <a:lnTo>
                    <a:pt x="90" y="189"/>
                  </a:lnTo>
                  <a:lnTo>
                    <a:pt x="90" y="188"/>
                  </a:lnTo>
                  <a:lnTo>
                    <a:pt x="90" y="186"/>
                  </a:lnTo>
                  <a:lnTo>
                    <a:pt x="92" y="183"/>
                  </a:lnTo>
                  <a:lnTo>
                    <a:pt x="90" y="183"/>
                  </a:lnTo>
                  <a:lnTo>
                    <a:pt x="90" y="188"/>
                  </a:lnTo>
                  <a:lnTo>
                    <a:pt x="87" y="189"/>
                  </a:lnTo>
                  <a:lnTo>
                    <a:pt x="86" y="183"/>
                  </a:lnTo>
                  <a:lnTo>
                    <a:pt x="84" y="180"/>
                  </a:lnTo>
                  <a:lnTo>
                    <a:pt x="86" y="177"/>
                  </a:lnTo>
                  <a:lnTo>
                    <a:pt x="87" y="170"/>
                  </a:lnTo>
                  <a:lnTo>
                    <a:pt x="87" y="170"/>
                  </a:lnTo>
                  <a:lnTo>
                    <a:pt x="87" y="170"/>
                  </a:lnTo>
                  <a:lnTo>
                    <a:pt x="82" y="172"/>
                  </a:lnTo>
                  <a:lnTo>
                    <a:pt x="84" y="175"/>
                  </a:lnTo>
                  <a:lnTo>
                    <a:pt x="82" y="180"/>
                  </a:lnTo>
                  <a:lnTo>
                    <a:pt x="84" y="183"/>
                  </a:lnTo>
                  <a:lnTo>
                    <a:pt x="82" y="186"/>
                  </a:lnTo>
                  <a:lnTo>
                    <a:pt x="82" y="186"/>
                  </a:lnTo>
                  <a:lnTo>
                    <a:pt x="84" y="188"/>
                  </a:lnTo>
                  <a:lnTo>
                    <a:pt x="86" y="191"/>
                  </a:lnTo>
                  <a:lnTo>
                    <a:pt x="86" y="194"/>
                  </a:lnTo>
                  <a:lnTo>
                    <a:pt x="82" y="196"/>
                  </a:lnTo>
                  <a:lnTo>
                    <a:pt x="78" y="194"/>
                  </a:lnTo>
                  <a:lnTo>
                    <a:pt x="78" y="192"/>
                  </a:lnTo>
                  <a:lnTo>
                    <a:pt x="78" y="196"/>
                  </a:lnTo>
                  <a:lnTo>
                    <a:pt x="78" y="199"/>
                  </a:lnTo>
                  <a:lnTo>
                    <a:pt x="75" y="199"/>
                  </a:lnTo>
                  <a:lnTo>
                    <a:pt x="75" y="188"/>
                  </a:lnTo>
                  <a:lnTo>
                    <a:pt x="75" y="175"/>
                  </a:lnTo>
                  <a:lnTo>
                    <a:pt x="73" y="178"/>
                  </a:lnTo>
                  <a:lnTo>
                    <a:pt x="73" y="181"/>
                  </a:lnTo>
                  <a:lnTo>
                    <a:pt x="75" y="186"/>
                  </a:lnTo>
                  <a:lnTo>
                    <a:pt x="75" y="189"/>
                  </a:lnTo>
                  <a:lnTo>
                    <a:pt x="73" y="188"/>
                  </a:lnTo>
                  <a:lnTo>
                    <a:pt x="73" y="184"/>
                  </a:lnTo>
                  <a:lnTo>
                    <a:pt x="71" y="181"/>
                  </a:lnTo>
                  <a:lnTo>
                    <a:pt x="70" y="177"/>
                  </a:lnTo>
                  <a:lnTo>
                    <a:pt x="70" y="180"/>
                  </a:lnTo>
                  <a:lnTo>
                    <a:pt x="70" y="181"/>
                  </a:lnTo>
                  <a:lnTo>
                    <a:pt x="71" y="184"/>
                  </a:lnTo>
                  <a:lnTo>
                    <a:pt x="71" y="184"/>
                  </a:lnTo>
                  <a:lnTo>
                    <a:pt x="71" y="188"/>
                  </a:lnTo>
                  <a:lnTo>
                    <a:pt x="73" y="191"/>
                  </a:lnTo>
                  <a:lnTo>
                    <a:pt x="73" y="194"/>
                  </a:lnTo>
                  <a:lnTo>
                    <a:pt x="73" y="197"/>
                  </a:lnTo>
                  <a:lnTo>
                    <a:pt x="70" y="202"/>
                  </a:lnTo>
                  <a:lnTo>
                    <a:pt x="68" y="197"/>
                  </a:lnTo>
                  <a:lnTo>
                    <a:pt x="68" y="194"/>
                  </a:lnTo>
                  <a:lnTo>
                    <a:pt x="67" y="191"/>
                  </a:lnTo>
                  <a:lnTo>
                    <a:pt x="68" y="194"/>
                  </a:lnTo>
                  <a:lnTo>
                    <a:pt x="65" y="197"/>
                  </a:lnTo>
                  <a:lnTo>
                    <a:pt x="67" y="200"/>
                  </a:lnTo>
                  <a:lnTo>
                    <a:pt x="63" y="203"/>
                  </a:lnTo>
                  <a:lnTo>
                    <a:pt x="63" y="200"/>
                  </a:lnTo>
                  <a:lnTo>
                    <a:pt x="62" y="197"/>
                  </a:lnTo>
                  <a:lnTo>
                    <a:pt x="59" y="194"/>
                  </a:lnTo>
                  <a:lnTo>
                    <a:pt x="59" y="191"/>
                  </a:lnTo>
                  <a:lnTo>
                    <a:pt x="57" y="188"/>
                  </a:lnTo>
                  <a:lnTo>
                    <a:pt x="57" y="184"/>
                  </a:lnTo>
                  <a:lnTo>
                    <a:pt x="57" y="181"/>
                  </a:lnTo>
                  <a:lnTo>
                    <a:pt x="56" y="181"/>
                  </a:lnTo>
                  <a:lnTo>
                    <a:pt x="56" y="180"/>
                  </a:lnTo>
                  <a:lnTo>
                    <a:pt x="54" y="177"/>
                  </a:lnTo>
                  <a:lnTo>
                    <a:pt x="52" y="173"/>
                  </a:lnTo>
                  <a:lnTo>
                    <a:pt x="52" y="170"/>
                  </a:lnTo>
                  <a:lnTo>
                    <a:pt x="49" y="167"/>
                  </a:lnTo>
                  <a:lnTo>
                    <a:pt x="49" y="164"/>
                  </a:lnTo>
                  <a:lnTo>
                    <a:pt x="49" y="162"/>
                  </a:lnTo>
                  <a:lnTo>
                    <a:pt x="49" y="159"/>
                  </a:lnTo>
                  <a:lnTo>
                    <a:pt x="49" y="156"/>
                  </a:lnTo>
                  <a:lnTo>
                    <a:pt x="48" y="153"/>
                  </a:lnTo>
                  <a:lnTo>
                    <a:pt x="46" y="151"/>
                  </a:lnTo>
                  <a:lnTo>
                    <a:pt x="44" y="148"/>
                  </a:lnTo>
                  <a:lnTo>
                    <a:pt x="44" y="146"/>
                  </a:lnTo>
                  <a:lnTo>
                    <a:pt x="46" y="143"/>
                  </a:lnTo>
                  <a:lnTo>
                    <a:pt x="46" y="138"/>
                  </a:lnTo>
                  <a:lnTo>
                    <a:pt x="41" y="138"/>
                  </a:lnTo>
                  <a:lnTo>
                    <a:pt x="38" y="138"/>
                  </a:lnTo>
                  <a:lnTo>
                    <a:pt x="38" y="135"/>
                  </a:lnTo>
                  <a:lnTo>
                    <a:pt x="40" y="134"/>
                  </a:lnTo>
                  <a:lnTo>
                    <a:pt x="40" y="129"/>
                  </a:lnTo>
                  <a:lnTo>
                    <a:pt x="40" y="129"/>
                  </a:lnTo>
                  <a:lnTo>
                    <a:pt x="40" y="127"/>
                  </a:lnTo>
                  <a:lnTo>
                    <a:pt x="35" y="127"/>
                  </a:lnTo>
                  <a:lnTo>
                    <a:pt x="33" y="124"/>
                  </a:lnTo>
                  <a:lnTo>
                    <a:pt x="30" y="121"/>
                  </a:lnTo>
                  <a:lnTo>
                    <a:pt x="30" y="113"/>
                  </a:lnTo>
                  <a:lnTo>
                    <a:pt x="32" y="113"/>
                  </a:lnTo>
                  <a:lnTo>
                    <a:pt x="35" y="110"/>
                  </a:lnTo>
                  <a:lnTo>
                    <a:pt x="35" y="108"/>
                  </a:lnTo>
                  <a:lnTo>
                    <a:pt x="35" y="108"/>
                  </a:lnTo>
                  <a:lnTo>
                    <a:pt x="35" y="105"/>
                  </a:lnTo>
                  <a:lnTo>
                    <a:pt x="33" y="102"/>
                  </a:lnTo>
                  <a:lnTo>
                    <a:pt x="33" y="100"/>
                  </a:lnTo>
                  <a:lnTo>
                    <a:pt x="33" y="100"/>
                  </a:lnTo>
                  <a:lnTo>
                    <a:pt x="33" y="97"/>
                  </a:lnTo>
                  <a:lnTo>
                    <a:pt x="32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27" y="94"/>
                  </a:lnTo>
                  <a:lnTo>
                    <a:pt x="24" y="94"/>
                  </a:lnTo>
                  <a:lnTo>
                    <a:pt x="22" y="92"/>
                  </a:lnTo>
                  <a:lnTo>
                    <a:pt x="19" y="91"/>
                  </a:lnTo>
                  <a:lnTo>
                    <a:pt x="19" y="91"/>
                  </a:lnTo>
                  <a:lnTo>
                    <a:pt x="19" y="91"/>
                  </a:lnTo>
                  <a:lnTo>
                    <a:pt x="17" y="89"/>
                  </a:lnTo>
                  <a:lnTo>
                    <a:pt x="16" y="88"/>
                  </a:lnTo>
                  <a:lnTo>
                    <a:pt x="14" y="88"/>
                  </a:lnTo>
                  <a:lnTo>
                    <a:pt x="11" y="86"/>
                  </a:lnTo>
                  <a:lnTo>
                    <a:pt x="10" y="83"/>
                  </a:lnTo>
                  <a:lnTo>
                    <a:pt x="6" y="80"/>
                  </a:lnTo>
                  <a:lnTo>
                    <a:pt x="8" y="77"/>
                  </a:lnTo>
                  <a:lnTo>
                    <a:pt x="10" y="73"/>
                  </a:lnTo>
                  <a:lnTo>
                    <a:pt x="10" y="69"/>
                  </a:lnTo>
                  <a:lnTo>
                    <a:pt x="11" y="69"/>
                  </a:lnTo>
                  <a:lnTo>
                    <a:pt x="13" y="72"/>
                  </a:lnTo>
                  <a:lnTo>
                    <a:pt x="14" y="72"/>
                  </a:lnTo>
                  <a:lnTo>
                    <a:pt x="17" y="69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9" y="62"/>
                  </a:lnTo>
                  <a:lnTo>
                    <a:pt x="17" y="59"/>
                  </a:lnTo>
                  <a:lnTo>
                    <a:pt x="22" y="59"/>
                  </a:lnTo>
                  <a:lnTo>
                    <a:pt x="25" y="59"/>
                  </a:lnTo>
                  <a:lnTo>
                    <a:pt x="29" y="59"/>
                  </a:lnTo>
                  <a:lnTo>
                    <a:pt x="29" y="59"/>
                  </a:lnTo>
                  <a:lnTo>
                    <a:pt x="32" y="59"/>
                  </a:lnTo>
                  <a:lnTo>
                    <a:pt x="35" y="59"/>
                  </a:lnTo>
                  <a:lnTo>
                    <a:pt x="36" y="56"/>
                  </a:lnTo>
                  <a:lnTo>
                    <a:pt x="36" y="54"/>
                  </a:lnTo>
                  <a:lnTo>
                    <a:pt x="33" y="53"/>
                  </a:lnTo>
                  <a:lnTo>
                    <a:pt x="30" y="50"/>
                  </a:lnTo>
                  <a:lnTo>
                    <a:pt x="30" y="46"/>
                  </a:lnTo>
                  <a:lnTo>
                    <a:pt x="27" y="45"/>
                  </a:lnTo>
                  <a:lnTo>
                    <a:pt x="24" y="46"/>
                  </a:lnTo>
                  <a:lnTo>
                    <a:pt x="21" y="46"/>
                  </a:lnTo>
                  <a:lnTo>
                    <a:pt x="16" y="43"/>
                  </a:lnTo>
                  <a:lnTo>
                    <a:pt x="14" y="40"/>
                  </a:lnTo>
                  <a:lnTo>
                    <a:pt x="14" y="40"/>
                  </a:lnTo>
                  <a:lnTo>
                    <a:pt x="11" y="37"/>
                  </a:lnTo>
                  <a:lnTo>
                    <a:pt x="10" y="35"/>
                  </a:lnTo>
                  <a:lnTo>
                    <a:pt x="6" y="34"/>
                  </a:lnTo>
                  <a:lnTo>
                    <a:pt x="2" y="32"/>
                  </a:lnTo>
                  <a:lnTo>
                    <a:pt x="0" y="29"/>
                  </a:lnTo>
                  <a:lnTo>
                    <a:pt x="2" y="26"/>
                  </a:lnTo>
                  <a:lnTo>
                    <a:pt x="2" y="23"/>
                  </a:lnTo>
                  <a:lnTo>
                    <a:pt x="3" y="18"/>
                  </a:lnTo>
                  <a:lnTo>
                    <a:pt x="6" y="18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11" y="12"/>
                  </a:lnTo>
                  <a:lnTo>
                    <a:pt x="13" y="10"/>
                  </a:lnTo>
                  <a:lnTo>
                    <a:pt x="11" y="7"/>
                  </a:lnTo>
                  <a:lnTo>
                    <a:pt x="8" y="5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4" name="Freeform 47"/>
            <p:cNvSpPr>
              <a:spLocks/>
            </p:cNvSpPr>
            <p:nvPr/>
          </p:nvSpPr>
          <p:spPr bwMode="auto">
            <a:xfrm>
              <a:off x="7479357" y="4490448"/>
              <a:ext cx="58814" cy="135395"/>
            </a:xfrm>
            <a:custGeom>
              <a:avLst/>
              <a:gdLst>
                <a:gd name="T0" fmla="*/ 4 w 81"/>
                <a:gd name="T1" fmla="*/ 100 h 160"/>
                <a:gd name="T2" fmla="*/ 8 w 81"/>
                <a:gd name="T3" fmla="*/ 119 h 160"/>
                <a:gd name="T4" fmla="*/ 14 w 81"/>
                <a:gd name="T5" fmla="*/ 141 h 160"/>
                <a:gd name="T6" fmla="*/ 20 w 81"/>
                <a:gd name="T7" fmla="*/ 156 h 160"/>
                <a:gd name="T8" fmla="*/ 27 w 81"/>
                <a:gd name="T9" fmla="*/ 159 h 160"/>
                <a:gd name="T10" fmla="*/ 33 w 81"/>
                <a:gd name="T11" fmla="*/ 159 h 160"/>
                <a:gd name="T12" fmla="*/ 35 w 81"/>
                <a:gd name="T13" fmla="*/ 160 h 160"/>
                <a:gd name="T14" fmla="*/ 39 w 81"/>
                <a:gd name="T15" fmla="*/ 157 h 160"/>
                <a:gd name="T16" fmla="*/ 47 w 81"/>
                <a:gd name="T17" fmla="*/ 154 h 160"/>
                <a:gd name="T18" fmla="*/ 54 w 81"/>
                <a:gd name="T19" fmla="*/ 152 h 160"/>
                <a:gd name="T20" fmla="*/ 60 w 81"/>
                <a:gd name="T21" fmla="*/ 148 h 160"/>
                <a:gd name="T22" fmla="*/ 65 w 81"/>
                <a:gd name="T23" fmla="*/ 146 h 160"/>
                <a:gd name="T24" fmla="*/ 71 w 81"/>
                <a:gd name="T25" fmla="*/ 140 h 160"/>
                <a:gd name="T26" fmla="*/ 77 w 81"/>
                <a:gd name="T27" fmla="*/ 127 h 160"/>
                <a:gd name="T28" fmla="*/ 79 w 81"/>
                <a:gd name="T29" fmla="*/ 105 h 160"/>
                <a:gd name="T30" fmla="*/ 77 w 81"/>
                <a:gd name="T31" fmla="*/ 97 h 160"/>
                <a:gd name="T32" fmla="*/ 74 w 81"/>
                <a:gd name="T33" fmla="*/ 95 h 160"/>
                <a:gd name="T34" fmla="*/ 73 w 81"/>
                <a:gd name="T35" fmla="*/ 87 h 160"/>
                <a:gd name="T36" fmla="*/ 73 w 81"/>
                <a:gd name="T37" fmla="*/ 86 h 160"/>
                <a:gd name="T38" fmla="*/ 68 w 81"/>
                <a:gd name="T39" fmla="*/ 81 h 160"/>
                <a:gd name="T40" fmla="*/ 66 w 81"/>
                <a:gd name="T41" fmla="*/ 75 h 160"/>
                <a:gd name="T42" fmla="*/ 61 w 81"/>
                <a:gd name="T43" fmla="*/ 62 h 160"/>
                <a:gd name="T44" fmla="*/ 54 w 81"/>
                <a:gd name="T45" fmla="*/ 56 h 160"/>
                <a:gd name="T46" fmla="*/ 54 w 81"/>
                <a:gd name="T47" fmla="*/ 52 h 160"/>
                <a:gd name="T48" fmla="*/ 54 w 81"/>
                <a:gd name="T49" fmla="*/ 48 h 160"/>
                <a:gd name="T50" fmla="*/ 49 w 81"/>
                <a:gd name="T51" fmla="*/ 40 h 160"/>
                <a:gd name="T52" fmla="*/ 46 w 81"/>
                <a:gd name="T53" fmla="*/ 37 h 160"/>
                <a:gd name="T54" fmla="*/ 42 w 81"/>
                <a:gd name="T55" fmla="*/ 32 h 160"/>
                <a:gd name="T56" fmla="*/ 39 w 81"/>
                <a:gd name="T57" fmla="*/ 26 h 160"/>
                <a:gd name="T58" fmla="*/ 35 w 81"/>
                <a:gd name="T59" fmla="*/ 19 h 160"/>
                <a:gd name="T60" fmla="*/ 15 w 81"/>
                <a:gd name="T61" fmla="*/ 0 h 160"/>
                <a:gd name="T62" fmla="*/ 15 w 81"/>
                <a:gd name="T63" fmla="*/ 3 h 160"/>
                <a:gd name="T64" fmla="*/ 22 w 81"/>
                <a:gd name="T65" fmla="*/ 10 h 160"/>
                <a:gd name="T66" fmla="*/ 15 w 81"/>
                <a:gd name="T67" fmla="*/ 5 h 160"/>
                <a:gd name="T68" fmla="*/ 9 w 81"/>
                <a:gd name="T69" fmla="*/ 0 h 160"/>
                <a:gd name="T70" fmla="*/ 4 w 81"/>
                <a:gd name="T71" fmla="*/ 3 h 160"/>
                <a:gd name="T72" fmla="*/ 8 w 81"/>
                <a:gd name="T73" fmla="*/ 6 h 160"/>
                <a:gd name="T74" fmla="*/ 14 w 81"/>
                <a:gd name="T75" fmla="*/ 10 h 160"/>
                <a:gd name="T76" fmla="*/ 15 w 81"/>
                <a:gd name="T77" fmla="*/ 8 h 160"/>
                <a:gd name="T78" fmla="*/ 22 w 81"/>
                <a:gd name="T79" fmla="*/ 13 h 160"/>
                <a:gd name="T80" fmla="*/ 28 w 81"/>
                <a:gd name="T81" fmla="*/ 16 h 160"/>
                <a:gd name="T82" fmla="*/ 22 w 81"/>
                <a:gd name="T83" fmla="*/ 13 h 160"/>
                <a:gd name="T84" fmla="*/ 20 w 81"/>
                <a:gd name="T85" fmla="*/ 14 h 160"/>
                <a:gd name="T86" fmla="*/ 15 w 81"/>
                <a:gd name="T87" fmla="*/ 11 h 160"/>
                <a:gd name="T88" fmla="*/ 14 w 81"/>
                <a:gd name="T89" fmla="*/ 14 h 160"/>
                <a:gd name="T90" fmla="*/ 12 w 81"/>
                <a:gd name="T91" fmla="*/ 22 h 160"/>
                <a:gd name="T92" fmla="*/ 12 w 81"/>
                <a:gd name="T93" fmla="*/ 27 h 160"/>
                <a:gd name="T94" fmla="*/ 9 w 81"/>
                <a:gd name="T95" fmla="*/ 33 h 160"/>
                <a:gd name="T96" fmla="*/ 6 w 81"/>
                <a:gd name="T97" fmla="*/ 37 h 160"/>
                <a:gd name="T98" fmla="*/ 6 w 81"/>
                <a:gd name="T99" fmla="*/ 41 h 160"/>
                <a:gd name="T100" fmla="*/ 8 w 81"/>
                <a:gd name="T101" fmla="*/ 48 h 160"/>
                <a:gd name="T102" fmla="*/ 6 w 81"/>
                <a:gd name="T103" fmla="*/ 52 h 160"/>
                <a:gd name="T104" fmla="*/ 4 w 81"/>
                <a:gd name="T105" fmla="*/ 75 h 160"/>
                <a:gd name="T106" fmla="*/ 1 w 81"/>
                <a:gd name="T107" fmla="*/ 70 h 160"/>
                <a:gd name="T108" fmla="*/ 1 w 81"/>
                <a:gd name="T109" fmla="*/ 62 h 160"/>
                <a:gd name="T110" fmla="*/ 0 w 81"/>
                <a:gd name="T111" fmla="*/ 70 h 160"/>
                <a:gd name="T112" fmla="*/ 1 w 81"/>
                <a:gd name="T113" fmla="*/ 76 h 160"/>
                <a:gd name="T114" fmla="*/ 3 w 81"/>
                <a:gd name="T115" fmla="*/ 84 h 160"/>
                <a:gd name="T116" fmla="*/ 3 w 81"/>
                <a:gd name="T117" fmla="*/ 91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1" h="160">
                  <a:moveTo>
                    <a:pt x="3" y="91"/>
                  </a:moveTo>
                  <a:lnTo>
                    <a:pt x="4" y="100"/>
                  </a:lnTo>
                  <a:lnTo>
                    <a:pt x="6" y="110"/>
                  </a:lnTo>
                  <a:lnTo>
                    <a:pt x="8" y="119"/>
                  </a:lnTo>
                  <a:lnTo>
                    <a:pt x="11" y="132"/>
                  </a:lnTo>
                  <a:lnTo>
                    <a:pt x="14" y="141"/>
                  </a:lnTo>
                  <a:lnTo>
                    <a:pt x="17" y="151"/>
                  </a:lnTo>
                  <a:lnTo>
                    <a:pt x="20" y="156"/>
                  </a:lnTo>
                  <a:lnTo>
                    <a:pt x="23" y="157"/>
                  </a:lnTo>
                  <a:lnTo>
                    <a:pt x="27" y="159"/>
                  </a:lnTo>
                  <a:lnTo>
                    <a:pt x="30" y="159"/>
                  </a:lnTo>
                  <a:lnTo>
                    <a:pt x="33" y="159"/>
                  </a:lnTo>
                  <a:lnTo>
                    <a:pt x="35" y="160"/>
                  </a:lnTo>
                  <a:lnTo>
                    <a:pt x="35" y="160"/>
                  </a:lnTo>
                  <a:lnTo>
                    <a:pt x="36" y="159"/>
                  </a:lnTo>
                  <a:lnTo>
                    <a:pt x="39" y="157"/>
                  </a:lnTo>
                  <a:lnTo>
                    <a:pt x="42" y="156"/>
                  </a:lnTo>
                  <a:lnTo>
                    <a:pt x="47" y="154"/>
                  </a:lnTo>
                  <a:lnTo>
                    <a:pt x="50" y="152"/>
                  </a:lnTo>
                  <a:lnTo>
                    <a:pt x="54" y="152"/>
                  </a:lnTo>
                  <a:lnTo>
                    <a:pt x="57" y="149"/>
                  </a:lnTo>
                  <a:lnTo>
                    <a:pt x="60" y="148"/>
                  </a:lnTo>
                  <a:lnTo>
                    <a:pt x="61" y="148"/>
                  </a:lnTo>
                  <a:lnTo>
                    <a:pt x="65" y="146"/>
                  </a:lnTo>
                  <a:lnTo>
                    <a:pt x="68" y="141"/>
                  </a:lnTo>
                  <a:lnTo>
                    <a:pt x="71" y="140"/>
                  </a:lnTo>
                  <a:lnTo>
                    <a:pt x="74" y="137"/>
                  </a:lnTo>
                  <a:lnTo>
                    <a:pt x="77" y="127"/>
                  </a:lnTo>
                  <a:lnTo>
                    <a:pt x="81" y="116"/>
                  </a:lnTo>
                  <a:lnTo>
                    <a:pt x="79" y="105"/>
                  </a:lnTo>
                  <a:lnTo>
                    <a:pt x="77" y="97"/>
                  </a:lnTo>
                  <a:lnTo>
                    <a:pt x="77" y="97"/>
                  </a:lnTo>
                  <a:lnTo>
                    <a:pt x="76" y="97"/>
                  </a:lnTo>
                  <a:lnTo>
                    <a:pt x="74" y="95"/>
                  </a:lnTo>
                  <a:lnTo>
                    <a:pt x="74" y="91"/>
                  </a:lnTo>
                  <a:lnTo>
                    <a:pt x="73" y="87"/>
                  </a:lnTo>
                  <a:lnTo>
                    <a:pt x="69" y="84"/>
                  </a:lnTo>
                  <a:lnTo>
                    <a:pt x="73" y="86"/>
                  </a:lnTo>
                  <a:lnTo>
                    <a:pt x="71" y="84"/>
                  </a:lnTo>
                  <a:lnTo>
                    <a:pt x="68" y="81"/>
                  </a:lnTo>
                  <a:lnTo>
                    <a:pt x="66" y="76"/>
                  </a:lnTo>
                  <a:lnTo>
                    <a:pt x="66" y="75"/>
                  </a:lnTo>
                  <a:lnTo>
                    <a:pt x="63" y="72"/>
                  </a:lnTo>
                  <a:lnTo>
                    <a:pt x="61" y="62"/>
                  </a:lnTo>
                  <a:lnTo>
                    <a:pt x="58" y="54"/>
                  </a:lnTo>
                  <a:lnTo>
                    <a:pt x="54" y="56"/>
                  </a:lnTo>
                  <a:lnTo>
                    <a:pt x="50" y="52"/>
                  </a:lnTo>
                  <a:lnTo>
                    <a:pt x="54" y="52"/>
                  </a:lnTo>
                  <a:lnTo>
                    <a:pt x="54" y="51"/>
                  </a:lnTo>
                  <a:lnTo>
                    <a:pt x="54" y="48"/>
                  </a:lnTo>
                  <a:lnTo>
                    <a:pt x="50" y="45"/>
                  </a:lnTo>
                  <a:lnTo>
                    <a:pt x="49" y="40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2" y="35"/>
                  </a:lnTo>
                  <a:lnTo>
                    <a:pt x="42" y="32"/>
                  </a:lnTo>
                  <a:lnTo>
                    <a:pt x="39" y="29"/>
                  </a:lnTo>
                  <a:lnTo>
                    <a:pt x="39" y="26"/>
                  </a:lnTo>
                  <a:lnTo>
                    <a:pt x="38" y="22"/>
                  </a:lnTo>
                  <a:lnTo>
                    <a:pt x="35" y="19"/>
                  </a:lnTo>
                  <a:lnTo>
                    <a:pt x="25" y="10"/>
                  </a:lnTo>
                  <a:lnTo>
                    <a:pt x="15" y="0"/>
                  </a:lnTo>
                  <a:lnTo>
                    <a:pt x="12" y="2"/>
                  </a:lnTo>
                  <a:lnTo>
                    <a:pt x="15" y="3"/>
                  </a:lnTo>
                  <a:lnTo>
                    <a:pt x="19" y="6"/>
                  </a:lnTo>
                  <a:lnTo>
                    <a:pt x="22" y="10"/>
                  </a:lnTo>
                  <a:lnTo>
                    <a:pt x="19" y="8"/>
                  </a:lnTo>
                  <a:lnTo>
                    <a:pt x="15" y="5"/>
                  </a:lnTo>
                  <a:lnTo>
                    <a:pt x="12" y="2"/>
                  </a:lnTo>
                  <a:lnTo>
                    <a:pt x="9" y="0"/>
                  </a:lnTo>
                  <a:lnTo>
                    <a:pt x="8" y="0"/>
                  </a:lnTo>
                  <a:lnTo>
                    <a:pt x="4" y="3"/>
                  </a:lnTo>
                  <a:lnTo>
                    <a:pt x="8" y="6"/>
                  </a:lnTo>
                  <a:lnTo>
                    <a:pt x="8" y="6"/>
                  </a:lnTo>
                  <a:lnTo>
                    <a:pt x="11" y="8"/>
                  </a:lnTo>
                  <a:lnTo>
                    <a:pt x="14" y="10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9" y="10"/>
                  </a:lnTo>
                  <a:lnTo>
                    <a:pt x="22" y="13"/>
                  </a:lnTo>
                  <a:lnTo>
                    <a:pt x="25" y="13"/>
                  </a:lnTo>
                  <a:lnTo>
                    <a:pt x="28" y="16"/>
                  </a:lnTo>
                  <a:lnTo>
                    <a:pt x="25" y="14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0" y="14"/>
                  </a:lnTo>
                  <a:lnTo>
                    <a:pt x="15" y="13"/>
                  </a:lnTo>
                  <a:lnTo>
                    <a:pt x="15" y="11"/>
                  </a:lnTo>
                  <a:lnTo>
                    <a:pt x="12" y="11"/>
                  </a:lnTo>
                  <a:lnTo>
                    <a:pt x="14" y="14"/>
                  </a:lnTo>
                  <a:lnTo>
                    <a:pt x="11" y="19"/>
                  </a:lnTo>
                  <a:lnTo>
                    <a:pt x="12" y="22"/>
                  </a:lnTo>
                  <a:lnTo>
                    <a:pt x="12" y="26"/>
                  </a:lnTo>
                  <a:lnTo>
                    <a:pt x="12" y="27"/>
                  </a:lnTo>
                  <a:lnTo>
                    <a:pt x="11" y="30"/>
                  </a:lnTo>
                  <a:lnTo>
                    <a:pt x="9" y="33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6" y="38"/>
                  </a:lnTo>
                  <a:lnTo>
                    <a:pt x="6" y="41"/>
                  </a:lnTo>
                  <a:lnTo>
                    <a:pt x="8" y="45"/>
                  </a:lnTo>
                  <a:lnTo>
                    <a:pt x="8" y="48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4" y="64"/>
                  </a:lnTo>
                  <a:lnTo>
                    <a:pt x="4" y="75"/>
                  </a:lnTo>
                  <a:lnTo>
                    <a:pt x="1" y="73"/>
                  </a:lnTo>
                  <a:lnTo>
                    <a:pt x="1" y="70"/>
                  </a:lnTo>
                  <a:lnTo>
                    <a:pt x="1" y="67"/>
                  </a:lnTo>
                  <a:lnTo>
                    <a:pt x="1" y="62"/>
                  </a:lnTo>
                  <a:lnTo>
                    <a:pt x="0" y="67"/>
                  </a:lnTo>
                  <a:lnTo>
                    <a:pt x="0" y="70"/>
                  </a:lnTo>
                  <a:lnTo>
                    <a:pt x="0" y="73"/>
                  </a:lnTo>
                  <a:lnTo>
                    <a:pt x="1" y="76"/>
                  </a:lnTo>
                  <a:lnTo>
                    <a:pt x="1" y="81"/>
                  </a:lnTo>
                  <a:lnTo>
                    <a:pt x="3" y="84"/>
                  </a:lnTo>
                  <a:lnTo>
                    <a:pt x="3" y="87"/>
                  </a:lnTo>
                  <a:lnTo>
                    <a:pt x="3" y="9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5" name="Freeform 48"/>
            <p:cNvSpPr>
              <a:spLocks/>
            </p:cNvSpPr>
            <p:nvPr/>
          </p:nvSpPr>
          <p:spPr bwMode="auto">
            <a:xfrm>
              <a:off x="7773430" y="3842247"/>
              <a:ext cx="230846" cy="643123"/>
            </a:xfrm>
            <a:custGeom>
              <a:avLst/>
              <a:gdLst>
                <a:gd name="T0" fmla="*/ 13 w 316"/>
                <a:gd name="T1" fmla="*/ 282 h 760"/>
                <a:gd name="T2" fmla="*/ 29 w 316"/>
                <a:gd name="T3" fmla="*/ 260 h 760"/>
                <a:gd name="T4" fmla="*/ 30 w 316"/>
                <a:gd name="T5" fmla="*/ 225 h 760"/>
                <a:gd name="T6" fmla="*/ 35 w 316"/>
                <a:gd name="T7" fmla="*/ 186 h 760"/>
                <a:gd name="T8" fmla="*/ 64 w 316"/>
                <a:gd name="T9" fmla="*/ 159 h 760"/>
                <a:gd name="T10" fmla="*/ 70 w 316"/>
                <a:gd name="T11" fmla="*/ 122 h 760"/>
                <a:gd name="T12" fmla="*/ 70 w 316"/>
                <a:gd name="T13" fmla="*/ 84 h 760"/>
                <a:gd name="T14" fmla="*/ 102 w 316"/>
                <a:gd name="T15" fmla="*/ 54 h 760"/>
                <a:gd name="T16" fmla="*/ 130 w 316"/>
                <a:gd name="T17" fmla="*/ 49 h 760"/>
                <a:gd name="T18" fmla="*/ 138 w 316"/>
                <a:gd name="T19" fmla="*/ 7 h 760"/>
                <a:gd name="T20" fmla="*/ 167 w 316"/>
                <a:gd name="T21" fmla="*/ 26 h 760"/>
                <a:gd name="T22" fmla="*/ 192 w 316"/>
                <a:gd name="T23" fmla="*/ 51 h 760"/>
                <a:gd name="T24" fmla="*/ 200 w 316"/>
                <a:gd name="T25" fmla="*/ 97 h 760"/>
                <a:gd name="T26" fmla="*/ 186 w 316"/>
                <a:gd name="T27" fmla="*/ 121 h 760"/>
                <a:gd name="T28" fmla="*/ 173 w 316"/>
                <a:gd name="T29" fmla="*/ 152 h 760"/>
                <a:gd name="T30" fmla="*/ 178 w 316"/>
                <a:gd name="T31" fmla="*/ 192 h 760"/>
                <a:gd name="T32" fmla="*/ 216 w 316"/>
                <a:gd name="T33" fmla="*/ 181 h 760"/>
                <a:gd name="T34" fmla="*/ 226 w 316"/>
                <a:gd name="T35" fmla="*/ 213 h 760"/>
                <a:gd name="T36" fmla="*/ 248 w 316"/>
                <a:gd name="T37" fmla="*/ 232 h 760"/>
                <a:gd name="T38" fmla="*/ 252 w 316"/>
                <a:gd name="T39" fmla="*/ 263 h 760"/>
                <a:gd name="T40" fmla="*/ 279 w 316"/>
                <a:gd name="T41" fmla="*/ 281 h 760"/>
                <a:gd name="T42" fmla="*/ 313 w 316"/>
                <a:gd name="T43" fmla="*/ 278 h 760"/>
                <a:gd name="T44" fmla="*/ 297 w 316"/>
                <a:gd name="T45" fmla="*/ 309 h 760"/>
                <a:gd name="T46" fmla="*/ 286 w 316"/>
                <a:gd name="T47" fmla="*/ 335 h 760"/>
                <a:gd name="T48" fmla="*/ 260 w 316"/>
                <a:gd name="T49" fmla="*/ 347 h 760"/>
                <a:gd name="T50" fmla="*/ 229 w 316"/>
                <a:gd name="T51" fmla="*/ 362 h 760"/>
                <a:gd name="T52" fmla="*/ 210 w 316"/>
                <a:gd name="T53" fmla="*/ 389 h 760"/>
                <a:gd name="T54" fmla="*/ 203 w 316"/>
                <a:gd name="T55" fmla="*/ 419 h 760"/>
                <a:gd name="T56" fmla="*/ 229 w 316"/>
                <a:gd name="T57" fmla="*/ 455 h 760"/>
                <a:gd name="T58" fmla="*/ 254 w 316"/>
                <a:gd name="T59" fmla="*/ 493 h 760"/>
                <a:gd name="T60" fmla="*/ 256 w 316"/>
                <a:gd name="T61" fmla="*/ 528 h 760"/>
                <a:gd name="T62" fmla="*/ 248 w 316"/>
                <a:gd name="T63" fmla="*/ 558 h 760"/>
                <a:gd name="T64" fmla="*/ 283 w 316"/>
                <a:gd name="T65" fmla="*/ 603 h 760"/>
                <a:gd name="T66" fmla="*/ 291 w 316"/>
                <a:gd name="T67" fmla="*/ 644 h 760"/>
                <a:gd name="T68" fmla="*/ 308 w 316"/>
                <a:gd name="T69" fmla="*/ 688 h 760"/>
                <a:gd name="T70" fmla="*/ 284 w 316"/>
                <a:gd name="T71" fmla="*/ 726 h 760"/>
                <a:gd name="T72" fmla="*/ 275 w 316"/>
                <a:gd name="T73" fmla="*/ 758 h 760"/>
                <a:gd name="T74" fmla="*/ 278 w 316"/>
                <a:gd name="T75" fmla="*/ 711 h 760"/>
                <a:gd name="T76" fmla="*/ 275 w 316"/>
                <a:gd name="T77" fmla="*/ 682 h 760"/>
                <a:gd name="T78" fmla="*/ 270 w 316"/>
                <a:gd name="T79" fmla="*/ 655 h 760"/>
                <a:gd name="T80" fmla="*/ 248 w 316"/>
                <a:gd name="T81" fmla="*/ 593 h 760"/>
                <a:gd name="T82" fmla="*/ 245 w 316"/>
                <a:gd name="T83" fmla="*/ 592 h 760"/>
                <a:gd name="T84" fmla="*/ 224 w 316"/>
                <a:gd name="T85" fmla="*/ 524 h 760"/>
                <a:gd name="T86" fmla="*/ 219 w 316"/>
                <a:gd name="T87" fmla="*/ 490 h 760"/>
                <a:gd name="T88" fmla="*/ 195 w 316"/>
                <a:gd name="T89" fmla="*/ 465 h 760"/>
                <a:gd name="T90" fmla="*/ 187 w 316"/>
                <a:gd name="T91" fmla="*/ 481 h 760"/>
                <a:gd name="T92" fmla="*/ 165 w 316"/>
                <a:gd name="T93" fmla="*/ 482 h 760"/>
                <a:gd name="T94" fmla="*/ 151 w 316"/>
                <a:gd name="T95" fmla="*/ 512 h 760"/>
                <a:gd name="T96" fmla="*/ 138 w 316"/>
                <a:gd name="T97" fmla="*/ 509 h 760"/>
                <a:gd name="T98" fmla="*/ 130 w 316"/>
                <a:gd name="T99" fmla="*/ 508 h 760"/>
                <a:gd name="T100" fmla="*/ 124 w 316"/>
                <a:gd name="T101" fmla="*/ 504 h 760"/>
                <a:gd name="T102" fmla="*/ 116 w 316"/>
                <a:gd name="T103" fmla="*/ 511 h 760"/>
                <a:gd name="T104" fmla="*/ 113 w 316"/>
                <a:gd name="T105" fmla="*/ 497 h 760"/>
                <a:gd name="T106" fmla="*/ 100 w 316"/>
                <a:gd name="T107" fmla="*/ 489 h 760"/>
                <a:gd name="T108" fmla="*/ 105 w 316"/>
                <a:gd name="T109" fmla="*/ 449 h 760"/>
                <a:gd name="T110" fmla="*/ 78 w 316"/>
                <a:gd name="T111" fmla="*/ 390 h 760"/>
                <a:gd name="T112" fmla="*/ 72 w 316"/>
                <a:gd name="T113" fmla="*/ 395 h 760"/>
                <a:gd name="T114" fmla="*/ 72 w 316"/>
                <a:gd name="T115" fmla="*/ 379 h 760"/>
                <a:gd name="T116" fmla="*/ 53 w 316"/>
                <a:gd name="T117" fmla="*/ 351 h 760"/>
                <a:gd name="T118" fmla="*/ 40 w 316"/>
                <a:gd name="T119" fmla="*/ 351 h 760"/>
                <a:gd name="T120" fmla="*/ 35 w 316"/>
                <a:gd name="T121" fmla="*/ 335 h 760"/>
                <a:gd name="T122" fmla="*/ 23 w 316"/>
                <a:gd name="T123" fmla="*/ 330 h 7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6" h="760">
                  <a:moveTo>
                    <a:pt x="0" y="302"/>
                  </a:moveTo>
                  <a:lnTo>
                    <a:pt x="0" y="298"/>
                  </a:lnTo>
                  <a:lnTo>
                    <a:pt x="0" y="295"/>
                  </a:lnTo>
                  <a:lnTo>
                    <a:pt x="5" y="290"/>
                  </a:lnTo>
                  <a:lnTo>
                    <a:pt x="8" y="292"/>
                  </a:lnTo>
                  <a:lnTo>
                    <a:pt x="8" y="294"/>
                  </a:lnTo>
                  <a:lnTo>
                    <a:pt x="11" y="294"/>
                  </a:lnTo>
                  <a:lnTo>
                    <a:pt x="15" y="297"/>
                  </a:lnTo>
                  <a:lnTo>
                    <a:pt x="18" y="297"/>
                  </a:lnTo>
                  <a:lnTo>
                    <a:pt x="16" y="294"/>
                  </a:lnTo>
                  <a:lnTo>
                    <a:pt x="15" y="290"/>
                  </a:lnTo>
                  <a:lnTo>
                    <a:pt x="13" y="286"/>
                  </a:lnTo>
                  <a:lnTo>
                    <a:pt x="13" y="282"/>
                  </a:lnTo>
                  <a:lnTo>
                    <a:pt x="13" y="279"/>
                  </a:lnTo>
                  <a:lnTo>
                    <a:pt x="11" y="276"/>
                  </a:lnTo>
                  <a:lnTo>
                    <a:pt x="13" y="273"/>
                  </a:lnTo>
                  <a:lnTo>
                    <a:pt x="11" y="268"/>
                  </a:lnTo>
                  <a:lnTo>
                    <a:pt x="13" y="265"/>
                  </a:lnTo>
                  <a:lnTo>
                    <a:pt x="13" y="262"/>
                  </a:lnTo>
                  <a:lnTo>
                    <a:pt x="18" y="263"/>
                  </a:lnTo>
                  <a:lnTo>
                    <a:pt x="19" y="265"/>
                  </a:lnTo>
                  <a:lnTo>
                    <a:pt x="21" y="268"/>
                  </a:lnTo>
                  <a:lnTo>
                    <a:pt x="24" y="268"/>
                  </a:lnTo>
                  <a:lnTo>
                    <a:pt x="24" y="263"/>
                  </a:lnTo>
                  <a:lnTo>
                    <a:pt x="26" y="260"/>
                  </a:lnTo>
                  <a:lnTo>
                    <a:pt x="29" y="260"/>
                  </a:lnTo>
                  <a:lnTo>
                    <a:pt x="30" y="260"/>
                  </a:lnTo>
                  <a:lnTo>
                    <a:pt x="30" y="257"/>
                  </a:lnTo>
                  <a:lnTo>
                    <a:pt x="30" y="254"/>
                  </a:lnTo>
                  <a:lnTo>
                    <a:pt x="29" y="249"/>
                  </a:lnTo>
                  <a:lnTo>
                    <a:pt x="26" y="246"/>
                  </a:lnTo>
                  <a:lnTo>
                    <a:pt x="26" y="243"/>
                  </a:lnTo>
                  <a:lnTo>
                    <a:pt x="24" y="240"/>
                  </a:lnTo>
                  <a:lnTo>
                    <a:pt x="24" y="236"/>
                  </a:lnTo>
                  <a:lnTo>
                    <a:pt x="24" y="232"/>
                  </a:lnTo>
                  <a:lnTo>
                    <a:pt x="24" y="229"/>
                  </a:lnTo>
                  <a:lnTo>
                    <a:pt x="24" y="225"/>
                  </a:lnTo>
                  <a:lnTo>
                    <a:pt x="27" y="227"/>
                  </a:lnTo>
                  <a:lnTo>
                    <a:pt x="30" y="225"/>
                  </a:lnTo>
                  <a:lnTo>
                    <a:pt x="32" y="224"/>
                  </a:lnTo>
                  <a:lnTo>
                    <a:pt x="32" y="221"/>
                  </a:lnTo>
                  <a:lnTo>
                    <a:pt x="32" y="216"/>
                  </a:lnTo>
                  <a:lnTo>
                    <a:pt x="30" y="213"/>
                  </a:lnTo>
                  <a:lnTo>
                    <a:pt x="30" y="210"/>
                  </a:lnTo>
                  <a:lnTo>
                    <a:pt x="30" y="200"/>
                  </a:lnTo>
                  <a:lnTo>
                    <a:pt x="30" y="198"/>
                  </a:lnTo>
                  <a:lnTo>
                    <a:pt x="30" y="198"/>
                  </a:lnTo>
                  <a:lnTo>
                    <a:pt x="29" y="192"/>
                  </a:lnTo>
                  <a:lnTo>
                    <a:pt x="26" y="184"/>
                  </a:lnTo>
                  <a:lnTo>
                    <a:pt x="29" y="184"/>
                  </a:lnTo>
                  <a:lnTo>
                    <a:pt x="32" y="187"/>
                  </a:lnTo>
                  <a:lnTo>
                    <a:pt x="35" y="186"/>
                  </a:lnTo>
                  <a:lnTo>
                    <a:pt x="40" y="186"/>
                  </a:lnTo>
                  <a:lnTo>
                    <a:pt x="43" y="189"/>
                  </a:lnTo>
                  <a:lnTo>
                    <a:pt x="46" y="189"/>
                  </a:lnTo>
                  <a:lnTo>
                    <a:pt x="49" y="189"/>
                  </a:lnTo>
                  <a:lnTo>
                    <a:pt x="54" y="192"/>
                  </a:lnTo>
                  <a:lnTo>
                    <a:pt x="54" y="192"/>
                  </a:lnTo>
                  <a:lnTo>
                    <a:pt x="56" y="189"/>
                  </a:lnTo>
                  <a:lnTo>
                    <a:pt x="57" y="186"/>
                  </a:lnTo>
                  <a:lnTo>
                    <a:pt x="57" y="183"/>
                  </a:lnTo>
                  <a:lnTo>
                    <a:pt x="57" y="179"/>
                  </a:lnTo>
                  <a:lnTo>
                    <a:pt x="59" y="170"/>
                  </a:lnTo>
                  <a:lnTo>
                    <a:pt x="62" y="162"/>
                  </a:lnTo>
                  <a:lnTo>
                    <a:pt x="64" y="159"/>
                  </a:lnTo>
                  <a:lnTo>
                    <a:pt x="65" y="157"/>
                  </a:lnTo>
                  <a:lnTo>
                    <a:pt x="65" y="154"/>
                  </a:lnTo>
                  <a:lnTo>
                    <a:pt x="65" y="152"/>
                  </a:lnTo>
                  <a:lnTo>
                    <a:pt x="68" y="149"/>
                  </a:lnTo>
                  <a:lnTo>
                    <a:pt x="68" y="146"/>
                  </a:lnTo>
                  <a:lnTo>
                    <a:pt x="68" y="146"/>
                  </a:lnTo>
                  <a:lnTo>
                    <a:pt x="68" y="141"/>
                  </a:lnTo>
                  <a:lnTo>
                    <a:pt x="62" y="135"/>
                  </a:lnTo>
                  <a:lnTo>
                    <a:pt x="62" y="132"/>
                  </a:lnTo>
                  <a:lnTo>
                    <a:pt x="64" y="129"/>
                  </a:lnTo>
                  <a:lnTo>
                    <a:pt x="64" y="127"/>
                  </a:lnTo>
                  <a:lnTo>
                    <a:pt x="67" y="125"/>
                  </a:lnTo>
                  <a:lnTo>
                    <a:pt x="70" y="122"/>
                  </a:lnTo>
                  <a:lnTo>
                    <a:pt x="70" y="121"/>
                  </a:lnTo>
                  <a:lnTo>
                    <a:pt x="72" y="118"/>
                  </a:lnTo>
                  <a:lnTo>
                    <a:pt x="73" y="116"/>
                  </a:lnTo>
                  <a:lnTo>
                    <a:pt x="73" y="113"/>
                  </a:lnTo>
                  <a:lnTo>
                    <a:pt x="73" y="111"/>
                  </a:lnTo>
                  <a:lnTo>
                    <a:pt x="73" y="108"/>
                  </a:lnTo>
                  <a:lnTo>
                    <a:pt x="76" y="105"/>
                  </a:lnTo>
                  <a:lnTo>
                    <a:pt x="76" y="102"/>
                  </a:lnTo>
                  <a:lnTo>
                    <a:pt x="73" y="97"/>
                  </a:lnTo>
                  <a:lnTo>
                    <a:pt x="72" y="94"/>
                  </a:lnTo>
                  <a:lnTo>
                    <a:pt x="72" y="91"/>
                  </a:lnTo>
                  <a:lnTo>
                    <a:pt x="72" y="87"/>
                  </a:lnTo>
                  <a:lnTo>
                    <a:pt x="70" y="84"/>
                  </a:lnTo>
                  <a:lnTo>
                    <a:pt x="72" y="81"/>
                  </a:lnTo>
                  <a:lnTo>
                    <a:pt x="75" y="76"/>
                  </a:lnTo>
                  <a:lnTo>
                    <a:pt x="78" y="76"/>
                  </a:lnTo>
                  <a:lnTo>
                    <a:pt x="81" y="75"/>
                  </a:lnTo>
                  <a:lnTo>
                    <a:pt x="83" y="75"/>
                  </a:lnTo>
                  <a:lnTo>
                    <a:pt x="83" y="72"/>
                  </a:lnTo>
                  <a:lnTo>
                    <a:pt x="86" y="72"/>
                  </a:lnTo>
                  <a:lnTo>
                    <a:pt x="89" y="68"/>
                  </a:lnTo>
                  <a:lnTo>
                    <a:pt x="92" y="64"/>
                  </a:lnTo>
                  <a:lnTo>
                    <a:pt x="95" y="62"/>
                  </a:lnTo>
                  <a:lnTo>
                    <a:pt x="97" y="59"/>
                  </a:lnTo>
                  <a:lnTo>
                    <a:pt x="99" y="56"/>
                  </a:lnTo>
                  <a:lnTo>
                    <a:pt x="102" y="54"/>
                  </a:lnTo>
                  <a:lnTo>
                    <a:pt x="105" y="53"/>
                  </a:lnTo>
                  <a:lnTo>
                    <a:pt x="108" y="51"/>
                  </a:lnTo>
                  <a:lnTo>
                    <a:pt x="113" y="51"/>
                  </a:lnTo>
                  <a:lnTo>
                    <a:pt x="116" y="51"/>
                  </a:lnTo>
                  <a:lnTo>
                    <a:pt x="119" y="49"/>
                  </a:lnTo>
                  <a:lnTo>
                    <a:pt x="124" y="49"/>
                  </a:lnTo>
                  <a:lnTo>
                    <a:pt x="126" y="53"/>
                  </a:lnTo>
                  <a:lnTo>
                    <a:pt x="129" y="57"/>
                  </a:lnTo>
                  <a:lnTo>
                    <a:pt x="134" y="59"/>
                  </a:lnTo>
                  <a:lnTo>
                    <a:pt x="138" y="59"/>
                  </a:lnTo>
                  <a:lnTo>
                    <a:pt x="137" y="56"/>
                  </a:lnTo>
                  <a:lnTo>
                    <a:pt x="134" y="53"/>
                  </a:lnTo>
                  <a:lnTo>
                    <a:pt x="130" y="49"/>
                  </a:lnTo>
                  <a:lnTo>
                    <a:pt x="127" y="45"/>
                  </a:lnTo>
                  <a:lnTo>
                    <a:pt x="126" y="45"/>
                  </a:lnTo>
                  <a:lnTo>
                    <a:pt x="126" y="40"/>
                  </a:lnTo>
                  <a:lnTo>
                    <a:pt x="126" y="37"/>
                  </a:lnTo>
                  <a:lnTo>
                    <a:pt x="129" y="34"/>
                  </a:lnTo>
                  <a:lnTo>
                    <a:pt x="129" y="34"/>
                  </a:lnTo>
                  <a:lnTo>
                    <a:pt x="134" y="30"/>
                  </a:lnTo>
                  <a:lnTo>
                    <a:pt x="135" y="26"/>
                  </a:lnTo>
                  <a:lnTo>
                    <a:pt x="138" y="22"/>
                  </a:lnTo>
                  <a:lnTo>
                    <a:pt x="135" y="19"/>
                  </a:lnTo>
                  <a:lnTo>
                    <a:pt x="135" y="13"/>
                  </a:lnTo>
                  <a:lnTo>
                    <a:pt x="140" y="11"/>
                  </a:lnTo>
                  <a:lnTo>
                    <a:pt x="138" y="7"/>
                  </a:lnTo>
                  <a:lnTo>
                    <a:pt x="140" y="3"/>
                  </a:lnTo>
                  <a:lnTo>
                    <a:pt x="140" y="0"/>
                  </a:lnTo>
                  <a:lnTo>
                    <a:pt x="143" y="3"/>
                  </a:lnTo>
                  <a:lnTo>
                    <a:pt x="148" y="3"/>
                  </a:lnTo>
                  <a:lnTo>
                    <a:pt x="149" y="7"/>
                  </a:lnTo>
                  <a:lnTo>
                    <a:pt x="153" y="8"/>
                  </a:lnTo>
                  <a:lnTo>
                    <a:pt x="156" y="10"/>
                  </a:lnTo>
                  <a:lnTo>
                    <a:pt x="159" y="13"/>
                  </a:lnTo>
                  <a:lnTo>
                    <a:pt x="162" y="16"/>
                  </a:lnTo>
                  <a:lnTo>
                    <a:pt x="164" y="16"/>
                  </a:lnTo>
                  <a:lnTo>
                    <a:pt x="165" y="18"/>
                  </a:lnTo>
                  <a:lnTo>
                    <a:pt x="165" y="21"/>
                  </a:lnTo>
                  <a:lnTo>
                    <a:pt x="167" y="26"/>
                  </a:lnTo>
                  <a:lnTo>
                    <a:pt x="167" y="29"/>
                  </a:lnTo>
                  <a:lnTo>
                    <a:pt x="170" y="32"/>
                  </a:lnTo>
                  <a:lnTo>
                    <a:pt x="172" y="35"/>
                  </a:lnTo>
                  <a:lnTo>
                    <a:pt x="173" y="38"/>
                  </a:lnTo>
                  <a:lnTo>
                    <a:pt x="175" y="41"/>
                  </a:lnTo>
                  <a:lnTo>
                    <a:pt x="178" y="38"/>
                  </a:lnTo>
                  <a:lnTo>
                    <a:pt x="178" y="35"/>
                  </a:lnTo>
                  <a:lnTo>
                    <a:pt x="181" y="37"/>
                  </a:lnTo>
                  <a:lnTo>
                    <a:pt x="184" y="40"/>
                  </a:lnTo>
                  <a:lnTo>
                    <a:pt x="189" y="40"/>
                  </a:lnTo>
                  <a:lnTo>
                    <a:pt x="189" y="45"/>
                  </a:lnTo>
                  <a:lnTo>
                    <a:pt x="191" y="48"/>
                  </a:lnTo>
                  <a:lnTo>
                    <a:pt x="192" y="51"/>
                  </a:lnTo>
                  <a:lnTo>
                    <a:pt x="191" y="54"/>
                  </a:lnTo>
                  <a:lnTo>
                    <a:pt x="192" y="57"/>
                  </a:lnTo>
                  <a:lnTo>
                    <a:pt x="195" y="62"/>
                  </a:lnTo>
                  <a:lnTo>
                    <a:pt x="195" y="65"/>
                  </a:lnTo>
                  <a:lnTo>
                    <a:pt x="195" y="68"/>
                  </a:lnTo>
                  <a:lnTo>
                    <a:pt x="197" y="72"/>
                  </a:lnTo>
                  <a:lnTo>
                    <a:pt x="199" y="76"/>
                  </a:lnTo>
                  <a:lnTo>
                    <a:pt x="199" y="79"/>
                  </a:lnTo>
                  <a:lnTo>
                    <a:pt x="199" y="83"/>
                  </a:lnTo>
                  <a:lnTo>
                    <a:pt x="199" y="86"/>
                  </a:lnTo>
                  <a:lnTo>
                    <a:pt x="199" y="89"/>
                  </a:lnTo>
                  <a:lnTo>
                    <a:pt x="199" y="94"/>
                  </a:lnTo>
                  <a:lnTo>
                    <a:pt x="200" y="97"/>
                  </a:lnTo>
                  <a:lnTo>
                    <a:pt x="200" y="100"/>
                  </a:lnTo>
                  <a:lnTo>
                    <a:pt x="195" y="100"/>
                  </a:lnTo>
                  <a:lnTo>
                    <a:pt x="197" y="103"/>
                  </a:lnTo>
                  <a:lnTo>
                    <a:pt x="200" y="108"/>
                  </a:lnTo>
                  <a:lnTo>
                    <a:pt x="202" y="111"/>
                  </a:lnTo>
                  <a:lnTo>
                    <a:pt x="200" y="113"/>
                  </a:lnTo>
                  <a:lnTo>
                    <a:pt x="195" y="111"/>
                  </a:lnTo>
                  <a:lnTo>
                    <a:pt x="194" y="114"/>
                  </a:lnTo>
                  <a:lnTo>
                    <a:pt x="192" y="119"/>
                  </a:lnTo>
                  <a:lnTo>
                    <a:pt x="192" y="122"/>
                  </a:lnTo>
                  <a:lnTo>
                    <a:pt x="192" y="122"/>
                  </a:lnTo>
                  <a:lnTo>
                    <a:pt x="189" y="122"/>
                  </a:lnTo>
                  <a:lnTo>
                    <a:pt x="186" y="121"/>
                  </a:lnTo>
                  <a:lnTo>
                    <a:pt x="186" y="122"/>
                  </a:lnTo>
                  <a:lnTo>
                    <a:pt x="184" y="125"/>
                  </a:lnTo>
                  <a:lnTo>
                    <a:pt x="186" y="129"/>
                  </a:lnTo>
                  <a:lnTo>
                    <a:pt x="184" y="130"/>
                  </a:lnTo>
                  <a:lnTo>
                    <a:pt x="183" y="133"/>
                  </a:lnTo>
                  <a:lnTo>
                    <a:pt x="183" y="133"/>
                  </a:lnTo>
                  <a:lnTo>
                    <a:pt x="180" y="137"/>
                  </a:lnTo>
                  <a:lnTo>
                    <a:pt x="176" y="135"/>
                  </a:lnTo>
                  <a:lnTo>
                    <a:pt x="175" y="140"/>
                  </a:lnTo>
                  <a:lnTo>
                    <a:pt x="173" y="141"/>
                  </a:lnTo>
                  <a:lnTo>
                    <a:pt x="173" y="145"/>
                  </a:lnTo>
                  <a:lnTo>
                    <a:pt x="176" y="152"/>
                  </a:lnTo>
                  <a:lnTo>
                    <a:pt x="173" y="152"/>
                  </a:lnTo>
                  <a:lnTo>
                    <a:pt x="170" y="157"/>
                  </a:lnTo>
                  <a:lnTo>
                    <a:pt x="172" y="160"/>
                  </a:lnTo>
                  <a:lnTo>
                    <a:pt x="172" y="165"/>
                  </a:lnTo>
                  <a:lnTo>
                    <a:pt x="172" y="168"/>
                  </a:lnTo>
                  <a:lnTo>
                    <a:pt x="176" y="170"/>
                  </a:lnTo>
                  <a:lnTo>
                    <a:pt x="176" y="173"/>
                  </a:lnTo>
                  <a:lnTo>
                    <a:pt x="180" y="176"/>
                  </a:lnTo>
                  <a:lnTo>
                    <a:pt x="180" y="179"/>
                  </a:lnTo>
                  <a:lnTo>
                    <a:pt x="180" y="179"/>
                  </a:lnTo>
                  <a:lnTo>
                    <a:pt x="178" y="183"/>
                  </a:lnTo>
                  <a:lnTo>
                    <a:pt x="176" y="186"/>
                  </a:lnTo>
                  <a:lnTo>
                    <a:pt x="175" y="189"/>
                  </a:lnTo>
                  <a:lnTo>
                    <a:pt x="178" y="192"/>
                  </a:lnTo>
                  <a:lnTo>
                    <a:pt x="181" y="189"/>
                  </a:lnTo>
                  <a:lnTo>
                    <a:pt x="184" y="189"/>
                  </a:lnTo>
                  <a:lnTo>
                    <a:pt x="186" y="187"/>
                  </a:lnTo>
                  <a:lnTo>
                    <a:pt x="189" y="184"/>
                  </a:lnTo>
                  <a:lnTo>
                    <a:pt x="191" y="183"/>
                  </a:lnTo>
                  <a:lnTo>
                    <a:pt x="194" y="183"/>
                  </a:lnTo>
                  <a:lnTo>
                    <a:pt x="197" y="181"/>
                  </a:lnTo>
                  <a:lnTo>
                    <a:pt x="200" y="181"/>
                  </a:lnTo>
                  <a:lnTo>
                    <a:pt x="203" y="181"/>
                  </a:lnTo>
                  <a:lnTo>
                    <a:pt x="206" y="181"/>
                  </a:lnTo>
                  <a:lnTo>
                    <a:pt x="210" y="183"/>
                  </a:lnTo>
                  <a:lnTo>
                    <a:pt x="214" y="181"/>
                  </a:lnTo>
                  <a:lnTo>
                    <a:pt x="216" y="181"/>
                  </a:lnTo>
                  <a:lnTo>
                    <a:pt x="219" y="181"/>
                  </a:lnTo>
                  <a:lnTo>
                    <a:pt x="221" y="179"/>
                  </a:lnTo>
                  <a:lnTo>
                    <a:pt x="221" y="183"/>
                  </a:lnTo>
                  <a:lnTo>
                    <a:pt x="218" y="186"/>
                  </a:lnTo>
                  <a:lnTo>
                    <a:pt x="216" y="187"/>
                  </a:lnTo>
                  <a:lnTo>
                    <a:pt x="214" y="191"/>
                  </a:lnTo>
                  <a:lnTo>
                    <a:pt x="216" y="192"/>
                  </a:lnTo>
                  <a:lnTo>
                    <a:pt x="219" y="197"/>
                  </a:lnTo>
                  <a:lnTo>
                    <a:pt x="224" y="202"/>
                  </a:lnTo>
                  <a:lnTo>
                    <a:pt x="221" y="206"/>
                  </a:lnTo>
                  <a:lnTo>
                    <a:pt x="224" y="208"/>
                  </a:lnTo>
                  <a:lnTo>
                    <a:pt x="226" y="210"/>
                  </a:lnTo>
                  <a:lnTo>
                    <a:pt x="226" y="213"/>
                  </a:lnTo>
                  <a:lnTo>
                    <a:pt x="227" y="216"/>
                  </a:lnTo>
                  <a:lnTo>
                    <a:pt x="227" y="219"/>
                  </a:lnTo>
                  <a:lnTo>
                    <a:pt x="229" y="219"/>
                  </a:lnTo>
                  <a:lnTo>
                    <a:pt x="232" y="221"/>
                  </a:lnTo>
                  <a:lnTo>
                    <a:pt x="235" y="222"/>
                  </a:lnTo>
                  <a:lnTo>
                    <a:pt x="238" y="222"/>
                  </a:lnTo>
                  <a:lnTo>
                    <a:pt x="241" y="224"/>
                  </a:lnTo>
                  <a:lnTo>
                    <a:pt x="245" y="224"/>
                  </a:lnTo>
                  <a:lnTo>
                    <a:pt x="248" y="224"/>
                  </a:lnTo>
                  <a:lnTo>
                    <a:pt x="249" y="224"/>
                  </a:lnTo>
                  <a:lnTo>
                    <a:pt x="249" y="227"/>
                  </a:lnTo>
                  <a:lnTo>
                    <a:pt x="251" y="230"/>
                  </a:lnTo>
                  <a:lnTo>
                    <a:pt x="248" y="232"/>
                  </a:lnTo>
                  <a:lnTo>
                    <a:pt x="246" y="235"/>
                  </a:lnTo>
                  <a:lnTo>
                    <a:pt x="245" y="236"/>
                  </a:lnTo>
                  <a:lnTo>
                    <a:pt x="246" y="241"/>
                  </a:lnTo>
                  <a:lnTo>
                    <a:pt x="248" y="244"/>
                  </a:lnTo>
                  <a:lnTo>
                    <a:pt x="248" y="248"/>
                  </a:lnTo>
                  <a:lnTo>
                    <a:pt x="246" y="251"/>
                  </a:lnTo>
                  <a:lnTo>
                    <a:pt x="245" y="256"/>
                  </a:lnTo>
                  <a:lnTo>
                    <a:pt x="243" y="259"/>
                  </a:lnTo>
                  <a:lnTo>
                    <a:pt x="243" y="262"/>
                  </a:lnTo>
                  <a:lnTo>
                    <a:pt x="243" y="262"/>
                  </a:lnTo>
                  <a:lnTo>
                    <a:pt x="246" y="263"/>
                  </a:lnTo>
                  <a:lnTo>
                    <a:pt x="249" y="263"/>
                  </a:lnTo>
                  <a:lnTo>
                    <a:pt x="252" y="263"/>
                  </a:lnTo>
                  <a:lnTo>
                    <a:pt x="257" y="263"/>
                  </a:lnTo>
                  <a:lnTo>
                    <a:pt x="257" y="263"/>
                  </a:lnTo>
                  <a:lnTo>
                    <a:pt x="260" y="265"/>
                  </a:lnTo>
                  <a:lnTo>
                    <a:pt x="264" y="267"/>
                  </a:lnTo>
                  <a:lnTo>
                    <a:pt x="268" y="267"/>
                  </a:lnTo>
                  <a:lnTo>
                    <a:pt x="272" y="267"/>
                  </a:lnTo>
                  <a:lnTo>
                    <a:pt x="273" y="270"/>
                  </a:lnTo>
                  <a:lnTo>
                    <a:pt x="272" y="273"/>
                  </a:lnTo>
                  <a:lnTo>
                    <a:pt x="273" y="276"/>
                  </a:lnTo>
                  <a:lnTo>
                    <a:pt x="273" y="278"/>
                  </a:lnTo>
                  <a:lnTo>
                    <a:pt x="275" y="281"/>
                  </a:lnTo>
                  <a:lnTo>
                    <a:pt x="276" y="281"/>
                  </a:lnTo>
                  <a:lnTo>
                    <a:pt x="279" y="281"/>
                  </a:lnTo>
                  <a:lnTo>
                    <a:pt x="279" y="286"/>
                  </a:lnTo>
                  <a:lnTo>
                    <a:pt x="279" y="289"/>
                  </a:lnTo>
                  <a:lnTo>
                    <a:pt x="284" y="292"/>
                  </a:lnTo>
                  <a:lnTo>
                    <a:pt x="284" y="290"/>
                  </a:lnTo>
                  <a:lnTo>
                    <a:pt x="289" y="287"/>
                  </a:lnTo>
                  <a:lnTo>
                    <a:pt x="292" y="289"/>
                  </a:lnTo>
                  <a:lnTo>
                    <a:pt x="295" y="290"/>
                  </a:lnTo>
                  <a:lnTo>
                    <a:pt x="298" y="289"/>
                  </a:lnTo>
                  <a:lnTo>
                    <a:pt x="303" y="286"/>
                  </a:lnTo>
                  <a:lnTo>
                    <a:pt x="305" y="282"/>
                  </a:lnTo>
                  <a:lnTo>
                    <a:pt x="306" y="281"/>
                  </a:lnTo>
                  <a:lnTo>
                    <a:pt x="310" y="281"/>
                  </a:lnTo>
                  <a:lnTo>
                    <a:pt x="313" y="278"/>
                  </a:lnTo>
                  <a:lnTo>
                    <a:pt x="313" y="278"/>
                  </a:lnTo>
                  <a:lnTo>
                    <a:pt x="314" y="281"/>
                  </a:lnTo>
                  <a:lnTo>
                    <a:pt x="316" y="284"/>
                  </a:lnTo>
                  <a:lnTo>
                    <a:pt x="316" y="286"/>
                  </a:lnTo>
                  <a:lnTo>
                    <a:pt x="316" y="287"/>
                  </a:lnTo>
                  <a:lnTo>
                    <a:pt x="313" y="292"/>
                  </a:lnTo>
                  <a:lnTo>
                    <a:pt x="310" y="294"/>
                  </a:lnTo>
                  <a:lnTo>
                    <a:pt x="306" y="297"/>
                  </a:lnTo>
                  <a:lnTo>
                    <a:pt x="302" y="297"/>
                  </a:lnTo>
                  <a:lnTo>
                    <a:pt x="302" y="300"/>
                  </a:lnTo>
                  <a:lnTo>
                    <a:pt x="302" y="303"/>
                  </a:lnTo>
                  <a:lnTo>
                    <a:pt x="300" y="306"/>
                  </a:lnTo>
                  <a:lnTo>
                    <a:pt x="297" y="309"/>
                  </a:lnTo>
                  <a:lnTo>
                    <a:pt x="297" y="311"/>
                  </a:lnTo>
                  <a:lnTo>
                    <a:pt x="298" y="314"/>
                  </a:lnTo>
                  <a:lnTo>
                    <a:pt x="302" y="314"/>
                  </a:lnTo>
                  <a:lnTo>
                    <a:pt x="302" y="316"/>
                  </a:lnTo>
                  <a:lnTo>
                    <a:pt x="300" y="316"/>
                  </a:lnTo>
                  <a:lnTo>
                    <a:pt x="297" y="317"/>
                  </a:lnTo>
                  <a:lnTo>
                    <a:pt x="294" y="316"/>
                  </a:lnTo>
                  <a:lnTo>
                    <a:pt x="291" y="319"/>
                  </a:lnTo>
                  <a:lnTo>
                    <a:pt x="287" y="322"/>
                  </a:lnTo>
                  <a:lnTo>
                    <a:pt x="287" y="325"/>
                  </a:lnTo>
                  <a:lnTo>
                    <a:pt x="286" y="328"/>
                  </a:lnTo>
                  <a:lnTo>
                    <a:pt x="286" y="332"/>
                  </a:lnTo>
                  <a:lnTo>
                    <a:pt x="286" y="335"/>
                  </a:lnTo>
                  <a:lnTo>
                    <a:pt x="284" y="335"/>
                  </a:lnTo>
                  <a:lnTo>
                    <a:pt x="283" y="333"/>
                  </a:lnTo>
                  <a:lnTo>
                    <a:pt x="281" y="332"/>
                  </a:lnTo>
                  <a:lnTo>
                    <a:pt x="278" y="332"/>
                  </a:lnTo>
                  <a:lnTo>
                    <a:pt x="276" y="333"/>
                  </a:lnTo>
                  <a:lnTo>
                    <a:pt x="273" y="336"/>
                  </a:lnTo>
                  <a:lnTo>
                    <a:pt x="270" y="336"/>
                  </a:lnTo>
                  <a:lnTo>
                    <a:pt x="268" y="336"/>
                  </a:lnTo>
                  <a:lnTo>
                    <a:pt x="265" y="336"/>
                  </a:lnTo>
                  <a:lnTo>
                    <a:pt x="267" y="340"/>
                  </a:lnTo>
                  <a:lnTo>
                    <a:pt x="265" y="344"/>
                  </a:lnTo>
                  <a:lnTo>
                    <a:pt x="264" y="346"/>
                  </a:lnTo>
                  <a:lnTo>
                    <a:pt x="260" y="347"/>
                  </a:lnTo>
                  <a:lnTo>
                    <a:pt x="257" y="344"/>
                  </a:lnTo>
                  <a:lnTo>
                    <a:pt x="252" y="344"/>
                  </a:lnTo>
                  <a:lnTo>
                    <a:pt x="251" y="346"/>
                  </a:lnTo>
                  <a:lnTo>
                    <a:pt x="249" y="351"/>
                  </a:lnTo>
                  <a:lnTo>
                    <a:pt x="251" y="352"/>
                  </a:lnTo>
                  <a:lnTo>
                    <a:pt x="251" y="355"/>
                  </a:lnTo>
                  <a:lnTo>
                    <a:pt x="248" y="359"/>
                  </a:lnTo>
                  <a:lnTo>
                    <a:pt x="248" y="360"/>
                  </a:lnTo>
                  <a:lnTo>
                    <a:pt x="243" y="357"/>
                  </a:lnTo>
                  <a:lnTo>
                    <a:pt x="240" y="360"/>
                  </a:lnTo>
                  <a:lnTo>
                    <a:pt x="235" y="363"/>
                  </a:lnTo>
                  <a:lnTo>
                    <a:pt x="232" y="362"/>
                  </a:lnTo>
                  <a:lnTo>
                    <a:pt x="229" y="362"/>
                  </a:lnTo>
                  <a:lnTo>
                    <a:pt x="226" y="363"/>
                  </a:lnTo>
                  <a:lnTo>
                    <a:pt x="222" y="362"/>
                  </a:lnTo>
                  <a:lnTo>
                    <a:pt x="219" y="359"/>
                  </a:lnTo>
                  <a:lnTo>
                    <a:pt x="216" y="359"/>
                  </a:lnTo>
                  <a:lnTo>
                    <a:pt x="216" y="362"/>
                  </a:lnTo>
                  <a:lnTo>
                    <a:pt x="214" y="367"/>
                  </a:lnTo>
                  <a:lnTo>
                    <a:pt x="211" y="368"/>
                  </a:lnTo>
                  <a:lnTo>
                    <a:pt x="211" y="371"/>
                  </a:lnTo>
                  <a:lnTo>
                    <a:pt x="210" y="376"/>
                  </a:lnTo>
                  <a:lnTo>
                    <a:pt x="211" y="379"/>
                  </a:lnTo>
                  <a:lnTo>
                    <a:pt x="213" y="384"/>
                  </a:lnTo>
                  <a:lnTo>
                    <a:pt x="211" y="387"/>
                  </a:lnTo>
                  <a:lnTo>
                    <a:pt x="210" y="389"/>
                  </a:lnTo>
                  <a:lnTo>
                    <a:pt x="208" y="393"/>
                  </a:lnTo>
                  <a:lnTo>
                    <a:pt x="210" y="398"/>
                  </a:lnTo>
                  <a:lnTo>
                    <a:pt x="211" y="401"/>
                  </a:lnTo>
                  <a:lnTo>
                    <a:pt x="213" y="405"/>
                  </a:lnTo>
                  <a:lnTo>
                    <a:pt x="213" y="408"/>
                  </a:lnTo>
                  <a:lnTo>
                    <a:pt x="208" y="409"/>
                  </a:lnTo>
                  <a:lnTo>
                    <a:pt x="205" y="411"/>
                  </a:lnTo>
                  <a:lnTo>
                    <a:pt x="202" y="411"/>
                  </a:lnTo>
                  <a:lnTo>
                    <a:pt x="199" y="408"/>
                  </a:lnTo>
                  <a:lnTo>
                    <a:pt x="199" y="408"/>
                  </a:lnTo>
                  <a:lnTo>
                    <a:pt x="200" y="411"/>
                  </a:lnTo>
                  <a:lnTo>
                    <a:pt x="202" y="414"/>
                  </a:lnTo>
                  <a:lnTo>
                    <a:pt x="203" y="419"/>
                  </a:lnTo>
                  <a:lnTo>
                    <a:pt x="206" y="420"/>
                  </a:lnTo>
                  <a:lnTo>
                    <a:pt x="210" y="420"/>
                  </a:lnTo>
                  <a:lnTo>
                    <a:pt x="210" y="424"/>
                  </a:lnTo>
                  <a:lnTo>
                    <a:pt x="213" y="427"/>
                  </a:lnTo>
                  <a:lnTo>
                    <a:pt x="214" y="430"/>
                  </a:lnTo>
                  <a:lnTo>
                    <a:pt x="214" y="433"/>
                  </a:lnTo>
                  <a:lnTo>
                    <a:pt x="213" y="438"/>
                  </a:lnTo>
                  <a:lnTo>
                    <a:pt x="214" y="439"/>
                  </a:lnTo>
                  <a:lnTo>
                    <a:pt x="214" y="439"/>
                  </a:lnTo>
                  <a:lnTo>
                    <a:pt x="218" y="443"/>
                  </a:lnTo>
                  <a:lnTo>
                    <a:pt x="219" y="446"/>
                  </a:lnTo>
                  <a:lnTo>
                    <a:pt x="227" y="452"/>
                  </a:lnTo>
                  <a:lnTo>
                    <a:pt x="229" y="455"/>
                  </a:lnTo>
                  <a:lnTo>
                    <a:pt x="232" y="459"/>
                  </a:lnTo>
                  <a:lnTo>
                    <a:pt x="235" y="463"/>
                  </a:lnTo>
                  <a:lnTo>
                    <a:pt x="238" y="466"/>
                  </a:lnTo>
                  <a:lnTo>
                    <a:pt x="240" y="470"/>
                  </a:lnTo>
                  <a:lnTo>
                    <a:pt x="241" y="470"/>
                  </a:lnTo>
                  <a:lnTo>
                    <a:pt x="245" y="471"/>
                  </a:lnTo>
                  <a:lnTo>
                    <a:pt x="246" y="474"/>
                  </a:lnTo>
                  <a:lnTo>
                    <a:pt x="248" y="478"/>
                  </a:lnTo>
                  <a:lnTo>
                    <a:pt x="248" y="481"/>
                  </a:lnTo>
                  <a:lnTo>
                    <a:pt x="248" y="484"/>
                  </a:lnTo>
                  <a:lnTo>
                    <a:pt x="249" y="487"/>
                  </a:lnTo>
                  <a:lnTo>
                    <a:pt x="252" y="490"/>
                  </a:lnTo>
                  <a:lnTo>
                    <a:pt x="254" y="493"/>
                  </a:lnTo>
                  <a:lnTo>
                    <a:pt x="256" y="498"/>
                  </a:lnTo>
                  <a:lnTo>
                    <a:pt x="257" y="501"/>
                  </a:lnTo>
                  <a:lnTo>
                    <a:pt x="260" y="498"/>
                  </a:lnTo>
                  <a:lnTo>
                    <a:pt x="262" y="495"/>
                  </a:lnTo>
                  <a:lnTo>
                    <a:pt x="265" y="498"/>
                  </a:lnTo>
                  <a:lnTo>
                    <a:pt x="265" y="501"/>
                  </a:lnTo>
                  <a:lnTo>
                    <a:pt x="264" y="504"/>
                  </a:lnTo>
                  <a:lnTo>
                    <a:pt x="260" y="508"/>
                  </a:lnTo>
                  <a:lnTo>
                    <a:pt x="257" y="508"/>
                  </a:lnTo>
                  <a:lnTo>
                    <a:pt x="254" y="511"/>
                  </a:lnTo>
                  <a:lnTo>
                    <a:pt x="256" y="519"/>
                  </a:lnTo>
                  <a:lnTo>
                    <a:pt x="256" y="527"/>
                  </a:lnTo>
                  <a:lnTo>
                    <a:pt x="256" y="528"/>
                  </a:lnTo>
                  <a:lnTo>
                    <a:pt x="256" y="531"/>
                  </a:lnTo>
                  <a:lnTo>
                    <a:pt x="257" y="535"/>
                  </a:lnTo>
                  <a:lnTo>
                    <a:pt x="256" y="539"/>
                  </a:lnTo>
                  <a:lnTo>
                    <a:pt x="251" y="539"/>
                  </a:lnTo>
                  <a:lnTo>
                    <a:pt x="251" y="544"/>
                  </a:lnTo>
                  <a:lnTo>
                    <a:pt x="251" y="544"/>
                  </a:lnTo>
                  <a:lnTo>
                    <a:pt x="248" y="543"/>
                  </a:lnTo>
                  <a:lnTo>
                    <a:pt x="245" y="544"/>
                  </a:lnTo>
                  <a:lnTo>
                    <a:pt x="245" y="547"/>
                  </a:lnTo>
                  <a:lnTo>
                    <a:pt x="245" y="550"/>
                  </a:lnTo>
                  <a:lnTo>
                    <a:pt x="246" y="554"/>
                  </a:lnTo>
                  <a:lnTo>
                    <a:pt x="246" y="555"/>
                  </a:lnTo>
                  <a:lnTo>
                    <a:pt x="248" y="558"/>
                  </a:lnTo>
                  <a:lnTo>
                    <a:pt x="248" y="562"/>
                  </a:lnTo>
                  <a:lnTo>
                    <a:pt x="251" y="565"/>
                  </a:lnTo>
                  <a:lnTo>
                    <a:pt x="256" y="573"/>
                  </a:lnTo>
                  <a:lnTo>
                    <a:pt x="259" y="576"/>
                  </a:lnTo>
                  <a:lnTo>
                    <a:pt x="260" y="579"/>
                  </a:lnTo>
                  <a:lnTo>
                    <a:pt x="264" y="582"/>
                  </a:lnTo>
                  <a:lnTo>
                    <a:pt x="267" y="584"/>
                  </a:lnTo>
                  <a:lnTo>
                    <a:pt x="270" y="587"/>
                  </a:lnTo>
                  <a:lnTo>
                    <a:pt x="273" y="590"/>
                  </a:lnTo>
                  <a:lnTo>
                    <a:pt x="276" y="593"/>
                  </a:lnTo>
                  <a:lnTo>
                    <a:pt x="278" y="596"/>
                  </a:lnTo>
                  <a:lnTo>
                    <a:pt x="281" y="600"/>
                  </a:lnTo>
                  <a:lnTo>
                    <a:pt x="283" y="603"/>
                  </a:lnTo>
                  <a:lnTo>
                    <a:pt x="284" y="606"/>
                  </a:lnTo>
                  <a:lnTo>
                    <a:pt x="284" y="609"/>
                  </a:lnTo>
                  <a:lnTo>
                    <a:pt x="286" y="612"/>
                  </a:lnTo>
                  <a:lnTo>
                    <a:pt x="287" y="617"/>
                  </a:lnTo>
                  <a:lnTo>
                    <a:pt x="287" y="620"/>
                  </a:lnTo>
                  <a:lnTo>
                    <a:pt x="287" y="623"/>
                  </a:lnTo>
                  <a:lnTo>
                    <a:pt x="287" y="625"/>
                  </a:lnTo>
                  <a:lnTo>
                    <a:pt x="287" y="628"/>
                  </a:lnTo>
                  <a:lnTo>
                    <a:pt x="286" y="630"/>
                  </a:lnTo>
                  <a:lnTo>
                    <a:pt x="286" y="633"/>
                  </a:lnTo>
                  <a:lnTo>
                    <a:pt x="289" y="638"/>
                  </a:lnTo>
                  <a:lnTo>
                    <a:pt x="289" y="641"/>
                  </a:lnTo>
                  <a:lnTo>
                    <a:pt x="291" y="644"/>
                  </a:lnTo>
                  <a:lnTo>
                    <a:pt x="292" y="647"/>
                  </a:lnTo>
                  <a:lnTo>
                    <a:pt x="295" y="650"/>
                  </a:lnTo>
                  <a:lnTo>
                    <a:pt x="298" y="654"/>
                  </a:lnTo>
                  <a:lnTo>
                    <a:pt x="298" y="657"/>
                  </a:lnTo>
                  <a:lnTo>
                    <a:pt x="300" y="660"/>
                  </a:lnTo>
                  <a:lnTo>
                    <a:pt x="300" y="663"/>
                  </a:lnTo>
                  <a:lnTo>
                    <a:pt x="302" y="668"/>
                  </a:lnTo>
                  <a:lnTo>
                    <a:pt x="305" y="671"/>
                  </a:lnTo>
                  <a:lnTo>
                    <a:pt x="305" y="674"/>
                  </a:lnTo>
                  <a:lnTo>
                    <a:pt x="306" y="677"/>
                  </a:lnTo>
                  <a:lnTo>
                    <a:pt x="306" y="682"/>
                  </a:lnTo>
                  <a:lnTo>
                    <a:pt x="310" y="685"/>
                  </a:lnTo>
                  <a:lnTo>
                    <a:pt x="308" y="688"/>
                  </a:lnTo>
                  <a:lnTo>
                    <a:pt x="306" y="692"/>
                  </a:lnTo>
                  <a:lnTo>
                    <a:pt x="303" y="695"/>
                  </a:lnTo>
                  <a:lnTo>
                    <a:pt x="303" y="698"/>
                  </a:lnTo>
                  <a:lnTo>
                    <a:pt x="302" y="703"/>
                  </a:lnTo>
                  <a:lnTo>
                    <a:pt x="298" y="706"/>
                  </a:lnTo>
                  <a:lnTo>
                    <a:pt x="298" y="706"/>
                  </a:lnTo>
                  <a:lnTo>
                    <a:pt x="297" y="709"/>
                  </a:lnTo>
                  <a:lnTo>
                    <a:pt x="297" y="714"/>
                  </a:lnTo>
                  <a:lnTo>
                    <a:pt x="294" y="717"/>
                  </a:lnTo>
                  <a:lnTo>
                    <a:pt x="292" y="719"/>
                  </a:lnTo>
                  <a:lnTo>
                    <a:pt x="289" y="722"/>
                  </a:lnTo>
                  <a:lnTo>
                    <a:pt x="289" y="725"/>
                  </a:lnTo>
                  <a:lnTo>
                    <a:pt x="284" y="726"/>
                  </a:lnTo>
                  <a:lnTo>
                    <a:pt x="284" y="726"/>
                  </a:lnTo>
                  <a:lnTo>
                    <a:pt x="281" y="731"/>
                  </a:lnTo>
                  <a:lnTo>
                    <a:pt x="281" y="734"/>
                  </a:lnTo>
                  <a:lnTo>
                    <a:pt x="283" y="738"/>
                  </a:lnTo>
                  <a:lnTo>
                    <a:pt x="281" y="741"/>
                  </a:lnTo>
                  <a:lnTo>
                    <a:pt x="281" y="744"/>
                  </a:lnTo>
                  <a:lnTo>
                    <a:pt x="279" y="749"/>
                  </a:lnTo>
                  <a:lnTo>
                    <a:pt x="278" y="752"/>
                  </a:lnTo>
                  <a:lnTo>
                    <a:pt x="276" y="755"/>
                  </a:lnTo>
                  <a:lnTo>
                    <a:pt x="275" y="758"/>
                  </a:lnTo>
                  <a:lnTo>
                    <a:pt x="275" y="758"/>
                  </a:lnTo>
                  <a:lnTo>
                    <a:pt x="275" y="760"/>
                  </a:lnTo>
                  <a:lnTo>
                    <a:pt x="275" y="758"/>
                  </a:lnTo>
                  <a:lnTo>
                    <a:pt x="273" y="755"/>
                  </a:lnTo>
                  <a:lnTo>
                    <a:pt x="273" y="752"/>
                  </a:lnTo>
                  <a:lnTo>
                    <a:pt x="273" y="749"/>
                  </a:lnTo>
                  <a:lnTo>
                    <a:pt x="273" y="746"/>
                  </a:lnTo>
                  <a:lnTo>
                    <a:pt x="272" y="738"/>
                  </a:lnTo>
                  <a:lnTo>
                    <a:pt x="270" y="730"/>
                  </a:lnTo>
                  <a:lnTo>
                    <a:pt x="273" y="730"/>
                  </a:lnTo>
                  <a:lnTo>
                    <a:pt x="275" y="725"/>
                  </a:lnTo>
                  <a:lnTo>
                    <a:pt x="273" y="723"/>
                  </a:lnTo>
                  <a:lnTo>
                    <a:pt x="276" y="722"/>
                  </a:lnTo>
                  <a:lnTo>
                    <a:pt x="278" y="719"/>
                  </a:lnTo>
                  <a:lnTo>
                    <a:pt x="278" y="715"/>
                  </a:lnTo>
                  <a:lnTo>
                    <a:pt x="278" y="711"/>
                  </a:lnTo>
                  <a:lnTo>
                    <a:pt x="278" y="707"/>
                  </a:lnTo>
                  <a:lnTo>
                    <a:pt x="278" y="704"/>
                  </a:lnTo>
                  <a:lnTo>
                    <a:pt x="276" y="701"/>
                  </a:lnTo>
                  <a:lnTo>
                    <a:pt x="278" y="698"/>
                  </a:lnTo>
                  <a:lnTo>
                    <a:pt x="276" y="693"/>
                  </a:lnTo>
                  <a:lnTo>
                    <a:pt x="276" y="690"/>
                  </a:lnTo>
                  <a:lnTo>
                    <a:pt x="281" y="688"/>
                  </a:lnTo>
                  <a:lnTo>
                    <a:pt x="278" y="685"/>
                  </a:lnTo>
                  <a:lnTo>
                    <a:pt x="279" y="684"/>
                  </a:lnTo>
                  <a:lnTo>
                    <a:pt x="276" y="687"/>
                  </a:lnTo>
                  <a:lnTo>
                    <a:pt x="273" y="688"/>
                  </a:lnTo>
                  <a:lnTo>
                    <a:pt x="273" y="685"/>
                  </a:lnTo>
                  <a:lnTo>
                    <a:pt x="275" y="682"/>
                  </a:lnTo>
                  <a:lnTo>
                    <a:pt x="272" y="682"/>
                  </a:lnTo>
                  <a:lnTo>
                    <a:pt x="275" y="679"/>
                  </a:lnTo>
                  <a:lnTo>
                    <a:pt x="275" y="676"/>
                  </a:lnTo>
                  <a:lnTo>
                    <a:pt x="272" y="671"/>
                  </a:lnTo>
                  <a:lnTo>
                    <a:pt x="275" y="669"/>
                  </a:lnTo>
                  <a:lnTo>
                    <a:pt x="270" y="669"/>
                  </a:lnTo>
                  <a:lnTo>
                    <a:pt x="268" y="665"/>
                  </a:lnTo>
                  <a:lnTo>
                    <a:pt x="272" y="665"/>
                  </a:lnTo>
                  <a:lnTo>
                    <a:pt x="273" y="663"/>
                  </a:lnTo>
                  <a:lnTo>
                    <a:pt x="270" y="660"/>
                  </a:lnTo>
                  <a:lnTo>
                    <a:pt x="270" y="658"/>
                  </a:lnTo>
                  <a:lnTo>
                    <a:pt x="273" y="657"/>
                  </a:lnTo>
                  <a:lnTo>
                    <a:pt x="270" y="655"/>
                  </a:lnTo>
                  <a:lnTo>
                    <a:pt x="272" y="650"/>
                  </a:lnTo>
                  <a:lnTo>
                    <a:pt x="272" y="647"/>
                  </a:lnTo>
                  <a:lnTo>
                    <a:pt x="270" y="646"/>
                  </a:lnTo>
                  <a:lnTo>
                    <a:pt x="268" y="641"/>
                  </a:lnTo>
                  <a:lnTo>
                    <a:pt x="265" y="633"/>
                  </a:lnTo>
                  <a:lnTo>
                    <a:pt x="262" y="623"/>
                  </a:lnTo>
                  <a:lnTo>
                    <a:pt x="259" y="617"/>
                  </a:lnTo>
                  <a:lnTo>
                    <a:pt x="254" y="608"/>
                  </a:lnTo>
                  <a:lnTo>
                    <a:pt x="251" y="604"/>
                  </a:lnTo>
                  <a:lnTo>
                    <a:pt x="251" y="601"/>
                  </a:lnTo>
                  <a:lnTo>
                    <a:pt x="251" y="598"/>
                  </a:lnTo>
                  <a:lnTo>
                    <a:pt x="249" y="595"/>
                  </a:lnTo>
                  <a:lnTo>
                    <a:pt x="248" y="593"/>
                  </a:lnTo>
                  <a:lnTo>
                    <a:pt x="248" y="593"/>
                  </a:lnTo>
                  <a:lnTo>
                    <a:pt x="249" y="596"/>
                  </a:lnTo>
                  <a:lnTo>
                    <a:pt x="249" y="600"/>
                  </a:lnTo>
                  <a:lnTo>
                    <a:pt x="249" y="603"/>
                  </a:lnTo>
                  <a:lnTo>
                    <a:pt x="249" y="606"/>
                  </a:lnTo>
                  <a:lnTo>
                    <a:pt x="251" y="609"/>
                  </a:lnTo>
                  <a:lnTo>
                    <a:pt x="248" y="614"/>
                  </a:lnTo>
                  <a:lnTo>
                    <a:pt x="249" y="609"/>
                  </a:lnTo>
                  <a:lnTo>
                    <a:pt x="246" y="606"/>
                  </a:lnTo>
                  <a:lnTo>
                    <a:pt x="246" y="603"/>
                  </a:lnTo>
                  <a:lnTo>
                    <a:pt x="246" y="600"/>
                  </a:lnTo>
                  <a:lnTo>
                    <a:pt x="245" y="595"/>
                  </a:lnTo>
                  <a:lnTo>
                    <a:pt x="245" y="592"/>
                  </a:lnTo>
                  <a:lnTo>
                    <a:pt x="245" y="589"/>
                  </a:lnTo>
                  <a:lnTo>
                    <a:pt x="240" y="577"/>
                  </a:lnTo>
                  <a:lnTo>
                    <a:pt x="235" y="566"/>
                  </a:lnTo>
                  <a:lnTo>
                    <a:pt x="238" y="568"/>
                  </a:lnTo>
                  <a:lnTo>
                    <a:pt x="237" y="563"/>
                  </a:lnTo>
                  <a:lnTo>
                    <a:pt x="233" y="566"/>
                  </a:lnTo>
                  <a:lnTo>
                    <a:pt x="230" y="554"/>
                  </a:lnTo>
                  <a:lnTo>
                    <a:pt x="227" y="543"/>
                  </a:lnTo>
                  <a:lnTo>
                    <a:pt x="227" y="539"/>
                  </a:lnTo>
                  <a:lnTo>
                    <a:pt x="227" y="536"/>
                  </a:lnTo>
                  <a:lnTo>
                    <a:pt x="227" y="533"/>
                  </a:lnTo>
                  <a:lnTo>
                    <a:pt x="226" y="528"/>
                  </a:lnTo>
                  <a:lnTo>
                    <a:pt x="224" y="524"/>
                  </a:lnTo>
                  <a:lnTo>
                    <a:pt x="224" y="520"/>
                  </a:lnTo>
                  <a:lnTo>
                    <a:pt x="224" y="519"/>
                  </a:lnTo>
                  <a:lnTo>
                    <a:pt x="218" y="514"/>
                  </a:lnTo>
                  <a:lnTo>
                    <a:pt x="219" y="509"/>
                  </a:lnTo>
                  <a:lnTo>
                    <a:pt x="219" y="508"/>
                  </a:lnTo>
                  <a:lnTo>
                    <a:pt x="219" y="503"/>
                  </a:lnTo>
                  <a:lnTo>
                    <a:pt x="219" y="500"/>
                  </a:lnTo>
                  <a:lnTo>
                    <a:pt x="218" y="497"/>
                  </a:lnTo>
                  <a:lnTo>
                    <a:pt x="218" y="495"/>
                  </a:lnTo>
                  <a:lnTo>
                    <a:pt x="219" y="492"/>
                  </a:lnTo>
                  <a:lnTo>
                    <a:pt x="222" y="490"/>
                  </a:lnTo>
                  <a:lnTo>
                    <a:pt x="221" y="490"/>
                  </a:lnTo>
                  <a:lnTo>
                    <a:pt x="219" y="490"/>
                  </a:lnTo>
                  <a:lnTo>
                    <a:pt x="218" y="492"/>
                  </a:lnTo>
                  <a:lnTo>
                    <a:pt x="214" y="492"/>
                  </a:lnTo>
                  <a:lnTo>
                    <a:pt x="211" y="492"/>
                  </a:lnTo>
                  <a:lnTo>
                    <a:pt x="208" y="492"/>
                  </a:lnTo>
                  <a:lnTo>
                    <a:pt x="206" y="489"/>
                  </a:lnTo>
                  <a:lnTo>
                    <a:pt x="205" y="484"/>
                  </a:lnTo>
                  <a:lnTo>
                    <a:pt x="203" y="481"/>
                  </a:lnTo>
                  <a:lnTo>
                    <a:pt x="202" y="478"/>
                  </a:lnTo>
                  <a:lnTo>
                    <a:pt x="200" y="474"/>
                  </a:lnTo>
                  <a:lnTo>
                    <a:pt x="199" y="471"/>
                  </a:lnTo>
                  <a:lnTo>
                    <a:pt x="199" y="468"/>
                  </a:lnTo>
                  <a:lnTo>
                    <a:pt x="197" y="468"/>
                  </a:lnTo>
                  <a:lnTo>
                    <a:pt x="195" y="465"/>
                  </a:lnTo>
                  <a:lnTo>
                    <a:pt x="194" y="462"/>
                  </a:lnTo>
                  <a:lnTo>
                    <a:pt x="192" y="460"/>
                  </a:lnTo>
                  <a:lnTo>
                    <a:pt x="189" y="459"/>
                  </a:lnTo>
                  <a:lnTo>
                    <a:pt x="186" y="454"/>
                  </a:lnTo>
                  <a:lnTo>
                    <a:pt x="186" y="457"/>
                  </a:lnTo>
                  <a:lnTo>
                    <a:pt x="189" y="460"/>
                  </a:lnTo>
                  <a:lnTo>
                    <a:pt x="187" y="463"/>
                  </a:lnTo>
                  <a:lnTo>
                    <a:pt x="187" y="466"/>
                  </a:lnTo>
                  <a:lnTo>
                    <a:pt x="189" y="470"/>
                  </a:lnTo>
                  <a:lnTo>
                    <a:pt x="189" y="473"/>
                  </a:lnTo>
                  <a:lnTo>
                    <a:pt x="187" y="478"/>
                  </a:lnTo>
                  <a:lnTo>
                    <a:pt x="187" y="478"/>
                  </a:lnTo>
                  <a:lnTo>
                    <a:pt x="187" y="481"/>
                  </a:lnTo>
                  <a:lnTo>
                    <a:pt x="187" y="482"/>
                  </a:lnTo>
                  <a:lnTo>
                    <a:pt x="184" y="487"/>
                  </a:lnTo>
                  <a:lnTo>
                    <a:pt x="183" y="490"/>
                  </a:lnTo>
                  <a:lnTo>
                    <a:pt x="181" y="492"/>
                  </a:lnTo>
                  <a:lnTo>
                    <a:pt x="176" y="493"/>
                  </a:lnTo>
                  <a:lnTo>
                    <a:pt x="173" y="493"/>
                  </a:lnTo>
                  <a:lnTo>
                    <a:pt x="170" y="490"/>
                  </a:lnTo>
                  <a:lnTo>
                    <a:pt x="168" y="487"/>
                  </a:lnTo>
                  <a:lnTo>
                    <a:pt x="167" y="484"/>
                  </a:lnTo>
                  <a:lnTo>
                    <a:pt x="168" y="481"/>
                  </a:lnTo>
                  <a:lnTo>
                    <a:pt x="167" y="481"/>
                  </a:lnTo>
                  <a:lnTo>
                    <a:pt x="167" y="482"/>
                  </a:lnTo>
                  <a:lnTo>
                    <a:pt x="165" y="482"/>
                  </a:lnTo>
                  <a:lnTo>
                    <a:pt x="168" y="490"/>
                  </a:lnTo>
                  <a:lnTo>
                    <a:pt x="172" y="497"/>
                  </a:lnTo>
                  <a:lnTo>
                    <a:pt x="167" y="498"/>
                  </a:lnTo>
                  <a:lnTo>
                    <a:pt x="164" y="500"/>
                  </a:lnTo>
                  <a:lnTo>
                    <a:pt x="160" y="498"/>
                  </a:lnTo>
                  <a:lnTo>
                    <a:pt x="162" y="500"/>
                  </a:lnTo>
                  <a:lnTo>
                    <a:pt x="162" y="503"/>
                  </a:lnTo>
                  <a:lnTo>
                    <a:pt x="159" y="504"/>
                  </a:lnTo>
                  <a:lnTo>
                    <a:pt x="154" y="506"/>
                  </a:lnTo>
                  <a:lnTo>
                    <a:pt x="151" y="504"/>
                  </a:lnTo>
                  <a:lnTo>
                    <a:pt x="151" y="506"/>
                  </a:lnTo>
                  <a:lnTo>
                    <a:pt x="153" y="509"/>
                  </a:lnTo>
                  <a:lnTo>
                    <a:pt x="151" y="512"/>
                  </a:lnTo>
                  <a:lnTo>
                    <a:pt x="149" y="516"/>
                  </a:lnTo>
                  <a:lnTo>
                    <a:pt x="148" y="520"/>
                  </a:lnTo>
                  <a:lnTo>
                    <a:pt x="145" y="524"/>
                  </a:lnTo>
                  <a:lnTo>
                    <a:pt x="143" y="524"/>
                  </a:lnTo>
                  <a:lnTo>
                    <a:pt x="140" y="525"/>
                  </a:lnTo>
                  <a:lnTo>
                    <a:pt x="137" y="522"/>
                  </a:lnTo>
                  <a:lnTo>
                    <a:pt x="138" y="519"/>
                  </a:lnTo>
                  <a:lnTo>
                    <a:pt x="140" y="516"/>
                  </a:lnTo>
                  <a:lnTo>
                    <a:pt x="140" y="511"/>
                  </a:lnTo>
                  <a:lnTo>
                    <a:pt x="138" y="508"/>
                  </a:lnTo>
                  <a:lnTo>
                    <a:pt x="138" y="509"/>
                  </a:lnTo>
                  <a:lnTo>
                    <a:pt x="138" y="509"/>
                  </a:lnTo>
                  <a:lnTo>
                    <a:pt x="138" y="509"/>
                  </a:lnTo>
                  <a:lnTo>
                    <a:pt x="138" y="514"/>
                  </a:lnTo>
                  <a:lnTo>
                    <a:pt x="135" y="517"/>
                  </a:lnTo>
                  <a:lnTo>
                    <a:pt x="137" y="514"/>
                  </a:lnTo>
                  <a:lnTo>
                    <a:pt x="135" y="516"/>
                  </a:lnTo>
                  <a:lnTo>
                    <a:pt x="135" y="519"/>
                  </a:lnTo>
                  <a:lnTo>
                    <a:pt x="135" y="522"/>
                  </a:lnTo>
                  <a:lnTo>
                    <a:pt x="130" y="519"/>
                  </a:lnTo>
                  <a:lnTo>
                    <a:pt x="130" y="512"/>
                  </a:lnTo>
                  <a:lnTo>
                    <a:pt x="130" y="512"/>
                  </a:lnTo>
                  <a:lnTo>
                    <a:pt x="132" y="508"/>
                  </a:lnTo>
                  <a:lnTo>
                    <a:pt x="132" y="508"/>
                  </a:lnTo>
                  <a:lnTo>
                    <a:pt x="130" y="508"/>
                  </a:lnTo>
                  <a:lnTo>
                    <a:pt x="130" y="508"/>
                  </a:lnTo>
                  <a:lnTo>
                    <a:pt x="129" y="511"/>
                  </a:lnTo>
                  <a:lnTo>
                    <a:pt x="129" y="516"/>
                  </a:lnTo>
                  <a:lnTo>
                    <a:pt x="129" y="519"/>
                  </a:lnTo>
                  <a:lnTo>
                    <a:pt x="127" y="522"/>
                  </a:lnTo>
                  <a:lnTo>
                    <a:pt x="126" y="524"/>
                  </a:lnTo>
                  <a:lnTo>
                    <a:pt x="122" y="522"/>
                  </a:lnTo>
                  <a:lnTo>
                    <a:pt x="121" y="519"/>
                  </a:lnTo>
                  <a:lnTo>
                    <a:pt x="121" y="516"/>
                  </a:lnTo>
                  <a:lnTo>
                    <a:pt x="124" y="512"/>
                  </a:lnTo>
                  <a:lnTo>
                    <a:pt x="121" y="511"/>
                  </a:lnTo>
                  <a:lnTo>
                    <a:pt x="121" y="506"/>
                  </a:lnTo>
                  <a:lnTo>
                    <a:pt x="124" y="504"/>
                  </a:lnTo>
                  <a:lnTo>
                    <a:pt x="124" y="504"/>
                  </a:lnTo>
                  <a:lnTo>
                    <a:pt x="126" y="503"/>
                  </a:lnTo>
                  <a:lnTo>
                    <a:pt x="124" y="504"/>
                  </a:lnTo>
                  <a:lnTo>
                    <a:pt x="121" y="506"/>
                  </a:lnTo>
                  <a:lnTo>
                    <a:pt x="121" y="509"/>
                  </a:lnTo>
                  <a:lnTo>
                    <a:pt x="121" y="512"/>
                  </a:lnTo>
                  <a:lnTo>
                    <a:pt x="118" y="517"/>
                  </a:lnTo>
                  <a:lnTo>
                    <a:pt x="116" y="520"/>
                  </a:lnTo>
                  <a:lnTo>
                    <a:pt x="113" y="517"/>
                  </a:lnTo>
                  <a:lnTo>
                    <a:pt x="116" y="514"/>
                  </a:lnTo>
                  <a:lnTo>
                    <a:pt x="118" y="511"/>
                  </a:lnTo>
                  <a:lnTo>
                    <a:pt x="118" y="506"/>
                  </a:lnTo>
                  <a:lnTo>
                    <a:pt x="118" y="508"/>
                  </a:lnTo>
                  <a:lnTo>
                    <a:pt x="116" y="511"/>
                  </a:lnTo>
                  <a:lnTo>
                    <a:pt x="114" y="514"/>
                  </a:lnTo>
                  <a:lnTo>
                    <a:pt x="111" y="516"/>
                  </a:lnTo>
                  <a:lnTo>
                    <a:pt x="113" y="512"/>
                  </a:lnTo>
                  <a:lnTo>
                    <a:pt x="114" y="508"/>
                  </a:lnTo>
                  <a:lnTo>
                    <a:pt x="114" y="504"/>
                  </a:lnTo>
                  <a:lnTo>
                    <a:pt x="113" y="503"/>
                  </a:lnTo>
                  <a:lnTo>
                    <a:pt x="114" y="500"/>
                  </a:lnTo>
                  <a:lnTo>
                    <a:pt x="114" y="497"/>
                  </a:lnTo>
                  <a:lnTo>
                    <a:pt x="114" y="492"/>
                  </a:lnTo>
                  <a:lnTo>
                    <a:pt x="113" y="493"/>
                  </a:lnTo>
                  <a:lnTo>
                    <a:pt x="113" y="492"/>
                  </a:lnTo>
                  <a:lnTo>
                    <a:pt x="113" y="493"/>
                  </a:lnTo>
                  <a:lnTo>
                    <a:pt x="113" y="497"/>
                  </a:lnTo>
                  <a:lnTo>
                    <a:pt x="111" y="501"/>
                  </a:lnTo>
                  <a:lnTo>
                    <a:pt x="108" y="504"/>
                  </a:lnTo>
                  <a:lnTo>
                    <a:pt x="107" y="508"/>
                  </a:lnTo>
                  <a:lnTo>
                    <a:pt x="105" y="511"/>
                  </a:lnTo>
                  <a:lnTo>
                    <a:pt x="102" y="514"/>
                  </a:lnTo>
                  <a:lnTo>
                    <a:pt x="99" y="512"/>
                  </a:lnTo>
                  <a:lnTo>
                    <a:pt x="97" y="509"/>
                  </a:lnTo>
                  <a:lnTo>
                    <a:pt x="97" y="506"/>
                  </a:lnTo>
                  <a:lnTo>
                    <a:pt x="99" y="503"/>
                  </a:lnTo>
                  <a:lnTo>
                    <a:pt x="97" y="498"/>
                  </a:lnTo>
                  <a:lnTo>
                    <a:pt x="99" y="495"/>
                  </a:lnTo>
                  <a:lnTo>
                    <a:pt x="100" y="492"/>
                  </a:lnTo>
                  <a:lnTo>
                    <a:pt x="100" y="489"/>
                  </a:lnTo>
                  <a:lnTo>
                    <a:pt x="100" y="484"/>
                  </a:lnTo>
                  <a:lnTo>
                    <a:pt x="102" y="481"/>
                  </a:lnTo>
                  <a:lnTo>
                    <a:pt x="102" y="479"/>
                  </a:lnTo>
                  <a:lnTo>
                    <a:pt x="102" y="476"/>
                  </a:lnTo>
                  <a:lnTo>
                    <a:pt x="102" y="473"/>
                  </a:lnTo>
                  <a:lnTo>
                    <a:pt x="103" y="468"/>
                  </a:lnTo>
                  <a:lnTo>
                    <a:pt x="102" y="465"/>
                  </a:lnTo>
                  <a:lnTo>
                    <a:pt x="103" y="463"/>
                  </a:lnTo>
                  <a:lnTo>
                    <a:pt x="107" y="460"/>
                  </a:lnTo>
                  <a:lnTo>
                    <a:pt x="105" y="457"/>
                  </a:lnTo>
                  <a:lnTo>
                    <a:pt x="103" y="454"/>
                  </a:lnTo>
                  <a:lnTo>
                    <a:pt x="103" y="452"/>
                  </a:lnTo>
                  <a:lnTo>
                    <a:pt x="105" y="449"/>
                  </a:lnTo>
                  <a:lnTo>
                    <a:pt x="103" y="446"/>
                  </a:lnTo>
                  <a:lnTo>
                    <a:pt x="102" y="441"/>
                  </a:lnTo>
                  <a:lnTo>
                    <a:pt x="100" y="438"/>
                  </a:lnTo>
                  <a:lnTo>
                    <a:pt x="99" y="435"/>
                  </a:lnTo>
                  <a:lnTo>
                    <a:pt x="97" y="425"/>
                  </a:lnTo>
                  <a:lnTo>
                    <a:pt x="94" y="419"/>
                  </a:lnTo>
                  <a:lnTo>
                    <a:pt x="88" y="408"/>
                  </a:lnTo>
                  <a:lnTo>
                    <a:pt x="83" y="401"/>
                  </a:lnTo>
                  <a:lnTo>
                    <a:pt x="88" y="401"/>
                  </a:lnTo>
                  <a:lnTo>
                    <a:pt x="83" y="400"/>
                  </a:lnTo>
                  <a:lnTo>
                    <a:pt x="80" y="398"/>
                  </a:lnTo>
                  <a:lnTo>
                    <a:pt x="78" y="395"/>
                  </a:lnTo>
                  <a:lnTo>
                    <a:pt x="78" y="390"/>
                  </a:lnTo>
                  <a:lnTo>
                    <a:pt x="76" y="387"/>
                  </a:lnTo>
                  <a:lnTo>
                    <a:pt x="76" y="384"/>
                  </a:lnTo>
                  <a:lnTo>
                    <a:pt x="76" y="376"/>
                  </a:lnTo>
                  <a:lnTo>
                    <a:pt x="76" y="376"/>
                  </a:lnTo>
                  <a:lnTo>
                    <a:pt x="76" y="378"/>
                  </a:lnTo>
                  <a:lnTo>
                    <a:pt x="76" y="381"/>
                  </a:lnTo>
                  <a:lnTo>
                    <a:pt x="75" y="384"/>
                  </a:lnTo>
                  <a:lnTo>
                    <a:pt x="72" y="382"/>
                  </a:lnTo>
                  <a:lnTo>
                    <a:pt x="75" y="386"/>
                  </a:lnTo>
                  <a:lnTo>
                    <a:pt x="75" y="390"/>
                  </a:lnTo>
                  <a:lnTo>
                    <a:pt x="76" y="393"/>
                  </a:lnTo>
                  <a:lnTo>
                    <a:pt x="75" y="397"/>
                  </a:lnTo>
                  <a:lnTo>
                    <a:pt x="72" y="395"/>
                  </a:lnTo>
                  <a:lnTo>
                    <a:pt x="68" y="392"/>
                  </a:lnTo>
                  <a:lnTo>
                    <a:pt x="64" y="390"/>
                  </a:lnTo>
                  <a:lnTo>
                    <a:pt x="64" y="387"/>
                  </a:lnTo>
                  <a:lnTo>
                    <a:pt x="61" y="384"/>
                  </a:lnTo>
                  <a:lnTo>
                    <a:pt x="59" y="381"/>
                  </a:lnTo>
                  <a:lnTo>
                    <a:pt x="56" y="376"/>
                  </a:lnTo>
                  <a:lnTo>
                    <a:pt x="59" y="374"/>
                  </a:lnTo>
                  <a:lnTo>
                    <a:pt x="62" y="378"/>
                  </a:lnTo>
                  <a:lnTo>
                    <a:pt x="65" y="381"/>
                  </a:lnTo>
                  <a:lnTo>
                    <a:pt x="67" y="381"/>
                  </a:lnTo>
                  <a:lnTo>
                    <a:pt x="68" y="381"/>
                  </a:lnTo>
                  <a:lnTo>
                    <a:pt x="70" y="381"/>
                  </a:lnTo>
                  <a:lnTo>
                    <a:pt x="72" y="379"/>
                  </a:lnTo>
                  <a:lnTo>
                    <a:pt x="73" y="376"/>
                  </a:lnTo>
                  <a:lnTo>
                    <a:pt x="73" y="374"/>
                  </a:lnTo>
                  <a:lnTo>
                    <a:pt x="70" y="371"/>
                  </a:lnTo>
                  <a:lnTo>
                    <a:pt x="67" y="368"/>
                  </a:lnTo>
                  <a:lnTo>
                    <a:pt x="64" y="365"/>
                  </a:lnTo>
                  <a:lnTo>
                    <a:pt x="67" y="362"/>
                  </a:lnTo>
                  <a:lnTo>
                    <a:pt x="65" y="362"/>
                  </a:lnTo>
                  <a:lnTo>
                    <a:pt x="62" y="362"/>
                  </a:lnTo>
                  <a:lnTo>
                    <a:pt x="59" y="360"/>
                  </a:lnTo>
                  <a:lnTo>
                    <a:pt x="59" y="357"/>
                  </a:lnTo>
                  <a:lnTo>
                    <a:pt x="59" y="354"/>
                  </a:lnTo>
                  <a:lnTo>
                    <a:pt x="56" y="354"/>
                  </a:lnTo>
                  <a:lnTo>
                    <a:pt x="53" y="351"/>
                  </a:lnTo>
                  <a:lnTo>
                    <a:pt x="49" y="351"/>
                  </a:lnTo>
                  <a:lnTo>
                    <a:pt x="49" y="346"/>
                  </a:lnTo>
                  <a:lnTo>
                    <a:pt x="46" y="346"/>
                  </a:lnTo>
                  <a:lnTo>
                    <a:pt x="46" y="347"/>
                  </a:lnTo>
                  <a:lnTo>
                    <a:pt x="46" y="347"/>
                  </a:lnTo>
                  <a:lnTo>
                    <a:pt x="42" y="347"/>
                  </a:lnTo>
                  <a:lnTo>
                    <a:pt x="40" y="346"/>
                  </a:lnTo>
                  <a:lnTo>
                    <a:pt x="42" y="351"/>
                  </a:lnTo>
                  <a:lnTo>
                    <a:pt x="43" y="354"/>
                  </a:lnTo>
                  <a:lnTo>
                    <a:pt x="45" y="357"/>
                  </a:lnTo>
                  <a:lnTo>
                    <a:pt x="42" y="354"/>
                  </a:lnTo>
                  <a:lnTo>
                    <a:pt x="40" y="351"/>
                  </a:lnTo>
                  <a:lnTo>
                    <a:pt x="40" y="351"/>
                  </a:lnTo>
                  <a:lnTo>
                    <a:pt x="40" y="354"/>
                  </a:lnTo>
                  <a:lnTo>
                    <a:pt x="42" y="357"/>
                  </a:lnTo>
                  <a:lnTo>
                    <a:pt x="40" y="354"/>
                  </a:lnTo>
                  <a:lnTo>
                    <a:pt x="37" y="351"/>
                  </a:lnTo>
                  <a:lnTo>
                    <a:pt x="35" y="347"/>
                  </a:lnTo>
                  <a:lnTo>
                    <a:pt x="37" y="344"/>
                  </a:lnTo>
                  <a:lnTo>
                    <a:pt x="38" y="341"/>
                  </a:lnTo>
                  <a:lnTo>
                    <a:pt x="37" y="341"/>
                  </a:lnTo>
                  <a:lnTo>
                    <a:pt x="34" y="341"/>
                  </a:lnTo>
                  <a:lnTo>
                    <a:pt x="35" y="338"/>
                  </a:lnTo>
                  <a:lnTo>
                    <a:pt x="37" y="335"/>
                  </a:lnTo>
                  <a:lnTo>
                    <a:pt x="37" y="333"/>
                  </a:lnTo>
                  <a:lnTo>
                    <a:pt x="35" y="335"/>
                  </a:lnTo>
                  <a:lnTo>
                    <a:pt x="35" y="335"/>
                  </a:lnTo>
                  <a:lnTo>
                    <a:pt x="35" y="330"/>
                  </a:lnTo>
                  <a:lnTo>
                    <a:pt x="35" y="327"/>
                  </a:lnTo>
                  <a:lnTo>
                    <a:pt x="34" y="336"/>
                  </a:lnTo>
                  <a:lnTo>
                    <a:pt x="30" y="344"/>
                  </a:lnTo>
                  <a:lnTo>
                    <a:pt x="27" y="343"/>
                  </a:lnTo>
                  <a:lnTo>
                    <a:pt x="27" y="340"/>
                  </a:lnTo>
                  <a:lnTo>
                    <a:pt x="29" y="336"/>
                  </a:lnTo>
                  <a:lnTo>
                    <a:pt x="27" y="333"/>
                  </a:lnTo>
                  <a:lnTo>
                    <a:pt x="27" y="330"/>
                  </a:lnTo>
                  <a:lnTo>
                    <a:pt x="24" y="328"/>
                  </a:lnTo>
                  <a:lnTo>
                    <a:pt x="23" y="327"/>
                  </a:lnTo>
                  <a:lnTo>
                    <a:pt x="23" y="330"/>
                  </a:lnTo>
                  <a:lnTo>
                    <a:pt x="24" y="333"/>
                  </a:lnTo>
                  <a:lnTo>
                    <a:pt x="23" y="336"/>
                  </a:lnTo>
                  <a:lnTo>
                    <a:pt x="21" y="333"/>
                  </a:lnTo>
                  <a:lnTo>
                    <a:pt x="18" y="330"/>
                  </a:lnTo>
                  <a:lnTo>
                    <a:pt x="16" y="327"/>
                  </a:lnTo>
                  <a:lnTo>
                    <a:pt x="13" y="324"/>
                  </a:lnTo>
                  <a:lnTo>
                    <a:pt x="10" y="321"/>
                  </a:lnTo>
                  <a:lnTo>
                    <a:pt x="5" y="311"/>
                  </a:lnTo>
                  <a:lnTo>
                    <a:pt x="0" y="30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6" name="Freeform 49"/>
            <p:cNvSpPr>
              <a:spLocks/>
            </p:cNvSpPr>
            <p:nvPr/>
          </p:nvSpPr>
          <p:spPr bwMode="auto">
            <a:xfrm>
              <a:off x="8488026" y="3955640"/>
              <a:ext cx="39701" cy="115086"/>
            </a:xfrm>
            <a:custGeom>
              <a:avLst/>
              <a:gdLst>
                <a:gd name="T0" fmla="*/ 1 w 53"/>
                <a:gd name="T1" fmla="*/ 78 h 137"/>
                <a:gd name="T2" fmla="*/ 1 w 53"/>
                <a:gd name="T3" fmla="*/ 83 h 137"/>
                <a:gd name="T4" fmla="*/ 1 w 53"/>
                <a:gd name="T5" fmla="*/ 91 h 137"/>
                <a:gd name="T6" fmla="*/ 6 w 53"/>
                <a:gd name="T7" fmla="*/ 97 h 137"/>
                <a:gd name="T8" fmla="*/ 7 w 53"/>
                <a:gd name="T9" fmla="*/ 102 h 137"/>
                <a:gd name="T10" fmla="*/ 11 w 53"/>
                <a:gd name="T11" fmla="*/ 107 h 137"/>
                <a:gd name="T12" fmla="*/ 14 w 53"/>
                <a:gd name="T13" fmla="*/ 113 h 137"/>
                <a:gd name="T14" fmla="*/ 19 w 53"/>
                <a:gd name="T15" fmla="*/ 116 h 137"/>
                <a:gd name="T16" fmla="*/ 25 w 53"/>
                <a:gd name="T17" fmla="*/ 121 h 137"/>
                <a:gd name="T18" fmla="*/ 30 w 53"/>
                <a:gd name="T19" fmla="*/ 129 h 137"/>
                <a:gd name="T20" fmla="*/ 31 w 53"/>
                <a:gd name="T21" fmla="*/ 135 h 137"/>
                <a:gd name="T22" fmla="*/ 38 w 53"/>
                <a:gd name="T23" fmla="*/ 134 h 137"/>
                <a:gd name="T24" fmla="*/ 36 w 53"/>
                <a:gd name="T25" fmla="*/ 127 h 137"/>
                <a:gd name="T26" fmla="*/ 36 w 53"/>
                <a:gd name="T27" fmla="*/ 123 h 137"/>
                <a:gd name="T28" fmla="*/ 36 w 53"/>
                <a:gd name="T29" fmla="*/ 115 h 137"/>
                <a:gd name="T30" fmla="*/ 38 w 53"/>
                <a:gd name="T31" fmla="*/ 108 h 137"/>
                <a:gd name="T32" fmla="*/ 42 w 53"/>
                <a:gd name="T33" fmla="*/ 103 h 137"/>
                <a:gd name="T34" fmla="*/ 46 w 53"/>
                <a:gd name="T35" fmla="*/ 97 h 137"/>
                <a:gd name="T36" fmla="*/ 47 w 53"/>
                <a:gd name="T37" fmla="*/ 89 h 137"/>
                <a:gd name="T38" fmla="*/ 47 w 53"/>
                <a:gd name="T39" fmla="*/ 83 h 137"/>
                <a:gd name="T40" fmla="*/ 49 w 53"/>
                <a:gd name="T41" fmla="*/ 77 h 137"/>
                <a:gd name="T42" fmla="*/ 49 w 53"/>
                <a:gd name="T43" fmla="*/ 59 h 137"/>
                <a:gd name="T44" fmla="*/ 49 w 53"/>
                <a:gd name="T45" fmla="*/ 53 h 137"/>
                <a:gd name="T46" fmla="*/ 49 w 53"/>
                <a:gd name="T47" fmla="*/ 46 h 137"/>
                <a:gd name="T48" fmla="*/ 52 w 53"/>
                <a:gd name="T49" fmla="*/ 42 h 137"/>
                <a:gd name="T50" fmla="*/ 52 w 53"/>
                <a:gd name="T51" fmla="*/ 34 h 137"/>
                <a:gd name="T52" fmla="*/ 50 w 53"/>
                <a:gd name="T53" fmla="*/ 27 h 137"/>
                <a:gd name="T54" fmla="*/ 49 w 53"/>
                <a:gd name="T55" fmla="*/ 19 h 137"/>
                <a:gd name="T56" fmla="*/ 53 w 53"/>
                <a:gd name="T57" fmla="*/ 13 h 137"/>
                <a:gd name="T58" fmla="*/ 47 w 53"/>
                <a:gd name="T59" fmla="*/ 8 h 137"/>
                <a:gd name="T60" fmla="*/ 42 w 53"/>
                <a:gd name="T61" fmla="*/ 5 h 137"/>
                <a:gd name="T62" fmla="*/ 39 w 53"/>
                <a:gd name="T63" fmla="*/ 2 h 137"/>
                <a:gd name="T64" fmla="*/ 31 w 53"/>
                <a:gd name="T65" fmla="*/ 5 h 137"/>
                <a:gd name="T66" fmla="*/ 28 w 53"/>
                <a:gd name="T67" fmla="*/ 8 h 137"/>
                <a:gd name="T68" fmla="*/ 20 w 53"/>
                <a:gd name="T69" fmla="*/ 12 h 137"/>
                <a:gd name="T70" fmla="*/ 19 w 53"/>
                <a:gd name="T71" fmla="*/ 15 h 137"/>
                <a:gd name="T72" fmla="*/ 17 w 53"/>
                <a:gd name="T73" fmla="*/ 19 h 137"/>
                <a:gd name="T74" fmla="*/ 17 w 53"/>
                <a:gd name="T75" fmla="*/ 23 h 137"/>
                <a:gd name="T76" fmla="*/ 12 w 53"/>
                <a:gd name="T77" fmla="*/ 29 h 137"/>
                <a:gd name="T78" fmla="*/ 7 w 53"/>
                <a:gd name="T79" fmla="*/ 42 h 137"/>
                <a:gd name="T80" fmla="*/ 1 w 53"/>
                <a:gd name="T81" fmla="*/ 62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3" h="137">
                  <a:moveTo>
                    <a:pt x="0" y="73"/>
                  </a:moveTo>
                  <a:lnTo>
                    <a:pt x="1" y="78"/>
                  </a:lnTo>
                  <a:lnTo>
                    <a:pt x="1" y="81"/>
                  </a:lnTo>
                  <a:lnTo>
                    <a:pt x="1" y="83"/>
                  </a:lnTo>
                  <a:lnTo>
                    <a:pt x="1" y="88"/>
                  </a:lnTo>
                  <a:lnTo>
                    <a:pt x="1" y="91"/>
                  </a:lnTo>
                  <a:lnTo>
                    <a:pt x="6" y="94"/>
                  </a:lnTo>
                  <a:lnTo>
                    <a:pt x="6" y="97"/>
                  </a:lnTo>
                  <a:lnTo>
                    <a:pt x="6" y="99"/>
                  </a:lnTo>
                  <a:lnTo>
                    <a:pt x="7" y="102"/>
                  </a:lnTo>
                  <a:lnTo>
                    <a:pt x="9" y="105"/>
                  </a:lnTo>
                  <a:lnTo>
                    <a:pt x="11" y="107"/>
                  </a:lnTo>
                  <a:lnTo>
                    <a:pt x="11" y="110"/>
                  </a:lnTo>
                  <a:lnTo>
                    <a:pt x="14" y="113"/>
                  </a:lnTo>
                  <a:lnTo>
                    <a:pt x="15" y="115"/>
                  </a:lnTo>
                  <a:lnTo>
                    <a:pt x="19" y="116"/>
                  </a:lnTo>
                  <a:lnTo>
                    <a:pt x="22" y="118"/>
                  </a:lnTo>
                  <a:lnTo>
                    <a:pt x="25" y="121"/>
                  </a:lnTo>
                  <a:lnTo>
                    <a:pt x="28" y="124"/>
                  </a:lnTo>
                  <a:lnTo>
                    <a:pt x="30" y="129"/>
                  </a:lnTo>
                  <a:lnTo>
                    <a:pt x="30" y="132"/>
                  </a:lnTo>
                  <a:lnTo>
                    <a:pt x="31" y="135"/>
                  </a:lnTo>
                  <a:lnTo>
                    <a:pt x="34" y="137"/>
                  </a:lnTo>
                  <a:lnTo>
                    <a:pt x="38" y="134"/>
                  </a:lnTo>
                  <a:lnTo>
                    <a:pt x="38" y="130"/>
                  </a:lnTo>
                  <a:lnTo>
                    <a:pt x="36" y="127"/>
                  </a:lnTo>
                  <a:lnTo>
                    <a:pt x="36" y="126"/>
                  </a:lnTo>
                  <a:lnTo>
                    <a:pt x="36" y="123"/>
                  </a:lnTo>
                  <a:lnTo>
                    <a:pt x="36" y="119"/>
                  </a:lnTo>
                  <a:lnTo>
                    <a:pt x="36" y="115"/>
                  </a:lnTo>
                  <a:lnTo>
                    <a:pt x="38" y="111"/>
                  </a:lnTo>
                  <a:lnTo>
                    <a:pt x="38" y="108"/>
                  </a:lnTo>
                  <a:lnTo>
                    <a:pt x="42" y="105"/>
                  </a:lnTo>
                  <a:lnTo>
                    <a:pt x="42" y="103"/>
                  </a:lnTo>
                  <a:lnTo>
                    <a:pt x="44" y="100"/>
                  </a:lnTo>
                  <a:lnTo>
                    <a:pt x="46" y="97"/>
                  </a:lnTo>
                  <a:lnTo>
                    <a:pt x="46" y="92"/>
                  </a:lnTo>
                  <a:lnTo>
                    <a:pt x="47" y="89"/>
                  </a:lnTo>
                  <a:lnTo>
                    <a:pt x="47" y="86"/>
                  </a:lnTo>
                  <a:lnTo>
                    <a:pt x="47" y="83"/>
                  </a:lnTo>
                  <a:lnTo>
                    <a:pt x="49" y="80"/>
                  </a:lnTo>
                  <a:lnTo>
                    <a:pt x="49" y="77"/>
                  </a:lnTo>
                  <a:lnTo>
                    <a:pt x="49" y="69"/>
                  </a:lnTo>
                  <a:lnTo>
                    <a:pt x="49" y="59"/>
                  </a:lnTo>
                  <a:lnTo>
                    <a:pt x="49" y="56"/>
                  </a:lnTo>
                  <a:lnTo>
                    <a:pt x="49" y="53"/>
                  </a:lnTo>
                  <a:lnTo>
                    <a:pt x="49" y="50"/>
                  </a:lnTo>
                  <a:lnTo>
                    <a:pt x="49" y="46"/>
                  </a:lnTo>
                  <a:lnTo>
                    <a:pt x="50" y="43"/>
                  </a:lnTo>
                  <a:lnTo>
                    <a:pt x="52" y="42"/>
                  </a:lnTo>
                  <a:lnTo>
                    <a:pt x="52" y="37"/>
                  </a:lnTo>
                  <a:lnTo>
                    <a:pt x="52" y="34"/>
                  </a:lnTo>
                  <a:lnTo>
                    <a:pt x="53" y="31"/>
                  </a:lnTo>
                  <a:lnTo>
                    <a:pt x="50" y="27"/>
                  </a:lnTo>
                  <a:lnTo>
                    <a:pt x="50" y="23"/>
                  </a:lnTo>
                  <a:lnTo>
                    <a:pt x="49" y="19"/>
                  </a:lnTo>
                  <a:lnTo>
                    <a:pt x="50" y="16"/>
                  </a:lnTo>
                  <a:lnTo>
                    <a:pt x="53" y="13"/>
                  </a:lnTo>
                  <a:lnTo>
                    <a:pt x="50" y="10"/>
                  </a:lnTo>
                  <a:lnTo>
                    <a:pt x="47" y="8"/>
                  </a:lnTo>
                  <a:lnTo>
                    <a:pt x="46" y="7"/>
                  </a:lnTo>
                  <a:lnTo>
                    <a:pt x="42" y="5"/>
                  </a:lnTo>
                  <a:lnTo>
                    <a:pt x="42" y="5"/>
                  </a:lnTo>
                  <a:lnTo>
                    <a:pt x="39" y="2"/>
                  </a:lnTo>
                  <a:lnTo>
                    <a:pt x="34" y="0"/>
                  </a:lnTo>
                  <a:lnTo>
                    <a:pt x="31" y="5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5" y="10"/>
                  </a:lnTo>
                  <a:lnTo>
                    <a:pt x="20" y="12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8"/>
                  </a:lnTo>
                  <a:lnTo>
                    <a:pt x="17" y="19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5" y="26"/>
                  </a:lnTo>
                  <a:lnTo>
                    <a:pt x="12" y="29"/>
                  </a:lnTo>
                  <a:lnTo>
                    <a:pt x="11" y="32"/>
                  </a:lnTo>
                  <a:lnTo>
                    <a:pt x="7" y="42"/>
                  </a:lnTo>
                  <a:lnTo>
                    <a:pt x="4" y="53"/>
                  </a:lnTo>
                  <a:lnTo>
                    <a:pt x="1" y="62"/>
                  </a:lnTo>
                  <a:lnTo>
                    <a:pt x="0" y="7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7" name="Freeform 50"/>
            <p:cNvSpPr>
              <a:spLocks/>
            </p:cNvSpPr>
            <p:nvPr/>
          </p:nvSpPr>
          <p:spPr bwMode="auto">
            <a:xfrm>
              <a:off x="7982221" y="4052108"/>
              <a:ext cx="219084" cy="296176"/>
            </a:xfrm>
            <a:custGeom>
              <a:avLst/>
              <a:gdLst>
                <a:gd name="T0" fmla="*/ 8 w 296"/>
                <a:gd name="T1" fmla="*/ 68 h 350"/>
                <a:gd name="T2" fmla="*/ 11 w 296"/>
                <a:gd name="T3" fmla="*/ 61 h 350"/>
                <a:gd name="T4" fmla="*/ 27 w 296"/>
                <a:gd name="T5" fmla="*/ 44 h 350"/>
                <a:gd name="T6" fmla="*/ 35 w 296"/>
                <a:gd name="T7" fmla="*/ 52 h 350"/>
                <a:gd name="T8" fmla="*/ 54 w 296"/>
                <a:gd name="T9" fmla="*/ 55 h 350"/>
                <a:gd name="T10" fmla="*/ 54 w 296"/>
                <a:gd name="T11" fmla="*/ 36 h 350"/>
                <a:gd name="T12" fmla="*/ 41 w 296"/>
                <a:gd name="T13" fmla="*/ 15 h 350"/>
                <a:gd name="T14" fmla="*/ 47 w 296"/>
                <a:gd name="T15" fmla="*/ 0 h 350"/>
                <a:gd name="T16" fmla="*/ 65 w 296"/>
                <a:gd name="T17" fmla="*/ 11 h 350"/>
                <a:gd name="T18" fmla="*/ 82 w 296"/>
                <a:gd name="T19" fmla="*/ 31 h 350"/>
                <a:gd name="T20" fmla="*/ 95 w 296"/>
                <a:gd name="T21" fmla="*/ 38 h 350"/>
                <a:gd name="T22" fmla="*/ 97 w 296"/>
                <a:gd name="T23" fmla="*/ 58 h 350"/>
                <a:gd name="T24" fmla="*/ 116 w 296"/>
                <a:gd name="T25" fmla="*/ 68 h 350"/>
                <a:gd name="T26" fmla="*/ 136 w 296"/>
                <a:gd name="T27" fmla="*/ 63 h 350"/>
                <a:gd name="T28" fmla="*/ 158 w 296"/>
                <a:gd name="T29" fmla="*/ 77 h 350"/>
                <a:gd name="T30" fmla="*/ 162 w 296"/>
                <a:gd name="T31" fmla="*/ 87 h 350"/>
                <a:gd name="T32" fmla="*/ 174 w 296"/>
                <a:gd name="T33" fmla="*/ 103 h 350"/>
                <a:gd name="T34" fmla="*/ 163 w 296"/>
                <a:gd name="T35" fmla="*/ 117 h 350"/>
                <a:gd name="T36" fmla="*/ 143 w 296"/>
                <a:gd name="T37" fmla="*/ 115 h 350"/>
                <a:gd name="T38" fmla="*/ 141 w 296"/>
                <a:gd name="T39" fmla="*/ 131 h 350"/>
                <a:gd name="T40" fmla="*/ 162 w 296"/>
                <a:gd name="T41" fmla="*/ 144 h 350"/>
                <a:gd name="T42" fmla="*/ 185 w 296"/>
                <a:gd name="T43" fmla="*/ 155 h 350"/>
                <a:gd name="T44" fmla="*/ 193 w 296"/>
                <a:gd name="T45" fmla="*/ 172 h 350"/>
                <a:gd name="T46" fmla="*/ 209 w 296"/>
                <a:gd name="T47" fmla="*/ 187 h 350"/>
                <a:gd name="T48" fmla="*/ 227 w 296"/>
                <a:gd name="T49" fmla="*/ 207 h 350"/>
                <a:gd name="T50" fmla="*/ 244 w 296"/>
                <a:gd name="T51" fmla="*/ 225 h 350"/>
                <a:gd name="T52" fmla="*/ 250 w 296"/>
                <a:gd name="T53" fmla="*/ 239 h 350"/>
                <a:gd name="T54" fmla="*/ 265 w 296"/>
                <a:gd name="T55" fmla="*/ 250 h 350"/>
                <a:gd name="T56" fmla="*/ 276 w 296"/>
                <a:gd name="T57" fmla="*/ 260 h 350"/>
                <a:gd name="T58" fmla="*/ 276 w 296"/>
                <a:gd name="T59" fmla="*/ 274 h 350"/>
                <a:gd name="T60" fmla="*/ 296 w 296"/>
                <a:gd name="T61" fmla="*/ 293 h 350"/>
                <a:gd name="T62" fmla="*/ 292 w 296"/>
                <a:gd name="T63" fmla="*/ 309 h 350"/>
                <a:gd name="T64" fmla="*/ 285 w 296"/>
                <a:gd name="T65" fmla="*/ 325 h 350"/>
                <a:gd name="T66" fmla="*/ 263 w 296"/>
                <a:gd name="T67" fmla="*/ 328 h 350"/>
                <a:gd name="T68" fmla="*/ 252 w 296"/>
                <a:gd name="T69" fmla="*/ 329 h 350"/>
                <a:gd name="T70" fmla="*/ 249 w 296"/>
                <a:gd name="T71" fmla="*/ 345 h 350"/>
                <a:gd name="T72" fmla="*/ 238 w 296"/>
                <a:gd name="T73" fmla="*/ 348 h 350"/>
                <a:gd name="T74" fmla="*/ 227 w 296"/>
                <a:gd name="T75" fmla="*/ 341 h 350"/>
                <a:gd name="T76" fmla="*/ 217 w 296"/>
                <a:gd name="T77" fmla="*/ 331 h 350"/>
                <a:gd name="T78" fmla="*/ 223 w 296"/>
                <a:gd name="T79" fmla="*/ 306 h 350"/>
                <a:gd name="T80" fmla="*/ 219 w 296"/>
                <a:gd name="T81" fmla="*/ 290 h 350"/>
                <a:gd name="T82" fmla="*/ 212 w 296"/>
                <a:gd name="T83" fmla="*/ 272 h 350"/>
                <a:gd name="T84" fmla="*/ 198 w 296"/>
                <a:gd name="T85" fmla="*/ 258 h 350"/>
                <a:gd name="T86" fmla="*/ 185 w 296"/>
                <a:gd name="T87" fmla="*/ 239 h 350"/>
                <a:gd name="T88" fmla="*/ 184 w 296"/>
                <a:gd name="T89" fmla="*/ 212 h 350"/>
                <a:gd name="T90" fmla="*/ 168 w 296"/>
                <a:gd name="T91" fmla="*/ 196 h 350"/>
                <a:gd name="T92" fmla="*/ 152 w 296"/>
                <a:gd name="T93" fmla="*/ 174 h 350"/>
                <a:gd name="T94" fmla="*/ 130 w 296"/>
                <a:gd name="T95" fmla="*/ 166 h 350"/>
                <a:gd name="T96" fmla="*/ 117 w 296"/>
                <a:gd name="T97" fmla="*/ 179 h 350"/>
                <a:gd name="T98" fmla="*/ 103 w 296"/>
                <a:gd name="T99" fmla="*/ 188 h 350"/>
                <a:gd name="T100" fmla="*/ 82 w 296"/>
                <a:gd name="T101" fmla="*/ 176 h 350"/>
                <a:gd name="T102" fmla="*/ 66 w 296"/>
                <a:gd name="T103" fmla="*/ 191 h 350"/>
                <a:gd name="T104" fmla="*/ 54 w 296"/>
                <a:gd name="T105" fmla="*/ 206 h 350"/>
                <a:gd name="T106" fmla="*/ 46 w 296"/>
                <a:gd name="T107" fmla="*/ 193 h 350"/>
                <a:gd name="T108" fmla="*/ 49 w 296"/>
                <a:gd name="T109" fmla="*/ 169 h 350"/>
                <a:gd name="T110" fmla="*/ 49 w 296"/>
                <a:gd name="T111" fmla="*/ 150 h 350"/>
                <a:gd name="T112" fmla="*/ 39 w 296"/>
                <a:gd name="T113" fmla="*/ 119 h 350"/>
                <a:gd name="T114" fmla="*/ 22 w 296"/>
                <a:gd name="T115" fmla="*/ 123 h 350"/>
                <a:gd name="T116" fmla="*/ 17 w 296"/>
                <a:gd name="T117" fmla="*/ 103 h 350"/>
                <a:gd name="T118" fmla="*/ 9 w 296"/>
                <a:gd name="T119" fmla="*/ 87 h 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96" h="350">
                  <a:moveTo>
                    <a:pt x="0" y="87"/>
                  </a:moveTo>
                  <a:lnTo>
                    <a:pt x="0" y="84"/>
                  </a:lnTo>
                  <a:lnTo>
                    <a:pt x="0" y="80"/>
                  </a:lnTo>
                  <a:lnTo>
                    <a:pt x="1" y="77"/>
                  </a:lnTo>
                  <a:lnTo>
                    <a:pt x="1" y="74"/>
                  </a:lnTo>
                  <a:lnTo>
                    <a:pt x="5" y="71"/>
                  </a:lnTo>
                  <a:lnTo>
                    <a:pt x="8" y="68"/>
                  </a:lnTo>
                  <a:lnTo>
                    <a:pt x="11" y="69"/>
                  </a:lnTo>
                  <a:lnTo>
                    <a:pt x="14" y="68"/>
                  </a:lnTo>
                  <a:lnTo>
                    <a:pt x="16" y="68"/>
                  </a:lnTo>
                  <a:lnTo>
                    <a:pt x="16" y="66"/>
                  </a:lnTo>
                  <a:lnTo>
                    <a:pt x="12" y="66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4" y="58"/>
                  </a:lnTo>
                  <a:lnTo>
                    <a:pt x="16" y="55"/>
                  </a:lnTo>
                  <a:lnTo>
                    <a:pt x="16" y="52"/>
                  </a:lnTo>
                  <a:lnTo>
                    <a:pt x="16" y="49"/>
                  </a:lnTo>
                  <a:lnTo>
                    <a:pt x="20" y="49"/>
                  </a:lnTo>
                  <a:lnTo>
                    <a:pt x="24" y="46"/>
                  </a:lnTo>
                  <a:lnTo>
                    <a:pt x="27" y="44"/>
                  </a:lnTo>
                  <a:lnTo>
                    <a:pt x="30" y="39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3" y="41"/>
                  </a:lnTo>
                  <a:lnTo>
                    <a:pt x="33" y="44"/>
                  </a:lnTo>
                  <a:lnTo>
                    <a:pt x="35" y="49"/>
                  </a:lnTo>
                  <a:lnTo>
                    <a:pt x="35" y="52"/>
                  </a:lnTo>
                  <a:lnTo>
                    <a:pt x="36" y="52"/>
                  </a:lnTo>
                  <a:lnTo>
                    <a:pt x="39" y="54"/>
                  </a:lnTo>
                  <a:lnTo>
                    <a:pt x="43" y="52"/>
                  </a:lnTo>
                  <a:lnTo>
                    <a:pt x="46" y="50"/>
                  </a:lnTo>
                  <a:lnTo>
                    <a:pt x="49" y="54"/>
                  </a:lnTo>
                  <a:lnTo>
                    <a:pt x="51" y="54"/>
                  </a:lnTo>
                  <a:lnTo>
                    <a:pt x="54" y="55"/>
                  </a:lnTo>
                  <a:lnTo>
                    <a:pt x="55" y="54"/>
                  </a:lnTo>
                  <a:lnTo>
                    <a:pt x="57" y="52"/>
                  </a:lnTo>
                  <a:lnTo>
                    <a:pt x="54" y="49"/>
                  </a:lnTo>
                  <a:lnTo>
                    <a:pt x="52" y="46"/>
                  </a:lnTo>
                  <a:lnTo>
                    <a:pt x="52" y="44"/>
                  </a:lnTo>
                  <a:lnTo>
                    <a:pt x="52" y="39"/>
                  </a:lnTo>
                  <a:lnTo>
                    <a:pt x="54" y="36"/>
                  </a:lnTo>
                  <a:lnTo>
                    <a:pt x="51" y="33"/>
                  </a:lnTo>
                  <a:lnTo>
                    <a:pt x="51" y="30"/>
                  </a:lnTo>
                  <a:lnTo>
                    <a:pt x="49" y="27"/>
                  </a:lnTo>
                  <a:lnTo>
                    <a:pt x="46" y="23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1" y="15"/>
                  </a:lnTo>
                  <a:lnTo>
                    <a:pt x="41" y="12"/>
                  </a:lnTo>
                  <a:lnTo>
                    <a:pt x="41" y="11"/>
                  </a:lnTo>
                  <a:lnTo>
                    <a:pt x="41" y="9"/>
                  </a:lnTo>
                  <a:lnTo>
                    <a:pt x="43" y="6"/>
                  </a:lnTo>
                  <a:lnTo>
                    <a:pt x="43" y="3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9" y="3"/>
                  </a:lnTo>
                  <a:lnTo>
                    <a:pt x="52" y="3"/>
                  </a:lnTo>
                  <a:lnTo>
                    <a:pt x="57" y="1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2" y="8"/>
                  </a:lnTo>
                  <a:lnTo>
                    <a:pt x="65" y="11"/>
                  </a:lnTo>
                  <a:lnTo>
                    <a:pt x="70" y="14"/>
                  </a:lnTo>
                  <a:lnTo>
                    <a:pt x="73" y="17"/>
                  </a:lnTo>
                  <a:lnTo>
                    <a:pt x="74" y="20"/>
                  </a:lnTo>
                  <a:lnTo>
                    <a:pt x="77" y="23"/>
                  </a:lnTo>
                  <a:lnTo>
                    <a:pt x="81" y="25"/>
                  </a:lnTo>
                  <a:lnTo>
                    <a:pt x="82" y="28"/>
                  </a:lnTo>
                  <a:lnTo>
                    <a:pt x="82" y="31"/>
                  </a:lnTo>
                  <a:lnTo>
                    <a:pt x="85" y="34"/>
                  </a:lnTo>
                  <a:lnTo>
                    <a:pt x="87" y="30"/>
                  </a:lnTo>
                  <a:lnTo>
                    <a:pt x="87" y="27"/>
                  </a:lnTo>
                  <a:lnTo>
                    <a:pt x="89" y="30"/>
                  </a:lnTo>
                  <a:lnTo>
                    <a:pt x="92" y="31"/>
                  </a:lnTo>
                  <a:lnTo>
                    <a:pt x="95" y="34"/>
                  </a:lnTo>
                  <a:lnTo>
                    <a:pt x="95" y="38"/>
                  </a:lnTo>
                  <a:lnTo>
                    <a:pt x="93" y="41"/>
                  </a:lnTo>
                  <a:lnTo>
                    <a:pt x="93" y="44"/>
                  </a:lnTo>
                  <a:lnTo>
                    <a:pt x="93" y="47"/>
                  </a:lnTo>
                  <a:lnTo>
                    <a:pt x="93" y="50"/>
                  </a:lnTo>
                  <a:lnTo>
                    <a:pt x="95" y="52"/>
                  </a:lnTo>
                  <a:lnTo>
                    <a:pt x="95" y="54"/>
                  </a:lnTo>
                  <a:lnTo>
                    <a:pt x="97" y="58"/>
                  </a:lnTo>
                  <a:lnTo>
                    <a:pt x="100" y="60"/>
                  </a:lnTo>
                  <a:lnTo>
                    <a:pt x="101" y="61"/>
                  </a:lnTo>
                  <a:lnTo>
                    <a:pt x="103" y="65"/>
                  </a:lnTo>
                  <a:lnTo>
                    <a:pt x="106" y="68"/>
                  </a:lnTo>
                  <a:lnTo>
                    <a:pt x="109" y="68"/>
                  </a:lnTo>
                  <a:lnTo>
                    <a:pt x="112" y="69"/>
                  </a:lnTo>
                  <a:lnTo>
                    <a:pt x="116" y="68"/>
                  </a:lnTo>
                  <a:lnTo>
                    <a:pt x="119" y="71"/>
                  </a:lnTo>
                  <a:lnTo>
                    <a:pt x="123" y="73"/>
                  </a:lnTo>
                  <a:lnTo>
                    <a:pt x="127" y="74"/>
                  </a:lnTo>
                  <a:lnTo>
                    <a:pt x="128" y="71"/>
                  </a:lnTo>
                  <a:lnTo>
                    <a:pt x="128" y="68"/>
                  </a:lnTo>
                  <a:lnTo>
                    <a:pt x="133" y="65"/>
                  </a:lnTo>
                  <a:lnTo>
                    <a:pt x="136" y="63"/>
                  </a:lnTo>
                  <a:lnTo>
                    <a:pt x="139" y="63"/>
                  </a:lnTo>
                  <a:lnTo>
                    <a:pt x="147" y="66"/>
                  </a:lnTo>
                  <a:lnTo>
                    <a:pt x="149" y="69"/>
                  </a:lnTo>
                  <a:lnTo>
                    <a:pt x="152" y="71"/>
                  </a:lnTo>
                  <a:lnTo>
                    <a:pt x="154" y="73"/>
                  </a:lnTo>
                  <a:lnTo>
                    <a:pt x="157" y="74"/>
                  </a:lnTo>
                  <a:lnTo>
                    <a:pt x="158" y="77"/>
                  </a:lnTo>
                  <a:lnTo>
                    <a:pt x="157" y="80"/>
                  </a:lnTo>
                  <a:lnTo>
                    <a:pt x="154" y="80"/>
                  </a:lnTo>
                  <a:lnTo>
                    <a:pt x="154" y="80"/>
                  </a:lnTo>
                  <a:lnTo>
                    <a:pt x="150" y="84"/>
                  </a:lnTo>
                  <a:lnTo>
                    <a:pt x="155" y="85"/>
                  </a:lnTo>
                  <a:lnTo>
                    <a:pt x="158" y="85"/>
                  </a:lnTo>
                  <a:lnTo>
                    <a:pt x="162" y="87"/>
                  </a:lnTo>
                  <a:lnTo>
                    <a:pt x="162" y="90"/>
                  </a:lnTo>
                  <a:lnTo>
                    <a:pt x="163" y="93"/>
                  </a:lnTo>
                  <a:lnTo>
                    <a:pt x="166" y="93"/>
                  </a:lnTo>
                  <a:lnTo>
                    <a:pt x="171" y="93"/>
                  </a:lnTo>
                  <a:lnTo>
                    <a:pt x="173" y="95"/>
                  </a:lnTo>
                  <a:lnTo>
                    <a:pt x="174" y="98"/>
                  </a:lnTo>
                  <a:lnTo>
                    <a:pt x="174" y="103"/>
                  </a:lnTo>
                  <a:lnTo>
                    <a:pt x="174" y="103"/>
                  </a:lnTo>
                  <a:lnTo>
                    <a:pt x="171" y="104"/>
                  </a:lnTo>
                  <a:lnTo>
                    <a:pt x="168" y="107"/>
                  </a:lnTo>
                  <a:lnTo>
                    <a:pt x="171" y="107"/>
                  </a:lnTo>
                  <a:lnTo>
                    <a:pt x="169" y="111"/>
                  </a:lnTo>
                  <a:lnTo>
                    <a:pt x="166" y="114"/>
                  </a:lnTo>
                  <a:lnTo>
                    <a:pt x="163" y="117"/>
                  </a:lnTo>
                  <a:lnTo>
                    <a:pt x="160" y="117"/>
                  </a:lnTo>
                  <a:lnTo>
                    <a:pt x="157" y="115"/>
                  </a:lnTo>
                  <a:lnTo>
                    <a:pt x="154" y="115"/>
                  </a:lnTo>
                  <a:lnTo>
                    <a:pt x="150" y="114"/>
                  </a:lnTo>
                  <a:lnTo>
                    <a:pt x="147" y="115"/>
                  </a:lnTo>
                  <a:lnTo>
                    <a:pt x="143" y="114"/>
                  </a:lnTo>
                  <a:lnTo>
                    <a:pt x="143" y="115"/>
                  </a:lnTo>
                  <a:lnTo>
                    <a:pt x="144" y="117"/>
                  </a:lnTo>
                  <a:lnTo>
                    <a:pt x="147" y="122"/>
                  </a:lnTo>
                  <a:lnTo>
                    <a:pt x="146" y="125"/>
                  </a:lnTo>
                  <a:lnTo>
                    <a:pt x="146" y="126"/>
                  </a:lnTo>
                  <a:lnTo>
                    <a:pt x="146" y="126"/>
                  </a:lnTo>
                  <a:lnTo>
                    <a:pt x="143" y="128"/>
                  </a:lnTo>
                  <a:lnTo>
                    <a:pt x="141" y="131"/>
                  </a:lnTo>
                  <a:lnTo>
                    <a:pt x="144" y="133"/>
                  </a:lnTo>
                  <a:lnTo>
                    <a:pt x="147" y="133"/>
                  </a:lnTo>
                  <a:lnTo>
                    <a:pt x="150" y="134"/>
                  </a:lnTo>
                  <a:lnTo>
                    <a:pt x="154" y="138"/>
                  </a:lnTo>
                  <a:lnTo>
                    <a:pt x="155" y="138"/>
                  </a:lnTo>
                  <a:lnTo>
                    <a:pt x="158" y="141"/>
                  </a:lnTo>
                  <a:lnTo>
                    <a:pt x="162" y="144"/>
                  </a:lnTo>
                  <a:lnTo>
                    <a:pt x="166" y="145"/>
                  </a:lnTo>
                  <a:lnTo>
                    <a:pt x="169" y="149"/>
                  </a:lnTo>
                  <a:lnTo>
                    <a:pt x="173" y="150"/>
                  </a:lnTo>
                  <a:lnTo>
                    <a:pt x="176" y="152"/>
                  </a:lnTo>
                  <a:lnTo>
                    <a:pt x="179" y="152"/>
                  </a:lnTo>
                  <a:lnTo>
                    <a:pt x="184" y="153"/>
                  </a:lnTo>
                  <a:lnTo>
                    <a:pt x="185" y="155"/>
                  </a:lnTo>
                  <a:lnTo>
                    <a:pt x="189" y="155"/>
                  </a:lnTo>
                  <a:lnTo>
                    <a:pt x="190" y="158"/>
                  </a:lnTo>
                  <a:lnTo>
                    <a:pt x="189" y="161"/>
                  </a:lnTo>
                  <a:lnTo>
                    <a:pt x="189" y="165"/>
                  </a:lnTo>
                  <a:lnTo>
                    <a:pt x="190" y="168"/>
                  </a:lnTo>
                  <a:lnTo>
                    <a:pt x="192" y="169"/>
                  </a:lnTo>
                  <a:lnTo>
                    <a:pt x="193" y="172"/>
                  </a:lnTo>
                  <a:lnTo>
                    <a:pt x="198" y="174"/>
                  </a:lnTo>
                  <a:lnTo>
                    <a:pt x="200" y="177"/>
                  </a:lnTo>
                  <a:lnTo>
                    <a:pt x="201" y="176"/>
                  </a:lnTo>
                  <a:lnTo>
                    <a:pt x="204" y="177"/>
                  </a:lnTo>
                  <a:lnTo>
                    <a:pt x="208" y="180"/>
                  </a:lnTo>
                  <a:lnTo>
                    <a:pt x="209" y="184"/>
                  </a:lnTo>
                  <a:lnTo>
                    <a:pt x="209" y="187"/>
                  </a:lnTo>
                  <a:lnTo>
                    <a:pt x="212" y="190"/>
                  </a:lnTo>
                  <a:lnTo>
                    <a:pt x="214" y="193"/>
                  </a:lnTo>
                  <a:lnTo>
                    <a:pt x="215" y="198"/>
                  </a:lnTo>
                  <a:lnTo>
                    <a:pt x="217" y="198"/>
                  </a:lnTo>
                  <a:lnTo>
                    <a:pt x="220" y="199"/>
                  </a:lnTo>
                  <a:lnTo>
                    <a:pt x="223" y="203"/>
                  </a:lnTo>
                  <a:lnTo>
                    <a:pt x="227" y="207"/>
                  </a:lnTo>
                  <a:lnTo>
                    <a:pt x="230" y="211"/>
                  </a:lnTo>
                  <a:lnTo>
                    <a:pt x="233" y="214"/>
                  </a:lnTo>
                  <a:lnTo>
                    <a:pt x="235" y="214"/>
                  </a:lnTo>
                  <a:lnTo>
                    <a:pt x="238" y="214"/>
                  </a:lnTo>
                  <a:lnTo>
                    <a:pt x="239" y="217"/>
                  </a:lnTo>
                  <a:lnTo>
                    <a:pt x="242" y="220"/>
                  </a:lnTo>
                  <a:lnTo>
                    <a:pt x="244" y="225"/>
                  </a:lnTo>
                  <a:lnTo>
                    <a:pt x="244" y="225"/>
                  </a:lnTo>
                  <a:lnTo>
                    <a:pt x="249" y="226"/>
                  </a:lnTo>
                  <a:lnTo>
                    <a:pt x="249" y="230"/>
                  </a:lnTo>
                  <a:lnTo>
                    <a:pt x="249" y="230"/>
                  </a:lnTo>
                  <a:lnTo>
                    <a:pt x="249" y="233"/>
                  </a:lnTo>
                  <a:lnTo>
                    <a:pt x="249" y="236"/>
                  </a:lnTo>
                  <a:lnTo>
                    <a:pt x="250" y="239"/>
                  </a:lnTo>
                  <a:lnTo>
                    <a:pt x="250" y="239"/>
                  </a:lnTo>
                  <a:lnTo>
                    <a:pt x="254" y="244"/>
                  </a:lnTo>
                  <a:lnTo>
                    <a:pt x="255" y="247"/>
                  </a:lnTo>
                  <a:lnTo>
                    <a:pt x="258" y="247"/>
                  </a:lnTo>
                  <a:lnTo>
                    <a:pt x="260" y="245"/>
                  </a:lnTo>
                  <a:lnTo>
                    <a:pt x="263" y="247"/>
                  </a:lnTo>
                  <a:lnTo>
                    <a:pt x="265" y="250"/>
                  </a:lnTo>
                  <a:lnTo>
                    <a:pt x="268" y="253"/>
                  </a:lnTo>
                  <a:lnTo>
                    <a:pt x="268" y="253"/>
                  </a:lnTo>
                  <a:lnTo>
                    <a:pt x="269" y="253"/>
                  </a:lnTo>
                  <a:lnTo>
                    <a:pt x="271" y="253"/>
                  </a:lnTo>
                  <a:lnTo>
                    <a:pt x="273" y="256"/>
                  </a:lnTo>
                  <a:lnTo>
                    <a:pt x="274" y="258"/>
                  </a:lnTo>
                  <a:lnTo>
                    <a:pt x="276" y="260"/>
                  </a:lnTo>
                  <a:lnTo>
                    <a:pt x="279" y="261"/>
                  </a:lnTo>
                  <a:lnTo>
                    <a:pt x="282" y="263"/>
                  </a:lnTo>
                  <a:lnTo>
                    <a:pt x="285" y="264"/>
                  </a:lnTo>
                  <a:lnTo>
                    <a:pt x="285" y="266"/>
                  </a:lnTo>
                  <a:lnTo>
                    <a:pt x="282" y="269"/>
                  </a:lnTo>
                  <a:lnTo>
                    <a:pt x="279" y="271"/>
                  </a:lnTo>
                  <a:lnTo>
                    <a:pt x="276" y="274"/>
                  </a:lnTo>
                  <a:lnTo>
                    <a:pt x="279" y="277"/>
                  </a:lnTo>
                  <a:lnTo>
                    <a:pt x="282" y="282"/>
                  </a:lnTo>
                  <a:lnTo>
                    <a:pt x="285" y="285"/>
                  </a:lnTo>
                  <a:lnTo>
                    <a:pt x="288" y="285"/>
                  </a:lnTo>
                  <a:lnTo>
                    <a:pt x="290" y="290"/>
                  </a:lnTo>
                  <a:lnTo>
                    <a:pt x="293" y="290"/>
                  </a:lnTo>
                  <a:lnTo>
                    <a:pt x="296" y="293"/>
                  </a:lnTo>
                  <a:lnTo>
                    <a:pt x="296" y="296"/>
                  </a:lnTo>
                  <a:lnTo>
                    <a:pt x="296" y="298"/>
                  </a:lnTo>
                  <a:lnTo>
                    <a:pt x="296" y="298"/>
                  </a:lnTo>
                  <a:lnTo>
                    <a:pt x="296" y="301"/>
                  </a:lnTo>
                  <a:lnTo>
                    <a:pt x="295" y="304"/>
                  </a:lnTo>
                  <a:lnTo>
                    <a:pt x="292" y="306"/>
                  </a:lnTo>
                  <a:lnTo>
                    <a:pt x="292" y="309"/>
                  </a:lnTo>
                  <a:lnTo>
                    <a:pt x="295" y="312"/>
                  </a:lnTo>
                  <a:lnTo>
                    <a:pt x="293" y="315"/>
                  </a:lnTo>
                  <a:lnTo>
                    <a:pt x="295" y="318"/>
                  </a:lnTo>
                  <a:lnTo>
                    <a:pt x="293" y="320"/>
                  </a:lnTo>
                  <a:lnTo>
                    <a:pt x="292" y="325"/>
                  </a:lnTo>
                  <a:lnTo>
                    <a:pt x="288" y="325"/>
                  </a:lnTo>
                  <a:lnTo>
                    <a:pt x="285" y="325"/>
                  </a:lnTo>
                  <a:lnTo>
                    <a:pt x="284" y="328"/>
                  </a:lnTo>
                  <a:lnTo>
                    <a:pt x="279" y="331"/>
                  </a:lnTo>
                  <a:lnTo>
                    <a:pt x="273" y="334"/>
                  </a:lnTo>
                  <a:lnTo>
                    <a:pt x="269" y="333"/>
                  </a:lnTo>
                  <a:lnTo>
                    <a:pt x="266" y="329"/>
                  </a:lnTo>
                  <a:lnTo>
                    <a:pt x="263" y="328"/>
                  </a:lnTo>
                  <a:lnTo>
                    <a:pt x="263" y="328"/>
                  </a:lnTo>
                  <a:lnTo>
                    <a:pt x="261" y="326"/>
                  </a:lnTo>
                  <a:lnTo>
                    <a:pt x="260" y="323"/>
                  </a:lnTo>
                  <a:lnTo>
                    <a:pt x="258" y="323"/>
                  </a:lnTo>
                  <a:lnTo>
                    <a:pt x="258" y="323"/>
                  </a:lnTo>
                  <a:lnTo>
                    <a:pt x="257" y="325"/>
                  </a:lnTo>
                  <a:lnTo>
                    <a:pt x="255" y="328"/>
                  </a:lnTo>
                  <a:lnTo>
                    <a:pt x="252" y="329"/>
                  </a:lnTo>
                  <a:lnTo>
                    <a:pt x="249" y="328"/>
                  </a:lnTo>
                  <a:lnTo>
                    <a:pt x="247" y="333"/>
                  </a:lnTo>
                  <a:lnTo>
                    <a:pt x="244" y="331"/>
                  </a:lnTo>
                  <a:lnTo>
                    <a:pt x="241" y="334"/>
                  </a:lnTo>
                  <a:lnTo>
                    <a:pt x="242" y="337"/>
                  </a:lnTo>
                  <a:lnTo>
                    <a:pt x="246" y="341"/>
                  </a:lnTo>
                  <a:lnTo>
                    <a:pt x="249" y="345"/>
                  </a:lnTo>
                  <a:lnTo>
                    <a:pt x="247" y="347"/>
                  </a:lnTo>
                  <a:lnTo>
                    <a:pt x="244" y="350"/>
                  </a:lnTo>
                  <a:lnTo>
                    <a:pt x="242" y="350"/>
                  </a:lnTo>
                  <a:lnTo>
                    <a:pt x="241" y="350"/>
                  </a:lnTo>
                  <a:lnTo>
                    <a:pt x="241" y="350"/>
                  </a:lnTo>
                  <a:lnTo>
                    <a:pt x="239" y="350"/>
                  </a:lnTo>
                  <a:lnTo>
                    <a:pt x="238" y="348"/>
                  </a:lnTo>
                  <a:lnTo>
                    <a:pt x="236" y="347"/>
                  </a:lnTo>
                  <a:lnTo>
                    <a:pt x="235" y="344"/>
                  </a:lnTo>
                  <a:lnTo>
                    <a:pt x="233" y="344"/>
                  </a:lnTo>
                  <a:lnTo>
                    <a:pt x="233" y="342"/>
                  </a:lnTo>
                  <a:lnTo>
                    <a:pt x="230" y="342"/>
                  </a:lnTo>
                  <a:lnTo>
                    <a:pt x="227" y="341"/>
                  </a:lnTo>
                  <a:lnTo>
                    <a:pt x="227" y="341"/>
                  </a:lnTo>
                  <a:lnTo>
                    <a:pt x="223" y="342"/>
                  </a:lnTo>
                  <a:lnTo>
                    <a:pt x="220" y="342"/>
                  </a:lnTo>
                  <a:lnTo>
                    <a:pt x="215" y="341"/>
                  </a:lnTo>
                  <a:lnTo>
                    <a:pt x="215" y="339"/>
                  </a:lnTo>
                  <a:lnTo>
                    <a:pt x="214" y="336"/>
                  </a:lnTo>
                  <a:lnTo>
                    <a:pt x="212" y="333"/>
                  </a:lnTo>
                  <a:lnTo>
                    <a:pt x="217" y="331"/>
                  </a:lnTo>
                  <a:lnTo>
                    <a:pt x="220" y="329"/>
                  </a:lnTo>
                  <a:lnTo>
                    <a:pt x="222" y="326"/>
                  </a:lnTo>
                  <a:lnTo>
                    <a:pt x="223" y="325"/>
                  </a:lnTo>
                  <a:lnTo>
                    <a:pt x="222" y="320"/>
                  </a:lnTo>
                  <a:lnTo>
                    <a:pt x="222" y="314"/>
                  </a:lnTo>
                  <a:lnTo>
                    <a:pt x="223" y="310"/>
                  </a:lnTo>
                  <a:lnTo>
                    <a:pt x="223" y="306"/>
                  </a:lnTo>
                  <a:lnTo>
                    <a:pt x="222" y="304"/>
                  </a:lnTo>
                  <a:lnTo>
                    <a:pt x="219" y="301"/>
                  </a:lnTo>
                  <a:lnTo>
                    <a:pt x="219" y="299"/>
                  </a:lnTo>
                  <a:lnTo>
                    <a:pt x="220" y="296"/>
                  </a:lnTo>
                  <a:lnTo>
                    <a:pt x="222" y="293"/>
                  </a:lnTo>
                  <a:lnTo>
                    <a:pt x="219" y="293"/>
                  </a:lnTo>
                  <a:lnTo>
                    <a:pt x="219" y="290"/>
                  </a:lnTo>
                  <a:lnTo>
                    <a:pt x="222" y="288"/>
                  </a:lnTo>
                  <a:lnTo>
                    <a:pt x="222" y="285"/>
                  </a:lnTo>
                  <a:lnTo>
                    <a:pt x="222" y="282"/>
                  </a:lnTo>
                  <a:lnTo>
                    <a:pt x="222" y="279"/>
                  </a:lnTo>
                  <a:lnTo>
                    <a:pt x="217" y="276"/>
                  </a:lnTo>
                  <a:lnTo>
                    <a:pt x="215" y="276"/>
                  </a:lnTo>
                  <a:lnTo>
                    <a:pt x="212" y="272"/>
                  </a:lnTo>
                  <a:lnTo>
                    <a:pt x="211" y="269"/>
                  </a:lnTo>
                  <a:lnTo>
                    <a:pt x="212" y="266"/>
                  </a:lnTo>
                  <a:lnTo>
                    <a:pt x="211" y="264"/>
                  </a:lnTo>
                  <a:lnTo>
                    <a:pt x="208" y="263"/>
                  </a:lnTo>
                  <a:lnTo>
                    <a:pt x="203" y="263"/>
                  </a:lnTo>
                  <a:lnTo>
                    <a:pt x="200" y="261"/>
                  </a:lnTo>
                  <a:lnTo>
                    <a:pt x="198" y="258"/>
                  </a:lnTo>
                  <a:lnTo>
                    <a:pt x="196" y="255"/>
                  </a:lnTo>
                  <a:lnTo>
                    <a:pt x="195" y="253"/>
                  </a:lnTo>
                  <a:lnTo>
                    <a:pt x="195" y="253"/>
                  </a:lnTo>
                  <a:lnTo>
                    <a:pt x="192" y="249"/>
                  </a:lnTo>
                  <a:lnTo>
                    <a:pt x="187" y="245"/>
                  </a:lnTo>
                  <a:lnTo>
                    <a:pt x="185" y="242"/>
                  </a:lnTo>
                  <a:lnTo>
                    <a:pt x="185" y="239"/>
                  </a:lnTo>
                  <a:lnTo>
                    <a:pt x="185" y="234"/>
                  </a:lnTo>
                  <a:lnTo>
                    <a:pt x="185" y="231"/>
                  </a:lnTo>
                  <a:lnTo>
                    <a:pt x="184" y="226"/>
                  </a:lnTo>
                  <a:lnTo>
                    <a:pt x="184" y="223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4" y="212"/>
                  </a:lnTo>
                  <a:lnTo>
                    <a:pt x="182" y="207"/>
                  </a:lnTo>
                  <a:lnTo>
                    <a:pt x="179" y="204"/>
                  </a:lnTo>
                  <a:lnTo>
                    <a:pt x="179" y="203"/>
                  </a:lnTo>
                  <a:lnTo>
                    <a:pt x="176" y="201"/>
                  </a:lnTo>
                  <a:lnTo>
                    <a:pt x="173" y="199"/>
                  </a:lnTo>
                  <a:lnTo>
                    <a:pt x="171" y="199"/>
                  </a:lnTo>
                  <a:lnTo>
                    <a:pt x="168" y="196"/>
                  </a:lnTo>
                  <a:lnTo>
                    <a:pt x="166" y="193"/>
                  </a:lnTo>
                  <a:lnTo>
                    <a:pt x="162" y="190"/>
                  </a:lnTo>
                  <a:lnTo>
                    <a:pt x="160" y="187"/>
                  </a:lnTo>
                  <a:lnTo>
                    <a:pt x="158" y="184"/>
                  </a:lnTo>
                  <a:lnTo>
                    <a:pt x="157" y="182"/>
                  </a:lnTo>
                  <a:lnTo>
                    <a:pt x="155" y="179"/>
                  </a:lnTo>
                  <a:lnTo>
                    <a:pt x="152" y="174"/>
                  </a:lnTo>
                  <a:lnTo>
                    <a:pt x="149" y="171"/>
                  </a:lnTo>
                  <a:lnTo>
                    <a:pt x="144" y="171"/>
                  </a:lnTo>
                  <a:lnTo>
                    <a:pt x="139" y="171"/>
                  </a:lnTo>
                  <a:lnTo>
                    <a:pt x="136" y="168"/>
                  </a:lnTo>
                  <a:lnTo>
                    <a:pt x="133" y="166"/>
                  </a:lnTo>
                  <a:lnTo>
                    <a:pt x="130" y="166"/>
                  </a:lnTo>
                  <a:lnTo>
                    <a:pt x="130" y="166"/>
                  </a:lnTo>
                  <a:lnTo>
                    <a:pt x="125" y="166"/>
                  </a:lnTo>
                  <a:lnTo>
                    <a:pt x="122" y="169"/>
                  </a:lnTo>
                  <a:lnTo>
                    <a:pt x="123" y="172"/>
                  </a:lnTo>
                  <a:lnTo>
                    <a:pt x="120" y="174"/>
                  </a:lnTo>
                  <a:lnTo>
                    <a:pt x="120" y="177"/>
                  </a:lnTo>
                  <a:lnTo>
                    <a:pt x="119" y="179"/>
                  </a:lnTo>
                  <a:lnTo>
                    <a:pt x="117" y="179"/>
                  </a:lnTo>
                  <a:lnTo>
                    <a:pt x="119" y="184"/>
                  </a:lnTo>
                  <a:lnTo>
                    <a:pt x="117" y="184"/>
                  </a:lnTo>
                  <a:lnTo>
                    <a:pt x="114" y="184"/>
                  </a:lnTo>
                  <a:lnTo>
                    <a:pt x="111" y="185"/>
                  </a:lnTo>
                  <a:lnTo>
                    <a:pt x="108" y="188"/>
                  </a:lnTo>
                  <a:lnTo>
                    <a:pt x="106" y="188"/>
                  </a:lnTo>
                  <a:lnTo>
                    <a:pt x="103" y="188"/>
                  </a:lnTo>
                  <a:lnTo>
                    <a:pt x="101" y="185"/>
                  </a:lnTo>
                  <a:lnTo>
                    <a:pt x="97" y="185"/>
                  </a:lnTo>
                  <a:lnTo>
                    <a:pt x="93" y="184"/>
                  </a:lnTo>
                  <a:lnTo>
                    <a:pt x="90" y="182"/>
                  </a:lnTo>
                  <a:lnTo>
                    <a:pt x="87" y="177"/>
                  </a:lnTo>
                  <a:lnTo>
                    <a:pt x="84" y="176"/>
                  </a:lnTo>
                  <a:lnTo>
                    <a:pt x="82" y="176"/>
                  </a:lnTo>
                  <a:lnTo>
                    <a:pt x="81" y="176"/>
                  </a:lnTo>
                  <a:lnTo>
                    <a:pt x="79" y="179"/>
                  </a:lnTo>
                  <a:lnTo>
                    <a:pt x="76" y="182"/>
                  </a:lnTo>
                  <a:lnTo>
                    <a:pt x="73" y="182"/>
                  </a:lnTo>
                  <a:lnTo>
                    <a:pt x="71" y="185"/>
                  </a:lnTo>
                  <a:lnTo>
                    <a:pt x="70" y="188"/>
                  </a:lnTo>
                  <a:lnTo>
                    <a:pt x="66" y="191"/>
                  </a:lnTo>
                  <a:lnTo>
                    <a:pt x="65" y="193"/>
                  </a:lnTo>
                  <a:lnTo>
                    <a:pt x="62" y="196"/>
                  </a:lnTo>
                  <a:lnTo>
                    <a:pt x="60" y="196"/>
                  </a:lnTo>
                  <a:lnTo>
                    <a:pt x="57" y="199"/>
                  </a:lnTo>
                  <a:lnTo>
                    <a:pt x="55" y="203"/>
                  </a:lnTo>
                  <a:lnTo>
                    <a:pt x="54" y="204"/>
                  </a:lnTo>
                  <a:lnTo>
                    <a:pt x="54" y="206"/>
                  </a:lnTo>
                  <a:lnTo>
                    <a:pt x="54" y="206"/>
                  </a:lnTo>
                  <a:lnTo>
                    <a:pt x="51" y="204"/>
                  </a:lnTo>
                  <a:lnTo>
                    <a:pt x="49" y="203"/>
                  </a:lnTo>
                  <a:lnTo>
                    <a:pt x="44" y="201"/>
                  </a:lnTo>
                  <a:lnTo>
                    <a:pt x="44" y="201"/>
                  </a:lnTo>
                  <a:lnTo>
                    <a:pt x="46" y="198"/>
                  </a:lnTo>
                  <a:lnTo>
                    <a:pt x="46" y="193"/>
                  </a:lnTo>
                  <a:lnTo>
                    <a:pt x="46" y="190"/>
                  </a:lnTo>
                  <a:lnTo>
                    <a:pt x="47" y="187"/>
                  </a:lnTo>
                  <a:lnTo>
                    <a:pt x="49" y="184"/>
                  </a:lnTo>
                  <a:lnTo>
                    <a:pt x="51" y="180"/>
                  </a:lnTo>
                  <a:lnTo>
                    <a:pt x="51" y="177"/>
                  </a:lnTo>
                  <a:lnTo>
                    <a:pt x="49" y="174"/>
                  </a:lnTo>
                  <a:lnTo>
                    <a:pt x="49" y="169"/>
                  </a:lnTo>
                  <a:lnTo>
                    <a:pt x="46" y="168"/>
                  </a:lnTo>
                  <a:lnTo>
                    <a:pt x="44" y="166"/>
                  </a:lnTo>
                  <a:lnTo>
                    <a:pt x="46" y="163"/>
                  </a:lnTo>
                  <a:lnTo>
                    <a:pt x="49" y="160"/>
                  </a:lnTo>
                  <a:lnTo>
                    <a:pt x="51" y="157"/>
                  </a:lnTo>
                  <a:lnTo>
                    <a:pt x="49" y="153"/>
                  </a:lnTo>
                  <a:lnTo>
                    <a:pt x="49" y="150"/>
                  </a:lnTo>
                  <a:lnTo>
                    <a:pt x="49" y="145"/>
                  </a:lnTo>
                  <a:lnTo>
                    <a:pt x="51" y="142"/>
                  </a:lnTo>
                  <a:lnTo>
                    <a:pt x="47" y="134"/>
                  </a:lnTo>
                  <a:lnTo>
                    <a:pt x="44" y="126"/>
                  </a:lnTo>
                  <a:lnTo>
                    <a:pt x="46" y="123"/>
                  </a:lnTo>
                  <a:lnTo>
                    <a:pt x="43" y="119"/>
                  </a:lnTo>
                  <a:lnTo>
                    <a:pt x="39" y="119"/>
                  </a:lnTo>
                  <a:lnTo>
                    <a:pt x="38" y="119"/>
                  </a:lnTo>
                  <a:lnTo>
                    <a:pt x="35" y="117"/>
                  </a:lnTo>
                  <a:lnTo>
                    <a:pt x="32" y="120"/>
                  </a:lnTo>
                  <a:lnTo>
                    <a:pt x="28" y="123"/>
                  </a:lnTo>
                  <a:lnTo>
                    <a:pt x="25" y="122"/>
                  </a:lnTo>
                  <a:lnTo>
                    <a:pt x="22" y="123"/>
                  </a:lnTo>
                  <a:lnTo>
                    <a:pt x="22" y="123"/>
                  </a:lnTo>
                  <a:lnTo>
                    <a:pt x="17" y="120"/>
                  </a:lnTo>
                  <a:lnTo>
                    <a:pt x="16" y="117"/>
                  </a:lnTo>
                  <a:lnTo>
                    <a:pt x="14" y="112"/>
                  </a:lnTo>
                  <a:lnTo>
                    <a:pt x="14" y="112"/>
                  </a:lnTo>
                  <a:lnTo>
                    <a:pt x="16" y="109"/>
                  </a:lnTo>
                  <a:lnTo>
                    <a:pt x="17" y="106"/>
                  </a:lnTo>
                  <a:lnTo>
                    <a:pt x="17" y="103"/>
                  </a:lnTo>
                  <a:lnTo>
                    <a:pt x="17" y="99"/>
                  </a:lnTo>
                  <a:lnTo>
                    <a:pt x="17" y="95"/>
                  </a:lnTo>
                  <a:lnTo>
                    <a:pt x="16" y="95"/>
                  </a:lnTo>
                  <a:lnTo>
                    <a:pt x="12" y="93"/>
                  </a:lnTo>
                  <a:lnTo>
                    <a:pt x="11" y="90"/>
                  </a:lnTo>
                  <a:lnTo>
                    <a:pt x="9" y="87"/>
                  </a:lnTo>
                  <a:lnTo>
                    <a:pt x="9" y="87"/>
                  </a:lnTo>
                  <a:lnTo>
                    <a:pt x="6" y="85"/>
                  </a:lnTo>
                  <a:lnTo>
                    <a:pt x="3" y="90"/>
                  </a:lnTo>
                  <a:lnTo>
                    <a:pt x="0" y="92"/>
                  </a:lnTo>
                  <a:lnTo>
                    <a:pt x="0" y="87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8" name="Freeform 51"/>
            <p:cNvSpPr>
              <a:spLocks/>
            </p:cNvSpPr>
            <p:nvPr/>
          </p:nvSpPr>
          <p:spPr bwMode="auto">
            <a:xfrm>
              <a:off x="7918996" y="4123191"/>
              <a:ext cx="227906" cy="511113"/>
            </a:xfrm>
            <a:custGeom>
              <a:avLst/>
              <a:gdLst>
                <a:gd name="T0" fmla="*/ 11 w 310"/>
                <a:gd name="T1" fmla="*/ 58 h 604"/>
                <a:gd name="T2" fmla="*/ 20 w 310"/>
                <a:gd name="T3" fmla="*/ 27 h 604"/>
                <a:gd name="T4" fmla="*/ 52 w 310"/>
                <a:gd name="T5" fmla="*/ 20 h 604"/>
                <a:gd name="T6" fmla="*/ 71 w 310"/>
                <a:gd name="T7" fmla="*/ 4 h 604"/>
                <a:gd name="T8" fmla="*/ 96 w 310"/>
                <a:gd name="T9" fmla="*/ 3 h 604"/>
                <a:gd name="T10" fmla="*/ 109 w 310"/>
                <a:gd name="T11" fmla="*/ 39 h 604"/>
                <a:gd name="T12" fmla="*/ 133 w 310"/>
                <a:gd name="T13" fmla="*/ 46 h 604"/>
                <a:gd name="T14" fmla="*/ 131 w 310"/>
                <a:gd name="T15" fmla="*/ 82 h 604"/>
                <a:gd name="T16" fmla="*/ 138 w 310"/>
                <a:gd name="T17" fmla="*/ 120 h 604"/>
                <a:gd name="T18" fmla="*/ 158 w 310"/>
                <a:gd name="T19" fmla="*/ 101 h 604"/>
                <a:gd name="T20" fmla="*/ 190 w 310"/>
                <a:gd name="T21" fmla="*/ 104 h 604"/>
                <a:gd name="T22" fmla="*/ 210 w 310"/>
                <a:gd name="T23" fmla="*/ 88 h 604"/>
                <a:gd name="T24" fmla="*/ 239 w 310"/>
                <a:gd name="T25" fmla="*/ 92 h 604"/>
                <a:gd name="T26" fmla="*/ 271 w 310"/>
                <a:gd name="T27" fmla="*/ 130 h 604"/>
                <a:gd name="T28" fmla="*/ 282 w 310"/>
                <a:gd name="T29" fmla="*/ 169 h 604"/>
                <a:gd name="T30" fmla="*/ 309 w 310"/>
                <a:gd name="T31" fmla="*/ 198 h 604"/>
                <a:gd name="T32" fmla="*/ 310 w 310"/>
                <a:gd name="T33" fmla="*/ 226 h 604"/>
                <a:gd name="T34" fmla="*/ 291 w 310"/>
                <a:gd name="T35" fmla="*/ 250 h 604"/>
                <a:gd name="T36" fmla="*/ 269 w 310"/>
                <a:gd name="T37" fmla="*/ 247 h 604"/>
                <a:gd name="T38" fmla="*/ 234 w 310"/>
                <a:gd name="T39" fmla="*/ 249 h 604"/>
                <a:gd name="T40" fmla="*/ 215 w 310"/>
                <a:gd name="T41" fmla="*/ 266 h 604"/>
                <a:gd name="T42" fmla="*/ 206 w 310"/>
                <a:gd name="T43" fmla="*/ 301 h 604"/>
                <a:gd name="T44" fmla="*/ 218 w 310"/>
                <a:gd name="T45" fmla="*/ 336 h 604"/>
                <a:gd name="T46" fmla="*/ 222 w 310"/>
                <a:gd name="T47" fmla="*/ 349 h 604"/>
                <a:gd name="T48" fmla="*/ 203 w 310"/>
                <a:gd name="T49" fmla="*/ 334 h 604"/>
                <a:gd name="T50" fmla="*/ 187 w 310"/>
                <a:gd name="T51" fmla="*/ 320 h 604"/>
                <a:gd name="T52" fmla="*/ 153 w 310"/>
                <a:gd name="T53" fmla="*/ 318 h 604"/>
                <a:gd name="T54" fmla="*/ 152 w 310"/>
                <a:gd name="T55" fmla="*/ 283 h 604"/>
                <a:gd name="T56" fmla="*/ 120 w 310"/>
                <a:gd name="T57" fmla="*/ 287 h 604"/>
                <a:gd name="T58" fmla="*/ 120 w 310"/>
                <a:gd name="T59" fmla="*/ 328 h 604"/>
                <a:gd name="T60" fmla="*/ 109 w 310"/>
                <a:gd name="T61" fmla="*/ 375 h 604"/>
                <a:gd name="T62" fmla="*/ 99 w 310"/>
                <a:gd name="T63" fmla="*/ 412 h 604"/>
                <a:gd name="T64" fmla="*/ 101 w 310"/>
                <a:gd name="T65" fmla="*/ 445 h 604"/>
                <a:gd name="T66" fmla="*/ 126 w 310"/>
                <a:gd name="T67" fmla="*/ 461 h 604"/>
                <a:gd name="T68" fmla="*/ 149 w 310"/>
                <a:gd name="T69" fmla="*/ 523 h 604"/>
                <a:gd name="T70" fmla="*/ 145 w 310"/>
                <a:gd name="T71" fmla="*/ 521 h 604"/>
                <a:gd name="T72" fmla="*/ 155 w 310"/>
                <a:gd name="T73" fmla="*/ 544 h 604"/>
                <a:gd name="T74" fmla="*/ 191 w 310"/>
                <a:gd name="T75" fmla="*/ 556 h 604"/>
                <a:gd name="T76" fmla="*/ 207 w 310"/>
                <a:gd name="T77" fmla="*/ 594 h 604"/>
                <a:gd name="T78" fmla="*/ 180 w 310"/>
                <a:gd name="T79" fmla="*/ 604 h 604"/>
                <a:gd name="T80" fmla="*/ 166 w 310"/>
                <a:gd name="T81" fmla="*/ 578 h 604"/>
                <a:gd name="T82" fmla="*/ 142 w 310"/>
                <a:gd name="T83" fmla="*/ 561 h 604"/>
                <a:gd name="T84" fmla="*/ 123 w 310"/>
                <a:gd name="T85" fmla="*/ 555 h 604"/>
                <a:gd name="T86" fmla="*/ 112 w 310"/>
                <a:gd name="T87" fmla="*/ 537 h 604"/>
                <a:gd name="T88" fmla="*/ 95 w 310"/>
                <a:gd name="T89" fmla="*/ 507 h 604"/>
                <a:gd name="T90" fmla="*/ 73 w 310"/>
                <a:gd name="T91" fmla="*/ 501 h 604"/>
                <a:gd name="T92" fmla="*/ 71 w 310"/>
                <a:gd name="T93" fmla="*/ 458 h 604"/>
                <a:gd name="T94" fmla="*/ 82 w 310"/>
                <a:gd name="T95" fmla="*/ 417 h 604"/>
                <a:gd name="T96" fmla="*/ 93 w 310"/>
                <a:gd name="T97" fmla="*/ 387 h 604"/>
                <a:gd name="T98" fmla="*/ 111 w 310"/>
                <a:gd name="T99" fmla="*/ 353 h 604"/>
                <a:gd name="T100" fmla="*/ 93 w 310"/>
                <a:gd name="T101" fmla="*/ 315 h 604"/>
                <a:gd name="T102" fmla="*/ 87 w 310"/>
                <a:gd name="T103" fmla="*/ 280 h 604"/>
                <a:gd name="T104" fmla="*/ 61 w 310"/>
                <a:gd name="T105" fmla="*/ 247 h 604"/>
                <a:gd name="T106" fmla="*/ 49 w 310"/>
                <a:gd name="T107" fmla="*/ 211 h 604"/>
                <a:gd name="T108" fmla="*/ 58 w 310"/>
                <a:gd name="T109" fmla="*/ 176 h 604"/>
                <a:gd name="T110" fmla="*/ 50 w 310"/>
                <a:gd name="T111" fmla="*/ 155 h 604"/>
                <a:gd name="T112" fmla="*/ 30 w 310"/>
                <a:gd name="T113" fmla="*/ 123 h 604"/>
                <a:gd name="T114" fmla="*/ 11 w 310"/>
                <a:gd name="T115" fmla="*/ 88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10" h="604">
                  <a:moveTo>
                    <a:pt x="0" y="76"/>
                  </a:moveTo>
                  <a:lnTo>
                    <a:pt x="0" y="76"/>
                  </a:lnTo>
                  <a:lnTo>
                    <a:pt x="3" y="79"/>
                  </a:lnTo>
                  <a:lnTo>
                    <a:pt x="6" y="79"/>
                  </a:lnTo>
                  <a:lnTo>
                    <a:pt x="9" y="77"/>
                  </a:lnTo>
                  <a:lnTo>
                    <a:pt x="14" y="76"/>
                  </a:lnTo>
                  <a:lnTo>
                    <a:pt x="14" y="73"/>
                  </a:lnTo>
                  <a:lnTo>
                    <a:pt x="12" y="69"/>
                  </a:lnTo>
                  <a:lnTo>
                    <a:pt x="11" y="66"/>
                  </a:lnTo>
                  <a:lnTo>
                    <a:pt x="9" y="61"/>
                  </a:lnTo>
                  <a:lnTo>
                    <a:pt x="11" y="58"/>
                  </a:lnTo>
                  <a:lnTo>
                    <a:pt x="12" y="55"/>
                  </a:lnTo>
                  <a:lnTo>
                    <a:pt x="14" y="52"/>
                  </a:lnTo>
                  <a:lnTo>
                    <a:pt x="12" y="50"/>
                  </a:lnTo>
                  <a:lnTo>
                    <a:pt x="12" y="47"/>
                  </a:lnTo>
                  <a:lnTo>
                    <a:pt x="11" y="44"/>
                  </a:lnTo>
                  <a:lnTo>
                    <a:pt x="12" y="39"/>
                  </a:lnTo>
                  <a:lnTo>
                    <a:pt x="12" y="36"/>
                  </a:lnTo>
                  <a:lnTo>
                    <a:pt x="15" y="35"/>
                  </a:lnTo>
                  <a:lnTo>
                    <a:pt x="17" y="30"/>
                  </a:lnTo>
                  <a:lnTo>
                    <a:pt x="17" y="27"/>
                  </a:lnTo>
                  <a:lnTo>
                    <a:pt x="20" y="27"/>
                  </a:lnTo>
                  <a:lnTo>
                    <a:pt x="23" y="30"/>
                  </a:lnTo>
                  <a:lnTo>
                    <a:pt x="27" y="31"/>
                  </a:lnTo>
                  <a:lnTo>
                    <a:pt x="30" y="30"/>
                  </a:lnTo>
                  <a:lnTo>
                    <a:pt x="34" y="31"/>
                  </a:lnTo>
                  <a:lnTo>
                    <a:pt x="38" y="30"/>
                  </a:lnTo>
                  <a:lnTo>
                    <a:pt x="39" y="28"/>
                  </a:lnTo>
                  <a:lnTo>
                    <a:pt x="44" y="25"/>
                  </a:lnTo>
                  <a:lnTo>
                    <a:pt x="49" y="28"/>
                  </a:lnTo>
                  <a:lnTo>
                    <a:pt x="49" y="27"/>
                  </a:lnTo>
                  <a:lnTo>
                    <a:pt x="52" y="23"/>
                  </a:lnTo>
                  <a:lnTo>
                    <a:pt x="52" y="20"/>
                  </a:lnTo>
                  <a:lnTo>
                    <a:pt x="50" y="19"/>
                  </a:lnTo>
                  <a:lnTo>
                    <a:pt x="52" y="14"/>
                  </a:lnTo>
                  <a:lnTo>
                    <a:pt x="53" y="12"/>
                  </a:lnTo>
                  <a:lnTo>
                    <a:pt x="58" y="12"/>
                  </a:lnTo>
                  <a:lnTo>
                    <a:pt x="61" y="15"/>
                  </a:lnTo>
                  <a:lnTo>
                    <a:pt x="65" y="14"/>
                  </a:lnTo>
                  <a:lnTo>
                    <a:pt x="66" y="12"/>
                  </a:lnTo>
                  <a:lnTo>
                    <a:pt x="68" y="8"/>
                  </a:lnTo>
                  <a:lnTo>
                    <a:pt x="66" y="4"/>
                  </a:lnTo>
                  <a:lnTo>
                    <a:pt x="69" y="4"/>
                  </a:lnTo>
                  <a:lnTo>
                    <a:pt x="71" y="4"/>
                  </a:lnTo>
                  <a:lnTo>
                    <a:pt x="74" y="4"/>
                  </a:lnTo>
                  <a:lnTo>
                    <a:pt x="77" y="1"/>
                  </a:lnTo>
                  <a:lnTo>
                    <a:pt x="79" y="0"/>
                  </a:lnTo>
                  <a:lnTo>
                    <a:pt x="82" y="0"/>
                  </a:lnTo>
                  <a:lnTo>
                    <a:pt x="84" y="1"/>
                  </a:lnTo>
                  <a:lnTo>
                    <a:pt x="85" y="3"/>
                  </a:lnTo>
                  <a:lnTo>
                    <a:pt x="87" y="3"/>
                  </a:lnTo>
                  <a:lnTo>
                    <a:pt x="87" y="8"/>
                  </a:lnTo>
                  <a:lnTo>
                    <a:pt x="90" y="6"/>
                  </a:lnTo>
                  <a:lnTo>
                    <a:pt x="93" y="1"/>
                  </a:lnTo>
                  <a:lnTo>
                    <a:pt x="96" y="3"/>
                  </a:lnTo>
                  <a:lnTo>
                    <a:pt x="96" y="3"/>
                  </a:lnTo>
                  <a:lnTo>
                    <a:pt x="98" y="6"/>
                  </a:lnTo>
                  <a:lnTo>
                    <a:pt x="99" y="9"/>
                  </a:lnTo>
                  <a:lnTo>
                    <a:pt x="103" y="11"/>
                  </a:lnTo>
                  <a:lnTo>
                    <a:pt x="104" y="11"/>
                  </a:lnTo>
                  <a:lnTo>
                    <a:pt x="104" y="20"/>
                  </a:lnTo>
                  <a:lnTo>
                    <a:pt x="101" y="28"/>
                  </a:lnTo>
                  <a:lnTo>
                    <a:pt x="101" y="28"/>
                  </a:lnTo>
                  <a:lnTo>
                    <a:pt x="103" y="33"/>
                  </a:lnTo>
                  <a:lnTo>
                    <a:pt x="104" y="36"/>
                  </a:lnTo>
                  <a:lnTo>
                    <a:pt x="109" y="39"/>
                  </a:lnTo>
                  <a:lnTo>
                    <a:pt x="109" y="39"/>
                  </a:lnTo>
                  <a:lnTo>
                    <a:pt x="112" y="38"/>
                  </a:lnTo>
                  <a:lnTo>
                    <a:pt x="115" y="39"/>
                  </a:lnTo>
                  <a:lnTo>
                    <a:pt x="119" y="36"/>
                  </a:lnTo>
                  <a:lnTo>
                    <a:pt x="122" y="33"/>
                  </a:lnTo>
                  <a:lnTo>
                    <a:pt x="125" y="35"/>
                  </a:lnTo>
                  <a:lnTo>
                    <a:pt x="126" y="35"/>
                  </a:lnTo>
                  <a:lnTo>
                    <a:pt x="130" y="35"/>
                  </a:lnTo>
                  <a:lnTo>
                    <a:pt x="133" y="39"/>
                  </a:lnTo>
                  <a:lnTo>
                    <a:pt x="131" y="42"/>
                  </a:lnTo>
                  <a:lnTo>
                    <a:pt x="133" y="46"/>
                  </a:lnTo>
                  <a:lnTo>
                    <a:pt x="133" y="49"/>
                  </a:lnTo>
                  <a:lnTo>
                    <a:pt x="134" y="52"/>
                  </a:lnTo>
                  <a:lnTo>
                    <a:pt x="136" y="55"/>
                  </a:lnTo>
                  <a:lnTo>
                    <a:pt x="138" y="58"/>
                  </a:lnTo>
                  <a:lnTo>
                    <a:pt x="136" y="61"/>
                  </a:lnTo>
                  <a:lnTo>
                    <a:pt x="136" y="66"/>
                  </a:lnTo>
                  <a:lnTo>
                    <a:pt x="136" y="69"/>
                  </a:lnTo>
                  <a:lnTo>
                    <a:pt x="138" y="73"/>
                  </a:lnTo>
                  <a:lnTo>
                    <a:pt x="136" y="76"/>
                  </a:lnTo>
                  <a:lnTo>
                    <a:pt x="133" y="79"/>
                  </a:lnTo>
                  <a:lnTo>
                    <a:pt x="131" y="82"/>
                  </a:lnTo>
                  <a:lnTo>
                    <a:pt x="133" y="84"/>
                  </a:lnTo>
                  <a:lnTo>
                    <a:pt x="136" y="85"/>
                  </a:lnTo>
                  <a:lnTo>
                    <a:pt x="136" y="90"/>
                  </a:lnTo>
                  <a:lnTo>
                    <a:pt x="138" y="93"/>
                  </a:lnTo>
                  <a:lnTo>
                    <a:pt x="138" y="96"/>
                  </a:lnTo>
                  <a:lnTo>
                    <a:pt x="136" y="100"/>
                  </a:lnTo>
                  <a:lnTo>
                    <a:pt x="133" y="109"/>
                  </a:lnTo>
                  <a:lnTo>
                    <a:pt x="131" y="117"/>
                  </a:lnTo>
                  <a:lnTo>
                    <a:pt x="131" y="117"/>
                  </a:lnTo>
                  <a:lnTo>
                    <a:pt x="136" y="119"/>
                  </a:lnTo>
                  <a:lnTo>
                    <a:pt x="138" y="120"/>
                  </a:lnTo>
                  <a:lnTo>
                    <a:pt x="141" y="122"/>
                  </a:lnTo>
                  <a:lnTo>
                    <a:pt x="141" y="122"/>
                  </a:lnTo>
                  <a:lnTo>
                    <a:pt x="141" y="120"/>
                  </a:lnTo>
                  <a:lnTo>
                    <a:pt x="142" y="119"/>
                  </a:lnTo>
                  <a:lnTo>
                    <a:pt x="144" y="115"/>
                  </a:lnTo>
                  <a:lnTo>
                    <a:pt x="147" y="112"/>
                  </a:lnTo>
                  <a:lnTo>
                    <a:pt x="149" y="112"/>
                  </a:lnTo>
                  <a:lnTo>
                    <a:pt x="152" y="109"/>
                  </a:lnTo>
                  <a:lnTo>
                    <a:pt x="153" y="107"/>
                  </a:lnTo>
                  <a:lnTo>
                    <a:pt x="157" y="104"/>
                  </a:lnTo>
                  <a:lnTo>
                    <a:pt x="158" y="101"/>
                  </a:lnTo>
                  <a:lnTo>
                    <a:pt x="160" y="98"/>
                  </a:lnTo>
                  <a:lnTo>
                    <a:pt x="163" y="98"/>
                  </a:lnTo>
                  <a:lnTo>
                    <a:pt x="166" y="95"/>
                  </a:lnTo>
                  <a:lnTo>
                    <a:pt x="168" y="92"/>
                  </a:lnTo>
                  <a:lnTo>
                    <a:pt x="169" y="92"/>
                  </a:lnTo>
                  <a:lnTo>
                    <a:pt x="171" y="92"/>
                  </a:lnTo>
                  <a:lnTo>
                    <a:pt x="174" y="95"/>
                  </a:lnTo>
                  <a:lnTo>
                    <a:pt x="179" y="98"/>
                  </a:lnTo>
                  <a:lnTo>
                    <a:pt x="182" y="100"/>
                  </a:lnTo>
                  <a:lnTo>
                    <a:pt x="188" y="101"/>
                  </a:lnTo>
                  <a:lnTo>
                    <a:pt x="190" y="104"/>
                  </a:lnTo>
                  <a:lnTo>
                    <a:pt x="193" y="104"/>
                  </a:lnTo>
                  <a:lnTo>
                    <a:pt x="195" y="104"/>
                  </a:lnTo>
                  <a:lnTo>
                    <a:pt x="198" y="101"/>
                  </a:lnTo>
                  <a:lnTo>
                    <a:pt x="201" y="100"/>
                  </a:lnTo>
                  <a:lnTo>
                    <a:pt x="204" y="100"/>
                  </a:lnTo>
                  <a:lnTo>
                    <a:pt x="206" y="100"/>
                  </a:lnTo>
                  <a:lnTo>
                    <a:pt x="204" y="95"/>
                  </a:lnTo>
                  <a:lnTo>
                    <a:pt x="206" y="95"/>
                  </a:lnTo>
                  <a:lnTo>
                    <a:pt x="207" y="93"/>
                  </a:lnTo>
                  <a:lnTo>
                    <a:pt x="207" y="90"/>
                  </a:lnTo>
                  <a:lnTo>
                    <a:pt x="210" y="88"/>
                  </a:lnTo>
                  <a:lnTo>
                    <a:pt x="209" y="85"/>
                  </a:lnTo>
                  <a:lnTo>
                    <a:pt x="212" y="82"/>
                  </a:lnTo>
                  <a:lnTo>
                    <a:pt x="217" y="82"/>
                  </a:lnTo>
                  <a:lnTo>
                    <a:pt x="217" y="82"/>
                  </a:lnTo>
                  <a:lnTo>
                    <a:pt x="220" y="82"/>
                  </a:lnTo>
                  <a:lnTo>
                    <a:pt x="223" y="84"/>
                  </a:lnTo>
                  <a:lnTo>
                    <a:pt x="226" y="87"/>
                  </a:lnTo>
                  <a:lnTo>
                    <a:pt x="230" y="87"/>
                  </a:lnTo>
                  <a:lnTo>
                    <a:pt x="234" y="87"/>
                  </a:lnTo>
                  <a:lnTo>
                    <a:pt x="237" y="87"/>
                  </a:lnTo>
                  <a:lnTo>
                    <a:pt x="239" y="92"/>
                  </a:lnTo>
                  <a:lnTo>
                    <a:pt x="244" y="98"/>
                  </a:lnTo>
                  <a:lnTo>
                    <a:pt x="249" y="106"/>
                  </a:lnTo>
                  <a:lnTo>
                    <a:pt x="253" y="109"/>
                  </a:lnTo>
                  <a:lnTo>
                    <a:pt x="255" y="112"/>
                  </a:lnTo>
                  <a:lnTo>
                    <a:pt x="258" y="115"/>
                  </a:lnTo>
                  <a:lnTo>
                    <a:pt x="260" y="115"/>
                  </a:lnTo>
                  <a:lnTo>
                    <a:pt x="263" y="117"/>
                  </a:lnTo>
                  <a:lnTo>
                    <a:pt x="266" y="119"/>
                  </a:lnTo>
                  <a:lnTo>
                    <a:pt x="269" y="123"/>
                  </a:lnTo>
                  <a:lnTo>
                    <a:pt x="271" y="127"/>
                  </a:lnTo>
                  <a:lnTo>
                    <a:pt x="271" y="130"/>
                  </a:lnTo>
                  <a:lnTo>
                    <a:pt x="272" y="134"/>
                  </a:lnTo>
                  <a:lnTo>
                    <a:pt x="271" y="139"/>
                  </a:lnTo>
                  <a:lnTo>
                    <a:pt x="271" y="142"/>
                  </a:lnTo>
                  <a:lnTo>
                    <a:pt x="272" y="147"/>
                  </a:lnTo>
                  <a:lnTo>
                    <a:pt x="272" y="150"/>
                  </a:lnTo>
                  <a:lnTo>
                    <a:pt x="272" y="155"/>
                  </a:lnTo>
                  <a:lnTo>
                    <a:pt x="272" y="158"/>
                  </a:lnTo>
                  <a:lnTo>
                    <a:pt x="274" y="161"/>
                  </a:lnTo>
                  <a:lnTo>
                    <a:pt x="279" y="165"/>
                  </a:lnTo>
                  <a:lnTo>
                    <a:pt x="282" y="169"/>
                  </a:lnTo>
                  <a:lnTo>
                    <a:pt x="282" y="169"/>
                  </a:lnTo>
                  <a:lnTo>
                    <a:pt x="283" y="171"/>
                  </a:lnTo>
                  <a:lnTo>
                    <a:pt x="287" y="177"/>
                  </a:lnTo>
                  <a:lnTo>
                    <a:pt x="288" y="179"/>
                  </a:lnTo>
                  <a:lnTo>
                    <a:pt x="293" y="179"/>
                  </a:lnTo>
                  <a:lnTo>
                    <a:pt x="299" y="182"/>
                  </a:lnTo>
                  <a:lnTo>
                    <a:pt x="298" y="185"/>
                  </a:lnTo>
                  <a:lnTo>
                    <a:pt x="299" y="188"/>
                  </a:lnTo>
                  <a:lnTo>
                    <a:pt x="302" y="192"/>
                  </a:lnTo>
                  <a:lnTo>
                    <a:pt x="304" y="192"/>
                  </a:lnTo>
                  <a:lnTo>
                    <a:pt x="309" y="195"/>
                  </a:lnTo>
                  <a:lnTo>
                    <a:pt x="309" y="198"/>
                  </a:lnTo>
                  <a:lnTo>
                    <a:pt x="309" y="201"/>
                  </a:lnTo>
                  <a:lnTo>
                    <a:pt x="309" y="204"/>
                  </a:lnTo>
                  <a:lnTo>
                    <a:pt x="306" y="206"/>
                  </a:lnTo>
                  <a:lnTo>
                    <a:pt x="306" y="209"/>
                  </a:lnTo>
                  <a:lnTo>
                    <a:pt x="309" y="209"/>
                  </a:lnTo>
                  <a:lnTo>
                    <a:pt x="307" y="212"/>
                  </a:lnTo>
                  <a:lnTo>
                    <a:pt x="306" y="215"/>
                  </a:lnTo>
                  <a:lnTo>
                    <a:pt x="306" y="217"/>
                  </a:lnTo>
                  <a:lnTo>
                    <a:pt x="309" y="220"/>
                  </a:lnTo>
                  <a:lnTo>
                    <a:pt x="310" y="222"/>
                  </a:lnTo>
                  <a:lnTo>
                    <a:pt x="310" y="226"/>
                  </a:lnTo>
                  <a:lnTo>
                    <a:pt x="309" y="230"/>
                  </a:lnTo>
                  <a:lnTo>
                    <a:pt x="309" y="233"/>
                  </a:lnTo>
                  <a:lnTo>
                    <a:pt x="309" y="236"/>
                  </a:lnTo>
                  <a:lnTo>
                    <a:pt x="310" y="239"/>
                  </a:lnTo>
                  <a:lnTo>
                    <a:pt x="309" y="244"/>
                  </a:lnTo>
                  <a:lnTo>
                    <a:pt x="306" y="247"/>
                  </a:lnTo>
                  <a:lnTo>
                    <a:pt x="301" y="249"/>
                  </a:lnTo>
                  <a:lnTo>
                    <a:pt x="299" y="249"/>
                  </a:lnTo>
                  <a:lnTo>
                    <a:pt x="298" y="252"/>
                  </a:lnTo>
                  <a:lnTo>
                    <a:pt x="295" y="253"/>
                  </a:lnTo>
                  <a:lnTo>
                    <a:pt x="291" y="250"/>
                  </a:lnTo>
                  <a:lnTo>
                    <a:pt x="291" y="250"/>
                  </a:lnTo>
                  <a:lnTo>
                    <a:pt x="291" y="247"/>
                  </a:lnTo>
                  <a:lnTo>
                    <a:pt x="291" y="247"/>
                  </a:lnTo>
                  <a:lnTo>
                    <a:pt x="288" y="247"/>
                  </a:lnTo>
                  <a:lnTo>
                    <a:pt x="287" y="245"/>
                  </a:lnTo>
                  <a:lnTo>
                    <a:pt x="285" y="245"/>
                  </a:lnTo>
                  <a:lnTo>
                    <a:pt x="282" y="245"/>
                  </a:lnTo>
                  <a:lnTo>
                    <a:pt x="279" y="245"/>
                  </a:lnTo>
                  <a:lnTo>
                    <a:pt x="276" y="249"/>
                  </a:lnTo>
                  <a:lnTo>
                    <a:pt x="272" y="249"/>
                  </a:lnTo>
                  <a:lnTo>
                    <a:pt x="269" y="247"/>
                  </a:lnTo>
                  <a:lnTo>
                    <a:pt x="266" y="247"/>
                  </a:lnTo>
                  <a:lnTo>
                    <a:pt x="263" y="247"/>
                  </a:lnTo>
                  <a:lnTo>
                    <a:pt x="261" y="249"/>
                  </a:lnTo>
                  <a:lnTo>
                    <a:pt x="258" y="249"/>
                  </a:lnTo>
                  <a:lnTo>
                    <a:pt x="255" y="249"/>
                  </a:lnTo>
                  <a:lnTo>
                    <a:pt x="252" y="249"/>
                  </a:lnTo>
                  <a:lnTo>
                    <a:pt x="249" y="249"/>
                  </a:lnTo>
                  <a:lnTo>
                    <a:pt x="245" y="245"/>
                  </a:lnTo>
                  <a:lnTo>
                    <a:pt x="242" y="245"/>
                  </a:lnTo>
                  <a:lnTo>
                    <a:pt x="237" y="247"/>
                  </a:lnTo>
                  <a:lnTo>
                    <a:pt x="234" y="249"/>
                  </a:lnTo>
                  <a:lnTo>
                    <a:pt x="231" y="249"/>
                  </a:lnTo>
                  <a:lnTo>
                    <a:pt x="230" y="250"/>
                  </a:lnTo>
                  <a:lnTo>
                    <a:pt x="228" y="250"/>
                  </a:lnTo>
                  <a:lnTo>
                    <a:pt x="226" y="250"/>
                  </a:lnTo>
                  <a:lnTo>
                    <a:pt x="222" y="253"/>
                  </a:lnTo>
                  <a:lnTo>
                    <a:pt x="218" y="257"/>
                  </a:lnTo>
                  <a:lnTo>
                    <a:pt x="218" y="258"/>
                  </a:lnTo>
                  <a:lnTo>
                    <a:pt x="218" y="261"/>
                  </a:lnTo>
                  <a:lnTo>
                    <a:pt x="218" y="261"/>
                  </a:lnTo>
                  <a:lnTo>
                    <a:pt x="218" y="263"/>
                  </a:lnTo>
                  <a:lnTo>
                    <a:pt x="215" y="266"/>
                  </a:lnTo>
                  <a:lnTo>
                    <a:pt x="214" y="269"/>
                  </a:lnTo>
                  <a:lnTo>
                    <a:pt x="214" y="271"/>
                  </a:lnTo>
                  <a:lnTo>
                    <a:pt x="210" y="274"/>
                  </a:lnTo>
                  <a:lnTo>
                    <a:pt x="207" y="277"/>
                  </a:lnTo>
                  <a:lnTo>
                    <a:pt x="207" y="277"/>
                  </a:lnTo>
                  <a:lnTo>
                    <a:pt x="207" y="280"/>
                  </a:lnTo>
                  <a:lnTo>
                    <a:pt x="204" y="282"/>
                  </a:lnTo>
                  <a:lnTo>
                    <a:pt x="199" y="282"/>
                  </a:lnTo>
                  <a:lnTo>
                    <a:pt x="201" y="288"/>
                  </a:lnTo>
                  <a:lnTo>
                    <a:pt x="203" y="298"/>
                  </a:lnTo>
                  <a:lnTo>
                    <a:pt x="206" y="301"/>
                  </a:lnTo>
                  <a:lnTo>
                    <a:pt x="207" y="304"/>
                  </a:lnTo>
                  <a:lnTo>
                    <a:pt x="207" y="307"/>
                  </a:lnTo>
                  <a:lnTo>
                    <a:pt x="209" y="310"/>
                  </a:lnTo>
                  <a:lnTo>
                    <a:pt x="209" y="314"/>
                  </a:lnTo>
                  <a:lnTo>
                    <a:pt x="209" y="315"/>
                  </a:lnTo>
                  <a:lnTo>
                    <a:pt x="210" y="318"/>
                  </a:lnTo>
                  <a:lnTo>
                    <a:pt x="215" y="322"/>
                  </a:lnTo>
                  <a:lnTo>
                    <a:pt x="218" y="325"/>
                  </a:lnTo>
                  <a:lnTo>
                    <a:pt x="220" y="328"/>
                  </a:lnTo>
                  <a:lnTo>
                    <a:pt x="218" y="331"/>
                  </a:lnTo>
                  <a:lnTo>
                    <a:pt x="218" y="336"/>
                  </a:lnTo>
                  <a:lnTo>
                    <a:pt x="220" y="341"/>
                  </a:lnTo>
                  <a:lnTo>
                    <a:pt x="222" y="344"/>
                  </a:lnTo>
                  <a:lnTo>
                    <a:pt x="223" y="347"/>
                  </a:lnTo>
                  <a:lnTo>
                    <a:pt x="225" y="350"/>
                  </a:lnTo>
                  <a:lnTo>
                    <a:pt x="226" y="355"/>
                  </a:lnTo>
                  <a:lnTo>
                    <a:pt x="228" y="356"/>
                  </a:lnTo>
                  <a:lnTo>
                    <a:pt x="228" y="360"/>
                  </a:lnTo>
                  <a:lnTo>
                    <a:pt x="228" y="360"/>
                  </a:lnTo>
                  <a:lnTo>
                    <a:pt x="226" y="355"/>
                  </a:lnTo>
                  <a:lnTo>
                    <a:pt x="225" y="352"/>
                  </a:lnTo>
                  <a:lnTo>
                    <a:pt x="222" y="349"/>
                  </a:lnTo>
                  <a:lnTo>
                    <a:pt x="222" y="345"/>
                  </a:lnTo>
                  <a:lnTo>
                    <a:pt x="218" y="342"/>
                  </a:lnTo>
                  <a:lnTo>
                    <a:pt x="217" y="339"/>
                  </a:lnTo>
                  <a:lnTo>
                    <a:pt x="212" y="337"/>
                  </a:lnTo>
                  <a:lnTo>
                    <a:pt x="214" y="339"/>
                  </a:lnTo>
                  <a:lnTo>
                    <a:pt x="214" y="342"/>
                  </a:lnTo>
                  <a:lnTo>
                    <a:pt x="210" y="339"/>
                  </a:lnTo>
                  <a:lnTo>
                    <a:pt x="207" y="337"/>
                  </a:lnTo>
                  <a:lnTo>
                    <a:pt x="207" y="337"/>
                  </a:lnTo>
                  <a:lnTo>
                    <a:pt x="203" y="337"/>
                  </a:lnTo>
                  <a:lnTo>
                    <a:pt x="203" y="334"/>
                  </a:lnTo>
                  <a:lnTo>
                    <a:pt x="206" y="329"/>
                  </a:lnTo>
                  <a:lnTo>
                    <a:pt x="203" y="331"/>
                  </a:lnTo>
                  <a:lnTo>
                    <a:pt x="199" y="328"/>
                  </a:lnTo>
                  <a:lnTo>
                    <a:pt x="199" y="331"/>
                  </a:lnTo>
                  <a:lnTo>
                    <a:pt x="196" y="328"/>
                  </a:lnTo>
                  <a:lnTo>
                    <a:pt x="195" y="325"/>
                  </a:lnTo>
                  <a:lnTo>
                    <a:pt x="193" y="325"/>
                  </a:lnTo>
                  <a:lnTo>
                    <a:pt x="193" y="323"/>
                  </a:lnTo>
                  <a:lnTo>
                    <a:pt x="190" y="320"/>
                  </a:lnTo>
                  <a:lnTo>
                    <a:pt x="190" y="323"/>
                  </a:lnTo>
                  <a:lnTo>
                    <a:pt x="187" y="320"/>
                  </a:lnTo>
                  <a:lnTo>
                    <a:pt x="184" y="317"/>
                  </a:lnTo>
                  <a:lnTo>
                    <a:pt x="182" y="315"/>
                  </a:lnTo>
                  <a:lnTo>
                    <a:pt x="177" y="318"/>
                  </a:lnTo>
                  <a:lnTo>
                    <a:pt x="174" y="320"/>
                  </a:lnTo>
                  <a:lnTo>
                    <a:pt x="171" y="320"/>
                  </a:lnTo>
                  <a:lnTo>
                    <a:pt x="168" y="320"/>
                  </a:lnTo>
                  <a:lnTo>
                    <a:pt x="164" y="318"/>
                  </a:lnTo>
                  <a:lnTo>
                    <a:pt x="161" y="318"/>
                  </a:lnTo>
                  <a:lnTo>
                    <a:pt x="158" y="317"/>
                  </a:lnTo>
                  <a:lnTo>
                    <a:pt x="155" y="318"/>
                  </a:lnTo>
                  <a:lnTo>
                    <a:pt x="153" y="318"/>
                  </a:lnTo>
                  <a:lnTo>
                    <a:pt x="149" y="315"/>
                  </a:lnTo>
                  <a:lnTo>
                    <a:pt x="152" y="312"/>
                  </a:lnTo>
                  <a:lnTo>
                    <a:pt x="150" y="309"/>
                  </a:lnTo>
                  <a:lnTo>
                    <a:pt x="152" y="306"/>
                  </a:lnTo>
                  <a:lnTo>
                    <a:pt x="150" y="301"/>
                  </a:lnTo>
                  <a:lnTo>
                    <a:pt x="150" y="298"/>
                  </a:lnTo>
                  <a:lnTo>
                    <a:pt x="152" y="296"/>
                  </a:lnTo>
                  <a:lnTo>
                    <a:pt x="150" y="291"/>
                  </a:lnTo>
                  <a:lnTo>
                    <a:pt x="152" y="288"/>
                  </a:lnTo>
                  <a:lnTo>
                    <a:pt x="152" y="285"/>
                  </a:lnTo>
                  <a:lnTo>
                    <a:pt x="152" y="283"/>
                  </a:lnTo>
                  <a:lnTo>
                    <a:pt x="150" y="285"/>
                  </a:lnTo>
                  <a:lnTo>
                    <a:pt x="147" y="285"/>
                  </a:lnTo>
                  <a:lnTo>
                    <a:pt x="142" y="283"/>
                  </a:lnTo>
                  <a:lnTo>
                    <a:pt x="139" y="283"/>
                  </a:lnTo>
                  <a:lnTo>
                    <a:pt x="138" y="280"/>
                  </a:lnTo>
                  <a:lnTo>
                    <a:pt x="136" y="283"/>
                  </a:lnTo>
                  <a:lnTo>
                    <a:pt x="133" y="283"/>
                  </a:lnTo>
                  <a:lnTo>
                    <a:pt x="131" y="285"/>
                  </a:lnTo>
                  <a:lnTo>
                    <a:pt x="130" y="285"/>
                  </a:lnTo>
                  <a:lnTo>
                    <a:pt x="126" y="283"/>
                  </a:lnTo>
                  <a:lnTo>
                    <a:pt x="120" y="287"/>
                  </a:lnTo>
                  <a:lnTo>
                    <a:pt x="115" y="291"/>
                  </a:lnTo>
                  <a:lnTo>
                    <a:pt x="117" y="296"/>
                  </a:lnTo>
                  <a:lnTo>
                    <a:pt x="120" y="298"/>
                  </a:lnTo>
                  <a:lnTo>
                    <a:pt x="122" y="301"/>
                  </a:lnTo>
                  <a:lnTo>
                    <a:pt x="120" y="304"/>
                  </a:lnTo>
                  <a:lnTo>
                    <a:pt x="120" y="309"/>
                  </a:lnTo>
                  <a:lnTo>
                    <a:pt x="119" y="312"/>
                  </a:lnTo>
                  <a:lnTo>
                    <a:pt x="119" y="312"/>
                  </a:lnTo>
                  <a:lnTo>
                    <a:pt x="119" y="315"/>
                  </a:lnTo>
                  <a:lnTo>
                    <a:pt x="119" y="318"/>
                  </a:lnTo>
                  <a:lnTo>
                    <a:pt x="120" y="328"/>
                  </a:lnTo>
                  <a:lnTo>
                    <a:pt x="122" y="334"/>
                  </a:lnTo>
                  <a:lnTo>
                    <a:pt x="120" y="341"/>
                  </a:lnTo>
                  <a:lnTo>
                    <a:pt x="117" y="347"/>
                  </a:lnTo>
                  <a:lnTo>
                    <a:pt x="117" y="352"/>
                  </a:lnTo>
                  <a:lnTo>
                    <a:pt x="115" y="355"/>
                  </a:lnTo>
                  <a:lnTo>
                    <a:pt x="114" y="358"/>
                  </a:lnTo>
                  <a:lnTo>
                    <a:pt x="112" y="361"/>
                  </a:lnTo>
                  <a:lnTo>
                    <a:pt x="111" y="364"/>
                  </a:lnTo>
                  <a:lnTo>
                    <a:pt x="111" y="369"/>
                  </a:lnTo>
                  <a:lnTo>
                    <a:pt x="109" y="372"/>
                  </a:lnTo>
                  <a:lnTo>
                    <a:pt x="109" y="375"/>
                  </a:lnTo>
                  <a:lnTo>
                    <a:pt x="107" y="379"/>
                  </a:lnTo>
                  <a:lnTo>
                    <a:pt x="106" y="382"/>
                  </a:lnTo>
                  <a:lnTo>
                    <a:pt x="107" y="387"/>
                  </a:lnTo>
                  <a:lnTo>
                    <a:pt x="107" y="388"/>
                  </a:lnTo>
                  <a:lnTo>
                    <a:pt x="106" y="391"/>
                  </a:lnTo>
                  <a:lnTo>
                    <a:pt x="104" y="394"/>
                  </a:lnTo>
                  <a:lnTo>
                    <a:pt x="103" y="398"/>
                  </a:lnTo>
                  <a:lnTo>
                    <a:pt x="101" y="402"/>
                  </a:lnTo>
                  <a:lnTo>
                    <a:pt x="99" y="406"/>
                  </a:lnTo>
                  <a:lnTo>
                    <a:pt x="99" y="409"/>
                  </a:lnTo>
                  <a:lnTo>
                    <a:pt x="99" y="412"/>
                  </a:lnTo>
                  <a:lnTo>
                    <a:pt x="96" y="412"/>
                  </a:lnTo>
                  <a:lnTo>
                    <a:pt x="98" y="417"/>
                  </a:lnTo>
                  <a:lnTo>
                    <a:pt x="98" y="420"/>
                  </a:lnTo>
                  <a:lnTo>
                    <a:pt x="98" y="423"/>
                  </a:lnTo>
                  <a:lnTo>
                    <a:pt x="98" y="426"/>
                  </a:lnTo>
                  <a:lnTo>
                    <a:pt x="98" y="428"/>
                  </a:lnTo>
                  <a:lnTo>
                    <a:pt x="98" y="431"/>
                  </a:lnTo>
                  <a:lnTo>
                    <a:pt x="98" y="436"/>
                  </a:lnTo>
                  <a:lnTo>
                    <a:pt x="98" y="437"/>
                  </a:lnTo>
                  <a:lnTo>
                    <a:pt x="99" y="440"/>
                  </a:lnTo>
                  <a:lnTo>
                    <a:pt x="101" y="445"/>
                  </a:lnTo>
                  <a:lnTo>
                    <a:pt x="103" y="448"/>
                  </a:lnTo>
                  <a:lnTo>
                    <a:pt x="104" y="452"/>
                  </a:lnTo>
                  <a:lnTo>
                    <a:pt x="103" y="455"/>
                  </a:lnTo>
                  <a:lnTo>
                    <a:pt x="104" y="460"/>
                  </a:lnTo>
                  <a:lnTo>
                    <a:pt x="107" y="460"/>
                  </a:lnTo>
                  <a:lnTo>
                    <a:pt x="111" y="460"/>
                  </a:lnTo>
                  <a:lnTo>
                    <a:pt x="114" y="456"/>
                  </a:lnTo>
                  <a:lnTo>
                    <a:pt x="119" y="455"/>
                  </a:lnTo>
                  <a:lnTo>
                    <a:pt x="122" y="455"/>
                  </a:lnTo>
                  <a:lnTo>
                    <a:pt x="125" y="458"/>
                  </a:lnTo>
                  <a:lnTo>
                    <a:pt x="126" y="461"/>
                  </a:lnTo>
                  <a:lnTo>
                    <a:pt x="128" y="464"/>
                  </a:lnTo>
                  <a:lnTo>
                    <a:pt x="128" y="472"/>
                  </a:lnTo>
                  <a:lnTo>
                    <a:pt x="130" y="480"/>
                  </a:lnTo>
                  <a:lnTo>
                    <a:pt x="133" y="486"/>
                  </a:lnTo>
                  <a:lnTo>
                    <a:pt x="138" y="493"/>
                  </a:lnTo>
                  <a:lnTo>
                    <a:pt x="139" y="490"/>
                  </a:lnTo>
                  <a:lnTo>
                    <a:pt x="142" y="501"/>
                  </a:lnTo>
                  <a:lnTo>
                    <a:pt x="145" y="512"/>
                  </a:lnTo>
                  <a:lnTo>
                    <a:pt x="147" y="517"/>
                  </a:lnTo>
                  <a:lnTo>
                    <a:pt x="147" y="520"/>
                  </a:lnTo>
                  <a:lnTo>
                    <a:pt x="149" y="523"/>
                  </a:lnTo>
                  <a:lnTo>
                    <a:pt x="149" y="526"/>
                  </a:lnTo>
                  <a:lnTo>
                    <a:pt x="150" y="529"/>
                  </a:lnTo>
                  <a:lnTo>
                    <a:pt x="150" y="534"/>
                  </a:lnTo>
                  <a:lnTo>
                    <a:pt x="153" y="537"/>
                  </a:lnTo>
                  <a:lnTo>
                    <a:pt x="153" y="540"/>
                  </a:lnTo>
                  <a:lnTo>
                    <a:pt x="150" y="539"/>
                  </a:lnTo>
                  <a:lnTo>
                    <a:pt x="150" y="534"/>
                  </a:lnTo>
                  <a:lnTo>
                    <a:pt x="149" y="531"/>
                  </a:lnTo>
                  <a:lnTo>
                    <a:pt x="149" y="528"/>
                  </a:lnTo>
                  <a:lnTo>
                    <a:pt x="145" y="525"/>
                  </a:lnTo>
                  <a:lnTo>
                    <a:pt x="145" y="521"/>
                  </a:lnTo>
                  <a:lnTo>
                    <a:pt x="144" y="518"/>
                  </a:lnTo>
                  <a:lnTo>
                    <a:pt x="141" y="518"/>
                  </a:lnTo>
                  <a:lnTo>
                    <a:pt x="139" y="521"/>
                  </a:lnTo>
                  <a:lnTo>
                    <a:pt x="139" y="525"/>
                  </a:lnTo>
                  <a:lnTo>
                    <a:pt x="141" y="528"/>
                  </a:lnTo>
                  <a:lnTo>
                    <a:pt x="142" y="531"/>
                  </a:lnTo>
                  <a:lnTo>
                    <a:pt x="144" y="534"/>
                  </a:lnTo>
                  <a:lnTo>
                    <a:pt x="149" y="537"/>
                  </a:lnTo>
                  <a:lnTo>
                    <a:pt x="149" y="540"/>
                  </a:lnTo>
                  <a:lnTo>
                    <a:pt x="152" y="544"/>
                  </a:lnTo>
                  <a:lnTo>
                    <a:pt x="155" y="544"/>
                  </a:lnTo>
                  <a:lnTo>
                    <a:pt x="158" y="544"/>
                  </a:lnTo>
                  <a:lnTo>
                    <a:pt x="160" y="547"/>
                  </a:lnTo>
                  <a:lnTo>
                    <a:pt x="163" y="551"/>
                  </a:lnTo>
                  <a:lnTo>
                    <a:pt x="166" y="551"/>
                  </a:lnTo>
                  <a:lnTo>
                    <a:pt x="169" y="555"/>
                  </a:lnTo>
                  <a:lnTo>
                    <a:pt x="174" y="555"/>
                  </a:lnTo>
                  <a:lnTo>
                    <a:pt x="177" y="555"/>
                  </a:lnTo>
                  <a:lnTo>
                    <a:pt x="182" y="553"/>
                  </a:lnTo>
                  <a:lnTo>
                    <a:pt x="184" y="553"/>
                  </a:lnTo>
                  <a:lnTo>
                    <a:pt x="187" y="555"/>
                  </a:lnTo>
                  <a:lnTo>
                    <a:pt x="191" y="556"/>
                  </a:lnTo>
                  <a:lnTo>
                    <a:pt x="193" y="559"/>
                  </a:lnTo>
                  <a:lnTo>
                    <a:pt x="193" y="559"/>
                  </a:lnTo>
                  <a:lnTo>
                    <a:pt x="196" y="564"/>
                  </a:lnTo>
                  <a:lnTo>
                    <a:pt x="203" y="572"/>
                  </a:lnTo>
                  <a:lnTo>
                    <a:pt x="212" y="580"/>
                  </a:lnTo>
                  <a:lnTo>
                    <a:pt x="212" y="582"/>
                  </a:lnTo>
                  <a:lnTo>
                    <a:pt x="212" y="583"/>
                  </a:lnTo>
                  <a:lnTo>
                    <a:pt x="212" y="586"/>
                  </a:lnTo>
                  <a:lnTo>
                    <a:pt x="209" y="590"/>
                  </a:lnTo>
                  <a:lnTo>
                    <a:pt x="207" y="590"/>
                  </a:lnTo>
                  <a:lnTo>
                    <a:pt x="207" y="594"/>
                  </a:lnTo>
                  <a:lnTo>
                    <a:pt x="206" y="597"/>
                  </a:lnTo>
                  <a:lnTo>
                    <a:pt x="206" y="597"/>
                  </a:lnTo>
                  <a:lnTo>
                    <a:pt x="203" y="601"/>
                  </a:lnTo>
                  <a:lnTo>
                    <a:pt x="198" y="601"/>
                  </a:lnTo>
                  <a:lnTo>
                    <a:pt x="196" y="597"/>
                  </a:lnTo>
                  <a:lnTo>
                    <a:pt x="195" y="594"/>
                  </a:lnTo>
                  <a:lnTo>
                    <a:pt x="191" y="596"/>
                  </a:lnTo>
                  <a:lnTo>
                    <a:pt x="190" y="596"/>
                  </a:lnTo>
                  <a:lnTo>
                    <a:pt x="187" y="597"/>
                  </a:lnTo>
                  <a:lnTo>
                    <a:pt x="182" y="601"/>
                  </a:lnTo>
                  <a:lnTo>
                    <a:pt x="180" y="604"/>
                  </a:lnTo>
                  <a:lnTo>
                    <a:pt x="177" y="604"/>
                  </a:lnTo>
                  <a:lnTo>
                    <a:pt x="174" y="601"/>
                  </a:lnTo>
                  <a:lnTo>
                    <a:pt x="172" y="599"/>
                  </a:lnTo>
                  <a:lnTo>
                    <a:pt x="172" y="597"/>
                  </a:lnTo>
                  <a:lnTo>
                    <a:pt x="174" y="594"/>
                  </a:lnTo>
                  <a:lnTo>
                    <a:pt x="177" y="591"/>
                  </a:lnTo>
                  <a:lnTo>
                    <a:pt x="177" y="588"/>
                  </a:lnTo>
                  <a:lnTo>
                    <a:pt x="176" y="585"/>
                  </a:lnTo>
                  <a:lnTo>
                    <a:pt x="174" y="580"/>
                  </a:lnTo>
                  <a:lnTo>
                    <a:pt x="171" y="580"/>
                  </a:lnTo>
                  <a:lnTo>
                    <a:pt x="166" y="578"/>
                  </a:lnTo>
                  <a:lnTo>
                    <a:pt x="168" y="578"/>
                  </a:lnTo>
                  <a:lnTo>
                    <a:pt x="166" y="575"/>
                  </a:lnTo>
                  <a:lnTo>
                    <a:pt x="164" y="572"/>
                  </a:lnTo>
                  <a:lnTo>
                    <a:pt x="161" y="571"/>
                  </a:lnTo>
                  <a:lnTo>
                    <a:pt x="161" y="571"/>
                  </a:lnTo>
                  <a:lnTo>
                    <a:pt x="158" y="572"/>
                  </a:lnTo>
                  <a:lnTo>
                    <a:pt x="153" y="569"/>
                  </a:lnTo>
                  <a:lnTo>
                    <a:pt x="150" y="569"/>
                  </a:lnTo>
                  <a:lnTo>
                    <a:pt x="149" y="567"/>
                  </a:lnTo>
                  <a:lnTo>
                    <a:pt x="145" y="561"/>
                  </a:lnTo>
                  <a:lnTo>
                    <a:pt x="142" y="561"/>
                  </a:lnTo>
                  <a:lnTo>
                    <a:pt x="142" y="563"/>
                  </a:lnTo>
                  <a:lnTo>
                    <a:pt x="142" y="566"/>
                  </a:lnTo>
                  <a:lnTo>
                    <a:pt x="142" y="569"/>
                  </a:lnTo>
                  <a:lnTo>
                    <a:pt x="141" y="572"/>
                  </a:lnTo>
                  <a:lnTo>
                    <a:pt x="139" y="569"/>
                  </a:lnTo>
                  <a:lnTo>
                    <a:pt x="136" y="567"/>
                  </a:lnTo>
                  <a:lnTo>
                    <a:pt x="136" y="567"/>
                  </a:lnTo>
                  <a:lnTo>
                    <a:pt x="134" y="564"/>
                  </a:lnTo>
                  <a:lnTo>
                    <a:pt x="131" y="559"/>
                  </a:lnTo>
                  <a:lnTo>
                    <a:pt x="128" y="556"/>
                  </a:lnTo>
                  <a:lnTo>
                    <a:pt x="123" y="555"/>
                  </a:lnTo>
                  <a:lnTo>
                    <a:pt x="125" y="551"/>
                  </a:lnTo>
                  <a:lnTo>
                    <a:pt x="123" y="548"/>
                  </a:lnTo>
                  <a:lnTo>
                    <a:pt x="125" y="544"/>
                  </a:lnTo>
                  <a:lnTo>
                    <a:pt x="125" y="544"/>
                  </a:lnTo>
                  <a:lnTo>
                    <a:pt x="123" y="545"/>
                  </a:lnTo>
                  <a:lnTo>
                    <a:pt x="120" y="544"/>
                  </a:lnTo>
                  <a:lnTo>
                    <a:pt x="119" y="540"/>
                  </a:lnTo>
                  <a:lnTo>
                    <a:pt x="119" y="537"/>
                  </a:lnTo>
                  <a:lnTo>
                    <a:pt x="117" y="534"/>
                  </a:lnTo>
                  <a:lnTo>
                    <a:pt x="115" y="537"/>
                  </a:lnTo>
                  <a:lnTo>
                    <a:pt x="112" y="537"/>
                  </a:lnTo>
                  <a:lnTo>
                    <a:pt x="111" y="534"/>
                  </a:lnTo>
                  <a:lnTo>
                    <a:pt x="111" y="531"/>
                  </a:lnTo>
                  <a:lnTo>
                    <a:pt x="109" y="526"/>
                  </a:lnTo>
                  <a:lnTo>
                    <a:pt x="107" y="523"/>
                  </a:lnTo>
                  <a:lnTo>
                    <a:pt x="107" y="523"/>
                  </a:lnTo>
                  <a:lnTo>
                    <a:pt x="103" y="520"/>
                  </a:lnTo>
                  <a:lnTo>
                    <a:pt x="99" y="521"/>
                  </a:lnTo>
                  <a:lnTo>
                    <a:pt x="98" y="518"/>
                  </a:lnTo>
                  <a:lnTo>
                    <a:pt x="99" y="513"/>
                  </a:lnTo>
                  <a:lnTo>
                    <a:pt x="96" y="510"/>
                  </a:lnTo>
                  <a:lnTo>
                    <a:pt x="95" y="507"/>
                  </a:lnTo>
                  <a:lnTo>
                    <a:pt x="93" y="507"/>
                  </a:lnTo>
                  <a:lnTo>
                    <a:pt x="90" y="507"/>
                  </a:lnTo>
                  <a:lnTo>
                    <a:pt x="87" y="504"/>
                  </a:lnTo>
                  <a:lnTo>
                    <a:pt x="87" y="501"/>
                  </a:lnTo>
                  <a:lnTo>
                    <a:pt x="85" y="498"/>
                  </a:lnTo>
                  <a:lnTo>
                    <a:pt x="84" y="493"/>
                  </a:lnTo>
                  <a:lnTo>
                    <a:pt x="80" y="494"/>
                  </a:lnTo>
                  <a:lnTo>
                    <a:pt x="77" y="496"/>
                  </a:lnTo>
                  <a:lnTo>
                    <a:pt x="77" y="499"/>
                  </a:lnTo>
                  <a:lnTo>
                    <a:pt x="76" y="502"/>
                  </a:lnTo>
                  <a:lnTo>
                    <a:pt x="73" y="501"/>
                  </a:lnTo>
                  <a:lnTo>
                    <a:pt x="69" y="498"/>
                  </a:lnTo>
                  <a:lnTo>
                    <a:pt x="69" y="494"/>
                  </a:lnTo>
                  <a:lnTo>
                    <a:pt x="68" y="490"/>
                  </a:lnTo>
                  <a:lnTo>
                    <a:pt x="66" y="486"/>
                  </a:lnTo>
                  <a:lnTo>
                    <a:pt x="68" y="483"/>
                  </a:lnTo>
                  <a:lnTo>
                    <a:pt x="68" y="480"/>
                  </a:lnTo>
                  <a:lnTo>
                    <a:pt x="68" y="477"/>
                  </a:lnTo>
                  <a:lnTo>
                    <a:pt x="69" y="472"/>
                  </a:lnTo>
                  <a:lnTo>
                    <a:pt x="69" y="469"/>
                  </a:lnTo>
                  <a:lnTo>
                    <a:pt x="69" y="466"/>
                  </a:lnTo>
                  <a:lnTo>
                    <a:pt x="71" y="458"/>
                  </a:lnTo>
                  <a:lnTo>
                    <a:pt x="73" y="450"/>
                  </a:lnTo>
                  <a:lnTo>
                    <a:pt x="73" y="447"/>
                  </a:lnTo>
                  <a:lnTo>
                    <a:pt x="74" y="444"/>
                  </a:lnTo>
                  <a:lnTo>
                    <a:pt x="76" y="439"/>
                  </a:lnTo>
                  <a:lnTo>
                    <a:pt x="76" y="436"/>
                  </a:lnTo>
                  <a:lnTo>
                    <a:pt x="76" y="433"/>
                  </a:lnTo>
                  <a:lnTo>
                    <a:pt x="79" y="429"/>
                  </a:lnTo>
                  <a:lnTo>
                    <a:pt x="77" y="426"/>
                  </a:lnTo>
                  <a:lnTo>
                    <a:pt x="79" y="423"/>
                  </a:lnTo>
                  <a:lnTo>
                    <a:pt x="80" y="420"/>
                  </a:lnTo>
                  <a:lnTo>
                    <a:pt x="82" y="417"/>
                  </a:lnTo>
                  <a:lnTo>
                    <a:pt x="82" y="414"/>
                  </a:lnTo>
                  <a:lnTo>
                    <a:pt x="82" y="412"/>
                  </a:lnTo>
                  <a:lnTo>
                    <a:pt x="82" y="409"/>
                  </a:lnTo>
                  <a:lnTo>
                    <a:pt x="84" y="406"/>
                  </a:lnTo>
                  <a:lnTo>
                    <a:pt x="82" y="402"/>
                  </a:lnTo>
                  <a:lnTo>
                    <a:pt x="82" y="399"/>
                  </a:lnTo>
                  <a:lnTo>
                    <a:pt x="85" y="394"/>
                  </a:lnTo>
                  <a:lnTo>
                    <a:pt x="85" y="394"/>
                  </a:lnTo>
                  <a:lnTo>
                    <a:pt x="90" y="393"/>
                  </a:lnTo>
                  <a:lnTo>
                    <a:pt x="90" y="390"/>
                  </a:lnTo>
                  <a:lnTo>
                    <a:pt x="93" y="387"/>
                  </a:lnTo>
                  <a:lnTo>
                    <a:pt x="95" y="385"/>
                  </a:lnTo>
                  <a:lnTo>
                    <a:pt x="98" y="382"/>
                  </a:lnTo>
                  <a:lnTo>
                    <a:pt x="98" y="377"/>
                  </a:lnTo>
                  <a:lnTo>
                    <a:pt x="99" y="374"/>
                  </a:lnTo>
                  <a:lnTo>
                    <a:pt x="99" y="374"/>
                  </a:lnTo>
                  <a:lnTo>
                    <a:pt x="103" y="371"/>
                  </a:lnTo>
                  <a:lnTo>
                    <a:pt x="104" y="366"/>
                  </a:lnTo>
                  <a:lnTo>
                    <a:pt x="104" y="363"/>
                  </a:lnTo>
                  <a:lnTo>
                    <a:pt x="107" y="360"/>
                  </a:lnTo>
                  <a:lnTo>
                    <a:pt x="109" y="356"/>
                  </a:lnTo>
                  <a:lnTo>
                    <a:pt x="111" y="353"/>
                  </a:lnTo>
                  <a:lnTo>
                    <a:pt x="107" y="350"/>
                  </a:lnTo>
                  <a:lnTo>
                    <a:pt x="107" y="345"/>
                  </a:lnTo>
                  <a:lnTo>
                    <a:pt x="106" y="342"/>
                  </a:lnTo>
                  <a:lnTo>
                    <a:pt x="106" y="339"/>
                  </a:lnTo>
                  <a:lnTo>
                    <a:pt x="103" y="336"/>
                  </a:lnTo>
                  <a:lnTo>
                    <a:pt x="101" y="331"/>
                  </a:lnTo>
                  <a:lnTo>
                    <a:pt x="101" y="328"/>
                  </a:lnTo>
                  <a:lnTo>
                    <a:pt x="99" y="325"/>
                  </a:lnTo>
                  <a:lnTo>
                    <a:pt x="99" y="322"/>
                  </a:lnTo>
                  <a:lnTo>
                    <a:pt x="96" y="318"/>
                  </a:lnTo>
                  <a:lnTo>
                    <a:pt x="93" y="315"/>
                  </a:lnTo>
                  <a:lnTo>
                    <a:pt x="92" y="312"/>
                  </a:lnTo>
                  <a:lnTo>
                    <a:pt x="90" y="309"/>
                  </a:lnTo>
                  <a:lnTo>
                    <a:pt x="90" y="306"/>
                  </a:lnTo>
                  <a:lnTo>
                    <a:pt x="87" y="301"/>
                  </a:lnTo>
                  <a:lnTo>
                    <a:pt x="87" y="298"/>
                  </a:lnTo>
                  <a:lnTo>
                    <a:pt x="88" y="296"/>
                  </a:lnTo>
                  <a:lnTo>
                    <a:pt x="88" y="293"/>
                  </a:lnTo>
                  <a:lnTo>
                    <a:pt x="88" y="291"/>
                  </a:lnTo>
                  <a:lnTo>
                    <a:pt x="88" y="288"/>
                  </a:lnTo>
                  <a:lnTo>
                    <a:pt x="88" y="285"/>
                  </a:lnTo>
                  <a:lnTo>
                    <a:pt x="87" y="280"/>
                  </a:lnTo>
                  <a:lnTo>
                    <a:pt x="85" y="277"/>
                  </a:lnTo>
                  <a:lnTo>
                    <a:pt x="85" y="274"/>
                  </a:lnTo>
                  <a:lnTo>
                    <a:pt x="84" y="271"/>
                  </a:lnTo>
                  <a:lnTo>
                    <a:pt x="82" y="268"/>
                  </a:lnTo>
                  <a:lnTo>
                    <a:pt x="79" y="264"/>
                  </a:lnTo>
                  <a:lnTo>
                    <a:pt x="77" y="261"/>
                  </a:lnTo>
                  <a:lnTo>
                    <a:pt x="74" y="258"/>
                  </a:lnTo>
                  <a:lnTo>
                    <a:pt x="71" y="255"/>
                  </a:lnTo>
                  <a:lnTo>
                    <a:pt x="68" y="252"/>
                  </a:lnTo>
                  <a:lnTo>
                    <a:pt x="65" y="250"/>
                  </a:lnTo>
                  <a:lnTo>
                    <a:pt x="61" y="247"/>
                  </a:lnTo>
                  <a:lnTo>
                    <a:pt x="60" y="244"/>
                  </a:lnTo>
                  <a:lnTo>
                    <a:pt x="57" y="241"/>
                  </a:lnTo>
                  <a:lnTo>
                    <a:pt x="52" y="233"/>
                  </a:lnTo>
                  <a:lnTo>
                    <a:pt x="49" y="230"/>
                  </a:lnTo>
                  <a:lnTo>
                    <a:pt x="49" y="226"/>
                  </a:lnTo>
                  <a:lnTo>
                    <a:pt x="47" y="223"/>
                  </a:lnTo>
                  <a:lnTo>
                    <a:pt x="47" y="222"/>
                  </a:lnTo>
                  <a:lnTo>
                    <a:pt x="46" y="218"/>
                  </a:lnTo>
                  <a:lnTo>
                    <a:pt x="46" y="215"/>
                  </a:lnTo>
                  <a:lnTo>
                    <a:pt x="46" y="212"/>
                  </a:lnTo>
                  <a:lnTo>
                    <a:pt x="49" y="211"/>
                  </a:lnTo>
                  <a:lnTo>
                    <a:pt x="52" y="212"/>
                  </a:lnTo>
                  <a:lnTo>
                    <a:pt x="52" y="212"/>
                  </a:lnTo>
                  <a:lnTo>
                    <a:pt x="52" y="207"/>
                  </a:lnTo>
                  <a:lnTo>
                    <a:pt x="57" y="207"/>
                  </a:lnTo>
                  <a:lnTo>
                    <a:pt x="58" y="203"/>
                  </a:lnTo>
                  <a:lnTo>
                    <a:pt x="57" y="199"/>
                  </a:lnTo>
                  <a:lnTo>
                    <a:pt x="57" y="196"/>
                  </a:lnTo>
                  <a:lnTo>
                    <a:pt x="57" y="195"/>
                  </a:lnTo>
                  <a:lnTo>
                    <a:pt x="57" y="187"/>
                  </a:lnTo>
                  <a:lnTo>
                    <a:pt x="55" y="179"/>
                  </a:lnTo>
                  <a:lnTo>
                    <a:pt x="58" y="176"/>
                  </a:lnTo>
                  <a:lnTo>
                    <a:pt x="61" y="176"/>
                  </a:lnTo>
                  <a:lnTo>
                    <a:pt x="65" y="172"/>
                  </a:lnTo>
                  <a:lnTo>
                    <a:pt x="66" y="169"/>
                  </a:lnTo>
                  <a:lnTo>
                    <a:pt x="66" y="166"/>
                  </a:lnTo>
                  <a:lnTo>
                    <a:pt x="63" y="163"/>
                  </a:lnTo>
                  <a:lnTo>
                    <a:pt x="61" y="166"/>
                  </a:lnTo>
                  <a:lnTo>
                    <a:pt x="58" y="169"/>
                  </a:lnTo>
                  <a:lnTo>
                    <a:pt x="57" y="166"/>
                  </a:lnTo>
                  <a:lnTo>
                    <a:pt x="55" y="161"/>
                  </a:lnTo>
                  <a:lnTo>
                    <a:pt x="53" y="158"/>
                  </a:lnTo>
                  <a:lnTo>
                    <a:pt x="50" y="155"/>
                  </a:lnTo>
                  <a:lnTo>
                    <a:pt x="49" y="152"/>
                  </a:lnTo>
                  <a:lnTo>
                    <a:pt x="49" y="149"/>
                  </a:lnTo>
                  <a:lnTo>
                    <a:pt x="49" y="146"/>
                  </a:lnTo>
                  <a:lnTo>
                    <a:pt x="47" y="142"/>
                  </a:lnTo>
                  <a:lnTo>
                    <a:pt x="46" y="139"/>
                  </a:lnTo>
                  <a:lnTo>
                    <a:pt x="42" y="138"/>
                  </a:lnTo>
                  <a:lnTo>
                    <a:pt x="41" y="138"/>
                  </a:lnTo>
                  <a:lnTo>
                    <a:pt x="39" y="134"/>
                  </a:lnTo>
                  <a:lnTo>
                    <a:pt x="36" y="131"/>
                  </a:lnTo>
                  <a:lnTo>
                    <a:pt x="33" y="127"/>
                  </a:lnTo>
                  <a:lnTo>
                    <a:pt x="30" y="123"/>
                  </a:lnTo>
                  <a:lnTo>
                    <a:pt x="28" y="120"/>
                  </a:lnTo>
                  <a:lnTo>
                    <a:pt x="20" y="114"/>
                  </a:lnTo>
                  <a:lnTo>
                    <a:pt x="19" y="111"/>
                  </a:lnTo>
                  <a:lnTo>
                    <a:pt x="15" y="107"/>
                  </a:lnTo>
                  <a:lnTo>
                    <a:pt x="15" y="107"/>
                  </a:lnTo>
                  <a:lnTo>
                    <a:pt x="14" y="106"/>
                  </a:lnTo>
                  <a:lnTo>
                    <a:pt x="15" y="101"/>
                  </a:lnTo>
                  <a:lnTo>
                    <a:pt x="15" y="98"/>
                  </a:lnTo>
                  <a:lnTo>
                    <a:pt x="14" y="95"/>
                  </a:lnTo>
                  <a:lnTo>
                    <a:pt x="11" y="92"/>
                  </a:lnTo>
                  <a:lnTo>
                    <a:pt x="11" y="88"/>
                  </a:lnTo>
                  <a:lnTo>
                    <a:pt x="7" y="88"/>
                  </a:lnTo>
                  <a:lnTo>
                    <a:pt x="4" y="87"/>
                  </a:lnTo>
                  <a:lnTo>
                    <a:pt x="3" y="82"/>
                  </a:lnTo>
                  <a:lnTo>
                    <a:pt x="1" y="79"/>
                  </a:lnTo>
                  <a:lnTo>
                    <a:pt x="0" y="76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grpSp>
          <p:nvGrpSpPr>
            <p:cNvPr id="39" name="Group 52"/>
            <p:cNvGrpSpPr>
              <a:grpSpLocks/>
            </p:cNvGrpSpPr>
            <p:nvPr/>
          </p:nvGrpSpPr>
          <p:grpSpPr bwMode="auto">
            <a:xfrm>
              <a:off x="8471947" y="4185740"/>
              <a:ext cx="249965" cy="470486"/>
              <a:chOff x="4710" y="2109"/>
              <a:chExt cx="170" cy="278"/>
            </a:xfrm>
            <a:solidFill>
              <a:srgbClr val="A6A6A6"/>
            </a:solidFill>
          </p:grpSpPr>
          <p:sp>
            <p:nvSpPr>
              <p:cNvPr id="842" name="Freeform 53"/>
              <p:cNvSpPr>
                <a:spLocks/>
              </p:cNvSpPr>
              <p:nvPr/>
            </p:nvSpPr>
            <p:spPr bwMode="auto">
              <a:xfrm>
                <a:off x="4812" y="2225"/>
                <a:ext cx="1" cy="1"/>
              </a:xfrm>
              <a:custGeom>
                <a:avLst/>
                <a:gdLst>
                  <a:gd name="T0" fmla="*/ 1 w 1"/>
                  <a:gd name="T1" fmla="*/ 1 w 1"/>
                  <a:gd name="T2" fmla="*/ 0 w 1"/>
                  <a:gd name="T3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43" name="Freeform 54"/>
              <p:cNvSpPr>
                <a:spLocks/>
              </p:cNvSpPr>
              <p:nvPr/>
            </p:nvSpPr>
            <p:spPr bwMode="auto">
              <a:xfrm>
                <a:off x="4834" y="2238"/>
                <a:ext cx="1" cy="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44" name="Freeform 55"/>
              <p:cNvSpPr>
                <a:spLocks/>
              </p:cNvSpPr>
              <p:nvPr/>
            </p:nvSpPr>
            <p:spPr bwMode="auto">
              <a:xfrm>
                <a:off x="4710" y="2257"/>
                <a:ext cx="42" cy="63"/>
              </a:xfrm>
              <a:custGeom>
                <a:avLst/>
                <a:gdLst>
                  <a:gd name="T0" fmla="*/ 0 w 84"/>
                  <a:gd name="T1" fmla="*/ 117 h 125"/>
                  <a:gd name="T2" fmla="*/ 0 w 84"/>
                  <a:gd name="T3" fmla="*/ 125 h 125"/>
                  <a:gd name="T4" fmla="*/ 7 w 84"/>
                  <a:gd name="T5" fmla="*/ 117 h 125"/>
                  <a:gd name="T6" fmla="*/ 11 w 84"/>
                  <a:gd name="T7" fmla="*/ 114 h 125"/>
                  <a:gd name="T8" fmla="*/ 19 w 84"/>
                  <a:gd name="T9" fmla="*/ 109 h 125"/>
                  <a:gd name="T10" fmla="*/ 26 w 84"/>
                  <a:gd name="T11" fmla="*/ 103 h 125"/>
                  <a:gd name="T12" fmla="*/ 30 w 84"/>
                  <a:gd name="T13" fmla="*/ 96 h 125"/>
                  <a:gd name="T14" fmla="*/ 34 w 84"/>
                  <a:gd name="T15" fmla="*/ 90 h 125"/>
                  <a:gd name="T16" fmla="*/ 42 w 84"/>
                  <a:gd name="T17" fmla="*/ 87 h 125"/>
                  <a:gd name="T18" fmla="*/ 48 w 84"/>
                  <a:gd name="T19" fmla="*/ 76 h 125"/>
                  <a:gd name="T20" fmla="*/ 49 w 84"/>
                  <a:gd name="T21" fmla="*/ 66 h 125"/>
                  <a:gd name="T22" fmla="*/ 53 w 84"/>
                  <a:gd name="T23" fmla="*/ 63 h 125"/>
                  <a:gd name="T24" fmla="*/ 56 w 84"/>
                  <a:gd name="T25" fmla="*/ 57 h 125"/>
                  <a:gd name="T26" fmla="*/ 61 w 84"/>
                  <a:gd name="T27" fmla="*/ 57 h 125"/>
                  <a:gd name="T28" fmla="*/ 67 w 84"/>
                  <a:gd name="T29" fmla="*/ 55 h 125"/>
                  <a:gd name="T30" fmla="*/ 69 w 84"/>
                  <a:gd name="T31" fmla="*/ 47 h 125"/>
                  <a:gd name="T32" fmla="*/ 70 w 84"/>
                  <a:gd name="T33" fmla="*/ 44 h 125"/>
                  <a:gd name="T34" fmla="*/ 76 w 84"/>
                  <a:gd name="T35" fmla="*/ 41 h 125"/>
                  <a:gd name="T36" fmla="*/ 81 w 84"/>
                  <a:gd name="T37" fmla="*/ 38 h 125"/>
                  <a:gd name="T38" fmla="*/ 81 w 84"/>
                  <a:gd name="T39" fmla="*/ 31 h 125"/>
                  <a:gd name="T40" fmla="*/ 78 w 84"/>
                  <a:gd name="T41" fmla="*/ 23 h 125"/>
                  <a:gd name="T42" fmla="*/ 75 w 84"/>
                  <a:gd name="T43" fmla="*/ 17 h 125"/>
                  <a:gd name="T44" fmla="*/ 75 w 84"/>
                  <a:gd name="T45" fmla="*/ 9 h 125"/>
                  <a:gd name="T46" fmla="*/ 75 w 84"/>
                  <a:gd name="T47" fmla="*/ 3 h 125"/>
                  <a:gd name="T48" fmla="*/ 70 w 84"/>
                  <a:gd name="T49" fmla="*/ 3 h 125"/>
                  <a:gd name="T50" fmla="*/ 72 w 84"/>
                  <a:gd name="T51" fmla="*/ 9 h 125"/>
                  <a:gd name="T52" fmla="*/ 69 w 84"/>
                  <a:gd name="T53" fmla="*/ 11 h 125"/>
                  <a:gd name="T54" fmla="*/ 70 w 84"/>
                  <a:gd name="T55" fmla="*/ 17 h 125"/>
                  <a:gd name="T56" fmla="*/ 73 w 84"/>
                  <a:gd name="T57" fmla="*/ 25 h 125"/>
                  <a:gd name="T58" fmla="*/ 67 w 84"/>
                  <a:gd name="T59" fmla="*/ 20 h 125"/>
                  <a:gd name="T60" fmla="*/ 67 w 84"/>
                  <a:gd name="T61" fmla="*/ 23 h 125"/>
                  <a:gd name="T62" fmla="*/ 70 w 84"/>
                  <a:gd name="T63" fmla="*/ 30 h 125"/>
                  <a:gd name="T64" fmla="*/ 69 w 84"/>
                  <a:gd name="T65" fmla="*/ 35 h 125"/>
                  <a:gd name="T66" fmla="*/ 62 w 84"/>
                  <a:gd name="T67" fmla="*/ 36 h 125"/>
                  <a:gd name="T68" fmla="*/ 57 w 84"/>
                  <a:gd name="T69" fmla="*/ 41 h 125"/>
                  <a:gd name="T70" fmla="*/ 57 w 84"/>
                  <a:gd name="T71" fmla="*/ 47 h 125"/>
                  <a:gd name="T72" fmla="*/ 53 w 84"/>
                  <a:gd name="T73" fmla="*/ 47 h 125"/>
                  <a:gd name="T74" fmla="*/ 54 w 84"/>
                  <a:gd name="T75" fmla="*/ 52 h 125"/>
                  <a:gd name="T76" fmla="*/ 51 w 84"/>
                  <a:gd name="T77" fmla="*/ 52 h 125"/>
                  <a:gd name="T78" fmla="*/ 43 w 84"/>
                  <a:gd name="T79" fmla="*/ 66 h 125"/>
                  <a:gd name="T80" fmla="*/ 27 w 84"/>
                  <a:gd name="T81" fmla="*/ 87 h 125"/>
                  <a:gd name="T82" fmla="*/ 21 w 84"/>
                  <a:gd name="T83" fmla="*/ 89 h 125"/>
                  <a:gd name="T84" fmla="*/ 18 w 84"/>
                  <a:gd name="T85" fmla="*/ 93 h 125"/>
                  <a:gd name="T86" fmla="*/ 15 w 84"/>
                  <a:gd name="T87" fmla="*/ 93 h 125"/>
                  <a:gd name="T88" fmla="*/ 13 w 84"/>
                  <a:gd name="T89" fmla="*/ 95 h 125"/>
                  <a:gd name="T90" fmla="*/ 11 w 84"/>
                  <a:gd name="T91" fmla="*/ 98 h 125"/>
                  <a:gd name="T92" fmla="*/ 10 w 84"/>
                  <a:gd name="T93" fmla="*/ 100 h 125"/>
                  <a:gd name="T94" fmla="*/ 7 w 84"/>
                  <a:gd name="T95" fmla="*/ 106 h 125"/>
                  <a:gd name="T96" fmla="*/ 2 w 84"/>
                  <a:gd name="T97" fmla="*/ 112 h 1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4" h="125">
                    <a:moveTo>
                      <a:pt x="2" y="114"/>
                    </a:moveTo>
                    <a:lnTo>
                      <a:pt x="0" y="117"/>
                    </a:lnTo>
                    <a:lnTo>
                      <a:pt x="0" y="120"/>
                    </a:lnTo>
                    <a:lnTo>
                      <a:pt x="0" y="125"/>
                    </a:lnTo>
                    <a:lnTo>
                      <a:pt x="3" y="120"/>
                    </a:lnTo>
                    <a:lnTo>
                      <a:pt x="7" y="117"/>
                    </a:lnTo>
                    <a:lnTo>
                      <a:pt x="10" y="117"/>
                    </a:lnTo>
                    <a:lnTo>
                      <a:pt x="11" y="114"/>
                    </a:lnTo>
                    <a:lnTo>
                      <a:pt x="15" y="111"/>
                    </a:lnTo>
                    <a:lnTo>
                      <a:pt x="19" y="109"/>
                    </a:lnTo>
                    <a:lnTo>
                      <a:pt x="21" y="106"/>
                    </a:lnTo>
                    <a:lnTo>
                      <a:pt x="26" y="103"/>
                    </a:lnTo>
                    <a:lnTo>
                      <a:pt x="29" y="100"/>
                    </a:lnTo>
                    <a:lnTo>
                      <a:pt x="30" y="96"/>
                    </a:lnTo>
                    <a:lnTo>
                      <a:pt x="30" y="93"/>
                    </a:lnTo>
                    <a:lnTo>
                      <a:pt x="34" y="90"/>
                    </a:lnTo>
                    <a:lnTo>
                      <a:pt x="38" y="89"/>
                    </a:lnTo>
                    <a:lnTo>
                      <a:pt x="42" y="87"/>
                    </a:lnTo>
                    <a:lnTo>
                      <a:pt x="45" y="84"/>
                    </a:lnTo>
                    <a:lnTo>
                      <a:pt x="48" y="76"/>
                    </a:lnTo>
                    <a:lnTo>
                      <a:pt x="53" y="69"/>
                    </a:lnTo>
                    <a:lnTo>
                      <a:pt x="49" y="66"/>
                    </a:lnTo>
                    <a:lnTo>
                      <a:pt x="53" y="68"/>
                    </a:lnTo>
                    <a:lnTo>
                      <a:pt x="53" y="63"/>
                    </a:lnTo>
                    <a:lnTo>
                      <a:pt x="51" y="60"/>
                    </a:lnTo>
                    <a:lnTo>
                      <a:pt x="56" y="57"/>
                    </a:lnTo>
                    <a:lnTo>
                      <a:pt x="56" y="57"/>
                    </a:lnTo>
                    <a:lnTo>
                      <a:pt x="61" y="57"/>
                    </a:lnTo>
                    <a:lnTo>
                      <a:pt x="62" y="55"/>
                    </a:lnTo>
                    <a:lnTo>
                      <a:pt x="67" y="55"/>
                    </a:lnTo>
                    <a:lnTo>
                      <a:pt x="69" y="50"/>
                    </a:lnTo>
                    <a:lnTo>
                      <a:pt x="69" y="47"/>
                    </a:lnTo>
                    <a:lnTo>
                      <a:pt x="69" y="47"/>
                    </a:lnTo>
                    <a:lnTo>
                      <a:pt x="70" y="44"/>
                    </a:lnTo>
                    <a:lnTo>
                      <a:pt x="73" y="41"/>
                    </a:lnTo>
                    <a:lnTo>
                      <a:pt x="76" y="41"/>
                    </a:lnTo>
                    <a:lnTo>
                      <a:pt x="78" y="41"/>
                    </a:lnTo>
                    <a:lnTo>
                      <a:pt x="81" y="38"/>
                    </a:lnTo>
                    <a:lnTo>
                      <a:pt x="84" y="35"/>
                    </a:lnTo>
                    <a:lnTo>
                      <a:pt x="81" y="31"/>
                    </a:lnTo>
                    <a:lnTo>
                      <a:pt x="80" y="27"/>
                    </a:lnTo>
                    <a:lnTo>
                      <a:pt x="78" y="23"/>
                    </a:lnTo>
                    <a:lnTo>
                      <a:pt x="75" y="20"/>
                    </a:lnTo>
                    <a:lnTo>
                      <a:pt x="75" y="17"/>
                    </a:lnTo>
                    <a:lnTo>
                      <a:pt x="76" y="14"/>
                    </a:lnTo>
                    <a:lnTo>
                      <a:pt x="75" y="9"/>
                    </a:lnTo>
                    <a:lnTo>
                      <a:pt x="76" y="6"/>
                    </a:lnTo>
                    <a:lnTo>
                      <a:pt x="75" y="3"/>
                    </a:lnTo>
                    <a:lnTo>
                      <a:pt x="73" y="0"/>
                    </a:lnTo>
                    <a:lnTo>
                      <a:pt x="70" y="3"/>
                    </a:lnTo>
                    <a:lnTo>
                      <a:pt x="72" y="6"/>
                    </a:lnTo>
                    <a:lnTo>
                      <a:pt x="72" y="9"/>
                    </a:lnTo>
                    <a:lnTo>
                      <a:pt x="72" y="12"/>
                    </a:lnTo>
                    <a:lnTo>
                      <a:pt x="69" y="11"/>
                    </a:lnTo>
                    <a:lnTo>
                      <a:pt x="70" y="14"/>
                    </a:lnTo>
                    <a:lnTo>
                      <a:pt x="70" y="17"/>
                    </a:lnTo>
                    <a:lnTo>
                      <a:pt x="73" y="22"/>
                    </a:lnTo>
                    <a:lnTo>
                      <a:pt x="73" y="25"/>
                    </a:lnTo>
                    <a:lnTo>
                      <a:pt x="70" y="23"/>
                    </a:lnTo>
                    <a:lnTo>
                      <a:pt x="67" y="20"/>
                    </a:lnTo>
                    <a:lnTo>
                      <a:pt x="65" y="17"/>
                    </a:lnTo>
                    <a:lnTo>
                      <a:pt x="67" y="23"/>
                    </a:lnTo>
                    <a:lnTo>
                      <a:pt x="70" y="27"/>
                    </a:lnTo>
                    <a:lnTo>
                      <a:pt x="70" y="30"/>
                    </a:lnTo>
                    <a:lnTo>
                      <a:pt x="70" y="31"/>
                    </a:lnTo>
                    <a:lnTo>
                      <a:pt x="69" y="35"/>
                    </a:lnTo>
                    <a:lnTo>
                      <a:pt x="64" y="39"/>
                    </a:lnTo>
                    <a:lnTo>
                      <a:pt x="62" y="36"/>
                    </a:lnTo>
                    <a:lnTo>
                      <a:pt x="61" y="39"/>
                    </a:lnTo>
                    <a:lnTo>
                      <a:pt x="57" y="41"/>
                    </a:lnTo>
                    <a:lnTo>
                      <a:pt x="57" y="44"/>
                    </a:lnTo>
                    <a:lnTo>
                      <a:pt x="57" y="47"/>
                    </a:lnTo>
                    <a:lnTo>
                      <a:pt x="54" y="47"/>
                    </a:lnTo>
                    <a:lnTo>
                      <a:pt x="53" y="47"/>
                    </a:lnTo>
                    <a:lnTo>
                      <a:pt x="53" y="49"/>
                    </a:lnTo>
                    <a:lnTo>
                      <a:pt x="54" y="52"/>
                    </a:lnTo>
                    <a:lnTo>
                      <a:pt x="53" y="55"/>
                    </a:lnTo>
                    <a:lnTo>
                      <a:pt x="51" y="52"/>
                    </a:lnTo>
                    <a:lnTo>
                      <a:pt x="46" y="58"/>
                    </a:lnTo>
                    <a:lnTo>
                      <a:pt x="43" y="66"/>
                    </a:lnTo>
                    <a:lnTo>
                      <a:pt x="35" y="76"/>
                    </a:lnTo>
                    <a:lnTo>
                      <a:pt x="27" y="87"/>
                    </a:lnTo>
                    <a:lnTo>
                      <a:pt x="24" y="87"/>
                    </a:lnTo>
                    <a:lnTo>
                      <a:pt x="21" y="89"/>
                    </a:lnTo>
                    <a:lnTo>
                      <a:pt x="19" y="90"/>
                    </a:lnTo>
                    <a:lnTo>
                      <a:pt x="18" y="93"/>
                    </a:lnTo>
                    <a:lnTo>
                      <a:pt x="15" y="93"/>
                    </a:lnTo>
                    <a:lnTo>
                      <a:pt x="15" y="93"/>
                    </a:lnTo>
                    <a:lnTo>
                      <a:pt x="15" y="95"/>
                    </a:lnTo>
                    <a:lnTo>
                      <a:pt x="13" y="95"/>
                    </a:lnTo>
                    <a:lnTo>
                      <a:pt x="13" y="95"/>
                    </a:lnTo>
                    <a:lnTo>
                      <a:pt x="11" y="98"/>
                    </a:lnTo>
                    <a:lnTo>
                      <a:pt x="11" y="98"/>
                    </a:lnTo>
                    <a:lnTo>
                      <a:pt x="10" y="100"/>
                    </a:lnTo>
                    <a:lnTo>
                      <a:pt x="10" y="103"/>
                    </a:lnTo>
                    <a:lnTo>
                      <a:pt x="7" y="106"/>
                    </a:lnTo>
                    <a:lnTo>
                      <a:pt x="3" y="109"/>
                    </a:lnTo>
                    <a:lnTo>
                      <a:pt x="2" y="112"/>
                    </a:lnTo>
                    <a:lnTo>
                      <a:pt x="2" y="11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45" name="Freeform 56"/>
              <p:cNvSpPr>
                <a:spLocks/>
              </p:cNvSpPr>
              <p:nvPr/>
            </p:nvSpPr>
            <p:spPr bwMode="auto">
              <a:xfrm>
                <a:off x="4711" y="2321"/>
                <a:ext cx="1" cy="1"/>
              </a:xfrm>
              <a:custGeom>
                <a:avLst/>
                <a:gdLst>
                  <a:gd name="T0" fmla="*/ 0 w 2"/>
                  <a:gd name="T1" fmla="*/ 3 h 3"/>
                  <a:gd name="T2" fmla="*/ 2 w 2"/>
                  <a:gd name="T3" fmla="*/ 3 h 3"/>
                  <a:gd name="T4" fmla="*/ 0 w 2"/>
                  <a:gd name="T5" fmla="*/ 0 h 3"/>
                  <a:gd name="T6" fmla="*/ 0 w 2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" h="3">
                    <a:moveTo>
                      <a:pt x="0" y="3"/>
                    </a:moveTo>
                    <a:lnTo>
                      <a:pt x="2" y="3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46" name="Freeform 57"/>
              <p:cNvSpPr>
                <a:spLocks/>
              </p:cNvSpPr>
              <p:nvPr/>
            </p:nvSpPr>
            <p:spPr bwMode="auto">
              <a:xfrm>
                <a:off x="4740" y="2109"/>
                <a:ext cx="87" cy="125"/>
              </a:xfrm>
              <a:custGeom>
                <a:avLst/>
                <a:gdLst>
                  <a:gd name="T0" fmla="*/ 1 w 174"/>
                  <a:gd name="T1" fmla="*/ 111 h 249"/>
                  <a:gd name="T2" fmla="*/ 9 w 174"/>
                  <a:gd name="T3" fmla="*/ 125 h 249"/>
                  <a:gd name="T4" fmla="*/ 12 w 174"/>
                  <a:gd name="T5" fmla="*/ 140 h 249"/>
                  <a:gd name="T6" fmla="*/ 19 w 174"/>
                  <a:gd name="T7" fmla="*/ 157 h 249"/>
                  <a:gd name="T8" fmla="*/ 25 w 174"/>
                  <a:gd name="T9" fmla="*/ 162 h 249"/>
                  <a:gd name="T10" fmla="*/ 38 w 174"/>
                  <a:gd name="T11" fmla="*/ 171 h 249"/>
                  <a:gd name="T12" fmla="*/ 34 w 174"/>
                  <a:gd name="T13" fmla="*/ 156 h 249"/>
                  <a:gd name="T14" fmla="*/ 44 w 174"/>
                  <a:gd name="T15" fmla="*/ 159 h 249"/>
                  <a:gd name="T16" fmla="*/ 52 w 174"/>
                  <a:gd name="T17" fmla="*/ 170 h 249"/>
                  <a:gd name="T18" fmla="*/ 41 w 174"/>
                  <a:gd name="T19" fmla="*/ 187 h 249"/>
                  <a:gd name="T20" fmla="*/ 52 w 174"/>
                  <a:gd name="T21" fmla="*/ 194 h 249"/>
                  <a:gd name="T22" fmla="*/ 58 w 174"/>
                  <a:gd name="T23" fmla="*/ 202 h 249"/>
                  <a:gd name="T24" fmla="*/ 73 w 174"/>
                  <a:gd name="T25" fmla="*/ 200 h 249"/>
                  <a:gd name="T26" fmla="*/ 85 w 174"/>
                  <a:gd name="T27" fmla="*/ 194 h 249"/>
                  <a:gd name="T28" fmla="*/ 100 w 174"/>
                  <a:gd name="T29" fmla="*/ 206 h 249"/>
                  <a:gd name="T30" fmla="*/ 112 w 174"/>
                  <a:gd name="T31" fmla="*/ 217 h 249"/>
                  <a:gd name="T32" fmla="*/ 117 w 174"/>
                  <a:gd name="T33" fmla="*/ 214 h 249"/>
                  <a:gd name="T34" fmla="*/ 106 w 174"/>
                  <a:gd name="T35" fmla="*/ 192 h 249"/>
                  <a:gd name="T36" fmla="*/ 119 w 174"/>
                  <a:gd name="T37" fmla="*/ 198 h 249"/>
                  <a:gd name="T38" fmla="*/ 126 w 174"/>
                  <a:gd name="T39" fmla="*/ 208 h 249"/>
                  <a:gd name="T40" fmla="*/ 141 w 174"/>
                  <a:gd name="T41" fmla="*/ 221 h 249"/>
                  <a:gd name="T42" fmla="*/ 149 w 174"/>
                  <a:gd name="T43" fmla="*/ 232 h 249"/>
                  <a:gd name="T44" fmla="*/ 165 w 174"/>
                  <a:gd name="T45" fmla="*/ 232 h 249"/>
                  <a:gd name="T46" fmla="*/ 163 w 174"/>
                  <a:gd name="T47" fmla="*/ 241 h 249"/>
                  <a:gd name="T48" fmla="*/ 172 w 174"/>
                  <a:gd name="T49" fmla="*/ 241 h 249"/>
                  <a:gd name="T50" fmla="*/ 168 w 174"/>
                  <a:gd name="T51" fmla="*/ 227 h 249"/>
                  <a:gd name="T52" fmla="*/ 158 w 174"/>
                  <a:gd name="T53" fmla="*/ 219 h 249"/>
                  <a:gd name="T54" fmla="*/ 147 w 174"/>
                  <a:gd name="T55" fmla="*/ 205 h 249"/>
                  <a:gd name="T56" fmla="*/ 163 w 174"/>
                  <a:gd name="T57" fmla="*/ 202 h 249"/>
                  <a:gd name="T58" fmla="*/ 144 w 174"/>
                  <a:gd name="T59" fmla="*/ 192 h 249"/>
                  <a:gd name="T60" fmla="*/ 134 w 174"/>
                  <a:gd name="T61" fmla="*/ 189 h 249"/>
                  <a:gd name="T62" fmla="*/ 136 w 174"/>
                  <a:gd name="T63" fmla="*/ 200 h 249"/>
                  <a:gd name="T64" fmla="*/ 130 w 174"/>
                  <a:gd name="T65" fmla="*/ 190 h 249"/>
                  <a:gd name="T66" fmla="*/ 120 w 174"/>
                  <a:gd name="T67" fmla="*/ 178 h 249"/>
                  <a:gd name="T68" fmla="*/ 103 w 174"/>
                  <a:gd name="T69" fmla="*/ 178 h 249"/>
                  <a:gd name="T70" fmla="*/ 96 w 174"/>
                  <a:gd name="T71" fmla="*/ 184 h 249"/>
                  <a:gd name="T72" fmla="*/ 90 w 174"/>
                  <a:gd name="T73" fmla="*/ 190 h 249"/>
                  <a:gd name="T74" fmla="*/ 79 w 174"/>
                  <a:gd name="T75" fmla="*/ 175 h 249"/>
                  <a:gd name="T76" fmla="*/ 77 w 174"/>
                  <a:gd name="T77" fmla="*/ 160 h 249"/>
                  <a:gd name="T78" fmla="*/ 68 w 174"/>
                  <a:gd name="T79" fmla="*/ 146 h 249"/>
                  <a:gd name="T80" fmla="*/ 63 w 174"/>
                  <a:gd name="T81" fmla="*/ 132 h 249"/>
                  <a:gd name="T82" fmla="*/ 65 w 174"/>
                  <a:gd name="T83" fmla="*/ 114 h 249"/>
                  <a:gd name="T84" fmla="*/ 82 w 174"/>
                  <a:gd name="T85" fmla="*/ 100 h 249"/>
                  <a:gd name="T86" fmla="*/ 85 w 174"/>
                  <a:gd name="T87" fmla="*/ 94 h 249"/>
                  <a:gd name="T88" fmla="*/ 90 w 174"/>
                  <a:gd name="T89" fmla="*/ 78 h 249"/>
                  <a:gd name="T90" fmla="*/ 88 w 174"/>
                  <a:gd name="T91" fmla="*/ 57 h 249"/>
                  <a:gd name="T92" fmla="*/ 74 w 174"/>
                  <a:gd name="T93" fmla="*/ 35 h 249"/>
                  <a:gd name="T94" fmla="*/ 76 w 174"/>
                  <a:gd name="T95" fmla="*/ 10 h 249"/>
                  <a:gd name="T96" fmla="*/ 65 w 174"/>
                  <a:gd name="T97" fmla="*/ 14 h 249"/>
                  <a:gd name="T98" fmla="*/ 52 w 174"/>
                  <a:gd name="T99" fmla="*/ 11 h 249"/>
                  <a:gd name="T100" fmla="*/ 38 w 174"/>
                  <a:gd name="T101" fmla="*/ 3 h 249"/>
                  <a:gd name="T102" fmla="*/ 23 w 174"/>
                  <a:gd name="T103" fmla="*/ 2 h 249"/>
                  <a:gd name="T104" fmla="*/ 14 w 174"/>
                  <a:gd name="T105" fmla="*/ 8 h 249"/>
                  <a:gd name="T106" fmla="*/ 12 w 174"/>
                  <a:gd name="T107" fmla="*/ 22 h 249"/>
                  <a:gd name="T108" fmla="*/ 14 w 174"/>
                  <a:gd name="T109" fmla="*/ 38 h 249"/>
                  <a:gd name="T110" fmla="*/ 15 w 174"/>
                  <a:gd name="T111" fmla="*/ 56 h 249"/>
                  <a:gd name="T112" fmla="*/ 17 w 174"/>
                  <a:gd name="T113" fmla="*/ 72 h 249"/>
                  <a:gd name="T114" fmla="*/ 17 w 174"/>
                  <a:gd name="T115" fmla="*/ 89 h 249"/>
                  <a:gd name="T116" fmla="*/ 20 w 174"/>
                  <a:gd name="T117" fmla="*/ 105 h 249"/>
                  <a:gd name="T118" fmla="*/ 11 w 174"/>
                  <a:gd name="T119" fmla="*/ 100 h 249"/>
                  <a:gd name="T120" fmla="*/ 3 w 174"/>
                  <a:gd name="T121" fmla="*/ 92 h 2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4" h="249">
                    <a:moveTo>
                      <a:pt x="0" y="102"/>
                    </a:moveTo>
                    <a:lnTo>
                      <a:pt x="0" y="103"/>
                    </a:lnTo>
                    <a:lnTo>
                      <a:pt x="0" y="106"/>
                    </a:lnTo>
                    <a:lnTo>
                      <a:pt x="1" y="110"/>
                    </a:lnTo>
                    <a:lnTo>
                      <a:pt x="1" y="111"/>
                    </a:lnTo>
                    <a:lnTo>
                      <a:pt x="4" y="113"/>
                    </a:lnTo>
                    <a:lnTo>
                      <a:pt x="6" y="116"/>
                    </a:lnTo>
                    <a:lnTo>
                      <a:pt x="6" y="119"/>
                    </a:lnTo>
                    <a:lnTo>
                      <a:pt x="8" y="122"/>
                    </a:lnTo>
                    <a:lnTo>
                      <a:pt x="9" y="125"/>
                    </a:lnTo>
                    <a:lnTo>
                      <a:pt x="8" y="129"/>
                    </a:lnTo>
                    <a:lnTo>
                      <a:pt x="9" y="133"/>
                    </a:lnTo>
                    <a:lnTo>
                      <a:pt x="12" y="137"/>
                    </a:lnTo>
                    <a:lnTo>
                      <a:pt x="12" y="138"/>
                    </a:lnTo>
                    <a:lnTo>
                      <a:pt x="12" y="140"/>
                    </a:lnTo>
                    <a:lnTo>
                      <a:pt x="14" y="143"/>
                    </a:lnTo>
                    <a:lnTo>
                      <a:pt x="15" y="148"/>
                    </a:lnTo>
                    <a:lnTo>
                      <a:pt x="15" y="151"/>
                    </a:lnTo>
                    <a:lnTo>
                      <a:pt x="17" y="154"/>
                    </a:lnTo>
                    <a:lnTo>
                      <a:pt x="19" y="157"/>
                    </a:lnTo>
                    <a:lnTo>
                      <a:pt x="22" y="157"/>
                    </a:lnTo>
                    <a:lnTo>
                      <a:pt x="22" y="154"/>
                    </a:lnTo>
                    <a:lnTo>
                      <a:pt x="25" y="157"/>
                    </a:lnTo>
                    <a:lnTo>
                      <a:pt x="23" y="157"/>
                    </a:lnTo>
                    <a:lnTo>
                      <a:pt x="25" y="162"/>
                    </a:lnTo>
                    <a:lnTo>
                      <a:pt x="28" y="164"/>
                    </a:lnTo>
                    <a:lnTo>
                      <a:pt x="30" y="167"/>
                    </a:lnTo>
                    <a:lnTo>
                      <a:pt x="31" y="170"/>
                    </a:lnTo>
                    <a:lnTo>
                      <a:pt x="34" y="171"/>
                    </a:lnTo>
                    <a:lnTo>
                      <a:pt x="38" y="171"/>
                    </a:lnTo>
                    <a:lnTo>
                      <a:pt x="38" y="167"/>
                    </a:lnTo>
                    <a:lnTo>
                      <a:pt x="36" y="164"/>
                    </a:lnTo>
                    <a:lnTo>
                      <a:pt x="34" y="160"/>
                    </a:lnTo>
                    <a:lnTo>
                      <a:pt x="34" y="156"/>
                    </a:lnTo>
                    <a:lnTo>
                      <a:pt x="34" y="156"/>
                    </a:lnTo>
                    <a:lnTo>
                      <a:pt x="38" y="156"/>
                    </a:lnTo>
                    <a:lnTo>
                      <a:pt x="38" y="157"/>
                    </a:lnTo>
                    <a:lnTo>
                      <a:pt x="39" y="157"/>
                    </a:lnTo>
                    <a:lnTo>
                      <a:pt x="44" y="159"/>
                    </a:lnTo>
                    <a:lnTo>
                      <a:pt x="44" y="159"/>
                    </a:lnTo>
                    <a:lnTo>
                      <a:pt x="49" y="162"/>
                    </a:lnTo>
                    <a:lnTo>
                      <a:pt x="50" y="164"/>
                    </a:lnTo>
                    <a:lnTo>
                      <a:pt x="50" y="165"/>
                    </a:lnTo>
                    <a:lnTo>
                      <a:pt x="50" y="167"/>
                    </a:lnTo>
                    <a:lnTo>
                      <a:pt x="52" y="170"/>
                    </a:lnTo>
                    <a:lnTo>
                      <a:pt x="47" y="170"/>
                    </a:lnTo>
                    <a:lnTo>
                      <a:pt x="46" y="175"/>
                    </a:lnTo>
                    <a:lnTo>
                      <a:pt x="42" y="178"/>
                    </a:lnTo>
                    <a:lnTo>
                      <a:pt x="39" y="181"/>
                    </a:lnTo>
                    <a:lnTo>
                      <a:pt x="41" y="187"/>
                    </a:lnTo>
                    <a:lnTo>
                      <a:pt x="42" y="197"/>
                    </a:lnTo>
                    <a:lnTo>
                      <a:pt x="46" y="195"/>
                    </a:lnTo>
                    <a:lnTo>
                      <a:pt x="44" y="192"/>
                    </a:lnTo>
                    <a:lnTo>
                      <a:pt x="49" y="192"/>
                    </a:lnTo>
                    <a:lnTo>
                      <a:pt x="52" y="194"/>
                    </a:lnTo>
                    <a:lnTo>
                      <a:pt x="52" y="195"/>
                    </a:lnTo>
                    <a:lnTo>
                      <a:pt x="54" y="198"/>
                    </a:lnTo>
                    <a:lnTo>
                      <a:pt x="52" y="202"/>
                    </a:lnTo>
                    <a:lnTo>
                      <a:pt x="55" y="198"/>
                    </a:lnTo>
                    <a:lnTo>
                      <a:pt x="58" y="202"/>
                    </a:lnTo>
                    <a:lnTo>
                      <a:pt x="58" y="205"/>
                    </a:lnTo>
                    <a:lnTo>
                      <a:pt x="61" y="205"/>
                    </a:lnTo>
                    <a:lnTo>
                      <a:pt x="65" y="205"/>
                    </a:lnTo>
                    <a:lnTo>
                      <a:pt x="68" y="205"/>
                    </a:lnTo>
                    <a:lnTo>
                      <a:pt x="73" y="200"/>
                    </a:lnTo>
                    <a:lnTo>
                      <a:pt x="73" y="197"/>
                    </a:lnTo>
                    <a:lnTo>
                      <a:pt x="76" y="195"/>
                    </a:lnTo>
                    <a:lnTo>
                      <a:pt x="79" y="194"/>
                    </a:lnTo>
                    <a:lnTo>
                      <a:pt x="82" y="190"/>
                    </a:lnTo>
                    <a:lnTo>
                      <a:pt x="85" y="194"/>
                    </a:lnTo>
                    <a:lnTo>
                      <a:pt x="88" y="195"/>
                    </a:lnTo>
                    <a:lnTo>
                      <a:pt x="92" y="197"/>
                    </a:lnTo>
                    <a:lnTo>
                      <a:pt x="95" y="198"/>
                    </a:lnTo>
                    <a:lnTo>
                      <a:pt x="98" y="202"/>
                    </a:lnTo>
                    <a:lnTo>
                      <a:pt x="100" y="206"/>
                    </a:lnTo>
                    <a:lnTo>
                      <a:pt x="104" y="206"/>
                    </a:lnTo>
                    <a:lnTo>
                      <a:pt x="104" y="208"/>
                    </a:lnTo>
                    <a:lnTo>
                      <a:pt x="107" y="211"/>
                    </a:lnTo>
                    <a:lnTo>
                      <a:pt x="111" y="214"/>
                    </a:lnTo>
                    <a:lnTo>
                      <a:pt x="112" y="217"/>
                    </a:lnTo>
                    <a:lnTo>
                      <a:pt x="114" y="221"/>
                    </a:lnTo>
                    <a:lnTo>
                      <a:pt x="115" y="224"/>
                    </a:lnTo>
                    <a:lnTo>
                      <a:pt x="119" y="221"/>
                    </a:lnTo>
                    <a:lnTo>
                      <a:pt x="119" y="217"/>
                    </a:lnTo>
                    <a:lnTo>
                      <a:pt x="117" y="214"/>
                    </a:lnTo>
                    <a:lnTo>
                      <a:pt x="115" y="211"/>
                    </a:lnTo>
                    <a:lnTo>
                      <a:pt x="112" y="206"/>
                    </a:lnTo>
                    <a:lnTo>
                      <a:pt x="114" y="208"/>
                    </a:lnTo>
                    <a:lnTo>
                      <a:pt x="111" y="202"/>
                    </a:lnTo>
                    <a:lnTo>
                      <a:pt x="106" y="192"/>
                    </a:lnTo>
                    <a:lnTo>
                      <a:pt x="107" y="192"/>
                    </a:lnTo>
                    <a:lnTo>
                      <a:pt x="111" y="192"/>
                    </a:lnTo>
                    <a:lnTo>
                      <a:pt x="112" y="194"/>
                    </a:lnTo>
                    <a:lnTo>
                      <a:pt x="115" y="197"/>
                    </a:lnTo>
                    <a:lnTo>
                      <a:pt x="119" y="198"/>
                    </a:lnTo>
                    <a:lnTo>
                      <a:pt x="119" y="198"/>
                    </a:lnTo>
                    <a:lnTo>
                      <a:pt x="119" y="198"/>
                    </a:lnTo>
                    <a:lnTo>
                      <a:pt x="123" y="202"/>
                    </a:lnTo>
                    <a:lnTo>
                      <a:pt x="123" y="205"/>
                    </a:lnTo>
                    <a:lnTo>
                      <a:pt x="126" y="208"/>
                    </a:lnTo>
                    <a:lnTo>
                      <a:pt x="130" y="209"/>
                    </a:lnTo>
                    <a:lnTo>
                      <a:pt x="133" y="211"/>
                    </a:lnTo>
                    <a:lnTo>
                      <a:pt x="136" y="213"/>
                    </a:lnTo>
                    <a:lnTo>
                      <a:pt x="138" y="216"/>
                    </a:lnTo>
                    <a:lnTo>
                      <a:pt x="141" y="221"/>
                    </a:lnTo>
                    <a:lnTo>
                      <a:pt x="141" y="222"/>
                    </a:lnTo>
                    <a:lnTo>
                      <a:pt x="141" y="225"/>
                    </a:lnTo>
                    <a:lnTo>
                      <a:pt x="142" y="229"/>
                    </a:lnTo>
                    <a:lnTo>
                      <a:pt x="145" y="229"/>
                    </a:lnTo>
                    <a:lnTo>
                      <a:pt x="149" y="232"/>
                    </a:lnTo>
                    <a:lnTo>
                      <a:pt x="152" y="233"/>
                    </a:lnTo>
                    <a:lnTo>
                      <a:pt x="155" y="233"/>
                    </a:lnTo>
                    <a:lnTo>
                      <a:pt x="158" y="236"/>
                    </a:lnTo>
                    <a:lnTo>
                      <a:pt x="161" y="235"/>
                    </a:lnTo>
                    <a:lnTo>
                      <a:pt x="165" y="232"/>
                    </a:lnTo>
                    <a:lnTo>
                      <a:pt x="168" y="232"/>
                    </a:lnTo>
                    <a:lnTo>
                      <a:pt x="168" y="235"/>
                    </a:lnTo>
                    <a:lnTo>
                      <a:pt x="166" y="235"/>
                    </a:lnTo>
                    <a:lnTo>
                      <a:pt x="163" y="238"/>
                    </a:lnTo>
                    <a:lnTo>
                      <a:pt x="163" y="241"/>
                    </a:lnTo>
                    <a:lnTo>
                      <a:pt x="165" y="244"/>
                    </a:lnTo>
                    <a:lnTo>
                      <a:pt x="168" y="249"/>
                    </a:lnTo>
                    <a:lnTo>
                      <a:pt x="172" y="249"/>
                    </a:lnTo>
                    <a:lnTo>
                      <a:pt x="172" y="246"/>
                    </a:lnTo>
                    <a:lnTo>
                      <a:pt x="172" y="241"/>
                    </a:lnTo>
                    <a:lnTo>
                      <a:pt x="174" y="238"/>
                    </a:lnTo>
                    <a:lnTo>
                      <a:pt x="172" y="235"/>
                    </a:lnTo>
                    <a:lnTo>
                      <a:pt x="172" y="232"/>
                    </a:lnTo>
                    <a:lnTo>
                      <a:pt x="171" y="227"/>
                    </a:lnTo>
                    <a:lnTo>
                      <a:pt x="168" y="227"/>
                    </a:lnTo>
                    <a:lnTo>
                      <a:pt x="165" y="225"/>
                    </a:lnTo>
                    <a:lnTo>
                      <a:pt x="163" y="225"/>
                    </a:lnTo>
                    <a:lnTo>
                      <a:pt x="158" y="225"/>
                    </a:lnTo>
                    <a:lnTo>
                      <a:pt x="158" y="222"/>
                    </a:lnTo>
                    <a:lnTo>
                      <a:pt x="158" y="219"/>
                    </a:lnTo>
                    <a:lnTo>
                      <a:pt x="155" y="214"/>
                    </a:lnTo>
                    <a:lnTo>
                      <a:pt x="153" y="211"/>
                    </a:lnTo>
                    <a:lnTo>
                      <a:pt x="150" y="208"/>
                    </a:lnTo>
                    <a:lnTo>
                      <a:pt x="147" y="208"/>
                    </a:lnTo>
                    <a:lnTo>
                      <a:pt x="147" y="205"/>
                    </a:lnTo>
                    <a:lnTo>
                      <a:pt x="149" y="202"/>
                    </a:lnTo>
                    <a:lnTo>
                      <a:pt x="152" y="202"/>
                    </a:lnTo>
                    <a:lnTo>
                      <a:pt x="155" y="202"/>
                    </a:lnTo>
                    <a:lnTo>
                      <a:pt x="158" y="200"/>
                    </a:lnTo>
                    <a:lnTo>
                      <a:pt x="163" y="202"/>
                    </a:lnTo>
                    <a:lnTo>
                      <a:pt x="161" y="198"/>
                    </a:lnTo>
                    <a:lnTo>
                      <a:pt x="158" y="197"/>
                    </a:lnTo>
                    <a:lnTo>
                      <a:pt x="152" y="194"/>
                    </a:lnTo>
                    <a:lnTo>
                      <a:pt x="149" y="194"/>
                    </a:lnTo>
                    <a:lnTo>
                      <a:pt x="144" y="192"/>
                    </a:lnTo>
                    <a:lnTo>
                      <a:pt x="141" y="192"/>
                    </a:lnTo>
                    <a:lnTo>
                      <a:pt x="141" y="189"/>
                    </a:lnTo>
                    <a:lnTo>
                      <a:pt x="136" y="187"/>
                    </a:lnTo>
                    <a:lnTo>
                      <a:pt x="136" y="186"/>
                    </a:lnTo>
                    <a:lnTo>
                      <a:pt x="134" y="189"/>
                    </a:lnTo>
                    <a:lnTo>
                      <a:pt x="138" y="194"/>
                    </a:lnTo>
                    <a:lnTo>
                      <a:pt x="138" y="194"/>
                    </a:lnTo>
                    <a:lnTo>
                      <a:pt x="139" y="197"/>
                    </a:lnTo>
                    <a:lnTo>
                      <a:pt x="139" y="198"/>
                    </a:lnTo>
                    <a:lnTo>
                      <a:pt x="136" y="200"/>
                    </a:lnTo>
                    <a:lnTo>
                      <a:pt x="133" y="202"/>
                    </a:lnTo>
                    <a:lnTo>
                      <a:pt x="131" y="200"/>
                    </a:lnTo>
                    <a:lnTo>
                      <a:pt x="130" y="197"/>
                    </a:lnTo>
                    <a:lnTo>
                      <a:pt x="130" y="194"/>
                    </a:lnTo>
                    <a:lnTo>
                      <a:pt x="130" y="190"/>
                    </a:lnTo>
                    <a:lnTo>
                      <a:pt x="126" y="189"/>
                    </a:lnTo>
                    <a:lnTo>
                      <a:pt x="126" y="184"/>
                    </a:lnTo>
                    <a:lnTo>
                      <a:pt x="125" y="184"/>
                    </a:lnTo>
                    <a:lnTo>
                      <a:pt x="122" y="181"/>
                    </a:lnTo>
                    <a:lnTo>
                      <a:pt x="120" y="178"/>
                    </a:lnTo>
                    <a:lnTo>
                      <a:pt x="117" y="176"/>
                    </a:lnTo>
                    <a:lnTo>
                      <a:pt x="114" y="178"/>
                    </a:lnTo>
                    <a:lnTo>
                      <a:pt x="109" y="176"/>
                    </a:lnTo>
                    <a:lnTo>
                      <a:pt x="106" y="176"/>
                    </a:lnTo>
                    <a:lnTo>
                      <a:pt x="103" y="178"/>
                    </a:lnTo>
                    <a:lnTo>
                      <a:pt x="101" y="181"/>
                    </a:lnTo>
                    <a:lnTo>
                      <a:pt x="101" y="186"/>
                    </a:lnTo>
                    <a:lnTo>
                      <a:pt x="101" y="184"/>
                    </a:lnTo>
                    <a:lnTo>
                      <a:pt x="98" y="181"/>
                    </a:lnTo>
                    <a:lnTo>
                      <a:pt x="96" y="184"/>
                    </a:lnTo>
                    <a:lnTo>
                      <a:pt x="100" y="187"/>
                    </a:lnTo>
                    <a:lnTo>
                      <a:pt x="101" y="190"/>
                    </a:lnTo>
                    <a:lnTo>
                      <a:pt x="98" y="192"/>
                    </a:lnTo>
                    <a:lnTo>
                      <a:pt x="95" y="192"/>
                    </a:lnTo>
                    <a:lnTo>
                      <a:pt x="90" y="190"/>
                    </a:lnTo>
                    <a:lnTo>
                      <a:pt x="87" y="189"/>
                    </a:lnTo>
                    <a:lnTo>
                      <a:pt x="84" y="186"/>
                    </a:lnTo>
                    <a:lnTo>
                      <a:pt x="80" y="181"/>
                    </a:lnTo>
                    <a:lnTo>
                      <a:pt x="79" y="179"/>
                    </a:lnTo>
                    <a:lnTo>
                      <a:pt x="79" y="175"/>
                    </a:lnTo>
                    <a:lnTo>
                      <a:pt x="76" y="173"/>
                    </a:lnTo>
                    <a:lnTo>
                      <a:pt x="76" y="170"/>
                    </a:lnTo>
                    <a:lnTo>
                      <a:pt x="74" y="167"/>
                    </a:lnTo>
                    <a:lnTo>
                      <a:pt x="74" y="162"/>
                    </a:lnTo>
                    <a:lnTo>
                      <a:pt x="77" y="160"/>
                    </a:lnTo>
                    <a:lnTo>
                      <a:pt x="74" y="157"/>
                    </a:lnTo>
                    <a:lnTo>
                      <a:pt x="73" y="156"/>
                    </a:lnTo>
                    <a:lnTo>
                      <a:pt x="71" y="152"/>
                    </a:lnTo>
                    <a:lnTo>
                      <a:pt x="69" y="148"/>
                    </a:lnTo>
                    <a:lnTo>
                      <a:pt x="68" y="146"/>
                    </a:lnTo>
                    <a:lnTo>
                      <a:pt x="66" y="143"/>
                    </a:lnTo>
                    <a:lnTo>
                      <a:pt x="65" y="140"/>
                    </a:lnTo>
                    <a:lnTo>
                      <a:pt x="63" y="140"/>
                    </a:lnTo>
                    <a:lnTo>
                      <a:pt x="61" y="135"/>
                    </a:lnTo>
                    <a:lnTo>
                      <a:pt x="63" y="132"/>
                    </a:lnTo>
                    <a:lnTo>
                      <a:pt x="65" y="129"/>
                    </a:lnTo>
                    <a:lnTo>
                      <a:pt x="66" y="125"/>
                    </a:lnTo>
                    <a:lnTo>
                      <a:pt x="66" y="121"/>
                    </a:lnTo>
                    <a:lnTo>
                      <a:pt x="66" y="118"/>
                    </a:lnTo>
                    <a:lnTo>
                      <a:pt x="65" y="114"/>
                    </a:lnTo>
                    <a:lnTo>
                      <a:pt x="68" y="108"/>
                    </a:lnTo>
                    <a:lnTo>
                      <a:pt x="73" y="105"/>
                    </a:lnTo>
                    <a:lnTo>
                      <a:pt x="77" y="102"/>
                    </a:lnTo>
                    <a:lnTo>
                      <a:pt x="84" y="97"/>
                    </a:lnTo>
                    <a:lnTo>
                      <a:pt x="82" y="100"/>
                    </a:lnTo>
                    <a:lnTo>
                      <a:pt x="82" y="103"/>
                    </a:lnTo>
                    <a:lnTo>
                      <a:pt x="85" y="98"/>
                    </a:lnTo>
                    <a:lnTo>
                      <a:pt x="87" y="95"/>
                    </a:lnTo>
                    <a:lnTo>
                      <a:pt x="87" y="95"/>
                    </a:lnTo>
                    <a:lnTo>
                      <a:pt x="85" y="94"/>
                    </a:lnTo>
                    <a:lnTo>
                      <a:pt x="85" y="91"/>
                    </a:lnTo>
                    <a:lnTo>
                      <a:pt x="85" y="86"/>
                    </a:lnTo>
                    <a:lnTo>
                      <a:pt x="85" y="86"/>
                    </a:lnTo>
                    <a:lnTo>
                      <a:pt x="88" y="83"/>
                    </a:lnTo>
                    <a:lnTo>
                      <a:pt x="90" y="78"/>
                    </a:lnTo>
                    <a:lnTo>
                      <a:pt x="92" y="70"/>
                    </a:lnTo>
                    <a:lnTo>
                      <a:pt x="92" y="60"/>
                    </a:lnTo>
                    <a:lnTo>
                      <a:pt x="90" y="62"/>
                    </a:lnTo>
                    <a:lnTo>
                      <a:pt x="88" y="62"/>
                    </a:lnTo>
                    <a:lnTo>
                      <a:pt x="88" y="57"/>
                    </a:lnTo>
                    <a:lnTo>
                      <a:pt x="87" y="54"/>
                    </a:lnTo>
                    <a:lnTo>
                      <a:pt x="84" y="53"/>
                    </a:lnTo>
                    <a:lnTo>
                      <a:pt x="80" y="51"/>
                    </a:lnTo>
                    <a:lnTo>
                      <a:pt x="76" y="43"/>
                    </a:lnTo>
                    <a:lnTo>
                      <a:pt x="74" y="35"/>
                    </a:lnTo>
                    <a:lnTo>
                      <a:pt x="74" y="27"/>
                    </a:lnTo>
                    <a:lnTo>
                      <a:pt x="74" y="21"/>
                    </a:lnTo>
                    <a:lnTo>
                      <a:pt x="77" y="16"/>
                    </a:lnTo>
                    <a:lnTo>
                      <a:pt x="77" y="13"/>
                    </a:lnTo>
                    <a:lnTo>
                      <a:pt x="76" y="10"/>
                    </a:lnTo>
                    <a:lnTo>
                      <a:pt x="73" y="5"/>
                    </a:lnTo>
                    <a:lnTo>
                      <a:pt x="69" y="7"/>
                    </a:lnTo>
                    <a:lnTo>
                      <a:pt x="69" y="8"/>
                    </a:lnTo>
                    <a:lnTo>
                      <a:pt x="68" y="11"/>
                    </a:lnTo>
                    <a:lnTo>
                      <a:pt x="65" y="14"/>
                    </a:lnTo>
                    <a:lnTo>
                      <a:pt x="61" y="14"/>
                    </a:lnTo>
                    <a:lnTo>
                      <a:pt x="57" y="13"/>
                    </a:lnTo>
                    <a:lnTo>
                      <a:pt x="54" y="13"/>
                    </a:lnTo>
                    <a:lnTo>
                      <a:pt x="54" y="14"/>
                    </a:lnTo>
                    <a:lnTo>
                      <a:pt x="52" y="11"/>
                    </a:lnTo>
                    <a:lnTo>
                      <a:pt x="49" y="10"/>
                    </a:lnTo>
                    <a:lnTo>
                      <a:pt x="44" y="7"/>
                    </a:lnTo>
                    <a:lnTo>
                      <a:pt x="46" y="7"/>
                    </a:lnTo>
                    <a:lnTo>
                      <a:pt x="42" y="5"/>
                    </a:lnTo>
                    <a:lnTo>
                      <a:pt x="38" y="3"/>
                    </a:lnTo>
                    <a:lnTo>
                      <a:pt x="34" y="0"/>
                    </a:lnTo>
                    <a:lnTo>
                      <a:pt x="31" y="0"/>
                    </a:lnTo>
                    <a:lnTo>
                      <a:pt x="28" y="2"/>
                    </a:lnTo>
                    <a:lnTo>
                      <a:pt x="27" y="2"/>
                    </a:lnTo>
                    <a:lnTo>
                      <a:pt x="23" y="2"/>
                    </a:lnTo>
                    <a:lnTo>
                      <a:pt x="20" y="0"/>
                    </a:lnTo>
                    <a:lnTo>
                      <a:pt x="19" y="3"/>
                    </a:lnTo>
                    <a:lnTo>
                      <a:pt x="17" y="3"/>
                    </a:lnTo>
                    <a:lnTo>
                      <a:pt x="14" y="5"/>
                    </a:lnTo>
                    <a:lnTo>
                      <a:pt x="14" y="8"/>
                    </a:lnTo>
                    <a:lnTo>
                      <a:pt x="15" y="11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2" y="22"/>
                    </a:lnTo>
                    <a:lnTo>
                      <a:pt x="14" y="26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3"/>
                    </a:lnTo>
                    <a:lnTo>
                      <a:pt x="14" y="38"/>
                    </a:lnTo>
                    <a:lnTo>
                      <a:pt x="11" y="41"/>
                    </a:lnTo>
                    <a:lnTo>
                      <a:pt x="14" y="45"/>
                    </a:lnTo>
                    <a:lnTo>
                      <a:pt x="15" y="48"/>
                    </a:lnTo>
                    <a:lnTo>
                      <a:pt x="17" y="53"/>
                    </a:lnTo>
                    <a:lnTo>
                      <a:pt x="15" y="56"/>
                    </a:lnTo>
                    <a:lnTo>
                      <a:pt x="17" y="59"/>
                    </a:lnTo>
                    <a:lnTo>
                      <a:pt x="17" y="64"/>
                    </a:lnTo>
                    <a:lnTo>
                      <a:pt x="19" y="67"/>
                    </a:lnTo>
                    <a:lnTo>
                      <a:pt x="17" y="70"/>
                    </a:lnTo>
                    <a:lnTo>
                      <a:pt x="17" y="72"/>
                    </a:lnTo>
                    <a:lnTo>
                      <a:pt x="15" y="75"/>
                    </a:lnTo>
                    <a:lnTo>
                      <a:pt x="17" y="78"/>
                    </a:lnTo>
                    <a:lnTo>
                      <a:pt x="15" y="83"/>
                    </a:lnTo>
                    <a:lnTo>
                      <a:pt x="17" y="86"/>
                    </a:lnTo>
                    <a:lnTo>
                      <a:pt x="17" y="89"/>
                    </a:lnTo>
                    <a:lnTo>
                      <a:pt x="19" y="92"/>
                    </a:lnTo>
                    <a:lnTo>
                      <a:pt x="19" y="95"/>
                    </a:lnTo>
                    <a:lnTo>
                      <a:pt x="22" y="98"/>
                    </a:lnTo>
                    <a:lnTo>
                      <a:pt x="22" y="103"/>
                    </a:lnTo>
                    <a:lnTo>
                      <a:pt x="20" y="105"/>
                    </a:lnTo>
                    <a:lnTo>
                      <a:pt x="19" y="105"/>
                    </a:lnTo>
                    <a:lnTo>
                      <a:pt x="15" y="106"/>
                    </a:lnTo>
                    <a:lnTo>
                      <a:pt x="14" y="106"/>
                    </a:lnTo>
                    <a:lnTo>
                      <a:pt x="12" y="105"/>
                    </a:lnTo>
                    <a:lnTo>
                      <a:pt x="11" y="100"/>
                    </a:lnTo>
                    <a:lnTo>
                      <a:pt x="8" y="100"/>
                    </a:lnTo>
                    <a:lnTo>
                      <a:pt x="6" y="98"/>
                    </a:lnTo>
                    <a:lnTo>
                      <a:pt x="4" y="95"/>
                    </a:lnTo>
                    <a:lnTo>
                      <a:pt x="4" y="95"/>
                    </a:lnTo>
                    <a:lnTo>
                      <a:pt x="3" y="92"/>
                    </a:lnTo>
                    <a:lnTo>
                      <a:pt x="0" y="95"/>
                    </a:lnTo>
                    <a:lnTo>
                      <a:pt x="0" y="98"/>
                    </a:lnTo>
                    <a:lnTo>
                      <a:pt x="0" y="10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47" name="Freeform 58"/>
              <p:cNvSpPr>
                <a:spLocks/>
              </p:cNvSpPr>
              <p:nvPr/>
            </p:nvSpPr>
            <p:spPr bwMode="auto">
              <a:xfrm>
                <a:off x="4751" y="2238"/>
                <a:ext cx="9" cy="7"/>
              </a:xfrm>
              <a:custGeom>
                <a:avLst/>
                <a:gdLst>
                  <a:gd name="T0" fmla="*/ 5 w 17"/>
                  <a:gd name="T1" fmla="*/ 3 h 14"/>
                  <a:gd name="T2" fmla="*/ 1 w 17"/>
                  <a:gd name="T3" fmla="*/ 0 h 14"/>
                  <a:gd name="T4" fmla="*/ 0 w 17"/>
                  <a:gd name="T5" fmla="*/ 5 h 14"/>
                  <a:gd name="T6" fmla="*/ 0 w 17"/>
                  <a:gd name="T7" fmla="*/ 8 h 14"/>
                  <a:gd name="T8" fmla="*/ 3 w 17"/>
                  <a:gd name="T9" fmla="*/ 11 h 14"/>
                  <a:gd name="T10" fmla="*/ 6 w 17"/>
                  <a:gd name="T11" fmla="*/ 14 h 14"/>
                  <a:gd name="T12" fmla="*/ 11 w 17"/>
                  <a:gd name="T13" fmla="*/ 14 h 14"/>
                  <a:gd name="T14" fmla="*/ 17 w 17"/>
                  <a:gd name="T15" fmla="*/ 14 h 14"/>
                  <a:gd name="T16" fmla="*/ 17 w 17"/>
                  <a:gd name="T17" fmla="*/ 11 h 14"/>
                  <a:gd name="T18" fmla="*/ 14 w 17"/>
                  <a:gd name="T19" fmla="*/ 8 h 14"/>
                  <a:gd name="T20" fmla="*/ 11 w 17"/>
                  <a:gd name="T21" fmla="*/ 8 h 14"/>
                  <a:gd name="T22" fmla="*/ 6 w 17"/>
                  <a:gd name="T23" fmla="*/ 5 h 14"/>
                  <a:gd name="T24" fmla="*/ 5 w 17"/>
                  <a:gd name="T25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7" h="14">
                    <a:moveTo>
                      <a:pt x="5" y="3"/>
                    </a:moveTo>
                    <a:lnTo>
                      <a:pt x="1" y="0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3" y="11"/>
                    </a:lnTo>
                    <a:lnTo>
                      <a:pt x="6" y="14"/>
                    </a:lnTo>
                    <a:lnTo>
                      <a:pt x="11" y="14"/>
                    </a:lnTo>
                    <a:lnTo>
                      <a:pt x="17" y="14"/>
                    </a:lnTo>
                    <a:lnTo>
                      <a:pt x="17" y="11"/>
                    </a:lnTo>
                    <a:lnTo>
                      <a:pt x="14" y="8"/>
                    </a:lnTo>
                    <a:lnTo>
                      <a:pt x="11" y="8"/>
                    </a:lnTo>
                    <a:lnTo>
                      <a:pt x="6" y="5"/>
                    </a:lnTo>
                    <a:lnTo>
                      <a:pt x="5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48" name="Freeform 59"/>
              <p:cNvSpPr>
                <a:spLocks/>
              </p:cNvSpPr>
              <p:nvPr/>
            </p:nvSpPr>
            <p:spPr bwMode="auto">
              <a:xfrm>
                <a:off x="4752" y="2246"/>
                <a:ext cx="3" cy="5"/>
              </a:xfrm>
              <a:custGeom>
                <a:avLst/>
                <a:gdLst>
                  <a:gd name="T0" fmla="*/ 5 w 7"/>
                  <a:gd name="T1" fmla="*/ 0 h 9"/>
                  <a:gd name="T2" fmla="*/ 4 w 7"/>
                  <a:gd name="T3" fmla="*/ 0 h 9"/>
                  <a:gd name="T4" fmla="*/ 0 w 7"/>
                  <a:gd name="T5" fmla="*/ 0 h 9"/>
                  <a:gd name="T6" fmla="*/ 2 w 7"/>
                  <a:gd name="T7" fmla="*/ 4 h 9"/>
                  <a:gd name="T8" fmla="*/ 5 w 7"/>
                  <a:gd name="T9" fmla="*/ 6 h 9"/>
                  <a:gd name="T10" fmla="*/ 5 w 7"/>
                  <a:gd name="T11" fmla="*/ 6 h 9"/>
                  <a:gd name="T12" fmla="*/ 5 w 7"/>
                  <a:gd name="T13" fmla="*/ 6 h 9"/>
                  <a:gd name="T14" fmla="*/ 5 w 7"/>
                  <a:gd name="T15" fmla="*/ 9 h 9"/>
                  <a:gd name="T16" fmla="*/ 7 w 7"/>
                  <a:gd name="T17" fmla="*/ 7 h 9"/>
                  <a:gd name="T18" fmla="*/ 7 w 7"/>
                  <a:gd name="T19" fmla="*/ 4 h 9"/>
                  <a:gd name="T20" fmla="*/ 5 w 7"/>
                  <a:gd name="T21" fmla="*/ 1 h 9"/>
                  <a:gd name="T22" fmla="*/ 5 w 7"/>
                  <a:gd name="T23" fmla="*/ 0 h 9"/>
                  <a:gd name="T24" fmla="*/ 5 w 7"/>
                  <a:gd name="T2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7" h="9">
                    <a:moveTo>
                      <a:pt x="5" y="0"/>
                    </a:moveTo>
                    <a:lnTo>
                      <a:pt x="4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5" y="6"/>
                    </a:lnTo>
                    <a:lnTo>
                      <a:pt x="5" y="9"/>
                    </a:lnTo>
                    <a:lnTo>
                      <a:pt x="7" y="7"/>
                    </a:lnTo>
                    <a:lnTo>
                      <a:pt x="7" y="4"/>
                    </a:lnTo>
                    <a:lnTo>
                      <a:pt x="5" y="1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49" name="Freeform 60"/>
              <p:cNvSpPr>
                <a:spLocks/>
              </p:cNvSpPr>
              <p:nvPr/>
            </p:nvSpPr>
            <p:spPr bwMode="auto">
              <a:xfrm>
                <a:off x="4756" y="2213"/>
                <a:ext cx="24" cy="27"/>
              </a:xfrm>
              <a:custGeom>
                <a:avLst/>
                <a:gdLst>
                  <a:gd name="T0" fmla="*/ 0 w 47"/>
                  <a:gd name="T1" fmla="*/ 3 h 54"/>
                  <a:gd name="T2" fmla="*/ 1 w 47"/>
                  <a:gd name="T3" fmla="*/ 6 h 54"/>
                  <a:gd name="T4" fmla="*/ 6 w 47"/>
                  <a:gd name="T5" fmla="*/ 8 h 54"/>
                  <a:gd name="T6" fmla="*/ 6 w 47"/>
                  <a:gd name="T7" fmla="*/ 11 h 54"/>
                  <a:gd name="T8" fmla="*/ 11 w 47"/>
                  <a:gd name="T9" fmla="*/ 13 h 54"/>
                  <a:gd name="T10" fmla="*/ 11 w 47"/>
                  <a:gd name="T11" fmla="*/ 14 h 54"/>
                  <a:gd name="T12" fmla="*/ 14 w 47"/>
                  <a:gd name="T13" fmla="*/ 17 h 54"/>
                  <a:gd name="T14" fmla="*/ 16 w 47"/>
                  <a:gd name="T15" fmla="*/ 19 h 54"/>
                  <a:gd name="T16" fmla="*/ 17 w 47"/>
                  <a:gd name="T17" fmla="*/ 22 h 54"/>
                  <a:gd name="T18" fmla="*/ 19 w 47"/>
                  <a:gd name="T19" fmla="*/ 24 h 54"/>
                  <a:gd name="T20" fmla="*/ 19 w 47"/>
                  <a:gd name="T21" fmla="*/ 25 h 54"/>
                  <a:gd name="T22" fmla="*/ 19 w 47"/>
                  <a:gd name="T23" fmla="*/ 28 h 54"/>
                  <a:gd name="T24" fmla="*/ 19 w 47"/>
                  <a:gd name="T25" fmla="*/ 30 h 54"/>
                  <a:gd name="T26" fmla="*/ 21 w 47"/>
                  <a:gd name="T27" fmla="*/ 33 h 54"/>
                  <a:gd name="T28" fmla="*/ 22 w 47"/>
                  <a:gd name="T29" fmla="*/ 35 h 54"/>
                  <a:gd name="T30" fmla="*/ 25 w 47"/>
                  <a:gd name="T31" fmla="*/ 38 h 54"/>
                  <a:gd name="T32" fmla="*/ 25 w 47"/>
                  <a:gd name="T33" fmla="*/ 41 h 54"/>
                  <a:gd name="T34" fmla="*/ 27 w 47"/>
                  <a:gd name="T35" fmla="*/ 43 h 54"/>
                  <a:gd name="T36" fmla="*/ 28 w 47"/>
                  <a:gd name="T37" fmla="*/ 46 h 54"/>
                  <a:gd name="T38" fmla="*/ 28 w 47"/>
                  <a:gd name="T39" fmla="*/ 46 h 54"/>
                  <a:gd name="T40" fmla="*/ 30 w 47"/>
                  <a:gd name="T41" fmla="*/ 47 h 54"/>
                  <a:gd name="T42" fmla="*/ 33 w 47"/>
                  <a:gd name="T43" fmla="*/ 52 h 54"/>
                  <a:gd name="T44" fmla="*/ 35 w 47"/>
                  <a:gd name="T45" fmla="*/ 52 h 54"/>
                  <a:gd name="T46" fmla="*/ 38 w 47"/>
                  <a:gd name="T47" fmla="*/ 54 h 54"/>
                  <a:gd name="T48" fmla="*/ 40 w 47"/>
                  <a:gd name="T49" fmla="*/ 54 h 54"/>
                  <a:gd name="T50" fmla="*/ 41 w 47"/>
                  <a:gd name="T51" fmla="*/ 51 h 54"/>
                  <a:gd name="T52" fmla="*/ 43 w 47"/>
                  <a:gd name="T53" fmla="*/ 51 h 54"/>
                  <a:gd name="T54" fmla="*/ 44 w 47"/>
                  <a:gd name="T55" fmla="*/ 46 h 54"/>
                  <a:gd name="T56" fmla="*/ 44 w 47"/>
                  <a:gd name="T57" fmla="*/ 43 h 54"/>
                  <a:gd name="T58" fmla="*/ 47 w 47"/>
                  <a:gd name="T59" fmla="*/ 40 h 54"/>
                  <a:gd name="T60" fmla="*/ 47 w 47"/>
                  <a:gd name="T61" fmla="*/ 36 h 54"/>
                  <a:gd name="T62" fmla="*/ 47 w 47"/>
                  <a:gd name="T63" fmla="*/ 36 h 54"/>
                  <a:gd name="T64" fmla="*/ 44 w 47"/>
                  <a:gd name="T65" fmla="*/ 32 h 54"/>
                  <a:gd name="T66" fmla="*/ 44 w 47"/>
                  <a:gd name="T67" fmla="*/ 24 h 54"/>
                  <a:gd name="T68" fmla="*/ 44 w 47"/>
                  <a:gd name="T69" fmla="*/ 21 h 54"/>
                  <a:gd name="T70" fmla="*/ 43 w 47"/>
                  <a:gd name="T71" fmla="*/ 17 h 54"/>
                  <a:gd name="T72" fmla="*/ 43 w 47"/>
                  <a:gd name="T73" fmla="*/ 17 h 54"/>
                  <a:gd name="T74" fmla="*/ 41 w 47"/>
                  <a:gd name="T75" fmla="*/ 13 h 54"/>
                  <a:gd name="T76" fmla="*/ 38 w 47"/>
                  <a:gd name="T77" fmla="*/ 9 h 54"/>
                  <a:gd name="T78" fmla="*/ 36 w 47"/>
                  <a:gd name="T79" fmla="*/ 8 h 54"/>
                  <a:gd name="T80" fmla="*/ 35 w 47"/>
                  <a:gd name="T81" fmla="*/ 8 h 54"/>
                  <a:gd name="T82" fmla="*/ 32 w 47"/>
                  <a:gd name="T83" fmla="*/ 5 h 54"/>
                  <a:gd name="T84" fmla="*/ 28 w 47"/>
                  <a:gd name="T85" fmla="*/ 5 h 54"/>
                  <a:gd name="T86" fmla="*/ 27 w 47"/>
                  <a:gd name="T87" fmla="*/ 6 h 54"/>
                  <a:gd name="T88" fmla="*/ 24 w 47"/>
                  <a:gd name="T89" fmla="*/ 3 h 54"/>
                  <a:gd name="T90" fmla="*/ 21 w 47"/>
                  <a:gd name="T91" fmla="*/ 1 h 54"/>
                  <a:gd name="T92" fmla="*/ 17 w 47"/>
                  <a:gd name="T93" fmla="*/ 3 h 54"/>
                  <a:gd name="T94" fmla="*/ 14 w 47"/>
                  <a:gd name="T95" fmla="*/ 3 h 54"/>
                  <a:gd name="T96" fmla="*/ 9 w 47"/>
                  <a:gd name="T97" fmla="*/ 1 h 54"/>
                  <a:gd name="T98" fmla="*/ 6 w 47"/>
                  <a:gd name="T99" fmla="*/ 1 h 54"/>
                  <a:gd name="T100" fmla="*/ 3 w 47"/>
                  <a:gd name="T101" fmla="*/ 0 h 54"/>
                  <a:gd name="T102" fmla="*/ 0 w 47"/>
                  <a:gd name="T103" fmla="*/ 3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7" h="54">
                    <a:moveTo>
                      <a:pt x="0" y="3"/>
                    </a:moveTo>
                    <a:lnTo>
                      <a:pt x="1" y="6"/>
                    </a:lnTo>
                    <a:lnTo>
                      <a:pt x="6" y="8"/>
                    </a:lnTo>
                    <a:lnTo>
                      <a:pt x="6" y="11"/>
                    </a:lnTo>
                    <a:lnTo>
                      <a:pt x="11" y="13"/>
                    </a:lnTo>
                    <a:lnTo>
                      <a:pt x="11" y="14"/>
                    </a:lnTo>
                    <a:lnTo>
                      <a:pt x="14" y="17"/>
                    </a:lnTo>
                    <a:lnTo>
                      <a:pt x="16" y="19"/>
                    </a:lnTo>
                    <a:lnTo>
                      <a:pt x="17" y="22"/>
                    </a:lnTo>
                    <a:lnTo>
                      <a:pt x="19" y="24"/>
                    </a:lnTo>
                    <a:lnTo>
                      <a:pt x="19" y="25"/>
                    </a:lnTo>
                    <a:lnTo>
                      <a:pt x="19" y="28"/>
                    </a:lnTo>
                    <a:lnTo>
                      <a:pt x="19" y="30"/>
                    </a:lnTo>
                    <a:lnTo>
                      <a:pt x="21" y="33"/>
                    </a:lnTo>
                    <a:lnTo>
                      <a:pt x="22" y="35"/>
                    </a:lnTo>
                    <a:lnTo>
                      <a:pt x="25" y="38"/>
                    </a:lnTo>
                    <a:lnTo>
                      <a:pt x="25" y="41"/>
                    </a:lnTo>
                    <a:lnTo>
                      <a:pt x="27" y="43"/>
                    </a:lnTo>
                    <a:lnTo>
                      <a:pt x="28" y="46"/>
                    </a:lnTo>
                    <a:lnTo>
                      <a:pt x="28" y="46"/>
                    </a:lnTo>
                    <a:lnTo>
                      <a:pt x="30" y="47"/>
                    </a:lnTo>
                    <a:lnTo>
                      <a:pt x="33" y="52"/>
                    </a:lnTo>
                    <a:lnTo>
                      <a:pt x="35" y="52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1" y="51"/>
                    </a:lnTo>
                    <a:lnTo>
                      <a:pt x="43" y="51"/>
                    </a:lnTo>
                    <a:lnTo>
                      <a:pt x="44" y="46"/>
                    </a:lnTo>
                    <a:lnTo>
                      <a:pt x="44" y="43"/>
                    </a:lnTo>
                    <a:lnTo>
                      <a:pt x="47" y="40"/>
                    </a:lnTo>
                    <a:lnTo>
                      <a:pt x="47" y="36"/>
                    </a:lnTo>
                    <a:lnTo>
                      <a:pt x="47" y="36"/>
                    </a:lnTo>
                    <a:lnTo>
                      <a:pt x="44" y="32"/>
                    </a:lnTo>
                    <a:lnTo>
                      <a:pt x="44" y="24"/>
                    </a:lnTo>
                    <a:lnTo>
                      <a:pt x="44" y="21"/>
                    </a:lnTo>
                    <a:lnTo>
                      <a:pt x="43" y="17"/>
                    </a:lnTo>
                    <a:lnTo>
                      <a:pt x="43" y="17"/>
                    </a:lnTo>
                    <a:lnTo>
                      <a:pt x="41" y="13"/>
                    </a:lnTo>
                    <a:lnTo>
                      <a:pt x="38" y="9"/>
                    </a:lnTo>
                    <a:lnTo>
                      <a:pt x="36" y="8"/>
                    </a:lnTo>
                    <a:lnTo>
                      <a:pt x="35" y="8"/>
                    </a:lnTo>
                    <a:lnTo>
                      <a:pt x="32" y="5"/>
                    </a:lnTo>
                    <a:lnTo>
                      <a:pt x="28" y="5"/>
                    </a:lnTo>
                    <a:lnTo>
                      <a:pt x="27" y="6"/>
                    </a:lnTo>
                    <a:lnTo>
                      <a:pt x="24" y="3"/>
                    </a:lnTo>
                    <a:lnTo>
                      <a:pt x="21" y="1"/>
                    </a:lnTo>
                    <a:lnTo>
                      <a:pt x="17" y="3"/>
                    </a:lnTo>
                    <a:lnTo>
                      <a:pt x="14" y="3"/>
                    </a:lnTo>
                    <a:lnTo>
                      <a:pt x="9" y="1"/>
                    </a:lnTo>
                    <a:lnTo>
                      <a:pt x="6" y="1"/>
                    </a:lnTo>
                    <a:lnTo>
                      <a:pt x="3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50" name="Freeform 61"/>
              <p:cNvSpPr>
                <a:spLocks/>
              </p:cNvSpPr>
              <p:nvPr/>
            </p:nvSpPr>
            <p:spPr bwMode="auto">
              <a:xfrm>
                <a:off x="4758" y="2245"/>
                <a:ext cx="1" cy="4"/>
              </a:xfrm>
              <a:custGeom>
                <a:avLst/>
                <a:gdLst>
                  <a:gd name="T0" fmla="*/ 2 w 2"/>
                  <a:gd name="T1" fmla="*/ 8 h 8"/>
                  <a:gd name="T2" fmla="*/ 2 w 2"/>
                  <a:gd name="T3" fmla="*/ 5 h 8"/>
                  <a:gd name="T4" fmla="*/ 2 w 2"/>
                  <a:gd name="T5" fmla="*/ 0 h 8"/>
                  <a:gd name="T6" fmla="*/ 0 w 2"/>
                  <a:gd name="T7" fmla="*/ 5 h 8"/>
                  <a:gd name="T8" fmla="*/ 2 w 2"/>
                  <a:gd name="T9" fmla="*/ 8 h 8"/>
                  <a:gd name="T10" fmla="*/ 2 w 2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8">
                    <a:moveTo>
                      <a:pt x="2" y="8"/>
                    </a:moveTo>
                    <a:lnTo>
                      <a:pt x="2" y="5"/>
                    </a:lnTo>
                    <a:lnTo>
                      <a:pt x="2" y="0"/>
                    </a:lnTo>
                    <a:lnTo>
                      <a:pt x="0" y="5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51" name="Freeform 62"/>
              <p:cNvSpPr>
                <a:spLocks/>
              </p:cNvSpPr>
              <p:nvPr/>
            </p:nvSpPr>
            <p:spPr bwMode="auto">
              <a:xfrm>
                <a:off x="4760" y="2380"/>
                <a:ext cx="8" cy="7"/>
              </a:xfrm>
              <a:custGeom>
                <a:avLst/>
                <a:gdLst>
                  <a:gd name="T0" fmla="*/ 1 w 16"/>
                  <a:gd name="T1" fmla="*/ 12 h 12"/>
                  <a:gd name="T2" fmla="*/ 3 w 16"/>
                  <a:gd name="T3" fmla="*/ 11 h 12"/>
                  <a:gd name="T4" fmla="*/ 6 w 16"/>
                  <a:gd name="T5" fmla="*/ 9 h 12"/>
                  <a:gd name="T6" fmla="*/ 6 w 16"/>
                  <a:gd name="T7" fmla="*/ 9 h 12"/>
                  <a:gd name="T8" fmla="*/ 8 w 16"/>
                  <a:gd name="T9" fmla="*/ 7 h 12"/>
                  <a:gd name="T10" fmla="*/ 11 w 16"/>
                  <a:gd name="T11" fmla="*/ 6 h 12"/>
                  <a:gd name="T12" fmla="*/ 16 w 16"/>
                  <a:gd name="T13" fmla="*/ 7 h 12"/>
                  <a:gd name="T14" fmla="*/ 16 w 16"/>
                  <a:gd name="T15" fmla="*/ 4 h 12"/>
                  <a:gd name="T16" fmla="*/ 14 w 16"/>
                  <a:gd name="T17" fmla="*/ 0 h 12"/>
                  <a:gd name="T18" fmla="*/ 11 w 16"/>
                  <a:gd name="T19" fmla="*/ 3 h 12"/>
                  <a:gd name="T20" fmla="*/ 6 w 16"/>
                  <a:gd name="T21" fmla="*/ 4 h 12"/>
                  <a:gd name="T22" fmla="*/ 3 w 16"/>
                  <a:gd name="T23" fmla="*/ 7 h 12"/>
                  <a:gd name="T24" fmla="*/ 0 w 16"/>
                  <a:gd name="T25" fmla="*/ 9 h 12"/>
                  <a:gd name="T26" fmla="*/ 1 w 16"/>
                  <a:gd name="T2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" h="12">
                    <a:moveTo>
                      <a:pt x="1" y="12"/>
                    </a:moveTo>
                    <a:lnTo>
                      <a:pt x="3" y="11"/>
                    </a:lnTo>
                    <a:lnTo>
                      <a:pt x="6" y="9"/>
                    </a:lnTo>
                    <a:lnTo>
                      <a:pt x="6" y="9"/>
                    </a:lnTo>
                    <a:lnTo>
                      <a:pt x="8" y="7"/>
                    </a:lnTo>
                    <a:lnTo>
                      <a:pt x="11" y="6"/>
                    </a:lnTo>
                    <a:lnTo>
                      <a:pt x="16" y="7"/>
                    </a:lnTo>
                    <a:lnTo>
                      <a:pt x="16" y="4"/>
                    </a:lnTo>
                    <a:lnTo>
                      <a:pt x="14" y="0"/>
                    </a:lnTo>
                    <a:lnTo>
                      <a:pt x="11" y="3"/>
                    </a:lnTo>
                    <a:lnTo>
                      <a:pt x="6" y="4"/>
                    </a:lnTo>
                    <a:lnTo>
                      <a:pt x="3" y="7"/>
                    </a:lnTo>
                    <a:lnTo>
                      <a:pt x="0" y="9"/>
                    </a:lnTo>
                    <a:lnTo>
                      <a:pt x="1" y="1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52" name="Freeform 63"/>
              <p:cNvSpPr>
                <a:spLocks/>
              </p:cNvSpPr>
              <p:nvPr/>
            </p:nvSpPr>
            <p:spPr bwMode="auto">
              <a:xfrm>
                <a:off x="4779" y="2365"/>
                <a:ext cx="9" cy="5"/>
              </a:xfrm>
              <a:custGeom>
                <a:avLst/>
                <a:gdLst>
                  <a:gd name="T0" fmla="*/ 16 w 19"/>
                  <a:gd name="T1" fmla="*/ 10 h 10"/>
                  <a:gd name="T2" fmla="*/ 19 w 19"/>
                  <a:gd name="T3" fmla="*/ 8 h 10"/>
                  <a:gd name="T4" fmla="*/ 19 w 19"/>
                  <a:gd name="T5" fmla="*/ 4 h 10"/>
                  <a:gd name="T6" fmla="*/ 15 w 19"/>
                  <a:gd name="T7" fmla="*/ 4 h 10"/>
                  <a:gd name="T8" fmla="*/ 11 w 19"/>
                  <a:gd name="T9" fmla="*/ 4 h 10"/>
                  <a:gd name="T10" fmla="*/ 8 w 19"/>
                  <a:gd name="T11" fmla="*/ 0 h 10"/>
                  <a:gd name="T12" fmla="*/ 5 w 19"/>
                  <a:gd name="T13" fmla="*/ 2 h 10"/>
                  <a:gd name="T14" fmla="*/ 0 w 19"/>
                  <a:gd name="T15" fmla="*/ 5 h 10"/>
                  <a:gd name="T16" fmla="*/ 2 w 19"/>
                  <a:gd name="T17" fmla="*/ 8 h 10"/>
                  <a:gd name="T18" fmla="*/ 7 w 19"/>
                  <a:gd name="T19" fmla="*/ 8 h 10"/>
                  <a:gd name="T20" fmla="*/ 10 w 19"/>
                  <a:gd name="T21" fmla="*/ 8 h 10"/>
                  <a:gd name="T22" fmla="*/ 13 w 19"/>
                  <a:gd name="T23" fmla="*/ 7 h 10"/>
                  <a:gd name="T24" fmla="*/ 16 w 19"/>
                  <a:gd name="T2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10">
                    <a:moveTo>
                      <a:pt x="16" y="10"/>
                    </a:moveTo>
                    <a:lnTo>
                      <a:pt x="19" y="8"/>
                    </a:lnTo>
                    <a:lnTo>
                      <a:pt x="19" y="4"/>
                    </a:lnTo>
                    <a:lnTo>
                      <a:pt x="15" y="4"/>
                    </a:lnTo>
                    <a:lnTo>
                      <a:pt x="11" y="4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0" y="5"/>
                    </a:lnTo>
                    <a:lnTo>
                      <a:pt x="2" y="8"/>
                    </a:lnTo>
                    <a:lnTo>
                      <a:pt x="7" y="8"/>
                    </a:lnTo>
                    <a:lnTo>
                      <a:pt x="10" y="8"/>
                    </a:lnTo>
                    <a:lnTo>
                      <a:pt x="13" y="7"/>
                    </a:lnTo>
                    <a:lnTo>
                      <a:pt x="16" y="1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53" name="Freeform 64"/>
              <p:cNvSpPr>
                <a:spLocks/>
              </p:cNvSpPr>
              <p:nvPr/>
            </p:nvSpPr>
            <p:spPr bwMode="auto">
              <a:xfrm>
                <a:off x="4783" y="2213"/>
                <a:ext cx="6" cy="7"/>
              </a:xfrm>
              <a:custGeom>
                <a:avLst/>
                <a:gdLst>
                  <a:gd name="T0" fmla="*/ 0 w 11"/>
                  <a:gd name="T1" fmla="*/ 5 h 14"/>
                  <a:gd name="T2" fmla="*/ 0 w 11"/>
                  <a:gd name="T3" fmla="*/ 8 h 14"/>
                  <a:gd name="T4" fmla="*/ 3 w 11"/>
                  <a:gd name="T5" fmla="*/ 11 h 14"/>
                  <a:gd name="T6" fmla="*/ 8 w 11"/>
                  <a:gd name="T7" fmla="*/ 14 h 14"/>
                  <a:gd name="T8" fmla="*/ 8 w 11"/>
                  <a:gd name="T9" fmla="*/ 14 h 14"/>
                  <a:gd name="T10" fmla="*/ 9 w 11"/>
                  <a:gd name="T11" fmla="*/ 11 h 14"/>
                  <a:gd name="T12" fmla="*/ 11 w 11"/>
                  <a:gd name="T13" fmla="*/ 8 h 14"/>
                  <a:gd name="T14" fmla="*/ 11 w 11"/>
                  <a:gd name="T15" fmla="*/ 3 h 14"/>
                  <a:gd name="T16" fmla="*/ 8 w 11"/>
                  <a:gd name="T17" fmla="*/ 1 h 14"/>
                  <a:gd name="T18" fmla="*/ 3 w 11"/>
                  <a:gd name="T19" fmla="*/ 0 h 14"/>
                  <a:gd name="T20" fmla="*/ 0 w 11"/>
                  <a:gd name="T21" fmla="*/ 1 h 14"/>
                  <a:gd name="T22" fmla="*/ 0 w 11"/>
                  <a:gd name="T23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" h="14">
                    <a:moveTo>
                      <a:pt x="0" y="5"/>
                    </a:moveTo>
                    <a:lnTo>
                      <a:pt x="0" y="8"/>
                    </a:lnTo>
                    <a:lnTo>
                      <a:pt x="3" y="11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9" y="11"/>
                    </a:lnTo>
                    <a:lnTo>
                      <a:pt x="11" y="8"/>
                    </a:lnTo>
                    <a:lnTo>
                      <a:pt x="11" y="3"/>
                    </a:lnTo>
                    <a:lnTo>
                      <a:pt x="8" y="1"/>
                    </a:lnTo>
                    <a:lnTo>
                      <a:pt x="3" y="0"/>
                    </a:lnTo>
                    <a:lnTo>
                      <a:pt x="0" y="1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54" name="Freeform 65"/>
              <p:cNvSpPr>
                <a:spLocks/>
              </p:cNvSpPr>
              <p:nvPr/>
            </p:nvSpPr>
            <p:spPr bwMode="auto">
              <a:xfrm>
                <a:off x="4787" y="2245"/>
                <a:ext cx="25" cy="31"/>
              </a:xfrm>
              <a:custGeom>
                <a:avLst/>
                <a:gdLst>
                  <a:gd name="T0" fmla="*/ 0 w 49"/>
                  <a:gd name="T1" fmla="*/ 8 h 62"/>
                  <a:gd name="T2" fmla="*/ 3 w 49"/>
                  <a:gd name="T3" fmla="*/ 8 h 62"/>
                  <a:gd name="T4" fmla="*/ 8 w 49"/>
                  <a:gd name="T5" fmla="*/ 9 h 62"/>
                  <a:gd name="T6" fmla="*/ 9 w 49"/>
                  <a:gd name="T7" fmla="*/ 13 h 62"/>
                  <a:gd name="T8" fmla="*/ 9 w 49"/>
                  <a:gd name="T9" fmla="*/ 17 h 62"/>
                  <a:gd name="T10" fmla="*/ 9 w 49"/>
                  <a:gd name="T11" fmla="*/ 21 h 62"/>
                  <a:gd name="T12" fmla="*/ 9 w 49"/>
                  <a:gd name="T13" fmla="*/ 24 h 62"/>
                  <a:gd name="T14" fmla="*/ 9 w 49"/>
                  <a:gd name="T15" fmla="*/ 28 h 62"/>
                  <a:gd name="T16" fmla="*/ 9 w 49"/>
                  <a:gd name="T17" fmla="*/ 32 h 62"/>
                  <a:gd name="T18" fmla="*/ 9 w 49"/>
                  <a:gd name="T19" fmla="*/ 35 h 62"/>
                  <a:gd name="T20" fmla="*/ 9 w 49"/>
                  <a:gd name="T21" fmla="*/ 40 h 62"/>
                  <a:gd name="T22" fmla="*/ 8 w 49"/>
                  <a:gd name="T23" fmla="*/ 43 h 62"/>
                  <a:gd name="T24" fmla="*/ 8 w 49"/>
                  <a:gd name="T25" fmla="*/ 46 h 62"/>
                  <a:gd name="T26" fmla="*/ 8 w 49"/>
                  <a:gd name="T27" fmla="*/ 47 h 62"/>
                  <a:gd name="T28" fmla="*/ 8 w 49"/>
                  <a:gd name="T29" fmla="*/ 51 h 62"/>
                  <a:gd name="T30" fmla="*/ 9 w 49"/>
                  <a:gd name="T31" fmla="*/ 55 h 62"/>
                  <a:gd name="T32" fmla="*/ 8 w 49"/>
                  <a:gd name="T33" fmla="*/ 59 h 62"/>
                  <a:gd name="T34" fmla="*/ 8 w 49"/>
                  <a:gd name="T35" fmla="*/ 62 h 62"/>
                  <a:gd name="T36" fmla="*/ 11 w 49"/>
                  <a:gd name="T37" fmla="*/ 62 h 62"/>
                  <a:gd name="T38" fmla="*/ 12 w 49"/>
                  <a:gd name="T39" fmla="*/ 57 h 62"/>
                  <a:gd name="T40" fmla="*/ 16 w 49"/>
                  <a:gd name="T41" fmla="*/ 55 h 62"/>
                  <a:gd name="T42" fmla="*/ 19 w 49"/>
                  <a:gd name="T43" fmla="*/ 54 h 62"/>
                  <a:gd name="T44" fmla="*/ 24 w 49"/>
                  <a:gd name="T45" fmla="*/ 52 h 62"/>
                  <a:gd name="T46" fmla="*/ 27 w 49"/>
                  <a:gd name="T47" fmla="*/ 52 h 62"/>
                  <a:gd name="T48" fmla="*/ 31 w 49"/>
                  <a:gd name="T49" fmla="*/ 51 h 62"/>
                  <a:gd name="T50" fmla="*/ 31 w 49"/>
                  <a:gd name="T51" fmla="*/ 47 h 62"/>
                  <a:gd name="T52" fmla="*/ 31 w 49"/>
                  <a:gd name="T53" fmla="*/ 47 h 62"/>
                  <a:gd name="T54" fmla="*/ 36 w 49"/>
                  <a:gd name="T55" fmla="*/ 47 h 62"/>
                  <a:gd name="T56" fmla="*/ 36 w 49"/>
                  <a:gd name="T57" fmla="*/ 44 h 62"/>
                  <a:gd name="T58" fmla="*/ 36 w 49"/>
                  <a:gd name="T59" fmla="*/ 41 h 62"/>
                  <a:gd name="T60" fmla="*/ 39 w 49"/>
                  <a:gd name="T61" fmla="*/ 38 h 62"/>
                  <a:gd name="T62" fmla="*/ 43 w 49"/>
                  <a:gd name="T63" fmla="*/ 38 h 62"/>
                  <a:gd name="T64" fmla="*/ 44 w 49"/>
                  <a:gd name="T65" fmla="*/ 35 h 62"/>
                  <a:gd name="T66" fmla="*/ 47 w 49"/>
                  <a:gd name="T67" fmla="*/ 33 h 62"/>
                  <a:gd name="T68" fmla="*/ 47 w 49"/>
                  <a:gd name="T69" fmla="*/ 28 h 62"/>
                  <a:gd name="T70" fmla="*/ 47 w 49"/>
                  <a:gd name="T71" fmla="*/ 25 h 62"/>
                  <a:gd name="T72" fmla="*/ 47 w 49"/>
                  <a:gd name="T73" fmla="*/ 22 h 62"/>
                  <a:gd name="T74" fmla="*/ 49 w 49"/>
                  <a:gd name="T75" fmla="*/ 21 h 62"/>
                  <a:gd name="T76" fmla="*/ 47 w 49"/>
                  <a:gd name="T77" fmla="*/ 17 h 62"/>
                  <a:gd name="T78" fmla="*/ 46 w 49"/>
                  <a:gd name="T79" fmla="*/ 17 h 62"/>
                  <a:gd name="T80" fmla="*/ 41 w 49"/>
                  <a:gd name="T81" fmla="*/ 19 h 62"/>
                  <a:gd name="T82" fmla="*/ 38 w 49"/>
                  <a:gd name="T83" fmla="*/ 22 h 62"/>
                  <a:gd name="T84" fmla="*/ 39 w 49"/>
                  <a:gd name="T85" fmla="*/ 17 h 62"/>
                  <a:gd name="T86" fmla="*/ 38 w 49"/>
                  <a:gd name="T87" fmla="*/ 17 h 62"/>
                  <a:gd name="T88" fmla="*/ 35 w 49"/>
                  <a:gd name="T89" fmla="*/ 14 h 62"/>
                  <a:gd name="T90" fmla="*/ 31 w 49"/>
                  <a:gd name="T91" fmla="*/ 16 h 62"/>
                  <a:gd name="T92" fmla="*/ 27 w 49"/>
                  <a:gd name="T93" fmla="*/ 17 h 62"/>
                  <a:gd name="T94" fmla="*/ 27 w 49"/>
                  <a:gd name="T95" fmla="*/ 17 h 62"/>
                  <a:gd name="T96" fmla="*/ 24 w 49"/>
                  <a:gd name="T97" fmla="*/ 17 h 62"/>
                  <a:gd name="T98" fmla="*/ 22 w 49"/>
                  <a:gd name="T99" fmla="*/ 13 h 62"/>
                  <a:gd name="T100" fmla="*/ 19 w 49"/>
                  <a:gd name="T101" fmla="*/ 9 h 62"/>
                  <a:gd name="T102" fmla="*/ 19 w 49"/>
                  <a:gd name="T103" fmla="*/ 9 h 62"/>
                  <a:gd name="T104" fmla="*/ 16 w 49"/>
                  <a:gd name="T105" fmla="*/ 8 h 62"/>
                  <a:gd name="T106" fmla="*/ 12 w 49"/>
                  <a:gd name="T107" fmla="*/ 5 h 62"/>
                  <a:gd name="T108" fmla="*/ 11 w 49"/>
                  <a:gd name="T109" fmla="*/ 5 h 62"/>
                  <a:gd name="T110" fmla="*/ 8 w 49"/>
                  <a:gd name="T111" fmla="*/ 5 h 62"/>
                  <a:gd name="T112" fmla="*/ 3 w 49"/>
                  <a:gd name="T113" fmla="*/ 0 h 62"/>
                  <a:gd name="T114" fmla="*/ 1 w 49"/>
                  <a:gd name="T115" fmla="*/ 5 h 62"/>
                  <a:gd name="T116" fmla="*/ 0 w 49"/>
                  <a:gd name="T117" fmla="*/ 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" h="62">
                    <a:moveTo>
                      <a:pt x="0" y="8"/>
                    </a:moveTo>
                    <a:lnTo>
                      <a:pt x="3" y="8"/>
                    </a:lnTo>
                    <a:lnTo>
                      <a:pt x="8" y="9"/>
                    </a:lnTo>
                    <a:lnTo>
                      <a:pt x="9" y="13"/>
                    </a:lnTo>
                    <a:lnTo>
                      <a:pt x="9" y="17"/>
                    </a:lnTo>
                    <a:lnTo>
                      <a:pt x="9" y="21"/>
                    </a:lnTo>
                    <a:lnTo>
                      <a:pt x="9" y="24"/>
                    </a:lnTo>
                    <a:lnTo>
                      <a:pt x="9" y="28"/>
                    </a:lnTo>
                    <a:lnTo>
                      <a:pt x="9" y="32"/>
                    </a:lnTo>
                    <a:lnTo>
                      <a:pt x="9" y="35"/>
                    </a:lnTo>
                    <a:lnTo>
                      <a:pt x="9" y="40"/>
                    </a:lnTo>
                    <a:lnTo>
                      <a:pt x="8" y="43"/>
                    </a:lnTo>
                    <a:lnTo>
                      <a:pt x="8" y="46"/>
                    </a:lnTo>
                    <a:lnTo>
                      <a:pt x="8" y="47"/>
                    </a:lnTo>
                    <a:lnTo>
                      <a:pt x="8" y="51"/>
                    </a:lnTo>
                    <a:lnTo>
                      <a:pt x="9" y="55"/>
                    </a:lnTo>
                    <a:lnTo>
                      <a:pt x="8" y="59"/>
                    </a:lnTo>
                    <a:lnTo>
                      <a:pt x="8" y="62"/>
                    </a:lnTo>
                    <a:lnTo>
                      <a:pt x="11" y="62"/>
                    </a:lnTo>
                    <a:lnTo>
                      <a:pt x="12" y="57"/>
                    </a:lnTo>
                    <a:lnTo>
                      <a:pt x="16" y="55"/>
                    </a:lnTo>
                    <a:lnTo>
                      <a:pt x="19" y="54"/>
                    </a:lnTo>
                    <a:lnTo>
                      <a:pt x="24" y="52"/>
                    </a:lnTo>
                    <a:lnTo>
                      <a:pt x="27" y="52"/>
                    </a:lnTo>
                    <a:lnTo>
                      <a:pt x="31" y="51"/>
                    </a:lnTo>
                    <a:lnTo>
                      <a:pt x="31" y="47"/>
                    </a:lnTo>
                    <a:lnTo>
                      <a:pt x="31" y="47"/>
                    </a:lnTo>
                    <a:lnTo>
                      <a:pt x="36" y="47"/>
                    </a:lnTo>
                    <a:lnTo>
                      <a:pt x="36" y="44"/>
                    </a:lnTo>
                    <a:lnTo>
                      <a:pt x="36" y="41"/>
                    </a:lnTo>
                    <a:lnTo>
                      <a:pt x="39" y="38"/>
                    </a:lnTo>
                    <a:lnTo>
                      <a:pt x="43" y="38"/>
                    </a:lnTo>
                    <a:lnTo>
                      <a:pt x="44" y="35"/>
                    </a:lnTo>
                    <a:lnTo>
                      <a:pt x="47" y="33"/>
                    </a:lnTo>
                    <a:lnTo>
                      <a:pt x="47" y="28"/>
                    </a:lnTo>
                    <a:lnTo>
                      <a:pt x="47" y="25"/>
                    </a:lnTo>
                    <a:lnTo>
                      <a:pt x="47" y="22"/>
                    </a:lnTo>
                    <a:lnTo>
                      <a:pt x="49" y="21"/>
                    </a:lnTo>
                    <a:lnTo>
                      <a:pt x="47" y="17"/>
                    </a:lnTo>
                    <a:lnTo>
                      <a:pt x="46" y="17"/>
                    </a:lnTo>
                    <a:lnTo>
                      <a:pt x="41" y="19"/>
                    </a:lnTo>
                    <a:lnTo>
                      <a:pt x="38" y="22"/>
                    </a:lnTo>
                    <a:lnTo>
                      <a:pt x="39" y="17"/>
                    </a:lnTo>
                    <a:lnTo>
                      <a:pt x="38" y="17"/>
                    </a:lnTo>
                    <a:lnTo>
                      <a:pt x="35" y="14"/>
                    </a:lnTo>
                    <a:lnTo>
                      <a:pt x="31" y="16"/>
                    </a:lnTo>
                    <a:lnTo>
                      <a:pt x="27" y="17"/>
                    </a:lnTo>
                    <a:lnTo>
                      <a:pt x="27" y="17"/>
                    </a:lnTo>
                    <a:lnTo>
                      <a:pt x="24" y="17"/>
                    </a:lnTo>
                    <a:lnTo>
                      <a:pt x="22" y="13"/>
                    </a:lnTo>
                    <a:lnTo>
                      <a:pt x="19" y="9"/>
                    </a:lnTo>
                    <a:lnTo>
                      <a:pt x="19" y="9"/>
                    </a:lnTo>
                    <a:lnTo>
                      <a:pt x="16" y="8"/>
                    </a:lnTo>
                    <a:lnTo>
                      <a:pt x="12" y="5"/>
                    </a:lnTo>
                    <a:lnTo>
                      <a:pt x="11" y="5"/>
                    </a:lnTo>
                    <a:lnTo>
                      <a:pt x="8" y="5"/>
                    </a:lnTo>
                    <a:lnTo>
                      <a:pt x="3" y="0"/>
                    </a:lnTo>
                    <a:lnTo>
                      <a:pt x="1" y="5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55" name="Freeform 66"/>
              <p:cNvSpPr>
                <a:spLocks/>
              </p:cNvSpPr>
              <p:nvPr/>
            </p:nvSpPr>
            <p:spPr bwMode="auto">
              <a:xfrm>
                <a:off x="4787" y="2231"/>
                <a:ext cx="4" cy="11"/>
              </a:xfrm>
              <a:custGeom>
                <a:avLst/>
                <a:gdLst>
                  <a:gd name="T0" fmla="*/ 3 w 8"/>
                  <a:gd name="T1" fmla="*/ 7 h 23"/>
                  <a:gd name="T2" fmla="*/ 3 w 8"/>
                  <a:gd name="T3" fmla="*/ 8 h 23"/>
                  <a:gd name="T4" fmla="*/ 0 w 8"/>
                  <a:gd name="T5" fmla="*/ 11 h 23"/>
                  <a:gd name="T6" fmla="*/ 1 w 8"/>
                  <a:gd name="T7" fmla="*/ 16 h 23"/>
                  <a:gd name="T8" fmla="*/ 3 w 8"/>
                  <a:gd name="T9" fmla="*/ 19 h 23"/>
                  <a:gd name="T10" fmla="*/ 5 w 8"/>
                  <a:gd name="T11" fmla="*/ 23 h 23"/>
                  <a:gd name="T12" fmla="*/ 6 w 8"/>
                  <a:gd name="T13" fmla="*/ 11 h 23"/>
                  <a:gd name="T14" fmla="*/ 8 w 8"/>
                  <a:gd name="T15" fmla="*/ 0 h 23"/>
                  <a:gd name="T16" fmla="*/ 5 w 8"/>
                  <a:gd name="T17" fmla="*/ 0 h 23"/>
                  <a:gd name="T18" fmla="*/ 1 w 8"/>
                  <a:gd name="T19" fmla="*/ 4 h 23"/>
                  <a:gd name="T20" fmla="*/ 3 w 8"/>
                  <a:gd name="T21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8" h="23">
                    <a:moveTo>
                      <a:pt x="3" y="7"/>
                    </a:moveTo>
                    <a:lnTo>
                      <a:pt x="3" y="8"/>
                    </a:lnTo>
                    <a:lnTo>
                      <a:pt x="0" y="11"/>
                    </a:lnTo>
                    <a:lnTo>
                      <a:pt x="1" y="16"/>
                    </a:lnTo>
                    <a:lnTo>
                      <a:pt x="3" y="19"/>
                    </a:lnTo>
                    <a:lnTo>
                      <a:pt x="5" y="23"/>
                    </a:lnTo>
                    <a:lnTo>
                      <a:pt x="6" y="11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1" y="4"/>
                    </a:lnTo>
                    <a:lnTo>
                      <a:pt x="3" y="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56" name="Freeform 67"/>
              <p:cNvSpPr>
                <a:spLocks/>
              </p:cNvSpPr>
              <p:nvPr/>
            </p:nvSpPr>
            <p:spPr bwMode="auto">
              <a:xfrm>
                <a:off x="4795" y="2353"/>
                <a:ext cx="8" cy="6"/>
              </a:xfrm>
              <a:custGeom>
                <a:avLst/>
                <a:gdLst>
                  <a:gd name="T0" fmla="*/ 3 w 17"/>
                  <a:gd name="T1" fmla="*/ 6 h 13"/>
                  <a:gd name="T2" fmla="*/ 3 w 17"/>
                  <a:gd name="T3" fmla="*/ 10 h 13"/>
                  <a:gd name="T4" fmla="*/ 8 w 17"/>
                  <a:gd name="T5" fmla="*/ 13 h 13"/>
                  <a:gd name="T6" fmla="*/ 8 w 17"/>
                  <a:gd name="T7" fmla="*/ 13 h 13"/>
                  <a:gd name="T8" fmla="*/ 11 w 17"/>
                  <a:gd name="T9" fmla="*/ 13 h 13"/>
                  <a:gd name="T10" fmla="*/ 14 w 17"/>
                  <a:gd name="T11" fmla="*/ 11 h 13"/>
                  <a:gd name="T12" fmla="*/ 14 w 17"/>
                  <a:gd name="T13" fmla="*/ 10 h 13"/>
                  <a:gd name="T14" fmla="*/ 14 w 17"/>
                  <a:gd name="T15" fmla="*/ 10 h 13"/>
                  <a:gd name="T16" fmla="*/ 16 w 17"/>
                  <a:gd name="T17" fmla="*/ 6 h 13"/>
                  <a:gd name="T18" fmla="*/ 17 w 17"/>
                  <a:gd name="T19" fmla="*/ 3 h 13"/>
                  <a:gd name="T20" fmla="*/ 14 w 17"/>
                  <a:gd name="T21" fmla="*/ 2 h 13"/>
                  <a:gd name="T22" fmla="*/ 11 w 17"/>
                  <a:gd name="T23" fmla="*/ 0 h 13"/>
                  <a:gd name="T24" fmla="*/ 8 w 17"/>
                  <a:gd name="T25" fmla="*/ 0 h 13"/>
                  <a:gd name="T26" fmla="*/ 3 w 17"/>
                  <a:gd name="T27" fmla="*/ 2 h 13"/>
                  <a:gd name="T28" fmla="*/ 0 w 17"/>
                  <a:gd name="T29" fmla="*/ 3 h 13"/>
                  <a:gd name="T30" fmla="*/ 3 w 17"/>
                  <a:gd name="T31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7" h="13">
                    <a:moveTo>
                      <a:pt x="3" y="6"/>
                    </a:moveTo>
                    <a:lnTo>
                      <a:pt x="3" y="10"/>
                    </a:lnTo>
                    <a:lnTo>
                      <a:pt x="8" y="13"/>
                    </a:lnTo>
                    <a:lnTo>
                      <a:pt x="8" y="13"/>
                    </a:lnTo>
                    <a:lnTo>
                      <a:pt x="11" y="13"/>
                    </a:lnTo>
                    <a:lnTo>
                      <a:pt x="14" y="11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6" y="6"/>
                    </a:lnTo>
                    <a:lnTo>
                      <a:pt x="17" y="3"/>
                    </a:lnTo>
                    <a:lnTo>
                      <a:pt x="14" y="2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3" y="2"/>
                    </a:lnTo>
                    <a:lnTo>
                      <a:pt x="0" y="3"/>
                    </a:lnTo>
                    <a:lnTo>
                      <a:pt x="3" y="6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57" name="Freeform 68"/>
              <p:cNvSpPr>
                <a:spLocks/>
              </p:cNvSpPr>
              <p:nvPr/>
            </p:nvSpPr>
            <p:spPr bwMode="auto">
              <a:xfrm>
                <a:off x="4796" y="2289"/>
                <a:ext cx="84" cy="87"/>
              </a:xfrm>
              <a:custGeom>
                <a:avLst/>
                <a:gdLst>
                  <a:gd name="T0" fmla="*/ 3 w 168"/>
                  <a:gd name="T1" fmla="*/ 117 h 175"/>
                  <a:gd name="T2" fmla="*/ 13 w 168"/>
                  <a:gd name="T3" fmla="*/ 110 h 175"/>
                  <a:gd name="T4" fmla="*/ 18 w 168"/>
                  <a:gd name="T5" fmla="*/ 100 h 175"/>
                  <a:gd name="T6" fmla="*/ 21 w 168"/>
                  <a:gd name="T7" fmla="*/ 87 h 175"/>
                  <a:gd name="T8" fmla="*/ 30 w 168"/>
                  <a:gd name="T9" fmla="*/ 89 h 175"/>
                  <a:gd name="T10" fmla="*/ 38 w 168"/>
                  <a:gd name="T11" fmla="*/ 97 h 175"/>
                  <a:gd name="T12" fmla="*/ 43 w 168"/>
                  <a:gd name="T13" fmla="*/ 86 h 175"/>
                  <a:gd name="T14" fmla="*/ 49 w 168"/>
                  <a:gd name="T15" fmla="*/ 95 h 175"/>
                  <a:gd name="T16" fmla="*/ 51 w 168"/>
                  <a:gd name="T17" fmla="*/ 92 h 175"/>
                  <a:gd name="T18" fmla="*/ 60 w 168"/>
                  <a:gd name="T19" fmla="*/ 81 h 175"/>
                  <a:gd name="T20" fmla="*/ 76 w 168"/>
                  <a:gd name="T21" fmla="*/ 91 h 175"/>
                  <a:gd name="T22" fmla="*/ 83 w 168"/>
                  <a:gd name="T23" fmla="*/ 105 h 175"/>
                  <a:gd name="T24" fmla="*/ 76 w 168"/>
                  <a:gd name="T25" fmla="*/ 113 h 175"/>
                  <a:gd name="T26" fmla="*/ 76 w 168"/>
                  <a:gd name="T27" fmla="*/ 127 h 175"/>
                  <a:gd name="T28" fmla="*/ 83 w 168"/>
                  <a:gd name="T29" fmla="*/ 146 h 175"/>
                  <a:gd name="T30" fmla="*/ 106 w 168"/>
                  <a:gd name="T31" fmla="*/ 160 h 175"/>
                  <a:gd name="T32" fmla="*/ 119 w 168"/>
                  <a:gd name="T33" fmla="*/ 154 h 175"/>
                  <a:gd name="T34" fmla="*/ 124 w 168"/>
                  <a:gd name="T35" fmla="*/ 160 h 175"/>
                  <a:gd name="T36" fmla="*/ 125 w 168"/>
                  <a:gd name="T37" fmla="*/ 175 h 175"/>
                  <a:gd name="T38" fmla="*/ 140 w 168"/>
                  <a:gd name="T39" fmla="*/ 152 h 175"/>
                  <a:gd name="T40" fmla="*/ 135 w 168"/>
                  <a:gd name="T41" fmla="*/ 138 h 175"/>
                  <a:gd name="T42" fmla="*/ 127 w 168"/>
                  <a:gd name="T43" fmla="*/ 129 h 175"/>
                  <a:gd name="T44" fmla="*/ 130 w 168"/>
                  <a:gd name="T45" fmla="*/ 114 h 175"/>
                  <a:gd name="T46" fmla="*/ 135 w 168"/>
                  <a:gd name="T47" fmla="*/ 105 h 175"/>
                  <a:gd name="T48" fmla="*/ 143 w 168"/>
                  <a:gd name="T49" fmla="*/ 110 h 175"/>
                  <a:gd name="T50" fmla="*/ 151 w 168"/>
                  <a:gd name="T51" fmla="*/ 121 h 175"/>
                  <a:gd name="T52" fmla="*/ 152 w 168"/>
                  <a:gd name="T53" fmla="*/ 135 h 175"/>
                  <a:gd name="T54" fmla="*/ 157 w 168"/>
                  <a:gd name="T55" fmla="*/ 144 h 175"/>
                  <a:gd name="T56" fmla="*/ 157 w 168"/>
                  <a:gd name="T57" fmla="*/ 138 h 175"/>
                  <a:gd name="T58" fmla="*/ 157 w 168"/>
                  <a:gd name="T59" fmla="*/ 124 h 175"/>
                  <a:gd name="T60" fmla="*/ 159 w 168"/>
                  <a:gd name="T61" fmla="*/ 119 h 175"/>
                  <a:gd name="T62" fmla="*/ 167 w 168"/>
                  <a:gd name="T63" fmla="*/ 100 h 175"/>
                  <a:gd name="T64" fmla="*/ 165 w 168"/>
                  <a:gd name="T65" fmla="*/ 86 h 175"/>
                  <a:gd name="T66" fmla="*/ 160 w 168"/>
                  <a:gd name="T67" fmla="*/ 76 h 175"/>
                  <a:gd name="T68" fmla="*/ 159 w 168"/>
                  <a:gd name="T69" fmla="*/ 65 h 175"/>
                  <a:gd name="T70" fmla="*/ 157 w 168"/>
                  <a:gd name="T71" fmla="*/ 56 h 175"/>
                  <a:gd name="T72" fmla="*/ 146 w 168"/>
                  <a:gd name="T73" fmla="*/ 49 h 175"/>
                  <a:gd name="T74" fmla="*/ 154 w 168"/>
                  <a:gd name="T75" fmla="*/ 35 h 175"/>
                  <a:gd name="T76" fmla="*/ 148 w 168"/>
                  <a:gd name="T77" fmla="*/ 29 h 175"/>
                  <a:gd name="T78" fmla="*/ 148 w 168"/>
                  <a:gd name="T79" fmla="*/ 21 h 175"/>
                  <a:gd name="T80" fmla="*/ 141 w 168"/>
                  <a:gd name="T81" fmla="*/ 21 h 175"/>
                  <a:gd name="T82" fmla="*/ 132 w 168"/>
                  <a:gd name="T83" fmla="*/ 11 h 175"/>
                  <a:gd name="T84" fmla="*/ 119 w 168"/>
                  <a:gd name="T85" fmla="*/ 0 h 175"/>
                  <a:gd name="T86" fmla="*/ 121 w 168"/>
                  <a:gd name="T87" fmla="*/ 16 h 175"/>
                  <a:gd name="T88" fmla="*/ 125 w 168"/>
                  <a:gd name="T89" fmla="*/ 30 h 175"/>
                  <a:gd name="T90" fmla="*/ 116 w 168"/>
                  <a:gd name="T91" fmla="*/ 33 h 175"/>
                  <a:gd name="T92" fmla="*/ 111 w 168"/>
                  <a:gd name="T93" fmla="*/ 40 h 175"/>
                  <a:gd name="T94" fmla="*/ 99 w 168"/>
                  <a:gd name="T95" fmla="*/ 35 h 175"/>
                  <a:gd name="T96" fmla="*/ 99 w 168"/>
                  <a:gd name="T97" fmla="*/ 49 h 175"/>
                  <a:gd name="T98" fmla="*/ 92 w 168"/>
                  <a:gd name="T99" fmla="*/ 52 h 175"/>
                  <a:gd name="T100" fmla="*/ 83 w 168"/>
                  <a:gd name="T101" fmla="*/ 57 h 175"/>
                  <a:gd name="T102" fmla="*/ 76 w 168"/>
                  <a:gd name="T103" fmla="*/ 67 h 175"/>
                  <a:gd name="T104" fmla="*/ 62 w 168"/>
                  <a:gd name="T105" fmla="*/ 76 h 175"/>
                  <a:gd name="T106" fmla="*/ 65 w 168"/>
                  <a:gd name="T107" fmla="*/ 72 h 175"/>
                  <a:gd name="T108" fmla="*/ 67 w 168"/>
                  <a:gd name="T109" fmla="*/ 57 h 175"/>
                  <a:gd name="T110" fmla="*/ 56 w 168"/>
                  <a:gd name="T111" fmla="*/ 49 h 175"/>
                  <a:gd name="T112" fmla="*/ 48 w 168"/>
                  <a:gd name="T113" fmla="*/ 49 h 175"/>
                  <a:gd name="T114" fmla="*/ 37 w 168"/>
                  <a:gd name="T115" fmla="*/ 57 h 175"/>
                  <a:gd name="T116" fmla="*/ 33 w 168"/>
                  <a:gd name="T117" fmla="*/ 68 h 175"/>
                  <a:gd name="T118" fmla="*/ 19 w 168"/>
                  <a:gd name="T119" fmla="*/ 72 h 175"/>
                  <a:gd name="T120" fmla="*/ 11 w 168"/>
                  <a:gd name="T121" fmla="*/ 75 h 175"/>
                  <a:gd name="T122" fmla="*/ 7 w 168"/>
                  <a:gd name="T123" fmla="*/ 87 h 175"/>
                  <a:gd name="T124" fmla="*/ 5 w 168"/>
                  <a:gd name="T125" fmla="*/ 98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8" h="175">
                    <a:moveTo>
                      <a:pt x="0" y="110"/>
                    </a:moveTo>
                    <a:lnTo>
                      <a:pt x="0" y="110"/>
                    </a:lnTo>
                    <a:lnTo>
                      <a:pt x="0" y="114"/>
                    </a:lnTo>
                    <a:lnTo>
                      <a:pt x="3" y="117"/>
                    </a:lnTo>
                    <a:lnTo>
                      <a:pt x="7" y="119"/>
                    </a:lnTo>
                    <a:lnTo>
                      <a:pt x="11" y="117"/>
                    </a:lnTo>
                    <a:lnTo>
                      <a:pt x="11" y="113"/>
                    </a:lnTo>
                    <a:lnTo>
                      <a:pt x="13" y="110"/>
                    </a:lnTo>
                    <a:lnTo>
                      <a:pt x="13" y="110"/>
                    </a:lnTo>
                    <a:lnTo>
                      <a:pt x="13" y="105"/>
                    </a:lnTo>
                    <a:lnTo>
                      <a:pt x="13" y="102"/>
                    </a:lnTo>
                    <a:lnTo>
                      <a:pt x="18" y="100"/>
                    </a:lnTo>
                    <a:lnTo>
                      <a:pt x="16" y="97"/>
                    </a:lnTo>
                    <a:lnTo>
                      <a:pt x="19" y="94"/>
                    </a:lnTo>
                    <a:lnTo>
                      <a:pt x="19" y="91"/>
                    </a:lnTo>
                    <a:lnTo>
                      <a:pt x="21" y="87"/>
                    </a:lnTo>
                    <a:lnTo>
                      <a:pt x="24" y="84"/>
                    </a:lnTo>
                    <a:lnTo>
                      <a:pt x="27" y="84"/>
                    </a:lnTo>
                    <a:lnTo>
                      <a:pt x="30" y="86"/>
                    </a:lnTo>
                    <a:lnTo>
                      <a:pt x="30" y="89"/>
                    </a:lnTo>
                    <a:lnTo>
                      <a:pt x="32" y="94"/>
                    </a:lnTo>
                    <a:lnTo>
                      <a:pt x="33" y="97"/>
                    </a:lnTo>
                    <a:lnTo>
                      <a:pt x="35" y="94"/>
                    </a:lnTo>
                    <a:lnTo>
                      <a:pt x="38" y="97"/>
                    </a:lnTo>
                    <a:lnTo>
                      <a:pt x="40" y="94"/>
                    </a:lnTo>
                    <a:lnTo>
                      <a:pt x="40" y="92"/>
                    </a:lnTo>
                    <a:lnTo>
                      <a:pt x="40" y="89"/>
                    </a:lnTo>
                    <a:lnTo>
                      <a:pt x="43" y="86"/>
                    </a:lnTo>
                    <a:lnTo>
                      <a:pt x="45" y="91"/>
                    </a:lnTo>
                    <a:lnTo>
                      <a:pt x="43" y="94"/>
                    </a:lnTo>
                    <a:lnTo>
                      <a:pt x="46" y="94"/>
                    </a:lnTo>
                    <a:lnTo>
                      <a:pt x="49" y="95"/>
                    </a:lnTo>
                    <a:lnTo>
                      <a:pt x="51" y="98"/>
                    </a:lnTo>
                    <a:lnTo>
                      <a:pt x="54" y="98"/>
                    </a:lnTo>
                    <a:lnTo>
                      <a:pt x="53" y="95"/>
                    </a:lnTo>
                    <a:lnTo>
                      <a:pt x="51" y="92"/>
                    </a:lnTo>
                    <a:lnTo>
                      <a:pt x="56" y="89"/>
                    </a:lnTo>
                    <a:lnTo>
                      <a:pt x="54" y="86"/>
                    </a:lnTo>
                    <a:lnTo>
                      <a:pt x="56" y="81"/>
                    </a:lnTo>
                    <a:lnTo>
                      <a:pt x="60" y="81"/>
                    </a:lnTo>
                    <a:lnTo>
                      <a:pt x="62" y="83"/>
                    </a:lnTo>
                    <a:lnTo>
                      <a:pt x="65" y="86"/>
                    </a:lnTo>
                    <a:lnTo>
                      <a:pt x="72" y="89"/>
                    </a:lnTo>
                    <a:lnTo>
                      <a:pt x="76" y="91"/>
                    </a:lnTo>
                    <a:lnTo>
                      <a:pt x="78" y="95"/>
                    </a:lnTo>
                    <a:lnTo>
                      <a:pt x="81" y="98"/>
                    </a:lnTo>
                    <a:lnTo>
                      <a:pt x="83" y="102"/>
                    </a:lnTo>
                    <a:lnTo>
                      <a:pt x="83" y="105"/>
                    </a:lnTo>
                    <a:lnTo>
                      <a:pt x="83" y="106"/>
                    </a:lnTo>
                    <a:lnTo>
                      <a:pt x="81" y="108"/>
                    </a:lnTo>
                    <a:lnTo>
                      <a:pt x="78" y="111"/>
                    </a:lnTo>
                    <a:lnTo>
                      <a:pt x="76" y="113"/>
                    </a:lnTo>
                    <a:lnTo>
                      <a:pt x="75" y="117"/>
                    </a:lnTo>
                    <a:lnTo>
                      <a:pt x="75" y="122"/>
                    </a:lnTo>
                    <a:lnTo>
                      <a:pt x="78" y="125"/>
                    </a:lnTo>
                    <a:lnTo>
                      <a:pt x="76" y="127"/>
                    </a:lnTo>
                    <a:lnTo>
                      <a:pt x="78" y="130"/>
                    </a:lnTo>
                    <a:lnTo>
                      <a:pt x="78" y="137"/>
                    </a:lnTo>
                    <a:lnTo>
                      <a:pt x="81" y="141"/>
                    </a:lnTo>
                    <a:lnTo>
                      <a:pt x="83" y="146"/>
                    </a:lnTo>
                    <a:lnTo>
                      <a:pt x="86" y="149"/>
                    </a:lnTo>
                    <a:lnTo>
                      <a:pt x="91" y="151"/>
                    </a:lnTo>
                    <a:lnTo>
                      <a:pt x="99" y="156"/>
                    </a:lnTo>
                    <a:lnTo>
                      <a:pt x="106" y="160"/>
                    </a:lnTo>
                    <a:lnTo>
                      <a:pt x="111" y="162"/>
                    </a:lnTo>
                    <a:lnTo>
                      <a:pt x="116" y="162"/>
                    </a:lnTo>
                    <a:lnTo>
                      <a:pt x="118" y="159"/>
                    </a:lnTo>
                    <a:lnTo>
                      <a:pt x="119" y="154"/>
                    </a:lnTo>
                    <a:lnTo>
                      <a:pt x="122" y="152"/>
                    </a:lnTo>
                    <a:lnTo>
                      <a:pt x="124" y="156"/>
                    </a:lnTo>
                    <a:lnTo>
                      <a:pt x="125" y="156"/>
                    </a:lnTo>
                    <a:lnTo>
                      <a:pt x="124" y="160"/>
                    </a:lnTo>
                    <a:lnTo>
                      <a:pt x="122" y="163"/>
                    </a:lnTo>
                    <a:lnTo>
                      <a:pt x="122" y="167"/>
                    </a:lnTo>
                    <a:lnTo>
                      <a:pt x="125" y="170"/>
                    </a:lnTo>
                    <a:lnTo>
                      <a:pt x="125" y="175"/>
                    </a:lnTo>
                    <a:lnTo>
                      <a:pt x="127" y="175"/>
                    </a:lnTo>
                    <a:lnTo>
                      <a:pt x="130" y="175"/>
                    </a:lnTo>
                    <a:lnTo>
                      <a:pt x="137" y="163"/>
                    </a:lnTo>
                    <a:lnTo>
                      <a:pt x="140" y="152"/>
                    </a:lnTo>
                    <a:lnTo>
                      <a:pt x="140" y="149"/>
                    </a:lnTo>
                    <a:lnTo>
                      <a:pt x="138" y="146"/>
                    </a:lnTo>
                    <a:lnTo>
                      <a:pt x="137" y="143"/>
                    </a:lnTo>
                    <a:lnTo>
                      <a:pt x="135" y="138"/>
                    </a:lnTo>
                    <a:lnTo>
                      <a:pt x="133" y="135"/>
                    </a:lnTo>
                    <a:lnTo>
                      <a:pt x="130" y="132"/>
                    </a:lnTo>
                    <a:lnTo>
                      <a:pt x="127" y="132"/>
                    </a:lnTo>
                    <a:lnTo>
                      <a:pt x="127" y="129"/>
                    </a:lnTo>
                    <a:lnTo>
                      <a:pt x="127" y="125"/>
                    </a:lnTo>
                    <a:lnTo>
                      <a:pt x="127" y="122"/>
                    </a:lnTo>
                    <a:lnTo>
                      <a:pt x="130" y="119"/>
                    </a:lnTo>
                    <a:lnTo>
                      <a:pt x="130" y="114"/>
                    </a:lnTo>
                    <a:lnTo>
                      <a:pt x="133" y="113"/>
                    </a:lnTo>
                    <a:lnTo>
                      <a:pt x="135" y="113"/>
                    </a:lnTo>
                    <a:lnTo>
                      <a:pt x="135" y="108"/>
                    </a:lnTo>
                    <a:lnTo>
                      <a:pt x="135" y="105"/>
                    </a:lnTo>
                    <a:lnTo>
                      <a:pt x="138" y="102"/>
                    </a:lnTo>
                    <a:lnTo>
                      <a:pt x="141" y="103"/>
                    </a:lnTo>
                    <a:lnTo>
                      <a:pt x="143" y="106"/>
                    </a:lnTo>
                    <a:lnTo>
                      <a:pt x="143" y="110"/>
                    </a:lnTo>
                    <a:lnTo>
                      <a:pt x="146" y="114"/>
                    </a:lnTo>
                    <a:lnTo>
                      <a:pt x="146" y="114"/>
                    </a:lnTo>
                    <a:lnTo>
                      <a:pt x="146" y="117"/>
                    </a:lnTo>
                    <a:lnTo>
                      <a:pt x="151" y="121"/>
                    </a:lnTo>
                    <a:lnTo>
                      <a:pt x="151" y="124"/>
                    </a:lnTo>
                    <a:lnTo>
                      <a:pt x="151" y="127"/>
                    </a:lnTo>
                    <a:lnTo>
                      <a:pt x="151" y="130"/>
                    </a:lnTo>
                    <a:lnTo>
                      <a:pt x="152" y="135"/>
                    </a:lnTo>
                    <a:lnTo>
                      <a:pt x="154" y="138"/>
                    </a:lnTo>
                    <a:lnTo>
                      <a:pt x="156" y="141"/>
                    </a:lnTo>
                    <a:lnTo>
                      <a:pt x="157" y="144"/>
                    </a:lnTo>
                    <a:lnTo>
                      <a:pt x="157" y="144"/>
                    </a:lnTo>
                    <a:lnTo>
                      <a:pt x="157" y="144"/>
                    </a:lnTo>
                    <a:lnTo>
                      <a:pt x="157" y="143"/>
                    </a:lnTo>
                    <a:lnTo>
                      <a:pt x="157" y="140"/>
                    </a:lnTo>
                    <a:lnTo>
                      <a:pt x="157" y="138"/>
                    </a:lnTo>
                    <a:lnTo>
                      <a:pt x="157" y="135"/>
                    </a:lnTo>
                    <a:lnTo>
                      <a:pt x="157" y="132"/>
                    </a:lnTo>
                    <a:lnTo>
                      <a:pt x="157" y="127"/>
                    </a:lnTo>
                    <a:lnTo>
                      <a:pt x="157" y="124"/>
                    </a:lnTo>
                    <a:lnTo>
                      <a:pt x="154" y="121"/>
                    </a:lnTo>
                    <a:lnTo>
                      <a:pt x="157" y="119"/>
                    </a:lnTo>
                    <a:lnTo>
                      <a:pt x="160" y="124"/>
                    </a:lnTo>
                    <a:lnTo>
                      <a:pt x="159" y="119"/>
                    </a:lnTo>
                    <a:lnTo>
                      <a:pt x="162" y="114"/>
                    </a:lnTo>
                    <a:lnTo>
                      <a:pt x="165" y="113"/>
                    </a:lnTo>
                    <a:lnTo>
                      <a:pt x="167" y="108"/>
                    </a:lnTo>
                    <a:lnTo>
                      <a:pt x="167" y="100"/>
                    </a:lnTo>
                    <a:lnTo>
                      <a:pt x="168" y="97"/>
                    </a:lnTo>
                    <a:lnTo>
                      <a:pt x="168" y="94"/>
                    </a:lnTo>
                    <a:lnTo>
                      <a:pt x="167" y="91"/>
                    </a:lnTo>
                    <a:lnTo>
                      <a:pt x="165" y="86"/>
                    </a:lnTo>
                    <a:lnTo>
                      <a:pt x="162" y="83"/>
                    </a:lnTo>
                    <a:lnTo>
                      <a:pt x="160" y="83"/>
                    </a:lnTo>
                    <a:lnTo>
                      <a:pt x="159" y="78"/>
                    </a:lnTo>
                    <a:lnTo>
                      <a:pt x="160" y="76"/>
                    </a:lnTo>
                    <a:lnTo>
                      <a:pt x="160" y="73"/>
                    </a:lnTo>
                    <a:lnTo>
                      <a:pt x="160" y="70"/>
                    </a:lnTo>
                    <a:lnTo>
                      <a:pt x="160" y="67"/>
                    </a:lnTo>
                    <a:lnTo>
                      <a:pt x="159" y="65"/>
                    </a:lnTo>
                    <a:lnTo>
                      <a:pt x="156" y="67"/>
                    </a:lnTo>
                    <a:lnTo>
                      <a:pt x="157" y="64"/>
                    </a:lnTo>
                    <a:lnTo>
                      <a:pt x="157" y="60"/>
                    </a:lnTo>
                    <a:lnTo>
                      <a:pt x="157" y="56"/>
                    </a:lnTo>
                    <a:lnTo>
                      <a:pt x="156" y="52"/>
                    </a:lnTo>
                    <a:lnTo>
                      <a:pt x="151" y="54"/>
                    </a:lnTo>
                    <a:lnTo>
                      <a:pt x="148" y="52"/>
                    </a:lnTo>
                    <a:lnTo>
                      <a:pt x="146" y="49"/>
                    </a:lnTo>
                    <a:lnTo>
                      <a:pt x="151" y="46"/>
                    </a:lnTo>
                    <a:lnTo>
                      <a:pt x="154" y="43"/>
                    </a:lnTo>
                    <a:lnTo>
                      <a:pt x="154" y="40"/>
                    </a:lnTo>
                    <a:lnTo>
                      <a:pt x="154" y="35"/>
                    </a:lnTo>
                    <a:lnTo>
                      <a:pt x="149" y="35"/>
                    </a:lnTo>
                    <a:lnTo>
                      <a:pt x="149" y="35"/>
                    </a:lnTo>
                    <a:lnTo>
                      <a:pt x="149" y="30"/>
                    </a:lnTo>
                    <a:lnTo>
                      <a:pt x="148" y="29"/>
                    </a:lnTo>
                    <a:lnTo>
                      <a:pt x="148" y="26"/>
                    </a:lnTo>
                    <a:lnTo>
                      <a:pt x="149" y="21"/>
                    </a:lnTo>
                    <a:lnTo>
                      <a:pt x="149" y="21"/>
                    </a:lnTo>
                    <a:lnTo>
                      <a:pt x="148" y="21"/>
                    </a:lnTo>
                    <a:lnTo>
                      <a:pt x="145" y="24"/>
                    </a:lnTo>
                    <a:lnTo>
                      <a:pt x="141" y="22"/>
                    </a:lnTo>
                    <a:lnTo>
                      <a:pt x="141" y="22"/>
                    </a:lnTo>
                    <a:lnTo>
                      <a:pt x="141" y="21"/>
                    </a:lnTo>
                    <a:lnTo>
                      <a:pt x="138" y="18"/>
                    </a:lnTo>
                    <a:lnTo>
                      <a:pt x="138" y="14"/>
                    </a:lnTo>
                    <a:lnTo>
                      <a:pt x="135" y="11"/>
                    </a:lnTo>
                    <a:lnTo>
                      <a:pt x="132" y="11"/>
                    </a:lnTo>
                    <a:lnTo>
                      <a:pt x="129" y="10"/>
                    </a:lnTo>
                    <a:lnTo>
                      <a:pt x="125" y="6"/>
                    </a:lnTo>
                    <a:lnTo>
                      <a:pt x="122" y="2"/>
                    </a:lnTo>
                    <a:lnTo>
                      <a:pt x="119" y="0"/>
                    </a:lnTo>
                    <a:lnTo>
                      <a:pt x="118" y="3"/>
                    </a:lnTo>
                    <a:lnTo>
                      <a:pt x="119" y="8"/>
                    </a:lnTo>
                    <a:lnTo>
                      <a:pt x="121" y="11"/>
                    </a:lnTo>
                    <a:lnTo>
                      <a:pt x="121" y="16"/>
                    </a:lnTo>
                    <a:lnTo>
                      <a:pt x="122" y="19"/>
                    </a:lnTo>
                    <a:lnTo>
                      <a:pt x="124" y="24"/>
                    </a:lnTo>
                    <a:lnTo>
                      <a:pt x="125" y="27"/>
                    </a:lnTo>
                    <a:lnTo>
                      <a:pt x="125" y="30"/>
                    </a:lnTo>
                    <a:lnTo>
                      <a:pt x="125" y="33"/>
                    </a:lnTo>
                    <a:lnTo>
                      <a:pt x="122" y="35"/>
                    </a:lnTo>
                    <a:lnTo>
                      <a:pt x="119" y="33"/>
                    </a:lnTo>
                    <a:lnTo>
                      <a:pt x="116" y="33"/>
                    </a:lnTo>
                    <a:lnTo>
                      <a:pt x="113" y="30"/>
                    </a:lnTo>
                    <a:lnTo>
                      <a:pt x="113" y="33"/>
                    </a:lnTo>
                    <a:lnTo>
                      <a:pt x="113" y="37"/>
                    </a:lnTo>
                    <a:lnTo>
                      <a:pt x="111" y="40"/>
                    </a:lnTo>
                    <a:lnTo>
                      <a:pt x="108" y="40"/>
                    </a:lnTo>
                    <a:lnTo>
                      <a:pt x="105" y="35"/>
                    </a:lnTo>
                    <a:lnTo>
                      <a:pt x="102" y="33"/>
                    </a:lnTo>
                    <a:lnTo>
                      <a:pt x="99" y="35"/>
                    </a:lnTo>
                    <a:lnTo>
                      <a:pt x="99" y="38"/>
                    </a:lnTo>
                    <a:lnTo>
                      <a:pt x="99" y="41"/>
                    </a:lnTo>
                    <a:lnTo>
                      <a:pt x="99" y="45"/>
                    </a:lnTo>
                    <a:lnTo>
                      <a:pt x="99" y="49"/>
                    </a:lnTo>
                    <a:lnTo>
                      <a:pt x="99" y="52"/>
                    </a:lnTo>
                    <a:lnTo>
                      <a:pt x="95" y="54"/>
                    </a:lnTo>
                    <a:lnTo>
                      <a:pt x="95" y="54"/>
                    </a:lnTo>
                    <a:lnTo>
                      <a:pt x="92" y="52"/>
                    </a:lnTo>
                    <a:lnTo>
                      <a:pt x="89" y="49"/>
                    </a:lnTo>
                    <a:lnTo>
                      <a:pt x="84" y="51"/>
                    </a:lnTo>
                    <a:lnTo>
                      <a:pt x="83" y="54"/>
                    </a:lnTo>
                    <a:lnTo>
                      <a:pt x="83" y="57"/>
                    </a:lnTo>
                    <a:lnTo>
                      <a:pt x="81" y="62"/>
                    </a:lnTo>
                    <a:lnTo>
                      <a:pt x="81" y="64"/>
                    </a:lnTo>
                    <a:lnTo>
                      <a:pt x="79" y="67"/>
                    </a:lnTo>
                    <a:lnTo>
                      <a:pt x="76" y="67"/>
                    </a:lnTo>
                    <a:lnTo>
                      <a:pt x="73" y="67"/>
                    </a:lnTo>
                    <a:lnTo>
                      <a:pt x="68" y="70"/>
                    </a:lnTo>
                    <a:lnTo>
                      <a:pt x="65" y="73"/>
                    </a:lnTo>
                    <a:lnTo>
                      <a:pt x="62" y="76"/>
                    </a:lnTo>
                    <a:lnTo>
                      <a:pt x="60" y="76"/>
                    </a:lnTo>
                    <a:lnTo>
                      <a:pt x="60" y="75"/>
                    </a:lnTo>
                    <a:lnTo>
                      <a:pt x="60" y="73"/>
                    </a:lnTo>
                    <a:lnTo>
                      <a:pt x="65" y="72"/>
                    </a:lnTo>
                    <a:lnTo>
                      <a:pt x="65" y="72"/>
                    </a:lnTo>
                    <a:lnTo>
                      <a:pt x="68" y="68"/>
                    </a:lnTo>
                    <a:lnTo>
                      <a:pt x="67" y="62"/>
                    </a:lnTo>
                    <a:lnTo>
                      <a:pt x="67" y="57"/>
                    </a:lnTo>
                    <a:lnTo>
                      <a:pt x="64" y="54"/>
                    </a:lnTo>
                    <a:lnTo>
                      <a:pt x="59" y="48"/>
                    </a:lnTo>
                    <a:lnTo>
                      <a:pt x="56" y="51"/>
                    </a:lnTo>
                    <a:lnTo>
                      <a:pt x="56" y="49"/>
                    </a:lnTo>
                    <a:lnTo>
                      <a:pt x="53" y="46"/>
                    </a:lnTo>
                    <a:lnTo>
                      <a:pt x="49" y="45"/>
                    </a:lnTo>
                    <a:lnTo>
                      <a:pt x="51" y="48"/>
                    </a:lnTo>
                    <a:lnTo>
                      <a:pt x="48" y="49"/>
                    </a:lnTo>
                    <a:lnTo>
                      <a:pt x="46" y="52"/>
                    </a:lnTo>
                    <a:lnTo>
                      <a:pt x="43" y="52"/>
                    </a:lnTo>
                    <a:lnTo>
                      <a:pt x="40" y="52"/>
                    </a:lnTo>
                    <a:lnTo>
                      <a:pt x="37" y="57"/>
                    </a:lnTo>
                    <a:lnTo>
                      <a:pt x="37" y="60"/>
                    </a:lnTo>
                    <a:lnTo>
                      <a:pt x="35" y="64"/>
                    </a:lnTo>
                    <a:lnTo>
                      <a:pt x="37" y="65"/>
                    </a:lnTo>
                    <a:lnTo>
                      <a:pt x="33" y="68"/>
                    </a:lnTo>
                    <a:lnTo>
                      <a:pt x="29" y="70"/>
                    </a:lnTo>
                    <a:lnTo>
                      <a:pt x="26" y="70"/>
                    </a:lnTo>
                    <a:lnTo>
                      <a:pt x="22" y="72"/>
                    </a:lnTo>
                    <a:lnTo>
                      <a:pt x="19" y="72"/>
                    </a:lnTo>
                    <a:lnTo>
                      <a:pt x="18" y="72"/>
                    </a:lnTo>
                    <a:lnTo>
                      <a:pt x="14" y="73"/>
                    </a:lnTo>
                    <a:lnTo>
                      <a:pt x="13" y="73"/>
                    </a:lnTo>
                    <a:lnTo>
                      <a:pt x="11" y="75"/>
                    </a:lnTo>
                    <a:lnTo>
                      <a:pt x="10" y="76"/>
                    </a:lnTo>
                    <a:lnTo>
                      <a:pt x="8" y="79"/>
                    </a:lnTo>
                    <a:lnTo>
                      <a:pt x="5" y="83"/>
                    </a:lnTo>
                    <a:lnTo>
                      <a:pt x="7" y="87"/>
                    </a:lnTo>
                    <a:lnTo>
                      <a:pt x="7" y="89"/>
                    </a:lnTo>
                    <a:lnTo>
                      <a:pt x="7" y="92"/>
                    </a:lnTo>
                    <a:lnTo>
                      <a:pt x="5" y="95"/>
                    </a:lnTo>
                    <a:lnTo>
                      <a:pt x="5" y="98"/>
                    </a:lnTo>
                    <a:lnTo>
                      <a:pt x="5" y="102"/>
                    </a:lnTo>
                    <a:lnTo>
                      <a:pt x="2" y="106"/>
                    </a:lnTo>
                    <a:lnTo>
                      <a:pt x="0" y="11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58" name="Freeform 69"/>
              <p:cNvSpPr>
                <a:spLocks/>
              </p:cNvSpPr>
              <p:nvPr/>
            </p:nvSpPr>
            <p:spPr bwMode="auto">
              <a:xfrm>
                <a:off x="4801" y="2265"/>
                <a:ext cx="19" cy="40"/>
              </a:xfrm>
              <a:custGeom>
                <a:avLst/>
                <a:gdLst>
                  <a:gd name="T0" fmla="*/ 8 w 38"/>
                  <a:gd name="T1" fmla="*/ 63 h 79"/>
                  <a:gd name="T2" fmla="*/ 17 w 38"/>
                  <a:gd name="T3" fmla="*/ 68 h 79"/>
                  <a:gd name="T4" fmla="*/ 19 w 38"/>
                  <a:gd name="T5" fmla="*/ 69 h 79"/>
                  <a:gd name="T6" fmla="*/ 19 w 38"/>
                  <a:gd name="T7" fmla="*/ 73 h 79"/>
                  <a:gd name="T8" fmla="*/ 23 w 38"/>
                  <a:gd name="T9" fmla="*/ 79 h 79"/>
                  <a:gd name="T10" fmla="*/ 25 w 38"/>
                  <a:gd name="T11" fmla="*/ 79 h 79"/>
                  <a:gd name="T12" fmla="*/ 28 w 38"/>
                  <a:gd name="T13" fmla="*/ 79 h 79"/>
                  <a:gd name="T14" fmla="*/ 31 w 38"/>
                  <a:gd name="T15" fmla="*/ 76 h 79"/>
                  <a:gd name="T16" fmla="*/ 35 w 38"/>
                  <a:gd name="T17" fmla="*/ 73 h 79"/>
                  <a:gd name="T18" fmla="*/ 35 w 38"/>
                  <a:gd name="T19" fmla="*/ 68 h 79"/>
                  <a:gd name="T20" fmla="*/ 31 w 38"/>
                  <a:gd name="T21" fmla="*/ 65 h 79"/>
                  <a:gd name="T22" fmla="*/ 30 w 38"/>
                  <a:gd name="T23" fmla="*/ 61 h 79"/>
                  <a:gd name="T24" fmla="*/ 28 w 38"/>
                  <a:gd name="T25" fmla="*/ 57 h 79"/>
                  <a:gd name="T26" fmla="*/ 28 w 38"/>
                  <a:gd name="T27" fmla="*/ 53 h 79"/>
                  <a:gd name="T28" fmla="*/ 28 w 38"/>
                  <a:gd name="T29" fmla="*/ 50 h 79"/>
                  <a:gd name="T30" fmla="*/ 27 w 38"/>
                  <a:gd name="T31" fmla="*/ 47 h 79"/>
                  <a:gd name="T32" fmla="*/ 27 w 38"/>
                  <a:gd name="T33" fmla="*/ 44 h 79"/>
                  <a:gd name="T34" fmla="*/ 28 w 38"/>
                  <a:gd name="T35" fmla="*/ 39 h 79"/>
                  <a:gd name="T36" fmla="*/ 30 w 38"/>
                  <a:gd name="T37" fmla="*/ 38 h 79"/>
                  <a:gd name="T38" fmla="*/ 31 w 38"/>
                  <a:gd name="T39" fmla="*/ 34 h 79"/>
                  <a:gd name="T40" fmla="*/ 31 w 38"/>
                  <a:gd name="T41" fmla="*/ 31 h 79"/>
                  <a:gd name="T42" fmla="*/ 31 w 38"/>
                  <a:gd name="T43" fmla="*/ 27 h 79"/>
                  <a:gd name="T44" fmla="*/ 31 w 38"/>
                  <a:gd name="T45" fmla="*/ 23 h 79"/>
                  <a:gd name="T46" fmla="*/ 35 w 38"/>
                  <a:gd name="T47" fmla="*/ 20 h 79"/>
                  <a:gd name="T48" fmla="*/ 36 w 38"/>
                  <a:gd name="T49" fmla="*/ 15 h 79"/>
                  <a:gd name="T50" fmla="*/ 36 w 38"/>
                  <a:gd name="T51" fmla="*/ 12 h 79"/>
                  <a:gd name="T52" fmla="*/ 38 w 38"/>
                  <a:gd name="T53" fmla="*/ 9 h 79"/>
                  <a:gd name="T54" fmla="*/ 38 w 38"/>
                  <a:gd name="T55" fmla="*/ 6 h 79"/>
                  <a:gd name="T56" fmla="*/ 36 w 38"/>
                  <a:gd name="T57" fmla="*/ 1 h 79"/>
                  <a:gd name="T58" fmla="*/ 30 w 38"/>
                  <a:gd name="T59" fmla="*/ 1 h 79"/>
                  <a:gd name="T60" fmla="*/ 27 w 38"/>
                  <a:gd name="T61" fmla="*/ 0 h 79"/>
                  <a:gd name="T62" fmla="*/ 22 w 38"/>
                  <a:gd name="T63" fmla="*/ 0 h 79"/>
                  <a:gd name="T64" fmla="*/ 16 w 38"/>
                  <a:gd name="T65" fmla="*/ 4 h 79"/>
                  <a:gd name="T66" fmla="*/ 17 w 38"/>
                  <a:gd name="T67" fmla="*/ 7 h 79"/>
                  <a:gd name="T68" fmla="*/ 17 w 38"/>
                  <a:gd name="T69" fmla="*/ 11 h 79"/>
                  <a:gd name="T70" fmla="*/ 16 w 38"/>
                  <a:gd name="T71" fmla="*/ 14 h 79"/>
                  <a:gd name="T72" fmla="*/ 12 w 38"/>
                  <a:gd name="T73" fmla="*/ 17 h 79"/>
                  <a:gd name="T74" fmla="*/ 12 w 38"/>
                  <a:gd name="T75" fmla="*/ 20 h 79"/>
                  <a:gd name="T76" fmla="*/ 14 w 38"/>
                  <a:gd name="T77" fmla="*/ 23 h 79"/>
                  <a:gd name="T78" fmla="*/ 14 w 38"/>
                  <a:gd name="T79" fmla="*/ 27 h 79"/>
                  <a:gd name="T80" fmla="*/ 14 w 38"/>
                  <a:gd name="T81" fmla="*/ 31 h 79"/>
                  <a:gd name="T82" fmla="*/ 16 w 38"/>
                  <a:gd name="T83" fmla="*/ 33 h 79"/>
                  <a:gd name="T84" fmla="*/ 16 w 38"/>
                  <a:gd name="T85" fmla="*/ 38 h 79"/>
                  <a:gd name="T86" fmla="*/ 12 w 38"/>
                  <a:gd name="T87" fmla="*/ 39 h 79"/>
                  <a:gd name="T88" fmla="*/ 11 w 38"/>
                  <a:gd name="T89" fmla="*/ 39 h 79"/>
                  <a:gd name="T90" fmla="*/ 9 w 38"/>
                  <a:gd name="T91" fmla="*/ 41 h 79"/>
                  <a:gd name="T92" fmla="*/ 4 w 38"/>
                  <a:gd name="T93" fmla="*/ 41 h 79"/>
                  <a:gd name="T94" fmla="*/ 1 w 38"/>
                  <a:gd name="T95" fmla="*/ 41 h 79"/>
                  <a:gd name="T96" fmla="*/ 0 w 38"/>
                  <a:gd name="T97" fmla="*/ 47 h 79"/>
                  <a:gd name="T98" fmla="*/ 1 w 38"/>
                  <a:gd name="T99" fmla="*/ 52 h 79"/>
                  <a:gd name="T100" fmla="*/ 4 w 38"/>
                  <a:gd name="T101" fmla="*/ 57 h 79"/>
                  <a:gd name="T102" fmla="*/ 8 w 38"/>
                  <a:gd name="T103" fmla="*/ 63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8" h="79">
                    <a:moveTo>
                      <a:pt x="8" y="63"/>
                    </a:moveTo>
                    <a:lnTo>
                      <a:pt x="17" y="68"/>
                    </a:lnTo>
                    <a:lnTo>
                      <a:pt x="19" y="69"/>
                    </a:lnTo>
                    <a:lnTo>
                      <a:pt x="19" y="73"/>
                    </a:lnTo>
                    <a:lnTo>
                      <a:pt x="23" y="79"/>
                    </a:lnTo>
                    <a:lnTo>
                      <a:pt x="25" y="79"/>
                    </a:lnTo>
                    <a:lnTo>
                      <a:pt x="28" y="79"/>
                    </a:lnTo>
                    <a:lnTo>
                      <a:pt x="31" y="76"/>
                    </a:lnTo>
                    <a:lnTo>
                      <a:pt x="35" y="73"/>
                    </a:lnTo>
                    <a:lnTo>
                      <a:pt x="35" y="68"/>
                    </a:lnTo>
                    <a:lnTo>
                      <a:pt x="31" y="65"/>
                    </a:lnTo>
                    <a:lnTo>
                      <a:pt x="30" y="61"/>
                    </a:lnTo>
                    <a:lnTo>
                      <a:pt x="28" y="57"/>
                    </a:lnTo>
                    <a:lnTo>
                      <a:pt x="28" y="53"/>
                    </a:lnTo>
                    <a:lnTo>
                      <a:pt x="28" y="50"/>
                    </a:lnTo>
                    <a:lnTo>
                      <a:pt x="27" y="47"/>
                    </a:lnTo>
                    <a:lnTo>
                      <a:pt x="27" y="44"/>
                    </a:lnTo>
                    <a:lnTo>
                      <a:pt x="28" y="39"/>
                    </a:lnTo>
                    <a:lnTo>
                      <a:pt x="30" y="38"/>
                    </a:lnTo>
                    <a:lnTo>
                      <a:pt x="31" y="34"/>
                    </a:lnTo>
                    <a:lnTo>
                      <a:pt x="31" y="31"/>
                    </a:lnTo>
                    <a:lnTo>
                      <a:pt x="31" y="27"/>
                    </a:lnTo>
                    <a:lnTo>
                      <a:pt x="31" y="23"/>
                    </a:lnTo>
                    <a:lnTo>
                      <a:pt x="35" y="20"/>
                    </a:lnTo>
                    <a:lnTo>
                      <a:pt x="36" y="15"/>
                    </a:lnTo>
                    <a:lnTo>
                      <a:pt x="36" y="12"/>
                    </a:lnTo>
                    <a:lnTo>
                      <a:pt x="38" y="9"/>
                    </a:lnTo>
                    <a:lnTo>
                      <a:pt x="38" y="6"/>
                    </a:lnTo>
                    <a:lnTo>
                      <a:pt x="36" y="1"/>
                    </a:lnTo>
                    <a:lnTo>
                      <a:pt x="30" y="1"/>
                    </a:lnTo>
                    <a:lnTo>
                      <a:pt x="27" y="0"/>
                    </a:lnTo>
                    <a:lnTo>
                      <a:pt x="22" y="0"/>
                    </a:lnTo>
                    <a:lnTo>
                      <a:pt x="16" y="4"/>
                    </a:lnTo>
                    <a:lnTo>
                      <a:pt x="17" y="7"/>
                    </a:lnTo>
                    <a:lnTo>
                      <a:pt x="17" y="11"/>
                    </a:lnTo>
                    <a:lnTo>
                      <a:pt x="16" y="14"/>
                    </a:lnTo>
                    <a:lnTo>
                      <a:pt x="12" y="17"/>
                    </a:lnTo>
                    <a:lnTo>
                      <a:pt x="12" y="20"/>
                    </a:lnTo>
                    <a:lnTo>
                      <a:pt x="14" y="23"/>
                    </a:lnTo>
                    <a:lnTo>
                      <a:pt x="14" y="27"/>
                    </a:lnTo>
                    <a:lnTo>
                      <a:pt x="14" y="31"/>
                    </a:lnTo>
                    <a:lnTo>
                      <a:pt x="16" y="33"/>
                    </a:lnTo>
                    <a:lnTo>
                      <a:pt x="16" y="38"/>
                    </a:lnTo>
                    <a:lnTo>
                      <a:pt x="12" y="39"/>
                    </a:lnTo>
                    <a:lnTo>
                      <a:pt x="11" y="39"/>
                    </a:lnTo>
                    <a:lnTo>
                      <a:pt x="9" y="41"/>
                    </a:lnTo>
                    <a:lnTo>
                      <a:pt x="4" y="41"/>
                    </a:lnTo>
                    <a:lnTo>
                      <a:pt x="1" y="41"/>
                    </a:lnTo>
                    <a:lnTo>
                      <a:pt x="0" y="47"/>
                    </a:lnTo>
                    <a:lnTo>
                      <a:pt x="1" y="52"/>
                    </a:lnTo>
                    <a:lnTo>
                      <a:pt x="4" y="57"/>
                    </a:lnTo>
                    <a:lnTo>
                      <a:pt x="8" y="6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59" name="Freeform 70"/>
              <p:cNvSpPr>
                <a:spLocks/>
              </p:cNvSpPr>
              <p:nvPr/>
            </p:nvSpPr>
            <p:spPr bwMode="auto">
              <a:xfrm>
                <a:off x="4805" y="2222"/>
                <a:ext cx="8" cy="8"/>
              </a:xfrm>
              <a:custGeom>
                <a:avLst/>
                <a:gdLst>
                  <a:gd name="T0" fmla="*/ 15 w 15"/>
                  <a:gd name="T1" fmla="*/ 18 h 18"/>
                  <a:gd name="T2" fmla="*/ 14 w 15"/>
                  <a:gd name="T3" fmla="*/ 15 h 18"/>
                  <a:gd name="T4" fmla="*/ 11 w 15"/>
                  <a:gd name="T5" fmla="*/ 10 h 18"/>
                  <a:gd name="T6" fmla="*/ 8 w 15"/>
                  <a:gd name="T7" fmla="*/ 8 h 18"/>
                  <a:gd name="T8" fmla="*/ 6 w 15"/>
                  <a:gd name="T9" fmla="*/ 5 h 18"/>
                  <a:gd name="T10" fmla="*/ 3 w 15"/>
                  <a:gd name="T11" fmla="*/ 2 h 18"/>
                  <a:gd name="T12" fmla="*/ 0 w 15"/>
                  <a:gd name="T13" fmla="*/ 0 h 18"/>
                  <a:gd name="T14" fmla="*/ 0 w 15"/>
                  <a:gd name="T15" fmla="*/ 4 h 18"/>
                  <a:gd name="T16" fmla="*/ 8 w 15"/>
                  <a:gd name="T17" fmla="*/ 10 h 18"/>
                  <a:gd name="T18" fmla="*/ 15 w 15"/>
                  <a:gd name="T19" fmla="*/ 18 h 18"/>
                  <a:gd name="T20" fmla="*/ 15 w 15"/>
                  <a:gd name="T21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5" h="18">
                    <a:moveTo>
                      <a:pt x="15" y="18"/>
                    </a:moveTo>
                    <a:lnTo>
                      <a:pt x="14" y="15"/>
                    </a:lnTo>
                    <a:lnTo>
                      <a:pt x="11" y="10"/>
                    </a:lnTo>
                    <a:lnTo>
                      <a:pt x="8" y="8"/>
                    </a:lnTo>
                    <a:lnTo>
                      <a:pt x="6" y="5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8" y="10"/>
                    </a:lnTo>
                    <a:lnTo>
                      <a:pt x="15" y="18"/>
                    </a:lnTo>
                    <a:lnTo>
                      <a:pt x="15" y="1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60" name="Freeform 71"/>
              <p:cNvSpPr>
                <a:spLocks/>
              </p:cNvSpPr>
              <p:nvPr/>
            </p:nvSpPr>
            <p:spPr bwMode="auto">
              <a:xfrm>
                <a:off x="4810" y="2233"/>
                <a:ext cx="17" cy="16"/>
              </a:xfrm>
              <a:custGeom>
                <a:avLst/>
                <a:gdLst>
                  <a:gd name="T0" fmla="*/ 1 w 33"/>
                  <a:gd name="T1" fmla="*/ 23 h 33"/>
                  <a:gd name="T2" fmla="*/ 0 w 33"/>
                  <a:gd name="T3" fmla="*/ 27 h 33"/>
                  <a:gd name="T4" fmla="*/ 4 w 33"/>
                  <a:gd name="T5" fmla="*/ 23 h 33"/>
                  <a:gd name="T6" fmla="*/ 4 w 33"/>
                  <a:gd name="T7" fmla="*/ 23 h 33"/>
                  <a:gd name="T8" fmla="*/ 6 w 33"/>
                  <a:gd name="T9" fmla="*/ 20 h 33"/>
                  <a:gd name="T10" fmla="*/ 9 w 33"/>
                  <a:gd name="T11" fmla="*/ 15 h 33"/>
                  <a:gd name="T12" fmla="*/ 12 w 33"/>
                  <a:gd name="T13" fmla="*/ 15 h 33"/>
                  <a:gd name="T14" fmla="*/ 12 w 33"/>
                  <a:gd name="T15" fmla="*/ 14 h 33"/>
                  <a:gd name="T16" fmla="*/ 16 w 33"/>
                  <a:gd name="T17" fmla="*/ 17 h 33"/>
                  <a:gd name="T18" fmla="*/ 17 w 33"/>
                  <a:gd name="T19" fmla="*/ 20 h 33"/>
                  <a:gd name="T20" fmla="*/ 20 w 33"/>
                  <a:gd name="T21" fmla="*/ 23 h 33"/>
                  <a:gd name="T22" fmla="*/ 22 w 33"/>
                  <a:gd name="T23" fmla="*/ 27 h 33"/>
                  <a:gd name="T24" fmla="*/ 25 w 33"/>
                  <a:gd name="T25" fmla="*/ 28 h 33"/>
                  <a:gd name="T26" fmla="*/ 30 w 33"/>
                  <a:gd name="T27" fmla="*/ 30 h 33"/>
                  <a:gd name="T28" fmla="*/ 33 w 33"/>
                  <a:gd name="T29" fmla="*/ 33 h 33"/>
                  <a:gd name="T30" fmla="*/ 33 w 33"/>
                  <a:gd name="T31" fmla="*/ 30 h 33"/>
                  <a:gd name="T32" fmla="*/ 31 w 33"/>
                  <a:gd name="T33" fmla="*/ 25 h 33"/>
                  <a:gd name="T34" fmla="*/ 30 w 33"/>
                  <a:gd name="T35" fmla="*/ 23 h 33"/>
                  <a:gd name="T36" fmla="*/ 31 w 33"/>
                  <a:gd name="T37" fmla="*/ 23 h 33"/>
                  <a:gd name="T38" fmla="*/ 30 w 33"/>
                  <a:gd name="T39" fmla="*/ 22 h 33"/>
                  <a:gd name="T40" fmla="*/ 28 w 33"/>
                  <a:gd name="T41" fmla="*/ 17 h 33"/>
                  <a:gd name="T42" fmla="*/ 25 w 33"/>
                  <a:gd name="T43" fmla="*/ 14 h 33"/>
                  <a:gd name="T44" fmla="*/ 22 w 33"/>
                  <a:gd name="T45" fmla="*/ 15 h 33"/>
                  <a:gd name="T46" fmla="*/ 20 w 33"/>
                  <a:gd name="T47" fmla="*/ 12 h 33"/>
                  <a:gd name="T48" fmla="*/ 17 w 33"/>
                  <a:gd name="T49" fmla="*/ 9 h 33"/>
                  <a:gd name="T50" fmla="*/ 14 w 33"/>
                  <a:gd name="T51" fmla="*/ 9 h 33"/>
                  <a:gd name="T52" fmla="*/ 12 w 33"/>
                  <a:gd name="T53" fmla="*/ 6 h 33"/>
                  <a:gd name="T54" fmla="*/ 9 w 33"/>
                  <a:gd name="T55" fmla="*/ 3 h 33"/>
                  <a:gd name="T56" fmla="*/ 9 w 33"/>
                  <a:gd name="T57" fmla="*/ 3 h 33"/>
                  <a:gd name="T58" fmla="*/ 6 w 33"/>
                  <a:gd name="T59" fmla="*/ 3 h 33"/>
                  <a:gd name="T60" fmla="*/ 4 w 33"/>
                  <a:gd name="T61" fmla="*/ 3 h 33"/>
                  <a:gd name="T62" fmla="*/ 3 w 33"/>
                  <a:gd name="T63" fmla="*/ 0 h 33"/>
                  <a:gd name="T64" fmla="*/ 0 w 33"/>
                  <a:gd name="T65" fmla="*/ 0 h 33"/>
                  <a:gd name="T66" fmla="*/ 1 w 33"/>
                  <a:gd name="T67" fmla="*/ 3 h 33"/>
                  <a:gd name="T68" fmla="*/ 3 w 33"/>
                  <a:gd name="T69" fmla="*/ 4 h 33"/>
                  <a:gd name="T70" fmla="*/ 3 w 33"/>
                  <a:gd name="T71" fmla="*/ 7 h 33"/>
                  <a:gd name="T72" fmla="*/ 1 w 33"/>
                  <a:gd name="T73" fmla="*/ 12 h 33"/>
                  <a:gd name="T74" fmla="*/ 4 w 33"/>
                  <a:gd name="T75" fmla="*/ 15 h 33"/>
                  <a:gd name="T76" fmla="*/ 1 w 33"/>
                  <a:gd name="T77" fmla="*/ 20 h 33"/>
                  <a:gd name="T78" fmla="*/ 1 w 33"/>
                  <a:gd name="T79" fmla="*/ 2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33" h="33">
                    <a:moveTo>
                      <a:pt x="1" y="23"/>
                    </a:moveTo>
                    <a:lnTo>
                      <a:pt x="0" y="27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6" y="20"/>
                    </a:lnTo>
                    <a:lnTo>
                      <a:pt x="9" y="15"/>
                    </a:lnTo>
                    <a:lnTo>
                      <a:pt x="12" y="15"/>
                    </a:lnTo>
                    <a:lnTo>
                      <a:pt x="12" y="14"/>
                    </a:lnTo>
                    <a:lnTo>
                      <a:pt x="16" y="17"/>
                    </a:lnTo>
                    <a:lnTo>
                      <a:pt x="17" y="20"/>
                    </a:lnTo>
                    <a:lnTo>
                      <a:pt x="20" y="23"/>
                    </a:lnTo>
                    <a:lnTo>
                      <a:pt x="22" y="27"/>
                    </a:lnTo>
                    <a:lnTo>
                      <a:pt x="25" y="28"/>
                    </a:lnTo>
                    <a:lnTo>
                      <a:pt x="30" y="30"/>
                    </a:lnTo>
                    <a:lnTo>
                      <a:pt x="33" y="33"/>
                    </a:lnTo>
                    <a:lnTo>
                      <a:pt x="33" y="30"/>
                    </a:lnTo>
                    <a:lnTo>
                      <a:pt x="31" y="25"/>
                    </a:lnTo>
                    <a:lnTo>
                      <a:pt x="30" y="23"/>
                    </a:lnTo>
                    <a:lnTo>
                      <a:pt x="31" y="23"/>
                    </a:lnTo>
                    <a:lnTo>
                      <a:pt x="30" y="22"/>
                    </a:lnTo>
                    <a:lnTo>
                      <a:pt x="28" y="17"/>
                    </a:lnTo>
                    <a:lnTo>
                      <a:pt x="25" y="14"/>
                    </a:lnTo>
                    <a:lnTo>
                      <a:pt x="22" y="15"/>
                    </a:lnTo>
                    <a:lnTo>
                      <a:pt x="20" y="12"/>
                    </a:lnTo>
                    <a:lnTo>
                      <a:pt x="17" y="9"/>
                    </a:lnTo>
                    <a:lnTo>
                      <a:pt x="14" y="9"/>
                    </a:lnTo>
                    <a:lnTo>
                      <a:pt x="12" y="6"/>
                    </a:lnTo>
                    <a:lnTo>
                      <a:pt x="9" y="3"/>
                    </a:lnTo>
                    <a:lnTo>
                      <a:pt x="9" y="3"/>
                    </a:lnTo>
                    <a:lnTo>
                      <a:pt x="6" y="3"/>
                    </a:lnTo>
                    <a:lnTo>
                      <a:pt x="4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1" y="3"/>
                    </a:lnTo>
                    <a:lnTo>
                      <a:pt x="3" y="4"/>
                    </a:lnTo>
                    <a:lnTo>
                      <a:pt x="3" y="7"/>
                    </a:lnTo>
                    <a:lnTo>
                      <a:pt x="1" y="12"/>
                    </a:lnTo>
                    <a:lnTo>
                      <a:pt x="4" y="15"/>
                    </a:lnTo>
                    <a:lnTo>
                      <a:pt x="1" y="20"/>
                    </a:lnTo>
                    <a:lnTo>
                      <a:pt x="1" y="2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61" name="Freeform 72"/>
              <p:cNvSpPr>
                <a:spLocks/>
              </p:cNvSpPr>
              <p:nvPr/>
            </p:nvSpPr>
            <p:spPr bwMode="auto">
              <a:xfrm>
                <a:off x="4812" y="2338"/>
                <a:ext cx="2" cy="3"/>
              </a:xfrm>
              <a:custGeom>
                <a:avLst/>
                <a:gdLst>
                  <a:gd name="T0" fmla="*/ 1 w 5"/>
                  <a:gd name="T1" fmla="*/ 7 h 7"/>
                  <a:gd name="T2" fmla="*/ 5 w 5"/>
                  <a:gd name="T3" fmla="*/ 4 h 7"/>
                  <a:gd name="T4" fmla="*/ 3 w 5"/>
                  <a:gd name="T5" fmla="*/ 0 h 7"/>
                  <a:gd name="T6" fmla="*/ 0 w 5"/>
                  <a:gd name="T7" fmla="*/ 0 h 7"/>
                  <a:gd name="T8" fmla="*/ 0 w 5"/>
                  <a:gd name="T9" fmla="*/ 4 h 7"/>
                  <a:gd name="T10" fmla="*/ 1 w 5"/>
                  <a:gd name="T1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7">
                    <a:moveTo>
                      <a:pt x="1" y="7"/>
                    </a:moveTo>
                    <a:lnTo>
                      <a:pt x="5" y="4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1" y="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62" name="Freeform 73"/>
              <p:cNvSpPr>
                <a:spLocks/>
              </p:cNvSpPr>
              <p:nvPr/>
            </p:nvSpPr>
            <p:spPr bwMode="auto">
              <a:xfrm>
                <a:off x="4818" y="2231"/>
                <a:ext cx="3" cy="7"/>
              </a:xfrm>
              <a:custGeom>
                <a:avLst/>
                <a:gdLst>
                  <a:gd name="T0" fmla="*/ 2 w 8"/>
                  <a:gd name="T1" fmla="*/ 7 h 13"/>
                  <a:gd name="T2" fmla="*/ 5 w 8"/>
                  <a:gd name="T3" fmla="*/ 10 h 13"/>
                  <a:gd name="T4" fmla="*/ 8 w 8"/>
                  <a:gd name="T5" fmla="*/ 13 h 13"/>
                  <a:gd name="T6" fmla="*/ 6 w 8"/>
                  <a:gd name="T7" fmla="*/ 10 h 13"/>
                  <a:gd name="T8" fmla="*/ 5 w 8"/>
                  <a:gd name="T9" fmla="*/ 7 h 13"/>
                  <a:gd name="T10" fmla="*/ 5 w 8"/>
                  <a:gd name="T11" fmla="*/ 4 h 13"/>
                  <a:gd name="T12" fmla="*/ 0 w 8"/>
                  <a:gd name="T13" fmla="*/ 0 h 13"/>
                  <a:gd name="T14" fmla="*/ 0 w 8"/>
                  <a:gd name="T15" fmla="*/ 4 h 13"/>
                  <a:gd name="T16" fmla="*/ 2 w 8"/>
                  <a:gd name="T17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3">
                    <a:moveTo>
                      <a:pt x="2" y="7"/>
                    </a:moveTo>
                    <a:lnTo>
                      <a:pt x="5" y="10"/>
                    </a:lnTo>
                    <a:lnTo>
                      <a:pt x="8" y="13"/>
                    </a:lnTo>
                    <a:lnTo>
                      <a:pt x="6" y="10"/>
                    </a:lnTo>
                    <a:lnTo>
                      <a:pt x="5" y="7"/>
                    </a:lnTo>
                    <a:lnTo>
                      <a:pt x="5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2" y="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63" name="Freeform 74"/>
              <p:cNvSpPr>
                <a:spLocks/>
              </p:cNvSpPr>
              <p:nvPr/>
            </p:nvSpPr>
            <p:spPr bwMode="auto">
              <a:xfrm>
                <a:off x="4818" y="2261"/>
                <a:ext cx="11" cy="35"/>
              </a:xfrm>
              <a:custGeom>
                <a:avLst/>
                <a:gdLst>
                  <a:gd name="T0" fmla="*/ 3 w 24"/>
                  <a:gd name="T1" fmla="*/ 49 h 71"/>
                  <a:gd name="T2" fmla="*/ 2 w 24"/>
                  <a:gd name="T3" fmla="*/ 60 h 71"/>
                  <a:gd name="T4" fmla="*/ 0 w 24"/>
                  <a:gd name="T5" fmla="*/ 71 h 71"/>
                  <a:gd name="T6" fmla="*/ 5 w 24"/>
                  <a:gd name="T7" fmla="*/ 71 h 71"/>
                  <a:gd name="T8" fmla="*/ 6 w 24"/>
                  <a:gd name="T9" fmla="*/ 68 h 71"/>
                  <a:gd name="T10" fmla="*/ 8 w 24"/>
                  <a:gd name="T11" fmla="*/ 63 h 71"/>
                  <a:gd name="T12" fmla="*/ 8 w 24"/>
                  <a:gd name="T13" fmla="*/ 60 h 71"/>
                  <a:gd name="T14" fmla="*/ 10 w 24"/>
                  <a:gd name="T15" fmla="*/ 57 h 71"/>
                  <a:gd name="T16" fmla="*/ 11 w 24"/>
                  <a:gd name="T17" fmla="*/ 54 h 71"/>
                  <a:gd name="T18" fmla="*/ 10 w 24"/>
                  <a:gd name="T19" fmla="*/ 49 h 71"/>
                  <a:gd name="T20" fmla="*/ 11 w 24"/>
                  <a:gd name="T21" fmla="*/ 46 h 71"/>
                  <a:gd name="T22" fmla="*/ 13 w 24"/>
                  <a:gd name="T23" fmla="*/ 46 h 71"/>
                  <a:gd name="T24" fmla="*/ 16 w 24"/>
                  <a:gd name="T25" fmla="*/ 41 h 71"/>
                  <a:gd name="T26" fmla="*/ 21 w 24"/>
                  <a:gd name="T27" fmla="*/ 38 h 71"/>
                  <a:gd name="T28" fmla="*/ 22 w 24"/>
                  <a:gd name="T29" fmla="*/ 35 h 71"/>
                  <a:gd name="T30" fmla="*/ 24 w 24"/>
                  <a:gd name="T31" fmla="*/ 33 h 71"/>
                  <a:gd name="T32" fmla="*/ 24 w 24"/>
                  <a:gd name="T33" fmla="*/ 29 h 71"/>
                  <a:gd name="T34" fmla="*/ 22 w 24"/>
                  <a:gd name="T35" fmla="*/ 22 h 71"/>
                  <a:gd name="T36" fmla="*/ 22 w 24"/>
                  <a:gd name="T37" fmla="*/ 19 h 71"/>
                  <a:gd name="T38" fmla="*/ 22 w 24"/>
                  <a:gd name="T39" fmla="*/ 16 h 71"/>
                  <a:gd name="T40" fmla="*/ 22 w 24"/>
                  <a:gd name="T41" fmla="*/ 13 h 71"/>
                  <a:gd name="T42" fmla="*/ 22 w 24"/>
                  <a:gd name="T43" fmla="*/ 8 h 71"/>
                  <a:gd name="T44" fmla="*/ 22 w 24"/>
                  <a:gd name="T45" fmla="*/ 6 h 71"/>
                  <a:gd name="T46" fmla="*/ 21 w 24"/>
                  <a:gd name="T47" fmla="*/ 3 h 71"/>
                  <a:gd name="T48" fmla="*/ 21 w 24"/>
                  <a:gd name="T49" fmla="*/ 0 h 71"/>
                  <a:gd name="T50" fmla="*/ 17 w 24"/>
                  <a:gd name="T51" fmla="*/ 2 h 71"/>
                  <a:gd name="T52" fmla="*/ 19 w 24"/>
                  <a:gd name="T53" fmla="*/ 5 h 71"/>
                  <a:gd name="T54" fmla="*/ 17 w 24"/>
                  <a:gd name="T55" fmla="*/ 8 h 71"/>
                  <a:gd name="T56" fmla="*/ 17 w 24"/>
                  <a:gd name="T57" fmla="*/ 11 h 71"/>
                  <a:gd name="T58" fmla="*/ 16 w 24"/>
                  <a:gd name="T59" fmla="*/ 16 h 71"/>
                  <a:gd name="T60" fmla="*/ 16 w 24"/>
                  <a:gd name="T61" fmla="*/ 19 h 71"/>
                  <a:gd name="T62" fmla="*/ 14 w 24"/>
                  <a:gd name="T63" fmla="*/ 22 h 71"/>
                  <a:gd name="T64" fmla="*/ 13 w 24"/>
                  <a:gd name="T65" fmla="*/ 25 h 71"/>
                  <a:gd name="T66" fmla="*/ 11 w 24"/>
                  <a:gd name="T67" fmla="*/ 29 h 71"/>
                  <a:gd name="T68" fmla="*/ 11 w 24"/>
                  <a:gd name="T69" fmla="*/ 32 h 71"/>
                  <a:gd name="T70" fmla="*/ 8 w 24"/>
                  <a:gd name="T71" fmla="*/ 35 h 71"/>
                  <a:gd name="T72" fmla="*/ 8 w 24"/>
                  <a:gd name="T73" fmla="*/ 40 h 71"/>
                  <a:gd name="T74" fmla="*/ 6 w 24"/>
                  <a:gd name="T75" fmla="*/ 43 h 71"/>
                  <a:gd name="T76" fmla="*/ 5 w 24"/>
                  <a:gd name="T77" fmla="*/ 46 h 71"/>
                  <a:gd name="T78" fmla="*/ 3 w 24"/>
                  <a:gd name="T79" fmla="*/ 48 h 71"/>
                  <a:gd name="T80" fmla="*/ 3 w 24"/>
                  <a:gd name="T81" fmla="*/ 49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4" h="71">
                    <a:moveTo>
                      <a:pt x="3" y="49"/>
                    </a:moveTo>
                    <a:lnTo>
                      <a:pt x="2" y="60"/>
                    </a:lnTo>
                    <a:lnTo>
                      <a:pt x="0" y="71"/>
                    </a:lnTo>
                    <a:lnTo>
                      <a:pt x="5" y="71"/>
                    </a:lnTo>
                    <a:lnTo>
                      <a:pt x="6" y="68"/>
                    </a:lnTo>
                    <a:lnTo>
                      <a:pt x="8" y="63"/>
                    </a:lnTo>
                    <a:lnTo>
                      <a:pt x="8" y="60"/>
                    </a:lnTo>
                    <a:lnTo>
                      <a:pt x="10" y="57"/>
                    </a:lnTo>
                    <a:lnTo>
                      <a:pt x="11" y="54"/>
                    </a:lnTo>
                    <a:lnTo>
                      <a:pt x="10" y="49"/>
                    </a:lnTo>
                    <a:lnTo>
                      <a:pt x="11" y="46"/>
                    </a:lnTo>
                    <a:lnTo>
                      <a:pt x="13" y="46"/>
                    </a:lnTo>
                    <a:lnTo>
                      <a:pt x="16" y="41"/>
                    </a:lnTo>
                    <a:lnTo>
                      <a:pt x="21" y="38"/>
                    </a:lnTo>
                    <a:lnTo>
                      <a:pt x="22" y="35"/>
                    </a:lnTo>
                    <a:lnTo>
                      <a:pt x="24" y="33"/>
                    </a:lnTo>
                    <a:lnTo>
                      <a:pt x="24" y="29"/>
                    </a:lnTo>
                    <a:lnTo>
                      <a:pt x="22" y="22"/>
                    </a:lnTo>
                    <a:lnTo>
                      <a:pt x="22" y="19"/>
                    </a:lnTo>
                    <a:lnTo>
                      <a:pt x="22" y="16"/>
                    </a:lnTo>
                    <a:lnTo>
                      <a:pt x="22" y="13"/>
                    </a:lnTo>
                    <a:lnTo>
                      <a:pt x="22" y="8"/>
                    </a:lnTo>
                    <a:lnTo>
                      <a:pt x="22" y="6"/>
                    </a:lnTo>
                    <a:lnTo>
                      <a:pt x="21" y="3"/>
                    </a:lnTo>
                    <a:lnTo>
                      <a:pt x="21" y="0"/>
                    </a:lnTo>
                    <a:lnTo>
                      <a:pt x="17" y="2"/>
                    </a:lnTo>
                    <a:lnTo>
                      <a:pt x="19" y="5"/>
                    </a:lnTo>
                    <a:lnTo>
                      <a:pt x="17" y="8"/>
                    </a:lnTo>
                    <a:lnTo>
                      <a:pt x="17" y="11"/>
                    </a:lnTo>
                    <a:lnTo>
                      <a:pt x="16" y="16"/>
                    </a:lnTo>
                    <a:lnTo>
                      <a:pt x="16" y="19"/>
                    </a:lnTo>
                    <a:lnTo>
                      <a:pt x="14" y="22"/>
                    </a:lnTo>
                    <a:lnTo>
                      <a:pt x="13" y="25"/>
                    </a:lnTo>
                    <a:lnTo>
                      <a:pt x="11" y="29"/>
                    </a:lnTo>
                    <a:lnTo>
                      <a:pt x="11" y="32"/>
                    </a:lnTo>
                    <a:lnTo>
                      <a:pt x="8" y="35"/>
                    </a:lnTo>
                    <a:lnTo>
                      <a:pt x="8" y="40"/>
                    </a:lnTo>
                    <a:lnTo>
                      <a:pt x="6" y="43"/>
                    </a:lnTo>
                    <a:lnTo>
                      <a:pt x="5" y="46"/>
                    </a:lnTo>
                    <a:lnTo>
                      <a:pt x="3" y="48"/>
                    </a:lnTo>
                    <a:lnTo>
                      <a:pt x="3" y="49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64" name="Freeform 75"/>
              <p:cNvSpPr>
                <a:spLocks/>
              </p:cNvSpPr>
              <p:nvPr/>
            </p:nvSpPr>
            <p:spPr bwMode="auto">
              <a:xfrm>
                <a:off x="4821" y="2219"/>
                <a:ext cx="2" cy="1"/>
              </a:xfrm>
              <a:custGeom>
                <a:avLst/>
                <a:gdLst>
                  <a:gd name="T0" fmla="*/ 3 w 3"/>
                  <a:gd name="T1" fmla="*/ 2 h 2"/>
                  <a:gd name="T2" fmla="*/ 3 w 3"/>
                  <a:gd name="T3" fmla="*/ 0 h 2"/>
                  <a:gd name="T4" fmla="*/ 0 w 3"/>
                  <a:gd name="T5" fmla="*/ 2 h 2"/>
                  <a:gd name="T6" fmla="*/ 3 w 3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lnTo>
                      <a:pt x="3" y="0"/>
                    </a:lnTo>
                    <a:lnTo>
                      <a:pt x="0" y="2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65" name="Freeform 76"/>
              <p:cNvSpPr>
                <a:spLocks/>
              </p:cNvSpPr>
              <p:nvPr/>
            </p:nvSpPr>
            <p:spPr bwMode="auto">
              <a:xfrm>
                <a:off x="4823" y="2203"/>
                <a:ext cx="6" cy="11"/>
              </a:xfrm>
              <a:custGeom>
                <a:avLst/>
                <a:gdLst>
                  <a:gd name="T0" fmla="*/ 6 w 13"/>
                  <a:gd name="T1" fmla="*/ 22 h 22"/>
                  <a:gd name="T2" fmla="*/ 10 w 13"/>
                  <a:gd name="T3" fmla="*/ 19 h 22"/>
                  <a:gd name="T4" fmla="*/ 13 w 13"/>
                  <a:gd name="T5" fmla="*/ 16 h 22"/>
                  <a:gd name="T6" fmla="*/ 11 w 13"/>
                  <a:gd name="T7" fmla="*/ 11 h 22"/>
                  <a:gd name="T8" fmla="*/ 11 w 13"/>
                  <a:gd name="T9" fmla="*/ 8 h 22"/>
                  <a:gd name="T10" fmla="*/ 8 w 13"/>
                  <a:gd name="T11" fmla="*/ 5 h 22"/>
                  <a:gd name="T12" fmla="*/ 5 w 13"/>
                  <a:gd name="T13" fmla="*/ 2 h 22"/>
                  <a:gd name="T14" fmla="*/ 2 w 13"/>
                  <a:gd name="T15" fmla="*/ 0 h 22"/>
                  <a:gd name="T16" fmla="*/ 2 w 13"/>
                  <a:gd name="T17" fmla="*/ 7 h 22"/>
                  <a:gd name="T18" fmla="*/ 0 w 13"/>
                  <a:gd name="T19" fmla="*/ 18 h 22"/>
                  <a:gd name="T20" fmla="*/ 3 w 13"/>
                  <a:gd name="T21" fmla="*/ 19 h 22"/>
                  <a:gd name="T22" fmla="*/ 6 w 13"/>
                  <a:gd name="T2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3" h="22">
                    <a:moveTo>
                      <a:pt x="6" y="22"/>
                    </a:moveTo>
                    <a:lnTo>
                      <a:pt x="10" y="19"/>
                    </a:lnTo>
                    <a:lnTo>
                      <a:pt x="13" y="16"/>
                    </a:lnTo>
                    <a:lnTo>
                      <a:pt x="11" y="11"/>
                    </a:lnTo>
                    <a:lnTo>
                      <a:pt x="11" y="8"/>
                    </a:lnTo>
                    <a:lnTo>
                      <a:pt x="8" y="5"/>
                    </a:lnTo>
                    <a:lnTo>
                      <a:pt x="5" y="2"/>
                    </a:lnTo>
                    <a:lnTo>
                      <a:pt x="2" y="0"/>
                    </a:lnTo>
                    <a:lnTo>
                      <a:pt x="2" y="7"/>
                    </a:lnTo>
                    <a:lnTo>
                      <a:pt x="0" y="18"/>
                    </a:lnTo>
                    <a:lnTo>
                      <a:pt x="3" y="19"/>
                    </a:lnTo>
                    <a:lnTo>
                      <a:pt x="6" y="2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66" name="Freeform 77"/>
              <p:cNvSpPr>
                <a:spLocks/>
              </p:cNvSpPr>
              <p:nvPr/>
            </p:nvSpPr>
            <p:spPr bwMode="auto">
              <a:xfrm>
                <a:off x="4825" y="2220"/>
                <a:ext cx="2" cy="1"/>
              </a:xfrm>
              <a:custGeom>
                <a:avLst/>
                <a:gdLst>
                  <a:gd name="T0" fmla="*/ 5 w 5"/>
                  <a:gd name="T1" fmla="*/ 2 h 2"/>
                  <a:gd name="T2" fmla="*/ 5 w 5"/>
                  <a:gd name="T3" fmla="*/ 0 h 2"/>
                  <a:gd name="T4" fmla="*/ 0 w 5"/>
                  <a:gd name="T5" fmla="*/ 0 h 2"/>
                  <a:gd name="T6" fmla="*/ 5 w 5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2">
                    <a:moveTo>
                      <a:pt x="5" y="2"/>
                    </a:moveTo>
                    <a:lnTo>
                      <a:pt x="5" y="0"/>
                    </a:lnTo>
                    <a:lnTo>
                      <a:pt x="0" y="0"/>
                    </a:lnTo>
                    <a:lnTo>
                      <a:pt x="5" y="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67" name="Freeform 78"/>
              <p:cNvSpPr>
                <a:spLocks/>
              </p:cNvSpPr>
              <p:nvPr/>
            </p:nvSpPr>
            <p:spPr bwMode="auto">
              <a:xfrm>
                <a:off x="4826" y="2282"/>
                <a:ext cx="15" cy="12"/>
              </a:xfrm>
              <a:custGeom>
                <a:avLst/>
                <a:gdLst>
                  <a:gd name="T0" fmla="*/ 2 w 29"/>
                  <a:gd name="T1" fmla="*/ 19 h 24"/>
                  <a:gd name="T2" fmla="*/ 4 w 29"/>
                  <a:gd name="T3" fmla="*/ 22 h 24"/>
                  <a:gd name="T4" fmla="*/ 7 w 29"/>
                  <a:gd name="T5" fmla="*/ 24 h 24"/>
                  <a:gd name="T6" fmla="*/ 8 w 29"/>
                  <a:gd name="T7" fmla="*/ 24 h 24"/>
                  <a:gd name="T8" fmla="*/ 12 w 29"/>
                  <a:gd name="T9" fmla="*/ 24 h 24"/>
                  <a:gd name="T10" fmla="*/ 16 w 29"/>
                  <a:gd name="T11" fmla="*/ 24 h 24"/>
                  <a:gd name="T12" fmla="*/ 19 w 29"/>
                  <a:gd name="T13" fmla="*/ 24 h 24"/>
                  <a:gd name="T14" fmla="*/ 23 w 29"/>
                  <a:gd name="T15" fmla="*/ 20 h 24"/>
                  <a:gd name="T16" fmla="*/ 26 w 29"/>
                  <a:gd name="T17" fmla="*/ 17 h 24"/>
                  <a:gd name="T18" fmla="*/ 29 w 29"/>
                  <a:gd name="T19" fmla="*/ 17 h 24"/>
                  <a:gd name="T20" fmla="*/ 27 w 29"/>
                  <a:gd name="T21" fmla="*/ 14 h 24"/>
                  <a:gd name="T22" fmla="*/ 27 w 29"/>
                  <a:gd name="T23" fmla="*/ 11 h 24"/>
                  <a:gd name="T24" fmla="*/ 27 w 29"/>
                  <a:gd name="T25" fmla="*/ 8 h 24"/>
                  <a:gd name="T26" fmla="*/ 27 w 29"/>
                  <a:gd name="T27" fmla="*/ 6 h 24"/>
                  <a:gd name="T28" fmla="*/ 24 w 29"/>
                  <a:gd name="T29" fmla="*/ 5 h 24"/>
                  <a:gd name="T30" fmla="*/ 21 w 29"/>
                  <a:gd name="T31" fmla="*/ 1 h 24"/>
                  <a:gd name="T32" fmla="*/ 16 w 29"/>
                  <a:gd name="T33" fmla="*/ 0 h 24"/>
                  <a:gd name="T34" fmla="*/ 13 w 29"/>
                  <a:gd name="T35" fmla="*/ 1 h 24"/>
                  <a:gd name="T36" fmla="*/ 10 w 29"/>
                  <a:gd name="T37" fmla="*/ 5 h 24"/>
                  <a:gd name="T38" fmla="*/ 8 w 29"/>
                  <a:gd name="T39" fmla="*/ 5 h 24"/>
                  <a:gd name="T40" fmla="*/ 8 w 29"/>
                  <a:gd name="T41" fmla="*/ 6 h 24"/>
                  <a:gd name="T42" fmla="*/ 2 w 29"/>
                  <a:gd name="T43" fmla="*/ 11 h 24"/>
                  <a:gd name="T44" fmla="*/ 0 w 29"/>
                  <a:gd name="T45" fmla="*/ 16 h 24"/>
                  <a:gd name="T46" fmla="*/ 2 w 29"/>
                  <a:gd name="T47" fmla="*/ 19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9" h="24">
                    <a:moveTo>
                      <a:pt x="2" y="19"/>
                    </a:moveTo>
                    <a:lnTo>
                      <a:pt x="4" y="22"/>
                    </a:lnTo>
                    <a:lnTo>
                      <a:pt x="7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9" y="24"/>
                    </a:lnTo>
                    <a:lnTo>
                      <a:pt x="23" y="20"/>
                    </a:lnTo>
                    <a:lnTo>
                      <a:pt x="26" y="17"/>
                    </a:lnTo>
                    <a:lnTo>
                      <a:pt x="29" y="17"/>
                    </a:lnTo>
                    <a:lnTo>
                      <a:pt x="27" y="14"/>
                    </a:lnTo>
                    <a:lnTo>
                      <a:pt x="27" y="11"/>
                    </a:lnTo>
                    <a:lnTo>
                      <a:pt x="27" y="8"/>
                    </a:lnTo>
                    <a:lnTo>
                      <a:pt x="27" y="6"/>
                    </a:lnTo>
                    <a:lnTo>
                      <a:pt x="24" y="5"/>
                    </a:lnTo>
                    <a:lnTo>
                      <a:pt x="21" y="1"/>
                    </a:lnTo>
                    <a:lnTo>
                      <a:pt x="16" y="0"/>
                    </a:lnTo>
                    <a:lnTo>
                      <a:pt x="13" y="1"/>
                    </a:lnTo>
                    <a:lnTo>
                      <a:pt x="10" y="5"/>
                    </a:lnTo>
                    <a:lnTo>
                      <a:pt x="8" y="5"/>
                    </a:lnTo>
                    <a:lnTo>
                      <a:pt x="8" y="6"/>
                    </a:lnTo>
                    <a:lnTo>
                      <a:pt x="2" y="11"/>
                    </a:lnTo>
                    <a:lnTo>
                      <a:pt x="0" y="16"/>
                    </a:lnTo>
                    <a:lnTo>
                      <a:pt x="2" y="19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68" name="Freeform 79"/>
              <p:cNvSpPr>
                <a:spLocks/>
              </p:cNvSpPr>
              <p:nvPr/>
            </p:nvSpPr>
            <p:spPr bwMode="auto">
              <a:xfrm>
                <a:off x="4829" y="2233"/>
                <a:ext cx="31" cy="51"/>
              </a:xfrm>
              <a:custGeom>
                <a:avLst/>
                <a:gdLst>
                  <a:gd name="T0" fmla="*/ 0 w 60"/>
                  <a:gd name="T1" fmla="*/ 4 h 103"/>
                  <a:gd name="T2" fmla="*/ 3 w 60"/>
                  <a:gd name="T3" fmla="*/ 11 h 103"/>
                  <a:gd name="T4" fmla="*/ 9 w 60"/>
                  <a:gd name="T5" fmla="*/ 19 h 103"/>
                  <a:gd name="T6" fmla="*/ 16 w 60"/>
                  <a:gd name="T7" fmla="*/ 22 h 103"/>
                  <a:gd name="T8" fmla="*/ 20 w 60"/>
                  <a:gd name="T9" fmla="*/ 27 h 103"/>
                  <a:gd name="T10" fmla="*/ 27 w 60"/>
                  <a:gd name="T11" fmla="*/ 33 h 103"/>
                  <a:gd name="T12" fmla="*/ 28 w 60"/>
                  <a:gd name="T13" fmla="*/ 36 h 103"/>
                  <a:gd name="T14" fmla="*/ 25 w 60"/>
                  <a:gd name="T15" fmla="*/ 42 h 103"/>
                  <a:gd name="T16" fmla="*/ 30 w 60"/>
                  <a:gd name="T17" fmla="*/ 49 h 103"/>
                  <a:gd name="T18" fmla="*/ 24 w 60"/>
                  <a:gd name="T19" fmla="*/ 49 h 103"/>
                  <a:gd name="T20" fmla="*/ 16 w 60"/>
                  <a:gd name="T21" fmla="*/ 52 h 103"/>
                  <a:gd name="T22" fmla="*/ 11 w 60"/>
                  <a:gd name="T23" fmla="*/ 47 h 103"/>
                  <a:gd name="T24" fmla="*/ 6 w 60"/>
                  <a:gd name="T25" fmla="*/ 47 h 103"/>
                  <a:gd name="T26" fmla="*/ 9 w 60"/>
                  <a:gd name="T27" fmla="*/ 53 h 103"/>
                  <a:gd name="T28" fmla="*/ 9 w 60"/>
                  <a:gd name="T29" fmla="*/ 60 h 103"/>
                  <a:gd name="T30" fmla="*/ 11 w 60"/>
                  <a:gd name="T31" fmla="*/ 66 h 103"/>
                  <a:gd name="T32" fmla="*/ 16 w 60"/>
                  <a:gd name="T33" fmla="*/ 69 h 103"/>
                  <a:gd name="T34" fmla="*/ 20 w 60"/>
                  <a:gd name="T35" fmla="*/ 66 h 103"/>
                  <a:gd name="T36" fmla="*/ 25 w 60"/>
                  <a:gd name="T37" fmla="*/ 72 h 103"/>
                  <a:gd name="T38" fmla="*/ 27 w 60"/>
                  <a:gd name="T39" fmla="*/ 77 h 103"/>
                  <a:gd name="T40" fmla="*/ 25 w 60"/>
                  <a:gd name="T41" fmla="*/ 84 h 103"/>
                  <a:gd name="T42" fmla="*/ 27 w 60"/>
                  <a:gd name="T43" fmla="*/ 90 h 103"/>
                  <a:gd name="T44" fmla="*/ 27 w 60"/>
                  <a:gd name="T45" fmla="*/ 95 h 103"/>
                  <a:gd name="T46" fmla="*/ 30 w 60"/>
                  <a:gd name="T47" fmla="*/ 99 h 103"/>
                  <a:gd name="T48" fmla="*/ 36 w 60"/>
                  <a:gd name="T49" fmla="*/ 103 h 103"/>
                  <a:gd name="T50" fmla="*/ 35 w 60"/>
                  <a:gd name="T51" fmla="*/ 96 h 103"/>
                  <a:gd name="T52" fmla="*/ 38 w 60"/>
                  <a:gd name="T53" fmla="*/ 95 h 103"/>
                  <a:gd name="T54" fmla="*/ 44 w 60"/>
                  <a:gd name="T55" fmla="*/ 90 h 103"/>
                  <a:gd name="T56" fmla="*/ 39 w 60"/>
                  <a:gd name="T57" fmla="*/ 84 h 103"/>
                  <a:gd name="T58" fmla="*/ 39 w 60"/>
                  <a:gd name="T59" fmla="*/ 80 h 103"/>
                  <a:gd name="T60" fmla="*/ 35 w 60"/>
                  <a:gd name="T61" fmla="*/ 76 h 103"/>
                  <a:gd name="T62" fmla="*/ 33 w 60"/>
                  <a:gd name="T63" fmla="*/ 68 h 103"/>
                  <a:gd name="T64" fmla="*/ 33 w 60"/>
                  <a:gd name="T65" fmla="*/ 63 h 103"/>
                  <a:gd name="T66" fmla="*/ 33 w 60"/>
                  <a:gd name="T67" fmla="*/ 58 h 103"/>
                  <a:gd name="T68" fmla="*/ 30 w 60"/>
                  <a:gd name="T69" fmla="*/ 52 h 103"/>
                  <a:gd name="T70" fmla="*/ 38 w 60"/>
                  <a:gd name="T71" fmla="*/ 57 h 103"/>
                  <a:gd name="T72" fmla="*/ 39 w 60"/>
                  <a:gd name="T73" fmla="*/ 60 h 103"/>
                  <a:gd name="T74" fmla="*/ 43 w 60"/>
                  <a:gd name="T75" fmla="*/ 58 h 103"/>
                  <a:gd name="T76" fmla="*/ 49 w 60"/>
                  <a:gd name="T77" fmla="*/ 60 h 103"/>
                  <a:gd name="T78" fmla="*/ 55 w 60"/>
                  <a:gd name="T79" fmla="*/ 61 h 103"/>
                  <a:gd name="T80" fmla="*/ 57 w 60"/>
                  <a:gd name="T81" fmla="*/ 58 h 103"/>
                  <a:gd name="T82" fmla="*/ 51 w 60"/>
                  <a:gd name="T83" fmla="*/ 53 h 103"/>
                  <a:gd name="T84" fmla="*/ 54 w 60"/>
                  <a:gd name="T85" fmla="*/ 49 h 103"/>
                  <a:gd name="T86" fmla="*/ 49 w 60"/>
                  <a:gd name="T87" fmla="*/ 44 h 103"/>
                  <a:gd name="T88" fmla="*/ 47 w 60"/>
                  <a:gd name="T89" fmla="*/ 41 h 103"/>
                  <a:gd name="T90" fmla="*/ 46 w 60"/>
                  <a:gd name="T91" fmla="*/ 34 h 103"/>
                  <a:gd name="T92" fmla="*/ 44 w 60"/>
                  <a:gd name="T93" fmla="*/ 27 h 103"/>
                  <a:gd name="T94" fmla="*/ 46 w 60"/>
                  <a:gd name="T95" fmla="*/ 22 h 103"/>
                  <a:gd name="T96" fmla="*/ 44 w 60"/>
                  <a:gd name="T97" fmla="*/ 17 h 103"/>
                  <a:gd name="T98" fmla="*/ 46 w 60"/>
                  <a:gd name="T99" fmla="*/ 15 h 103"/>
                  <a:gd name="T100" fmla="*/ 44 w 60"/>
                  <a:gd name="T101" fmla="*/ 14 h 103"/>
                  <a:gd name="T102" fmla="*/ 38 w 60"/>
                  <a:gd name="T103" fmla="*/ 11 h 103"/>
                  <a:gd name="T104" fmla="*/ 38 w 60"/>
                  <a:gd name="T105" fmla="*/ 6 h 103"/>
                  <a:gd name="T106" fmla="*/ 32 w 60"/>
                  <a:gd name="T107" fmla="*/ 1 h 103"/>
                  <a:gd name="T108" fmla="*/ 27 w 60"/>
                  <a:gd name="T109" fmla="*/ 1 h 103"/>
                  <a:gd name="T110" fmla="*/ 25 w 60"/>
                  <a:gd name="T111" fmla="*/ 0 h 103"/>
                  <a:gd name="T112" fmla="*/ 20 w 60"/>
                  <a:gd name="T113" fmla="*/ 1 h 103"/>
                  <a:gd name="T114" fmla="*/ 12 w 60"/>
                  <a:gd name="T115" fmla="*/ 3 h 103"/>
                  <a:gd name="T116" fmla="*/ 8 w 60"/>
                  <a:gd name="T117" fmla="*/ 1 h 103"/>
                  <a:gd name="T118" fmla="*/ 0 w 60"/>
                  <a:gd name="T119" fmla="*/ 3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0" h="103">
                    <a:moveTo>
                      <a:pt x="0" y="3"/>
                    </a:moveTo>
                    <a:lnTo>
                      <a:pt x="0" y="4"/>
                    </a:lnTo>
                    <a:lnTo>
                      <a:pt x="3" y="7"/>
                    </a:lnTo>
                    <a:lnTo>
                      <a:pt x="3" y="11"/>
                    </a:lnTo>
                    <a:lnTo>
                      <a:pt x="5" y="15"/>
                    </a:lnTo>
                    <a:lnTo>
                      <a:pt x="9" y="19"/>
                    </a:lnTo>
                    <a:lnTo>
                      <a:pt x="12" y="20"/>
                    </a:lnTo>
                    <a:lnTo>
                      <a:pt x="16" y="22"/>
                    </a:lnTo>
                    <a:lnTo>
                      <a:pt x="17" y="25"/>
                    </a:lnTo>
                    <a:lnTo>
                      <a:pt x="20" y="27"/>
                    </a:lnTo>
                    <a:lnTo>
                      <a:pt x="24" y="30"/>
                    </a:lnTo>
                    <a:lnTo>
                      <a:pt x="27" y="33"/>
                    </a:lnTo>
                    <a:lnTo>
                      <a:pt x="30" y="33"/>
                    </a:lnTo>
                    <a:lnTo>
                      <a:pt x="28" y="36"/>
                    </a:lnTo>
                    <a:lnTo>
                      <a:pt x="28" y="39"/>
                    </a:lnTo>
                    <a:lnTo>
                      <a:pt x="25" y="42"/>
                    </a:lnTo>
                    <a:lnTo>
                      <a:pt x="28" y="46"/>
                    </a:lnTo>
                    <a:lnTo>
                      <a:pt x="30" y="49"/>
                    </a:lnTo>
                    <a:lnTo>
                      <a:pt x="27" y="46"/>
                    </a:lnTo>
                    <a:lnTo>
                      <a:pt x="24" y="49"/>
                    </a:lnTo>
                    <a:lnTo>
                      <a:pt x="20" y="52"/>
                    </a:lnTo>
                    <a:lnTo>
                      <a:pt x="16" y="52"/>
                    </a:lnTo>
                    <a:lnTo>
                      <a:pt x="14" y="49"/>
                    </a:lnTo>
                    <a:lnTo>
                      <a:pt x="11" y="47"/>
                    </a:lnTo>
                    <a:lnTo>
                      <a:pt x="8" y="42"/>
                    </a:lnTo>
                    <a:lnTo>
                      <a:pt x="6" y="47"/>
                    </a:lnTo>
                    <a:lnTo>
                      <a:pt x="8" y="50"/>
                    </a:lnTo>
                    <a:lnTo>
                      <a:pt x="9" y="53"/>
                    </a:lnTo>
                    <a:lnTo>
                      <a:pt x="9" y="57"/>
                    </a:lnTo>
                    <a:lnTo>
                      <a:pt x="9" y="60"/>
                    </a:lnTo>
                    <a:lnTo>
                      <a:pt x="9" y="61"/>
                    </a:lnTo>
                    <a:lnTo>
                      <a:pt x="11" y="66"/>
                    </a:lnTo>
                    <a:lnTo>
                      <a:pt x="12" y="66"/>
                    </a:lnTo>
                    <a:lnTo>
                      <a:pt x="16" y="69"/>
                    </a:lnTo>
                    <a:lnTo>
                      <a:pt x="16" y="66"/>
                    </a:lnTo>
                    <a:lnTo>
                      <a:pt x="20" y="66"/>
                    </a:lnTo>
                    <a:lnTo>
                      <a:pt x="22" y="69"/>
                    </a:lnTo>
                    <a:lnTo>
                      <a:pt x="25" y="72"/>
                    </a:lnTo>
                    <a:lnTo>
                      <a:pt x="27" y="76"/>
                    </a:lnTo>
                    <a:lnTo>
                      <a:pt x="27" y="77"/>
                    </a:lnTo>
                    <a:lnTo>
                      <a:pt x="25" y="80"/>
                    </a:lnTo>
                    <a:lnTo>
                      <a:pt x="25" y="84"/>
                    </a:lnTo>
                    <a:lnTo>
                      <a:pt x="25" y="87"/>
                    </a:lnTo>
                    <a:lnTo>
                      <a:pt x="27" y="90"/>
                    </a:lnTo>
                    <a:lnTo>
                      <a:pt x="27" y="92"/>
                    </a:lnTo>
                    <a:lnTo>
                      <a:pt x="27" y="95"/>
                    </a:lnTo>
                    <a:lnTo>
                      <a:pt x="27" y="98"/>
                    </a:lnTo>
                    <a:lnTo>
                      <a:pt x="30" y="99"/>
                    </a:lnTo>
                    <a:lnTo>
                      <a:pt x="33" y="101"/>
                    </a:lnTo>
                    <a:lnTo>
                      <a:pt x="36" y="103"/>
                    </a:lnTo>
                    <a:lnTo>
                      <a:pt x="36" y="99"/>
                    </a:lnTo>
                    <a:lnTo>
                      <a:pt x="35" y="96"/>
                    </a:lnTo>
                    <a:lnTo>
                      <a:pt x="35" y="93"/>
                    </a:lnTo>
                    <a:lnTo>
                      <a:pt x="38" y="95"/>
                    </a:lnTo>
                    <a:lnTo>
                      <a:pt x="41" y="95"/>
                    </a:lnTo>
                    <a:lnTo>
                      <a:pt x="44" y="90"/>
                    </a:lnTo>
                    <a:lnTo>
                      <a:pt x="41" y="87"/>
                    </a:lnTo>
                    <a:lnTo>
                      <a:pt x="39" y="84"/>
                    </a:lnTo>
                    <a:lnTo>
                      <a:pt x="39" y="80"/>
                    </a:lnTo>
                    <a:lnTo>
                      <a:pt x="39" y="80"/>
                    </a:lnTo>
                    <a:lnTo>
                      <a:pt x="38" y="76"/>
                    </a:lnTo>
                    <a:lnTo>
                      <a:pt x="35" y="76"/>
                    </a:lnTo>
                    <a:lnTo>
                      <a:pt x="33" y="71"/>
                    </a:lnTo>
                    <a:lnTo>
                      <a:pt x="33" y="68"/>
                    </a:lnTo>
                    <a:lnTo>
                      <a:pt x="33" y="66"/>
                    </a:lnTo>
                    <a:lnTo>
                      <a:pt x="33" y="63"/>
                    </a:lnTo>
                    <a:lnTo>
                      <a:pt x="33" y="60"/>
                    </a:lnTo>
                    <a:lnTo>
                      <a:pt x="33" y="58"/>
                    </a:lnTo>
                    <a:lnTo>
                      <a:pt x="33" y="55"/>
                    </a:lnTo>
                    <a:lnTo>
                      <a:pt x="30" y="52"/>
                    </a:lnTo>
                    <a:lnTo>
                      <a:pt x="35" y="52"/>
                    </a:lnTo>
                    <a:lnTo>
                      <a:pt x="38" y="57"/>
                    </a:lnTo>
                    <a:lnTo>
                      <a:pt x="39" y="57"/>
                    </a:lnTo>
                    <a:lnTo>
                      <a:pt x="39" y="60"/>
                    </a:lnTo>
                    <a:lnTo>
                      <a:pt x="41" y="61"/>
                    </a:lnTo>
                    <a:lnTo>
                      <a:pt x="43" y="58"/>
                    </a:lnTo>
                    <a:lnTo>
                      <a:pt x="46" y="60"/>
                    </a:lnTo>
                    <a:lnTo>
                      <a:pt x="49" y="60"/>
                    </a:lnTo>
                    <a:lnTo>
                      <a:pt x="52" y="60"/>
                    </a:lnTo>
                    <a:lnTo>
                      <a:pt x="55" y="61"/>
                    </a:lnTo>
                    <a:lnTo>
                      <a:pt x="60" y="63"/>
                    </a:lnTo>
                    <a:lnTo>
                      <a:pt x="57" y="58"/>
                    </a:lnTo>
                    <a:lnTo>
                      <a:pt x="54" y="55"/>
                    </a:lnTo>
                    <a:lnTo>
                      <a:pt x="51" y="53"/>
                    </a:lnTo>
                    <a:lnTo>
                      <a:pt x="54" y="50"/>
                    </a:lnTo>
                    <a:lnTo>
                      <a:pt x="54" y="49"/>
                    </a:lnTo>
                    <a:lnTo>
                      <a:pt x="51" y="47"/>
                    </a:lnTo>
                    <a:lnTo>
                      <a:pt x="49" y="44"/>
                    </a:lnTo>
                    <a:lnTo>
                      <a:pt x="47" y="41"/>
                    </a:lnTo>
                    <a:lnTo>
                      <a:pt x="47" y="41"/>
                    </a:lnTo>
                    <a:lnTo>
                      <a:pt x="46" y="38"/>
                    </a:lnTo>
                    <a:lnTo>
                      <a:pt x="46" y="34"/>
                    </a:lnTo>
                    <a:lnTo>
                      <a:pt x="44" y="30"/>
                    </a:lnTo>
                    <a:lnTo>
                      <a:pt x="44" y="27"/>
                    </a:lnTo>
                    <a:lnTo>
                      <a:pt x="44" y="23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4" y="17"/>
                    </a:lnTo>
                    <a:lnTo>
                      <a:pt x="46" y="15"/>
                    </a:lnTo>
                    <a:lnTo>
                      <a:pt x="46" y="15"/>
                    </a:lnTo>
                    <a:lnTo>
                      <a:pt x="46" y="14"/>
                    </a:lnTo>
                    <a:lnTo>
                      <a:pt x="44" y="14"/>
                    </a:lnTo>
                    <a:lnTo>
                      <a:pt x="41" y="12"/>
                    </a:lnTo>
                    <a:lnTo>
                      <a:pt x="38" y="11"/>
                    </a:lnTo>
                    <a:lnTo>
                      <a:pt x="38" y="11"/>
                    </a:lnTo>
                    <a:lnTo>
                      <a:pt x="38" y="6"/>
                    </a:lnTo>
                    <a:lnTo>
                      <a:pt x="35" y="3"/>
                    </a:lnTo>
                    <a:lnTo>
                      <a:pt x="32" y="1"/>
                    </a:lnTo>
                    <a:lnTo>
                      <a:pt x="28" y="0"/>
                    </a:lnTo>
                    <a:lnTo>
                      <a:pt x="27" y="1"/>
                    </a:lnTo>
                    <a:lnTo>
                      <a:pt x="27" y="0"/>
                    </a:lnTo>
                    <a:lnTo>
                      <a:pt x="25" y="0"/>
                    </a:lnTo>
                    <a:lnTo>
                      <a:pt x="22" y="0"/>
                    </a:lnTo>
                    <a:lnTo>
                      <a:pt x="20" y="1"/>
                    </a:lnTo>
                    <a:lnTo>
                      <a:pt x="17" y="3"/>
                    </a:lnTo>
                    <a:lnTo>
                      <a:pt x="12" y="3"/>
                    </a:lnTo>
                    <a:lnTo>
                      <a:pt x="11" y="1"/>
                    </a:lnTo>
                    <a:lnTo>
                      <a:pt x="8" y="1"/>
                    </a:lnTo>
                    <a:lnTo>
                      <a:pt x="3" y="1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69" name="Freeform 80"/>
              <p:cNvSpPr>
                <a:spLocks/>
              </p:cNvSpPr>
              <p:nvPr/>
            </p:nvSpPr>
            <p:spPr bwMode="auto">
              <a:xfrm>
                <a:off x="4842" y="2233"/>
                <a:ext cx="2" cy="1"/>
              </a:xfrm>
              <a:custGeom>
                <a:avLst/>
                <a:gdLst>
                  <a:gd name="T0" fmla="*/ 0 w 3"/>
                  <a:gd name="T1" fmla="*/ 0 h 1"/>
                  <a:gd name="T2" fmla="*/ 2 w 3"/>
                  <a:gd name="T3" fmla="*/ 1 h 1"/>
                  <a:gd name="T4" fmla="*/ 3 w 3"/>
                  <a:gd name="T5" fmla="*/ 0 h 1"/>
                  <a:gd name="T6" fmla="*/ 0 w 3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0" y="0"/>
                    </a:moveTo>
                    <a:lnTo>
                      <a:pt x="2" y="1"/>
                    </a:lnTo>
                    <a:lnTo>
                      <a:pt x="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70" name="Freeform 81"/>
              <p:cNvSpPr>
                <a:spLocks/>
              </p:cNvSpPr>
              <p:nvPr/>
            </p:nvSpPr>
            <p:spPr bwMode="auto">
              <a:xfrm>
                <a:off x="4849" y="2284"/>
                <a:ext cx="4" cy="3"/>
              </a:xfrm>
              <a:custGeom>
                <a:avLst/>
                <a:gdLst>
                  <a:gd name="T0" fmla="*/ 4 w 8"/>
                  <a:gd name="T1" fmla="*/ 3 h 8"/>
                  <a:gd name="T2" fmla="*/ 5 w 8"/>
                  <a:gd name="T3" fmla="*/ 3 h 8"/>
                  <a:gd name="T4" fmla="*/ 8 w 8"/>
                  <a:gd name="T5" fmla="*/ 8 h 8"/>
                  <a:gd name="T6" fmla="*/ 7 w 8"/>
                  <a:gd name="T7" fmla="*/ 3 h 8"/>
                  <a:gd name="T8" fmla="*/ 7 w 8"/>
                  <a:gd name="T9" fmla="*/ 3 h 8"/>
                  <a:gd name="T10" fmla="*/ 5 w 8"/>
                  <a:gd name="T11" fmla="*/ 0 h 8"/>
                  <a:gd name="T12" fmla="*/ 0 w 8"/>
                  <a:gd name="T13" fmla="*/ 0 h 8"/>
                  <a:gd name="T14" fmla="*/ 4 w 8"/>
                  <a:gd name="T1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8">
                    <a:moveTo>
                      <a:pt x="4" y="3"/>
                    </a:moveTo>
                    <a:lnTo>
                      <a:pt x="5" y="3"/>
                    </a:lnTo>
                    <a:lnTo>
                      <a:pt x="8" y="8"/>
                    </a:lnTo>
                    <a:lnTo>
                      <a:pt x="7" y="3"/>
                    </a:lnTo>
                    <a:lnTo>
                      <a:pt x="7" y="3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71" name="Freeform 82"/>
              <p:cNvSpPr>
                <a:spLocks/>
              </p:cNvSpPr>
              <p:nvPr/>
            </p:nvSpPr>
            <p:spPr bwMode="auto">
              <a:xfrm>
                <a:off x="4856" y="2276"/>
                <a:ext cx="4" cy="13"/>
              </a:xfrm>
              <a:custGeom>
                <a:avLst/>
                <a:gdLst>
                  <a:gd name="T0" fmla="*/ 3 w 8"/>
                  <a:gd name="T1" fmla="*/ 17 h 25"/>
                  <a:gd name="T2" fmla="*/ 6 w 8"/>
                  <a:gd name="T3" fmla="*/ 22 h 25"/>
                  <a:gd name="T4" fmla="*/ 3 w 8"/>
                  <a:gd name="T5" fmla="*/ 25 h 25"/>
                  <a:gd name="T6" fmla="*/ 6 w 8"/>
                  <a:gd name="T7" fmla="*/ 25 h 25"/>
                  <a:gd name="T8" fmla="*/ 8 w 8"/>
                  <a:gd name="T9" fmla="*/ 22 h 25"/>
                  <a:gd name="T10" fmla="*/ 6 w 8"/>
                  <a:gd name="T11" fmla="*/ 17 h 25"/>
                  <a:gd name="T12" fmla="*/ 6 w 8"/>
                  <a:gd name="T13" fmla="*/ 14 h 25"/>
                  <a:gd name="T14" fmla="*/ 6 w 8"/>
                  <a:gd name="T15" fmla="*/ 11 h 25"/>
                  <a:gd name="T16" fmla="*/ 4 w 8"/>
                  <a:gd name="T17" fmla="*/ 8 h 25"/>
                  <a:gd name="T18" fmla="*/ 4 w 8"/>
                  <a:gd name="T19" fmla="*/ 3 h 25"/>
                  <a:gd name="T20" fmla="*/ 4 w 8"/>
                  <a:gd name="T21" fmla="*/ 0 h 25"/>
                  <a:gd name="T22" fmla="*/ 1 w 8"/>
                  <a:gd name="T23" fmla="*/ 3 h 25"/>
                  <a:gd name="T24" fmla="*/ 0 w 8"/>
                  <a:gd name="T25" fmla="*/ 6 h 25"/>
                  <a:gd name="T26" fmla="*/ 1 w 8"/>
                  <a:gd name="T27" fmla="*/ 9 h 25"/>
                  <a:gd name="T28" fmla="*/ 0 w 8"/>
                  <a:gd name="T29" fmla="*/ 12 h 25"/>
                  <a:gd name="T30" fmla="*/ 3 w 8"/>
                  <a:gd name="T31" fmla="*/ 14 h 25"/>
                  <a:gd name="T32" fmla="*/ 3 w 8"/>
                  <a:gd name="T33" fmla="*/ 17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" h="25">
                    <a:moveTo>
                      <a:pt x="3" y="17"/>
                    </a:moveTo>
                    <a:lnTo>
                      <a:pt x="6" y="22"/>
                    </a:lnTo>
                    <a:lnTo>
                      <a:pt x="3" y="25"/>
                    </a:lnTo>
                    <a:lnTo>
                      <a:pt x="6" y="25"/>
                    </a:lnTo>
                    <a:lnTo>
                      <a:pt x="8" y="22"/>
                    </a:lnTo>
                    <a:lnTo>
                      <a:pt x="6" y="17"/>
                    </a:lnTo>
                    <a:lnTo>
                      <a:pt x="6" y="14"/>
                    </a:lnTo>
                    <a:lnTo>
                      <a:pt x="6" y="11"/>
                    </a:lnTo>
                    <a:lnTo>
                      <a:pt x="4" y="8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1" y="9"/>
                    </a:lnTo>
                    <a:lnTo>
                      <a:pt x="0" y="12"/>
                    </a:lnTo>
                    <a:lnTo>
                      <a:pt x="3" y="14"/>
                    </a:lnTo>
                    <a:lnTo>
                      <a:pt x="3" y="1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72" name="Freeform 83"/>
              <p:cNvSpPr>
                <a:spLocks/>
              </p:cNvSpPr>
              <p:nvPr/>
            </p:nvSpPr>
            <p:spPr bwMode="auto">
              <a:xfrm>
                <a:off x="4860" y="2379"/>
                <a:ext cx="1" cy="1"/>
              </a:xfrm>
              <a:custGeom>
                <a:avLst/>
                <a:gdLst>
                  <a:gd name="T0" fmla="*/ 0 w 3"/>
                  <a:gd name="T1" fmla="*/ 2 h 2"/>
                  <a:gd name="T2" fmla="*/ 2 w 3"/>
                  <a:gd name="T3" fmla="*/ 2 h 2"/>
                  <a:gd name="T4" fmla="*/ 2 w 3"/>
                  <a:gd name="T5" fmla="*/ 2 h 2"/>
                  <a:gd name="T6" fmla="*/ 3 w 3"/>
                  <a:gd name="T7" fmla="*/ 2 h 2"/>
                  <a:gd name="T8" fmla="*/ 3 w 3"/>
                  <a:gd name="T9" fmla="*/ 2 h 2"/>
                  <a:gd name="T10" fmla="*/ 2 w 3"/>
                  <a:gd name="T11" fmla="*/ 0 h 2"/>
                  <a:gd name="T12" fmla="*/ 0 w 3"/>
                  <a:gd name="T13" fmla="*/ 0 h 2"/>
                  <a:gd name="T14" fmla="*/ 0 w 3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3" y="2"/>
                    </a:lnTo>
                    <a:lnTo>
                      <a:pt x="2" y="0"/>
                    </a:ln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873" name="Freeform 84"/>
              <p:cNvSpPr>
                <a:spLocks/>
              </p:cNvSpPr>
              <p:nvPr/>
            </p:nvSpPr>
            <p:spPr bwMode="auto">
              <a:xfrm>
                <a:off x="4865" y="2285"/>
                <a:ext cx="4" cy="6"/>
              </a:xfrm>
              <a:custGeom>
                <a:avLst/>
                <a:gdLst>
                  <a:gd name="T0" fmla="*/ 2 w 8"/>
                  <a:gd name="T1" fmla="*/ 0 h 11"/>
                  <a:gd name="T2" fmla="*/ 0 w 8"/>
                  <a:gd name="T3" fmla="*/ 5 h 11"/>
                  <a:gd name="T4" fmla="*/ 0 w 8"/>
                  <a:gd name="T5" fmla="*/ 8 h 11"/>
                  <a:gd name="T6" fmla="*/ 3 w 8"/>
                  <a:gd name="T7" fmla="*/ 11 h 11"/>
                  <a:gd name="T8" fmla="*/ 3 w 8"/>
                  <a:gd name="T9" fmla="*/ 11 h 11"/>
                  <a:gd name="T10" fmla="*/ 7 w 8"/>
                  <a:gd name="T11" fmla="*/ 11 h 11"/>
                  <a:gd name="T12" fmla="*/ 8 w 8"/>
                  <a:gd name="T13" fmla="*/ 10 h 11"/>
                  <a:gd name="T14" fmla="*/ 8 w 8"/>
                  <a:gd name="T15" fmla="*/ 8 h 11"/>
                  <a:gd name="T16" fmla="*/ 5 w 8"/>
                  <a:gd name="T17" fmla="*/ 5 h 11"/>
                  <a:gd name="T18" fmla="*/ 5 w 8"/>
                  <a:gd name="T19" fmla="*/ 2 h 11"/>
                  <a:gd name="T20" fmla="*/ 3 w 8"/>
                  <a:gd name="T21" fmla="*/ 0 h 11"/>
                  <a:gd name="T22" fmla="*/ 2 w 8"/>
                  <a:gd name="T23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" h="11">
                    <a:moveTo>
                      <a:pt x="2" y="0"/>
                    </a:moveTo>
                    <a:lnTo>
                      <a:pt x="0" y="5"/>
                    </a:lnTo>
                    <a:lnTo>
                      <a:pt x="0" y="8"/>
                    </a:lnTo>
                    <a:lnTo>
                      <a:pt x="3" y="11"/>
                    </a:lnTo>
                    <a:lnTo>
                      <a:pt x="3" y="11"/>
                    </a:lnTo>
                    <a:lnTo>
                      <a:pt x="7" y="11"/>
                    </a:lnTo>
                    <a:lnTo>
                      <a:pt x="8" y="10"/>
                    </a:lnTo>
                    <a:lnTo>
                      <a:pt x="8" y="8"/>
                    </a:lnTo>
                    <a:lnTo>
                      <a:pt x="5" y="5"/>
                    </a:lnTo>
                    <a:lnTo>
                      <a:pt x="5" y="2"/>
                    </a:lnTo>
                    <a:lnTo>
                      <a:pt x="3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sp>
          <p:nvSpPr>
            <p:cNvPr id="40" name="Freeform 85"/>
            <p:cNvSpPr>
              <a:spLocks/>
            </p:cNvSpPr>
            <p:nvPr/>
          </p:nvSpPr>
          <p:spPr bwMode="auto">
            <a:xfrm>
              <a:off x="8066033" y="4321206"/>
              <a:ext cx="141155" cy="147242"/>
            </a:xfrm>
            <a:custGeom>
              <a:avLst/>
              <a:gdLst>
                <a:gd name="T0" fmla="*/ 5 w 194"/>
                <a:gd name="T1" fmla="*/ 48 h 175"/>
                <a:gd name="T2" fmla="*/ 15 w 194"/>
                <a:gd name="T3" fmla="*/ 37 h 175"/>
                <a:gd name="T4" fmla="*/ 19 w 194"/>
                <a:gd name="T5" fmla="*/ 27 h 175"/>
                <a:gd name="T6" fmla="*/ 29 w 194"/>
                <a:gd name="T7" fmla="*/ 16 h 175"/>
                <a:gd name="T8" fmla="*/ 53 w 194"/>
                <a:gd name="T9" fmla="*/ 15 h 175"/>
                <a:gd name="T10" fmla="*/ 67 w 194"/>
                <a:gd name="T11" fmla="*/ 13 h 175"/>
                <a:gd name="T12" fmla="*/ 83 w 194"/>
                <a:gd name="T13" fmla="*/ 11 h 175"/>
                <a:gd name="T14" fmla="*/ 92 w 194"/>
                <a:gd name="T15" fmla="*/ 13 h 175"/>
                <a:gd name="T16" fmla="*/ 100 w 194"/>
                <a:gd name="T17" fmla="*/ 15 h 175"/>
                <a:gd name="T18" fmla="*/ 111 w 194"/>
                <a:gd name="T19" fmla="*/ 24 h 175"/>
                <a:gd name="T20" fmla="*/ 121 w 194"/>
                <a:gd name="T21" fmla="*/ 26 h 175"/>
                <a:gd name="T22" fmla="*/ 129 w 194"/>
                <a:gd name="T23" fmla="*/ 32 h 175"/>
                <a:gd name="T24" fmla="*/ 137 w 194"/>
                <a:gd name="T25" fmla="*/ 27 h 175"/>
                <a:gd name="T26" fmla="*/ 135 w 194"/>
                <a:gd name="T27" fmla="*/ 15 h 175"/>
                <a:gd name="T28" fmla="*/ 146 w 194"/>
                <a:gd name="T29" fmla="*/ 5 h 175"/>
                <a:gd name="T30" fmla="*/ 151 w 194"/>
                <a:gd name="T31" fmla="*/ 10 h 175"/>
                <a:gd name="T32" fmla="*/ 172 w 194"/>
                <a:gd name="T33" fmla="*/ 10 h 175"/>
                <a:gd name="T34" fmla="*/ 183 w 194"/>
                <a:gd name="T35" fmla="*/ 0 h 175"/>
                <a:gd name="T36" fmla="*/ 178 w 194"/>
                <a:gd name="T37" fmla="*/ 15 h 175"/>
                <a:gd name="T38" fmla="*/ 183 w 194"/>
                <a:gd name="T39" fmla="*/ 32 h 175"/>
                <a:gd name="T40" fmla="*/ 189 w 194"/>
                <a:gd name="T41" fmla="*/ 45 h 175"/>
                <a:gd name="T42" fmla="*/ 191 w 194"/>
                <a:gd name="T43" fmla="*/ 57 h 175"/>
                <a:gd name="T44" fmla="*/ 188 w 194"/>
                <a:gd name="T45" fmla="*/ 70 h 175"/>
                <a:gd name="T46" fmla="*/ 192 w 194"/>
                <a:gd name="T47" fmla="*/ 88 h 175"/>
                <a:gd name="T48" fmla="*/ 188 w 194"/>
                <a:gd name="T49" fmla="*/ 99 h 175"/>
                <a:gd name="T50" fmla="*/ 176 w 194"/>
                <a:gd name="T51" fmla="*/ 102 h 175"/>
                <a:gd name="T52" fmla="*/ 165 w 194"/>
                <a:gd name="T53" fmla="*/ 108 h 175"/>
                <a:gd name="T54" fmla="*/ 153 w 194"/>
                <a:gd name="T55" fmla="*/ 113 h 175"/>
                <a:gd name="T56" fmla="*/ 156 w 194"/>
                <a:gd name="T57" fmla="*/ 126 h 175"/>
                <a:gd name="T58" fmla="*/ 143 w 194"/>
                <a:gd name="T59" fmla="*/ 121 h 175"/>
                <a:gd name="T60" fmla="*/ 134 w 194"/>
                <a:gd name="T61" fmla="*/ 127 h 175"/>
                <a:gd name="T62" fmla="*/ 138 w 194"/>
                <a:gd name="T63" fmla="*/ 141 h 175"/>
                <a:gd name="T64" fmla="*/ 149 w 194"/>
                <a:gd name="T65" fmla="*/ 153 h 175"/>
                <a:gd name="T66" fmla="*/ 145 w 194"/>
                <a:gd name="T67" fmla="*/ 160 h 175"/>
                <a:gd name="T68" fmla="*/ 134 w 194"/>
                <a:gd name="T69" fmla="*/ 151 h 175"/>
                <a:gd name="T70" fmla="*/ 113 w 194"/>
                <a:gd name="T71" fmla="*/ 156 h 175"/>
                <a:gd name="T72" fmla="*/ 110 w 194"/>
                <a:gd name="T73" fmla="*/ 154 h 175"/>
                <a:gd name="T74" fmla="*/ 110 w 194"/>
                <a:gd name="T75" fmla="*/ 162 h 175"/>
                <a:gd name="T76" fmla="*/ 97 w 194"/>
                <a:gd name="T77" fmla="*/ 172 h 175"/>
                <a:gd name="T78" fmla="*/ 86 w 194"/>
                <a:gd name="T79" fmla="*/ 175 h 175"/>
                <a:gd name="T80" fmla="*/ 69 w 194"/>
                <a:gd name="T81" fmla="*/ 168 h 175"/>
                <a:gd name="T82" fmla="*/ 56 w 194"/>
                <a:gd name="T83" fmla="*/ 170 h 175"/>
                <a:gd name="T84" fmla="*/ 59 w 194"/>
                <a:gd name="T85" fmla="*/ 156 h 175"/>
                <a:gd name="T86" fmla="*/ 50 w 194"/>
                <a:gd name="T87" fmla="*/ 149 h 175"/>
                <a:gd name="T88" fmla="*/ 37 w 194"/>
                <a:gd name="T89" fmla="*/ 154 h 175"/>
                <a:gd name="T90" fmla="*/ 35 w 194"/>
                <a:gd name="T91" fmla="*/ 137 h 175"/>
                <a:gd name="T92" fmla="*/ 34 w 194"/>
                <a:gd name="T93" fmla="*/ 122 h 175"/>
                <a:gd name="T94" fmla="*/ 29 w 194"/>
                <a:gd name="T95" fmla="*/ 122 h 175"/>
                <a:gd name="T96" fmla="*/ 21 w 194"/>
                <a:gd name="T97" fmla="*/ 107 h 175"/>
                <a:gd name="T98" fmla="*/ 16 w 194"/>
                <a:gd name="T99" fmla="*/ 88 h 175"/>
                <a:gd name="T100" fmla="*/ 8 w 194"/>
                <a:gd name="T101" fmla="*/ 73 h 175"/>
                <a:gd name="T102" fmla="*/ 2 w 194"/>
                <a:gd name="T103" fmla="*/ 57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94" h="175">
                  <a:moveTo>
                    <a:pt x="2" y="57"/>
                  </a:moveTo>
                  <a:lnTo>
                    <a:pt x="2" y="54"/>
                  </a:lnTo>
                  <a:lnTo>
                    <a:pt x="2" y="51"/>
                  </a:lnTo>
                  <a:lnTo>
                    <a:pt x="0" y="48"/>
                  </a:lnTo>
                  <a:lnTo>
                    <a:pt x="5" y="48"/>
                  </a:lnTo>
                  <a:lnTo>
                    <a:pt x="8" y="46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11" y="40"/>
                  </a:lnTo>
                  <a:lnTo>
                    <a:pt x="15" y="37"/>
                  </a:lnTo>
                  <a:lnTo>
                    <a:pt x="15" y="35"/>
                  </a:lnTo>
                  <a:lnTo>
                    <a:pt x="16" y="32"/>
                  </a:lnTo>
                  <a:lnTo>
                    <a:pt x="19" y="29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4"/>
                  </a:lnTo>
                  <a:lnTo>
                    <a:pt x="19" y="23"/>
                  </a:lnTo>
                  <a:lnTo>
                    <a:pt x="23" y="19"/>
                  </a:lnTo>
                  <a:lnTo>
                    <a:pt x="27" y="16"/>
                  </a:lnTo>
                  <a:lnTo>
                    <a:pt x="29" y="16"/>
                  </a:lnTo>
                  <a:lnTo>
                    <a:pt x="35" y="15"/>
                  </a:lnTo>
                  <a:lnTo>
                    <a:pt x="43" y="11"/>
                  </a:lnTo>
                  <a:lnTo>
                    <a:pt x="46" y="11"/>
                  </a:lnTo>
                  <a:lnTo>
                    <a:pt x="50" y="15"/>
                  </a:lnTo>
                  <a:lnTo>
                    <a:pt x="53" y="15"/>
                  </a:lnTo>
                  <a:lnTo>
                    <a:pt x="56" y="15"/>
                  </a:lnTo>
                  <a:lnTo>
                    <a:pt x="59" y="15"/>
                  </a:lnTo>
                  <a:lnTo>
                    <a:pt x="62" y="15"/>
                  </a:lnTo>
                  <a:lnTo>
                    <a:pt x="64" y="13"/>
                  </a:lnTo>
                  <a:lnTo>
                    <a:pt x="67" y="13"/>
                  </a:lnTo>
                  <a:lnTo>
                    <a:pt x="70" y="13"/>
                  </a:lnTo>
                  <a:lnTo>
                    <a:pt x="73" y="15"/>
                  </a:lnTo>
                  <a:lnTo>
                    <a:pt x="77" y="15"/>
                  </a:lnTo>
                  <a:lnTo>
                    <a:pt x="80" y="11"/>
                  </a:lnTo>
                  <a:lnTo>
                    <a:pt x="83" y="11"/>
                  </a:lnTo>
                  <a:lnTo>
                    <a:pt x="86" y="11"/>
                  </a:lnTo>
                  <a:lnTo>
                    <a:pt x="88" y="11"/>
                  </a:lnTo>
                  <a:lnTo>
                    <a:pt x="89" y="13"/>
                  </a:lnTo>
                  <a:lnTo>
                    <a:pt x="92" y="13"/>
                  </a:lnTo>
                  <a:lnTo>
                    <a:pt x="92" y="13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96" y="19"/>
                  </a:lnTo>
                  <a:lnTo>
                    <a:pt x="99" y="18"/>
                  </a:lnTo>
                  <a:lnTo>
                    <a:pt x="100" y="15"/>
                  </a:lnTo>
                  <a:lnTo>
                    <a:pt x="102" y="18"/>
                  </a:lnTo>
                  <a:lnTo>
                    <a:pt x="103" y="21"/>
                  </a:lnTo>
                  <a:lnTo>
                    <a:pt x="103" y="23"/>
                  </a:lnTo>
                  <a:lnTo>
                    <a:pt x="108" y="24"/>
                  </a:lnTo>
                  <a:lnTo>
                    <a:pt x="111" y="24"/>
                  </a:lnTo>
                  <a:lnTo>
                    <a:pt x="115" y="23"/>
                  </a:lnTo>
                  <a:lnTo>
                    <a:pt x="115" y="23"/>
                  </a:lnTo>
                  <a:lnTo>
                    <a:pt x="118" y="24"/>
                  </a:lnTo>
                  <a:lnTo>
                    <a:pt x="121" y="24"/>
                  </a:lnTo>
                  <a:lnTo>
                    <a:pt x="121" y="26"/>
                  </a:lnTo>
                  <a:lnTo>
                    <a:pt x="123" y="26"/>
                  </a:lnTo>
                  <a:lnTo>
                    <a:pt x="124" y="29"/>
                  </a:lnTo>
                  <a:lnTo>
                    <a:pt x="126" y="30"/>
                  </a:lnTo>
                  <a:lnTo>
                    <a:pt x="127" y="32"/>
                  </a:lnTo>
                  <a:lnTo>
                    <a:pt x="129" y="32"/>
                  </a:lnTo>
                  <a:lnTo>
                    <a:pt x="129" y="32"/>
                  </a:lnTo>
                  <a:lnTo>
                    <a:pt x="130" y="32"/>
                  </a:lnTo>
                  <a:lnTo>
                    <a:pt x="132" y="32"/>
                  </a:lnTo>
                  <a:lnTo>
                    <a:pt x="135" y="29"/>
                  </a:lnTo>
                  <a:lnTo>
                    <a:pt x="137" y="27"/>
                  </a:lnTo>
                  <a:lnTo>
                    <a:pt x="134" y="23"/>
                  </a:lnTo>
                  <a:lnTo>
                    <a:pt x="130" y="19"/>
                  </a:lnTo>
                  <a:lnTo>
                    <a:pt x="129" y="16"/>
                  </a:lnTo>
                  <a:lnTo>
                    <a:pt x="132" y="13"/>
                  </a:lnTo>
                  <a:lnTo>
                    <a:pt x="135" y="15"/>
                  </a:lnTo>
                  <a:lnTo>
                    <a:pt x="137" y="10"/>
                  </a:lnTo>
                  <a:lnTo>
                    <a:pt x="140" y="11"/>
                  </a:lnTo>
                  <a:lnTo>
                    <a:pt x="143" y="10"/>
                  </a:lnTo>
                  <a:lnTo>
                    <a:pt x="145" y="7"/>
                  </a:lnTo>
                  <a:lnTo>
                    <a:pt x="146" y="5"/>
                  </a:lnTo>
                  <a:lnTo>
                    <a:pt x="146" y="5"/>
                  </a:lnTo>
                  <a:lnTo>
                    <a:pt x="148" y="5"/>
                  </a:lnTo>
                  <a:lnTo>
                    <a:pt x="149" y="8"/>
                  </a:lnTo>
                  <a:lnTo>
                    <a:pt x="151" y="10"/>
                  </a:lnTo>
                  <a:lnTo>
                    <a:pt x="151" y="10"/>
                  </a:lnTo>
                  <a:lnTo>
                    <a:pt x="154" y="11"/>
                  </a:lnTo>
                  <a:lnTo>
                    <a:pt x="157" y="15"/>
                  </a:lnTo>
                  <a:lnTo>
                    <a:pt x="161" y="16"/>
                  </a:lnTo>
                  <a:lnTo>
                    <a:pt x="167" y="13"/>
                  </a:lnTo>
                  <a:lnTo>
                    <a:pt x="172" y="10"/>
                  </a:lnTo>
                  <a:lnTo>
                    <a:pt x="173" y="7"/>
                  </a:lnTo>
                  <a:lnTo>
                    <a:pt x="176" y="7"/>
                  </a:lnTo>
                  <a:lnTo>
                    <a:pt x="180" y="7"/>
                  </a:lnTo>
                  <a:lnTo>
                    <a:pt x="181" y="2"/>
                  </a:lnTo>
                  <a:lnTo>
                    <a:pt x="183" y="0"/>
                  </a:lnTo>
                  <a:lnTo>
                    <a:pt x="183" y="2"/>
                  </a:lnTo>
                  <a:lnTo>
                    <a:pt x="183" y="5"/>
                  </a:lnTo>
                  <a:lnTo>
                    <a:pt x="183" y="8"/>
                  </a:lnTo>
                  <a:lnTo>
                    <a:pt x="180" y="11"/>
                  </a:lnTo>
                  <a:lnTo>
                    <a:pt x="178" y="15"/>
                  </a:lnTo>
                  <a:lnTo>
                    <a:pt x="180" y="19"/>
                  </a:lnTo>
                  <a:lnTo>
                    <a:pt x="178" y="23"/>
                  </a:lnTo>
                  <a:lnTo>
                    <a:pt x="180" y="26"/>
                  </a:lnTo>
                  <a:lnTo>
                    <a:pt x="180" y="29"/>
                  </a:lnTo>
                  <a:lnTo>
                    <a:pt x="183" y="32"/>
                  </a:lnTo>
                  <a:lnTo>
                    <a:pt x="183" y="34"/>
                  </a:lnTo>
                  <a:lnTo>
                    <a:pt x="184" y="38"/>
                  </a:lnTo>
                  <a:lnTo>
                    <a:pt x="184" y="38"/>
                  </a:lnTo>
                  <a:lnTo>
                    <a:pt x="188" y="42"/>
                  </a:lnTo>
                  <a:lnTo>
                    <a:pt x="189" y="45"/>
                  </a:lnTo>
                  <a:lnTo>
                    <a:pt x="189" y="46"/>
                  </a:lnTo>
                  <a:lnTo>
                    <a:pt x="191" y="49"/>
                  </a:lnTo>
                  <a:lnTo>
                    <a:pt x="191" y="53"/>
                  </a:lnTo>
                  <a:lnTo>
                    <a:pt x="192" y="54"/>
                  </a:lnTo>
                  <a:lnTo>
                    <a:pt x="191" y="57"/>
                  </a:lnTo>
                  <a:lnTo>
                    <a:pt x="191" y="59"/>
                  </a:lnTo>
                  <a:lnTo>
                    <a:pt x="189" y="62"/>
                  </a:lnTo>
                  <a:lnTo>
                    <a:pt x="189" y="65"/>
                  </a:lnTo>
                  <a:lnTo>
                    <a:pt x="188" y="69"/>
                  </a:lnTo>
                  <a:lnTo>
                    <a:pt x="188" y="70"/>
                  </a:lnTo>
                  <a:lnTo>
                    <a:pt x="189" y="73"/>
                  </a:lnTo>
                  <a:lnTo>
                    <a:pt x="191" y="76"/>
                  </a:lnTo>
                  <a:lnTo>
                    <a:pt x="192" y="80"/>
                  </a:lnTo>
                  <a:lnTo>
                    <a:pt x="192" y="84"/>
                  </a:lnTo>
                  <a:lnTo>
                    <a:pt x="192" y="88"/>
                  </a:lnTo>
                  <a:lnTo>
                    <a:pt x="194" y="91"/>
                  </a:lnTo>
                  <a:lnTo>
                    <a:pt x="194" y="91"/>
                  </a:lnTo>
                  <a:lnTo>
                    <a:pt x="192" y="94"/>
                  </a:lnTo>
                  <a:lnTo>
                    <a:pt x="191" y="99"/>
                  </a:lnTo>
                  <a:lnTo>
                    <a:pt x="188" y="99"/>
                  </a:lnTo>
                  <a:lnTo>
                    <a:pt x="188" y="99"/>
                  </a:lnTo>
                  <a:lnTo>
                    <a:pt x="186" y="97"/>
                  </a:lnTo>
                  <a:lnTo>
                    <a:pt x="183" y="99"/>
                  </a:lnTo>
                  <a:lnTo>
                    <a:pt x="180" y="99"/>
                  </a:lnTo>
                  <a:lnTo>
                    <a:pt x="176" y="102"/>
                  </a:lnTo>
                  <a:lnTo>
                    <a:pt x="175" y="105"/>
                  </a:lnTo>
                  <a:lnTo>
                    <a:pt x="173" y="108"/>
                  </a:lnTo>
                  <a:lnTo>
                    <a:pt x="172" y="108"/>
                  </a:lnTo>
                  <a:lnTo>
                    <a:pt x="169" y="108"/>
                  </a:lnTo>
                  <a:lnTo>
                    <a:pt x="165" y="108"/>
                  </a:lnTo>
                  <a:lnTo>
                    <a:pt x="165" y="111"/>
                  </a:lnTo>
                  <a:lnTo>
                    <a:pt x="161" y="113"/>
                  </a:lnTo>
                  <a:lnTo>
                    <a:pt x="157" y="113"/>
                  </a:lnTo>
                  <a:lnTo>
                    <a:pt x="157" y="111"/>
                  </a:lnTo>
                  <a:lnTo>
                    <a:pt x="153" y="113"/>
                  </a:lnTo>
                  <a:lnTo>
                    <a:pt x="153" y="113"/>
                  </a:lnTo>
                  <a:lnTo>
                    <a:pt x="156" y="116"/>
                  </a:lnTo>
                  <a:lnTo>
                    <a:pt x="154" y="118"/>
                  </a:lnTo>
                  <a:lnTo>
                    <a:pt x="154" y="121"/>
                  </a:lnTo>
                  <a:lnTo>
                    <a:pt x="156" y="126"/>
                  </a:lnTo>
                  <a:lnTo>
                    <a:pt x="156" y="124"/>
                  </a:lnTo>
                  <a:lnTo>
                    <a:pt x="151" y="124"/>
                  </a:lnTo>
                  <a:lnTo>
                    <a:pt x="148" y="122"/>
                  </a:lnTo>
                  <a:lnTo>
                    <a:pt x="145" y="121"/>
                  </a:lnTo>
                  <a:lnTo>
                    <a:pt x="143" y="121"/>
                  </a:lnTo>
                  <a:lnTo>
                    <a:pt x="140" y="121"/>
                  </a:lnTo>
                  <a:lnTo>
                    <a:pt x="138" y="124"/>
                  </a:lnTo>
                  <a:lnTo>
                    <a:pt x="137" y="126"/>
                  </a:lnTo>
                  <a:lnTo>
                    <a:pt x="134" y="127"/>
                  </a:lnTo>
                  <a:lnTo>
                    <a:pt x="134" y="127"/>
                  </a:lnTo>
                  <a:lnTo>
                    <a:pt x="134" y="129"/>
                  </a:lnTo>
                  <a:lnTo>
                    <a:pt x="135" y="132"/>
                  </a:lnTo>
                  <a:lnTo>
                    <a:pt x="137" y="135"/>
                  </a:lnTo>
                  <a:lnTo>
                    <a:pt x="137" y="138"/>
                  </a:lnTo>
                  <a:lnTo>
                    <a:pt x="138" y="141"/>
                  </a:lnTo>
                  <a:lnTo>
                    <a:pt x="138" y="143"/>
                  </a:lnTo>
                  <a:lnTo>
                    <a:pt x="142" y="145"/>
                  </a:lnTo>
                  <a:lnTo>
                    <a:pt x="145" y="148"/>
                  </a:lnTo>
                  <a:lnTo>
                    <a:pt x="148" y="149"/>
                  </a:lnTo>
                  <a:lnTo>
                    <a:pt x="149" y="153"/>
                  </a:lnTo>
                  <a:lnTo>
                    <a:pt x="149" y="153"/>
                  </a:lnTo>
                  <a:lnTo>
                    <a:pt x="146" y="154"/>
                  </a:lnTo>
                  <a:lnTo>
                    <a:pt x="148" y="157"/>
                  </a:lnTo>
                  <a:lnTo>
                    <a:pt x="148" y="160"/>
                  </a:lnTo>
                  <a:lnTo>
                    <a:pt x="145" y="160"/>
                  </a:lnTo>
                  <a:lnTo>
                    <a:pt x="143" y="159"/>
                  </a:lnTo>
                  <a:lnTo>
                    <a:pt x="140" y="159"/>
                  </a:lnTo>
                  <a:lnTo>
                    <a:pt x="137" y="156"/>
                  </a:lnTo>
                  <a:lnTo>
                    <a:pt x="137" y="154"/>
                  </a:lnTo>
                  <a:lnTo>
                    <a:pt x="134" y="151"/>
                  </a:lnTo>
                  <a:lnTo>
                    <a:pt x="126" y="154"/>
                  </a:lnTo>
                  <a:lnTo>
                    <a:pt x="118" y="157"/>
                  </a:lnTo>
                  <a:lnTo>
                    <a:pt x="113" y="156"/>
                  </a:lnTo>
                  <a:lnTo>
                    <a:pt x="113" y="156"/>
                  </a:lnTo>
                  <a:lnTo>
                    <a:pt x="113" y="156"/>
                  </a:lnTo>
                  <a:lnTo>
                    <a:pt x="113" y="156"/>
                  </a:lnTo>
                  <a:lnTo>
                    <a:pt x="113" y="156"/>
                  </a:lnTo>
                  <a:lnTo>
                    <a:pt x="110" y="156"/>
                  </a:lnTo>
                  <a:lnTo>
                    <a:pt x="110" y="154"/>
                  </a:lnTo>
                  <a:lnTo>
                    <a:pt x="110" y="154"/>
                  </a:lnTo>
                  <a:lnTo>
                    <a:pt x="108" y="154"/>
                  </a:lnTo>
                  <a:lnTo>
                    <a:pt x="108" y="156"/>
                  </a:lnTo>
                  <a:lnTo>
                    <a:pt x="108" y="156"/>
                  </a:lnTo>
                  <a:lnTo>
                    <a:pt x="108" y="159"/>
                  </a:lnTo>
                  <a:lnTo>
                    <a:pt x="110" y="162"/>
                  </a:lnTo>
                  <a:lnTo>
                    <a:pt x="107" y="165"/>
                  </a:lnTo>
                  <a:lnTo>
                    <a:pt x="105" y="168"/>
                  </a:lnTo>
                  <a:lnTo>
                    <a:pt x="103" y="170"/>
                  </a:lnTo>
                  <a:lnTo>
                    <a:pt x="100" y="172"/>
                  </a:lnTo>
                  <a:lnTo>
                    <a:pt x="97" y="172"/>
                  </a:lnTo>
                  <a:lnTo>
                    <a:pt x="92" y="172"/>
                  </a:lnTo>
                  <a:lnTo>
                    <a:pt x="91" y="173"/>
                  </a:lnTo>
                  <a:lnTo>
                    <a:pt x="88" y="175"/>
                  </a:lnTo>
                  <a:lnTo>
                    <a:pt x="88" y="175"/>
                  </a:lnTo>
                  <a:lnTo>
                    <a:pt x="86" y="175"/>
                  </a:lnTo>
                  <a:lnTo>
                    <a:pt x="83" y="173"/>
                  </a:lnTo>
                  <a:lnTo>
                    <a:pt x="78" y="170"/>
                  </a:lnTo>
                  <a:lnTo>
                    <a:pt x="75" y="170"/>
                  </a:lnTo>
                  <a:lnTo>
                    <a:pt x="72" y="170"/>
                  </a:lnTo>
                  <a:lnTo>
                    <a:pt x="69" y="168"/>
                  </a:lnTo>
                  <a:lnTo>
                    <a:pt x="65" y="165"/>
                  </a:lnTo>
                  <a:lnTo>
                    <a:pt x="65" y="168"/>
                  </a:lnTo>
                  <a:lnTo>
                    <a:pt x="62" y="172"/>
                  </a:lnTo>
                  <a:lnTo>
                    <a:pt x="59" y="173"/>
                  </a:lnTo>
                  <a:lnTo>
                    <a:pt x="56" y="170"/>
                  </a:lnTo>
                  <a:lnTo>
                    <a:pt x="54" y="167"/>
                  </a:lnTo>
                  <a:lnTo>
                    <a:pt x="56" y="164"/>
                  </a:lnTo>
                  <a:lnTo>
                    <a:pt x="59" y="162"/>
                  </a:lnTo>
                  <a:lnTo>
                    <a:pt x="59" y="159"/>
                  </a:lnTo>
                  <a:lnTo>
                    <a:pt x="59" y="156"/>
                  </a:lnTo>
                  <a:lnTo>
                    <a:pt x="57" y="153"/>
                  </a:lnTo>
                  <a:lnTo>
                    <a:pt x="57" y="149"/>
                  </a:lnTo>
                  <a:lnTo>
                    <a:pt x="54" y="146"/>
                  </a:lnTo>
                  <a:lnTo>
                    <a:pt x="50" y="146"/>
                  </a:lnTo>
                  <a:lnTo>
                    <a:pt x="50" y="149"/>
                  </a:lnTo>
                  <a:lnTo>
                    <a:pt x="50" y="154"/>
                  </a:lnTo>
                  <a:lnTo>
                    <a:pt x="48" y="157"/>
                  </a:lnTo>
                  <a:lnTo>
                    <a:pt x="45" y="156"/>
                  </a:lnTo>
                  <a:lnTo>
                    <a:pt x="40" y="157"/>
                  </a:lnTo>
                  <a:lnTo>
                    <a:pt x="37" y="154"/>
                  </a:lnTo>
                  <a:lnTo>
                    <a:pt x="37" y="151"/>
                  </a:lnTo>
                  <a:lnTo>
                    <a:pt x="38" y="148"/>
                  </a:lnTo>
                  <a:lnTo>
                    <a:pt x="37" y="145"/>
                  </a:lnTo>
                  <a:lnTo>
                    <a:pt x="35" y="140"/>
                  </a:lnTo>
                  <a:lnTo>
                    <a:pt x="35" y="137"/>
                  </a:lnTo>
                  <a:lnTo>
                    <a:pt x="38" y="134"/>
                  </a:lnTo>
                  <a:lnTo>
                    <a:pt x="34" y="132"/>
                  </a:lnTo>
                  <a:lnTo>
                    <a:pt x="31" y="127"/>
                  </a:lnTo>
                  <a:lnTo>
                    <a:pt x="31" y="124"/>
                  </a:lnTo>
                  <a:lnTo>
                    <a:pt x="34" y="122"/>
                  </a:lnTo>
                  <a:lnTo>
                    <a:pt x="31" y="122"/>
                  </a:lnTo>
                  <a:lnTo>
                    <a:pt x="31" y="122"/>
                  </a:lnTo>
                  <a:lnTo>
                    <a:pt x="31" y="122"/>
                  </a:lnTo>
                  <a:lnTo>
                    <a:pt x="29" y="126"/>
                  </a:lnTo>
                  <a:lnTo>
                    <a:pt x="29" y="122"/>
                  </a:lnTo>
                  <a:lnTo>
                    <a:pt x="27" y="121"/>
                  </a:lnTo>
                  <a:lnTo>
                    <a:pt x="26" y="116"/>
                  </a:lnTo>
                  <a:lnTo>
                    <a:pt x="24" y="113"/>
                  </a:lnTo>
                  <a:lnTo>
                    <a:pt x="23" y="110"/>
                  </a:lnTo>
                  <a:lnTo>
                    <a:pt x="21" y="107"/>
                  </a:lnTo>
                  <a:lnTo>
                    <a:pt x="19" y="102"/>
                  </a:lnTo>
                  <a:lnTo>
                    <a:pt x="19" y="97"/>
                  </a:lnTo>
                  <a:lnTo>
                    <a:pt x="21" y="94"/>
                  </a:lnTo>
                  <a:lnTo>
                    <a:pt x="19" y="91"/>
                  </a:lnTo>
                  <a:lnTo>
                    <a:pt x="16" y="88"/>
                  </a:lnTo>
                  <a:lnTo>
                    <a:pt x="11" y="84"/>
                  </a:lnTo>
                  <a:lnTo>
                    <a:pt x="10" y="81"/>
                  </a:lnTo>
                  <a:lnTo>
                    <a:pt x="10" y="80"/>
                  </a:lnTo>
                  <a:lnTo>
                    <a:pt x="10" y="76"/>
                  </a:lnTo>
                  <a:lnTo>
                    <a:pt x="8" y="73"/>
                  </a:lnTo>
                  <a:lnTo>
                    <a:pt x="8" y="70"/>
                  </a:lnTo>
                  <a:lnTo>
                    <a:pt x="7" y="67"/>
                  </a:lnTo>
                  <a:lnTo>
                    <a:pt x="4" y="64"/>
                  </a:lnTo>
                  <a:lnTo>
                    <a:pt x="4" y="59"/>
                  </a:lnTo>
                  <a:lnTo>
                    <a:pt x="2" y="57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41" name="Freeform 86"/>
            <p:cNvSpPr>
              <a:spLocks/>
            </p:cNvSpPr>
            <p:nvPr/>
          </p:nvSpPr>
          <p:spPr bwMode="auto">
            <a:xfrm>
              <a:off x="8027804" y="4021646"/>
              <a:ext cx="227906" cy="512806"/>
            </a:xfrm>
            <a:custGeom>
              <a:avLst/>
              <a:gdLst>
                <a:gd name="T0" fmla="*/ 27 w 311"/>
                <a:gd name="T1" fmla="*/ 37 h 607"/>
                <a:gd name="T2" fmla="*/ 49 w 311"/>
                <a:gd name="T3" fmla="*/ 25 h 607"/>
                <a:gd name="T4" fmla="*/ 67 w 311"/>
                <a:gd name="T5" fmla="*/ 24 h 607"/>
                <a:gd name="T6" fmla="*/ 92 w 311"/>
                <a:gd name="T7" fmla="*/ 19 h 607"/>
                <a:gd name="T8" fmla="*/ 109 w 311"/>
                <a:gd name="T9" fmla="*/ 5 h 607"/>
                <a:gd name="T10" fmla="*/ 143 w 311"/>
                <a:gd name="T11" fmla="*/ 22 h 607"/>
                <a:gd name="T12" fmla="*/ 155 w 311"/>
                <a:gd name="T13" fmla="*/ 38 h 607"/>
                <a:gd name="T14" fmla="*/ 173 w 311"/>
                <a:gd name="T15" fmla="*/ 60 h 607"/>
                <a:gd name="T16" fmla="*/ 198 w 311"/>
                <a:gd name="T17" fmla="*/ 73 h 607"/>
                <a:gd name="T18" fmla="*/ 200 w 311"/>
                <a:gd name="T19" fmla="*/ 83 h 607"/>
                <a:gd name="T20" fmla="*/ 176 w 311"/>
                <a:gd name="T21" fmla="*/ 100 h 607"/>
                <a:gd name="T22" fmla="*/ 168 w 311"/>
                <a:gd name="T23" fmla="*/ 113 h 607"/>
                <a:gd name="T24" fmla="*/ 159 w 311"/>
                <a:gd name="T25" fmla="*/ 136 h 607"/>
                <a:gd name="T26" fmla="*/ 148 w 311"/>
                <a:gd name="T27" fmla="*/ 159 h 607"/>
                <a:gd name="T28" fmla="*/ 151 w 311"/>
                <a:gd name="T29" fmla="*/ 190 h 607"/>
                <a:gd name="T30" fmla="*/ 179 w 311"/>
                <a:gd name="T31" fmla="*/ 232 h 607"/>
                <a:gd name="T32" fmla="*/ 203 w 311"/>
                <a:gd name="T33" fmla="*/ 255 h 607"/>
                <a:gd name="T34" fmla="*/ 225 w 311"/>
                <a:gd name="T35" fmla="*/ 278 h 607"/>
                <a:gd name="T36" fmla="*/ 246 w 311"/>
                <a:gd name="T37" fmla="*/ 292 h 607"/>
                <a:gd name="T38" fmla="*/ 252 w 311"/>
                <a:gd name="T39" fmla="*/ 297 h 607"/>
                <a:gd name="T40" fmla="*/ 278 w 311"/>
                <a:gd name="T41" fmla="*/ 327 h 607"/>
                <a:gd name="T42" fmla="*/ 292 w 311"/>
                <a:gd name="T43" fmla="*/ 365 h 607"/>
                <a:gd name="T44" fmla="*/ 300 w 311"/>
                <a:gd name="T45" fmla="*/ 400 h 607"/>
                <a:gd name="T46" fmla="*/ 311 w 311"/>
                <a:gd name="T47" fmla="*/ 430 h 607"/>
                <a:gd name="T48" fmla="*/ 308 w 311"/>
                <a:gd name="T49" fmla="*/ 450 h 607"/>
                <a:gd name="T50" fmla="*/ 306 w 311"/>
                <a:gd name="T51" fmla="*/ 466 h 607"/>
                <a:gd name="T52" fmla="*/ 301 w 311"/>
                <a:gd name="T53" fmla="*/ 490 h 607"/>
                <a:gd name="T54" fmla="*/ 268 w 311"/>
                <a:gd name="T55" fmla="*/ 512 h 607"/>
                <a:gd name="T56" fmla="*/ 238 w 311"/>
                <a:gd name="T57" fmla="*/ 528 h 607"/>
                <a:gd name="T58" fmla="*/ 225 w 311"/>
                <a:gd name="T59" fmla="*/ 522 h 607"/>
                <a:gd name="T60" fmla="*/ 224 w 311"/>
                <a:gd name="T61" fmla="*/ 533 h 607"/>
                <a:gd name="T62" fmla="*/ 222 w 311"/>
                <a:gd name="T63" fmla="*/ 544 h 607"/>
                <a:gd name="T64" fmla="*/ 221 w 311"/>
                <a:gd name="T65" fmla="*/ 552 h 607"/>
                <a:gd name="T66" fmla="*/ 213 w 311"/>
                <a:gd name="T67" fmla="*/ 566 h 607"/>
                <a:gd name="T68" fmla="*/ 205 w 311"/>
                <a:gd name="T69" fmla="*/ 571 h 607"/>
                <a:gd name="T70" fmla="*/ 167 w 311"/>
                <a:gd name="T71" fmla="*/ 604 h 607"/>
                <a:gd name="T72" fmla="*/ 157 w 311"/>
                <a:gd name="T73" fmla="*/ 566 h 607"/>
                <a:gd name="T74" fmla="*/ 149 w 311"/>
                <a:gd name="T75" fmla="*/ 539 h 607"/>
                <a:gd name="T76" fmla="*/ 155 w 311"/>
                <a:gd name="T77" fmla="*/ 525 h 607"/>
                <a:gd name="T78" fmla="*/ 165 w 311"/>
                <a:gd name="T79" fmla="*/ 511 h 607"/>
                <a:gd name="T80" fmla="*/ 200 w 311"/>
                <a:gd name="T81" fmla="*/ 515 h 607"/>
                <a:gd name="T82" fmla="*/ 187 w 311"/>
                <a:gd name="T83" fmla="*/ 487 h 607"/>
                <a:gd name="T84" fmla="*/ 208 w 311"/>
                <a:gd name="T85" fmla="*/ 481 h 607"/>
                <a:gd name="T86" fmla="*/ 224 w 311"/>
                <a:gd name="T87" fmla="*/ 463 h 607"/>
                <a:gd name="T88" fmla="*/ 244 w 311"/>
                <a:gd name="T89" fmla="*/ 439 h 607"/>
                <a:gd name="T90" fmla="*/ 241 w 311"/>
                <a:gd name="T91" fmla="*/ 401 h 607"/>
                <a:gd name="T92" fmla="*/ 232 w 311"/>
                <a:gd name="T93" fmla="*/ 366 h 607"/>
                <a:gd name="T94" fmla="*/ 236 w 311"/>
                <a:gd name="T95" fmla="*/ 335 h 607"/>
                <a:gd name="T96" fmla="*/ 225 w 311"/>
                <a:gd name="T97" fmla="*/ 303 h 607"/>
                <a:gd name="T98" fmla="*/ 203 w 311"/>
                <a:gd name="T99" fmla="*/ 284 h 607"/>
                <a:gd name="T100" fmla="*/ 184 w 311"/>
                <a:gd name="T101" fmla="*/ 262 h 607"/>
                <a:gd name="T102" fmla="*/ 155 w 311"/>
                <a:gd name="T103" fmla="*/ 235 h 607"/>
                <a:gd name="T104" fmla="*/ 130 w 311"/>
                <a:gd name="T105" fmla="*/ 205 h 607"/>
                <a:gd name="T106" fmla="*/ 102 w 311"/>
                <a:gd name="T107" fmla="*/ 181 h 607"/>
                <a:gd name="T108" fmla="*/ 87 w 311"/>
                <a:gd name="T109" fmla="*/ 159 h 607"/>
                <a:gd name="T110" fmla="*/ 111 w 311"/>
                <a:gd name="T111" fmla="*/ 144 h 607"/>
                <a:gd name="T112" fmla="*/ 98 w 311"/>
                <a:gd name="T113" fmla="*/ 122 h 607"/>
                <a:gd name="T114" fmla="*/ 79 w 311"/>
                <a:gd name="T115" fmla="*/ 100 h 607"/>
                <a:gd name="T116" fmla="*/ 43 w 311"/>
                <a:gd name="T117" fmla="*/ 102 h 607"/>
                <a:gd name="T118" fmla="*/ 32 w 311"/>
                <a:gd name="T119" fmla="*/ 68 h 607"/>
                <a:gd name="T120" fmla="*/ 5 w 311"/>
                <a:gd name="T121" fmla="*/ 48 h 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1" h="607">
                  <a:moveTo>
                    <a:pt x="0" y="41"/>
                  </a:moveTo>
                  <a:lnTo>
                    <a:pt x="3" y="40"/>
                  </a:lnTo>
                  <a:lnTo>
                    <a:pt x="3" y="37"/>
                  </a:lnTo>
                  <a:lnTo>
                    <a:pt x="6" y="33"/>
                  </a:lnTo>
                  <a:lnTo>
                    <a:pt x="8" y="30"/>
                  </a:lnTo>
                  <a:lnTo>
                    <a:pt x="8" y="27"/>
                  </a:lnTo>
                  <a:lnTo>
                    <a:pt x="13" y="27"/>
                  </a:lnTo>
                  <a:lnTo>
                    <a:pt x="16" y="29"/>
                  </a:lnTo>
                  <a:lnTo>
                    <a:pt x="19" y="30"/>
                  </a:lnTo>
                  <a:lnTo>
                    <a:pt x="22" y="32"/>
                  </a:lnTo>
                  <a:lnTo>
                    <a:pt x="25" y="35"/>
                  </a:lnTo>
                  <a:lnTo>
                    <a:pt x="27" y="37"/>
                  </a:lnTo>
                  <a:lnTo>
                    <a:pt x="30" y="38"/>
                  </a:lnTo>
                  <a:lnTo>
                    <a:pt x="32" y="37"/>
                  </a:lnTo>
                  <a:lnTo>
                    <a:pt x="35" y="33"/>
                  </a:lnTo>
                  <a:lnTo>
                    <a:pt x="35" y="33"/>
                  </a:lnTo>
                  <a:lnTo>
                    <a:pt x="38" y="30"/>
                  </a:lnTo>
                  <a:lnTo>
                    <a:pt x="40" y="25"/>
                  </a:lnTo>
                  <a:lnTo>
                    <a:pt x="43" y="25"/>
                  </a:lnTo>
                  <a:lnTo>
                    <a:pt x="44" y="30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9" y="30"/>
                  </a:lnTo>
                  <a:lnTo>
                    <a:pt x="49" y="25"/>
                  </a:lnTo>
                  <a:lnTo>
                    <a:pt x="51" y="25"/>
                  </a:lnTo>
                  <a:lnTo>
                    <a:pt x="54" y="29"/>
                  </a:lnTo>
                  <a:lnTo>
                    <a:pt x="57" y="32"/>
                  </a:lnTo>
                  <a:lnTo>
                    <a:pt x="62" y="35"/>
                  </a:lnTo>
                  <a:lnTo>
                    <a:pt x="63" y="37"/>
                  </a:lnTo>
                  <a:lnTo>
                    <a:pt x="63" y="37"/>
                  </a:lnTo>
                  <a:lnTo>
                    <a:pt x="63" y="37"/>
                  </a:lnTo>
                  <a:lnTo>
                    <a:pt x="65" y="35"/>
                  </a:lnTo>
                  <a:lnTo>
                    <a:pt x="65" y="32"/>
                  </a:lnTo>
                  <a:lnTo>
                    <a:pt x="65" y="29"/>
                  </a:lnTo>
                  <a:lnTo>
                    <a:pt x="67" y="25"/>
                  </a:lnTo>
                  <a:lnTo>
                    <a:pt x="67" y="24"/>
                  </a:lnTo>
                  <a:lnTo>
                    <a:pt x="70" y="24"/>
                  </a:lnTo>
                  <a:lnTo>
                    <a:pt x="71" y="24"/>
                  </a:lnTo>
                  <a:lnTo>
                    <a:pt x="73" y="24"/>
                  </a:lnTo>
                  <a:lnTo>
                    <a:pt x="73" y="27"/>
                  </a:lnTo>
                  <a:lnTo>
                    <a:pt x="73" y="27"/>
                  </a:lnTo>
                  <a:lnTo>
                    <a:pt x="76" y="29"/>
                  </a:lnTo>
                  <a:lnTo>
                    <a:pt x="76" y="29"/>
                  </a:lnTo>
                  <a:lnTo>
                    <a:pt x="79" y="27"/>
                  </a:lnTo>
                  <a:lnTo>
                    <a:pt x="83" y="24"/>
                  </a:lnTo>
                  <a:lnTo>
                    <a:pt x="86" y="24"/>
                  </a:lnTo>
                  <a:lnTo>
                    <a:pt x="90" y="22"/>
                  </a:lnTo>
                  <a:lnTo>
                    <a:pt x="92" y="19"/>
                  </a:lnTo>
                  <a:lnTo>
                    <a:pt x="92" y="19"/>
                  </a:lnTo>
                  <a:lnTo>
                    <a:pt x="92" y="16"/>
                  </a:lnTo>
                  <a:lnTo>
                    <a:pt x="90" y="11"/>
                  </a:lnTo>
                  <a:lnTo>
                    <a:pt x="92" y="10"/>
                  </a:lnTo>
                  <a:lnTo>
                    <a:pt x="95" y="10"/>
                  </a:lnTo>
                  <a:lnTo>
                    <a:pt x="95" y="8"/>
                  </a:lnTo>
                  <a:lnTo>
                    <a:pt x="100" y="6"/>
                  </a:lnTo>
                  <a:lnTo>
                    <a:pt x="102" y="5"/>
                  </a:lnTo>
                  <a:lnTo>
                    <a:pt x="105" y="2"/>
                  </a:lnTo>
                  <a:lnTo>
                    <a:pt x="106" y="0"/>
                  </a:lnTo>
                  <a:lnTo>
                    <a:pt x="109" y="5"/>
                  </a:lnTo>
                  <a:lnTo>
                    <a:pt x="109" y="5"/>
                  </a:lnTo>
                  <a:lnTo>
                    <a:pt x="113" y="6"/>
                  </a:lnTo>
                  <a:lnTo>
                    <a:pt x="114" y="10"/>
                  </a:lnTo>
                  <a:lnTo>
                    <a:pt x="116" y="13"/>
                  </a:lnTo>
                  <a:lnTo>
                    <a:pt x="119" y="14"/>
                  </a:lnTo>
                  <a:lnTo>
                    <a:pt x="122" y="14"/>
                  </a:lnTo>
                  <a:lnTo>
                    <a:pt x="125" y="18"/>
                  </a:lnTo>
                  <a:lnTo>
                    <a:pt x="129" y="19"/>
                  </a:lnTo>
                  <a:lnTo>
                    <a:pt x="133" y="19"/>
                  </a:lnTo>
                  <a:lnTo>
                    <a:pt x="135" y="16"/>
                  </a:lnTo>
                  <a:lnTo>
                    <a:pt x="138" y="16"/>
                  </a:lnTo>
                  <a:lnTo>
                    <a:pt x="141" y="19"/>
                  </a:lnTo>
                  <a:lnTo>
                    <a:pt x="143" y="22"/>
                  </a:lnTo>
                  <a:lnTo>
                    <a:pt x="146" y="21"/>
                  </a:lnTo>
                  <a:lnTo>
                    <a:pt x="149" y="21"/>
                  </a:lnTo>
                  <a:lnTo>
                    <a:pt x="152" y="19"/>
                  </a:lnTo>
                  <a:lnTo>
                    <a:pt x="154" y="19"/>
                  </a:lnTo>
                  <a:lnTo>
                    <a:pt x="157" y="21"/>
                  </a:lnTo>
                  <a:lnTo>
                    <a:pt x="159" y="22"/>
                  </a:lnTo>
                  <a:lnTo>
                    <a:pt x="162" y="25"/>
                  </a:lnTo>
                  <a:lnTo>
                    <a:pt x="160" y="30"/>
                  </a:lnTo>
                  <a:lnTo>
                    <a:pt x="160" y="33"/>
                  </a:lnTo>
                  <a:lnTo>
                    <a:pt x="160" y="33"/>
                  </a:lnTo>
                  <a:lnTo>
                    <a:pt x="155" y="33"/>
                  </a:lnTo>
                  <a:lnTo>
                    <a:pt x="155" y="38"/>
                  </a:lnTo>
                  <a:lnTo>
                    <a:pt x="155" y="38"/>
                  </a:lnTo>
                  <a:lnTo>
                    <a:pt x="155" y="40"/>
                  </a:lnTo>
                  <a:lnTo>
                    <a:pt x="157" y="41"/>
                  </a:lnTo>
                  <a:lnTo>
                    <a:pt x="157" y="43"/>
                  </a:lnTo>
                  <a:lnTo>
                    <a:pt x="160" y="46"/>
                  </a:lnTo>
                  <a:lnTo>
                    <a:pt x="162" y="49"/>
                  </a:lnTo>
                  <a:lnTo>
                    <a:pt x="162" y="51"/>
                  </a:lnTo>
                  <a:lnTo>
                    <a:pt x="163" y="56"/>
                  </a:lnTo>
                  <a:lnTo>
                    <a:pt x="163" y="59"/>
                  </a:lnTo>
                  <a:lnTo>
                    <a:pt x="167" y="57"/>
                  </a:lnTo>
                  <a:lnTo>
                    <a:pt x="170" y="57"/>
                  </a:lnTo>
                  <a:lnTo>
                    <a:pt x="173" y="60"/>
                  </a:lnTo>
                  <a:lnTo>
                    <a:pt x="176" y="62"/>
                  </a:lnTo>
                  <a:lnTo>
                    <a:pt x="176" y="65"/>
                  </a:lnTo>
                  <a:lnTo>
                    <a:pt x="179" y="65"/>
                  </a:lnTo>
                  <a:lnTo>
                    <a:pt x="182" y="68"/>
                  </a:lnTo>
                  <a:lnTo>
                    <a:pt x="186" y="68"/>
                  </a:lnTo>
                  <a:lnTo>
                    <a:pt x="189" y="71"/>
                  </a:lnTo>
                  <a:lnTo>
                    <a:pt x="189" y="73"/>
                  </a:lnTo>
                  <a:lnTo>
                    <a:pt x="194" y="71"/>
                  </a:lnTo>
                  <a:lnTo>
                    <a:pt x="194" y="75"/>
                  </a:lnTo>
                  <a:lnTo>
                    <a:pt x="195" y="73"/>
                  </a:lnTo>
                  <a:lnTo>
                    <a:pt x="198" y="73"/>
                  </a:lnTo>
                  <a:lnTo>
                    <a:pt x="198" y="73"/>
                  </a:lnTo>
                  <a:lnTo>
                    <a:pt x="201" y="71"/>
                  </a:lnTo>
                  <a:lnTo>
                    <a:pt x="205" y="71"/>
                  </a:lnTo>
                  <a:lnTo>
                    <a:pt x="205" y="71"/>
                  </a:lnTo>
                  <a:lnTo>
                    <a:pt x="213" y="76"/>
                  </a:lnTo>
                  <a:lnTo>
                    <a:pt x="214" y="78"/>
                  </a:lnTo>
                  <a:lnTo>
                    <a:pt x="214" y="78"/>
                  </a:lnTo>
                  <a:lnTo>
                    <a:pt x="214" y="79"/>
                  </a:lnTo>
                  <a:lnTo>
                    <a:pt x="209" y="79"/>
                  </a:lnTo>
                  <a:lnTo>
                    <a:pt x="208" y="76"/>
                  </a:lnTo>
                  <a:lnTo>
                    <a:pt x="205" y="78"/>
                  </a:lnTo>
                  <a:lnTo>
                    <a:pt x="205" y="81"/>
                  </a:lnTo>
                  <a:lnTo>
                    <a:pt x="200" y="83"/>
                  </a:lnTo>
                  <a:lnTo>
                    <a:pt x="198" y="86"/>
                  </a:lnTo>
                  <a:lnTo>
                    <a:pt x="195" y="86"/>
                  </a:lnTo>
                  <a:lnTo>
                    <a:pt x="192" y="87"/>
                  </a:lnTo>
                  <a:lnTo>
                    <a:pt x="194" y="91"/>
                  </a:lnTo>
                  <a:lnTo>
                    <a:pt x="194" y="95"/>
                  </a:lnTo>
                  <a:lnTo>
                    <a:pt x="190" y="98"/>
                  </a:lnTo>
                  <a:lnTo>
                    <a:pt x="187" y="100"/>
                  </a:lnTo>
                  <a:lnTo>
                    <a:pt x="182" y="100"/>
                  </a:lnTo>
                  <a:lnTo>
                    <a:pt x="184" y="97"/>
                  </a:lnTo>
                  <a:lnTo>
                    <a:pt x="181" y="97"/>
                  </a:lnTo>
                  <a:lnTo>
                    <a:pt x="179" y="100"/>
                  </a:lnTo>
                  <a:lnTo>
                    <a:pt x="176" y="100"/>
                  </a:lnTo>
                  <a:lnTo>
                    <a:pt x="176" y="103"/>
                  </a:lnTo>
                  <a:lnTo>
                    <a:pt x="173" y="100"/>
                  </a:lnTo>
                  <a:lnTo>
                    <a:pt x="171" y="97"/>
                  </a:lnTo>
                  <a:lnTo>
                    <a:pt x="168" y="97"/>
                  </a:lnTo>
                  <a:lnTo>
                    <a:pt x="168" y="98"/>
                  </a:lnTo>
                  <a:lnTo>
                    <a:pt x="173" y="100"/>
                  </a:lnTo>
                  <a:lnTo>
                    <a:pt x="170" y="103"/>
                  </a:lnTo>
                  <a:lnTo>
                    <a:pt x="171" y="103"/>
                  </a:lnTo>
                  <a:lnTo>
                    <a:pt x="173" y="108"/>
                  </a:lnTo>
                  <a:lnTo>
                    <a:pt x="175" y="111"/>
                  </a:lnTo>
                  <a:lnTo>
                    <a:pt x="171" y="113"/>
                  </a:lnTo>
                  <a:lnTo>
                    <a:pt x="168" y="113"/>
                  </a:lnTo>
                  <a:lnTo>
                    <a:pt x="168" y="113"/>
                  </a:lnTo>
                  <a:lnTo>
                    <a:pt x="168" y="113"/>
                  </a:lnTo>
                  <a:lnTo>
                    <a:pt x="168" y="117"/>
                  </a:lnTo>
                  <a:lnTo>
                    <a:pt x="168" y="119"/>
                  </a:lnTo>
                  <a:lnTo>
                    <a:pt x="170" y="124"/>
                  </a:lnTo>
                  <a:lnTo>
                    <a:pt x="167" y="127"/>
                  </a:lnTo>
                  <a:lnTo>
                    <a:pt x="167" y="127"/>
                  </a:lnTo>
                  <a:lnTo>
                    <a:pt x="168" y="127"/>
                  </a:lnTo>
                  <a:lnTo>
                    <a:pt x="167" y="130"/>
                  </a:lnTo>
                  <a:lnTo>
                    <a:pt x="163" y="130"/>
                  </a:lnTo>
                  <a:lnTo>
                    <a:pt x="162" y="133"/>
                  </a:lnTo>
                  <a:lnTo>
                    <a:pt x="159" y="136"/>
                  </a:lnTo>
                  <a:lnTo>
                    <a:pt x="157" y="140"/>
                  </a:lnTo>
                  <a:lnTo>
                    <a:pt x="154" y="140"/>
                  </a:lnTo>
                  <a:lnTo>
                    <a:pt x="154" y="138"/>
                  </a:lnTo>
                  <a:lnTo>
                    <a:pt x="154" y="140"/>
                  </a:lnTo>
                  <a:lnTo>
                    <a:pt x="152" y="140"/>
                  </a:lnTo>
                  <a:lnTo>
                    <a:pt x="151" y="141"/>
                  </a:lnTo>
                  <a:lnTo>
                    <a:pt x="149" y="144"/>
                  </a:lnTo>
                  <a:lnTo>
                    <a:pt x="148" y="149"/>
                  </a:lnTo>
                  <a:lnTo>
                    <a:pt x="148" y="151"/>
                  </a:lnTo>
                  <a:lnTo>
                    <a:pt x="146" y="156"/>
                  </a:lnTo>
                  <a:lnTo>
                    <a:pt x="146" y="156"/>
                  </a:lnTo>
                  <a:lnTo>
                    <a:pt x="148" y="159"/>
                  </a:lnTo>
                  <a:lnTo>
                    <a:pt x="148" y="162"/>
                  </a:lnTo>
                  <a:lnTo>
                    <a:pt x="148" y="165"/>
                  </a:lnTo>
                  <a:lnTo>
                    <a:pt x="149" y="168"/>
                  </a:lnTo>
                  <a:lnTo>
                    <a:pt x="148" y="170"/>
                  </a:lnTo>
                  <a:lnTo>
                    <a:pt x="146" y="173"/>
                  </a:lnTo>
                  <a:lnTo>
                    <a:pt x="144" y="176"/>
                  </a:lnTo>
                  <a:lnTo>
                    <a:pt x="143" y="179"/>
                  </a:lnTo>
                  <a:lnTo>
                    <a:pt x="144" y="182"/>
                  </a:lnTo>
                  <a:lnTo>
                    <a:pt x="148" y="187"/>
                  </a:lnTo>
                  <a:lnTo>
                    <a:pt x="149" y="190"/>
                  </a:lnTo>
                  <a:lnTo>
                    <a:pt x="149" y="194"/>
                  </a:lnTo>
                  <a:lnTo>
                    <a:pt x="151" y="190"/>
                  </a:lnTo>
                  <a:lnTo>
                    <a:pt x="155" y="200"/>
                  </a:lnTo>
                  <a:lnTo>
                    <a:pt x="162" y="206"/>
                  </a:lnTo>
                  <a:lnTo>
                    <a:pt x="165" y="211"/>
                  </a:lnTo>
                  <a:lnTo>
                    <a:pt x="168" y="211"/>
                  </a:lnTo>
                  <a:lnTo>
                    <a:pt x="171" y="214"/>
                  </a:lnTo>
                  <a:lnTo>
                    <a:pt x="175" y="217"/>
                  </a:lnTo>
                  <a:lnTo>
                    <a:pt x="178" y="219"/>
                  </a:lnTo>
                  <a:lnTo>
                    <a:pt x="181" y="222"/>
                  </a:lnTo>
                  <a:lnTo>
                    <a:pt x="179" y="225"/>
                  </a:lnTo>
                  <a:lnTo>
                    <a:pt x="181" y="230"/>
                  </a:lnTo>
                  <a:lnTo>
                    <a:pt x="181" y="233"/>
                  </a:lnTo>
                  <a:lnTo>
                    <a:pt x="179" y="232"/>
                  </a:lnTo>
                  <a:lnTo>
                    <a:pt x="178" y="232"/>
                  </a:lnTo>
                  <a:lnTo>
                    <a:pt x="178" y="230"/>
                  </a:lnTo>
                  <a:lnTo>
                    <a:pt x="175" y="230"/>
                  </a:lnTo>
                  <a:lnTo>
                    <a:pt x="175" y="230"/>
                  </a:lnTo>
                  <a:lnTo>
                    <a:pt x="178" y="232"/>
                  </a:lnTo>
                  <a:lnTo>
                    <a:pt x="178" y="233"/>
                  </a:lnTo>
                  <a:lnTo>
                    <a:pt x="178" y="233"/>
                  </a:lnTo>
                  <a:lnTo>
                    <a:pt x="179" y="233"/>
                  </a:lnTo>
                  <a:lnTo>
                    <a:pt x="181" y="233"/>
                  </a:lnTo>
                  <a:lnTo>
                    <a:pt x="189" y="243"/>
                  </a:lnTo>
                  <a:lnTo>
                    <a:pt x="200" y="252"/>
                  </a:lnTo>
                  <a:lnTo>
                    <a:pt x="203" y="255"/>
                  </a:lnTo>
                  <a:lnTo>
                    <a:pt x="205" y="257"/>
                  </a:lnTo>
                  <a:lnTo>
                    <a:pt x="208" y="259"/>
                  </a:lnTo>
                  <a:lnTo>
                    <a:pt x="208" y="259"/>
                  </a:lnTo>
                  <a:lnTo>
                    <a:pt x="208" y="262"/>
                  </a:lnTo>
                  <a:lnTo>
                    <a:pt x="209" y="262"/>
                  </a:lnTo>
                  <a:lnTo>
                    <a:pt x="209" y="263"/>
                  </a:lnTo>
                  <a:lnTo>
                    <a:pt x="209" y="267"/>
                  </a:lnTo>
                  <a:lnTo>
                    <a:pt x="209" y="267"/>
                  </a:lnTo>
                  <a:lnTo>
                    <a:pt x="213" y="267"/>
                  </a:lnTo>
                  <a:lnTo>
                    <a:pt x="216" y="270"/>
                  </a:lnTo>
                  <a:lnTo>
                    <a:pt x="222" y="274"/>
                  </a:lnTo>
                  <a:lnTo>
                    <a:pt x="225" y="278"/>
                  </a:lnTo>
                  <a:lnTo>
                    <a:pt x="222" y="276"/>
                  </a:lnTo>
                  <a:lnTo>
                    <a:pt x="222" y="276"/>
                  </a:lnTo>
                  <a:lnTo>
                    <a:pt x="222" y="276"/>
                  </a:lnTo>
                  <a:lnTo>
                    <a:pt x="224" y="278"/>
                  </a:lnTo>
                  <a:lnTo>
                    <a:pt x="228" y="281"/>
                  </a:lnTo>
                  <a:lnTo>
                    <a:pt x="230" y="282"/>
                  </a:lnTo>
                  <a:lnTo>
                    <a:pt x="233" y="284"/>
                  </a:lnTo>
                  <a:lnTo>
                    <a:pt x="235" y="287"/>
                  </a:lnTo>
                  <a:lnTo>
                    <a:pt x="238" y="290"/>
                  </a:lnTo>
                  <a:lnTo>
                    <a:pt x="241" y="289"/>
                  </a:lnTo>
                  <a:lnTo>
                    <a:pt x="244" y="289"/>
                  </a:lnTo>
                  <a:lnTo>
                    <a:pt x="246" y="292"/>
                  </a:lnTo>
                  <a:lnTo>
                    <a:pt x="246" y="293"/>
                  </a:lnTo>
                  <a:lnTo>
                    <a:pt x="249" y="295"/>
                  </a:lnTo>
                  <a:lnTo>
                    <a:pt x="249" y="298"/>
                  </a:lnTo>
                  <a:lnTo>
                    <a:pt x="252" y="300"/>
                  </a:lnTo>
                  <a:lnTo>
                    <a:pt x="254" y="301"/>
                  </a:lnTo>
                  <a:lnTo>
                    <a:pt x="252" y="303"/>
                  </a:lnTo>
                  <a:lnTo>
                    <a:pt x="252" y="303"/>
                  </a:lnTo>
                  <a:lnTo>
                    <a:pt x="252" y="303"/>
                  </a:lnTo>
                  <a:lnTo>
                    <a:pt x="254" y="301"/>
                  </a:lnTo>
                  <a:lnTo>
                    <a:pt x="254" y="300"/>
                  </a:lnTo>
                  <a:lnTo>
                    <a:pt x="252" y="297"/>
                  </a:lnTo>
                  <a:lnTo>
                    <a:pt x="252" y="297"/>
                  </a:lnTo>
                  <a:lnTo>
                    <a:pt x="255" y="297"/>
                  </a:lnTo>
                  <a:lnTo>
                    <a:pt x="254" y="301"/>
                  </a:lnTo>
                  <a:lnTo>
                    <a:pt x="255" y="305"/>
                  </a:lnTo>
                  <a:lnTo>
                    <a:pt x="259" y="308"/>
                  </a:lnTo>
                  <a:lnTo>
                    <a:pt x="259" y="308"/>
                  </a:lnTo>
                  <a:lnTo>
                    <a:pt x="259" y="308"/>
                  </a:lnTo>
                  <a:lnTo>
                    <a:pt x="265" y="316"/>
                  </a:lnTo>
                  <a:lnTo>
                    <a:pt x="270" y="324"/>
                  </a:lnTo>
                  <a:lnTo>
                    <a:pt x="273" y="324"/>
                  </a:lnTo>
                  <a:lnTo>
                    <a:pt x="274" y="327"/>
                  </a:lnTo>
                  <a:lnTo>
                    <a:pt x="276" y="330"/>
                  </a:lnTo>
                  <a:lnTo>
                    <a:pt x="278" y="327"/>
                  </a:lnTo>
                  <a:lnTo>
                    <a:pt x="279" y="330"/>
                  </a:lnTo>
                  <a:lnTo>
                    <a:pt x="282" y="335"/>
                  </a:lnTo>
                  <a:lnTo>
                    <a:pt x="279" y="338"/>
                  </a:lnTo>
                  <a:lnTo>
                    <a:pt x="282" y="339"/>
                  </a:lnTo>
                  <a:lnTo>
                    <a:pt x="282" y="343"/>
                  </a:lnTo>
                  <a:lnTo>
                    <a:pt x="284" y="347"/>
                  </a:lnTo>
                  <a:lnTo>
                    <a:pt x="286" y="351"/>
                  </a:lnTo>
                  <a:lnTo>
                    <a:pt x="289" y="354"/>
                  </a:lnTo>
                  <a:lnTo>
                    <a:pt x="289" y="357"/>
                  </a:lnTo>
                  <a:lnTo>
                    <a:pt x="290" y="359"/>
                  </a:lnTo>
                  <a:lnTo>
                    <a:pt x="290" y="362"/>
                  </a:lnTo>
                  <a:lnTo>
                    <a:pt x="292" y="365"/>
                  </a:lnTo>
                  <a:lnTo>
                    <a:pt x="293" y="370"/>
                  </a:lnTo>
                  <a:lnTo>
                    <a:pt x="295" y="373"/>
                  </a:lnTo>
                  <a:lnTo>
                    <a:pt x="297" y="376"/>
                  </a:lnTo>
                  <a:lnTo>
                    <a:pt x="297" y="379"/>
                  </a:lnTo>
                  <a:lnTo>
                    <a:pt x="298" y="382"/>
                  </a:lnTo>
                  <a:lnTo>
                    <a:pt x="300" y="387"/>
                  </a:lnTo>
                  <a:lnTo>
                    <a:pt x="301" y="390"/>
                  </a:lnTo>
                  <a:lnTo>
                    <a:pt x="300" y="393"/>
                  </a:lnTo>
                  <a:lnTo>
                    <a:pt x="298" y="390"/>
                  </a:lnTo>
                  <a:lnTo>
                    <a:pt x="298" y="393"/>
                  </a:lnTo>
                  <a:lnTo>
                    <a:pt x="300" y="397"/>
                  </a:lnTo>
                  <a:lnTo>
                    <a:pt x="300" y="400"/>
                  </a:lnTo>
                  <a:lnTo>
                    <a:pt x="301" y="403"/>
                  </a:lnTo>
                  <a:lnTo>
                    <a:pt x="298" y="400"/>
                  </a:lnTo>
                  <a:lnTo>
                    <a:pt x="301" y="403"/>
                  </a:lnTo>
                  <a:lnTo>
                    <a:pt x="305" y="406"/>
                  </a:lnTo>
                  <a:lnTo>
                    <a:pt x="301" y="408"/>
                  </a:lnTo>
                  <a:lnTo>
                    <a:pt x="303" y="411"/>
                  </a:lnTo>
                  <a:lnTo>
                    <a:pt x="305" y="416"/>
                  </a:lnTo>
                  <a:lnTo>
                    <a:pt x="305" y="419"/>
                  </a:lnTo>
                  <a:lnTo>
                    <a:pt x="306" y="422"/>
                  </a:lnTo>
                  <a:lnTo>
                    <a:pt x="306" y="424"/>
                  </a:lnTo>
                  <a:lnTo>
                    <a:pt x="309" y="427"/>
                  </a:lnTo>
                  <a:lnTo>
                    <a:pt x="311" y="430"/>
                  </a:lnTo>
                  <a:lnTo>
                    <a:pt x="309" y="431"/>
                  </a:lnTo>
                  <a:lnTo>
                    <a:pt x="308" y="435"/>
                  </a:lnTo>
                  <a:lnTo>
                    <a:pt x="311" y="438"/>
                  </a:lnTo>
                  <a:lnTo>
                    <a:pt x="311" y="441"/>
                  </a:lnTo>
                  <a:lnTo>
                    <a:pt x="308" y="438"/>
                  </a:lnTo>
                  <a:lnTo>
                    <a:pt x="306" y="435"/>
                  </a:lnTo>
                  <a:lnTo>
                    <a:pt x="303" y="438"/>
                  </a:lnTo>
                  <a:lnTo>
                    <a:pt x="303" y="439"/>
                  </a:lnTo>
                  <a:lnTo>
                    <a:pt x="305" y="443"/>
                  </a:lnTo>
                  <a:lnTo>
                    <a:pt x="305" y="446"/>
                  </a:lnTo>
                  <a:lnTo>
                    <a:pt x="306" y="447"/>
                  </a:lnTo>
                  <a:lnTo>
                    <a:pt x="308" y="450"/>
                  </a:lnTo>
                  <a:lnTo>
                    <a:pt x="305" y="449"/>
                  </a:lnTo>
                  <a:lnTo>
                    <a:pt x="301" y="449"/>
                  </a:lnTo>
                  <a:lnTo>
                    <a:pt x="303" y="452"/>
                  </a:lnTo>
                  <a:lnTo>
                    <a:pt x="303" y="455"/>
                  </a:lnTo>
                  <a:lnTo>
                    <a:pt x="303" y="455"/>
                  </a:lnTo>
                  <a:lnTo>
                    <a:pt x="303" y="455"/>
                  </a:lnTo>
                  <a:lnTo>
                    <a:pt x="305" y="455"/>
                  </a:lnTo>
                  <a:lnTo>
                    <a:pt x="305" y="458"/>
                  </a:lnTo>
                  <a:lnTo>
                    <a:pt x="305" y="463"/>
                  </a:lnTo>
                  <a:lnTo>
                    <a:pt x="306" y="466"/>
                  </a:lnTo>
                  <a:lnTo>
                    <a:pt x="306" y="470"/>
                  </a:lnTo>
                  <a:lnTo>
                    <a:pt x="306" y="466"/>
                  </a:lnTo>
                  <a:lnTo>
                    <a:pt x="303" y="463"/>
                  </a:lnTo>
                  <a:lnTo>
                    <a:pt x="305" y="466"/>
                  </a:lnTo>
                  <a:lnTo>
                    <a:pt x="305" y="470"/>
                  </a:lnTo>
                  <a:lnTo>
                    <a:pt x="303" y="473"/>
                  </a:lnTo>
                  <a:lnTo>
                    <a:pt x="306" y="473"/>
                  </a:lnTo>
                  <a:lnTo>
                    <a:pt x="308" y="476"/>
                  </a:lnTo>
                  <a:lnTo>
                    <a:pt x="306" y="481"/>
                  </a:lnTo>
                  <a:lnTo>
                    <a:pt x="305" y="484"/>
                  </a:lnTo>
                  <a:lnTo>
                    <a:pt x="300" y="484"/>
                  </a:lnTo>
                  <a:lnTo>
                    <a:pt x="300" y="485"/>
                  </a:lnTo>
                  <a:lnTo>
                    <a:pt x="300" y="487"/>
                  </a:lnTo>
                  <a:lnTo>
                    <a:pt x="301" y="490"/>
                  </a:lnTo>
                  <a:lnTo>
                    <a:pt x="300" y="493"/>
                  </a:lnTo>
                  <a:lnTo>
                    <a:pt x="297" y="493"/>
                  </a:lnTo>
                  <a:lnTo>
                    <a:pt x="295" y="493"/>
                  </a:lnTo>
                  <a:lnTo>
                    <a:pt x="292" y="496"/>
                  </a:lnTo>
                  <a:lnTo>
                    <a:pt x="289" y="500"/>
                  </a:lnTo>
                  <a:lnTo>
                    <a:pt x="286" y="500"/>
                  </a:lnTo>
                  <a:lnTo>
                    <a:pt x="284" y="501"/>
                  </a:lnTo>
                  <a:lnTo>
                    <a:pt x="282" y="504"/>
                  </a:lnTo>
                  <a:lnTo>
                    <a:pt x="279" y="506"/>
                  </a:lnTo>
                  <a:lnTo>
                    <a:pt x="274" y="509"/>
                  </a:lnTo>
                  <a:lnTo>
                    <a:pt x="271" y="509"/>
                  </a:lnTo>
                  <a:lnTo>
                    <a:pt x="268" y="512"/>
                  </a:lnTo>
                  <a:lnTo>
                    <a:pt x="268" y="512"/>
                  </a:lnTo>
                  <a:lnTo>
                    <a:pt x="268" y="515"/>
                  </a:lnTo>
                  <a:lnTo>
                    <a:pt x="266" y="519"/>
                  </a:lnTo>
                  <a:lnTo>
                    <a:pt x="262" y="519"/>
                  </a:lnTo>
                  <a:lnTo>
                    <a:pt x="259" y="520"/>
                  </a:lnTo>
                  <a:lnTo>
                    <a:pt x="255" y="522"/>
                  </a:lnTo>
                  <a:lnTo>
                    <a:pt x="252" y="525"/>
                  </a:lnTo>
                  <a:lnTo>
                    <a:pt x="251" y="527"/>
                  </a:lnTo>
                  <a:lnTo>
                    <a:pt x="246" y="528"/>
                  </a:lnTo>
                  <a:lnTo>
                    <a:pt x="243" y="530"/>
                  </a:lnTo>
                  <a:lnTo>
                    <a:pt x="240" y="531"/>
                  </a:lnTo>
                  <a:lnTo>
                    <a:pt x="238" y="528"/>
                  </a:lnTo>
                  <a:lnTo>
                    <a:pt x="236" y="528"/>
                  </a:lnTo>
                  <a:lnTo>
                    <a:pt x="232" y="527"/>
                  </a:lnTo>
                  <a:lnTo>
                    <a:pt x="232" y="523"/>
                  </a:lnTo>
                  <a:lnTo>
                    <a:pt x="232" y="522"/>
                  </a:lnTo>
                  <a:lnTo>
                    <a:pt x="230" y="525"/>
                  </a:lnTo>
                  <a:lnTo>
                    <a:pt x="230" y="528"/>
                  </a:lnTo>
                  <a:lnTo>
                    <a:pt x="228" y="525"/>
                  </a:lnTo>
                  <a:lnTo>
                    <a:pt x="227" y="523"/>
                  </a:lnTo>
                  <a:lnTo>
                    <a:pt x="228" y="525"/>
                  </a:lnTo>
                  <a:lnTo>
                    <a:pt x="225" y="522"/>
                  </a:lnTo>
                  <a:lnTo>
                    <a:pt x="227" y="522"/>
                  </a:lnTo>
                  <a:lnTo>
                    <a:pt x="225" y="522"/>
                  </a:lnTo>
                  <a:lnTo>
                    <a:pt x="222" y="520"/>
                  </a:lnTo>
                  <a:lnTo>
                    <a:pt x="222" y="520"/>
                  </a:lnTo>
                  <a:lnTo>
                    <a:pt x="222" y="522"/>
                  </a:lnTo>
                  <a:lnTo>
                    <a:pt x="222" y="523"/>
                  </a:lnTo>
                  <a:lnTo>
                    <a:pt x="222" y="527"/>
                  </a:lnTo>
                  <a:lnTo>
                    <a:pt x="217" y="528"/>
                  </a:lnTo>
                  <a:lnTo>
                    <a:pt x="216" y="528"/>
                  </a:lnTo>
                  <a:lnTo>
                    <a:pt x="217" y="530"/>
                  </a:lnTo>
                  <a:lnTo>
                    <a:pt x="219" y="528"/>
                  </a:lnTo>
                  <a:lnTo>
                    <a:pt x="219" y="528"/>
                  </a:lnTo>
                  <a:lnTo>
                    <a:pt x="222" y="530"/>
                  </a:lnTo>
                  <a:lnTo>
                    <a:pt x="224" y="533"/>
                  </a:lnTo>
                  <a:lnTo>
                    <a:pt x="222" y="536"/>
                  </a:lnTo>
                  <a:lnTo>
                    <a:pt x="219" y="536"/>
                  </a:lnTo>
                  <a:lnTo>
                    <a:pt x="214" y="535"/>
                  </a:lnTo>
                  <a:lnTo>
                    <a:pt x="211" y="535"/>
                  </a:lnTo>
                  <a:lnTo>
                    <a:pt x="211" y="535"/>
                  </a:lnTo>
                  <a:lnTo>
                    <a:pt x="211" y="535"/>
                  </a:lnTo>
                  <a:lnTo>
                    <a:pt x="211" y="536"/>
                  </a:lnTo>
                  <a:lnTo>
                    <a:pt x="214" y="538"/>
                  </a:lnTo>
                  <a:lnTo>
                    <a:pt x="219" y="538"/>
                  </a:lnTo>
                  <a:lnTo>
                    <a:pt x="222" y="539"/>
                  </a:lnTo>
                  <a:lnTo>
                    <a:pt x="225" y="542"/>
                  </a:lnTo>
                  <a:lnTo>
                    <a:pt x="222" y="544"/>
                  </a:lnTo>
                  <a:lnTo>
                    <a:pt x="221" y="547"/>
                  </a:lnTo>
                  <a:lnTo>
                    <a:pt x="217" y="547"/>
                  </a:lnTo>
                  <a:lnTo>
                    <a:pt x="217" y="547"/>
                  </a:lnTo>
                  <a:lnTo>
                    <a:pt x="213" y="546"/>
                  </a:lnTo>
                  <a:lnTo>
                    <a:pt x="211" y="542"/>
                  </a:lnTo>
                  <a:lnTo>
                    <a:pt x="208" y="538"/>
                  </a:lnTo>
                  <a:lnTo>
                    <a:pt x="206" y="538"/>
                  </a:lnTo>
                  <a:lnTo>
                    <a:pt x="206" y="538"/>
                  </a:lnTo>
                  <a:lnTo>
                    <a:pt x="211" y="544"/>
                  </a:lnTo>
                  <a:lnTo>
                    <a:pt x="213" y="546"/>
                  </a:lnTo>
                  <a:lnTo>
                    <a:pt x="216" y="547"/>
                  </a:lnTo>
                  <a:lnTo>
                    <a:pt x="221" y="552"/>
                  </a:lnTo>
                  <a:lnTo>
                    <a:pt x="221" y="555"/>
                  </a:lnTo>
                  <a:lnTo>
                    <a:pt x="209" y="547"/>
                  </a:lnTo>
                  <a:lnTo>
                    <a:pt x="200" y="538"/>
                  </a:lnTo>
                  <a:lnTo>
                    <a:pt x="200" y="538"/>
                  </a:lnTo>
                  <a:lnTo>
                    <a:pt x="201" y="541"/>
                  </a:lnTo>
                  <a:lnTo>
                    <a:pt x="205" y="546"/>
                  </a:lnTo>
                  <a:lnTo>
                    <a:pt x="213" y="552"/>
                  </a:lnTo>
                  <a:lnTo>
                    <a:pt x="216" y="555"/>
                  </a:lnTo>
                  <a:lnTo>
                    <a:pt x="219" y="560"/>
                  </a:lnTo>
                  <a:lnTo>
                    <a:pt x="219" y="563"/>
                  </a:lnTo>
                  <a:lnTo>
                    <a:pt x="216" y="566"/>
                  </a:lnTo>
                  <a:lnTo>
                    <a:pt x="213" y="566"/>
                  </a:lnTo>
                  <a:lnTo>
                    <a:pt x="209" y="565"/>
                  </a:lnTo>
                  <a:lnTo>
                    <a:pt x="206" y="561"/>
                  </a:lnTo>
                  <a:lnTo>
                    <a:pt x="203" y="558"/>
                  </a:lnTo>
                  <a:lnTo>
                    <a:pt x="197" y="554"/>
                  </a:lnTo>
                  <a:lnTo>
                    <a:pt x="190" y="547"/>
                  </a:lnTo>
                  <a:lnTo>
                    <a:pt x="190" y="547"/>
                  </a:lnTo>
                  <a:lnTo>
                    <a:pt x="190" y="547"/>
                  </a:lnTo>
                  <a:lnTo>
                    <a:pt x="190" y="547"/>
                  </a:lnTo>
                  <a:lnTo>
                    <a:pt x="198" y="555"/>
                  </a:lnTo>
                  <a:lnTo>
                    <a:pt x="205" y="565"/>
                  </a:lnTo>
                  <a:lnTo>
                    <a:pt x="206" y="568"/>
                  </a:lnTo>
                  <a:lnTo>
                    <a:pt x="205" y="571"/>
                  </a:lnTo>
                  <a:lnTo>
                    <a:pt x="203" y="574"/>
                  </a:lnTo>
                  <a:lnTo>
                    <a:pt x="197" y="577"/>
                  </a:lnTo>
                  <a:lnTo>
                    <a:pt x="194" y="579"/>
                  </a:lnTo>
                  <a:lnTo>
                    <a:pt x="190" y="579"/>
                  </a:lnTo>
                  <a:lnTo>
                    <a:pt x="186" y="582"/>
                  </a:lnTo>
                  <a:lnTo>
                    <a:pt x="182" y="584"/>
                  </a:lnTo>
                  <a:lnTo>
                    <a:pt x="179" y="587"/>
                  </a:lnTo>
                  <a:lnTo>
                    <a:pt x="176" y="593"/>
                  </a:lnTo>
                  <a:lnTo>
                    <a:pt x="176" y="596"/>
                  </a:lnTo>
                  <a:lnTo>
                    <a:pt x="173" y="600"/>
                  </a:lnTo>
                  <a:lnTo>
                    <a:pt x="170" y="603"/>
                  </a:lnTo>
                  <a:lnTo>
                    <a:pt x="167" y="604"/>
                  </a:lnTo>
                  <a:lnTo>
                    <a:pt x="163" y="606"/>
                  </a:lnTo>
                  <a:lnTo>
                    <a:pt x="160" y="607"/>
                  </a:lnTo>
                  <a:lnTo>
                    <a:pt x="155" y="604"/>
                  </a:lnTo>
                  <a:lnTo>
                    <a:pt x="160" y="601"/>
                  </a:lnTo>
                  <a:lnTo>
                    <a:pt x="163" y="601"/>
                  </a:lnTo>
                  <a:lnTo>
                    <a:pt x="162" y="600"/>
                  </a:lnTo>
                  <a:lnTo>
                    <a:pt x="162" y="596"/>
                  </a:lnTo>
                  <a:lnTo>
                    <a:pt x="160" y="596"/>
                  </a:lnTo>
                  <a:lnTo>
                    <a:pt x="157" y="598"/>
                  </a:lnTo>
                  <a:lnTo>
                    <a:pt x="157" y="585"/>
                  </a:lnTo>
                  <a:lnTo>
                    <a:pt x="157" y="574"/>
                  </a:lnTo>
                  <a:lnTo>
                    <a:pt x="157" y="566"/>
                  </a:lnTo>
                  <a:lnTo>
                    <a:pt x="157" y="560"/>
                  </a:lnTo>
                  <a:lnTo>
                    <a:pt x="159" y="555"/>
                  </a:lnTo>
                  <a:lnTo>
                    <a:pt x="163" y="550"/>
                  </a:lnTo>
                  <a:lnTo>
                    <a:pt x="165" y="554"/>
                  </a:lnTo>
                  <a:lnTo>
                    <a:pt x="165" y="550"/>
                  </a:lnTo>
                  <a:lnTo>
                    <a:pt x="163" y="547"/>
                  </a:lnTo>
                  <a:lnTo>
                    <a:pt x="163" y="547"/>
                  </a:lnTo>
                  <a:lnTo>
                    <a:pt x="160" y="544"/>
                  </a:lnTo>
                  <a:lnTo>
                    <a:pt x="159" y="544"/>
                  </a:lnTo>
                  <a:lnTo>
                    <a:pt x="155" y="542"/>
                  </a:lnTo>
                  <a:lnTo>
                    <a:pt x="152" y="539"/>
                  </a:lnTo>
                  <a:lnTo>
                    <a:pt x="149" y="539"/>
                  </a:lnTo>
                  <a:lnTo>
                    <a:pt x="146" y="539"/>
                  </a:lnTo>
                  <a:lnTo>
                    <a:pt x="143" y="536"/>
                  </a:lnTo>
                  <a:lnTo>
                    <a:pt x="141" y="533"/>
                  </a:lnTo>
                  <a:lnTo>
                    <a:pt x="143" y="531"/>
                  </a:lnTo>
                  <a:lnTo>
                    <a:pt x="141" y="533"/>
                  </a:lnTo>
                  <a:lnTo>
                    <a:pt x="140" y="530"/>
                  </a:lnTo>
                  <a:lnTo>
                    <a:pt x="140" y="530"/>
                  </a:lnTo>
                  <a:lnTo>
                    <a:pt x="143" y="528"/>
                  </a:lnTo>
                  <a:lnTo>
                    <a:pt x="144" y="527"/>
                  </a:lnTo>
                  <a:lnTo>
                    <a:pt x="149" y="527"/>
                  </a:lnTo>
                  <a:lnTo>
                    <a:pt x="152" y="527"/>
                  </a:lnTo>
                  <a:lnTo>
                    <a:pt x="155" y="525"/>
                  </a:lnTo>
                  <a:lnTo>
                    <a:pt x="157" y="523"/>
                  </a:lnTo>
                  <a:lnTo>
                    <a:pt x="159" y="520"/>
                  </a:lnTo>
                  <a:lnTo>
                    <a:pt x="162" y="517"/>
                  </a:lnTo>
                  <a:lnTo>
                    <a:pt x="160" y="514"/>
                  </a:lnTo>
                  <a:lnTo>
                    <a:pt x="160" y="511"/>
                  </a:lnTo>
                  <a:lnTo>
                    <a:pt x="160" y="511"/>
                  </a:lnTo>
                  <a:lnTo>
                    <a:pt x="160" y="509"/>
                  </a:lnTo>
                  <a:lnTo>
                    <a:pt x="162" y="509"/>
                  </a:lnTo>
                  <a:lnTo>
                    <a:pt x="162" y="509"/>
                  </a:lnTo>
                  <a:lnTo>
                    <a:pt x="162" y="511"/>
                  </a:lnTo>
                  <a:lnTo>
                    <a:pt x="165" y="511"/>
                  </a:lnTo>
                  <a:lnTo>
                    <a:pt x="165" y="511"/>
                  </a:lnTo>
                  <a:lnTo>
                    <a:pt x="165" y="511"/>
                  </a:lnTo>
                  <a:lnTo>
                    <a:pt x="165" y="511"/>
                  </a:lnTo>
                  <a:lnTo>
                    <a:pt x="165" y="511"/>
                  </a:lnTo>
                  <a:lnTo>
                    <a:pt x="170" y="512"/>
                  </a:lnTo>
                  <a:lnTo>
                    <a:pt x="178" y="509"/>
                  </a:lnTo>
                  <a:lnTo>
                    <a:pt x="186" y="506"/>
                  </a:lnTo>
                  <a:lnTo>
                    <a:pt x="189" y="509"/>
                  </a:lnTo>
                  <a:lnTo>
                    <a:pt x="189" y="511"/>
                  </a:lnTo>
                  <a:lnTo>
                    <a:pt x="192" y="514"/>
                  </a:lnTo>
                  <a:lnTo>
                    <a:pt x="195" y="514"/>
                  </a:lnTo>
                  <a:lnTo>
                    <a:pt x="197" y="515"/>
                  </a:lnTo>
                  <a:lnTo>
                    <a:pt x="200" y="515"/>
                  </a:lnTo>
                  <a:lnTo>
                    <a:pt x="200" y="512"/>
                  </a:lnTo>
                  <a:lnTo>
                    <a:pt x="198" y="509"/>
                  </a:lnTo>
                  <a:lnTo>
                    <a:pt x="201" y="508"/>
                  </a:lnTo>
                  <a:lnTo>
                    <a:pt x="201" y="508"/>
                  </a:lnTo>
                  <a:lnTo>
                    <a:pt x="200" y="504"/>
                  </a:lnTo>
                  <a:lnTo>
                    <a:pt x="197" y="503"/>
                  </a:lnTo>
                  <a:lnTo>
                    <a:pt x="194" y="500"/>
                  </a:lnTo>
                  <a:lnTo>
                    <a:pt x="190" y="498"/>
                  </a:lnTo>
                  <a:lnTo>
                    <a:pt x="190" y="496"/>
                  </a:lnTo>
                  <a:lnTo>
                    <a:pt x="189" y="493"/>
                  </a:lnTo>
                  <a:lnTo>
                    <a:pt x="189" y="490"/>
                  </a:lnTo>
                  <a:lnTo>
                    <a:pt x="187" y="487"/>
                  </a:lnTo>
                  <a:lnTo>
                    <a:pt x="186" y="484"/>
                  </a:lnTo>
                  <a:lnTo>
                    <a:pt x="186" y="482"/>
                  </a:lnTo>
                  <a:lnTo>
                    <a:pt x="186" y="482"/>
                  </a:lnTo>
                  <a:lnTo>
                    <a:pt x="189" y="481"/>
                  </a:lnTo>
                  <a:lnTo>
                    <a:pt x="190" y="479"/>
                  </a:lnTo>
                  <a:lnTo>
                    <a:pt x="192" y="476"/>
                  </a:lnTo>
                  <a:lnTo>
                    <a:pt x="195" y="476"/>
                  </a:lnTo>
                  <a:lnTo>
                    <a:pt x="197" y="476"/>
                  </a:lnTo>
                  <a:lnTo>
                    <a:pt x="200" y="477"/>
                  </a:lnTo>
                  <a:lnTo>
                    <a:pt x="203" y="479"/>
                  </a:lnTo>
                  <a:lnTo>
                    <a:pt x="208" y="479"/>
                  </a:lnTo>
                  <a:lnTo>
                    <a:pt x="208" y="481"/>
                  </a:lnTo>
                  <a:lnTo>
                    <a:pt x="206" y="476"/>
                  </a:lnTo>
                  <a:lnTo>
                    <a:pt x="206" y="473"/>
                  </a:lnTo>
                  <a:lnTo>
                    <a:pt x="208" y="471"/>
                  </a:lnTo>
                  <a:lnTo>
                    <a:pt x="205" y="468"/>
                  </a:lnTo>
                  <a:lnTo>
                    <a:pt x="205" y="468"/>
                  </a:lnTo>
                  <a:lnTo>
                    <a:pt x="209" y="466"/>
                  </a:lnTo>
                  <a:lnTo>
                    <a:pt x="209" y="468"/>
                  </a:lnTo>
                  <a:lnTo>
                    <a:pt x="213" y="468"/>
                  </a:lnTo>
                  <a:lnTo>
                    <a:pt x="217" y="466"/>
                  </a:lnTo>
                  <a:lnTo>
                    <a:pt x="217" y="463"/>
                  </a:lnTo>
                  <a:lnTo>
                    <a:pt x="221" y="463"/>
                  </a:lnTo>
                  <a:lnTo>
                    <a:pt x="224" y="463"/>
                  </a:lnTo>
                  <a:lnTo>
                    <a:pt x="225" y="463"/>
                  </a:lnTo>
                  <a:lnTo>
                    <a:pt x="227" y="460"/>
                  </a:lnTo>
                  <a:lnTo>
                    <a:pt x="228" y="457"/>
                  </a:lnTo>
                  <a:lnTo>
                    <a:pt x="232" y="454"/>
                  </a:lnTo>
                  <a:lnTo>
                    <a:pt x="235" y="454"/>
                  </a:lnTo>
                  <a:lnTo>
                    <a:pt x="238" y="452"/>
                  </a:lnTo>
                  <a:lnTo>
                    <a:pt x="240" y="454"/>
                  </a:lnTo>
                  <a:lnTo>
                    <a:pt x="240" y="454"/>
                  </a:lnTo>
                  <a:lnTo>
                    <a:pt x="243" y="454"/>
                  </a:lnTo>
                  <a:lnTo>
                    <a:pt x="244" y="449"/>
                  </a:lnTo>
                  <a:lnTo>
                    <a:pt x="246" y="446"/>
                  </a:lnTo>
                  <a:lnTo>
                    <a:pt x="244" y="439"/>
                  </a:lnTo>
                  <a:lnTo>
                    <a:pt x="243" y="431"/>
                  </a:lnTo>
                  <a:lnTo>
                    <a:pt x="241" y="428"/>
                  </a:lnTo>
                  <a:lnTo>
                    <a:pt x="240" y="425"/>
                  </a:lnTo>
                  <a:lnTo>
                    <a:pt x="240" y="424"/>
                  </a:lnTo>
                  <a:lnTo>
                    <a:pt x="241" y="420"/>
                  </a:lnTo>
                  <a:lnTo>
                    <a:pt x="241" y="417"/>
                  </a:lnTo>
                  <a:lnTo>
                    <a:pt x="243" y="414"/>
                  </a:lnTo>
                  <a:lnTo>
                    <a:pt x="243" y="412"/>
                  </a:lnTo>
                  <a:lnTo>
                    <a:pt x="244" y="409"/>
                  </a:lnTo>
                  <a:lnTo>
                    <a:pt x="243" y="408"/>
                  </a:lnTo>
                  <a:lnTo>
                    <a:pt x="243" y="404"/>
                  </a:lnTo>
                  <a:lnTo>
                    <a:pt x="241" y="401"/>
                  </a:lnTo>
                  <a:lnTo>
                    <a:pt x="241" y="400"/>
                  </a:lnTo>
                  <a:lnTo>
                    <a:pt x="240" y="397"/>
                  </a:lnTo>
                  <a:lnTo>
                    <a:pt x="236" y="393"/>
                  </a:lnTo>
                  <a:lnTo>
                    <a:pt x="236" y="393"/>
                  </a:lnTo>
                  <a:lnTo>
                    <a:pt x="235" y="389"/>
                  </a:lnTo>
                  <a:lnTo>
                    <a:pt x="235" y="387"/>
                  </a:lnTo>
                  <a:lnTo>
                    <a:pt x="232" y="384"/>
                  </a:lnTo>
                  <a:lnTo>
                    <a:pt x="232" y="381"/>
                  </a:lnTo>
                  <a:lnTo>
                    <a:pt x="230" y="378"/>
                  </a:lnTo>
                  <a:lnTo>
                    <a:pt x="232" y="374"/>
                  </a:lnTo>
                  <a:lnTo>
                    <a:pt x="230" y="370"/>
                  </a:lnTo>
                  <a:lnTo>
                    <a:pt x="232" y="366"/>
                  </a:lnTo>
                  <a:lnTo>
                    <a:pt x="235" y="363"/>
                  </a:lnTo>
                  <a:lnTo>
                    <a:pt x="235" y="360"/>
                  </a:lnTo>
                  <a:lnTo>
                    <a:pt x="235" y="357"/>
                  </a:lnTo>
                  <a:lnTo>
                    <a:pt x="235" y="355"/>
                  </a:lnTo>
                  <a:lnTo>
                    <a:pt x="233" y="352"/>
                  </a:lnTo>
                  <a:lnTo>
                    <a:pt x="235" y="349"/>
                  </a:lnTo>
                  <a:lnTo>
                    <a:pt x="232" y="346"/>
                  </a:lnTo>
                  <a:lnTo>
                    <a:pt x="232" y="343"/>
                  </a:lnTo>
                  <a:lnTo>
                    <a:pt x="235" y="341"/>
                  </a:lnTo>
                  <a:lnTo>
                    <a:pt x="236" y="338"/>
                  </a:lnTo>
                  <a:lnTo>
                    <a:pt x="236" y="335"/>
                  </a:lnTo>
                  <a:lnTo>
                    <a:pt x="236" y="335"/>
                  </a:lnTo>
                  <a:lnTo>
                    <a:pt x="236" y="333"/>
                  </a:lnTo>
                  <a:lnTo>
                    <a:pt x="236" y="330"/>
                  </a:lnTo>
                  <a:lnTo>
                    <a:pt x="233" y="327"/>
                  </a:lnTo>
                  <a:lnTo>
                    <a:pt x="230" y="327"/>
                  </a:lnTo>
                  <a:lnTo>
                    <a:pt x="228" y="322"/>
                  </a:lnTo>
                  <a:lnTo>
                    <a:pt x="225" y="322"/>
                  </a:lnTo>
                  <a:lnTo>
                    <a:pt x="222" y="319"/>
                  </a:lnTo>
                  <a:lnTo>
                    <a:pt x="219" y="314"/>
                  </a:lnTo>
                  <a:lnTo>
                    <a:pt x="216" y="311"/>
                  </a:lnTo>
                  <a:lnTo>
                    <a:pt x="219" y="308"/>
                  </a:lnTo>
                  <a:lnTo>
                    <a:pt x="222" y="306"/>
                  </a:lnTo>
                  <a:lnTo>
                    <a:pt x="225" y="303"/>
                  </a:lnTo>
                  <a:lnTo>
                    <a:pt x="225" y="301"/>
                  </a:lnTo>
                  <a:lnTo>
                    <a:pt x="222" y="300"/>
                  </a:lnTo>
                  <a:lnTo>
                    <a:pt x="219" y="298"/>
                  </a:lnTo>
                  <a:lnTo>
                    <a:pt x="216" y="297"/>
                  </a:lnTo>
                  <a:lnTo>
                    <a:pt x="214" y="295"/>
                  </a:lnTo>
                  <a:lnTo>
                    <a:pt x="213" y="293"/>
                  </a:lnTo>
                  <a:lnTo>
                    <a:pt x="211" y="290"/>
                  </a:lnTo>
                  <a:lnTo>
                    <a:pt x="209" y="290"/>
                  </a:lnTo>
                  <a:lnTo>
                    <a:pt x="208" y="290"/>
                  </a:lnTo>
                  <a:lnTo>
                    <a:pt x="208" y="290"/>
                  </a:lnTo>
                  <a:lnTo>
                    <a:pt x="205" y="287"/>
                  </a:lnTo>
                  <a:lnTo>
                    <a:pt x="203" y="284"/>
                  </a:lnTo>
                  <a:lnTo>
                    <a:pt x="200" y="282"/>
                  </a:lnTo>
                  <a:lnTo>
                    <a:pt x="198" y="284"/>
                  </a:lnTo>
                  <a:lnTo>
                    <a:pt x="195" y="284"/>
                  </a:lnTo>
                  <a:lnTo>
                    <a:pt x="194" y="281"/>
                  </a:lnTo>
                  <a:lnTo>
                    <a:pt x="190" y="276"/>
                  </a:lnTo>
                  <a:lnTo>
                    <a:pt x="190" y="276"/>
                  </a:lnTo>
                  <a:lnTo>
                    <a:pt x="189" y="273"/>
                  </a:lnTo>
                  <a:lnTo>
                    <a:pt x="189" y="270"/>
                  </a:lnTo>
                  <a:lnTo>
                    <a:pt x="189" y="267"/>
                  </a:lnTo>
                  <a:lnTo>
                    <a:pt x="189" y="267"/>
                  </a:lnTo>
                  <a:lnTo>
                    <a:pt x="189" y="263"/>
                  </a:lnTo>
                  <a:lnTo>
                    <a:pt x="184" y="262"/>
                  </a:lnTo>
                  <a:lnTo>
                    <a:pt x="184" y="262"/>
                  </a:lnTo>
                  <a:lnTo>
                    <a:pt x="182" y="257"/>
                  </a:lnTo>
                  <a:lnTo>
                    <a:pt x="179" y="254"/>
                  </a:lnTo>
                  <a:lnTo>
                    <a:pt x="178" y="251"/>
                  </a:lnTo>
                  <a:lnTo>
                    <a:pt x="175" y="251"/>
                  </a:lnTo>
                  <a:lnTo>
                    <a:pt x="173" y="251"/>
                  </a:lnTo>
                  <a:lnTo>
                    <a:pt x="170" y="248"/>
                  </a:lnTo>
                  <a:lnTo>
                    <a:pt x="167" y="244"/>
                  </a:lnTo>
                  <a:lnTo>
                    <a:pt x="163" y="240"/>
                  </a:lnTo>
                  <a:lnTo>
                    <a:pt x="160" y="236"/>
                  </a:lnTo>
                  <a:lnTo>
                    <a:pt x="157" y="235"/>
                  </a:lnTo>
                  <a:lnTo>
                    <a:pt x="155" y="235"/>
                  </a:lnTo>
                  <a:lnTo>
                    <a:pt x="154" y="230"/>
                  </a:lnTo>
                  <a:lnTo>
                    <a:pt x="152" y="227"/>
                  </a:lnTo>
                  <a:lnTo>
                    <a:pt x="149" y="224"/>
                  </a:lnTo>
                  <a:lnTo>
                    <a:pt x="149" y="221"/>
                  </a:lnTo>
                  <a:lnTo>
                    <a:pt x="148" y="217"/>
                  </a:lnTo>
                  <a:lnTo>
                    <a:pt x="144" y="214"/>
                  </a:lnTo>
                  <a:lnTo>
                    <a:pt x="141" y="213"/>
                  </a:lnTo>
                  <a:lnTo>
                    <a:pt x="140" y="214"/>
                  </a:lnTo>
                  <a:lnTo>
                    <a:pt x="138" y="211"/>
                  </a:lnTo>
                  <a:lnTo>
                    <a:pt x="133" y="209"/>
                  </a:lnTo>
                  <a:lnTo>
                    <a:pt x="132" y="206"/>
                  </a:lnTo>
                  <a:lnTo>
                    <a:pt x="130" y="205"/>
                  </a:lnTo>
                  <a:lnTo>
                    <a:pt x="129" y="202"/>
                  </a:lnTo>
                  <a:lnTo>
                    <a:pt x="129" y="198"/>
                  </a:lnTo>
                  <a:lnTo>
                    <a:pt x="130" y="195"/>
                  </a:lnTo>
                  <a:lnTo>
                    <a:pt x="129" y="192"/>
                  </a:lnTo>
                  <a:lnTo>
                    <a:pt x="125" y="192"/>
                  </a:lnTo>
                  <a:lnTo>
                    <a:pt x="124" y="190"/>
                  </a:lnTo>
                  <a:lnTo>
                    <a:pt x="119" y="189"/>
                  </a:lnTo>
                  <a:lnTo>
                    <a:pt x="116" y="189"/>
                  </a:lnTo>
                  <a:lnTo>
                    <a:pt x="113" y="187"/>
                  </a:lnTo>
                  <a:lnTo>
                    <a:pt x="109" y="186"/>
                  </a:lnTo>
                  <a:lnTo>
                    <a:pt x="106" y="182"/>
                  </a:lnTo>
                  <a:lnTo>
                    <a:pt x="102" y="181"/>
                  </a:lnTo>
                  <a:lnTo>
                    <a:pt x="98" y="178"/>
                  </a:lnTo>
                  <a:lnTo>
                    <a:pt x="95" y="175"/>
                  </a:lnTo>
                  <a:lnTo>
                    <a:pt x="94" y="175"/>
                  </a:lnTo>
                  <a:lnTo>
                    <a:pt x="90" y="171"/>
                  </a:lnTo>
                  <a:lnTo>
                    <a:pt x="87" y="170"/>
                  </a:lnTo>
                  <a:lnTo>
                    <a:pt x="84" y="170"/>
                  </a:lnTo>
                  <a:lnTo>
                    <a:pt x="81" y="168"/>
                  </a:lnTo>
                  <a:lnTo>
                    <a:pt x="83" y="165"/>
                  </a:lnTo>
                  <a:lnTo>
                    <a:pt x="86" y="163"/>
                  </a:lnTo>
                  <a:lnTo>
                    <a:pt x="86" y="163"/>
                  </a:lnTo>
                  <a:lnTo>
                    <a:pt x="86" y="162"/>
                  </a:lnTo>
                  <a:lnTo>
                    <a:pt x="87" y="159"/>
                  </a:lnTo>
                  <a:lnTo>
                    <a:pt x="84" y="154"/>
                  </a:lnTo>
                  <a:lnTo>
                    <a:pt x="83" y="152"/>
                  </a:lnTo>
                  <a:lnTo>
                    <a:pt x="83" y="151"/>
                  </a:lnTo>
                  <a:lnTo>
                    <a:pt x="87" y="152"/>
                  </a:lnTo>
                  <a:lnTo>
                    <a:pt x="90" y="151"/>
                  </a:lnTo>
                  <a:lnTo>
                    <a:pt x="94" y="152"/>
                  </a:lnTo>
                  <a:lnTo>
                    <a:pt x="97" y="152"/>
                  </a:lnTo>
                  <a:lnTo>
                    <a:pt x="100" y="154"/>
                  </a:lnTo>
                  <a:lnTo>
                    <a:pt x="103" y="154"/>
                  </a:lnTo>
                  <a:lnTo>
                    <a:pt x="106" y="151"/>
                  </a:lnTo>
                  <a:lnTo>
                    <a:pt x="109" y="148"/>
                  </a:lnTo>
                  <a:lnTo>
                    <a:pt x="111" y="144"/>
                  </a:lnTo>
                  <a:lnTo>
                    <a:pt x="108" y="144"/>
                  </a:lnTo>
                  <a:lnTo>
                    <a:pt x="111" y="141"/>
                  </a:lnTo>
                  <a:lnTo>
                    <a:pt x="114" y="140"/>
                  </a:lnTo>
                  <a:lnTo>
                    <a:pt x="114" y="140"/>
                  </a:lnTo>
                  <a:lnTo>
                    <a:pt x="114" y="135"/>
                  </a:lnTo>
                  <a:lnTo>
                    <a:pt x="113" y="132"/>
                  </a:lnTo>
                  <a:lnTo>
                    <a:pt x="111" y="130"/>
                  </a:lnTo>
                  <a:lnTo>
                    <a:pt x="106" y="130"/>
                  </a:lnTo>
                  <a:lnTo>
                    <a:pt x="103" y="130"/>
                  </a:lnTo>
                  <a:lnTo>
                    <a:pt x="102" y="127"/>
                  </a:lnTo>
                  <a:lnTo>
                    <a:pt x="102" y="124"/>
                  </a:lnTo>
                  <a:lnTo>
                    <a:pt x="98" y="122"/>
                  </a:lnTo>
                  <a:lnTo>
                    <a:pt x="95" y="122"/>
                  </a:lnTo>
                  <a:lnTo>
                    <a:pt x="90" y="121"/>
                  </a:lnTo>
                  <a:lnTo>
                    <a:pt x="94" y="117"/>
                  </a:lnTo>
                  <a:lnTo>
                    <a:pt x="94" y="117"/>
                  </a:lnTo>
                  <a:lnTo>
                    <a:pt x="97" y="117"/>
                  </a:lnTo>
                  <a:lnTo>
                    <a:pt x="98" y="114"/>
                  </a:lnTo>
                  <a:lnTo>
                    <a:pt x="97" y="111"/>
                  </a:lnTo>
                  <a:lnTo>
                    <a:pt x="94" y="110"/>
                  </a:lnTo>
                  <a:lnTo>
                    <a:pt x="92" y="108"/>
                  </a:lnTo>
                  <a:lnTo>
                    <a:pt x="89" y="106"/>
                  </a:lnTo>
                  <a:lnTo>
                    <a:pt x="87" y="103"/>
                  </a:lnTo>
                  <a:lnTo>
                    <a:pt x="79" y="100"/>
                  </a:lnTo>
                  <a:lnTo>
                    <a:pt x="76" y="100"/>
                  </a:lnTo>
                  <a:lnTo>
                    <a:pt x="73" y="102"/>
                  </a:lnTo>
                  <a:lnTo>
                    <a:pt x="68" y="105"/>
                  </a:lnTo>
                  <a:lnTo>
                    <a:pt x="68" y="108"/>
                  </a:lnTo>
                  <a:lnTo>
                    <a:pt x="67" y="111"/>
                  </a:lnTo>
                  <a:lnTo>
                    <a:pt x="63" y="110"/>
                  </a:lnTo>
                  <a:lnTo>
                    <a:pt x="59" y="108"/>
                  </a:lnTo>
                  <a:lnTo>
                    <a:pt x="56" y="105"/>
                  </a:lnTo>
                  <a:lnTo>
                    <a:pt x="52" y="106"/>
                  </a:lnTo>
                  <a:lnTo>
                    <a:pt x="49" y="105"/>
                  </a:lnTo>
                  <a:lnTo>
                    <a:pt x="46" y="105"/>
                  </a:lnTo>
                  <a:lnTo>
                    <a:pt x="43" y="102"/>
                  </a:lnTo>
                  <a:lnTo>
                    <a:pt x="41" y="98"/>
                  </a:lnTo>
                  <a:lnTo>
                    <a:pt x="40" y="97"/>
                  </a:lnTo>
                  <a:lnTo>
                    <a:pt x="37" y="95"/>
                  </a:lnTo>
                  <a:lnTo>
                    <a:pt x="35" y="91"/>
                  </a:lnTo>
                  <a:lnTo>
                    <a:pt x="35" y="89"/>
                  </a:lnTo>
                  <a:lnTo>
                    <a:pt x="33" y="87"/>
                  </a:lnTo>
                  <a:lnTo>
                    <a:pt x="33" y="84"/>
                  </a:lnTo>
                  <a:lnTo>
                    <a:pt x="33" y="81"/>
                  </a:lnTo>
                  <a:lnTo>
                    <a:pt x="33" y="78"/>
                  </a:lnTo>
                  <a:lnTo>
                    <a:pt x="35" y="75"/>
                  </a:lnTo>
                  <a:lnTo>
                    <a:pt x="35" y="71"/>
                  </a:lnTo>
                  <a:lnTo>
                    <a:pt x="32" y="68"/>
                  </a:lnTo>
                  <a:lnTo>
                    <a:pt x="29" y="67"/>
                  </a:lnTo>
                  <a:lnTo>
                    <a:pt x="27" y="64"/>
                  </a:lnTo>
                  <a:lnTo>
                    <a:pt x="27" y="67"/>
                  </a:lnTo>
                  <a:lnTo>
                    <a:pt x="25" y="71"/>
                  </a:lnTo>
                  <a:lnTo>
                    <a:pt x="22" y="68"/>
                  </a:lnTo>
                  <a:lnTo>
                    <a:pt x="22" y="65"/>
                  </a:lnTo>
                  <a:lnTo>
                    <a:pt x="21" y="62"/>
                  </a:lnTo>
                  <a:lnTo>
                    <a:pt x="17" y="60"/>
                  </a:lnTo>
                  <a:lnTo>
                    <a:pt x="14" y="57"/>
                  </a:lnTo>
                  <a:lnTo>
                    <a:pt x="13" y="54"/>
                  </a:lnTo>
                  <a:lnTo>
                    <a:pt x="10" y="51"/>
                  </a:lnTo>
                  <a:lnTo>
                    <a:pt x="5" y="48"/>
                  </a:lnTo>
                  <a:lnTo>
                    <a:pt x="2" y="45"/>
                  </a:lnTo>
                  <a:lnTo>
                    <a:pt x="0" y="41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grpSp>
          <p:nvGrpSpPr>
            <p:cNvPr id="42" name="Group 909"/>
            <p:cNvGrpSpPr/>
            <p:nvPr/>
          </p:nvGrpSpPr>
          <p:grpSpPr>
            <a:xfrm>
              <a:off x="7892532" y="4588611"/>
              <a:ext cx="1885004" cy="1995377"/>
              <a:chOff x="6786045" y="3693356"/>
              <a:chExt cx="1994165" cy="1780423"/>
            </a:xfrm>
            <a:solidFill>
              <a:schemeClr val="bg1">
                <a:lumMod val="65000"/>
              </a:schemeClr>
            </a:solidFill>
          </p:grpSpPr>
          <p:grpSp>
            <p:nvGrpSpPr>
              <p:cNvPr id="754" name="Group 88"/>
              <p:cNvGrpSpPr>
                <a:grpSpLocks/>
              </p:cNvGrpSpPr>
              <p:nvPr/>
            </p:nvGrpSpPr>
            <p:grpSpPr bwMode="auto">
              <a:xfrm>
                <a:off x="6786045" y="3734128"/>
                <a:ext cx="1289517" cy="495316"/>
                <a:chOff x="4316" y="2374"/>
                <a:chExt cx="829" cy="328"/>
              </a:xfrm>
              <a:grpFill/>
            </p:grpSpPr>
            <p:grpSp>
              <p:nvGrpSpPr>
                <p:cNvPr id="800" name="Group 89"/>
                <p:cNvGrpSpPr>
                  <a:grpSpLocks/>
                </p:cNvGrpSpPr>
                <p:nvPr/>
              </p:nvGrpSpPr>
              <p:grpSpPr bwMode="auto">
                <a:xfrm>
                  <a:off x="4477" y="2465"/>
                  <a:ext cx="13" cy="7"/>
                  <a:chOff x="4477" y="2465"/>
                  <a:chExt cx="13" cy="7"/>
                </a:xfrm>
                <a:grpFill/>
              </p:grpSpPr>
              <p:sp>
                <p:nvSpPr>
                  <p:cNvPr id="840" name="Freeform 90"/>
                  <p:cNvSpPr>
                    <a:spLocks/>
                  </p:cNvSpPr>
                  <p:nvPr/>
                </p:nvSpPr>
                <p:spPr bwMode="auto">
                  <a:xfrm>
                    <a:off x="4477" y="2466"/>
                    <a:ext cx="3" cy="4"/>
                  </a:xfrm>
                  <a:custGeom>
                    <a:avLst/>
                    <a:gdLst>
                      <a:gd name="T0" fmla="*/ 8 w 8"/>
                      <a:gd name="T1" fmla="*/ 1 h 8"/>
                      <a:gd name="T2" fmla="*/ 6 w 8"/>
                      <a:gd name="T3" fmla="*/ 0 h 8"/>
                      <a:gd name="T4" fmla="*/ 3 w 8"/>
                      <a:gd name="T5" fmla="*/ 0 h 8"/>
                      <a:gd name="T6" fmla="*/ 0 w 8"/>
                      <a:gd name="T7" fmla="*/ 3 h 8"/>
                      <a:gd name="T8" fmla="*/ 0 w 8"/>
                      <a:gd name="T9" fmla="*/ 6 h 8"/>
                      <a:gd name="T10" fmla="*/ 3 w 8"/>
                      <a:gd name="T11" fmla="*/ 8 h 8"/>
                      <a:gd name="T12" fmla="*/ 6 w 8"/>
                      <a:gd name="T13" fmla="*/ 5 h 8"/>
                      <a:gd name="T14" fmla="*/ 8 w 8"/>
                      <a:gd name="T15" fmla="*/ 1 h 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8" h="8">
                        <a:moveTo>
                          <a:pt x="8" y="1"/>
                        </a:moveTo>
                        <a:lnTo>
                          <a:pt x="6" y="0"/>
                        </a:lnTo>
                        <a:lnTo>
                          <a:pt x="3" y="0"/>
                        </a:lnTo>
                        <a:lnTo>
                          <a:pt x="0" y="3"/>
                        </a:lnTo>
                        <a:lnTo>
                          <a:pt x="0" y="6"/>
                        </a:lnTo>
                        <a:lnTo>
                          <a:pt x="3" y="8"/>
                        </a:lnTo>
                        <a:lnTo>
                          <a:pt x="6" y="5"/>
                        </a:lnTo>
                        <a:lnTo>
                          <a:pt x="8" y="1"/>
                        </a:lnTo>
                        <a:close/>
                      </a:path>
                    </a:pathLst>
                  </a:custGeom>
                  <a:grpFill/>
                  <a:ln w="127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 xmlns="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en-GB" dirty="0"/>
                  </a:p>
                </p:txBody>
              </p:sp>
              <p:sp>
                <p:nvSpPr>
                  <p:cNvPr id="841" name="Freeform 91"/>
                  <p:cNvSpPr>
                    <a:spLocks/>
                  </p:cNvSpPr>
                  <p:nvPr/>
                </p:nvSpPr>
                <p:spPr bwMode="auto">
                  <a:xfrm>
                    <a:off x="4482" y="2465"/>
                    <a:ext cx="8" cy="7"/>
                  </a:xfrm>
                  <a:custGeom>
                    <a:avLst/>
                    <a:gdLst>
                      <a:gd name="T0" fmla="*/ 16 w 16"/>
                      <a:gd name="T1" fmla="*/ 8 h 14"/>
                      <a:gd name="T2" fmla="*/ 11 w 16"/>
                      <a:gd name="T3" fmla="*/ 3 h 14"/>
                      <a:gd name="T4" fmla="*/ 8 w 16"/>
                      <a:gd name="T5" fmla="*/ 0 h 14"/>
                      <a:gd name="T6" fmla="*/ 5 w 16"/>
                      <a:gd name="T7" fmla="*/ 2 h 14"/>
                      <a:gd name="T8" fmla="*/ 0 w 16"/>
                      <a:gd name="T9" fmla="*/ 5 h 14"/>
                      <a:gd name="T10" fmla="*/ 2 w 16"/>
                      <a:gd name="T11" fmla="*/ 8 h 14"/>
                      <a:gd name="T12" fmla="*/ 5 w 16"/>
                      <a:gd name="T13" fmla="*/ 8 h 14"/>
                      <a:gd name="T14" fmla="*/ 8 w 16"/>
                      <a:gd name="T15" fmla="*/ 8 h 14"/>
                      <a:gd name="T16" fmla="*/ 8 w 16"/>
                      <a:gd name="T17" fmla="*/ 11 h 14"/>
                      <a:gd name="T18" fmla="*/ 10 w 16"/>
                      <a:gd name="T19" fmla="*/ 14 h 14"/>
                      <a:gd name="T20" fmla="*/ 13 w 16"/>
                      <a:gd name="T21" fmla="*/ 14 h 14"/>
                      <a:gd name="T22" fmla="*/ 14 w 16"/>
                      <a:gd name="T23" fmla="*/ 11 h 14"/>
                      <a:gd name="T24" fmla="*/ 16 w 16"/>
                      <a:gd name="T25" fmla="*/ 8 h 1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</a:cxnLst>
                    <a:rect l="0" t="0" r="r" b="b"/>
                    <a:pathLst>
                      <a:path w="16" h="14">
                        <a:moveTo>
                          <a:pt x="16" y="8"/>
                        </a:moveTo>
                        <a:lnTo>
                          <a:pt x="11" y="3"/>
                        </a:lnTo>
                        <a:lnTo>
                          <a:pt x="8" y="0"/>
                        </a:lnTo>
                        <a:lnTo>
                          <a:pt x="5" y="2"/>
                        </a:lnTo>
                        <a:lnTo>
                          <a:pt x="0" y="5"/>
                        </a:lnTo>
                        <a:lnTo>
                          <a:pt x="2" y="8"/>
                        </a:lnTo>
                        <a:lnTo>
                          <a:pt x="5" y="8"/>
                        </a:lnTo>
                        <a:lnTo>
                          <a:pt x="8" y="8"/>
                        </a:lnTo>
                        <a:lnTo>
                          <a:pt x="8" y="11"/>
                        </a:lnTo>
                        <a:lnTo>
                          <a:pt x="10" y="14"/>
                        </a:lnTo>
                        <a:lnTo>
                          <a:pt x="13" y="14"/>
                        </a:lnTo>
                        <a:lnTo>
                          <a:pt x="14" y="11"/>
                        </a:lnTo>
                        <a:lnTo>
                          <a:pt x="16" y="8"/>
                        </a:lnTo>
                        <a:close/>
                      </a:path>
                    </a:pathLst>
                  </a:custGeom>
                  <a:grpFill/>
                  <a:ln w="1270" cap="flat" cmpd="sng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 xmlns="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lIns="0" tIns="0" rIns="0" bIns="0" anchor="ctr"/>
                  <a:lstStyle/>
                  <a:p>
                    <a:endParaRPr lang="en-GB" dirty="0"/>
                  </a:p>
                </p:txBody>
              </p:sp>
            </p:grpSp>
            <p:sp>
              <p:nvSpPr>
                <p:cNvPr id="801" name="Freeform 92"/>
                <p:cNvSpPr>
                  <a:spLocks/>
                </p:cNvSpPr>
                <p:nvPr/>
              </p:nvSpPr>
              <p:spPr bwMode="auto">
                <a:xfrm>
                  <a:off x="4565" y="2400"/>
                  <a:ext cx="184" cy="175"/>
                </a:xfrm>
                <a:custGeom>
                  <a:avLst/>
                  <a:gdLst>
                    <a:gd name="T0" fmla="*/ 14 w 366"/>
                    <a:gd name="T1" fmla="*/ 124 h 351"/>
                    <a:gd name="T2" fmla="*/ 12 w 366"/>
                    <a:gd name="T3" fmla="*/ 113 h 351"/>
                    <a:gd name="T4" fmla="*/ 27 w 366"/>
                    <a:gd name="T5" fmla="*/ 98 h 351"/>
                    <a:gd name="T6" fmla="*/ 38 w 366"/>
                    <a:gd name="T7" fmla="*/ 122 h 351"/>
                    <a:gd name="T8" fmla="*/ 57 w 366"/>
                    <a:gd name="T9" fmla="*/ 141 h 351"/>
                    <a:gd name="T10" fmla="*/ 88 w 366"/>
                    <a:gd name="T11" fmla="*/ 138 h 351"/>
                    <a:gd name="T12" fmla="*/ 117 w 366"/>
                    <a:gd name="T13" fmla="*/ 133 h 351"/>
                    <a:gd name="T14" fmla="*/ 131 w 366"/>
                    <a:gd name="T15" fmla="*/ 116 h 351"/>
                    <a:gd name="T16" fmla="*/ 158 w 366"/>
                    <a:gd name="T17" fmla="*/ 124 h 351"/>
                    <a:gd name="T18" fmla="*/ 185 w 366"/>
                    <a:gd name="T19" fmla="*/ 121 h 351"/>
                    <a:gd name="T20" fmla="*/ 206 w 366"/>
                    <a:gd name="T21" fmla="*/ 121 h 351"/>
                    <a:gd name="T22" fmla="*/ 214 w 366"/>
                    <a:gd name="T23" fmla="*/ 92 h 351"/>
                    <a:gd name="T24" fmla="*/ 225 w 366"/>
                    <a:gd name="T25" fmla="*/ 73 h 351"/>
                    <a:gd name="T26" fmla="*/ 238 w 366"/>
                    <a:gd name="T27" fmla="*/ 52 h 351"/>
                    <a:gd name="T28" fmla="*/ 241 w 366"/>
                    <a:gd name="T29" fmla="*/ 26 h 351"/>
                    <a:gd name="T30" fmla="*/ 249 w 366"/>
                    <a:gd name="T31" fmla="*/ 2 h 351"/>
                    <a:gd name="T32" fmla="*/ 272 w 366"/>
                    <a:gd name="T33" fmla="*/ 3 h 351"/>
                    <a:gd name="T34" fmla="*/ 298 w 366"/>
                    <a:gd name="T35" fmla="*/ 2 h 351"/>
                    <a:gd name="T36" fmla="*/ 307 w 366"/>
                    <a:gd name="T37" fmla="*/ 14 h 351"/>
                    <a:gd name="T38" fmla="*/ 317 w 366"/>
                    <a:gd name="T39" fmla="*/ 32 h 351"/>
                    <a:gd name="T40" fmla="*/ 299 w 366"/>
                    <a:gd name="T41" fmla="*/ 30 h 351"/>
                    <a:gd name="T42" fmla="*/ 301 w 366"/>
                    <a:gd name="T43" fmla="*/ 46 h 351"/>
                    <a:gd name="T44" fmla="*/ 318 w 366"/>
                    <a:gd name="T45" fmla="*/ 62 h 351"/>
                    <a:gd name="T46" fmla="*/ 333 w 366"/>
                    <a:gd name="T47" fmla="*/ 86 h 351"/>
                    <a:gd name="T48" fmla="*/ 331 w 366"/>
                    <a:gd name="T49" fmla="*/ 110 h 351"/>
                    <a:gd name="T50" fmla="*/ 358 w 366"/>
                    <a:gd name="T51" fmla="*/ 133 h 351"/>
                    <a:gd name="T52" fmla="*/ 353 w 366"/>
                    <a:gd name="T53" fmla="*/ 144 h 351"/>
                    <a:gd name="T54" fmla="*/ 326 w 366"/>
                    <a:gd name="T55" fmla="*/ 137 h 351"/>
                    <a:gd name="T56" fmla="*/ 317 w 366"/>
                    <a:gd name="T57" fmla="*/ 159 h 351"/>
                    <a:gd name="T58" fmla="*/ 312 w 366"/>
                    <a:gd name="T59" fmla="*/ 184 h 351"/>
                    <a:gd name="T60" fmla="*/ 317 w 366"/>
                    <a:gd name="T61" fmla="*/ 198 h 351"/>
                    <a:gd name="T62" fmla="*/ 307 w 366"/>
                    <a:gd name="T63" fmla="*/ 214 h 351"/>
                    <a:gd name="T64" fmla="*/ 291 w 366"/>
                    <a:gd name="T65" fmla="*/ 230 h 351"/>
                    <a:gd name="T66" fmla="*/ 284 w 366"/>
                    <a:gd name="T67" fmla="*/ 236 h 351"/>
                    <a:gd name="T68" fmla="*/ 272 w 366"/>
                    <a:gd name="T69" fmla="*/ 254 h 351"/>
                    <a:gd name="T70" fmla="*/ 279 w 366"/>
                    <a:gd name="T71" fmla="*/ 273 h 351"/>
                    <a:gd name="T72" fmla="*/ 269 w 366"/>
                    <a:gd name="T73" fmla="*/ 290 h 351"/>
                    <a:gd name="T74" fmla="*/ 265 w 366"/>
                    <a:gd name="T75" fmla="*/ 308 h 351"/>
                    <a:gd name="T76" fmla="*/ 245 w 366"/>
                    <a:gd name="T77" fmla="*/ 332 h 351"/>
                    <a:gd name="T78" fmla="*/ 204 w 366"/>
                    <a:gd name="T79" fmla="*/ 335 h 351"/>
                    <a:gd name="T80" fmla="*/ 195 w 366"/>
                    <a:gd name="T81" fmla="*/ 320 h 351"/>
                    <a:gd name="T82" fmla="*/ 187 w 366"/>
                    <a:gd name="T83" fmla="*/ 311 h 351"/>
                    <a:gd name="T84" fmla="*/ 171 w 366"/>
                    <a:gd name="T85" fmla="*/ 313 h 351"/>
                    <a:gd name="T86" fmla="*/ 150 w 366"/>
                    <a:gd name="T87" fmla="*/ 303 h 351"/>
                    <a:gd name="T88" fmla="*/ 128 w 366"/>
                    <a:gd name="T89" fmla="*/ 319 h 351"/>
                    <a:gd name="T90" fmla="*/ 106 w 366"/>
                    <a:gd name="T91" fmla="*/ 319 h 351"/>
                    <a:gd name="T92" fmla="*/ 100 w 366"/>
                    <a:gd name="T93" fmla="*/ 298 h 351"/>
                    <a:gd name="T94" fmla="*/ 74 w 366"/>
                    <a:gd name="T95" fmla="*/ 306 h 351"/>
                    <a:gd name="T96" fmla="*/ 62 w 366"/>
                    <a:gd name="T97" fmla="*/ 301 h 351"/>
                    <a:gd name="T98" fmla="*/ 47 w 366"/>
                    <a:gd name="T99" fmla="*/ 289 h 351"/>
                    <a:gd name="T100" fmla="*/ 44 w 366"/>
                    <a:gd name="T101" fmla="*/ 260 h 351"/>
                    <a:gd name="T102" fmla="*/ 42 w 366"/>
                    <a:gd name="T103" fmla="*/ 240 h 351"/>
                    <a:gd name="T104" fmla="*/ 28 w 366"/>
                    <a:gd name="T105" fmla="*/ 219 h 351"/>
                    <a:gd name="T106" fmla="*/ 23 w 366"/>
                    <a:gd name="T107" fmla="*/ 209 h 351"/>
                    <a:gd name="T108" fmla="*/ 9 w 366"/>
                    <a:gd name="T109" fmla="*/ 189 h 351"/>
                    <a:gd name="T110" fmla="*/ 8 w 366"/>
                    <a:gd name="T111" fmla="*/ 168 h 351"/>
                    <a:gd name="T112" fmla="*/ 1 w 366"/>
                    <a:gd name="T113" fmla="*/ 144 h 3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366" h="351">
                      <a:moveTo>
                        <a:pt x="1" y="144"/>
                      </a:moveTo>
                      <a:lnTo>
                        <a:pt x="4" y="141"/>
                      </a:lnTo>
                      <a:lnTo>
                        <a:pt x="4" y="138"/>
                      </a:lnTo>
                      <a:lnTo>
                        <a:pt x="3" y="133"/>
                      </a:lnTo>
                      <a:lnTo>
                        <a:pt x="6" y="130"/>
                      </a:lnTo>
                      <a:lnTo>
                        <a:pt x="9" y="129"/>
                      </a:lnTo>
                      <a:lnTo>
                        <a:pt x="12" y="125"/>
                      </a:lnTo>
                      <a:lnTo>
                        <a:pt x="14" y="124"/>
                      </a:lnTo>
                      <a:lnTo>
                        <a:pt x="12" y="122"/>
                      </a:lnTo>
                      <a:lnTo>
                        <a:pt x="11" y="125"/>
                      </a:lnTo>
                      <a:lnTo>
                        <a:pt x="8" y="130"/>
                      </a:lnTo>
                      <a:lnTo>
                        <a:pt x="6" y="125"/>
                      </a:lnTo>
                      <a:lnTo>
                        <a:pt x="8" y="122"/>
                      </a:lnTo>
                      <a:lnTo>
                        <a:pt x="8" y="119"/>
                      </a:lnTo>
                      <a:lnTo>
                        <a:pt x="9" y="116"/>
                      </a:lnTo>
                      <a:lnTo>
                        <a:pt x="12" y="113"/>
                      </a:lnTo>
                      <a:lnTo>
                        <a:pt x="14" y="110"/>
                      </a:lnTo>
                      <a:lnTo>
                        <a:pt x="17" y="106"/>
                      </a:lnTo>
                      <a:lnTo>
                        <a:pt x="17" y="103"/>
                      </a:lnTo>
                      <a:lnTo>
                        <a:pt x="20" y="100"/>
                      </a:lnTo>
                      <a:lnTo>
                        <a:pt x="23" y="98"/>
                      </a:lnTo>
                      <a:lnTo>
                        <a:pt x="27" y="95"/>
                      </a:lnTo>
                      <a:lnTo>
                        <a:pt x="28" y="95"/>
                      </a:lnTo>
                      <a:lnTo>
                        <a:pt x="27" y="98"/>
                      </a:lnTo>
                      <a:lnTo>
                        <a:pt x="23" y="102"/>
                      </a:lnTo>
                      <a:lnTo>
                        <a:pt x="25" y="106"/>
                      </a:lnTo>
                      <a:lnTo>
                        <a:pt x="28" y="106"/>
                      </a:lnTo>
                      <a:lnTo>
                        <a:pt x="28" y="111"/>
                      </a:lnTo>
                      <a:lnTo>
                        <a:pt x="28" y="114"/>
                      </a:lnTo>
                      <a:lnTo>
                        <a:pt x="31" y="117"/>
                      </a:lnTo>
                      <a:lnTo>
                        <a:pt x="35" y="121"/>
                      </a:lnTo>
                      <a:lnTo>
                        <a:pt x="38" y="122"/>
                      </a:lnTo>
                      <a:lnTo>
                        <a:pt x="39" y="124"/>
                      </a:lnTo>
                      <a:lnTo>
                        <a:pt x="39" y="125"/>
                      </a:lnTo>
                      <a:lnTo>
                        <a:pt x="41" y="127"/>
                      </a:lnTo>
                      <a:lnTo>
                        <a:pt x="44" y="130"/>
                      </a:lnTo>
                      <a:lnTo>
                        <a:pt x="47" y="132"/>
                      </a:lnTo>
                      <a:lnTo>
                        <a:pt x="50" y="135"/>
                      </a:lnTo>
                      <a:lnTo>
                        <a:pt x="52" y="138"/>
                      </a:lnTo>
                      <a:lnTo>
                        <a:pt x="57" y="141"/>
                      </a:lnTo>
                      <a:lnTo>
                        <a:pt x="60" y="144"/>
                      </a:lnTo>
                      <a:lnTo>
                        <a:pt x="63" y="144"/>
                      </a:lnTo>
                      <a:lnTo>
                        <a:pt x="71" y="140"/>
                      </a:lnTo>
                      <a:lnTo>
                        <a:pt x="76" y="138"/>
                      </a:lnTo>
                      <a:lnTo>
                        <a:pt x="79" y="138"/>
                      </a:lnTo>
                      <a:lnTo>
                        <a:pt x="82" y="137"/>
                      </a:lnTo>
                      <a:lnTo>
                        <a:pt x="85" y="135"/>
                      </a:lnTo>
                      <a:lnTo>
                        <a:pt x="88" y="138"/>
                      </a:lnTo>
                      <a:lnTo>
                        <a:pt x="93" y="138"/>
                      </a:lnTo>
                      <a:lnTo>
                        <a:pt x="96" y="140"/>
                      </a:lnTo>
                      <a:lnTo>
                        <a:pt x="100" y="138"/>
                      </a:lnTo>
                      <a:lnTo>
                        <a:pt x="103" y="138"/>
                      </a:lnTo>
                      <a:lnTo>
                        <a:pt x="106" y="140"/>
                      </a:lnTo>
                      <a:lnTo>
                        <a:pt x="109" y="135"/>
                      </a:lnTo>
                      <a:lnTo>
                        <a:pt x="112" y="133"/>
                      </a:lnTo>
                      <a:lnTo>
                        <a:pt x="117" y="133"/>
                      </a:lnTo>
                      <a:lnTo>
                        <a:pt x="119" y="132"/>
                      </a:lnTo>
                      <a:lnTo>
                        <a:pt x="119" y="129"/>
                      </a:lnTo>
                      <a:lnTo>
                        <a:pt x="120" y="125"/>
                      </a:lnTo>
                      <a:lnTo>
                        <a:pt x="120" y="124"/>
                      </a:lnTo>
                      <a:lnTo>
                        <a:pt x="122" y="119"/>
                      </a:lnTo>
                      <a:lnTo>
                        <a:pt x="125" y="117"/>
                      </a:lnTo>
                      <a:lnTo>
                        <a:pt x="128" y="117"/>
                      </a:lnTo>
                      <a:lnTo>
                        <a:pt x="131" y="116"/>
                      </a:lnTo>
                      <a:lnTo>
                        <a:pt x="136" y="116"/>
                      </a:lnTo>
                      <a:lnTo>
                        <a:pt x="139" y="116"/>
                      </a:lnTo>
                      <a:lnTo>
                        <a:pt x="142" y="116"/>
                      </a:lnTo>
                      <a:lnTo>
                        <a:pt x="146" y="116"/>
                      </a:lnTo>
                      <a:lnTo>
                        <a:pt x="150" y="116"/>
                      </a:lnTo>
                      <a:lnTo>
                        <a:pt x="150" y="119"/>
                      </a:lnTo>
                      <a:lnTo>
                        <a:pt x="154" y="121"/>
                      </a:lnTo>
                      <a:lnTo>
                        <a:pt x="158" y="124"/>
                      </a:lnTo>
                      <a:lnTo>
                        <a:pt x="161" y="124"/>
                      </a:lnTo>
                      <a:lnTo>
                        <a:pt x="165" y="127"/>
                      </a:lnTo>
                      <a:lnTo>
                        <a:pt x="168" y="125"/>
                      </a:lnTo>
                      <a:lnTo>
                        <a:pt x="171" y="129"/>
                      </a:lnTo>
                      <a:lnTo>
                        <a:pt x="176" y="129"/>
                      </a:lnTo>
                      <a:lnTo>
                        <a:pt x="179" y="125"/>
                      </a:lnTo>
                      <a:lnTo>
                        <a:pt x="180" y="122"/>
                      </a:lnTo>
                      <a:lnTo>
                        <a:pt x="185" y="121"/>
                      </a:lnTo>
                      <a:lnTo>
                        <a:pt x="188" y="119"/>
                      </a:lnTo>
                      <a:lnTo>
                        <a:pt x="188" y="121"/>
                      </a:lnTo>
                      <a:lnTo>
                        <a:pt x="192" y="121"/>
                      </a:lnTo>
                      <a:lnTo>
                        <a:pt x="193" y="121"/>
                      </a:lnTo>
                      <a:lnTo>
                        <a:pt x="196" y="119"/>
                      </a:lnTo>
                      <a:lnTo>
                        <a:pt x="199" y="117"/>
                      </a:lnTo>
                      <a:lnTo>
                        <a:pt x="203" y="121"/>
                      </a:lnTo>
                      <a:lnTo>
                        <a:pt x="206" y="121"/>
                      </a:lnTo>
                      <a:lnTo>
                        <a:pt x="206" y="116"/>
                      </a:lnTo>
                      <a:lnTo>
                        <a:pt x="209" y="113"/>
                      </a:lnTo>
                      <a:lnTo>
                        <a:pt x="211" y="110"/>
                      </a:lnTo>
                      <a:lnTo>
                        <a:pt x="211" y="106"/>
                      </a:lnTo>
                      <a:lnTo>
                        <a:pt x="214" y="103"/>
                      </a:lnTo>
                      <a:lnTo>
                        <a:pt x="215" y="100"/>
                      </a:lnTo>
                      <a:lnTo>
                        <a:pt x="215" y="97"/>
                      </a:lnTo>
                      <a:lnTo>
                        <a:pt x="214" y="92"/>
                      </a:lnTo>
                      <a:lnTo>
                        <a:pt x="214" y="89"/>
                      </a:lnTo>
                      <a:lnTo>
                        <a:pt x="217" y="87"/>
                      </a:lnTo>
                      <a:lnTo>
                        <a:pt x="219" y="83"/>
                      </a:lnTo>
                      <a:lnTo>
                        <a:pt x="223" y="83"/>
                      </a:lnTo>
                      <a:lnTo>
                        <a:pt x="225" y="78"/>
                      </a:lnTo>
                      <a:lnTo>
                        <a:pt x="230" y="76"/>
                      </a:lnTo>
                      <a:lnTo>
                        <a:pt x="226" y="73"/>
                      </a:lnTo>
                      <a:lnTo>
                        <a:pt x="225" y="73"/>
                      </a:lnTo>
                      <a:lnTo>
                        <a:pt x="223" y="70"/>
                      </a:lnTo>
                      <a:lnTo>
                        <a:pt x="225" y="67"/>
                      </a:lnTo>
                      <a:lnTo>
                        <a:pt x="225" y="64"/>
                      </a:lnTo>
                      <a:lnTo>
                        <a:pt x="226" y="59"/>
                      </a:lnTo>
                      <a:lnTo>
                        <a:pt x="230" y="56"/>
                      </a:lnTo>
                      <a:lnTo>
                        <a:pt x="233" y="57"/>
                      </a:lnTo>
                      <a:lnTo>
                        <a:pt x="236" y="56"/>
                      </a:lnTo>
                      <a:lnTo>
                        <a:pt x="238" y="52"/>
                      </a:lnTo>
                      <a:lnTo>
                        <a:pt x="238" y="49"/>
                      </a:lnTo>
                      <a:lnTo>
                        <a:pt x="239" y="46"/>
                      </a:lnTo>
                      <a:lnTo>
                        <a:pt x="239" y="41"/>
                      </a:lnTo>
                      <a:lnTo>
                        <a:pt x="242" y="38"/>
                      </a:lnTo>
                      <a:lnTo>
                        <a:pt x="241" y="35"/>
                      </a:lnTo>
                      <a:lnTo>
                        <a:pt x="239" y="32"/>
                      </a:lnTo>
                      <a:lnTo>
                        <a:pt x="239" y="29"/>
                      </a:lnTo>
                      <a:lnTo>
                        <a:pt x="241" y="26"/>
                      </a:lnTo>
                      <a:lnTo>
                        <a:pt x="241" y="22"/>
                      </a:lnTo>
                      <a:lnTo>
                        <a:pt x="241" y="21"/>
                      </a:lnTo>
                      <a:lnTo>
                        <a:pt x="241" y="18"/>
                      </a:lnTo>
                      <a:lnTo>
                        <a:pt x="242" y="14"/>
                      </a:lnTo>
                      <a:lnTo>
                        <a:pt x="242" y="11"/>
                      </a:lnTo>
                      <a:lnTo>
                        <a:pt x="244" y="8"/>
                      </a:lnTo>
                      <a:lnTo>
                        <a:pt x="247" y="5"/>
                      </a:lnTo>
                      <a:lnTo>
                        <a:pt x="249" y="2"/>
                      </a:lnTo>
                      <a:lnTo>
                        <a:pt x="249" y="0"/>
                      </a:lnTo>
                      <a:lnTo>
                        <a:pt x="253" y="2"/>
                      </a:lnTo>
                      <a:lnTo>
                        <a:pt x="257" y="5"/>
                      </a:lnTo>
                      <a:lnTo>
                        <a:pt x="260" y="0"/>
                      </a:lnTo>
                      <a:lnTo>
                        <a:pt x="263" y="2"/>
                      </a:lnTo>
                      <a:lnTo>
                        <a:pt x="266" y="0"/>
                      </a:lnTo>
                      <a:lnTo>
                        <a:pt x="269" y="5"/>
                      </a:lnTo>
                      <a:lnTo>
                        <a:pt x="272" y="3"/>
                      </a:lnTo>
                      <a:lnTo>
                        <a:pt x="274" y="0"/>
                      </a:lnTo>
                      <a:lnTo>
                        <a:pt x="277" y="2"/>
                      </a:lnTo>
                      <a:lnTo>
                        <a:pt x="280" y="2"/>
                      </a:lnTo>
                      <a:lnTo>
                        <a:pt x="284" y="3"/>
                      </a:lnTo>
                      <a:lnTo>
                        <a:pt x="287" y="2"/>
                      </a:lnTo>
                      <a:lnTo>
                        <a:pt x="290" y="3"/>
                      </a:lnTo>
                      <a:lnTo>
                        <a:pt x="293" y="2"/>
                      </a:lnTo>
                      <a:lnTo>
                        <a:pt x="298" y="2"/>
                      </a:lnTo>
                      <a:lnTo>
                        <a:pt x="301" y="3"/>
                      </a:lnTo>
                      <a:lnTo>
                        <a:pt x="304" y="5"/>
                      </a:lnTo>
                      <a:lnTo>
                        <a:pt x="307" y="8"/>
                      </a:lnTo>
                      <a:lnTo>
                        <a:pt x="311" y="8"/>
                      </a:lnTo>
                      <a:lnTo>
                        <a:pt x="312" y="10"/>
                      </a:lnTo>
                      <a:lnTo>
                        <a:pt x="307" y="11"/>
                      </a:lnTo>
                      <a:lnTo>
                        <a:pt x="304" y="11"/>
                      </a:lnTo>
                      <a:lnTo>
                        <a:pt x="307" y="14"/>
                      </a:lnTo>
                      <a:lnTo>
                        <a:pt x="312" y="18"/>
                      </a:lnTo>
                      <a:lnTo>
                        <a:pt x="314" y="21"/>
                      </a:lnTo>
                      <a:lnTo>
                        <a:pt x="311" y="19"/>
                      </a:lnTo>
                      <a:lnTo>
                        <a:pt x="314" y="21"/>
                      </a:lnTo>
                      <a:lnTo>
                        <a:pt x="317" y="22"/>
                      </a:lnTo>
                      <a:lnTo>
                        <a:pt x="317" y="26"/>
                      </a:lnTo>
                      <a:lnTo>
                        <a:pt x="320" y="29"/>
                      </a:lnTo>
                      <a:lnTo>
                        <a:pt x="317" y="32"/>
                      </a:lnTo>
                      <a:lnTo>
                        <a:pt x="314" y="32"/>
                      </a:lnTo>
                      <a:lnTo>
                        <a:pt x="311" y="29"/>
                      </a:lnTo>
                      <a:lnTo>
                        <a:pt x="307" y="26"/>
                      </a:lnTo>
                      <a:lnTo>
                        <a:pt x="309" y="29"/>
                      </a:lnTo>
                      <a:lnTo>
                        <a:pt x="309" y="32"/>
                      </a:lnTo>
                      <a:lnTo>
                        <a:pt x="306" y="30"/>
                      </a:lnTo>
                      <a:lnTo>
                        <a:pt x="303" y="32"/>
                      </a:lnTo>
                      <a:lnTo>
                        <a:pt x="299" y="30"/>
                      </a:lnTo>
                      <a:lnTo>
                        <a:pt x="295" y="32"/>
                      </a:lnTo>
                      <a:lnTo>
                        <a:pt x="298" y="33"/>
                      </a:lnTo>
                      <a:lnTo>
                        <a:pt x="301" y="37"/>
                      </a:lnTo>
                      <a:lnTo>
                        <a:pt x="304" y="40"/>
                      </a:lnTo>
                      <a:lnTo>
                        <a:pt x="307" y="40"/>
                      </a:lnTo>
                      <a:lnTo>
                        <a:pt x="306" y="45"/>
                      </a:lnTo>
                      <a:lnTo>
                        <a:pt x="304" y="48"/>
                      </a:lnTo>
                      <a:lnTo>
                        <a:pt x="301" y="46"/>
                      </a:lnTo>
                      <a:lnTo>
                        <a:pt x="307" y="51"/>
                      </a:lnTo>
                      <a:lnTo>
                        <a:pt x="315" y="54"/>
                      </a:lnTo>
                      <a:lnTo>
                        <a:pt x="314" y="57"/>
                      </a:lnTo>
                      <a:lnTo>
                        <a:pt x="312" y="59"/>
                      </a:lnTo>
                      <a:lnTo>
                        <a:pt x="315" y="59"/>
                      </a:lnTo>
                      <a:lnTo>
                        <a:pt x="312" y="60"/>
                      </a:lnTo>
                      <a:lnTo>
                        <a:pt x="315" y="60"/>
                      </a:lnTo>
                      <a:lnTo>
                        <a:pt x="318" y="62"/>
                      </a:lnTo>
                      <a:lnTo>
                        <a:pt x="315" y="64"/>
                      </a:lnTo>
                      <a:lnTo>
                        <a:pt x="317" y="65"/>
                      </a:lnTo>
                      <a:lnTo>
                        <a:pt x="322" y="68"/>
                      </a:lnTo>
                      <a:lnTo>
                        <a:pt x="322" y="72"/>
                      </a:lnTo>
                      <a:lnTo>
                        <a:pt x="325" y="75"/>
                      </a:lnTo>
                      <a:lnTo>
                        <a:pt x="328" y="79"/>
                      </a:lnTo>
                      <a:lnTo>
                        <a:pt x="331" y="83"/>
                      </a:lnTo>
                      <a:lnTo>
                        <a:pt x="333" y="86"/>
                      </a:lnTo>
                      <a:lnTo>
                        <a:pt x="331" y="89"/>
                      </a:lnTo>
                      <a:lnTo>
                        <a:pt x="326" y="92"/>
                      </a:lnTo>
                      <a:lnTo>
                        <a:pt x="325" y="97"/>
                      </a:lnTo>
                      <a:lnTo>
                        <a:pt x="322" y="97"/>
                      </a:lnTo>
                      <a:lnTo>
                        <a:pt x="325" y="100"/>
                      </a:lnTo>
                      <a:lnTo>
                        <a:pt x="325" y="103"/>
                      </a:lnTo>
                      <a:lnTo>
                        <a:pt x="328" y="106"/>
                      </a:lnTo>
                      <a:lnTo>
                        <a:pt x="331" y="110"/>
                      </a:lnTo>
                      <a:lnTo>
                        <a:pt x="334" y="113"/>
                      </a:lnTo>
                      <a:lnTo>
                        <a:pt x="337" y="114"/>
                      </a:lnTo>
                      <a:lnTo>
                        <a:pt x="345" y="119"/>
                      </a:lnTo>
                      <a:lnTo>
                        <a:pt x="345" y="122"/>
                      </a:lnTo>
                      <a:lnTo>
                        <a:pt x="350" y="124"/>
                      </a:lnTo>
                      <a:lnTo>
                        <a:pt x="353" y="127"/>
                      </a:lnTo>
                      <a:lnTo>
                        <a:pt x="357" y="130"/>
                      </a:lnTo>
                      <a:lnTo>
                        <a:pt x="358" y="133"/>
                      </a:lnTo>
                      <a:lnTo>
                        <a:pt x="363" y="137"/>
                      </a:lnTo>
                      <a:lnTo>
                        <a:pt x="366" y="137"/>
                      </a:lnTo>
                      <a:lnTo>
                        <a:pt x="366" y="138"/>
                      </a:lnTo>
                      <a:lnTo>
                        <a:pt x="366" y="140"/>
                      </a:lnTo>
                      <a:lnTo>
                        <a:pt x="364" y="143"/>
                      </a:lnTo>
                      <a:lnTo>
                        <a:pt x="361" y="144"/>
                      </a:lnTo>
                      <a:lnTo>
                        <a:pt x="357" y="146"/>
                      </a:lnTo>
                      <a:lnTo>
                        <a:pt x="353" y="144"/>
                      </a:lnTo>
                      <a:lnTo>
                        <a:pt x="350" y="148"/>
                      </a:lnTo>
                      <a:lnTo>
                        <a:pt x="347" y="146"/>
                      </a:lnTo>
                      <a:lnTo>
                        <a:pt x="344" y="146"/>
                      </a:lnTo>
                      <a:lnTo>
                        <a:pt x="339" y="144"/>
                      </a:lnTo>
                      <a:lnTo>
                        <a:pt x="336" y="144"/>
                      </a:lnTo>
                      <a:lnTo>
                        <a:pt x="333" y="143"/>
                      </a:lnTo>
                      <a:lnTo>
                        <a:pt x="331" y="138"/>
                      </a:lnTo>
                      <a:lnTo>
                        <a:pt x="326" y="137"/>
                      </a:lnTo>
                      <a:lnTo>
                        <a:pt x="330" y="140"/>
                      </a:lnTo>
                      <a:lnTo>
                        <a:pt x="331" y="143"/>
                      </a:lnTo>
                      <a:lnTo>
                        <a:pt x="330" y="148"/>
                      </a:lnTo>
                      <a:lnTo>
                        <a:pt x="326" y="146"/>
                      </a:lnTo>
                      <a:lnTo>
                        <a:pt x="322" y="148"/>
                      </a:lnTo>
                      <a:lnTo>
                        <a:pt x="320" y="151"/>
                      </a:lnTo>
                      <a:lnTo>
                        <a:pt x="318" y="156"/>
                      </a:lnTo>
                      <a:lnTo>
                        <a:pt x="317" y="159"/>
                      </a:lnTo>
                      <a:lnTo>
                        <a:pt x="317" y="162"/>
                      </a:lnTo>
                      <a:lnTo>
                        <a:pt x="314" y="165"/>
                      </a:lnTo>
                      <a:lnTo>
                        <a:pt x="312" y="168"/>
                      </a:lnTo>
                      <a:lnTo>
                        <a:pt x="312" y="173"/>
                      </a:lnTo>
                      <a:lnTo>
                        <a:pt x="311" y="176"/>
                      </a:lnTo>
                      <a:lnTo>
                        <a:pt x="312" y="179"/>
                      </a:lnTo>
                      <a:lnTo>
                        <a:pt x="312" y="179"/>
                      </a:lnTo>
                      <a:lnTo>
                        <a:pt x="312" y="184"/>
                      </a:lnTo>
                      <a:lnTo>
                        <a:pt x="311" y="187"/>
                      </a:lnTo>
                      <a:lnTo>
                        <a:pt x="309" y="190"/>
                      </a:lnTo>
                      <a:lnTo>
                        <a:pt x="312" y="194"/>
                      </a:lnTo>
                      <a:lnTo>
                        <a:pt x="311" y="198"/>
                      </a:lnTo>
                      <a:lnTo>
                        <a:pt x="311" y="202"/>
                      </a:lnTo>
                      <a:lnTo>
                        <a:pt x="311" y="202"/>
                      </a:lnTo>
                      <a:lnTo>
                        <a:pt x="314" y="198"/>
                      </a:lnTo>
                      <a:lnTo>
                        <a:pt x="317" y="198"/>
                      </a:lnTo>
                      <a:lnTo>
                        <a:pt x="315" y="202"/>
                      </a:lnTo>
                      <a:lnTo>
                        <a:pt x="314" y="205"/>
                      </a:lnTo>
                      <a:lnTo>
                        <a:pt x="315" y="205"/>
                      </a:lnTo>
                      <a:lnTo>
                        <a:pt x="312" y="209"/>
                      </a:lnTo>
                      <a:lnTo>
                        <a:pt x="315" y="213"/>
                      </a:lnTo>
                      <a:lnTo>
                        <a:pt x="312" y="213"/>
                      </a:lnTo>
                      <a:lnTo>
                        <a:pt x="311" y="214"/>
                      </a:lnTo>
                      <a:lnTo>
                        <a:pt x="307" y="214"/>
                      </a:lnTo>
                      <a:lnTo>
                        <a:pt x="306" y="216"/>
                      </a:lnTo>
                      <a:lnTo>
                        <a:pt x="304" y="213"/>
                      </a:lnTo>
                      <a:lnTo>
                        <a:pt x="303" y="216"/>
                      </a:lnTo>
                      <a:lnTo>
                        <a:pt x="299" y="219"/>
                      </a:lnTo>
                      <a:lnTo>
                        <a:pt x="298" y="224"/>
                      </a:lnTo>
                      <a:lnTo>
                        <a:pt x="295" y="227"/>
                      </a:lnTo>
                      <a:lnTo>
                        <a:pt x="293" y="229"/>
                      </a:lnTo>
                      <a:lnTo>
                        <a:pt x="291" y="230"/>
                      </a:lnTo>
                      <a:lnTo>
                        <a:pt x="290" y="232"/>
                      </a:lnTo>
                      <a:lnTo>
                        <a:pt x="288" y="232"/>
                      </a:lnTo>
                      <a:lnTo>
                        <a:pt x="285" y="229"/>
                      </a:lnTo>
                      <a:lnTo>
                        <a:pt x="284" y="222"/>
                      </a:lnTo>
                      <a:lnTo>
                        <a:pt x="284" y="225"/>
                      </a:lnTo>
                      <a:lnTo>
                        <a:pt x="285" y="229"/>
                      </a:lnTo>
                      <a:lnTo>
                        <a:pt x="285" y="233"/>
                      </a:lnTo>
                      <a:lnTo>
                        <a:pt x="284" y="236"/>
                      </a:lnTo>
                      <a:lnTo>
                        <a:pt x="280" y="238"/>
                      </a:lnTo>
                      <a:lnTo>
                        <a:pt x="277" y="240"/>
                      </a:lnTo>
                      <a:lnTo>
                        <a:pt x="277" y="243"/>
                      </a:lnTo>
                      <a:lnTo>
                        <a:pt x="276" y="246"/>
                      </a:lnTo>
                      <a:lnTo>
                        <a:pt x="269" y="251"/>
                      </a:lnTo>
                      <a:lnTo>
                        <a:pt x="266" y="254"/>
                      </a:lnTo>
                      <a:lnTo>
                        <a:pt x="269" y="252"/>
                      </a:lnTo>
                      <a:lnTo>
                        <a:pt x="272" y="254"/>
                      </a:lnTo>
                      <a:lnTo>
                        <a:pt x="274" y="259"/>
                      </a:lnTo>
                      <a:lnTo>
                        <a:pt x="274" y="262"/>
                      </a:lnTo>
                      <a:lnTo>
                        <a:pt x="271" y="265"/>
                      </a:lnTo>
                      <a:lnTo>
                        <a:pt x="268" y="268"/>
                      </a:lnTo>
                      <a:lnTo>
                        <a:pt x="271" y="270"/>
                      </a:lnTo>
                      <a:lnTo>
                        <a:pt x="276" y="268"/>
                      </a:lnTo>
                      <a:lnTo>
                        <a:pt x="279" y="270"/>
                      </a:lnTo>
                      <a:lnTo>
                        <a:pt x="279" y="273"/>
                      </a:lnTo>
                      <a:lnTo>
                        <a:pt x="279" y="274"/>
                      </a:lnTo>
                      <a:lnTo>
                        <a:pt x="277" y="278"/>
                      </a:lnTo>
                      <a:lnTo>
                        <a:pt x="276" y="281"/>
                      </a:lnTo>
                      <a:lnTo>
                        <a:pt x="274" y="284"/>
                      </a:lnTo>
                      <a:lnTo>
                        <a:pt x="271" y="282"/>
                      </a:lnTo>
                      <a:lnTo>
                        <a:pt x="268" y="282"/>
                      </a:lnTo>
                      <a:lnTo>
                        <a:pt x="269" y="287"/>
                      </a:lnTo>
                      <a:lnTo>
                        <a:pt x="269" y="290"/>
                      </a:lnTo>
                      <a:lnTo>
                        <a:pt x="269" y="294"/>
                      </a:lnTo>
                      <a:lnTo>
                        <a:pt x="269" y="297"/>
                      </a:lnTo>
                      <a:lnTo>
                        <a:pt x="268" y="301"/>
                      </a:lnTo>
                      <a:lnTo>
                        <a:pt x="265" y="301"/>
                      </a:lnTo>
                      <a:lnTo>
                        <a:pt x="261" y="298"/>
                      </a:lnTo>
                      <a:lnTo>
                        <a:pt x="260" y="301"/>
                      </a:lnTo>
                      <a:lnTo>
                        <a:pt x="263" y="305"/>
                      </a:lnTo>
                      <a:lnTo>
                        <a:pt x="265" y="308"/>
                      </a:lnTo>
                      <a:lnTo>
                        <a:pt x="261" y="309"/>
                      </a:lnTo>
                      <a:lnTo>
                        <a:pt x="260" y="313"/>
                      </a:lnTo>
                      <a:lnTo>
                        <a:pt x="258" y="317"/>
                      </a:lnTo>
                      <a:lnTo>
                        <a:pt x="255" y="320"/>
                      </a:lnTo>
                      <a:lnTo>
                        <a:pt x="255" y="324"/>
                      </a:lnTo>
                      <a:lnTo>
                        <a:pt x="253" y="327"/>
                      </a:lnTo>
                      <a:lnTo>
                        <a:pt x="250" y="328"/>
                      </a:lnTo>
                      <a:lnTo>
                        <a:pt x="245" y="332"/>
                      </a:lnTo>
                      <a:lnTo>
                        <a:pt x="242" y="333"/>
                      </a:lnTo>
                      <a:lnTo>
                        <a:pt x="225" y="341"/>
                      </a:lnTo>
                      <a:lnTo>
                        <a:pt x="207" y="351"/>
                      </a:lnTo>
                      <a:lnTo>
                        <a:pt x="204" y="349"/>
                      </a:lnTo>
                      <a:lnTo>
                        <a:pt x="204" y="344"/>
                      </a:lnTo>
                      <a:lnTo>
                        <a:pt x="204" y="341"/>
                      </a:lnTo>
                      <a:lnTo>
                        <a:pt x="204" y="338"/>
                      </a:lnTo>
                      <a:lnTo>
                        <a:pt x="204" y="335"/>
                      </a:lnTo>
                      <a:lnTo>
                        <a:pt x="204" y="330"/>
                      </a:lnTo>
                      <a:lnTo>
                        <a:pt x="204" y="327"/>
                      </a:lnTo>
                      <a:lnTo>
                        <a:pt x="201" y="324"/>
                      </a:lnTo>
                      <a:lnTo>
                        <a:pt x="203" y="320"/>
                      </a:lnTo>
                      <a:lnTo>
                        <a:pt x="203" y="317"/>
                      </a:lnTo>
                      <a:lnTo>
                        <a:pt x="201" y="319"/>
                      </a:lnTo>
                      <a:lnTo>
                        <a:pt x="198" y="322"/>
                      </a:lnTo>
                      <a:lnTo>
                        <a:pt x="195" y="320"/>
                      </a:lnTo>
                      <a:lnTo>
                        <a:pt x="193" y="319"/>
                      </a:lnTo>
                      <a:lnTo>
                        <a:pt x="195" y="316"/>
                      </a:lnTo>
                      <a:lnTo>
                        <a:pt x="196" y="311"/>
                      </a:lnTo>
                      <a:lnTo>
                        <a:pt x="195" y="314"/>
                      </a:lnTo>
                      <a:lnTo>
                        <a:pt x="192" y="317"/>
                      </a:lnTo>
                      <a:lnTo>
                        <a:pt x="187" y="317"/>
                      </a:lnTo>
                      <a:lnTo>
                        <a:pt x="187" y="314"/>
                      </a:lnTo>
                      <a:lnTo>
                        <a:pt x="187" y="311"/>
                      </a:lnTo>
                      <a:lnTo>
                        <a:pt x="187" y="314"/>
                      </a:lnTo>
                      <a:lnTo>
                        <a:pt x="184" y="317"/>
                      </a:lnTo>
                      <a:lnTo>
                        <a:pt x="180" y="320"/>
                      </a:lnTo>
                      <a:lnTo>
                        <a:pt x="176" y="322"/>
                      </a:lnTo>
                      <a:lnTo>
                        <a:pt x="173" y="322"/>
                      </a:lnTo>
                      <a:lnTo>
                        <a:pt x="169" y="320"/>
                      </a:lnTo>
                      <a:lnTo>
                        <a:pt x="171" y="317"/>
                      </a:lnTo>
                      <a:lnTo>
                        <a:pt x="171" y="313"/>
                      </a:lnTo>
                      <a:lnTo>
                        <a:pt x="168" y="309"/>
                      </a:lnTo>
                      <a:lnTo>
                        <a:pt x="163" y="311"/>
                      </a:lnTo>
                      <a:lnTo>
                        <a:pt x="160" y="313"/>
                      </a:lnTo>
                      <a:lnTo>
                        <a:pt x="158" y="309"/>
                      </a:lnTo>
                      <a:lnTo>
                        <a:pt x="160" y="313"/>
                      </a:lnTo>
                      <a:lnTo>
                        <a:pt x="155" y="309"/>
                      </a:lnTo>
                      <a:lnTo>
                        <a:pt x="155" y="306"/>
                      </a:lnTo>
                      <a:lnTo>
                        <a:pt x="150" y="303"/>
                      </a:lnTo>
                      <a:lnTo>
                        <a:pt x="149" y="300"/>
                      </a:lnTo>
                      <a:lnTo>
                        <a:pt x="149" y="303"/>
                      </a:lnTo>
                      <a:lnTo>
                        <a:pt x="146" y="308"/>
                      </a:lnTo>
                      <a:lnTo>
                        <a:pt x="146" y="311"/>
                      </a:lnTo>
                      <a:lnTo>
                        <a:pt x="139" y="314"/>
                      </a:lnTo>
                      <a:lnTo>
                        <a:pt x="138" y="317"/>
                      </a:lnTo>
                      <a:lnTo>
                        <a:pt x="134" y="319"/>
                      </a:lnTo>
                      <a:lnTo>
                        <a:pt x="128" y="319"/>
                      </a:lnTo>
                      <a:lnTo>
                        <a:pt x="125" y="317"/>
                      </a:lnTo>
                      <a:lnTo>
                        <a:pt x="122" y="316"/>
                      </a:lnTo>
                      <a:lnTo>
                        <a:pt x="120" y="316"/>
                      </a:lnTo>
                      <a:lnTo>
                        <a:pt x="117" y="316"/>
                      </a:lnTo>
                      <a:lnTo>
                        <a:pt x="112" y="320"/>
                      </a:lnTo>
                      <a:lnTo>
                        <a:pt x="108" y="325"/>
                      </a:lnTo>
                      <a:lnTo>
                        <a:pt x="104" y="322"/>
                      </a:lnTo>
                      <a:lnTo>
                        <a:pt x="106" y="319"/>
                      </a:lnTo>
                      <a:lnTo>
                        <a:pt x="106" y="316"/>
                      </a:lnTo>
                      <a:lnTo>
                        <a:pt x="104" y="313"/>
                      </a:lnTo>
                      <a:lnTo>
                        <a:pt x="104" y="308"/>
                      </a:lnTo>
                      <a:lnTo>
                        <a:pt x="106" y="305"/>
                      </a:lnTo>
                      <a:lnTo>
                        <a:pt x="104" y="301"/>
                      </a:lnTo>
                      <a:lnTo>
                        <a:pt x="103" y="298"/>
                      </a:lnTo>
                      <a:lnTo>
                        <a:pt x="101" y="295"/>
                      </a:lnTo>
                      <a:lnTo>
                        <a:pt x="100" y="298"/>
                      </a:lnTo>
                      <a:lnTo>
                        <a:pt x="98" y="301"/>
                      </a:lnTo>
                      <a:lnTo>
                        <a:pt x="95" y="303"/>
                      </a:lnTo>
                      <a:lnTo>
                        <a:pt x="92" y="300"/>
                      </a:lnTo>
                      <a:lnTo>
                        <a:pt x="88" y="300"/>
                      </a:lnTo>
                      <a:lnTo>
                        <a:pt x="84" y="301"/>
                      </a:lnTo>
                      <a:lnTo>
                        <a:pt x="81" y="303"/>
                      </a:lnTo>
                      <a:lnTo>
                        <a:pt x="77" y="306"/>
                      </a:lnTo>
                      <a:lnTo>
                        <a:pt x="74" y="306"/>
                      </a:lnTo>
                      <a:lnTo>
                        <a:pt x="69" y="305"/>
                      </a:lnTo>
                      <a:lnTo>
                        <a:pt x="66" y="303"/>
                      </a:lnTo>
                      <a:lnTo>
                        <a:pt x="69" y="300"/>
                      </a:lnTo>
                      <a:lnTo>
                        <a:pt x="71" y="298"/>
                      </a:lnTo>
                      <a:lnTo>
                        <a:pt x="68" y="300"/>
                      </a:lnTo>
                      <a:lnTo>
                        <a:pt x="65" y="303"/>
                      </a:lnTo>
                      <a:lnTo>
                        <a:pt x="62" y="305"/>
                      </a:lnTo>
                      <a:lnTo>
                        <a:pt x="62" y="301"/>
                      </a:lnTo>
                      <a:lnTo>
                        <a:pt x="60" y="297"/>
                      </a:lnTo>
                      <a:lnTo>
                        <a:pt x="57" y="298"/>
                      </a:lnTo>
                      <a:lnTo>
                        <a:pt x="52" y="300"/>
                      </a:lnTo>
                      <a:lnTo>
                        <a:pt x="49" y="303"/>
                      </a:lnTo>
                      <a:lnTo>
                        <a:pt x="47" y="300"/>
                      </a:lnTo>
                      <a:lnTo>
                        <a:pt x="47" y="297"/>
                      </a:lnTo>
                      <a:lnTo>
                        <a:pt x="47" y="292"/>
                      </a:lnTo>
                      <a:lnTo>
                        <a:pt x="47" y="289"/>
                      </a:lnTo>
                      <a:lnTo>
                        <a:pt x="47" y="286"/>
                      </a:lnTo>
                      <a:lnTo>
                        <a:pt x="47" y="282"/>
                      </a:lnTo>
                      <a:lnTo>
                        <a:pt x="46" y="278"/>
                      </a:lnTo>
                      <a:lnTo>
                        <a:pt x="46" y="274"/>
                      </a:lnTo>
                      <a:lnTo>
                        <a:pt x="44" y="271"/>
                      </a:lnTo>
                      <a:lnTo>
                        <a:pt x="44" y="268"/>
                      </a:lnTo>
                      <a:lnTo>
                        <a:pt x="46" y="263"/>
                      </a:lnTo>
                      <a:lnTo>
                        <a:pt x="44" y="260"/>
                      </a:lnTo>
                      <a:lnTo>
                        <a:pt x="41" y="257"/>
                      </a:lnTo>
                      <a:lnTo>
                        <a:pt x="38" y="255"/>
                      </a:lnTo>
                      <a:lnTo>
                        <a:pt x="38" y="252"/>
                      </a:lnTo>
                      <a:lnTo>
                        <a:pt x="41" y="251"/>
                      </a:lnTo>
                      <a:lnTo>
                        <a:pt x="41" y="249"/>
                      </a:lnTo>
                      <a:lnTo>
                        <a:pt x="42" y="246"/>
                      </a:lnTo>
                      <a:lnTo>
                        <a:pt x="42" y="243"/>
                      </a:lnTo>
                      <a:lnTo>
                        <a:pt x="42" y="240"/>
                      </a:lnTo>
                      <a:lnTo>
                        <a:pt x="42" y="236"/>
                      </a:lnTo>
                      <a:lnTo>
                        <a:pt x="41" y="232"/>
                      </a:lnTo>
                      <a:lnTo>
                        <a:pt x="38" y="229"/>
                      </a:lnTo>
                      <a:lnTo>
                        <a:pt x="38" y="225"/>
                      </a:lnTo>
                      <a:lnTo>
                        <a:pt x="35" y="224"/>
                      </a:lnTo>
                      <a:lnTo>
                        <a:pt x="31" y="219"/>
                      </a:lnTo>
                      <a:lnTo>
                        <a:pt x="31" y="216"/>
                      </a:lnTo>
                      <a:lnTo>
                        <a:pt x="28" y="219"/>
                      </a:lnTo>
                      <a:lnTo>
                        <a:pt x="25" y="216"/>
                      </a:lnTo>
                      <a:lnTo>
                        <a:pt x="22" y="214"/>
                      </a:lnTo>
                      <a:lnTo>
                        <a:pt x="19" y="217"/>
                      </a:lnTo>
                      <a:lnTo>
                        <a:pt x="16" y="216"/>
                      </a:lnTo>
                      <a:lnTo>
                        <a:pt x="14" y="213"/>
                      </a:lnTo>
                      <a:lnTo>
                        <a:pt x="17" y="208"/>
                      </a:lnTo>
                      <a:lnTo>
                        <a:pt x="20" y="209"/>
                      </a:lnTo>
                      <a:lnTo>
                        <a:pt x="23" y="209"/>
                      </a:lnTo>
                      <a:lnTo>
                        <a:pt x="20" y="208"/>
                      </a:lnTo>
                      <a:lnTo>
                        <a:pt x="17" y="203"/>
                      </a:lnTo>
                      <a:lnTo>
                        <a:pt x="14" y="203"/>
                      </a:lnTo>
                      <a:lnTo>
                        <a:pt x="11" y="203"/>
                      </a:lnTo>
                      <a:lnTo>
                        <a:pt x="9" y="198"/>
                      </a:lnTo>
                      <a:lnTo>
                        <a:pt x="9" y="195"/>
                      </a:lnTo>
                      <a:lnTo>
                        <a:pt x="9" y="192"/>
                      </a:lnTo>
                      <a:lnTo>
                        <a:pt x="9" y="189"/>
                      </a:lnTo>
                      <a:lnTo>
                        <a:pt x="12" y="189"/>
                      </a:lnTo>
                      <a:lnTo>
                        <a:pt x="12" y="187"/>
                      </a:lnTo>
                      <a:lnTo>
                        <a:pt x="12" y="184"/>
                      </a:lnTo>
                      <a:lnTo>
                        <a:pt x="11" y="179"/>
                      </a:lnTo>
                      <a:lnTo>
                        <a:pt x="14" y="179"/>
                      </a:lnTo>
                      <a:lnTo>
                        <a:pt x="12" y="176"/>
                      </a:lnTo>
                      <a:lnTo>
                        <a:pt x="9" y="171"/>
                      </a:lnTo>
                      <a:lnTo>
                        <a:pt x="8" y="168"/>
                      </a:lnTo>
                      <a:lnTo>
                        <a:pt x="4" y="168"/>
                      </a:lnTo>
                      <a:lnTo>
                        <a:pt x="3" y="163"/>
                      </a:lnTo>
                      <a:lnTo>
                        <a:pt x="3" y="160"/>
                      </a:lnTo>
                      <a:lnTo>
                        <a:pt x="3" y="157"/>
                      </a:lnTo>
                      <a:lnTo>
                        <a:pt x="3" y="154"/>
                      </a:lnTo>
                      <a:lnTo>
                        <a:pt x="0" y="149"/>
                      </a:lnTo>
                      <a:lnTo>
                        <a:pt x="0" y="146"/>
                      </a:lnTo>
                      <a:lnTo>
                        <a:pt x="1" y="144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02" name="Freeform 93"/>
                <p:cNvSpPr>
                  <a:spLocks/>
                </p:cNvSpPr>
                <p:nvPr/>
              </p:nvSpPr>
              <p:spPr bwMode="auto">
                <a:xfrm>
                  <a:off x="4693" y="2556"/>
                  <a:ext cx="6" cy="16"/>
                </a:xfrm>
                <a:custGeom>
                  <a:avLst/>
                  <a:gdLst>
                    <a:gd name="T0" fmla="*/ 11 w 11"/>
                    <a:gd name="T1" fmla="*/ 1 h 31"/>
                    <a:gd name="T2" fmla="*/ 8 w 11"/>
                    <a:gd name="T3" fmla="*/ 0 h 31"/>
                    <a:gd name="T4" fmla="*/ 5 w 11"/>
                    <a:gd name="T5" fmla="*/ 3 h 31"/>
                    <a:gd name="T6" fmla="*/ 3 w 11"/>
                    <a:gd name="T7" fmla="*/ 7 h 31"/>
                    <a:gd name="T8" fmla="*/ 2 w 11"/>
                    <a:gd name="T9" fmla="*/ 11 h 31"/>
                    <a:gd name="T10" fmla="*/ 2 w 11"/>
                    <a:gd name="T11" fmla="*/ 14 h 31"/>
                    <a:gd name="T12" fmla="*/ 0 w 11"/>
                    <a:gd name="T13" fmla="*/ 17 h 31"/>
                    <a:gd name="T14" fmla="*/ 2 w 11"/>
                    <a:gd name="T15" fmla="*/ 20 h 31"/>
                    <a:gd name="T16" fmla="*/ 2 w 11"/>
                    <a:gd name="T17" fmla="*/ 25 h 31"/>
                    <a:gd name="T18" fmla="*/ 3 w 11"/>
                    <a:gd name="T19" fmla="*/ 28 h 31"/>
                    <a:gd name="T20" fmla="*/ 5 w 11"/>
                    <a:gd name="T21" fmla="*/ 31 h 31"/>
                    <a:gd name="T22" fmla="*/ 8 w 11"/>
                    <a:gd name="T23" fmla="*/ 28 h 31"/>
                    <a:gd name="T24" fmla="*/ 11 w 11"/>
                    <a:gd name="T25" fmla="*/ 27 h 31"/>
                    <a:gd name="T26" fmla="*/ 11 w 11"/>
                    <a:gd name="T27" fmla="*/ 22 h 31"/>
                    <a:gd name="T28" fmla="*/ 11 w 11"/>
                    <a:gd name="T29" fmla="*/ 19 h 31"/>
                    <a:gd name="T30" fmla="*/ 11 w 11"/>
                    <a:gd name="T31" fmla="*/ 15 h 31"/>
                    <a:gd name="T32" fmla="*/ 10 w 11"/>
                    <a:gd name="T33" fmla="*/ 12 h 31"/>
                    <a:gd name="T34" fmla="*/ 11 w 11"/>
                    <a:gd name="T35" fmla="*/ 7 h 31"/>
                    <a:gd name="T36" fmla="*/ 10 w 11"/>
                    <a:gd name="T37" fmla="*/ 4 h 31"/>
                    <a:gd name="T38" fmla="*/ 11 w 11"/>
                    <a:gd name="T39" fmla="*/ 1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1" h="31">
                      <a:moveTo>
                        <a:pt x="11" y="1"/>
                      </a:moveTo>
                      <a:lnTo>
                        <a:pt x="8" y="0"/>
                      </a:lnTo>
                      <a:lnTo>
                        <a:pt x="5" y="3"/>
                      </a:lnTo>
                      <a:lnTo>
                        <a:pt x="3" y="7"/>
                      </a:lnTo>
                      <a:lnTo>
                        <a:pt x="2" y="11"/>
                      </a:lnTo>
                      <a:lnTo>
                        <a:pt x="2" y="14"/>
                      </a:lnTo>
                      <a:lnTo>
                        <a:pt x="0" y="17"/>
                      </a:lnTo>
                      <a:lnTo>
                        <a:pt x="2" y="20"/>
                      </a:lnTo>
                      <a:lnTo>
                        <a:pt x="2" y="25"/>
                      </a:lnTo>
                      <a:lnTo>
                        <a:pt x="3" y="28"/>
                      </a:lnTo>
                      <a:lnTo>
                        <a:pt x="5" y="31"/>
                      </a:lnTo>
                      <a:lnTo>
                        <a:pt x="8" y="28"/>
                      </a:lnTo>
                      <a:lnTo>
                        <a:pt x="11" y="27"/>
                      </a:lnTo>
                      <a:lnTo>
                        <a:pt x="11" y="22"/>
                      </a:lnTo>
                      <a:lnTo>
                        <a:pt x="11" y="19"/>
                      </a:lnTo>
                      <a:lnTo>
                        <a:pt x="11" y="15"/>
                      </a:lnTo>
                      <a:lnTo>
                        <a:pt x="10" y="12"/>
                      </a:lnTo>
                      <a:lnTo>
                        <a:pt x="11" y="7"/>
                      </a:lnTo>
                      <a:lnTo>
                        <a:pt x="10" y="4"/>
                      </a:lnTo>
                      <a:lnTo>
                        <a:pt x="11" y="1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03" name="Freeform 94"/>
                <p:cNvSpPr>
                  <a:spLocks/>
                </p:cNvSpPr>
                <p:nvPr/>
              </p:nvSpPr>
              <p:spPr bwMode="auto">
                <a:xfrm>
                  <a:off x="4316" y="2374"/>
                  <a:ext cx="198" cy="237"/>
                </a:xfrm>
                <a:custGeom>
                  <a:avLst/>
                  <a:gdLst>
                    <a:gd name="T0" fmla="*/ 65 w 395"/>
                    <a:gd name="T1" fmla="*/ 16 h 474"/>
                    <a:gd name="T2" fmla="*/ 36 w 395"/>
                    <a:gd name="T3" fmla="*/ 17 h 474"/>
                    <a:gd name="T4" fmla="*/ 11 w 395"/>
                    <a:gd name="T5" fmla="*/ 3 h 474"/>
                    <a:gd name="T6" fmla="*/ 1 w 395"/>
                    <a:gd name="T7" fmla="*/ 17 h 474"/>
                    <a:gd name="T8" fmla="*/ 31 w 395"/>
                    <a:gd name="T9" fmla="*/ 60 h 474"/>
                    <a:gd name="T10" fmla="*/ 52 w 395"/>
                    <a:gd name="T11" fmla="*/ 79 h 474"/>
                    <a:gd name="T12" fmla="*/ 73 w 395"/>
                    <a:gd name="T13" fmla="*/ 95 h 474"/>
                    <a:gd name="T14" fmla="*/ 90 w 395"/>
                    <a:gd name="T15" fmla="*/ 116 h 474"/>
                    <a:gd name="T16" fmla="*/ 101 w 395"/>
                    <a:gd name="T17" fmla="*/ 139 h 474"/>
                    <a:gd name="T18" fmla="*/ 125 w 395"/>
                    <a:gd name="T19" fmla="*/ 154 h 474"/>
                    <a:gd name="T20" fmla="*/ 134 w 395"/>
                    <a:gd name="T21" fmla="*/ 176 h 474"/>
                    <a:gd name="T22" fmla="*/ 142 w 395"/>
                    <a:gd name="T23" fmla="*/ 200 h 474"/>
                    <a:gd name="T24" fmla="*/ 150 w 395"/>
                    <a:gd name="T25" fmla="*/ 223 h 474"/>
                    <a:gd name="T26" fmla="*/ 169 w 395"/>
                    <a:gd name="T27" fmla="*/ 239 h 474"/>
                    <a:gd name="T28" fmla="*/ 185 w 395"/>
                    <a:gd name="T29" fmla="*/ 261 h 474"/>
                    <a:gd name="T30" fmla="*/ 196 w 395"/>
                    <a:gd name="T31" fmla="*/ 285 h 474"/>
                    <a:gd name="T32" fmla="*/ 207 w 395"/>
                    <a:gd name="T33" fmla="*/ 311 h 474"/>
                    <a:gd name="T34" fmla="*/ 223 w 395"/>
                    <a:gd name="T35" fmla="*/ 342 h 474"/>
                    <a:gd name="T36" fmla="*/ 247 w 395"/>
                    <a:gd name="T37" fmla="*/ 374 h 474"/>
                    <a:gd name="T38" fmla="*/ 274 w 395"/>
                    <a:gd name="T39" fmla="*/ 409 h 474"/>
                    <a:gd name="T40" fmla="*/ 311 w 395"/>
                    <a:gd name="T41" fmla="*/ 437 h 474"/>
                    <a:gd name="T42" fmla="*/ 326 w 395"/>
                    <a:gd name="T43" fmla="*/ 463 h 474"/>
                    <a:gd name="T44" fmla="*/ 341 w 395"/>
                    <a:gd name="T45" fmla="*/ 474 h 474"/>
                    <a:gd name="T46" fmla="*/ 344 w 395"/>
                    <a:gd name="T47" fmla="*/ 460 h 474"/>
                    <a:gd name="T48" fmla="*/ 361 w 395"/>
                    <a:gd name="T49" fmla="*/ 458 h 474"/>
                    <a:gd name="T50" fmla="*/ 380 w 395"/>
                    <a:gd name="T51" fmla="*/ 471 h 474"/>
                    <a:gd name="T52" fmla="*/ 387 w 395"/>
                    <a:gd name="T53" fmla="*/ 433 h 474"/>
                    <a:gd name="T54" fmla="*/ 390 w 395"/>
                    <a:gd name="T55" fmla="*/ 388 h 474"/>
                    <a:gd name="T56" fmla="*/ 395 w 395"/>
                    <a:gd name="T57" fmla="*/ 365 h 474"/>
                    <a:gd name="T58" fmla="*/ 382 w 395"/>
                    <a:gd name="T59" fmla="*/ 341 h 474"/>
                    <a:gd name="T60" fmla="*/ 366 w 395"/>
                    <a:gd name="T61" fmla="*/ 328 h 474"/>
                    <a:gd name="T62" fmla="*/ 353 w 395"/>
                    <a:gd name="T63" fmla="*/ 325 h 474"/>
                    <a:gd name="T64" fmla="*/ 347 w 395"/>
                    <a:gd name="T65" fmla="*/ 334 h 474"/>
                    <a:gd name="T66" fmla="*/ 353 w 395"/>
                    <a:gd name="T67" fmla="*/ 317 h 474"/>
                    <a:gd name="T68" fmla="*/ 337 w 395"/>
                    <a:gd name="T69" fmla="*/ 292 h 474"/>
                    <a:gd name="T70" fmla="*/ 330 w 395"/>
                    <a:gd name="T71" fmla="*/ 276 h 474"/>
                    <a:gd name="T72" fmla="*/ 306 w 395"/>
                    <a:gd name="T73" fmla="*/ 266 h 474"/>
                    <a:gd name="T74" fmla="*/ 303 w 395"/>
                    <a:gd name="T75" fmla="*/ 252 h 474"/>
                    <a:gd name="T76" fmla="*/ 301 w 395"/>
                    <a:gd name="T77" fmla="*/ 242 h 474"/>
                    <a:gd name="T78" fmla="*/ 315 w 395"/>
                    <a:gd name="T79" fmla="*/ 231 h 474"/>
                    <a:gd name="T80" fmla="*/ 304 w 395"/>
                    <a:gd name="T81" fmla="*/ 212 h 474"/>
                    <a:gd name="T82" fmla="*/ 279 w 395"/>
                    <a:gd name="T83" fmla="*/ 222 h 474"/>
                    <a:gd name="T84" fmla="*/ 276 w 395"/>
                    <a:gd name="T85" fmla="*/ 222 h 474"/>
                    <a:gd name="T86" fmla="*/ 280 w 395"/>
                    <a:gd name="T87" fmla="*/ 201 h 474"/>
                    <a:gd name="T88" fmla="*/ 257 w 395"/>
                    <a:gd name="T89" fmla="*/ 189 h 474"/>
                    <a:gd name="T90" fmla="*/ 245 w 395"/>
                    <a:gd name="T91" fmla="*/ 168 h 474"/>
                    <a:gd name="T92" fmla="*/ 225 w 395"/>
                    <a:gd name="T93" fmla="*/ 154 h 474"/>
                    <a:gd name="T94" fmla="*/ 206 w 395"/>
                    <a:gd name="T95" fmla="*/ 139 h 474"/>
                    <a:gd name="T96" fmla="*/ 209 w 395"/>
                    <a:gd name="T97" fmla="*/ 152 h 474"/>
                    <a:gd name="T98" fmla="*/ 180 w 395"/>
                    <a:gd name="T99" fmla="*/ 125 h 474"/>
                    <a:gd name="T100" fmla="*/ 176 w 395"/>
                    <a:gd name="T101" fmla="*/ 120 h 474"/>
                    <a:gd name="T102" fmla="*/ 165 w 395"/>
                    <a:gd name="T103" fmla="*/ 101 h 474"/>
                    <a:gd name="T104" fmla="*/ 142 w 395"/>
                    <a:gd name="T105" fmla="*/ 84 h 474"/>
                    <a:gd name="T106" fmla="*/ 120 w 395"/>
                    <a:gd name="T107" fmla="*/ 68 h 474"/>
                    <a:gd name="T108" fmla="*/ 109 w 395"/>
                    <a:gd name="T109" fmla="*/ 47 h 474"/>
                    <a:gd name="T110" fmla="*/ 82 w 395"/>
                    <a:gd name="T111" fmla="*/ 17 h 4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395" h="474">
                      <a:moveTo>
                        <a:pt x="82" y="17"/>
                      </a:moveTo>
                      <a:lnTo>
                        <a:pt x="82" y="17"/>
                      </a:lnTo>
                      <a:lnTo>
                        <a:pt x="77" y="19"/>
                      </a:lnTo>
                      <a:lnTo>
                        <a:pt x="74" y="20"/>
                      </a:lnTo>
                      <a:lnTo>
                        <a:pt x="71" y="20"/>
                      </a:lnTo>
                      <a:lnTo>
                        <a:pt x="68" y="17"/>
                      </a:lnTo>
                      <a:lnTo>
                        <a:pt x="65" y="16"/>
                      </a:lnTo>
                      <a:lnTo>
                        <a:pt x="60" y="17"/>
                      </a:lnTo>
                      <a:lnTo>
                        <a:pt x="57" y="16"/>
                      </a:lnTo>
                      <a:lnTo>
                        <a:pt x="54" y="17"/>
                      </a:lnTo>
                      <a:lnTo>
                        <a:pt x="50" y="19"/>
                      </a:lnTo>
                      <a:lnTo>
                        <a:pt x="44" y="19"/>
                      </a:lnTo>
                      <a:lnTo>
                        <a:pt x="39" y="17"/>
                      </a:lnTo>
                      <a:lnTo>
                        <a:pt x="36" y="17"/>
                      </a:lnTo>
                      <a:lnTo>
                        <a:pt x="33" y="16"/>
                      </a:lnTo>
                      <a:lnTo>
                        <a:pt x="30" y="13"/>
                      </a:lnTo>
                      <a:lnTo>
                        <a:pt x="25" y="9"/>
                      </a:lnTo>
                      <a:lnTo>
                        <a:pt x="25" y="6"/>
                      </a:lnTo>
                      <a:lnTo>
                        <a:pt x="20" y="5"/>
                      </a:lnTo>
                      <a:lnTo>
                        <a:pt x="14" y="1"/>
                      </a:lnTo>
                      <a:lnTo>
                        <a:pt x="11" y="3"/>
                      </a:lnTo>
                      <a:lnTo>
                        <a:pt x="6" y="0"/>
                      </a:lnTo>
                      <a:lnTo>
                        <a:pt x="3" y="3"/>
                      </a:lnTo>
                      <a:lnTo>
                        <a:pt x="0" y="5"/>
                      </a:lnTo>
                      <a:lnTo>
                        <a:pt x="0" y="8"/>
                      </a:lnTo>
                      <a:lnTo>
                        <a:pt x="1" y="11"/>
                      </a:lnTo>
                      <a:lnTo>
                        <a:pt x="0" y="14"/>
                      </a:lnTo>
                      <a:lnTo>
                        <a:pt x="1" y="17"/>
                      </a:lnTo>
                      <a:lnTo>
                        <a:pt x="3" y="22"/>
                      </a:lnTo>
                      <a:lnTo>
                        <a:pt x="4" y="25"/>
                      </a:lnTo>
                      <a:lnTo>
                        <a:pt x="6" y="28"/>
                      </a:lnTo>
                      <a:lnTo>
                        <a:pt x="14" y="41"/>
                      </a:lnTo>
                      <a:lnTo>
                        <a:pt x="25" y="52"/>
                      </a:lnTo>
                      <a:lnTo>
                        <a:pt x="28" y="55"/>
                      </a:lnTo>
                      <a:lnTo>
                        <a:pt x="31" y="60"/>
                      </a:lnTo>
                      <a:lnTo>
                        <a:pt x="35" y="62"/>
                      </a:lnTo>
                      <a:lnTo>
                        <a:pt x="38" y="65"/>
                      </a:lnTo>
                      <a:lnTo>
                        <a:pt x="41" y="68"/>
                      </a:lnTo>
                      <a:lnTo>
                        <a:pt x="42" y="71"/>
                      </a:lnTo>
                      <a:lnTo>
                        <a:pt x="46" y="74"/>
                      </a:lnTo>
                      <a:lnTo>
                        <a:pt x="49" y="78"/>
                      </a:lnTo>
                      <a:lnTo>
                        <a:pt x="52" y="79"/>
                      </a:lnTo>
                      <a:lnTo>
                        <a:pt x="55" y="78"/>
                      </a:lnTo>
                      <a:lnTo>
                        <a:pt x="60" y="79"/>
                      </a:lnTo>
                      <a:lnTo>
                        <a:pt x="63" y="82"/>
                      </a:lnTo>
                      <a:lnTo>
                        <a:pt x="65" y="85"/>
                      </a:lnTo>
                      <a:lnTo>
                        <a:pt x="68" y="89"/>
                      </a:lnTo>
                      <a:lnTo>
                        <a:pt x="69" y="92"/>
                      </a:lnTo>
                      <a:lnTo>
                        <a:pt x="73" y="95"/>
                      </a:lnTo>
                      <a:lnTo>
                        <a:pt x="74" y="100"/>
                      </a:lnTo>
                      <a:lnTo>
                        <a:pt x="77" y="101"/>
                      </a:lnTo>
                      <a:lnTo>
                        <a:pt x="79" y="104"/>
                      </a:lnTo>
                      <a:lnTo>
                        <a:pt x="81" y="109"/>
                      </a:lnTo>
                      <a:lnTo>
                        <a:pt x="84" y="112"/>
                      </a:lnTo>
                      <a:lnTo>
                        <a:pt x="87" y="114"/>
                      </a:lnTo>
                      <a:lnTo>
                        <a:pt x="90" y="116"/>
                      </a:lnTo>
                      <a:lnTo>
                        <a:pt x="92" y="117"/>
                      </a:lnTo>
                      <a:lnTo>
                        <a:pt x="92" y="120"/>
                      </a:lnTo>
                      <a:lnTo>
                        <a:pt x="92" y="127"/>
                      </a:lnTo>
                      <a:lnTo>
                        <a:pt x="93" y="135"/>
                      </a:lnTo>
                      <a:lnTo>
                        <a:pt x="95" y="138"/>
                      </a:lnTo>
                      <a:lnTo>
                        <a:pt x="98" y="139"/>
                      </a:lnTo>
                      <a:lnTo>
                        <a:pt x="101" y="139"/>
                      </a:lnTo>
                      <a:lnTo>
                        <a:pt x="106" y="141"/>
                      </a:lnTo>
                      <a:lnTo>
                        <a:pt x="109" y="143"/>
                      </a:lnTo>
                      <a:lnTo>
                        <a:pt x="112" y="146"/>
                      </a:lnTo>
                      <a:lnTo>
                        <a:pt x="114" y="149"/>
                      </a:lnTo>
                      <a:lnTo>
                        <a:pt x="119" y="150"/>
                      </a:lnTo>
                      <a:lnTo>
                        <a:pt x="122" y="150"/>
                      </a:lnTo>
                      <a:lnTo>
                        <a:pt x="125" y="154"/>
                      </a:lnTo>
                      <a:lnTo>
                        <a:pt x="128" y="157"/>
                      </a:lnTo>
                      <a:lnTo>
                        <a:pt x="130" y="162"/>
                      </a:lnTo>
                      <a:lnTo>
                        <a:pt x="133" y="162"/>
                      </a:lnTo>
                      <a:lnTo>
                        <a:pt x="134" y="166"/>
                      </a:lnTo>
                      <a:lnTo>
                        <a:pt x="131" y="169"/>
                      </a:lnTo>
                      <a:lnTo>
                        <a:pt x="133" y="173"/>
                      </a:lnTo>
                      <a:lnTo>
                        <a:pt x="134" y="176"/>
                      </a:lnTo>
                      <a:lnTo>
                        <a:pt x="136" y="179"/>
                      </a:lnTo>
                      <a:lnTo>
                        <a:pt x="138" y="182"/>
                      </a:lnTo>
                      <a:lnTo>
                        <a:pt x="138" y="187"/>
                      </a:lnTo>
                      <a:lnTo>
                        <a:pt x="139" y="190"/>
                      </a:lnTo>
                      <a:lnTo>
                        <a:pt x="141" y="193"/>
                      </a:lnTo>
                      <a:lnTo>
                        <a:pt x="141" y="196"/>
                      </a:lnTo>
                      <a:lnTo>
                        <a:pt x="142" y="200"/>
                      </a:lnTo>
                      <a:lnTo>
                        <a:pt x="144" y="204"/>
                      </a:lnTo>
                      <a:lnTo>
                        <a:pt x="146" y="208"/>
                      </a:lnTo>
                      <a:lnTo>
                        <a:pt x="146" y="211"/>
                      </a:lnTo>
                      <a:lnTo>
                        <a:pt x="147" y="214"/>
                      </a:lnTo>
                      <a:lnTo>
                        <a:pt x="147" y="219"/>
                      </a:lnTo>
                      <a:lnTo>
                        <a:pt x="147" y="222"/>
                      </a:lnTo>
                      <a:lnTo>
                        <a:pt x="150" y="223"/>
                      </a:lnTo>
                      <a:lnTo>
                        <a:pt x="154" y="222"/>
                      </a:lnTo>
                      <a:lnTo>
                        <a:pt x="157" y="225"/>
                      </a:lnTo>
                      <a:lnTo>
                        <a:pt x="161" y="227"/>
                      </a:lnTo>
                      <a:lnTo>
                        <a:pt x="165" y="228"/>
                      </a:lnTo>
                      <a:lnTo>
                        <a:pt x="168" y="231"/>
                      </a:lnTo>
                      <a:lnTo>
                        <a:pt x="169" y="236"/>
                      </a:lnTo>
                      <a:lnTo>
                        <a:pt x="169" y="239"/>
                      </a:lnTo>
                      <a:lnTo>
                        <a:pt x="171" y="242"/>
                      </a:lnTo>
                      <a:lnTo>
                        <a:pt x="173" y="246"/>
                      </a:lnTo>
                      <a:lnTo>
                        <a:pt x="176" y="249"/>
                      </a:lnTo>
                      <a:lnTo>
                        <a:pt x="177" y="250"/>
                      </a:lnTo>
                      <a:lnTo>
                        <a:pt x="180" y="254"/>
                      </a:lnTo>
                      <a:lnTo>
                        <a:pt x="182" y="257"/>
                      </a:lnTo>
                      <a:lnTo>
                        <a:pt x="185" y="261"/>
                      </a:lnTo>
                      <a:lnTo>
                        <a:pt x="188" y="265"/>
                      </a:lnTo>
                      <a:lnTo>
                        <a:pt x="190" y="268"/>
                      </a:lnTo>
                      <a:lnTo>
                        <a:pt x="190" y="271"/>
                      </a:lnTo>
                      <a:lnTo>
                        <a:pt x="193" y="274"/>
                      </a:lnTo>
                      <a:lnTo>
                        <a:pt x="190" y="279"/>
                      </a:lnTo>
                      <a:lnTo>
                        <a:pt x="193" y="282"/>
                      </a:lnTo>
                      <a:lnTo>
                        <a:pt x="196" y="285"/>
                      </a:lnTo>
                      <a:lnTo>
                        <a:pt x="198" y="288"/>
                      </a:lnTo>
                      <a:lnTo>
                        <a:pt x="199" y="292"/>
                      </a:lnTo>
                      <a:lnTo>
                        <a:pt x="201" y="296"/>
                      </a:lnTo>
                      <a:lnTo>
                        <a:pt x="203" y="300"/>
                      </a:lnTo>
                      <a:lnTo>
                        <a:pt x="204" y="303"/>
                      </a:lnTo>
                      <a:lnTo>
                        <a:pt x="206" y="306"/>
                      </a:lnTo>
                      <a:lnTo>
                        <a:pt x="207" y="311"/>
                      </a:lnTo>
                      <a:lnTo>
                        <a:pt x="209" y="314"/>
                      </a:lnTo>
                      <a:lnTo>
                        <a:pt x="209" y="317"/>
                      </a:lnTo>
                      <a:lnTo>
                        <a:pt x="207" y="320"/>
                      </a:lnTo>
                      <a:lnTo>
                        <a:pt x="211" y="328"/>
                      </a:lnTo>
                      <a:lnTo>
                        <a:pt x="215" y="336"/>
                      </a:lnTo>
                      <a:lnTo>
                        <a:pt x="219" y="341"/>
                      </a:lnTo>
                      <a:lnTo>
                        <a:pt x="223" y="342"/>
                      </a:lnTo>
                      <a:lnTo>
                        <a:pt x="225" y="346"/>
                      </a:lnTo>
                      <a:lnTo>
                        <a:pt x="226" y="349"/>
                      </a:lnTo>
                      <a:lnTo>
                        <a:pt x="231" y="358"/>
                      </a:lnTo>
                      <a:lnTo>
                        <a:pt x="238" y="366"/>
                      </a:lnTo>
                      <a:lnTo>
                        <a:pt x="241" y="369"/>
                      </a:lnTo>
                      <a:lnTo>
                        <a:pt x="244" y="372"/>
                      </a:lnTo>
                      <a:lnTo>
                        <a:pt x="247" y="374"/>
                      </a:lnTo>
                      <a:lnTo>
                        <a:pt x="250" y="377"/>
                      </a:lnTo>
                      <a:lnTo>
                        <a:pt x="255" y="380"/>
                      </a:lnTo>
                      <a:lnTo>
                        <a:pt x="257" y="384"/>
                      </a:lnTo>
                      <a:lnTo>
                        <a:pt x="257" y="387"/>
                      </a:lnTo>
                      <a:lnTo>
                        <a:pt x="258" y="390"/>
                      </a:lnTo>
                      <a:lnTo>
                        <a:pt x="258" y="395"/>
                      </a:lnTo>
                      <a:lnTo>
                        <a:pt x="274" y="409"/>
                      </a:lnTo>
                      <a:lnTo>
                        <a:pt x="288" y="422"/>
                      </a:lnTo>
                      <a:lnTo>
                        <a:pt x="296" y="428"/>
                      </a:lnTo>
                      <a:lnTo>
                        <a:pt x="299" y="431"/>
                      </a:lnTo>
                      <a:lnTo>
                        <a:pt x="303" y="433"/>
                      </a:lnTo>
                      <a:lnTo>
                        <a:pt x="304" y="433"/>
                      </a:lnTo>
                      <a:lnTo>
                        <a:pt x="307" y="434"/>
                      </a:lnTo>
                      <a:lnTo>
                        <a:pt x="311" y="437"/>
                      </a:lnTo>
                      <a:lnTo>
                        <a:pt x="314" y="441"/>
                      </a:lnTo>
                      <a:lnTo>
                        <a:pt x="314" y="444"/>
                      </a:lnTo>
                      <a:lnTo>
                        <a:pt x="317" y="447"/>
                      </a:lnTo>
                      <a:lnTo>
                        <a:pt x="317" y="450"/>
                      </a:lnTo>
                      <a:lnTo>
                        <a:pt x="320" y="453"/>
                      </a:lnTo>
                      <a:lnTo>
                        <a:pt x="326" y="460"/>
                      </a:lnTo>
                      <a:lnTo>
                        <a:pt x="326" y="463"/>
                      </a:lnTo>
                      <a:lnTo>
                        <a:pt x="326" y="463"/>
                      </a:lnTo>
                      <a:lnTo>
                        <a:pt x="331" y="466"/>
                      </a:lnTo>
                      <a:lnTo>
                        <a:pt x="333" y="469"/>
                      </a:lnTo>
                      <a:lnTo>
                        <a:pt x="336" y="472"/>
                      </a:lnTo>
                      <a:lnTo>
                        <a:pt x="336" y="474"/>
                      </a:lnTo>
                      <a:lnTo>
                        <a:pt x="337" y="474"/>
                      </a:lnTo>
                      <a:lnTo>
                        <a:pt x="341" y="474"/>
                      </a:lnTo>
                      <a:lnTo>
                        <a:pt x="341" y="471"/>
                      </a:lnTo>
                      <a:lnTo>
                        <a:pt x="339" y="468"/>
                      </a:lnTo>
                      <a:lnTo>
                        <a:pt x="339" y="464"/>
                      </a:lnTo>
                      <a:lnTo>
                        <a:pt x="336" y="460"/>
                      </a:lnTo>
                      <a:lnTo>
                        <a:pt x="336" y="457"/>
                      </a:lnTo>
                      <a:lnTo>
                        <a:pt x="341" y="457"/>
                      </a:lnTo>
                      <a:lnTo>
                        <a:pt x="344" y="460"/>
                      </a:lnTo>
                      <a:lnTo>
                        <a:pt x="347" y="461"/>
                      </a:lnTo>
                      <a:lnTo>
                        <a:pt x="350" y="464"/>
                      </a:lnTo>
                      <a:lnTo>
                        <a:pt x="353" y="466"/>
                      </a:lnTo>
                      <a:lnTo>
                        <a:pt x="357" y="469"/>
                      </a:lnTo>
                      <a:lnTo>
                        <a:pt x="360" y="466"/>
                      </a:lnTo>
                      <a:lnTo>
                        <a:pt x="360" y="461"/>
                      </a:lnTo>
                      <a:lnTo>
                        <a:pt x="361" y="458"/>
                      </a:lnTo>
                      <a:lnTo>
                        <a:pt x="363" y="455"/>
                      </a:lnTo>
                      <a:lnTo>
                        <a:pt x="366" y="458"/>
                      </a:lnTo>
                      <a:lnTo>
                        <a:pt x="368" y="461"/>
                      </a:lnTo>
                      <a:lnTo>
                        <a:pt x="372" y="464"/>
                      </a:lnTo>
                      <a:lnTo>
                        <a:pt x="374" y="468"/>
                      </a:lnTo>
                      <a:lnTo>
                        <a:pt x="377" y="469"/>
                      </a:lnTo>
                      <a:lnTo>
                        <a:pt x="380" y="471"/>
                      </a:lnTo>
                      <a:lnTo>
                        <a:pt x="383" y="460"/>
                      </a:lnTo>
                      <a:lnTo>
                        <a:pt x="383" y="450"/>
                      </a:lnTo>
                      <a:lnTo>
                        <a:pt x="385" y="447"/>
                      </a:lnTo>
                      <a:lnTo>
                        <a:pt x="385" y="442"/>
                      </a:lnTo>
                      <a:lnTo>
                        <a:pt x="385" y="439"/>
                      </a:lnTo>
                      <a:lnTo>
                        <a:pt x="385" y="436"/>
                      </a:lnTo>
                      <a:lnTo>
                        <a:pt x="387" y="433"/>
                      </a:lnTo>
                      <a:lnTo>
                        <a:pt x="385" y="428"/>
                      </a:lnTo>
                      <a:lnTo>
                        <a:pt x="387" y="422"/>
                      </a:lnTo>
                      <a:lnTo>
                        <a:pt x="388" y="417"/>
                      </a:lnTo>
                      <a:lnTo>
                        <a:pt x="387" y="414"/>
                      </a:lnTo>
                      <a:lnTo>
                        <a:pt x="385" y="407"/>
                      </a:lnTo>
                      <a:lnTo>
                        <a:pt x="387" y="396"/>
                      </a:lnTo>
                      <a:lnTo>
                        <a:pt x="390" y="388"/>
                      </a:lnTo>
                      <a:lnTo>
                        <a:pt x="387" y="385"/>
                      </a:lnTo>
                      <a:lnTo>
                        <a:pt x="385" y="382"/>
                      </a:lnTo>
                      <a:lnTo>
                        <a:pt x="387" y="379"/>
                      </a:lnTo>
                      <a:lnTo>
                        <a:pt x="387" y="374"/>
                      </a:lnTo>
                      <a:lnTo>
                        <a:pt x="388" y="371"/>
                      </a:lnTo>
                      <a:lnTo>
                        <a:pt x="391" y="368"/>
                      </a:lnTo>
                      <a:lnTo>
                        <a:pt x="395" y="365"/>
                      </a:lnTo>
                      <a:lnTo>
                        <a:pt x="395" y="358"/>
                      </a:lnTo>
                      <a:lnTo>
                        <a:pt x="395" y="355"/>
                      </a:lnTo>
                      <a:lnTo>
                        <a:pt x="391" y="353"/>
                      </a:lnTo>
                      <a:lnTo>
                        <a:pt x="387" y="352"/>
                      </a:lnTo>
                      <a:lnTo>
                        <a:pt x="385" y="349"/>
                      </a:lnTo>
                      <a:lnTo>
                        <a:pt x="385" y="346"/>
                      </a:lnTo>
                      <a:lnTo>
                        <a:pt x="382" y="341"/>
                      </a:lnTo>
                      <a:lnTo>
                        <a:pt x="380" y="338"/>
                      </a:lnTo>
                      <a:lnTo>
                        <a:pt x="379" y="334"/>
                      </a:lnTo>
                      <a:lnTo>
                        <a:pt x="380" y="331"/>
                      </a:lnTo>
                      <a:lnTo>
                        <a:pt x="377" y="330"/>
                      </a:lnTo>
                      <a:lnTo>
                        <a:pt x="372" y="330"/>
                      </a:lnTo>
                      <a:lnTo>
                        <a:pt x="369" y="330"/>
                      </a:lnTo>
                      <a:lnTo>
                        <a:pt x="366" y="328"/>
                      </a:lnTo>
                      <a:lnTo>
                        <a:pt x="363" y="330"/>
                      </a:lnTo>
                      <a:lnTo>
                        <a:pt x="360" y="328"/>
                      </a:lnTo>
                      <a:lnTo>
                        <a:pt x="358" y="330"/>
                      </a:lnTo>
                      <a:lnTo>
                        <a:pt x="355" y="326"/>
                      </a:lnTo>
                      <a:lnTo>
                        <a:pt x="355" y="330"/>
                      </a:lnTo>
                      <a:lnTo>
                        <a:pt x="355" y="328"/>
                      </a:lnTo>
                      <a:lnTo>
                        <a:pt x="353" y="325"/>
                      </a:lnTo>
                      <a:lnTo>
                        <a:pt x="349" y="331"/>
                      </a:lnTo>
                      <a:lnTo>
                        <a:pt x="349" y="334"/>
                      </a:lnTo>
                      <a:lnTo>
                        <a:pt x="347" y="338"/>
                      </a:lnTo>
                      <a:lnTo>
                        <a:pt x="342" y="342"/>
                      </a:lnTo>
                      <a:lnTo>
                        <a:pt x="344" y="339"/>
                      </a:lnTo>
                      <a:lnTo>
                        <a:pt x="345" y="338"/>
                      </a:lnTo>
                      <a:lnTo>
                        <a:pt x="347" y="334"/>
                      </a:lnTo>
                      <a:lnTo>
                        <a:pt x="347" y="331"/>
                      </a:lnTo>
                      <a:lnTo>
                        <a:pt x="344" y="330"/>
                      </a:lnTo>
                      <a:lnTo>
                        <a:pt x="344" y="328"/>
                      </a:lnTo>
                      <a:lnTo>
                        <a:pt x="349" y="328"/>
                      </a:lnTo>
                      <a:lnTo>
                        <a:pt x="352" y="325"/>
                      </a:lnTo>
                      <a:lnTo>
                        <a:pt x="353" y="320"/>
                      </a:lnTo>
                      <a:lnTo>
                        <a:pt x="353" y="317"/>
                      </a:lnTo>
                      <a:lnTo>
                        <a:pt x="352" y="314"/>
                      </a:lnTo>
                      <a:lnTo>
                        <a:pt x="347" y="314"/>
                      </a:lnTo>
                      <a:lnTo>
                        <a:pt x="344" y="314"/>
                      </a:lnTo>
                      <a:lnTo>
                        <a:pt x="344" y="311"/>
                      </a:lnTo>
                      <a:lnTo>
                        <a:pt x="341" y="307"/>
                      </a:lnTo>
                      <a:lnTo>
                        <a:pt x="341" y="300"/>
                      </a:lnTo>
                      <a:lnTo>
                        <a:pt x="337" y="292"/>
                      </a:lnTo>
                      <a:lnTo>
                        <a:pt x="339" y="288"/>
                      </a:lnTo>
                      <a:lnTo>
                        <a:pt x="337" y="285"/>
                      </a:lnTo>
                      <a:lnTo>
                        <a:pt x="336" y="282"/>
                      </a:lnTo>
                      <a:lnTo>
                        <a:pt x="337" y="277"/>
                      </a:lnTo>
                      <a:lnTo>
                        <a:pt x="336" y="274"/>
                      </a:lnTo>
                      <a:lnTo>
                        <a:pt x="333" y="274"/>
                      </a:lnTo>
                      <a:lnTo>
                        <a:pt x="330" y="276"/>
                      </a:lnTo>
                      <a:lnTo>
                        <a:pt x="325" y="274"/>
                      </a:lnTo>
                      <a:lnTo>
                        <a:pt x="322" y="273"/>
                      </a:lnTo>
                      <a:lnTo>
                        <a:pt x="318" y="273"/>
                      </a:lnTo>
                      <a:lnTo>
                        <a:pt x="315" y="274"/>
                      </a:lnTo>
                      <a:lnTo>
                        <a:pt x="312" y="271"/>
                      </a:lnTo>
                      <a:lnTo>
                        <a:pt x="309" y="269"/>
                      </a:lnTo>
                      <a:lnTo>
                        <a:pt x="306" y="266"/>
                      </a:lnTo>
                      <a:lnTo>
                        <a:pt x="303" y="265"/>
                      </a:lnTo>
                      <a:lnTo>
                        <a:pt x="301" y="261"/>
                      </a:lnTo>
                      <a:lnTo>
                        <a:pt x="299" y="258"/>
                      </a:lnTo>
                      <a:lnTo>
                        <a:pt x="301" y="255"/>
                      </a:lnTo>
                      <a:lnTo>
                        <a:pt x="299" y="252"/>
                      </a:lnTo>
                      <a:lnTo>
                        <a:pt x="299" y="250"/>
                      </a:lnTo>
                      <a:lnTo>
                        <a:pt x="303" y="252"/>
                      </a:lnTo>
                      <a:lnTo>
                        <a:pt x="307" y="252"/>
                      </a:lnTo>
                      <a:lnTo>
                        <a:pt x="304" y="247"/>
                      </a:lnTo>
                      <a:lnTo>
                        <a:pt x="301" y="247"/>
                      </a:lnTo>
                      <a:lnTo>
                        <a:pt x="298" y="247"/>
                      </a:lnTo>
                      <a:lnTo>
                        <a:pt x="303" y="246"/>
                      </a:lnTo>
                      <a:lnTo>
                        <a:pt x="304" y="242"/>
                      </a:lnTo>
                      <a:lnTo>
                        <a:pt x="301" y="242"/>
                      </a:lnTo>
                      <a:lnTo>
                        <a:pt x="298" y="242"/>
                      </a:lnTo>
                      <a:lnTo>
                        <a:pt x="301" y="241"/>
                      </a:lnTo>
                      <a:lnTo>
                        <a:pt x="304" y="238"/>
                      </a:lnTo>
                      <a:lnTo>
                        <a:pt x="307" y="235"/>
                      </a:lnTo>
                      <a:lnTo>
                        <a:pt x="311" y="233"/>
                      </a:lnTo>
                      <a:lnTo>
                        <a:pt x="315" y="233"/>
                      </a:lnTo>
                      <a:lnTo>
                        <a:pt x="315" y="231"/>
                      </a:lnTo>
                      <a:lnTo>
                        <a:pt x="315" y="231"/>
                      </a:lnTo>
                      <a:lnTo>
                        <a:pt x="315" y="230"/>
                      </a:lnTo>
                      <a:lnTo>
                        <a:pt x="314" y="225"/>
                      </a:lnTo>
                      <a:lnTo>
                        <a:pt x="314" y="222"/>
                      </a:lnTo>
                      <a:lnTo>
                        <a:pt x="311" y="219"/>
                      </a:lnTo>
                      <a:lnTo>
                        <a:pt x="307" y="215"/>
                      </a:lnTo>
                      <a:lnTo>
                        <a:pt x="304" y="212"/>
                      </a:lnTo>
                      <a:lnTo>
                        <a:pt x="301" y="211"/>
                      </a:lnTo>
                      <a:lnTo>
                        <a:pt x="296" y="211"/>
                      </a:lnTo>
                      <a:lnTo>
                        <a:pt x="293" y="214"/>
                      </a:lnTo>
                      <a:lnTo>
                        <a:pt x="290" y="215"/>
                      </a:lnTo>
                      <a:lnTo>
                        <a:pt x="287" y="219"/>
                      </a:lnTo>
                      <a:lnTo>
                        <a:pt x="284" y="220"/>
                      </a:lnTo>
                      <a:lnTo>
                        <a:pt x="279" y="222"/>
                      </a:lnTo>
                      <a:lnTo>
                        <a:pt x="276" y="223"/>
                      </a:lnTo>
                      <a:lnTo>
                        <a:pt x="272" y="223"/>
                      </a:lnTo>
                      <a:lnTo>
                        <a:pt x="269" y="225"/>
                      </a:lnTo>
                      <a:lnTo>
                        <a:pt x="266" y="222"/>
                      </a:lnTo>
                      <a:lnTo>
                        <a:pt x="269" y="223"/>
                      </a:lnTo>
                      <a:lnTo>
                        <a:pt x="272" y="223"/>
                      </a:lnTo>
                      <a:lnTo>
                        <a:pt x="276" y="222"/>
                      </a:lnTo>
                      <a:lnTo>
                        <a:pt x="279" y="219"/>
                      </a:lnTo>
                      <a:lnTo>
                        <a:pt x="282" y="217"/>
                      </a:lnTo>
                      <a:lnTo>
                        <a:pt x="287" y="215"/>
                      </a:lnTo>
                      <a:lnTo>
                        <a:pt x="290" y="212"/>
                      </a:lnTo>
                      <a:lnTo>
                        <a:pt x="287" y="206"/>
                      </a:lnTo>
                      <a:lnTo>
                        <a:pt x="284" y="203"/>
                      </a:lnTo>
                      <a:lnTo>
                        <a:pt x="280" y="201"/>
                      </a:lnTo>
                      <a:lnTo>
                        <a:pt x="276" y="201"/>
                      </a:lnTo>
                      <a:lnTo>
                        <a:pt x="272" y="201"/>
                      </a:lnTo>
                      <a:lnTo>
                        <a:pt x="269" y="201"/>
                      </a:lnTo>
                      <a:lnTo>
                        <a:pt x="266" y="200"/>
                      </a:lnTo>
                      <a:lnTo>
                        <a:pt x="263" y="195"/>
                      </a:lnTo>
                      <a:lnTo>
                        <a:pt x="258" y="192"/>
                      </a:lnTo>
                      <a:lnTo>
                        <a:pt x="257" y="189"/>
                      </a:lnTo>
                      <a:lnTo>
                        <a:pt x="257" y="185"/>
                      </a:lnTo>
                      <a:lnTo>
                        <a:pt x="255" y="182"/>
                      </a:lnTo>
                      <a:lnTo>
                        <a:pt x="255" y="181"/>
                      </a:lnTo>
                      <a:lnTo>
                        <a:pt x="255" y="177"/>
                      </a:lnTo>
                      <a:lnTo>
                        <a:pt x="252" y="174"/>
                      </a:lnTo>
                      <a:lnTo>
                        <a:pt x="249" y="171"/>
                      </a:lnTo>
                      <a:lnTo>
                        <a:pt x="245" y="168"/>
                      </a:lnTo>
                      <a:lnTo>
                        <a:pt x="242" y="165"/>
                      </a:lnTo>
                      <a:lnTo>
                        <a:pt x="238" y="163"/>
                      </a:lnTo>
                      <a:lnTo>
                        <a:pt x="234" y="165"/>
                      </a:lnTo>
                      <a:lnTo>
                        <a:pt x="231" y="163"/>
                      </a:lnTo>
                      <a:lnTo>
                        <a:pt x="228" y="162"/>
                      </a:lnTo>
                      <a:lnTo>
                        <a:pt x="226" y="157"/>
                      </a:lnTo>
                      <a:lnTo>
                        <a:pt x="225" y="154"/>
                      </a:lnTo>
                      <a:lnTo>
                        <a:pt x="225" y="150"/>
                      </a:lnTo>
                      <a:lnTo>
                        <a:pt x="223" y="147"/>
                      </a:lnTo>
                      <a:lnTo>
                        <a:pt x="220" y="144"/>
                      </a:lnTo>
                      <a:lnTo>
                        <a:pt x="217" y="141"/>
                      </a:lnTo>
                      <a:lnTo>
                        <a:pt x="214" y="138"/>
                      </a:lnTo>
                      <a:lnTo>
                        <a:pt x="209" y="138"/>
                      </a:lnTo>
                      <a:lnTo>
                        <a:pt x="206" y="139"/>
                      </a:lnTo>
                      <a:lnTo>
                        <a:pt x="206" y="143"/>
                      </a:lnTo>
                      <a:lnTo>
                        <a:pt x="207" y="147"/>
                      </a:lnTo>
                      <a:lnTo>
                        <a:pt x="209" y="150"/>
                      </a:lnTo>
                      <a:lnTo>
                        <a:pt x="211" y="154"/>
                      </a:lnTo>
                      <a:lnTo>
                        <a:pt x="212" y="157"/>
                      </a:lnTo>
                      <a:lnTo>
                        <a:pt x="209" y="155"/>
                      </a:lnTo>
                      <a:lnTo>
                        <a:pt x="209" y="152"/>
                      </a:lnTo>
                      <a:lnTo>
                        <a:pt x="206" y="147"/>
                      </a:lnTo>
                      <a:lnTo>
                        <a:pt x="201" y="146"/>
                      </a:lnTo>
                      <a:lnTo>
                        <a:pt x="198" y="144"/>
                      </a:lnTo>
                      <a:lnTo>
                        <a:pt x="195" y="141"/>
                      </a:lnTo>
                      <a:lnTo>
                        <a:pt x="190" y="131"/>
                      </a:lnTo>
                      <a:lnTo>
                        <a:pt x="182" y="120"/>
                      </a:lnTo>
                      <a:lnTo>
                        <a:pt x="180" y="125"/>
                      </a:lnTo>
                      <a:lnTo>
                        <a:pt x="182" y="128"/>
                      </a:lnTo>
                      <a:lnTo>
                        <a:pt x="180" y="127"/>
                      </a:lnTo>
                      <a:lnTo>
                        <a:pt x="179" y="124"/>
                      </a:lnTo>
                      <a:lnTo>
                        <a:pt x="176" y="120"/>
                      </a:lnTo>
                      <a:lnTo>
                        <a:pt x="176" y="122"/>
                      </a:lnTo>
                      <a:lnTo>
                        <a:pt x="177" y="124"/>
                      </a:lnTo>
                      <a:lnTo>
                        <a:pt x="176" y="120"/>
                      </a:lnTo>
                      <a:lnTo>
                        <a:pt x="176" y="117"/>
                      </a:lnTo>
                      <a:lnTo>
                        <a:pt x="176" y="114"/>
                      </a:lnTo>
                      <a:lnTo>
                        <a:pt x="174" y="111"/>
                      </a:lnTo>
                      <a:lnTo>
                        <a:pt x="171" y="109"/>
                      </a:lnTo>
                      <a:lnTo>
                        <a:pt x="171" y="108"/>
                      </a:lnTo>
                      <a:lnTo>
                        <a:pt x="168" y="104"/>
                      </a:lnTo>
                      <a:lnTo>
                        <a:pt x="165" y="101"/>
                      </a:lnTo>
                      <a:lnTo>
                        <a:pt x="161" y="100"/>
                      </a:lnTo>
                      <a:lnTo>
                        <a:pt x="158" y="97"/>
                      </a:lnTo>
                      <a:lnTo>
                        <a:pt x="155" y="93"/>
                      </a:lnTo>
                      <a:lnTo>
                        <a:pt x="152" y="92"/>
                      </a:lnTo>
                      <a:lnTo>
                        <a:pt x="149" y="89"/>
                      </a:lnTo>
                      <a:lnTo>
                        <a:pt x="146" y="85"/>
                      </a:lnTo>
                      <a:lnTo>
                        <a:pt x="142" y="84"/>
                      </a:lnTo>
                      <a:lnTo>
                        <a:pt x="139" y="82"/>
                      </a:lnTo>
                      <a:lnTo>
                        <a:pt x="134" y="81"/>
                      </a:lnTo>
                      <a:lnTo>
                        <a:pt x="131" y="79"/>
                      </a:lnTo>
                      <a:lnTo>
                        <a:pt x="128" y="76"/>
                      </a:lnTo>
                      <a:lnTo>
                        <a:pt x="128" y="71"/>
                      </a:lnTo>
                      <a:lnTo>
                        <a:pt x="123" y="70"/>
                      </a:lnTo>
                      <a:lnTo>
                        <a:pt x="120" y="68"/>
                      </a:lnTo>
                      <a:lnTo>
                        <a:pt x="117" y="65"/>
                      </a:lnTo>
                      <a:lnTo>
                        <a:pt x="114" y="65"/>
                      </a:lnTo>
                      <a:lnTo>
                        <a:pt x="111" y="60"/>
                      </a:lnTo>
                      <a:lnTo>
                        <a:pt x="112" y="57"/>
                      </a:lnTo>
                      <a:lnTo>
                        <a:pt x="112" y="54"/>
                      </a:lnTo>
                      <a:lnTo>
                        <a:pt x="112" y="51"/>
                      </a:lnTo>
                      <a:lnTo>
                        <a:pt x="109" y="47"/>
                      </a:lnTo>
                      <a:lnTo>
                        <a:pt x="104" y="46"/>
                      </a:lnTo>
                      <a:lnTo>
                        <a:pt x="103" y="43"/>
                      </a:lnTo>
                      <a:lnTo>
                        <a:pt x="101" y="39"/>
                      </a:lnTo>
                      <a:lnTo>
                        <a:pt x="100" y="36"/>
                      </a:lnTo>
                      <a:lnTo>
                        <a:pt x="98" y="33"/>
                      </a:lnTo>
                      <a:lnTo>
                        <a:pt x="90" y="25"/>
                      </a:lnTo>
                      <a:lnTo>
                        <a:pt x="82" y="17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04" name="Freeform 95"/>
                <p:cNvSpPr>
                  <a:spLocks/>
                </p:cNvSpPr>
                <p:nvPr/>
              </p:nvSpPr>
              <p:spPr bwMode="auto">
                <a:xfrm>
                  <a:off x="4327" y="2430"/>
                  <a:ext cx="15" cy="12"/>
                </a:xfrm>
                <a:custGeom>
                  <a:avLst/>
                  <a:gdLst>
                    <a:gd name="T0" fmla="*/ 22 w 28"/>
                    <a:gd name="T1" fmla="*/ 23 h 24"/>
                    <a:gd name="T2" fmla="*/ 25 w 28"/>
                    <a:gd name="T3" fmla="*/ 24 h 24"/>
                    <a:gd name="T4" fmla="*/ 28 w 28"/>
                    <a:gd name="T5" fmla="*/ 23 h 24"/>
                    <a:gd name="T6" fmla="*/ 27 w 28"/>
                    <a:gd name="T7" fmla="*/ 19 h 24"/>
                    <a:gd name="T8" fmla="*/ 24 w 28"/>
                    <a:gd name="T9" fmla="*/ 18 h 24"/>
                    <a:gd name="T10" fmla="*/ 20 w 28"/>
                    <a:gd name="T11" fmla="*/ 15 h 24"/>
                    <a:gd name="T12" fmla="*/ 17 w 28"/>
                    <a:gd name="T13" fmla="*/ 12 h 24"/>
                    <a:gd name="T14" fmla="*/ 14 w 28"/>
                    <a:gd name="T15" fmla="*/ 12 h 24"/>
                    <a:gd name="T16" fmla="*/ 14 w 28"/>
                    <a:gd name="T17" fmla="*/ 7 h 24"/>
                    <a:gd name="T18" fmla="*/ 11 w 28"/>
                    <a:gd name="T19" fmla="*/ 7 h 24"/>
                    <a:gd name="T20" fmla="*/ 8 w 28"/>
                    <a:gd name="T21" fmla="*/ 4 h 24"/>
                    <a:gd name="T22" fmla="*/ 3 w 28"/>
                    <a:gd name="T23" fmla="*/ 0 h 24"/>
                    <a:gd name="T24" fmla="*/ 0 w 28"/>
                    <a:gd name="T25" fmla="*/ 4 h 24"/>
                    <a:gd name="T26" fmla="*/ 0 w 28"/>
                    <a:gd name="T27" fmla="*/ 7 h 24"/>
                    <a:gd name="T28" fmla="*/ 3 w 28"/>
                    <a:gd name="T29" fmla="*/ 10 h 24"/>
                    <a:gd name="T30" fmla="*/ 6 w 28"/>
                    <a:gd name="T31" fmla="*/ 13 h 24"/>
                    <a:gd name="T32" fmla="*/ 9 w 28"/>
                    <a:gd name="T33" fmla="*/ 13 h 24"/>
                    <a:gd name="T34" fmla="*/ 13 w 28"/>
                    <a:gd name="T35" fmla="*/ 15 h 24"/>
                    <a:gd name="T36" fmla="*/ 16 w 28"/>
                    <a:gd name="T37" fmla="*/ 18 h 24"/>
                    <a:gd name="T38" fmla="*/ 20 w 28"/>
                    <a:gd name="T39" fmla="*/ 19 h 24"/>
                    <a:gd name="T40" fmla="*/ 22 w 28"/>
                    <a:gd name="T41" fmla="*/ 23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28" h="24">
                      <a:moveTo>
                        <a:pt x="22" y="23"/>
                      </a:moveTo>
                      <a:lnTo>
                        <a:pt x="25" y="24"/>
                      </a:lnTo>
                      <a:lnTo>
                        <a:pt x="28" y="23"/>
                      </a:lnTo>
                      <a:lnTo>
                        <a:pt x="27" y="19"/>
                      </a:lnTo>
                      <a:lnTo>
                        <a:pt x="24" y="18"/>
                      </a:lnTo>
                      <a:lnTo>
                        <a:pt x="20" y="15"/>
                      </a:lnTo>
                      <a:lnTo>
                        <a:pt x="17" y="12"/>
                      </a:lnTo>
                      <a:lnTo>
                        <a:pt x="14" y="12"/>
                      </a:lnTo>
                      <a:lnTo>
                        <a:pt x="14" y="7"/>
                      </a:lnTo>
                      <a:lnTo>
                        <a:pt x="11" y="7"/>
                      </a:lnTo>
                      <a:lnTo>
                        <a:pt x="8" y="4"/>
                      </a:lnTo>
                      <a:lnTo>
                        <a:pt x="3" y="0"/>
                      </a:lnTo>
                      <a:lnTo>
                        <a:pt x="0" y="4"/>
                      </a:lnTo>
                      <a:lnTo>
                        <a:pt x="0" y="7"/>
                      </a:lnTo>
                      <a:lnTo>
                        <a:pt x="3" y="10"/>
                      </a:lnTo>
                      <a:lnTo>
                        <a:pt x="6" y="13"/>
                      </a:lnTo>
                      <a:lnTo>
                        <a:pt x="9" y="13"/>
                      </a:lnTo>
                      <a:lnTo>
                        <a:pt x="13" y="15"/>
                      </a:lnTo>
                      <a:lnTo>
                        <a:pt x="16" y="18"/>
                      </a:lnTo>
                      <a:lnTo>
                        <a:pt x="20" y="19"/>
                      </a:lnTo>
                      <a:lnTo>
                        <a:pt x="22" y="23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05" name="Freeform 96"/>
                <p:cNvSpPr>
                  <a:spLocks/>
                </p:cNvSpPr>
                <p:nvPr/>
              </p:nvSpPr>
              <p:spPr bwMode="auto">
                <a:xfrm>
                  <a:off x="4354" y="2459"/>
                  <a:ext cx="14" cy="20"/>
                </a:xfrm>
                <a:custGeom>
                  <a:avLst/>
                  <a:gdLst>
                    <a:gd name="T0" fmla="*/ 21 w 29"/>
                    <a:gd name="T1" fmla="*/ 37 h 40"/>
                    <a:gd name="T2" fmla="*/ 24 w 29"/>
                    <a:gd name="T3" fmla="*/ 40 h 40"/>
                    <a:gd name="T4" fmla="*/ 27 w 29"/>
                    <a:gd name="T5" fmla="*/ 37 h 40"/>
                    <a:gd name="T6" fmla="*/ 27 w 29"/>
                    <a:gd name="T7" fmla="*/ 31 h 40"/>
                    <a:gd name="T8" fmla="*/ 27 w 29"/>
                    <a:gd name="T9" fmla="*/ 27 h 40"/>
                    <a:gd name="T10" fmla="*/ 29 w 29"/>
                    <a:gd name="T11" fmla="*/ 23 h 40"/>
                    <a:gd name="T12" fmla="*/ 27 w 29"/>
                    <a:gd name="T13" fmla="*/ 20 h 40"/>
                    <a:gd name="T14" fmla="*/ 24 w 29"/>
                    <a:gd name="T15" fmla="*/ 16 h 40"/>
                    <a:gd name="T16" fmla="*/ 21 w 29"/>
                    <a:gd name="T17" fmla="*/ 15 h 40"/>
                    <a:gd name="T18" fmla="*/ 18 w 29"/>
                    <a:gd name="T19" fmla="*/ 12 h 40"/>
                    <a:gd name="T20" fmla="*/ 16 w 29"/>
                    <a:gd name="T21" fmla="*/ 8 h 40"/>
                    <a:gd name="T22" fmla="*/ 14 w 29"/>
                    <a:gd name="T23" fmla="*/ 4 h 40"/>
                    <a:gd name="T24" fmla="*/ 10 w 29"/>
                    <a:gd name="T25" fmla="*/ 0 h 40"/>
                    <a:gd name="T26" fmla="*/ 7 w 29"/>
                    <a:gd name="T27" fmla="*/ 2 h 40"/>
                    <a:gd name="T28" fmla="*/ 3 w 29"/>
                    <a:gd name="T29" fmla="*/ 5 h 40"/>
                    <a:gd name="T30" fmla="*/ 0 w 29"/>
                    <a:gd name="T31" fmla="*/ 4 h 40"/>
                    <a:gd name="T32" fmla="*/ 0 w 29"/>
                    <a:gd name="T33" fmla="*/ 8 h 40"/>
                    <a:gd name="T34" fmla="*/ 3 w 29"/>
                    <a:gd name="T35" fmla="*/ 12 h 40"/>
                    <a:gd name="T36" fmla="*/ 7 w 29"/>
                    <a:gd name="T37" fmla="*/ 15 h 40"/>
                    <a:gd name="T38" fmla="*/ 8 w 29"/>
                    <a:gd name="T39" fmla="*/ 18 h 40"/>
                    <a:gd name="T40" fmla="*/ 10 w 29"/>
                    <a:gd name="T41" fmla="*/ 21 h 40"/>
                    <a:gd name="T42" fmla="*/ 16 w 29"/>
                    <a:gd name="T43" fmla="*/ 27 h 40"/>
                    <a:gd name="T44" fmla="*/ 18 w 29"/>
                    <a:gd name="T45" fmla="*/ 29 h 40"/>
                    <a:gd name="T46" fmla="*/ 18 w 29"/>
                    <a:gd name="T47" fmla="*/ 31 h 40"/>
                    <a:gd name="T48" fmla="*/ 21 w 29"/>
                    <a:gd name="T49" fmla="*/ 37 h 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29" h="40">
                      <a:moveTo>
                        <a:pt x="21" y="37"/>
                      </a:moveTo>
                      <a:lnTo>
                        <a:pt x="24" y="40"/>
                      </a:lnTo>
                      <a:lnTo>
                        <a:pt x="27" y="37"/>
                      </a:lnTo>
                      <a:lnTo>
                        <a:pt x="27" y="31"/>
                      </a:lnTo>
                      <a:lnTo>
                        <a:pt x="27" y="27"/>
                      </a:lnTo>
                      <a:lnTo>
                        <a:pt x="29" y="23"/>
                      </a:lnTo>
                      <a:lnTo>
                        <a:pt x="27" y="20"/>
                      </a:lnTo>
                      <a:lnTo>
                        <a:pt x="24" y="16"/>
                      </a:lnTo>
                      <a:lnTo>
                        <a:pt x="21" y="15"/>
                      </a:lnTo>
                      <a:lnTo>
                        <a:pt x="18" y="12"/>
                      </a:lnTo>
                      <a:lnTo>
                        <a:pt x="16" y="8"/>
                      </a:lnTo>
                      <a:lnTo>
                        <a:pt x="14" y="4"/>
                      </a:lnTo>
                      <a:lnTo>
                        <a:pt x="10" y="0"/>
                      </a:lnTo>
                      <a:lnTo>
                        <a:pt x="7" y="2"/>
                      </a:lnTo>
                      <a:lnTo>
                        <a:pt x="3" y="5"/>
                      </a:ln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3" y="12"/>
                      </a:lnTo>
                      <a:lnTo>
                        <a:pt x="7" y="15"/>
                      </a:lnTo>
                      <a:lnTo>
                        <a:pt x="8" y="18"/>
                      </a:lnTo>
                      <a:lnTo>
                        <a:pt x="10" y="21"/>
                      </a:lnTo>
                      <a:lnTo>
                        <a:pt x="16" y="27"/>
                      </a:lnTo>
                      <a:lnTo>
                        <a:pt x="18" y="29"/>
                      </a:lnTo>
                      <a:lnTo>
                        <a:pt x="18" y="31"/>
                      </a:lnTo>
                      <a:lnTo>
                        <a:pt x="21" y="37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06" name="Freeform 97"/>
                <p:cNvSpPr>
                  <a:spLocks/>
                </p:cNvSpPr>
                <p:nvPr/>
              </p:nvSpPr>
              <p:spPr bwMode="auto">
                <a:xfrm>
                  <a:off x="4380" y="2509"/>
                  <a:ext cx="12" cy="18"/>
                </a:xfrm>
                <a:custGeom>
                  <a:avLst/>
                  <a:gdLst>
                    <a:gd name="T0" fmla="*/ 19 w 23"/>
                    <a:gd name="T1" fmla="*/ 37 h 37"/>
                    <a:gd name="T2" fmla="*/ 22 w 23"/>
                    <a:gd name="T3" fmla="*/ 35 h 37"/>
                    <a:gd name="T4" fmla="*/ 22 w 23"/>
                    <a:gd name="T5" fmla="*/ 32 h 37"/>
                    <a:gd name="T6" fmla="*/ 23 w 23"/>
                    <a:gd name="T7" fmla="*/ 29 h 37"/>
                    <a:gd name="T8" fmla="*/ 22 w 23"/>
                    <a:gd name="T9" fmla="*/ 24 h 37"/>
                    <a:gd name="T10" fmla="*/ 20 w 23"/>
                    <a:gd name="T11" fmla="*/ 21 h 37"/>
                    <a:gd name="T12" fmla="*/ 17 w 23"/>
                    <a:gd name="T13" fmla="*/ 18 h 37"/>
                    <a:gd name="T14" fmla="*/ 17 w 23"/>
                    <a:gd name="T15" fmla="*/ 15 h 37"/>
                    <a:gd name="T16" fmla="*/ 15 w 23"/>
                    <a:gd name="T17" fmla="*/ 10 h 37"/>
                    <a:gd name="T18" fmla="*/ 14 w 23"/>
                    <a:gd name="T19" fmla="*/ 7 h 37"/>
                    <a:gd name="T20" fmla="*/ 11 w 23"/>
                    <a:gd name="T21" fmla="*/ 4 h 37"/>
                    <a:gd name="T22" fmla="*/ 11 w 23"/>
                    <a:gd name="T23" fmla="*/ 0 h 37"/>
                    <a:gd name="T24" fmla="*/ 7 w 23"/>
                    <a:gd name="T25" fmla="*/ 2 h 37"/>
                    <a:gd name="T26" fmla="*/ 4 w 23"/>
                    <a:gd name="T27" fmla="*/ 2 h 37"/>
                    <a:gd name="T28" fmla="*/ 3 w 23"/>
                    <a:gd name="T29" fmla="*/ 5 h 37"/>
                    <a:gd name="T30" fmla="*/ 1 w 23"/>
                    <a:gd name="T31" fmla="*/ 8 h 37"/>
                    <a:gd name="T32" fmla="*/ 0 w 23"/>
                    <a:gd name="T33" fmla="*/ 12 h 37"/>
                    <a:gd name="T34" fmla="*/ 1 w 23"/>
                    <a:gd name="T35" fmla="*/ 16 h 37"/>
                    <a:gd name="T36" fmla="*/ 3 w 23"/>
                    <a:gd name="T37" fmla="*/ 19 h 37"/>
                    <a:gd name="T38" fmla="*/ 6 w 23"/>
                    <a:gd name="T39" fmla="*/ 24 h 37"/>
                    <a:gd name="T40" fmla="*/ 9 w 23"/>
                    <a:gd name="T41" fmla="*/ 29 h 37"/>
                    <a:gd name="T42" fmla="*/ 14 w 23"/>
                    <a:gd name="T43" fmla="*/ 34 h 37"/>
                    <a:gd name="T44" fmla="*/ 19 w 23"/>
                    <a:gd name="T45" fmla="*/ 3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3" h="37">
                      <a:moveTo>
                        <a:pt x="19" y="37"/>
                      </a:moveTo>
                      <a:lnTo>
                        <a:pt x="22" y="35"/>
                      </a:lnTo>
                      <a:lnTo>
                        <a:pt x="22" y="32"/>
                      </a:lnTo>
                      <a:lnTo>
                        <a:pt x="23" y="29"/>
                      </a:lnTo>
                      <a:lnTo>
                        <a:pt x="22" y="24"/>
                      </a:lnTo>
                      <a:lnTo>
                        <a:pt x="20" y="21"/>
                      </a:lnTo>
                      <a:lnTo>
                        <a:pt x="17" y="18"/>
                      </a:lnTo>
                      <a:lnTo>
                        <a:pt x="17" y="15"/>
                      </a:lnTo>
                      <a:lnTo>
                        <a:pt x="15" y="10"/>
                      </a:lnTo>
                      <a:lnTo>
                        <a:pt x="14" y="7"/>
                      </a:lnTo>
                      <a:lnTo>
                        <a:pt x="11" y="4"/>
                      </a:lnTo>
                      <a:lnTo>
                        <a:pt x="11" y="0"/>
                      </a:lnTo>
                      <a:lnTo>
                        <a:pt x="7" y="2"/>
                      </a:lnTo>
                      <a:lnTo>
                        <a:pt x="4" y="2"/>
                      </a:lnTo>
                      <a:lnTo>
                        <a:pt x="3" y="5"/>
                      </a:lnTo>
                      <a:lnTo>
                        <a:pt x="1" y="8"/>
                      </a:lnTo>
                      <a:lnTo>
                        <a:pt x="0" y="12"/>
                      </a:lnTo>
                      <a:lnTo>
                        <a:pt x="1" y="16"/>
                      </a:lnTo>
                      <a:lnTo>
                        <a:pt x="3" y="19"/>
                      </a:lnTo>
                      <a:lnTo>
                        <a:pt x="6" y="24"/>
                      </a:lnTo>
                      <a:lnTo>
                        <a:pt x="9" y="29"/>
                      </a:lnTo>
                      <a:lnTo>
                        <a:pt x="14" y="34"/>
                      </a:lnTo>
                      <a:lnTo>
                        <a:pt x="19" y="37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07" name="Freeform 98"/>
                <p:cNvSpPr>
                  <a:spLocks/>
                </p:cNvSpPr>
                <p:nvPr/>
              </p:nvSpPr>
              <p:spPr bwMode="auto">
                <a:xfrm>
                  <a:off x="4408" y="2548"/>
                  <a:ext cx="5" cy="10"/>
                </a:xfrm>
                <a:custGeom>
                  <a:avLst/>
                  <a:gdLst>
                    <a:gd name="T0" fmla="*/ 9 w 9"/>
                    <a:gd name="T1" fmla="*/ 21 h 21"/>
                    <a:gd name="T2" fmla="*/ 9 w 9"/>
                    <a:gd name="T3" fmla="*/ 21 h 21"/>
                    <a:gd name="T4" fmla="*/ 8 w 9"/>
                    <a:gd name="T5" fmla="*/ 18 h 21"/>
                    <a:gd name="T6" fmla="*/ 6 w 9"/>
                    <a:gd name="T7" fmla="*/ 14 h 21"/>
                    <a:gd name="T8" fmla="*/ 9 w 9"/>
                    <a:gd name="T9" fmla="*/ 10 h 21"/>
                    <a:gd name="T10" fmla="*/ 8 w 9"/>
                    <a:gd name="T11" fmla="*/ 6 h 21"/>
                    <a:gd name="T12" fmla="*/ 6 w 9"/>
                    <a:gd name="T13" fmla="*/ 3 h 21"/>
                    <a:gd name="T14" fmla="*/ 3 w 9"/>
                    <a:gd name="T15" fmla="*/ 0 h 21"/>
                    <a:gd name="T16" fmla="*/ 0 w 9"/>
                    <a:gd name="T17" fmla="*/ 0 h 21"/>
                    <a:gd name="T18" fmla="*/ 0 w 9"/>
                    <a:gd name="T19" fmla="*/ 3 h 21"/>
                    <a:gd name="T20" fmla="*/ 0 w 9"/>
                    <a:gd name="T21" fmla="*/ 8 h 21"/>
                    <a:gd name="T22" fmla="*/ 3 w 9"/>
                    <a:gd name="T23" fmla="*/ 11 h 21"/>
                    <a:gd name="T24" fmla="*/ 4 w 9"/>
                    <a:gd name="T25" fmla="*/ 14 h 21"/>
                    <a:gd name="T26" fmla="*/ 6 w 9"/>
                    <a:gd name="T27" fmla="*/ 18 h 21"/>
                    <a:gd name="T28" fmla="*/ 9 w 9"/>
                    <a:gd name="T29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9" h="21">
                      <a:moveTo>
                        <a:pt x="9" y="21"/>
                      </a:moveTo>
                      <a:lnTo>
                        <a:pt x="9" y="21"/>
                      </a:lnTo>
                      <a:lnTo>
                        <a:pt x="8" y="18"/>
                      </a:lnTo>
                      <a:lnTo>
                        <a:pt x="6" y="14"/>
                      </a:lnTo>
                      <a:lnTo>
                        <a:pt x="9" y="10"/>
                      </a:lnTo>
                      <a:lnTo>
                        <a:pt x="8" y="6"/>
                      </a:lnTo>
                      <a:lnTo>
                        <a:pt x="6" y="3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8"/>
                      </a:lnTo>
                      <a:lnTo>
                        <a:pt x="3" y="11"/>
                      </a:lnTo>
                      <a:lnTo>
                        <a:pt x="4" y="14"/>
                      </a:lnTo>
                      <a:lnTo>
                        <a:pt x="6" y="18"/>
                      </a:lnTo>
                      <a:lnTo>
                        <a:pt x="9" y="21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08" name="Freeform 99"/>
                <p:cNvSpPr>
                  <a:spLocks/>
                </p:cNvSpPr>
                <p:nvPr/>
              </p:nvSpPr>
              <p:spPr bwMode="auto">
                <a:xfrm>
                  <a:off x="4431" y="2447"/>
                  <a:ext cx="6" cy="8"/>
                </a:xfrm>
                <a:custGeom>
                  <a:avLst/>
                  <a:gdLst>
                    <a:gd name="T0" fmla="*/ 13 w 13"/>
                    <a:gd name="T1" fmla="*/ 6 h 16"/>
                    <a:gd name="T2" fmla="*/ 13 w 13"/>
                    <a:gd name="T3" fmla="*/ 3 h 16"/>
                    <a:gd name="T4" fmla="*/ 8 w 13"/>
                    <a:gd name="T5" fmla="*/ 0 h 16"/>
                    <a:gd name="T6" fmla="*/ 5 w 13"/>
                    <a:gd name="T7" fmla="*/ 1 h 16"/>
                    <a:gd name="T8" fmla="*/ 2 w 13"/>
                    <a:gd name="T9" fmla="*/ 1 h 16"/>
                    <a:gd name="T10" fmla="*/ 0 w 13"/>
                    <a:gd name="T11" fmla="*/ 4 h 16"/>
                    <a:gd name="T12" fmla="*/ 0 w 13"/>
                    <a:gd name="T13" fmla="*/ 8 h 16"/>
                    <a:gd name="T14" fmla="*/ 2 w 13"/>
                    <a:gd name="T15" fmla="*/ 12 h 16"/>
                    <a:gd name="T16" fmla="*/ 5 w 13"/>
                    <a:gd name="T17" fmla="*/ 16 h 16"/>
                    <a:gd name="T18" fmla="*/ 8 w 13"/>
                    <a:gd name="T19" fmla="*/ 16 h 16"/>
                    <a:gd name="T20" fmla="*/ 11 w 13"/>
                    <a:gd name="T21" fmla="*/ 12 h 16"/>
                    <a:gd name="T22" fmla="*/ 11 w 13"/>
                    <a:gd name="T23" fmla="*/ 9 h 16"/>
                    <a:gd name="T24" fmla="*/ 13 w 13"/>
                    <a:gd name="T25" fmla="*/ 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3" h="16">
                      <a:moveTo>
                        <a:pt x="13" y="6"/>
                      </a:moveTo>
                      <a:lnTo>
                        <a:pt x="13" y="3"/>
                      </a:lnTo>
                      <a:lnTo>
                        <a:pt x="8" y="0"/>
                      </a:lnTo>
                      <a:lnTo>
                        <a:pt x="5" y="1"/>
                      </a:lnTo>
                      <a:lnTo>
                        <a:pt x="2" y="1"/>
                      </a:ln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2" y="12"/>
                      </a:lnTo>
                      <a:lnTo>
                        <a:pt x="5" y="16"/>
                      </a:lnTo>
                      <a:lnTo>
                        <a:pt x="8" y="16"/>
                      </a:lnTo>
                      <a:lnTo>
                        <a:pt x="11" y="12"/>
                      </a:lnTo>
                      <a:lnTo>
                        <a:pt x="11" y="9"/>
                      </a:lnTo>
                      <a:lnTo>
                        <a:pt x="13" y="6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09" name="Freeform 100"/>
                <p:cNvSpPr>
                  <a:spLocks/>
                </p:cNvSpPr>
                <p:nvPr/>
              </p:nvSpPr>
              <p:spPr bwMode="auto">
                <a:xfrm>
                  <a:off x="4449" y="2467"/>
                  <a:ext cx="12" cy="8"/>
                </a:xfrm>
                <a:custGeom>
                  <a:avLst/>
                  <a:gdLst>
                    <a:gd name="T0" fmla="*/ 23 w 23"/>
                    <a:gd name="T1" fmla="*/ 13 h 16"/>
                    <a:gd name="T2" fmla="*/ 22 w 23"/>
                    <a:gd name="T3" fmla="*/ 9 h 16"/>
                    <a:gd name="T4" fmla="*/ 17 w 23"/>
                    <a:gd name="T5" fmla="*/ 6 h 16"/>
                    <a:gd name="T6" fmla="*/ 14 w 23"/>
                    <a:gd name="T7" fmla="*/ 5 h 16"/>
                    <a:gd name="T8" fmla="*/ 11 w 23"/>
                    <a:gd name="T9" fmla="*/ 3 h 16"/>
                    <a:gd name="T10" fmla="*/ 7 w 23"/>
                    <a:gd name="T11" fmla="*/ 3 h 16"/>
                    <a:gd name="T12" fmla="*/ 6 w 23"/>
                    <a:gd name="T13" fmla="*/ 0 h 16"/>
                    <a:gd name="T14" fmla="*/ 3 w 23"/>
                    <a:gd name="T15" fmla="*/ 0 h 16"/>
                    <a:gd name="T16" fmla="*/ 3 w 23"/>
                    <a:gd name="T17" fmla="*/ 3 h 16"/>
                    <a:gd name="T18" fmla="*/ 0 w 23"/>
                    <a:gd name="T19" fmla="*/ 8 h 16"/>
                    <a:gd name="T20" fmla="*/ 1 w 23"/>
                    <a:gd name="T21" fmla="*/ 11 h 16"/>
                    <a:gd name="T22" fmla="*/ 4 w 23"/>
                    <a:gd name="T23" fmla="*/ 13 h 16"/>
                    <a:gd name="T24" fmla="*/ 9 w 23"/>
                    <a:gd name="T25" fmla="*/ 13 h 16"/>
                    <a:gd name="T26" fmla="*/ 12 w 23"/>
                    <a:gd name="T27" fmla="*/ 13 h 16"/>
                    <a:gd name="T28" fmla="*/ 15 w 23"/>
                    <a:gd name="T29" fmla="*/ 13 h 16"/>
                    <a:gd name="T30" fmla="*/ 19 w 23"/>
                    <a:gd name="T31" fmla="*/ 14 h 16"/>
                    <a:gd name="T32" fmla="*/ 22 w 23"/>
                    <a:gd name="T33" fmla="*/ 16 h 16"/>
                    <a:gd name="T34" fmla="*/ 23 w 23"/>
                    <a:gd name="T35" fmla="*/ 13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3" h="16">
                      <a:moveTo>
                        <a:pt x="23" y="13"/>
                      </a:moveTo>
                      <a:lnTo>
                        <a:pt x="22" y="9"/>
                      </a:lnTo>
                      <a:lnTo>
                        <a:pt x="17" y="6"/>
                      </a:lnTo>
                      <a:lnTo>
                        <a:pt x="14" y="5"/>
                      </a:lnTo>
                      <a:lnTo>
                        <a:pt x="11" y="3"/>
                      </a:lnTo>
                      <a:lnTo>
                        <a:pt x="7" y="3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0" y="8"/>
                      </a:lnTo>
                      <a:lnTo>
                        <a:pt x="1" y="11"/>
                      </a:lnTo>
                      <a:lnTo>
                        <a:pt x="4" y="13"/>
                      </a:lnTo>
                      <a:lnTo>
                        <a:pt x="9" y="13"/>
                      </a:lnTo>
                      <a:lnTo>
                        <a:pt x="12" y="13"/>
                      </a:lnTo>
                      <a:lnTo>
                        <a:pt x="15" y="13"/>
                      </a:lnTo>
                      <a:lnTo>
                        <a:pt x="19" y="14"/>
                      </a:lnTo>
                      <a:lnTo>
                        <a:pt x="22" y="16"/>
                      </a:lnTo>
                      <a:lnTo>
                        <a:pt x="23" y="13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10" name="Freeform 101"/>
                <p:cNvSpPr>
                  <a:spLocks/>
                </p:cNvSpPr>
                <p:nvPr/>
              </p:nvSpPr>
              <p:spPr bwMode="auto">
                <a:xfrm>
                  <a:off x="4496" y="2611"/>
                  <a:ext cx="167" cy="59"/>
                </a:xfrm>
                <a:custGeom>
                  <a:avLst/>
                  <a:gdLst>
                    <a:gd name="T0" fmla="*/ 46 w 335"/>
                    <a:gd name="T1" fmla="*/ 5 h 117"/>
                    <a:gd name="T2" fmla="*/ 33 w 335"/>
                    <a:gd name="T3" fmla="*/ 0 h 117"/>
                    <a:gd name="T4" fmla="*/ 24 w 335"/>
                    <a:gd name="T5" fmla="*/ 9 h 117"/>
                    <a:gd name="T6" fmla="*/ 19 w 335"/>
                    <a:gd name="T7" fmla="*/ 24 h 117"/>
                    <a:gd name="T8" fmla="*/ 13 w 335"/>
                    <a:gd name="T9" fmla="*/ 33 h 117"/>
                    <a:gd name="T10" fmla="*/ 0 w 335"/>
                    <a:gd name="T11" fmla="*/ 35 h 117"/>
                    <a:gd name="T12" fmla="*/ 22 w 335"/>
                    <a:gd name="T13" fmla="*/ 38 h 117"/>
                    <a:gd name="T14" fmla="*/ 45 w 335"/>
                    <a:gd name="T15" fmla="*/ 51 h 117"/>
                    <a:gd name="T16" fmla="*/ 51 w 335"/>
                    <a:gd name="T17" fmla="*/ 62 h 117"/>
                    <a:gd name="T18" fmla="*/ 79 w 335"/>
                    <a:gd name="T19" fmla="*/ 65 h 117"/>
                    <a:gd name="T20" fmla="*/ 116 w 335"/>
                    <a:gd name="T21" fmla="*/ 76 h 117"/>
                    <a:gd name="T22" fmla="*/ 156 w 335"/>
                    <a:gd name="T23" fmla="*/ 76 h 117"/>
                    <a:gd name="T24" fmla="*/ 175 w 335"/>
                    <a:gd name="T25" fmla="*/ 82 h 117"/>
                    <a:gd name="T26" fmla="*/ 189 w 335"/>
                    <a:gd name="T27" fmla="*/ 90 h 117"/>
                    <a:gd name="T28" fmla="*/ 221 w 335"/>
                    <a:gd name="T29" fmla="*/ 95 h 117"/>
                    <a:gd name="T30" fmla="*/ 235 w 335"/>
                    <a:gd name="T31" fmla="*/ 97 h 117"/>
                    <a:gd name="T32" fmla="*/ 252 w 335"/>
                    <a:gd name="T33" fmla="*/ 98 h 117"/>
                    <a:gd name="T34" fmla="*/ 267 w 335"/>
                    <a:gd name="T35" fmla="*/ 103 h 117"/>
                    <a:gd name="T36" fmla="*/ 281 w 335"/>
                    <a:gd name="T37" fmla="*/ 97 h 117"/>
                    <a:gd name="T38" fmla="*/ 298 w 335"/>
                    <a:gd name="T39" fmla="*/ 103 h 117"/>
                    <a:gd name="T40" fmla="*/ 313 w 335"/>
                    <a:gd name="T41" fmla="*/ 111 h 117"/>
                    <a:gd name="T42" fmla="*/ 325 w 335"/>
                    <a:gd name="T43" fmla="*/ 111 h 117"/>
                    <a:gd name="T44" fmla="*/ 330 w 335"/>
                    <a:gd name="T45" fmla="*/ 116 h 117"/>
                    <a:gd name="T46" fmla="*/ 330 w 335"/>
                    <a:gd name="T47" fmla="*/ 111 h 117"/>
                    <a:gd name="T48" fmla="*/ 327 w 335"/>
                    <a:gd name="T49" fmla="*/ 97 h 117"/>
                    <a:gd name="T50" fmla="*/ 330 w 335"/>
                    <a:gd name="T51" fmla="*/ 86 h 117"/>
                    <a:gd name="T52" fmla="*/ 325 w 335"/>
                    <a:gd name="T53" fmla="*/ 73 h 117"/>
                    <a:gd name="T54" fmla="*/ 311 w 335"/>
                    <a:gd name="T55" fmla="*/ 73 h 117"/>
                    <a:gd name="T56" fmla="*/ 297 w 335"/>
                    <a:gd name="T57" fmla="*/ 73 h 117"/>
                    <a:gd name="T58" fmla="*/ 273 w 335"/>
                    <a:gd name="T59" fmla="*/ 68 h 117"/>
                    <a:gd name="T60" fmla="*/ 273 w 335"/>
                    <a:gd name="T61" fmla="*/ 55 h 117"/>
                    <a:gd name="T62" fmla="*/ 267 w 335"/>
                    <a:gd name="T63" fmla="*/ 48 h 117"/>
                    <a:gd name="T64" fmla="*/ 262 w 335"/>
                    <a:gd name="T65" fmla="*/ 40 h 117"/>
                    <a:gd name="T66" fmla="*/ 248 w 335"/>
                    <a:gd name="T67" fmla="*/ 40 h 117"/>
                    <a:gd name="T68" fmla="*/ 235 w 335"/>
                    <a:gd name="T69" fmla="*/ 35 h 117"/>
                    <a:gd name="T70" fmla="*/ 224 w 335"/>
                    <a:gd name="T71" fmla="*/ 32 h 117"/>
                    <a:gd name="T72" fmla="*/ 213 w 335"/>
                    <a:gd name="T73" fmla="*/ 29 h 117"/>
                    <a:gd name="T74" fmla="*/ 203 w 335"/>
                    <a:gd name="T75" fmla="*/ 21 h 117"/>
                    <a:gd name="T76" fmla="*/ 190 w 335"/>
                    <a:gd name="T77" fmla="*/ 41 h 117"/>
                    <a:gd name="T78" fmla="*/ 173 w 335"/>
                    <a:gd name="T79" fmla="*/ 41 h 117"/>
                    <a:gd name="T80" fmla="*/ 156 w 335"/>
                    <a:gd name="T81" fmla="*/ 36 h 117"/>
                    <a:gd name="T82" fmla="*/ 141 w 335"/>
                    <a:gd name="T83" fmla="*/ 38 h 117"/>
                    <a:gd name="T84" fmla="*/ 129 w 335"/>
                    <a:gd name="T85" fmla="*/ 36 h 117"/>
                    <a:gd name="T86" fmla="*/ 121 w 335"/>
                    <a:gd name="T87" fmla="*/ 27 h 117"/>
                    <a:gd name="T88" fmla="*/ 111 w 335"/>
                    <a:gd name="T89" fmla="*/ 14 h 117"/>
                    <a:gd name="T90" fmla="*/ 102 w 335"/>
                    <a:gd name="T91" fmla="*/ 14 h 117"/>
                    <a:gd name="T92" fmla="*/ 90 w 335"/>
                    <a:gd name="T93" fmla="*/ 14 h 117"/>
                    <a:gd name="T94" fmla="*/ 79 w 335"/>
                    <a:gd name="T95" fmla="*/ 2 h 117"/>
                    <a:gd name="T96" fmla="*/ 67 w 335"/>
                    <a:gd name="T97" fmla="*/ 0 h 117"/>
                    <a:gd name="T98" fmla="*/ 59 w 335"/>
                    <a:gd name="T99" fmla="*/ 8 h 1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335" h="117">
                      <a:moveTo>
                        <a:pt x="56" y="6"/>
                      </a:moveTo>
                      <a:lnTo>
                        <a:pt x="52" y="3"/>
                      </a:lnTo>
                      <a:lnTo>
                        <a:pt x="49" y="3"/>
                      </a:lnTo>
                      <a:lnTo>
                        <a:pt x="46" y="5"/>
                      </a:lnTo>
                      <a:lnTo>
                        <a:pt x="43" y="2"/>
                      </a:lnTo>
                      <a:lnTo>
                        <a:pt x="38" y="2"/>
                      </a:lnTo>
                      <a:lnTo>
                        <a:pt x="35" y="3"/>
                      </a:lnTo>
                      <a:lnTo>
                        <a:pt x="33" y="0"/>
                      </a:lnTo>
                      <a:lnTo>
                        <a:pt x="30" y="0"/>
                      </a:lnTo>
                      <a:lnTo>
                        <a:pt x="29" y="3"/>
                      </a:lnTo>
                      <a:lnTo>
                        <a:pt x="25" y="6"/>
                      </a:lnTo>
                      <a:lnTo>
                        <a:pt x="24" y="9"/>
                      </a:lnTo>
                      <a:lnTo>
                        <a:pt x="24" y="13"/>
                      </a:lnTo>
                      <a:lnTo>
                        <a:pt x="24" y="16"/>
                      </a:lnTo>
                      <a:lnTo>
                        <a:pt x="22" y="21"/>
                      </a:lnTo>
                      <a:lnTo>
                        <a:pt x="19" y="24"/>
                      </a:lnTo>
                      <a:lnTo>
                        <a:pt x="16" y="22"/>
                      </a:lnTo>
                      <a:lnTo>
                        <a:pt x="16" y="25"/>
                      </a:lnTo>
                      <a:lnTo>
                        <a:pt x="16" y="29"/>
                      </a:lnTo>
                      <a:lnTo>
                        <a:pt x="13" y="33"/>
                      </a:lnTo>
                      <a:lnTo>
                        <a:pt x="10" y="36"/>
                      </a:lnTo>
                      <a:lnTo>
                        <a:pt x="8" y="32"/>
                      </a:lnTo>
                      <a:lnTo>
                        <a:pt x="3" y="33"/>
                      </a:lnTo>
                      <a:lnTo>
                        <a:pt x="0" y="35"/>
                      </a:lnTo>
                      <a:lnTo>
                        <a:pt x="8" y="38"/>
                      </a:lnTo>
                      <a:lnTo>
                        <a:pt x="11" y="38"/>
                      </a:lnTo>
                      <a:lnTo>
                        <a:pt x="14" y="38"/>
                      </a:lnTo>
                      <a:lnTo>
                        <a:pt x="22" y="38"/>
                      </a:lnTo>
                      <a:lnTo>
                        <a:pt x="33" y="40"/>
                      </a:lnTo>
                      <a:lnTo>
                        <a:pt x="46" y="43"/>
                      </a:lnTo>
                      <a:lnTo>
                        <a:pt x="48" y="48"/>
                      </a:lnTo>
                      <a:lnTo>
                        <a:pt x="45" y="51"/>
                      </a:lnTo>
                      <a:lnTo>
                        <a:pt x="41" y="54"/>
                      </a:lnTo>
                      <a:lnTo>
                        <a:pt x="41" y="57"/>
                      </a:lnTo>
                      <a:lnTo>
                        <a:pt x="48" y="60"/>
                      </a:lnTo>
                      <a:lnTo>
                        <a:pt x="51" y="62"/>
                      </a:lnTo>
                      <a:lnTo>
                        <a:pt x="54" y="62"/>
                      </a:lnTo>
                      <a:lnTo>
                        <a:pt x="59" y="62"/>
                      </a:lnTo>
                      <a:lnTo>
                        <a:pt x="70" y="63"/>
                      </a:lnTo>
                      <a:lnTo>
                        <a:pt x="79" y="65"/>
                      </a:lnTo>
                      <a:lnTo>
                        <a:pt x="87" y="70"/>
                      </a:lnTo>
                      <a:lnTo>
                        <a:pt x="95" y="73"/>
                      </a:lnTo>
                      <a:lnTo>
                        <a:pt x="105" y="76"/>
                      </a:lnTo>
                      <a:lnTo>
                        <a:pt x="116" y="76"/>
                      </a:lnTo>
                      <a:lnTo>
                        <a:pt x="117" y="73"/>
                      </a:lnTo>
                      <a:lnTo>
                        <a:pt x="130" y="71"/>
                      </a:lnTo>
                      <a:lnTo>
                        <a:pt x="141" y="73"/>
                      </a:lnTo>
                      <a:lnTo>
                        <a:pt x="156" y="76"/>
                      </a:lnTo>
                      <a:lnTo>
                        <a:pt x="170" y="79"/>
                      </a:lnTo>
                      <a:lnTo>
                        <a:pt x="170" y="79"/>
                      </a:lnTo>
                      <a:lnTo>
                        <a:pt x="171" y="81"/>
                      </a:lnTo>
                      <a:lnTo>
                        <a:pt x="175" y="82"/>
                      </a:lnTo>
                      <a:lnTo>
                        <a:pt x="179" y="84"/>
                      </a:lnTo>
                      <a:lnTo>
                        <a:pt x="182" y="86"/>
                      </a:lnTo>
                      <a:lnTo>
                        <a:pt x="186" y="89"/>
                      </a:lnTo>
                      <a:lnTo>
                        <a:pt x="189" y="90"/>
                      </a:lnTo>
                      <a:lnTo>
                        <a:pt x="192" y="92"/>
                      </a:lnTo>
                      <a:lnTo>
                        <a:pt x="205" y="95"/>
                      </a:lnTo>
                      <a:lnTo>
                        <a:pt x="217" y="95"/>
                      </a:lnTo>
                      <a:lnTo>
                        <a:pt x="221" y="95"/>
                      </a:lnTo>
                      <a:lnTo>
                        <a:pt x="224" y="98"/>
                      </a:lnTo>
                      <a:lnTo>
                        <a:pt x="228" y="98"/>
                      </a:lnTo>
                      <a:lnTo>
                        <a:pt x="232" y="97"/>
                      </a:lnTo>
                      <a:lnTo>
                        <a:pt x="235" y="97"/>
                      </a:lnTo>
                      <a:lnTo>
                        <a:pt x="238" y="98"/>
                      </a:lnTo>
                      <a:lnTo>
                        <a:pt x="241" y="97"/>
                      </a:lnTo>
                      <a:lnTo>
                        <a:pt x="246" y="98"/>
                      </a:lnTo>
                      <a:lnTo>
                        <a:pt x="252" y="98"/>
                      </a:lnTo>
                      <a:lnTo>
                        <a:pt x="255" y="100"/>
                      </a:lnTo>
                      <a:lnTo>
                        <a:pt x="259" y="101"/>
                      </a:lnTo>
                      <a:lnTo>
                        <a:pt x="262" y="103"/>
                      </a:lnTo>
                      <a:lnTo>
                        <a:pt x="267" y="103"/>
                      </a:lnTo>
                      <a:lnTo>
                        <a:pt x="270" y="101"/>
                      </a:lnTo>
                      <a:lnTo>
                        <a:pt x="273" y="101"/>
                      </a:lnTo>
                      <a:lnTo>
                        <a:pt x="276" y="98"/>
                      </a:lnTo>
                      <a:lnTo>
                        <a:pt x="281" y="97"/>
                      </a:lnTo>
                      <a:lnTo>
                        <a:pt x="284" y="97"/>
                      </a:lnTo>
                      <a:lnTo>
                        <a:pt x="287" y="97"/>
                      </a:lnTo>
                      <a:lnTo>
                        <a:pt x="290" y="100"/>
                      </a:lnTo>
                      <a:lnTo>
                        <a:pt x="298" y="103"/>
                      </a:lnTo>
                      <a:lnTo>
                        <a:pt x="301" y="105"/>
                      </a:lnTo>
                      <a:lnTo>
                        <a:pt x="305" y="106"/>
                      </a:lnTo>
                      <a:lnTo>
                        <a:pt x="308" y="108"/>
                      </a:lnTo>
                      <a:lnTo>
                        <a:pt x="313" y="111"/>
                      </a:lnTo>
                      <a:lnTo>
                        <a:pt x="316" y="111"/>
                      </a:lnTo>
                      <a:lnTo>
                        <a:pt x="319" y="111"/>
                      </a:lnTo>
                      <a:lnTo>
                        <a:pt x="322" y="109"/>
                      </a:lnTo>
                      <a:lnTo>
                        <a:pt x="325" y="111"/>
                      </a:lnTo>
                      <a:lnTo>
                        <a:pt x="325" y="116"/>
                      </a:lnTo>
                      <a:lnTo>
                        <a:pt x="325" y="116"/>
                      </a:lnTo>
                      <a:lnTo>
                        <a:pt x="325" y="116"/>
                      </a:lnTo>
                      <a:lnTo>
                        <a:pt x="330" y="116"/>
                      </a:lnTo>
                      <a:lnTo>
                        <a:pt x="332" y="117"/>
                      </a:lnTo>
                      <a:lnTo>
                        <a:pt x="333" y="117"/>
                      </a:lnTo>
                      <a:lnTo>
                        <a:pt x="335" y="114"/>
                      </a:lnTo>
                      <a:lnTo>
                        <a:pt x="330" y="111"/>
                      </a:lnTo>
                      <a:lnTo>
                        <a:pt x="328" y="108"/>
                      </a:lnTo>
                      <a:lnTo>
                        <a:pt x="328" y="103"/>
                      </a:lnTo>
                      <a:lnTo>
                        <a:pt x="327" y="100"/>
                      </a:lnTo>
                      <a:lnTo>
                        <a:pt x="327" y="97"/>
                      </a:lnTo>
                      <a:lnTo>
                        <a:pt x="328" y="94"/>
                      </a:lnTo>
                      <a:lnTo>
                        <a:pt x="328" y="90"/>
                      </a:lnTo>
                      <a:lnTo>
                        <a:pt x="328" y="89"/>
                      </a:lnTo>
                      <a:lnTo>
                        <a:pt x="330" y="86"/>
                      </a:lnTo>
                      <a:lnTo>
                        <a:pt x="330" y="82"/>
                      </a:lnTo>
                      <a:lnTo>
                        <a:pt x="332" y="79"/>
                      </a:lnTo>
                      <a:lnTo>
                        <a:pt x="328" y="74"/>
                      </a:lnTo>
                      <a:lnTo>
                        <a:pt x="325" y="73"/>
                      </a:lnTo>
                      <a:lnTo>
                        <a:pt x="322" y="73"/>
                      </a:lnTo>
                      <a:lnTo>
                        <a:pt x="319" y="71"/>
                      </a:lnTo>
                      <a:lnTo>
                        <a:pt x="314" y="70"/>
                      </a:lnTo>
                      <a:lnTo>
                        <a:pt x="311" y="73"/>
                      </a:lnTo>
                      <a:lnTo>
                        <a:pt x="308" y="73"/>
                      </a:lnTo>
                      <a:lnTo>
                        <a:pt x="305" y="73"/>
                      </a:lnTo>
                      <a:lnTo>
                        <a:pt x="301" y="73"/>
                      </a:lnTo>
                      <a:lnTo>
                        <a:pt x="297" y="73"/>
                      </a:lnTo>
                      <a:lnTo>
                        <a:pt x="294" y="74"/>
                      </a:lnTo>
                      <a:lnTo>
                        <a:pt x="290" y="76"/>
                      </a:lnTo>
                      <a:lnTo>
                        <a:pt x="281" y="71"/>
                      </a:lnTo>
                      <a:lnTo>
                        <a:pt x="273" y="68"/>
                      </a:lnTo>
                      <a:lnTo>
                        <a:pt x="271" y="67"/>
                      </a:lnTo>
                      <a:lnTo>
                        <a:pt x="271" y="63"/>
                      </a:lnTo>
                      <a:lnTo>
                        <a:pt x="273" y="59"/>
                      </a:lnTo>
                      <a:lnTo>
                        <a:pt x="273" y="55"/>
                      </a:lnTo>
                      <a:lnTo>
                        <a:pt x="271" y="52"/>
                      </a:lnTo>
                      <a:lnTo>
                        <a:pt x="268" y="54"/>
                      </a:lnTo>
                      <a:lnTo>
                        <a:pt x="268" y="51"/>
                      </a:lnTo>
                      <a:lnTo>
                        <a:pt x="267" y="48"/>
                      </a:lnTo>
                      <a:lnTo>
                        <a:pt x="267" y="46"/>
                      </a:lnTo>
                      <a:lnTo>
                        <a:pt x="265" y="43"/>
                      </a:lnTo>
                      <a:lnTo>
                        <a:pt x="265" y="40"/>
                      </a:lnTo>
                      <a:lnTo>
                        <a:pt x="262" y="40"/>
                      </a:lnTo>
                      <a:lnTo>
                        <a:pt x="259" y="40"/>
                      </a:lnTo>
                      <a:lnTo>
                        <a:pt x="255" y="40"/>
                      </a:lnTo>
                      <a:lnTo>
                        <a:pt x="252" y="40"/>
                      </a:lnTo>
                      <a:lnTo>
                        <a:pt x="248" y="40"/>
                      </a:lnTo>
                      <a:lnTo>
                        <a:pt x="246" y="36"/>
                      </a:lnTo>
                      <a:lnTo>
                        <a:pt x="241" y="35"/>
                      </a:lnTo>
                      <a:lnTo>
                        <a:pt x="238" y="36"/>
                      </a:lnTo>
                      <a:lnTo>
                        <a:pt x="235" y="35"/>
                      </a:lnTo>
                      <a:lnTo>
                        <a:pt x="233" y="33"/>
                      </a:lnTo>
                      <a:lnTo>
                        <a:pt x="230" y="30"/>
                      </a:lnTo>
                      <a:lnTo>
                        <a:pt x="227" y="29"/>
                      </a:lnTo>
                      <a:lnTo>
                        <a:pt x="224" y="32"/>
                      </a:lnTo>
                      <a:lnTo>
                        <a:pt x="219" y="32"/>
                      </a:lnTo>
                      <a:lnTo>
                        <a:pt x="216" y="32"/>
                      </a:lnTo>
                      <a:lnTo>
                        <a:pt x="216" y="32"/>
                      </a:lnTo>
                      <a:lnTo>
                        <a:pt x="213" y="29"/>
                      </a:lnTo>
                      <a:lnTo>
                        <a:pt x="211" y="24"/>
                      </a:lnTo>
                      <a:lnTo>
                        <a:pt x="211" y="21"/>
                      </a:lnTo>
                      <a:lnTo>
                        <a:pt x="206" y="21"/>
                      </a:lnTo>
                      <a:lnTo>
                        <a:pt x="203" y="21"/>
                      </a:lnTo>
                      <a:lnTo>
                        <a:pt x="200" y="22"/>
                      </a:lnTo>
                      <a:lnTo>
                        <a:pt x="197" y="29"/>
                      </a:lnTo>
                      <a:lnTo>
                        <a:pt x="194" y="38"/>
                      </a:lnTo>
                      <a:lnTo>
                        <a:pt x="190" y="41"/>
                      </a:lnTo>
                      <a:lnTo>
                        <a:pt x="187" y="43"/>
                      </a:lnTo>
                      <a:lnTo>
                        <a:pt x="184" y="43"/>
                      </a:lnTo>
                      <a:lnTo>
                        <a:pt x="179" y="38"/>
                      </a:lnTo>
                      <a:lnTo>
                        <a:pt x="173" y="41"/>
                      </a:lnTo>
                      <a:lnTo>
                        <a:pt x="168" y="41"/>
                      </a:lnTo>
                      <a:lnTo>
                        <a:pt x="163" y="40"/>
                      </a:lnTo>
                      <a:lnTo>
                        <a:pt x="159" y="38"/>
                      </a:lnTo>
                      <a:lnTo>
                        <a:pt x="156" y="36"/>
                      </a:lnTo>
                      <a:lnTo>
                        <a:pt x="152" y="38"/>
                      </a:lnTo>
                      <a:lnTo>
                        <a:pt x="148" y="40"/>
                      </a:lnTo>
                      <a:lnTo>
                        <a:pt x="144" y="38"/>
                      </a:lnTo>
                      <a:lnTo>
                        <a:pt x="141" y="38"/>
                      </a:lnTo>
                      <a:lnTo>
                        <a:pt x="138" y="35"/>
                      </a:lnTo>
                      <a:lnTo>
                        <a:pt x="133" y="38"/>
                      </a:lnTo>
                      <a:lnTo>
                        <a:pt x="133" y="36"/>
                      </a:lnTo>
                      <a:lnTo>
                        <a:pt x="129" y="36"/>
                      </a:lnTo>
                      <a:lnTo>
                        <a:pt x="125" y="36"/>
                      </a:lnTo>
                      <a:lnTo>
                        <a:pt x="122" y="33"/>
                      </a:lnTo>
                      <a:lnTo>
                        <a:pt x="121" y="30"/>
                      </a:lnTo>
                      <a:lnTo>
                        <a:pt x="121" y="27"/>
                      </a:lnTo>
                      <a:lnTo>
                        <a:pt x="121" y="24"/>
                      </a:lnTo>
                      <a:lnTo>
                        <a:pt x="117" y="21"/>
                      </a:lnTo>
                      <a:lnTo>
                        <a:pt x="114" y="17"/>
                      </a:lnTo>
                      <a:lnTo>
                        <a:pt x="111" y="14"/>
                      </a:lnTo>
                      <a:lnTo>
                        <a:pt x="110" y="14"/>
                      </a:lnTo>
                      <a:lnTo>
                        <a:pt x="108" y="17"/>
                      </a:lnTo>
                      <a:lnTo>
                        <a:pt x="105" y="17"/>
                      </a:lnTo>
                      <a:lnTo>
                        <a:pt x="102" y="14"/>
                      </a:lnTo>
                      <a:lnTo>
                        <a:pt x="97" y="13"/>
                      </a:lnTo>
                      <a:lnTo>
                        <a:pt x="97" y="13"/>
                      </a:lnTo>
                      <a:lnTo>
                        <a:pt x="94" y="11"/>
                      </a:lnTo>
                      <a:lnTo>
                        <a:pt x="90" y="14"/>
                      </a:lnTo>
                      <a:lnTo>
                        <a:pt x="87" y="11"/>
                      </a:lnTo>
                      <a:lnTo>
                        <a:pt x="83" y="9"/>
                      </a:lnTo>
                      <a:lnTo>
                        <a:pt x="81" y="6"/>
                      </a:lnTo>
                      <a:lnTo>
                        <a:pt x="79" y="2"/>
                      </a:lnTo>
                      <a:lnTo>
                        <a:pt x="75" y="2"/>
                      </a:lnTo>
                      <a:lnTo>
                        <a:pt x="71" y="2"/>
                      </a:lnTo>
                      <a:lnTo>
                        <a:pt x="68" y="0"/>
                      </a:lnTo>
                      <a:lnTo>
                        <a:pt x="67" y="0"/>
                      </a:lnTo>
                      <a:lnTo>
                        <a:pt x="67" y="3"/>
                      </a:lnTo>
                      <a:lnTo>
                        <a:pt x="65" y="6"/>
                      </a:lnTo>
                      <a:lnTo>
                        <a:pt x="62" y="6"/>
                      </a:lnTo>
                      <a:lnTo>
                        <a:pt x="59" y="8"/>
                      </a:lnTo>
                      <a:lnTo>
                        <a:pt x="56" y="6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11" name="Freeform 102"/>
                <p:cNvSpPr>
                  <a:spLocks/>
                </p:cNvSpPr>
                <p:nvPr/>
              </p:nvSpPr>
              <p:spPr bwMode="auto">
                <a:xfrm>
                  <a:off x="4498" y="2521"/>
                  <a:ext cx="30" cy="32"/>
                </a:xfrm>
                <a:custGeom>
                  <a:avLst/>
                  <a:gdLst>
                    <a:gd name="T0" fmla="*/ 8 w 60"/>
                    <a:gd name="T1" fmla="*/ 10 h 65"/>
                    <a:gd name="T2" fmla="*/ 9 w 60"/>
                    <a:gd name="T3" fmla="*/ 13 h 65"/>
                    <a:gd name="T4" fmla="*/ 6 w 60"/>
                    <a:gd name="T5" fmla="*/ 16 h 65"/>
                    <a:gd name="T6" fmla="*/ 3 w 60"/>
                    <a:gd name="T7" fmla="*/ 18 h 65"/>
                    <a:gd name="T8" fmla="*/ 0 w 60"/>
                    <a:gd name="T9" fmla="*/ 21 h 65"/>
                    <a:gd name="T10" fmla="*/ 3 w 60"/>
                    <a:gd name="T11" fmla="*/ 24 h 65"/>
                    <a:gd name="T12" fmla="*/ 6 w 60"/>
                    <a:gd name="T13" fmla="*/ 26 h 65"/>
                    <a:gd name="T14" fmla="*/ 9 w 60"/>
                    <a:gd name="T15" fmla="*/ 26 h 65"/>
                    <a:gd name="T16" fmla="*/ 14 w 60"/>
                    <a:gd name="T17" fmla="*/ 24 h 65"/>
                    <a:gd name="T18" fmla="*/ 19 w 60"/>
                    <a:gd name="T19" fmla="*/ 26 h 65"/>
                    <a:gd name="T20" fmla="*/ 22 w 60"/>
                    <a:gd name="T21" fmla="*/ 27 h 65"/>
                    <a:gd name="T22" fmla="*/ 24 w 60"/>
                    <a:gd name="T23" fmla="*/ 30 h 65"/>
                    <a:gd name="T24" fmla="*/ 24 w 60"/>
                    <a:gd name="T25" fmla="*/ 37 h 65"/>
                    <a:gd name="T26" fmla="*/ 27 w 60"/>
                    <a:gd name="T27" fmla="*/ 40 h 65"/>
                    <a:gd name="T28" fmla="*/ 28 w 60"/>
                    <a:gd name="T29" fmla="*/ 43 h 65"/>
                    <a:gd name="T30" fmla="*/ 27 w 60"/>
                    <a:gd name="T31" fmla="*/ 46 h 65"/>
                    <a:gd name="T32" fmla="*/ 27 w 60"/>
                    <a:gd name="T33" fmla="*/ 49 h 65"/>
                    <a:gd name="T34" fmla="*/ 28 w 60"/>
                    <a:gd name="T35" fmla="*/ 53 h 65"/>
                    <a:gd name="T36" fmla="*/ 33 w 60"/>
                    <a:gd name="T37" fmla="*/ 56 h 65"/>
                    <a:gd name="T38" fmla="*/ 36 w 60"/>
                    <a:gd name="T39" fmla="*/ 56 h 65"/>
                    <a:gd name="T40" fmla="*/ 40 w 60"/>
                    <a:gd name="T41" fmla="*/ 57 h 65"/>
                    <a:gd name="T42" fmla="*/ 43 w 60"/>
                    <a:gd name="T43" fmla="*/ 60 h 65"/>
                    <a:gd name="T44" fmla="*/ 46 w 60"/>
                    <a:gd name="T45" fmla="*/ 62 h 65"/>
                    <a:gd name="T46" fmla="*/ 47 w 60"/>
                    <a:gd name="T47" fmla="*/ 65 h 65"/>
                    <a:gd name="T48" fmla="*/ 52 w 60"/>
                    <a:gd name="T49" fmla="*/ 65 h 65"/>
                    <a:gd name="T50" fmla="*/ 55 w 60"/>
                    <a:gd name="T51" fmla="*/ 65 h 65"/>
                    <a:gd name="T52" fmla="*/ 57 w 60"/>
                    <a:gd name="T53" fmla="*/ 62 h 65"/>
                    <a:gd name="T54" fmla="*/ 54 w 60"/>
                    <a:gd name="T55" fmla="*/ 60 h 65"/>
                    <a:gd name="T56" fmla="*/ 52 w 60"/>
                    <a:gd name="T57" fmla="*/ 57 h 65"/>
                    <a:gd name="T58" fmla="*/ 52 w 60"/>
                    <a:gd name="T59" fmla="*/ 53 h 65"/>
                    <a:gd name="T60" fmla="*/ 54 w 60"/>
                    <a:gd name="T61" fmla="*/ 49 h 65"/>
                    <a:gd name="T62" fmla="*/ 57 w 60"/>
                    <a:gd name="T63" fmla="*/ 46 h 65"/>
                    <a:gd name="T64" fmla="*/ 60 w 60"/>
                    <a:gd name="T65" fmla="*/ 45 h 65"/>
                    <a:gd name="T66" fmla="*/ 57 w 60"/>
                    <a:gd name="T67" fmla="*/ 43 h 65"/>
                    <a:gd name="T68" fmla="*/ 52 w 60"/>
                    <a:gd name="T69" fmla="*/ 41 h 65"/>
                    <a:gd name="T70" fmla="*/ 49 w 60"/>
                    <a:gd name="T71" fmla="*/ 41 h 65"/>
                    <a:gd name="T72" fmla="*/ 46 w 60"/>
                    <a:gd name="T73" fmla="*/ 40 h 65"/>
                    <a:gd name="T74" fmla="*/ 43 w 60"/>
                    <a:gd name="T75" fmla="*/ 38 h 65"/>
                    <a:gd name="T76" fmla="*/ 40 w 60"/>
                    <a:gd name="T77" fmla="*/ 35 h 65"/>
                    <a:gd name="T78" fmla="*/ 40 w 60"/>
                    <a:gd name="T79" fmla="*/ 32 h 65"/>
                    <a:gd name="T80" fmla="*/ 38 w 60"/>
                    <a:gd name="T81" fmla="*/ 29 h 65"/>
                    <a:gd name="T82" fmla="*/ 38 w 60"/>
                    <a:gd name="T83" fmla="*/ 26 h 65"/>
                    <a:gd name="T84" fmla="*/ 36 w 60"/>
                    <a:gd name="T85" fmla="*/ 21 h 65"/>
                    <a:gd name="T86" fmla="*/ 36 w 60"/>
                    <a:gd name="T87" fmla="*/ 18 h 65"/>
                    <a:gd name="T88" fmla="*/ 36 w 60"/>
                    <a:gd name="T89" fmla="*/ 14 h 65"/>
                    <a:gd name="T90" fmla="*/ 35 w 60"/>
                    <a:gd name="T91" fmla="*/ 11 h 65"/>
                    <a:gd name="T92" fmla="*/ 32 w 60"/>
                    <a:gd name="T93" fmla="*/ 7 h 65"/>
                    <a:gd name="T94" fmla="*/ 33 w 60"/>
                    <a:gd name="T95" fmla="*/ 3 h 65"/>
                    <a:gd name="T96" fmla="*/ 28 w 60"/>
                    <a:gd name="T97" fmla="*/ 2 h 65"/>
                    <a:gd name="T98" fmla="*/ 25 w 60"/>
                    <a:gd name="T99" fmla="*/ 0 h 65"/>
                    <a:gd name="T100" fmla="*/ 22 w 60"/>
                    <a:gd name="T101" fmla="*/ 2 h 65"/>
                    <a:gd name="T102" fmla="*/ 22 w 60"/>
                    <a:gd name="T103" fmla="*/ 5 h 65"/>
                    <a:gd name="T104" fmla="*/ 22 w 60"/>
                    <a:gd name="T105" fmla="*/ 8 h 65"/>
                    <a:gd name="T106" fmla="*/ 24 w 60"/>
                    <a:gd name="T107" fmla="*/ 11 h 65"/>
                    <a:gd name="T108" fmla="*/ 20 w 60"/>
                    <a:gd name="T109" fmla="*/ 11 h 65"/>
                    <a:gd name="T110" fmla="*/ 19 w 60"/>
                    <a:gd name="T111" fmla="*/ 8 h 65"/>
                    <a:gd name="T112" fmla="*/ 17 w 60"/>
                    <a:gd name="T113" fmla="*/ 5 h 65"/>
                    <a:gd name="T114" fmla="*/ 14 w 60"/>
                    <a:gd name="T115" fmla="*/ 2 h 65"/>
                    <a:gd name="T116" fmla="*/ 11 w 60"/>
                    <a:gd name="T117" fmla="*/ 3 h 65"/>
                    <a:gd name="T118" fmla="*/ 8 w 60"/>
                    <a:gd name="T119" fmla="*/ 7 h 65"/>
                    <a:gd name="T120" fmla="*/ 8 w 60"/>
                    <a:gd name="T121" fmla="*/ 10 h 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60" h="65">
                      <a:moveTo>
                        <a:pt x="8" y="10"/>
                      </a:moveTo>
                      <a:lnTo>
                        <a:pt x="9" y="13"/>
                      </a:lnTo>
                      <a:lnTo>
                        <a:pt x="6" y="16"/>
                      </a:lnTo>
                      <a:lnTo>
                        <a:pt x="3" y="18"/>
                      </a:lnTo>
                      <a:lnTo>
                        <a:pt x="0" y="21"/>
                      </a:lnTo>
                      <a:lnTo>
                        <a:pt x="3" y="24"/>
                      </a:lnTo>
                      <a:lnTo>
                        <a:pt x="6" y="26"/>
                      </a:lnTo>
                      <a:lnTo>
                        <a:pt x="9" y="26"/>
                      </a:lnTo>
                      <a:lnTo>
                        <a:pt x="14" y="24"/>
                      </a:lnTo>
                      <a:lnTo>
                        <a:pt x="19" y="26"/>
                      </a:lnTo>
                      <a:lnTo>
                        <a:pt x="22" y="27"/>
                      </a:lnTo>
                      <a:lnTo>
                        <a:pt x="24" y="30"/>
                      </a:lnTo>
                      <a:lnTo>
                        <a:pt x="24" y="37"/>
                      </a:lnTo>
                      <a:lnTo>
                        <a:pt x="27" y="40"/>
                      </a:lnTo>
                      <a:lnTo>
                        <a:pt x="28" y="43"/>
                      </a:lnTo>
                      <a:lnTo>
                        <a:pt x="27" y="46"/>
                      </a:lnTo>
                      <a:lnTo>
                        <a:pt x="27" y="49"/>
                      </a:lnTo>
                      <a:lnTo>
                        <a:pt x="28" y="53"/>
                      </a:lnTo>
                      <a:lnTo>
                        <a:pt x="33" y="56"/>
                      </a:lnTo>
                      <a:lnTo>
                        <a:pt x="36" y="56"/>
                      </a:lnTo>
                      <a:lnTo>
                        <a:pt x="40" y="57"/>
                      </a:lnTo>
                      <a:lnTo>
                        <a:pt x="43" y="60"/>
                      </a:lnTo>
                      <a:lnTo>
                        <a:pt x="46" y="62"/>
                      </a:lnTo>
                      <a:lnTo>
                        <a:pt x="47" y="65"/>
                      </a:lnTo>
                      <a:lnTo>
                        <a:pt x="52" y="65"/>
                      </a:lnTo>
                      <a:lnTo>
                        <a:pt x="55" y="65"/>
                      </a:lnTo>
                      <a:lnTo>
                        <a:pt x="57" y="62"/>
                      </a:lnTo>
                      <a:lnTo>
                        <a:pt x="54" y="60"/>
                      </a:lnTo>
                      <a:lnTo>
                        <a:pt x="52" y="57"/>
                      </a:lnTo>
                      <a:lnTo>
                        <a:pt x="52" y="53"/>
                      </a:lnTo>
                      <a:lnTo>
                        <a:pt x="54" y="49"/>
                      </a:lnTo>
                      <a:lnTo>
                        <a:pt x="57" y="46"/>
                      </a:lnTo>
                      <a:lnTo>
                        <a:pt x="60" y="45"/>
                      </a:lnTo>
                      <a:lnTo>
                        <a:pt x="57" y="43"/>
                      </a:lnTo>
                      <a:lnTo>
                        <a:pt x="52" y="41"/>
                      </a:lnTo>
                      <a:lnTo>
                        <a:pt x="49" y="41"/>
                      </a:lnTo>
                      <a:lnTo>
                        <a:pt x="46" y="40"/>
                      </a:lnTo>
                      <a:lnTo>
                        <a:pt x="43" y="38"/>
                      </a:lnTo>
                      <a:lnTo>
                        <a:pt x="40" y="35"/>
                      </a:lnTo>
                      <a:lnTo>
                        <a:pt x="40" y="32"/>
                      </a:lnTo>
                      <a:lnTo>
                        <a:pt x="38" y="29"/>
                      </a:lnTo>
                      <a:lnTo>
                        <a:pt x="38" y="26"/>
                      </a:lnTo>
                      <a:lnTo>
                        <a:pt x="36" y="21"/>
                      </a:lnTo>
                      <a:lnTo>
                        <a:pt x="36" y="18"/>
                      </a:lnTo>
                      <a:lnTo>
                        <a:pt x="36" y="14"/>
                      </a:lnTo>
                      <a:lnTo>
                        <a:pt x="35" y="11"/>
                      </a:lnTo>
                      <a:lnTo>
                        <a:pt x="32" y="7"/>
                      </a:lnTo>
                      <a:lnTo>
                        <a:pt x="33" y="3"/>
                      </a:lnTo>
                      <a:lnTo>
                        <a:pt x="28" y="2"/>
                      </a:lnTo>
                      <a:lnTo>
                        <a:pt x="25" y="0"/>
                      </a:lnTo>
                      <a:lnTo>
                        <a:pt x="22" y="2"/>
                      </a:lnTo>
                      <a:lnTo>
                        <a:pt x="22" y="5"/>
                      </a:lnTo>
                      <a:lnTo>
                        <a:pt x="22" y="8"/>
                      </a:lnTo>
                      <a:lnTo>
                        <a:pt x="24" y="11"/>
                      </a:lnTo>
                      <a:lnTo>
                        <a:pt x="20" y="11"/>
                      </a:lnTo>
                      <a:lnTo>
                        <a:pt x="19" y="8"/>
                      </a:lnTo>
                      <a:lnTo>
                        <a:pt x="17" y="5"/>
                      </a:lnTo>
                      <a:lnTo>
                        <a:pt x="14" y="2"/>
                      </a:lnTo>
                      <a:lnTo>
                        <a:pt x="11" y="3"/>
                      </a:lnTo>
                      <a:lnTo>
                        <a:pt x="8" y="7"/>
                      </a:lnTo>
                      <a:lnTo>
                        <a:pt x="8" y="10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12" name="Freeform 103"/>
                <p:cNvSpPr>
                  <a:spLocks/>
                </p:cNvSpPr>
                <p:nvPr/>
              </p:nvSpPr>
              <p:spPr bwMode="auto">
                <a:xfrm>
                  <a:off x="4542" y="2542"/>
                  <a:ext cx="12" cy="14"/>
                </a:xfrm>
                <a:custGeom>
                  <a:avLst/>
                  <a:gdLst>
                    <a:gd name="T0" fmla="*/ 5 w 25"/>
                    <a:gd name="T1" fmla="*/ 0 h 29"/>
                    <a:gd name="T2" fmla="*/ 3 w 25"/>
                    <a:gd name="T3" fmla="*/ 3 h 29"/>
                    <a:gd name="T4" fmla="*/ 2 w 25"/>
                    <a:gd name="T5" fmla="*/ 8 h 29"/>
                    <a:gd name="T6" fmla="*/ 2 w 25"/>
                    <a:gd name="T7" fmla="*/ 11 h 29"/>
                    <a:gd name="T8" fmla="*/ 0 w 25"/>
                    <a:gd name="T9" fmla="*/ 14 h 29"/>
                    <a:gd name="T10" fmla="*/ 0 w 25"/>
                    <a:gd name="T11" fmla="*/ 17 h 29"/>
                    <a:gd name="T12" fmla="*/ 0 w 25"/>
                    <a:gd name="T13" fmla="*/ 21 h 29"/>
                    <a:gd name="T14" fmla="*/ 2 w 25"/>
                    <a:gd name="T15" fmla="*/ 24 h 29"/>
                    <a:gd name="T16" fmla="*/ 5 w 25"/>
                    <a:gd name="T17" fmla="*/ 27 h 29"/>
                    <a:gd name="T18" fmla="*/ 8 w 25"/>
                    <a:gd name="T19" fmla="*/ 25 h 29"/>
                    <a:gd name="T20" fmla="*/ 8 w 25"/>
                    <a:gd name="T21" fmla="*/ 22 h 29"/>
                    <a:gd name="T22" fmla="*/ 11 w 25"/>
                    <a:gd name="T23" fmla="*/ 22 h 29"/>
                    <a:gd name="T24" fmla="*/ 14 w 25"/>
                    <a:gd name="T25" fmla="*/ 27 h 29"/>
                    <a:gd name="T26" fmla="*/ 18 w 25"/>
                    <a:gd name="T27" fmla="*/ 29 h 29"/>
                    <a:gd name="T28" fmla="*/ 21 w 25"/>
                    <a:gd name="T29" fmla="*/ 24 h 29"/>
                    <a:gd name="T30" fmla="*/ 22 w 25"/>
                    <a:gd name="T31" fmla="*/ 21 h 29"/>
                    <a:gd name="T32" fmla="*/ 22 w 25"/>
                    <a:gd name="T33" fmla="*/ 17 h 29"/>
                    <a:gd name="T34" fmla="*/ 25 w 25"/>
                    <a:gd name="T35" fmla="*/ 14 h 29"/>
                    <a:gd name="T36" fmla="*/ 25 w 25"/>
                    <a:gd name="T37" fmla="*/ 11 h 29"/>
                    <a:gd name="T38" fmla="*/ 24 w 25"/>
                    <a:gd name="T39" fmla="*/ 8 h 29"/>
                    <a:gd name="T40" fmla="*/ 21 w 25"/>
                    <a:gd name="T41" fmla="*/ 3 h 29"/>
                    <a:gd name="T42" fmla="*/ 19 w 25"/>
                    <a:gd name="T43" fmla="*/ 3 h 29"/>
                    <a:gd name="T44" fmla="*/ 19 w 25"/>
                    <a:gd name="T45" fmla="*/ 2 h 29"/>
                    <a:gd name="T46" fmla="*/ 18 w 25"/>
                    <a:gd name="T47" fmla="*/ 2 h 29"/>
                    <a:gd name="T48" fmla="*/ 16 w 25"/>
                    <a:gd name="T49" fmla="*/ 2 h 29"/>
                    <a:gd name="T50" fmla="*/ 16 w 25"/>
                    <a:gd name="T51" fmla="*/ 2 h 29"/>
                    <a:gd name="T52" fmla="*/ 11 w 25"/>
                    <a:gd name="T53" fmla="*/ 2 h 29"/>
                    <a:gd name="T54" fmla="*/ 8 w 25"/>
                    <a:gd name="T55" fmla="*/ 0 h 29"/>
                    <a:gd name="T56" fmla="*/ 5 w 25"/>
                    <a:gd name="T57" fmla="*/ 0 h 2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25" h="29">
                      <a:moveTo>
                        <a:pt x="5" y="0"/>
                      </a:moveTo>
                      <a:lnTo>
                        <a:pt x="3" y="3"/>
                      </a:lnTo>
                      <a:lnTo>
                        <a:pt x="2" y="8"/>
                      </a:lnTo>
                      <a:lnTo>
                        <a:pt x="2" y="11"/>
                      </a:lnTo>
                      <a:lnTo>
                        <a:pt x="0" y="14"/>
                      </a:lnTo>
                      <a:lnTo>
                        <a:pt x="0" y="17"/>
                      </a:lnTo>
                      <a:lnTo>
                        <a:pt x="0" y="21"/>
                      </a:lnTo>
                      <a:lnTo>
                        <a:pt x="2" y="24"/>
                      </a:lnTo>
                      <a:lnTo>
                        <a:pt x="5" y="27"/>
                      </a:lnTo>
                      <a:lnTo>
                        <a:pt x="8" y="25"/>
                      </a:lnTo>
                      <a:lnTo>
                        <a:pt x="8" y="22"/>
                      </a:lnTo>
                      <a:lnTo>
                        <a:pt x="11" y="22"/>
                      </a:lnTo>
                      <a:lnTo>
                        <a:pt x="14" y="27"/>
                      </a:lnTo>
                      <a:lnTo>
                        <a:pt x="18" y="29"/>
                      </a:lnTo>
                      <a:lnTo>
                        <a:pt x="21" y="24"/>
                      </a:lnTo>
                      <a:lnTo>
                        <a:pt x="22" y="21"/>
                      </a:lnTo>
                      <a:lnTo>
                        <a:pt x="22" y="17"/>
                      </a:lnTo>
                      <a:lnTo>
                        <a:pt x="25" y="14"/>
                      </a:lnTo>
                      <a:lnTo>
                        <a:pt x="25" y="11"/>
                      </a:lnTo>
                      <a:lnTo>
                        <a:pt x="24" y="8"/>
                      </a:lnTo>
                      <a:lnTo>
                        <a:pt x="21" y="3"/>
                      </a:lnTo>
                      <a:lnTo>
                        <a:pt x="19" y="3"/>
                      </a:lnTo>
                      <a:lnTo>
                        <a:pt x="19" y="2"/>
                      </a:lnTo>
                      <a:lnTo>
                        <a:pt x="18" y="2"/>
                      </a:lnTo>
                      <a:lnTo>
                        <a:pt x="16" y="2"/>
                      </a:lnTo>
                      <a:lnTo>
                        <a:pt x="16" y="2"/>
                      </a:lnTo>
                      <a:lnTo>
                        <a:pt x="11" y="2"/>
                      </a:lnTo>
                      <a:lnTo>
                        <a:pt x="8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13" name="Freeform 104"/>
                <p:cNvSpPr>
                  <a:spLocks/>
                </p:cNvSpPr>
                <p:nvPr/>
              </p:nvSpPr>
              <p:spPr bwMode="auto">
                <a:xfrm>
                  <a:off x="4630" y="2630"/>
                  <a:ext cx="25" cy="8"/>
                </a:xfrm>
                <a:custGeom>
                  <a:avLst/>
                  <a:gdLst>
                    <a:gd name="T0" fmla="*/ 9 w 49"/>
                    <a:gd name="T1" fmla="*/ 2 h 16"/>
                    <a:gd name="T2" fmla="*/ 4 w 49"/>
                    <a:gd name="T3" fmla="*/ 2 h 16"/>
                    <a:gd name="T4" fmla="*/ 3 w 49"/>
                    <a:gd name="T5" fmla="*/ 5 h 16"/>
                    <a:gd name="T6" fmla="*/ 0 w 49"/>
                    <a:gd name="T7" fmla="*/ 8 h 16"/>
                    <a:gd name="T8" fmla="*/ 0 w 49"/>
                    <a:gd name="T9" fmla="*/ 11 h 16"/>
                    <a:gd name="T10" fmla="*/ 3 w 49"/>
                    <a:gd name="T11" fmla="*/ 13 h 16"/>
                    <a:gd name="T12" fmla="*/ 6 w 49"/>
                    <a:gd name="T13" fmla="*/ 14 h 16"/>
                    <a:gd name="T14" fmla="*/ 11 w 49"/>
                    <a:gd name="T15" fmla="*/ 14 h 16"/>
                    <a:gd name="T16" fmla="*/ 14 w 49"/>
                    <a:gd name="T17" fmla="*/ 16 h 16"/>
                    <a:gd name="T18" fmla="*/ 14 w 49"/>
                    <a:gd name="T19" fmla="*/ 11 h 16"/>
                    <a:gd name="T20" fmla="*/ 17 w 49"/>
                    <a:gd name="T21" fmla="*/ 14 h 16"/>
                    <a:gd name="T22" fmla="*/ 20 w 49"/>
                    <a:gd name="T23" fmla="*/ 16 h 16"/>
                    <a:gd name="T24" fmla="*/ 25 w 49"/>
                    <a:gd name="T25" fmla="*/ 16 h 16"/>
                    <a:gd name="T26" fmla="*/ 28 w 49"/>
                    <a:gd name="T27" fmla="*/ 16 h 16"/>
                    <a:gd name="T28" fmla="*/ 31 w 49"/>
                    <a:gd name="T29" fmla="*/ 13 h 16"/>
                    <a:gd name="T30" fmla="*/ 35 w 49"/>
                    <a:gd name="T31" fmla="*/ 10 h 16"/>
                    <a:gd name="T32" fmla="*/ 38 w 49"/>
                    <a:gd name="T33" fmla="*/ 11 h 16"/>
                    <a:gd name="T34" fmla="*/ 43 w 49"/>
                    <a:gd name="T35" fmla="*/ 11 h 16"/>
                    <a:gd name="T36" fmla="*/ 43 w 49"/>
                    <a:gd name="T37" fmla="*/ 8 h 16"/>
                    <a:gd name="T38" fmla="*/ 46 w 49"/>
                    <a:gd name="T39" fmla="*/ 6 h 16"/>
                    <a:gd name="T40" fmla="*/ 49 w 49"/>
                    <a:gd name="T41" fmla="*/ 6 h 16"/>
                    <a:gd name="T42" fmla="*/ 47 w 49"/>
                    <a:gd name="T43" fmla="*/ 2 h 16"/>
                    <a:gd name="T44" fmla="*/ 44 w 49"/>
                    <a:gd name="T45" fmla="*/ 0 h 16"/>
                    <a:gd name="T46" fmla="*/ 41 w 49"/>
                    <a:gd name="T47" fmla="*/ 2 h 16"/>
                    <a:gd name="T48" fmla="*/ 33 w 49"/>
                    <a:gd name="T49" fmla="*/ 2 h 16"/>
                    <a:gd name="T50" fmla="*/ 30 w 49"/>
                    <a:gd name="T51" fmla="*/ 2 h 16"/>
                    <a:gd name="T52" fmla="*/ 19 w 49"/>
                    <a:gd name="T53" fmla="*/ 2 h 16"/>
                    <a:gd name="T54" fmla="*/ 9 w 49"/>
                    <a:gd name="T55" fmla="*/ 2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49" h="16">
                      <a:moveTo>
                        <a:pt x="9" y="2"/>
                      </a:moveTo>
                      <a:lnTo>
                        <a:pt x="4" y="2"/>
                      </a:lnTo>
                      <a:lnTo>
                        <a:pt x="3" y="5"/>
                      </a:lnTo>
                      <a:lnTo>
                        <a:pt x="0" y="8"/>
                      </a:lnTo>
                      <a:lnTo>
                        <a:pt x="0" y="11"/>
                      </a:lnTo>
                      <a:lnTo>
                        <a:pt x="3" y="13"/>
                      </a:lnTo>
                      <a:lnTo>
                        <a:pt x="6" y="14"/>
                      </a:lnTo>
                      <a:lnTo>
                        <a:pt x="11" y="14"/>
                      </a:lnTo>
                      <a:lnTo>
                        <a:pt x="14" y="16"/>
                      </a:lnTo>
                      <a:lnTo>
                        <a:pt x="14" y="11"/>
                      </a:lnTo>
                      <a:lnTo>
                        <a:pt x="17" y="14"/>
                      </a:lnTo>
                      <a:lnTo>
                        <a:pt x="20" y="16"/>
                      </a:lnTo>
                      <a:lnTo>
                        <a:pt x="25" y="16"/>
                      </a:lnTo>
                      <a:lnTo>
                        <a:pt x="28" y="16"/>
                      </a:lnTo>
                      <a:lnTo>
                        <a:pt x="31" y="13"/>
                      </a:lnTo>
                      <a:lnTo>
                        <a:pt x="35" y="10"/>
                      </a:lnTo>
                      <a:lnTo>
                        <a:pt x="38" y="11"/>
                      </a:lnTo>
                      <a:lnTo>
                        <a:pt x="43" y="11"/>
                      </a:lnTo>
                      <a:lnTo>
                        <a:pt x="43" y="8"/>
                      </a:lnTo>
                      <a:lnTo>
                        <a:pt x="46" y="6"/>
                      </a:lnTo>
                      <a:lnTo>
                        <a:pt x="49" y="6"/>
                      </a:lnTo>
                      <a:lnTo>
                        <a:pt x="47" y="2"/>
                      </a:lnTo>
                      <a:lnTo>
                        <a:pt x="44" y="0"/>
                      </a:lnTo>
                      <a:lnTo>
                        <a:pt x="41" y="2"/>
                      </a:lnTo>
                      <a:lnTo>
                        <a:pt x="33" y="2"/>
                      </a:lnTo>
                      <a:lnTo>
                        <a:pt x="30" y="2"/>
                      </a:lnTo>
                      <a:lnTo>
                        <a:pt x="19" y="2"/>
                      </a:lnTo>
                      <a:lnTo>
                        <a:pt x="9" y="2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14" name="Freeform 105"/>
                <p:cNvSpPr>
                  <a:spLocks/>
                </p:cNvSpPr>
                <p:nvPr/>
              </p:nvSpPr>
              <p:spPr bwMode="auto">
                <a:xfrm>
                  <a:off x="4660" y="2655"/>
                  <a:ext cx="23" cy="15"/>
                </a:xfrm>
                <a:custGeom>
                  <a:avLst/>
                  <a:gdLst>
                    <a:gd name="T0" fmla="*/ 2 w 44"/>
                    <a:gd name="T1" fmla="*/ 2 h 32"/>
                    <a:gd name="T2" fmla="*/ 0 w 44"/>
                    <a:gd name="T3" fmla="*/ 5 h 32"/>
                    <a:gd name="T4" fmla="*/ 2 w 44"/>
                    <a:gd name="T5" fmla="*/ 8 h 32"/>
                    <a:gd name="T6" fmla="*/ 3 w 44"/>
                    <a:gd name="T7" fmla="*/ 13 h 32"/>
                    <a:gd name="T8" fmla="*/ 6 w 44"/>
                    <a:gd name="T9" fmla="*/ 14 h 32"/>
                    <a:gd name="T10" fmla="*/ 11 w 44"/>
                    <a:gd name="T11" fmla="*/ 14 h 32"/>
                    <a:gd name="T12" fmla="*/ 14 w 44"/>
                    <a:gd name="T13" fmla="*/ 16 h 32"/>
                    <a:gd name="T14" fmla="*/ 17 w 44"/>
                    <a:gd name="T15" fmla="*/ 18 h 32"/>
                    <a:gd name="T16" fmla="*/ 21 w 44"/>
                    <a:gd name="T17" fmla="*/ 21 h 32"/>
                    <a:gd name="T18" fmla="*/ 24 w 44"/>
                    <a:gd name="T19" fmla="*/ 26 h 32"/>
                    <a:gd name="T20" fmla="*/ 24 w 44"/>
                    <a:gd name="T21" fmla="*/ 29 h 32"/>
                    <a:gd name="T22" fmla="*/ 21 w 44"/>
                    <a:gd name="T23" fmla="*/ 32 h 32"/>
                    <a:gd name="T24" fmla="*/ 21 w 44"/>
                    <a:gd name="T25" fmla="*/ 32 h 32"/>
                    <a:gd name="T26" fmla="*/ 25 w 44"/>
                    <a:gd name="T27" fmla="*/ 32 h 32"/>
                    <a:gd name="T28" fmla="*/ 27 w 44"/>
                    <a:gd name="T29" fmla="*/ 29 h 32"/>
                    <a:gd name="T30" fmla="*/ 29 w 44"/>
                    <a:gd name="T31" fmla="*/ 26 h 32"/>
                    <a:gd name="T32" fmla="*/ 32 w 44"/>
                    <a:gd name="T33" fmla="*/ 22 h 32"/>
                    <a:gd name="T34" fmla="*/ 35 w 44"/>
                    <a:gd name="T35" fmla="*/ 21 h 32"/>
                    <a:gd name="T36" fmla="*/ 38 w 44"/>
                    <a:gd name="T37" fmla="*/ 19 h 32"/>
                    <a:gd name="T38" fmla="*/ 43 w 44"/>
                    <a:gd name="T39" fmla="*/ 18 h 32"/>
                    <a:gd name="T40" fmla="*/ 44 w 44"/>
                    <a:gd name="T41" fmla="*/ 13 h 32"/>
                    <a:gd name="T42" fmla="*/ 41 w 44"/>
                    <a:gd name="T43" fmla="*/ 8 h 32"/>
                    <a:gd name="T44" fmla="*/ 36 w 44"/>
                    <a:gd name="T45" fmla="*/ 5 h 32"/>
                    <a:gd name="T46" fmla="*/ 32 w 44"/>
                    <a:gd name="T47" fmla="*/ 2 h 32"/>
                    <a:gd name="T48" fmla="*/ 25 w 44"/>
                    <a:gd name="T49" fmla="*/ 0 h 32"/>
                    <a:gd name="T50" fmla="*/ 22 w 44"/>
                    <a:gd name="T51" fmla="*/ 3 h 32"/>
                    <a:gd name="T52" fmla="*/ 19 w 44"/>
                    <a:gd name="T53" fmla="*/ 5 h 32"/>
                    <a:gd name="T54" fmla="*/ 14 w 44"/>
                    <a:gd name="T55" fmla="*/ 7 h 32"/>
                    <a:gd name="T56" fmla="*/ 11 w 44"/>
                    <a:gd name="T57" fmla="*/ 5 h 32"/>
                    <a:gd name="T58" fmla="*/ 8 w 44"/>
                    <a:gd name="T59" fmla="*/ 3 h 32"/>
                    <a:gd name="T60" fmla="*/ 5 w 44"/>
                    <a:gd name="T61" fmla="*/ 3 h 32"/>
                    <a:gd name="T62" fmla="*/ 2 w 44"/>
                    <a:gd name="T63" fmla="*/ 2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44" h="32">
                      <a:moveTo>
                        <a:pt x="2" y="2"/>
                      </a:moveTo>
                      <a:lnTo>
                        <a:pt x="0" y="5"/>
                      </a:lnTo>
                      <a:lnTo>
                        <a:pt x="2" y="8"/>
                      </a:lnTo>
                      <a:lnTo>
                        <a:pt x="3" y="13"/>
                      </a:lnTo>
                      <a:lnTo>
                        <a:pt x="6" y="14"/>
                      </a:lnTo>
                      <a:lnTo>
                        <a:pt x="11" y="14"/>
                      </a:lnTo>
                      <a:lnTo>
                        <a:pt x="14" y="16"/>
                      </a:lnTo>
                      <a:lnTo>
                        <a:pt x="17" y="18"/>
                      </a:lnTo>
                      <a:lnTo>
                        <a:pt x="21" y="21"/>
                      </a:lnTo>
                      <a:lnTo>
                        <a:pt x="24" y="26"/>
                      </a:lnTo>
                      <a:lnTo>
                        <a:pt x="24" y="29"/>
                      </a:lnTo>
                      <a:lnTo>
                        <a:pt x="21" y="32"/>
                      </a:lnTo>
                      <a:lnTo>
                        <a:pt x="21" y="32"/>
                      </a:lnTo>
                      <a:lnTo>
                        <a:pt x="25" y="32"/>
                      </a:lnTo>
                      <a:lnTo>
                        <a:pt x="27" y="29"/>
                      </a:lnTo>
                      <a:lnTo>
                        <a:pt x="29" y="26"/>
                      </a:lnTo>
                      <a:lnTo>
                        <a:pt x="32" y="22"/>
                      </a:lnTo>
                      <a:lnTo>
                        <a:pt x="35" y="21"/>
                      </a:lnTo>
                      <a:lnTo>
                        <a:pt x="38" y="19"/>
                      </a:lnTo>
                      <a:lnTo>
                        <a:pt x="43" y="18"/>
                      </a:lnTo>
                      <a:lnTo>
                        <a:pt x="44" y="13"/>
                      </a:lnTo>
                      <a:lnTo>
                        <a:pt x="41" y="8"/>
                      </a:lnTo>
                      <a:lnTo>
                        <a:pt x="36" y="5"/>
                      </a:lnTo>
                      <a:lnTo>
                        <a:pt x="32" y="2"/>
                      </a:lnTo>
                      <a:lnTo>
                        <a:pt x="25" y="0"/>
                      </a:lnTo>
                      <a:lnTo>
                        <a:pt x="22" y="3"/>
                      </a:lnTo>
                      <a:lnTo>
                        <a:pt x="19" y="5"/>
                      </a:lnTo>
                      <a:lnTo>
                        <a:pt x="14" y="7"/>
                      </a:lnTo>
                      <a:lnTo>
                        <a:pt x="11" y="5"/>
                      </a:lnTo>
                      <a:lnTo>
                        <a:pt x="8" y="3"/>
                      </a:lnTo>
                      <a:lnTo>
                        <a:pt x="5" y="3"/>
                      </a:lnTo>
                      <a:lnTo>
                        <a:pt x="2" y="2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15" name="Freeform 106"/>
                <p:cNvSpPr>
                  <a:spLocks/>
                </p:cNvSpPr>
                <p:nvPr/>
              </p:nvSpPr>
              <p:spPr bwMode="auto">
                <a:xfrm>
                  <a:off x="4685" y="2658"/>
                  <a:ext cx="16" cy="14"/>
                </a:xfrm>
                <a:custGeom>
                  <a:avLst/>
                  <a:gdLst>
                    <a:gd name="T0" fmla="*/ 19 w 32"/>
                    <a:gd name="T1" fmla="*/ 0 h 28"/>
                    <a:gd name="T2" fmla="*/ 11 w 32"/>
                    <a:gd name="T3" fmla="*/ 6 h 28"/>
                    <a:gd name="T4" fmla="*/ 8 w 32"/>
                    <a:gd name="T5" fmla="*/ 9 h 28"/>
                    <a:gd name="T6" fmla="*/ 8 w 32"/>
                    <a:gd name="T7" fmla="*/ 14 h 28"/>
                    <a:gd name="T8" fmla="*/ 8 w 32"/>
                    <a:gd name="T9" fmla="*/ 22 h 28"/>
                    <a:gd name="T10" fmla="*/ 3 w 32"/>
                    <a:gd name="T11" fmla="*/ 23 h 28"/>
                    <a:gd name="T12" fmla="*/ 0 w 32"/>
                    <a:gd name="T13" fmla="*/ 20 h 28"/>
                    <a:gd name="T14" fmla="*/ 0 w 32"/>
                    <a:gd name="T15" fmla="*/ 25 h 28"/>
                    <a:gd name="T16" fmla="*/ 3 w 32"/>
                    <a:gd name="T17" fmla="*/ 26 h 28"/>
                    <a:gd name="T18" fmla="*/ 6 w 32"/>
                    <a:gd name="T19" fmla="*/ 26 h 28"/>
                    <a:gd name="T20" fmla="*/ 10 w 32"/>
                    <a:gd name="T21" fmla="*/ 26 h 28"/>
                    <a:gd name="T22" fmla="*/ 13 w 32"/>
                    <a:gd name="T23" fmla="*/ 28 h 28"/>
                    <a:gd name="T24" fmla="*/ 18 w 32"/>
                    <a:gd name="T25" fmla="*/ 28 h 28"/>
                    <a:gd name="T26" fmla="*/ 21 w 32"/>
                    <a:gd name="T27" fmla="*/ 25 h 28"/>
                    <a:gd name="T28" fmla="*/ 24 w 32"/>
                    <a:gd name="T29" fmla="*/ 28 h 28"/>
                    <a:gd name="T30" fmla="*/ 22 w 32"/>
                    <a:gd name="T31" fmla="*/ 25 h 28"/>
                    <a:gd name="T32" fmla="*/ 26 w 32"/>
                    <a:gd name="T33" fmla="*/ 22 h 28"/>
                    <a:gd name="T34" fmla="*/ 27 w 32"/>
                    <a:gd name="T35" fmla="*/ 17 h 28"/>
                    <a:gd name="T36" fmla="*/ 30 w 32"/>
                    <a:gd name="T37" fmla="*/ 14 h 28"/>
                    <a:gd name="T38" fmla="*/ 30 w 32"/>
                    <a:gd name="T39" fmla="*/ 11 h 28"/>
                    <a:gd name="T40" fmla="*/ 32 w 32"/>
                    <a:gd name="T41" fmla="*/ 7 h 28"/>
                    <a:gd name="T42" fmla="*/ 30 w 32"/>
                    <a:gd name="T43" fmla="*/ 4 h 28"/>
                    <a:gd name="T44" fmla="*/ 27 w 32"/>
                    <a:gd name="T45" fmla="*/ 1 h 28"/>
                    <a:gd name="T46" fmla="*/ 21 w 32"/>
                    <a:gd name="T47" fmla="*/ 0 h 28"/>
                    <a:gd name="T48" fmla="*/ 19 w 32"/>
                    <a:gd name="T49" fmla="*/ 0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32" h="28">
                      <a:moveTo>
                        <a:pt x="19" y="0"/>
                      </a:moveTo>
                      <a:lnTo>
                        <a:pt x="11" y="6"/>
                      </a:lnTo>
                      <a:lnTo>
                        <a:pt x="8" y="9"/>
                      </a:lnTo>
                      <a:lnTo>
                        <a:pt x="8" y="14"/>
                      </a:lnTo>
                      <a:lnTo>
                        <a:pt x="8" y="22"/>
                      </a:lnTo>
                      <a:lnTo>
                        <a:pt x="3" y="23"/>
                      </a:lnTo>
                      <a:lnTo>
                        <a:pt x="0" y="20"/>
                      </a:lnTo>
                      <a:lnTo>
                        <a:pt x="0" y="25"/>
                      </a:lnTo>
                      <a:lnTo>
                        <a:pt x="3" y="26"/>
                      </a:lnTo>
                      <a:lnTo>
                        <a:pt x="6" y="26"/>
                      </a:lnTo>
                      <a:lnTo>
                        <a:pt x="10" y="26"/>
                      </a:lnTo>
                      <a:lnTo>
                        <a:pt x="13" y="28"/>
                      </a:lnTo>
                      <a:lnTo>
                        <a:pt x="18" y="28"/>
                      </a:lnTo>
                      <a:lnTo>
                        <a:pt x="21" y="25"/>
                      </a:lnTo>
                      <a:lnTo>
                        <a:pt x="24" y="28"/>
                      </a:lnTo>
                      <a:lnTo>
                        <a:pt x="22" y="25"/>
                      </a:lnTo>
                      <a:lnTo>
                        <a:pt x="26" y="22"/>
                      </a:lnTo>
                      <a:lnTo>
                        <a:pt x="27" y="17"/>
                      </a:lnTo>
                      <a:lnTo>
                        <a:pt x="30" y="14"/>
                      </a:lnTo>
                      <a:lnTo>
                        <a:pt x="30" y="11"/>
                      </a:lnTo>
                      <a:lnTo>
                        <a:pt x="32" y="7"/>
                      </a:lnTo>
                      <a:lnTo>
                        <a:pt x="30" y="4"/>
                      </a:lnTo>
                      <a:lnTo>
                        <a:pt x="27" y="1"/>
                      </a:lnTo>
                      <a:lnTo>
                        <a:pt x="21" y="0"/>
                      </a:lnTo>
                      <a:lnTo>
                        <a:pt x="19" y="0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16" name="Freeform 107"/>
                <p:cNvSpPr>
                  <a:spLocks/>
                </p:cNvSpPr>
                <p:nvPr/>
              </p:nvSpPr>
              <p:spPr bwMode="auto">
                <a:xfrm>
                  <a:off x="4701" y="2655"/>
                  <a:ext cx="44" cy="21"/>
                </a:xfrm>
                <a:custGeom>
                  <a:avLst/>
                  <a:gdLst>
                    <a:gd name="T0" fmla="*/ 44 w 89"/>
                    <a:gd name="T1" fmla="*/ 31 h 41"/>
                    <a:gd name="T2" fmla="*/ 52 w 89"/>
                    <a:gd name="T3" fmla="*/ 30 h 41"/>
                    <a:gd name="T4" fmla="*/ 59 w 89"/>
                    <a:gd name="T5" fmla="*/ 24 h 41"/>
                    <a:gd name="T6" fmla="*/ 60 w 89"/>
                    <a:gd name="T7" fmla="*/ 24 h 41"/>
                    <a:gd name="T8" fmla="*/ 60 w 89"/>
                    <a:gd name="T9" fmla="*/ 31 h 41"/>
                    <a:gd name="T10" fmla="*/ 66 w 89"/>
                    <a:gd name="T11" fmla="*/ 30 h 41"/>
                    <a:gd name="T12" fmla="*/ 74 w 89"/>
                    <a:gd name="T13" fmla="*/ 30 h 41"/>
                    <a:gd name="T14" fmla="*/ 74 w 89"/>
                    <a:gd name="T15" fmla="*/ 28 h 41"/>
                    <a:gd name="T16" fmla="*/ 74 w 89"/>
                    <a:gd name="T17" fmla="*/ 25 h 41"/>
                    <a:gd name="T18" fmla="*/ 81 w 89"/>
                    <a:gd name="T19" fmla="*/ 27 h 41"/>
                    <a:gd name="T20" fmla="*/ 87 w 89"/>
                    <a:gd name="T21" fmla="*/ 24 h 41"/>
                    <a:gd name="T22" fmla="*/ 86 w 89"/>
                    <a:gd name="T23" fmla="*/ 22 h 41"/>
                    <a:gd name="T24" fmla="*/ 84 w 89"/>
                    <a:gd name="T25" fmla="*/ 16 h 41"/>
                    <a:gd name="T26" fmla="*/ 81 w 89"/>
                    <a:gd name="T27" fmla="*/ 8 h 41"/>
                    <a:gd name="T28" fmla="*/ 74 w 89"/>
                    <a:gd name="T29" fmla="*/ 9 h 41"/>
                    <a:gd name="T30" fmla="*/ 71 w 89"/>
                    <a:gd name="T31" fmla="*/ 16 h 41"/>
                    <a:gd name="T32" fmla="*/ 70 w 89"/>
                    <a:gd name="T33" fmla="*/ 9 h 41"/>
                    <a:gd name="T34" fmla="*/ 63 w 89"/>
                    <a:gd name="T35" fmla="*/ 6 h 41"/>
                    <a:gd name="T36" fmla="*/ 55 w 89"/>
                    <a:gd name="T37" fmla="*/ 9 h 41"/>
                    <a:gd name="T38" fmla="*/ 52 w 89"/>
                    <a:gd name="T39" fmla="*/ 3 h 41"/>
                    <a:gd name="T40" fmla="*/ 46 w 89"/>
                    <a:gd name="T41" fmla="*/ 0 h 41"/>
                    <a:gd name="T42" fmla="*/ 38 w 89"/>
                    <a:gd name="T43" fmla="*/ 1 h 41"/>
                    <a:gd name="T44" fmla="*/ 38 w 89"/>
                    <a:gd name="T45" fmla="*/ 9 h 41"/>
                    <a:gd name="T46" fmla="*/ 46 w 89"/>
                    <a:gd name="T47" fmla="*/ 16 h 41"/>
                    <a:gd name="T48" fmla="*/ 52 w 89"/>
                    <a:gd name="T49" fmla="*/ 17 h 41"/>
                    <a:gd name="T50" fmla="*/ 52 w 89"/>
                    <a:gd name="T51" fmla="*/ 24 h 41"/>
                    <a:gd name="T52" fmla="*/ 46 w 89"/>
                    <a:gd name="T53" fmla="*/ 25 h 41"/>
                    <a:gd name="T54" fmla="*/ 38 w 89"/>
                    <a:gd name="T55" fmla="*/ 25 h 41"/>
                    <a:gd name="T56" fmla="*/ 33 w 89"/>
                    <a:gd name="T57" fmla="*/ 19 h 41"/>
                    <a:gd name="T58" fmla="*/ 28 w 89"/>
                    <a:gd name="T59" fmla="*/ 12 h 41"/>
                    <a:gd name="T60" fmla="*/ 22 w 89"/>
                    <a:gd name="T61" fmla="*/ 14 h 41"/>
                    <a:gd name="T62" fmla="*/ 16 w 89"/>
                    <a:gd name="T63" fmla="*/ 11 h 41"/>
                    <a:gd name="T64" fmla="*/ 8 w 89"/>
                    <a:gd name="T65" fmla="*/ 17 h 41"/>
                    <a:gd name="T66" fmla="*/ 1 w 89"/>
                    <a:gd name="T67" fmla="*/ 22 h 41"/>
                    <a:gd name="T68" fmla="*/ 3 w 89"/>
                    <a:gd name="T69" fmla="*/ 28 h 41"/>
                    <a:gd name="T70" fmla="*/ 0 w 89"/>
                    <a:gd name="T71" fmla="*/ 35 h 41"/>
                    <a:gd name="T72" fmla="*/ 6 w 89"/>
                    <a:gd name="T73" fmla="*/ 39 h 41"/>
                    <a:gd name="T74" fmla="*/ 13 w 89"/>
                    <a:gd name="T75" fmla="*/ 41 h 41"/>
                    <a:gd name="T76" fmla="*/ 30 w 89"/>
                    <a:gd name="T77" fmla="*/ 36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89" h="41">
                      <a:moveTo>
                        <a:pt x="41" y="33"/>
                      </a:moveTo>
                      <a:lnTo>
                        <a:pt x="44" y="31"/>
                      </a:lnTo>
                      <a:lnTo>
                        <a:pt x="49" y="30"/>
                      </a:lnTo>
                      <a:lnTo>
                        <a:pt x="52" y="30"/>
                      </a:lnTo>
                      <a:lnTo>
                        <a:pt x="55" y="28"/>
                      </a:lnTo>
                      <a:lnTo>
                        <a:pt x="59" y="24"/>
                      </a:lnTo>
                      <a:lnTo>
                        <a:pt x="60" y="20"/>
                      </a:lnTo>
                      <a:lnTo>
                        <a:pt x="60" y="24"/>
                      </a:lnTo>
                      <a:lnTo>
                        <a:pt x="59" y="28"/>
                      </a:lnTo>
                      <a:lnTo>
                        <a:pt x="60" y="31"/>
                      </a:lnTo>
                      <a:lnTo>
                        <a:pt x="63" y="31"/>
                      </a:lnTo>
                      <a:lnTo>
                        <a:pt x="66" y="30"/>
                      </a:lnTo>
                      <a:lnTo>
                        <a:pt x="70" y="28"/>
                      </a:lnTo>
                      <a:lnTo>
                        <a:pt x="74" y="30"/>
                      </a:lnTo>
                      <a:lnTo>
                        <a:pt x="78" y="30"/>
                      </a:lnTo>
                      <a:lnTo>
                        <a:pt x="74" y="28"/>
                      </a:lnTo>
                      <a:lnTo>
                        <a:pt x="71" y="27"/>
                      </a:lnTo>
                      <a:lnTo>
                        <a:pt x="74" y="25"/>
                      </a:lnTo>
                      <a:lnTo>
                        <a:pt x="78" y="24"/>
                      </a:lnTo>
                      <a:lnTo>
                        <a:pt x="81" y="27"/>
                      </a:lnTo>
                      <a:lnTo>
                        <a:pt x="84" y="27"/>
                      </a:lnTo>
                      <a:lnTo>
                        <a:pt x="87" y="24"/>
                      </a:lnTo>
                      <a:lnTo>
                        <a:pt x="89" y="20"/>
                      </a:lnTo>
                      <a:lnTo>
                        <a:pt x="86" y="22"/>
                      </a:lnTo>
                      <a:lnTo>
                        <a:pt x="82" y="19"/>
                      </a:lnTo>
                      <a:lnTo>
                        <a:pt x="84" y="16"/>
                      </a:lnTo>
                      <a:lnTo>
                        <a:pt x="82" y="11"/>
                      </a:lnTo>
                      <a:lnTo>
                        <a:pt x="81" y="8"/>
                      </a:lnTo>
                      <a:lnTo>
                        <a:pt x="78" y="8"/>
                      </a:lnTo>
                      <a:lnTo>
                        <a:pt x="74" y="9"/>
                      </a:lnTo>
                      <a:lnTo>
                        <a:pt x="71" y="12"/>
                      </a:lnTo>
                      <a:lnTo>
                        <a:pt x="71" y="16"/>
                      </a:lnTo>
                      <a:lnTo>
                        <a:pt x="71" y="12"/>
                      </a:lnTo>
                      <a:lnTo>
                        <a:pt x="70" y="9"/>
                      </a:lnTo>
                      <a:lnTo>
                        <a:pt x="66" y="6"/>
                      </a:lnTo>
                      <a:lnTo>
                        <a:pt x="63" y="6"/>
                      </a:lnTo>
                      <a:lnTo>
                        <a:pt x="60" y="9"/>
                      </a:lnTo>
                      <a:lnTo>
                        <a:pt x="55" y="9"/>
                      </a:lnTo>
                      <a:lnTo>
                        <a:pt x="54" y="6"/>
                      </a:lnTo>
                      <a:lnTo>
                        <a:pt x="52" y="3"/>
                      </a:lnTo>
                      <a:lnTo>
                        <a:pt x="49" y="0"/>
                      </a:lnTo>
                      <a:lnTo>
                        <a:pt x="46" y="0"/>
                      </a:lnTo>
                      <a:lnTo>
                        <a:pt x="43" y="0"/>
                      </a:lnTo>
                      <a:lnTo>
                        <a:pt x="38" y="1"/>
                      </a:lnTo>
                      <a:lnTo>
                        <a:pt x="36" y="5"/>
                      </a:lnTo>
                      <a:lnTo>
                        <a:pt x="38" y="9"/>
                      </a:lnTo>
                      <a:lnTo>
                        <a:pt x="41" y="12"/>
                      </a:lnTo>
                      <a:lnTo>
                        <a:pt x="46" y="16"/>
                      </a:lnTo>
                      <a:lnTo>
                        <a:pt x="49" y="16"/>
                      </a:lnTo>
                      <a:lnTo>
                        <a:pt x="52" y="17"/>
                      </a:lnTo>
                      <a:lnTo>
                        <a:pt x="55" y="20"/>
                      </a:lnTo>
                      <a:lnTo>
                        <a:pt x="52" y="24"/>
                      </a:lnTo>
                      <a:lnTo>
                        <a:pt x="49" y="22"/>
                      </a:lnTo>
                      <a:lnTo>
                        <a:pt x="46" y="25"/>
                      </a:lnTo>
                      <a:lnTo>
                        <a:pt x="41" y="25"/>
                      </a:lnTo>
                      <a:lnTo>
                        <a:pt x="38" y="25"/>
                      </a:lnTo>
                      <a:lnTo>
                        <a:pt x="38" y="22"/>
                      </a:lnTo>
                      <a:lnTo>
                        <a:pt x="33" y="19"/>
                      </a:lnTo>
                      <a:lnTo>
                        <a:pt x="33" y="16"/>
                      </a:lnTo>
                      <a:lnTo>
                        <a:pt x="28" y="12"/>
                      </a:lnTo>
                      <a:lnTo>
                        <a:pt x="25" y="14"/>
                      </a:lnTo>
                      <a:lnTo>
                        <a:pt x="22" y="14"/>
                      </a:lnTo>
                      <a:lnTo>
                        <a:pt x="19" y="12"/>
                      </a:lnTo>
                      <a:lnTo>
                        <a:pt x="16" y="11"/>
                      </a:lnTo>
                      <a:lnTo>
                        <a:pt x="11" y="14"/>
                      </a:lnTo>
                      <a:lnTo>
                        <a:pt x="8" y="17"/>
                      </a:lnTo>
                      <a:lnTo>
                        <a:pt x="5" y="17"/>
                      </a:lnTo>
                      <a:lnTo>
                        <a:pt x="1" y="22"/>
                      </a:lnTo>
                      <a:lnTo>
                        <a:pt x="1" y="25"/>
                      </a:lnTo>
                      <a:lnTo>
                        <a:pt x="3" y="28"/>
                      </a:lnTo>
                      <a:lnTo>
                        <a:pt x="0" y="31"/>
                      </a:lnTo>
                      <a:lnTo>
                        <a:pt x="0" y="35"/>
                      </a:lnTo>
                      <a:lnTo>
                        <a:pt x="3" y="39"/>
                      </a:lnTo>
                      <a:lnTo>
                        <a:pt x="6" y="39"/>
                      </a:lnTo>
                      <a:lnTo>
                        <a:pt x="9" y="41"/>
                      </a:lnTo>
                      <a:lnTo>
                        <a:pt x="13" y="41"/>
                      </a:lnTo>
                      <a:lnTo>
                        <a:pt x="17" y="38"/>
                      </a:lnTo>
                      <a:lnTo>
                        <a:pt x="30" y="36"/>
                      </a:lnTo>
                      <a:lnTo>
                        <a:pt x="41" y="33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17" name="Freeform 108"/>
                <p:cNvSpPr>
                  <a:spLocks/>
                </p:cNvSpPr>
                <p:nvPr/>
              </p:nvSpPr>
              <p:spPr bwMode="auto">
                <a:xfrm>
                  <a:off x="4739" y="2681"/>
                  <a:ext cx="33" cy="20"/>
                </a:xfrm>
                <a:custGeom>
                  <a:avLst/>
                  <a:gdLst>
                    <a:gd name="T0" fmla="*/ 0 w 67"/>
                    <a:gd name="T1" fmla="*/ 7 h 39"/>
                    <a:gd name="T2" fmla="*/ 2 w 67"/>
                    <a:gd name="T3" fmla="*/ 11 h 39"/>
                    <a:gd name="T4" fmla="*/ 3 w 67"/>
                    <a:gd name="T5" fmla="*/ 14 h 39"/>
                    <a:gd name="T6" fmla="*/ 6 w 67"/>
                    <a:gd name="T7" fmla="*/ 15 h 39"/>
                    <a:gd name="T8" fmla="*/ 11 w 67"/>
                    <a:gd name="T9" fmla="*/ 15 h 39"/>
                    <a:gd name="T10" fmla="*/ 14 w 67"/>
                    <a:gd name="T11" fmla="*/ 17 h 39"/>
                    <a:gd name="T12" fmla="*/ 17 w 67"/>
                    <a:gd name="T13" fmla="*/ 17 h 39"/>
                    <a:gd name="T14" fmla="*/ 21 w 67"/>
                    <a:gd name="T15" fmla="*/ 17 h 39"/>
                    <a:gd name="T16" fmla="*/ 24 w 67"/>
                    <a:gd name="T17" fmla="*/ 17 h 39"/>
                    <a:gd name="T18" fmla="*/ 27 w 67"/>
                    <a:gd name="T19" fmla="*/ 20 h 39"/>
                    <a:gd name="T20" fmla="*/ 30 w 67"/>
                    <a:gd name="T21" fmla="*/ 23 h 39"/>
                    <a:gd name="T22" fmla="*/ 33 w 67"/>
                    <a:gd name="T23" fmla="*/ 25 h 39"/>
                    <a:gd name="T24" fmla="*/ 36 w 67"/>
                    <a:gd name="T25" fmla="*/ 26 h 39"/>
                    <a:gd name="T26" fmla="*/ 36 w 67"/>
                    <a:gd name="T27" fmla="*/ 28 h 39"/>
                    <a:gd name="T28" fmla="*/ 38 w 67"/>
                    <a:gd name="T29" fmla="*/ 31 h 39"/>
                    <a:gd name="T30" fmla="*/ 41 w 67"/>
                    <a:gd name="T31" fmla="*/ 34 h 39"/>
                    <a:gd name="T32" fmla="*/ 44 w 67"/>
                    <a:gd name="T33" fmla="*/ 38 h 39"/>
                    <a:gd name="T34" fmla="*/ 49 w 67"/>
                    <a:gd name="T35" fmla="*/ 38 h 39"/>
                    <a:gd name="T36" fmla="*/ 52 w 67"/>
                    <a:gd name="T37" fmla="*/ 39 h 39"/>
                    <a:gd name="T38" fmla="*/ 56 w 67"/>
                    <a:gd name="T39" fmla="*/ 38 h 39"/>
                    <a:gd name="T40" fmla="*/ 59 w 67"/>
                    <a:gd name="T41" fmla="*/ 36 h 39"/>
                    <a:gd name="T42" fmla="*/ 62 w 67"/>
                    <a:gd name="T43" fmla="*/ 34 h 39"/>
                    <a:gd name="T44" fmla="*/ 65 w 67"/>
                    <a:gd name="T45" fmla="*/ 31 h 39"/>
                    <a:gd name="T46" fmla="*/ 67 w 67"/>
                    <a:gd name="T47" fmla="*/ 28 h 39"/>
                    <a:gd name="T48" fmla="*/ 67 w 67"/>
                    <a:gd name="T49" fmla="*/ 26 h 39"/>
                    <a:gd name="T50" fmla="*/ 63 w 67"/>
                    <a:gd name="T51" fmla="*/ 23 h 39"/>
                    <a:gd name="T52" fmla="*/ 60 w 67"/>
                    <a:gd name="T53" fmla="*/ 20 h 39"/>
                    <a:gd name="T54" fmla="*/ 59 w 67"/>
                    <a:gd name="T55" fmla="*/ 17 h 39"/>
                    <a:gd name="T56" fmla="*/ 56 w 67"/>
                    <a:gd name="T57" fmla="*/ 14 h 39"/>
                    <a:gd name="T58" fmla="*/ 52 w 67"/>
                    <a:gd name="T59" fmla="*/ 12 h 39"/>
                    <a:gd name="T60" fmla="*/ 49 w 67"/>
                    <a:gd name="T61" fmla="*/ 12 h 39"/>
                    <a:gd name="T62" fmla="*/ 48 w 67"/>
                    <a:gd name="T63" fmla="*/ 9 h 39"/>
                    <a:gd name="T64" fmla="*/ 46 w 67"/>
                    <a:gd name="T65" fmla="*/ 6 h 39"/>
                    <a:gd name="T66" fmla="*/ 43 w 67"/>
                    <a:gd name="T67" fmla="*/ 4 h 39"/>
                    <a:gd name="T68" fmla="*/ 40 w 67"/>
                    <a:gd name="T69" fmla="*/ 1 h 39"/>
                    <a:gd name="T70" fmla="*/ 40 w 67"/>
                    <a:gd name="T71" fmla="*/ 0 h 39"/>
                    <a:gd name="T72" fmla="*/ 36 w 67"/>
                    <a:gd name="T73" fmla="*/ 0 h 39"/>
                    <a:gd name="T74" fmla="*/ 32 w 67"/>
                    <a:gd name="T75" fmla="*/ 1 h 39"/>
                    <a:gd name="T76" fmla="*/ 29 w 67"/>
                    <a:gd name="T77" fmla="*/ 1 h 39"/>
                    <a:gd name="T78" fmla="*/ 25 w 67"/>
                    <a:gd name="T79" fmla="*/ 0 h 39"/>
                    <a:gd name="T80" fmla="*/ 22 w 67"/>
                    <a:gd name="T81" fmla="*/ 1 h 39"/>
                    <a:gd name="T82" fmla="*/ 17 w 67"/>
                    <a:gd name="T83" fmla="*/ 1 h 39"/>
                    <a:gd name="T84" fmla="*/ 13 w 67"/>
                    <a:gd name="T85" fmla="*/ 1 h 39"/>
                    <a:gd name="T86" fmla="*/ 8 w 67"/>
                    <a:gd name="T87" fmla="*/ 3 h 39"/>
                    <a:gd name="T88" fmla="*/ 3 w 67"/>
                    <a:gd name="T89" fmla="*/ 4 h 39"/>
                    <a:gd name="T90" fmla="*/ 0 w 67"/>
                    <a:gd name="T91" fmla="*/ 7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67" h="39">
                      <a:moveTo>
                        <a:pt x="0" y="7"/>
                      </a:moveTo>
                      <a:lnTo>
                        <a:pt x="2" y="11"/>
                      </a:lnTo>
                      <a:lnTo>
                        <a:pt x="3" y="14"/>
                      </a:lnTo>
                      <a:lnTo>
                        <a:pt x="6" y="15"/>
                      </a:lnTo>
                      <a:lnTo>
                        <a:pt x="11" y="15"/>
                      </a:lnTo>
                      <a:lnTo>
                        <a:pt x="14" y="17"/>
                      </a:lnTo>
                      <a:lnTo>
                        <a:pt x="17" y="17"/>
                      </a:lnTo>
                      <a:lnTo>
                        <a:pt x="21" y="17"/>
                      </a:lnTo>
                      <a:lnTo>
                        <a:pt x="24" y="17"/>
                      </a:lnTo>
                      <a:lnTo>
                        <a:pt x="27" y="20"/>
                      </a:lnTo>
                      <a:lnTo>
                        <a:pt x="30" y="23"/>
                      </a:lnTo>
                      <a:lnTo>
                        <a:pt x="33" y="25"/>
                      </a:lnTo>
                      <a:lnTo>
                        <a:pt x="36" y="26"/>
                      </a:lnTo>
                      <a:lnTo>
                        <a:pt x="36" y="28"/>
                      </a:lnTo>
                      <a:lnTo>
                        <a:pt x="38" y="31"/>
                      </a:lnTo>
                      <a:lnTo>
                        <a:pt x="41" y="34"/>
                      </a:lnTo>
                      <a:lnTo>
                        <a:pt x="44" y="38"/>
                      </a:lnTo>
                      <a:lnTo>
                        <a:pt x="49" y="38"/>
                      </a:lnTo>
                      <a:lnTo>
                        <a:pt x="52" y="39"/>
                      </a:lnTo>
                      <a:lnTo>
                        <a:pt x="56" y="38"/>
                      </a:lnTo>
                      <a:lnTo>
                        <a:pt x="59" y="36"/>
                      </a:lnTo>
                      <a:lnTo>
                        <a:pt x="62" y="34"/>
                      </a:lnTo>
                      <a:lnTo>
                        <a:pt x="65" y="31"/>
                      </a:lnTo>
                      <a:lnTo>
                        <a:pt x="67" y="28"/>
                      </a:lnTo>
                      <a:lnTo>
                        <a:pt x="67" y="26"/>
                      </a:lnTo>
                      <a:lnTo>
                        <a:pt x="63" y="23"/>
                      </a:lnTo>
                      <a:lnTo>
                        <a:pt x="60" y="20"/>
                      </a:lnTo>
                      <a:lnTo>
                        <a:pt x="59" y="17"/>
                      </a:lnTo>
                      <a:lnTo>
                        <a:pt x="56" y="14"/>
                      </a:lnTo>
                      <a:lnTo>
                        <a:pt x="52" y="12"/>
                      </a:lnTo>
                      <a:lnTo>
                        <a:pt x="49" y="12"/>
                      </a:lnTo>
                      <a:lnTo>
                        <a:pt x="48" y="9"/>
                      </a:lnTo>
                      <a:lnTo>
                        <a:pt x="46" y="6"/>
                      </a:lnTo>
                      <a:lnTo>
                        <a:pt x="43" y="4"/>
                      </a:lnTo>
                      <a:lnTo>
                        <a:pt x="40" y="1"/>
                      </a:lnTo>
                      <a:lnTo>
                        <a:pt x="40" y="0"/>
                      </a:lnTo>
                      <a:lnTo>
                        <a:pt x="36" y="0"/>
                      </a:lnTo>
                      <a:lnTo>
                        <a:pt x="32" y="1"/>
                      </a:lnTo>
                      <a:lnTo>
                        <a:pt x="29" y="1"/>
                      </a:lnTo>
                      <a:lnTo>
                        <a:pt x="25" y="0"/>
                      </a:lnTo>
                      <a:lnTo>
                        <a:pt x="22" y="1"/>
                      </a:lnTo>
                      <a:lnTo>
                        <a:pt x="17" y="1"/>
                      </a:lnTo>
                      <a:lnTo>
                        <a:pt x="13" y="1"/>
                      </a:lnTo>
                      <a:lnTo>
                        <a:pt x="8" y="3"/>
                      </a:lnTo>
                      <a:lnTo>
                        <a:pt x="3" y="4"/>
                      </a:lnTo>
                      <a:lnTo>
                        <a:pt x="0" y="7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18" name="Freeform 109"/>
                <p:cNvSpPr>
                  <a:spLocks/>
                </p:cNvSpPr>
                <p:nvPr/>
              </p:nvSpPr>
              <p:spPr bwMode="auto">
                <a:xfrm>
                  <a:off x="4744" y="2455"/>
                  <a:ext cx="117" cy="151"/>
                </a:xfrm>
                <a:custGeom>
                  <a:avLst/>
                  <a:gdLst>
                    <a:gd name="T0" fmla="*/ 30 w 234"/>
                    <a:gd name="T1" fmla="*/ 302 h 302"/>
                    <a:gd name="T2" fmla="*/ 50 w 234"/>
                    <a:gd name="T3" fmla="*/ 295 h 302"/>
                    <a:gd name="T4" fmla="*/ 55 w 234"/>
                    <a:gd name="T5" fmla="*/ 266 h 302"/>
                    <a:gd name="T6" fmla="*/ 55 w 234"/>
                    <a:gd name="T7" fmla="*/ 236 h 302"/>
                    <a:gd name="T8" fmla="*/ 58 w 234"/>
                    <a:gd name="T9" fmla="*/ 203 h 302"/>
                    <a:gd name="T10" fmla="*/ 63 w 234"/>
                    <a:gd name="T11" fmla="*/ 182 h 302"/>
                    <a:gd name="T12" fmla="*/ 80 w 234"/>
                    <a:gd name="T13" fmla="*/ 185 h 302"/>
                    <a:gd name="T14" fmla="*/ 76 w 234"/>
                    <a:gd name="T15" fmla="*/ 207 h 302"/>
                    <a:gd name="T16" fmla="*/ 90 w 234"/>
                    <a:gd name="T17" fmla="*/ 230 h 302"/>
                    <a:gd name="T18" fmla="*/ 96 w 234"/>
                    <a:gd name="T19" fmla="*/ 247 h 302"/>
                    <a:gd name="T20" fmla="*/ 106 w 234"/>
                    <a:gd name="T21" fmla="*/ 266 h 302"/>
                    <a:gd name="T22" fmla="*/ 120 w 234"/>
                    <a:gd name="T23" fmla="*/ 253 h 302"/>
                    <a:gd name="T24" fmla="*/ 141 w 234"/>
                    <a:gd name="T25" fmla="*/ 250 h 302"/>
                    <a:gd name="T26" fmla="*/ 142 w 234"/>
                    <a:gd name="T27" fmla="*/ 236 h 302"/>
                    <a:gd name="T28" fmla="*/ 133 w 234"/>
                    <a:gd name="T29" fmla="*/ 226 h 302"/>
                    <a:gd name="T30" fmla="*/ 123 w 234"/>
                    <a:gd name="T31" fmla="*/ 207 h 302"/>
                    <a:gd name="T32" fmla="*/ 130 w 234"/>
                    <a:gd name="T33" fmla="*/ 198 h 302"/>
                    <a:gd name="T34" fmla="*/ 117 w 234"/>
                    <a:gd name="T35" fmla="*/ 176 h 302"/>
                    <a:gd name="T36" fmla="*/ 99 w 234"/>
                    <a:gd name="T37" fmla="*/ 153 h 302"/>
                    <a:gd name="T38" fmla="*/ 101 w 234"/>
                    <a:gd name="T39" fmla="*/ 149 h 302"/>
                    <a:gd name="T40" fmla="*/ 118 w 234"/>
                    <a:gd name="T41" fmla="*/ 136 h 302"/>
                    <a:gd name="T42" fmla="*/ 141 w 234"/>
                    <a:gd name="T43" fmla="*/ 119 h 302"/>
                    <a:gd name="T44" fmla="*/ 160 w 234"/>
                    <a:gd name="T45" fmla="*/ 109 h 302"/>
                    <a:gd name="T46" fmla="*/ 164 w 234"/>
                    <a:gd name="T47" fmla="*/ 95 h 302"/>
                    <a:gd name="T48" fmla="*/ 147 w 234"/>
                    <a:gd name="T49" fmla="*/ 98 h 302"/>
                    <a:gd name="T50" fmla="*/ 131 w 234"/>
                    <a:gd name="T51" fmla="*/ 101 h 302"/>
                    <a:gd name="T52" fmla="*/ 106 w 234"/>
                    <a:gd name="T53" fmla="*/ 106 h 302"/>
                    <a:gd name="T54" fmla="*/ 90 w 234"/>
                    <a:gd name="T55" fmla="*/ 117 h 302"/>
                    <a:gd name="T56" fmla="*/ 72 w 234"/>
                    <a:gd name="T57" fmla="*/ 126 h 302"/>
                    <a:gd name="T58" fmla="*/ 60 w 234"/>
                    <a:gd name="T59" fmla="*/ 107 h 302"/>
                    <a:gd name="T60" fmla="*/ 46 w 234"/>
                    <a:gd name="T61" fmla="*/ 77 h 302"/>
                    <a:gd name="T62" fmla="*/ 53 w 234"/>
                    <a:gd name="T63" fmla="*/ 57 h 302"/>
                    <a:gd name="T64" fmla="*/ 77 w 234"/>
                    <a:gd name="T65" fmla="*/ 52 h 302"/>
                    <a:gd name="T66" fmla="*/ 101 w 234"/>
                    <a:gd name="T67" fmla="*/ 47 h 302"/>
                    <a:gd name="T68" fmla="*/ 123 w 234"/>
                    <a:gd name="T69" fmla="*/ 50 h 302"/>
                    <a:gd name="T70" fmla="*/ 152 w 234"/>
                    <a:gd name="T71" fmla="*/ 50 h 302"/>
                    <a:gd name="T72" fmla="*/ 185 w 234"/>
                    <a:gd name="T73" fmla="*/ 57 h 302"/>
                    <a:gd name="T74" fmla="*/ 218 w 234"/>
                    <a:gd name="T75" fmla="*/ 33 h 302"/>
                    <a:gd name="T76" fmla="*/ 225 w 234"/>
                    <a:gd name="T77" fmla="*/ 0 h 302"/>
                    <a:gd name="T78" fmla="*/ 206 w 234"/>
                    <a:gd name="T79" fmla="*/ 20 h 302"/>
                    <a:gd name="T80" fmla="*/ 183 w 234"/>
                    <a:gd name="T81" fmla="*/ 36 h 302"/>
                    <a:gd name="T82" fmla="*/ 160 w 234"/>
                    <a:gd name="T83" fmla="*/ 31 h 302"/>
                    <a:gd name="T84" fmla="*/ 134 w 234"/>
                    <a:gd name="T85" fmla="*/ 30 h 302"/>
                    <a:gd name="T86" fmla="*/ 111 w 234"/>
                    <a:gd name="T87" fmla="*/ 25 h 302"/>
                    <a:gd name="T88" fmla="*/ 87 w 234"/>
                    <a:gd name="T89" fmla="*/ 17 h 302"/>
                    <a:gd name="T90" fmla="*/ 66 w 234"/>
                    <a:gd name="T91" fmla="*/ 36 h 302"/>
                    <a:gd name="T92" fmla="*/ 46 w 234"/>
                    <a:gd name="T93" fmla="*/ 42 h 302"/>
                    <a:gd name="T94" fmla="*/ 39 w 234"/>
                    <a:gd name="T95" fmla="*/ 63 h 302"/>
                    <a:gd name="T96" fmla="*/ 34 w 234"/>
                    <a:gd name="T97" fmla="*/ 74 h 302"/>
                    <a:gd name="T98" fmla="*/ 39 w 234"/>
                    <a:gd name="T99" fmla="*/ 98 h 302"/>
                    <a:gd name="T100" fmla="*/ 30 w 234"/>
                    <a:gd name="T101" fmla="*/ 104 h 302"/>
                    <a:gd name="T102" fmla="*/ 20 w 234"/>
                    <a:gd name="T103" fmla="*/ 125 h 302"/>
                    <a:gd name="T104" fmla="*/ 20 w 234"/>
                    <a:gd name="T105" fmla="*/ 150 h 302"/>
                    <a:gd name="T106" fmla="*/ 9 w 234"/>
                    <a:gd name="T107" fmla="*/ 172 h 302"/>
                    <a:gd name="T108" fmla="*/ 3 w 234"/>
                    <a:gd name="T109" fmla="*/ 191 h 302"/>
                    <a:gd name="T110" fmla="*/ 4 w 234"/>
                    <a:gd name="T111" fmla="*/ 217 h 302"/>
                    <a:gd name="T112" fmla="*/ 23 w 234"/>
                    <a:gd name="T113" fmla="*/ 217 h 302"/>
                    <a:gd name="T114" fmla="*/ 28 w 234"/>
                    <a:gd name="T115" fmla="*/ 241 h 302"/>
                    <a:gd name="T116" fmla="*/ 22 w 234"/>
                    <a:gd name="T117" fmla="*/ 264 h 3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34" h="302">
                      <a:moveTo>
                        <a:pt x="17" y="282"/>
                      </a:moveTo>
                      <a:lnTo>
                        <a:pt x="17" y="291"/>
                      </a:lnTo>
                      <a:lnTo>
                        <a:pt x="19" y="298"/>
                      </a:lnTo>
                      <a:lnTo>
                        <a:pt x="22" y="298"/>
                      </a:lnTo>
                      <a:lnTo>
                        <a:pt x="22" y="301"/>
                      </a:lnTo>
                      <a:lnTo>
                        <a:pt x="26" y="302"/>
                      </a:lnTo>
                      <a:lnTo>
                        <a:pt x="30" y="302"/>
                      </a:lnTo>
                      <a:lnTo>
                        <a:pt x="33" y="301"/>
                      </a:lnTo>
                      <a:lnTo>
                        <a:pt x="36" y="298"/>
                      </a:lnTo>
                      <a:lnTo>
                        <a:pt x="39" y="298"/>
                      </a:lnTo>
                      <a:lnTo>
                        <a:pt x="41" y="298"/>
                      </a:lnTo>
                      <a:lnTo>
                        <a:pt x="44" y="298"/>
                      </a:lnTo>
                      <a:lnTo>
                        <a:pt x="47" y="296"/>
                      </a:lnTo>
                      <a:lnTo>
                        <a:pt x="50" y="295"/>
                      </a:lnTo>
                      <a:lnTo>
                        <a:pt x="55" y="296"/>
                      </a:lnTo>
                      <a:lnTo>
                        <a:pt x="52" y="288"/>
                      </a:lnTo>
                      <a:lnTo>
                        <a:pt x="50" y="280"/>
                      </a:lnTo>
                      <a:lnTo>
                        <a:pt x="50" y="275"/>
                      </a:lnTo>
                      <a:lnTo>
                        <a:pt x="50" y="272"/>
                      </a:lnTo>
                      <a:lnTo>
                        <a:pt x="52" y="269"/>
                      </a:lnTo>
                      <a:lnTo>
                        <a:pt x="55" y="266"/>
                      </a:lnTo>
                      <a:lnTo>
                        <a:pt x="55" y="261"/>
                      </a:lnTo>
                      <a:lnTo>
                        <a:pt x="57" y="258"/>
                      </a:lnTo>
                      <a:lnTo>
                        <a:pt x="55" y="255"/>
                      </a:lnTo>
                      <a:lnTo>
                        <a:pt x="55" y="252"/>
                      </a:lnTo>
                      <a:lnTo>
                        <a:pt x="55" y="247"/>
                      </a:lnTo>
                      <a:lnTo>
                        <a:pt x="55" y="245"/>
                      </a:lnTo>
                      <a:lnTo>
                        <a:pt x="55" y="236"/>
                      </a:lnTo>
                      <a:lnTo>
                        <a:pt x="55" y="228"/>
                      </a:lnTo>
                      <a:lnTo>
                        <a:pt x="58" y="225"/>
                      </a:lnTo>
                      <a:lnTo>
                        <a:pt x="58" y="220"/>
                      </a:lnTo>
                      <a:lnTo>
                        <a:pt x="58" y="217"/>
                      </a:lnTo>
                      <a:lnTo>
                        <a:pt x="57" y="214"/>
                      </a:lnTo>
                      <a:lnTo>
                        <a:pt x="58" y="210"/>
                      </a:lnTo>
                      <a:lnTo>
                        <a:pt x="58" y="203"/>
                      </a:lnTo>
                      <a:lnTo>
                        <a:pt x="53" y="199"/>
                      </a:lnTo>
                      <a:lnTo>
                        <a:pt x="53" y="196"/>
                      </a:lnTo>
                      <a:lnTo>
                        <a:pt x="52" y="193"/>
                      </a:lnTo>
                      <a:lnTo>
                        <a:pt x="53" y="190"/>
                      </a:lnTo>
                      <a:lnTo>
                        <a:pt x="57" y="187"/>
                      </a:lnTo>
                      <a:lnTo>
                        <a:pt x="60" y="185"/>
                      </a:lnTo>
                      <a:lnTo>
                        <a:pt x="63" y="182"/>
                      </a:lnTo>
                      <a:lnTo>
                        <a:pt x="68" y="179"/>
                      </a:lnTo>
                      <a:lnTo>
                        <a:pt x="69" y="177"/>
                      </a:lnTo>
                      <a:lnTo>
                        <a:pt x="72" y="177"/>
                      </a:lnTo>
                      <a:lnTo>
                        <a:pt x="76" y="177"/>
                      </a:lnTo>
                      <a:lnTo>
                        <a:pt x="79" y="179"/>
                      </a:lnTo>
                      <a:lnTo>
                        <a:pt x="82" y="182"/>
                      </a:lnTo>
                      <a:lnTo>
                        <a:pt x="80" y="185"/>
                      </a:lnTo>
                      <a:lnTo>
                        <a:pt x="82" y="188"/>
                      </a:lnTo>
                      <a:lnTo>
                        <a:pt x="82" y="191"/>
                      </a:lnTo>
                      <a:lnTo>
                        <a:pt x="82" y="195"/>
                      </a:lnTo>
                      <a:lnTo>
                        <a:pt x="82" y="198"/>
                      </a:lnTo>
                      <a:lnTo>
                        <a:pt x="82" y="201"/>
                      </a:lnTo>
                      <a:lnTo>
                        <a:pt x="77" y="204"/>
                      </a:lnTo>
                      <a:lnTo>
                        <a:pt x="76" y="207"/>
                      </a:lnTo>
                      <a:lnTo>
                        <a:pt x="74" y="210"/>
                      </a:lnTo>
                      <a:lnTo>
                        <a:pt x="74" y="215"/>
                      </a:lnTo>
                      <a:lnTo>
                        <a:pt x="77" y="218"/>
                      </a:lnTo>
                      <a:lnTo>
                        <a:pt x="82" y="222"/>
                      </a:lnTo>
                      <a:lnTo>
                        <a:pt x="84" y="225"/>
                      </a:lnTo>
                      <a:lnTo>
                        <a:pt x="87" y="226"/>
                      </a:lnTo>
                      <a:lnTo>
                        <a:pt x="90" y="230"/>
                      </a:lnTo>
                      <a:lnTo>
                        <a:pt x="93" y="233"/>
                      </a:lnTo>
                      <a:lnTo>
                        <a:pt x="96" y="234"/>
                      </a:lnTo>
                      <a:lnTo>
                        <a:pt x="99" y="236"/>
                      </a:lnTo>
                      <a:lnTo>
                        <a:pt x="99" y="237"/>
                      </a:lnTo>
                      <a:lnTo>
                        <a:pt x="99" y="241"/>
                      </a:lnTo>
                      <a:lnTo>
                        <a:pt x="96" y="244"/>
                      </a:lnTo>
                      <a:lnTo>
                        <a:pt x="96" y="247"/>
                      </a:lnTo>
                      <a:lnTo>
                        <a:pt x="96" y="252"/>
                      </a:lnTo>
                      <a:lnTo>
                        <a:pt x="95" y="255"/>
                      </a:lnTo>
                      <a:lnTo>
                        <a:pt x="95" y="258"/>
                      </a:lnTo>
                      <a:lnTo>
                        <a:pt x="95" y="261"/>
                      </a:lnTo>
                      <a:lnTo>
                        <a:pt x="98" y="264"/>
                      </a:lnTo>
                      <a:lnTo>
                        <a:pt x="103" y="268"/>
                      </a:lnTo>
                      <a:lnTo>
                        <a:pt x="106" y="266"/>
                      </a:lnTo>
                      <a:lnTo>
                        <a:pt x="109" y="268"/>
                      </a:lnTo>
                      <a:lnTo>
                        <a:pt x="112" y="268"/>
                      </a:lnTo>
                      <a:lnTo>
                        <a:pt x="117" y="266"/>
                      </a:lnTo>
                      <a:lnTo>
                        <a:pt x="114" y="263"/>
                      </a:lnTo>
                      <a:lnTo>
                        <a:pt x="115" y="258"/>
                      </a:lnTo>
                      <a:lnTo>
                        <a:pt x="117" y="255"/>
                      </a:lnTo>
                      <a:lnTo>
                        <a:pt x="120" y="253"/>
                      </a:lnTo>
                      <a:lnTo>
                        <a:pt x="123" y="252"/>
                      </a:lnTo>
                      <a:lnTo>
                        <a:pt x="126" y="252"/>
                      </a:lnTo>
                      <a:lnTo>
                        <a:pt x="131" y="252"/>
                      </a:lnTo>
                      <a:lnTo>
                        <a:pt x="134" y="250"/>
                      </a:lnTo>
                      <a:lnTo>
                        <a:pt x="137" y="253"/>
                      </a:lnTo>
                      <a:lnTo>
                        <a:pt x="141" y="252"/>
                      </a:lnTo>
                      <a:lnTo>
                        <a:pt x="141" y="250"/>
                      </a:lnTo>
                      <a:lnTo>
                        <a:pt x="139" y="247"/>
                      </a:lnTo>
                      <a:lnTo>
                        <a:pt x="142" y="250"/>
                      </a:lnTo>
                      <a:lnTo>
                        <a:pt x="145" y="249"/>
                      </a:lnTo>
                      <a:lnTo>
                        <a:pt x="145" y="244"/>
                      </a:lnTo>
                      <a:lnTo>
                        <a:pt x="145" y="241"/>
                      </a:lnTo>
                      <a:lnTo>
                        <a:pt x="145" y="237"/>
                      </a:lnTo>
                      <a:lnTo>
                        <a:pt x="142" y="236"/>
                      </a:lnTo>
                      <a:lnTo>
                        <a:pt x="141" y="239"/>
                      </a:lnTo>
                      <a:lnTo>
                        <a:pt x="137" y="237"/>
                      </a:lnTo>
                      <a:lnTo>
                        <a:pt x="137" y="233"/>
                      </a:lnTo>
                      <a:lnTo>
                        <a:pt x="134" y="233"/>
                      </a:lnTo>
                      <a:lnTo>
                        <a:pt x="136" y="228"/>
                      </a:lnTo>
                      <a:lnTo>
                        <a:pt x="133" y="228"/>
                      </a:lnTo>
                      <a:lnTo>
                        <a:pt x="133" y="226"/>
                      </a:lnTo>
                      <a:lnTo>
                        <a:pt x="130" y="222"/>
                      </a:lnTo>
                      <a:lnTo>
                        <a:pt x="126" y="220"/>
                      </a:lnTo>
                      <a:lnTo>
                        <a:pt x="123" y="217"/>
                      </a:lnTo>
                      <a:lnTo>
                        <a:pt x="125" y="214"/>
                      </a:lnTo>
                      <a:lnTo>
                        <a:pt x="125" y="212"/>
                      </a:lnTo>
                      <a:lnTo>
                        <a:pt x="125" y="212"/>
                      </a:lnTo>
                      <a:lnTo>
                        <a:pt x="123" y="207"/>
                      </a:lnTo>
                      <a:lnTo>
                        <a:pt x="128" y="209"/>
                      </a:lnTo>
                      <a:lnTo>
                        <a:pt x="130" y="209"/>
                      </a:lnTo>
                      <a:lnTo>
                        <a:pt x="126" y="206"/>
                      </a:lnTo>
                      <a:lnTo>
                        <a:pt x="128" y="203"/>
                      </a:lnTo>
                      <a:lnTo>
                        <a:pt x="128" y="203"/>
                      </a:lnTo>
                      <a:lnTo>
                        <a:pt x="131" y="201"/>
                      </a:lnTo>
                      <a:lnTo>
                        <a:pt x="130" y="198"/>
                      </a:lnTo>
                      <a:lnTo>
                        <a:pt x="126" y="195"/>
                      </a:lnTo>
                      <a:lnTo>
                        <a:pt x="126" y="191"/>
                      </a:lnTo>
                      <a:lnTo>
                        <a:pt x="125" y="187"/>
                      </a:lnTo>
                      <a:lnTo>
                        <a:pt x="122" y="184"/>
                      </a:lnTo>
                      <a:lnTo>
                        <a:pt x="118" y="182"/>
                      </a:lnTo>
                      <a:lnTo>
                        <a:pt x="117" y="179"/>
                      </a:lnTo>
                      <a:lnTo>
                        <a:pt x="117" y="176"/>
                      </a:lnTo>
                      <a:lnTo>
                        <a:pt x="114" y="172"/>
                      </a:lnTo>
                      <a:lnTo>
                        <a:pt x="112" y="168"/>
                      </a:lnTo>
                      <a:lnTo>
                        <a:pt x="111" y="164"/>
                      </a:lnTo>
                      <a:lnTo>
                        <a:pt x="107" y="161"/>
                      </a:lnTo>
                      <a:lnTo>
                        <a:pt x="104" y="158"/>
                      </a:lnTo>
                      <a:lnTo>
                        <a:pt x="101" y="158"/>
                      </a:lnTo>
                      <a:lnTo>
                        <a:pt x="99" y="153"/>
                      </a:lnTo>
                      <a:lnTo>
                        <a:pt x="96" y="150"/>
                      </a:lnTo>
                      <a:lnTo>
                        <a:pt x="93" y="152"/>
                      </a:lnTo>
                      <a:lnTo>
                        <a:pt x="93" y="150"/>
                      </a:lnTo>
                      <a:lnTo>
                        <a:pt x="93" y="145"/>
                      </a:lnTo>
                      <a:lnTo>
                        <a:pt x="93" y="142"/>
                      </a:lnTo>
                      <a:lnTo>
                        <a:pt x="98" y="147"/>
                      </a:lnTo>
                      <a:lnTo>
                        <a:pt x="101" y="149"/>
                      </a:lnTo>
                      <a:lnTo>
                        <a:pt x="103" y="149"/>
                      </a:lnTo>
                      <a:lnTo>
                        <a:pt x="106" y="149"/>
                      </a:lnTo>
                      <a:lnTo>
                        <a:pt x="107" y="145"/>
                      </a:lnTo>
                      <a:lnTo>
                        <a:pt x="109" y="142"/>
                      </a:lnTo>
                      <a:lnTo>
                        <a:pt x="111" y="139"/>
                      </a:lnTo>
                      <a:lnTo>
                        <a:pt x="114" y="138"/>
                      </a:lnTo>
                      <a:lnTo>
                        <a:pt x="118" y="136"/>
                      </a:lnTo>
                      <a:lnTo>
                        <a:pt x="122" y="136"/>
                      </a:lnTo>
                      <a:lnTo>
                        <a:pt x="125" y="134"/>
                      </a:lnTo>
                      <a:lnTo>
                        <a:pt x="128" y="131"/>
                      </a:lnTo>
                      <a:lnTo>
                        <a:pt x="131" y="130"/>
                      </a:lnTo>
                      <a:lnTo>
                        <a:pt x="134" y="125"/>
                      </a:lnTo>
                      <a:lnTo>
                        <a:pt x="137" y="122"/>
                      </a:lnTo>
                      <a:lnTo>
                        <a:pt x="141" y="119"/>
                      </a:lnTo>
                      <a:lnTo>
                        <a:pt x="141" y="117"/>
                      </a:lnTo>
                      <a:lnTo>
                        <a:pt x="144" y="114"/>
                      </a:lnTo>
                      <a:lnTo>
                        <a:pt x="145" y="111"/>
                      </a:lnTo>
                      <a:lnTo>
                        <a:pt x="149" y="107"/>
                      </a:lnTo>
                      <a:lnTo>
                        <a:pt x="152" y="106"/>
                      </a:lnTo>
                      <a:lnTo>
                        <a:pt x="160" y="106"/>
                      </a:lnTo>
                      <a:lnTo>
                        <a:pt x="160" y="109"/>
                      </a:lnTo>
                      <a:lnTo>
                        <a:pt x="164" y="112"/>
                      </a:lnTo>
                      <a:lnTo>
                        <a:pt x="168" y="111"/>
                      </a:lnTo>
                      <a:lnTo>
                        <a:pt x="168" y="107"/>
                      </a:lnTo>
                      <a:lnTo>
                        <a:pt x="169" y="104"/>
                      </a:lnTo>
                      <a:lnTo>
                        <a:pt x="169" y="99"/>
                      </a:lnTo>
                      <a:lnTo>
                        <a:pt x="169" y="96"/>
                      </a:lnTo>
                      <a:lnTo>
                        <a:pt x="164" y="95"/>
                      </a:lnTo>
                      <a:lnTo>
                        <a:pt x="161" y="93"/>
                      </a:lnTo>
                      <a:lnTo>
                        <a:pt x="158" y="93"/>
                      </a:lnTo>
                      <a:lnTo>
                        <a:pt x="155" y="95"/>
                      </a:lnTo>
                      <a:lnTo>
                        <a:pt x="152" y="95"/>
                      </a:lnTo>
                      <a:lnTo>
                        <a:pt x="147" y="95"/>
                      </a:lnTo>
                      <a:lnTo>
                        <a:pt x="144" y="98"/>
                      </a:lnTo>
                      <a:lnTo>
                        <a:pt x="147" y="98"/>
                      </a:lnTo>
                      <a:lnTo>
                        <a:pt x="152" y="101"/>
                      </a:lnTo>
                      <a:lnTo>
                        <a:pt x="147" y="101"/>
                      </a:lnTo>
                      <a:lnTo>
                        <a:pt x="144" y="103"/>
                      </a:lnTo>
                      <a:lnTo>
                        <a:pt x="141" y="101"/>
                      </a:lnTo>
                      <a:lnTo>
                        <a:pt x="137" y="101"/>
                      </a:lnTo>
                      <a:lnTo>
                        <a:pt x="134" y="101"/>
                      </a:lnTo>
                      <a:lnTo>
                        <a:pt x="131" y="101"/>
                      </a:lnTo>
                      <a:lnTo>
                        <a:pt x="126" y="101"/>
                      </a:lnTo>
                      <a:lnTo>
                        <a:pt x="123" y="103"/>
                      </a:lnTo>
                      <a:lnTo>
                        <a:pt x="123" y="106"/>
                      </a:lnTo>
                      <a:lnTo>
                        <a:pt x="115" y="109"/>
                      </a:lnTo>
                      <a:lnTo>
                        <a:pt x="112" y="109"/>
                      </a:lnTo>
                      <a:lnTo>
                        <a:pt x="109" y="109"/>
                      </a:lnTo>
                      <a:lnTo>
                        <a:pt x="106" y="106"/>
                      </a:lnTo>
                      <a:lnTo>
                        <a:pt x="104" y="103"/>
                      </a:lnTo>
                      <a:lnTo>
                        <a:pt x="101" y="104"/>
                      </a:lnTo>
                      <a:lnTo>
                        <a:pt x="98" y="107"/>
                      </a:lnTo>
                      <a:lnTo>
                        <a:pt x="96" y="111"/>
                      </a:lnTo>
                      <a:lnTo>
                        <a:pt x="96" y="111"/>
                      </a:lnTo>
                      <a:lnTo>
                        <a:pt x="92" y="114"/>
                      </a:lnTo>
                      <a:lnTo>
                        <a:pt x="90" y="117"/>
                      </a:lnTo>
                      <a:lnTo>
                        <a:pt x="88" y="122"/>
                      </a:lnTo>
                      <a:lnTo>
                        <a:pt x="87" y="125"/>
                      </a:lnTo>
                      <a:lnTo>
                        <a:pt x="84" y="128"/>
                      </a:lnTo>
                      <a:lnTo>
                        <a:pt x="82" y="128"/>
                      </a:lnTo>
                      <a:lnTo>
                        <a:pt x="79" y="126"/>
                      </a:lnTo>
                      <a:lnTo>
                        <a:pt x="76" y="126"/>
                      </a:lnTo>
                      <a:lnTo>
                        <a:pt x="72" y="126"/>
                      </a:lnTo>
                      <a:lnTo>
                        <a:pt x="71" y="126"/>
                      </a:lnTo>
                      <a:lnTo>
                        <a:pt x="68" y="123"/>
                      </a:lnTo>
                      <a:lnTo>
                        <a:pt x="66" y="120"/>
                      </a:lnTo>
                      <a:lnTo>
                        <a:pt x="66" y="117"/>
                      </a:lnTo>
                      <a:lnTo>
                        <a:pt x="65" y="114"/>
                      </a:lnTo>
                      <a:lnTo>
                        <a:pt x="63" y="109"/>
                      </a:lnTo>
                      <a:lnTo>
                        <a:pt x="60" y="107"/>
                      </a:lnTo>
                      <a:lnTo>
                        <a:pt x="57" y="107"/>
                      </a:lnTo>
                      <a:lnTo>
                        <a:pt x="53" y="104"/>
                      </a:lnTo>
                      <a:lnTo>
                        <a:pt x="50" y="101"/>
                      </a:lnTo>
                      <a:lnTo>
                        <a:pt x="49" y="98"/>
                      </a:lnTo>
                      <a:lnTo>
                        <a:pt x="47" y="95"/>
                      </a:lnTo>
                      <a:lnTo>
                        <a:pt x="47" y="85"/>
                      </a:lnTo>
                      <a:lnTo>
                        <a:pt x="46" y="77"/>
                      </a:lnTo>
                      <a:lnTo>
                        <a:pt x="46" y="77"/>
                      </a:lnTo>
                      <a:lnTo>
                        <a:pt x="47" y="74"/>
                      </a:lnTo>
                      <a:lnTo>
                        <a:pt x="49" y="69"/>
                      </a:lnTo>
                      <a:lnTo>
                        <a:pt x="49" y="66"/>
                      </a:lnTo>
                      <a:lnTo>
                        <a:pt x="50" y="63"/>
                      </a:lnTo>
                      <a:lnTo>
                        <a:pt x="52" y="60"/>
                      </a:lnTo>
                      <a:lnTo>
                        <a:pt x="53" y="57"/>
                      </a:lnTo>
                      <a:lnTo>
                        <a:pt x="57" y="52"/>
                      </a:lnTo>
                      <a:lnTo>
                        <a:pt x="61" y="50"/>
                      </a:lnTo>
                      <a:lnTo>
                        <a:pt x="65" y="49"/>
                      </a:lnTo>
                      <a:lnTo>
                        <a:pt x="68" y="47"/>
                      </a:lnTo>
                      <a:lnTo>
                        <a:pt x="71" y="49"/>
                      </a:lnTo>
                      <a:lnTo>
                        <a:pt x="74" y="50"/>
                      </a:lnTo>
                      <a:lnTo>
                        <a:pt x="77" y="52"/>
                      </a:lnTo>
                      <a:lnTo>
                        <a:pt x="82" y="52"/>
                      </a:lnTo>
                      <a:lnTo>
                        <a:pt x="85" y="53"/>
                      </a:lnTo>
                      <a:lnTo>
                        <a:pt x="88" y="52"/>
                      </a:lnTo>
                      <a:lnTo>
                        <a:pt x="92" y="50"/>
                      </a:lnTo>
                      <a:lnTo>
                        <a:pt x="93" y="50"/>
                      </a:lnTo>
                      <a:lnTo>
                        <a:pt x="96" y="50"/>
                      </a:lnTo>
                      <a:lnTo>
                        <a:pt x="101" y="47"/>
                      </a:lnTo>
                      <a:lnTo>
                        <a:pt x="104" y="49"/>
                      </a:lnTo>
                      <a:lnTo>
                        <a:pt x="107" y="49"/>
                      </a:lnTo>
                      <a:lnTo>
                        <a:pt x="111" y="52"/>
                      </a:lnTo>
                      <a:lnTo>
                        <a:pt x="114" y="52"/>
                      </a:lnTo>
                      <a:lnTo>
                        <a:pt x="117" y="52"/>
                      </a:lnTo>
                      <a:lnTo>
                        <a:pt x="120" y="50"/>
                      </a:lnTo>
                      <a:lnTo>
                        <a:pt x="123" y="50"/>
                      </a:lnTo>
                      <a:lnTo>
                        <a:pt x="128" y="50"/>
                      </a:lnTo>
                      <a:lnTo>
                        <a:pt x="131" y="49"/>
                      </a:lnTo>
                      <a:lnTo>
                        <a:pt x="137" y="49"/>
                      </a:lnTo>
                      <a:lnTo>
                        <a:pt x="142" y="49"/>
                      </a:lnTo>
                      <a:lnTo>
                        <a:pt x="145" y="50"/>
                      </a:lnTo>
                      <a:lnTo>
                        <a:pt x="149" y="50"/>
                      </a:lnTo>
                      <a:lnTo>
                        <a:pt x="152" y="50"/>
                      </a:lnTo>
                      <a:lnTo>
                        <a:pt x="155" y="50"/>
                      </a:lnTo>
                      <a:lnTo>
                        <a:pt x="158" y="52"/>
                      </a:lnTo>
                      <a:lnTo>
                        <a:pt x="161" y="55"/>
                      </a:lnTo>
                      <a:lnTo>
                        <a:pt x="164" y="57"/>
                      </a:lnTo>
                      <a:lnTo>
                        <a:pt x="168" y="58"/>
                      </a:lnTo>
                      <a:lnTo>
                        <a:pt x="177" y="58"/>
                      </a:lnTo>
                      <a:lnTo>
                        <a:pt x="185" y="57"/>
                      </a:lnTo>
                      <a:lnTo>
                        <a:pt x="193" y="55"/>
                      </a:lnTo>
                      <a:lnTo>
                        <a:pt x="201" y="53"/>
                      </a:lnTo>
                      <a:lnTo>
                        <a:pt x="206" y="52"/>
                      </a:lnTo>
                      <a:lnTo>
                        <a:pt x="209" y="49"/>
                      </a:lnTo>
                      <a:lnTo>
                        <a:pt x="210" y="46"/>
                      </a:lnTo>
                      <a:lnTo>
                        <a:pt x="212" y="42"/>
                      </a:lnTo>
                      <a:lnTo>
                        <a:pt x="218" y="33"/>
                      </a:lnTo>
                      <a:lnTo>
                        <a:pt x="225" y="25"/>
                      </a:lnTo>
                      <a:lnTo>
                        <a:pt x="228" y="15"/>
                      </a:lnTo>
                      <a:lnTo>
                        <a:pt x="234" y="9"/>
                      </a:lnTo>
                      <a:lnTo>
                        <a:pt x="231" y="4"/>
                      </a:lnTo>
                      <a:lnTo>
                        <a:pt x="231" y="1"/>
                      </a:lnTo>
                      <a:lnTo>
                        <a:pt x="228" y="1"/>
                      </a:lnTo>
                      <a:lnTo>
                        <a:pt x="225" y="0"/>
                      </a:lnTo>
                      <a:lnTo>
                        <a:pt x="220" y="4"/>
                      </a:lnTo>
                      <a:lnTo>
                        <a:pt x="218" y="9"/>
                      </a:lnTo>
                      <a:lnTo>
                        <a:pt x="215" y="11"/>
                      </a:lnTo>
                      <a:lnTo>
                        <a:pt x="210" y="14"/>
                      </a:lnTo>
                      <a:lnTo>
                        <a:pt x="209" y="17"/>
                      </a:lnTo>
                      <a:lnTo>
                        <a:pt x="209" y="20"/>
                      </a:lnTo>
                      <a:lnTo>
                        <a:pt x="206" y="20"/>
                      </a:lnTo>
                      <a:lnTo>
                        <a:pt x="203" y="23"/>
                      </a:lnTo>
                      <a:lnTo>
                        <a:pt x="201" y="27"/>
                      </a:lnTo>
                      <a:lnTo>
                        <a:pt x="198" y="30"/>
                      </a:lnTo>
                      <a:lnTo>
                        <a:pt x="195" y="31"/>
                      </a:lnTo>
                      <a:lnTo>
                        <a:pt x="190" y="33"/>
                      </a:lnTo>
                      <a:lnTo>
                        <a:pt x="187" y="36"/>
                      </a:lnTo>
                      <a:lnTo>
                        <a:pt x="183" y="36"/>
                      </a:lnTo>
                      <a:lnTo>
                        <a:pt x="180" y="34"/>
                      </a:lnTo>
                      <a:lnTo>
                        <a:pt x="176" y="34"/>
                      </a:lnTo>
                      <a:lnTo>
                        <a:pt x="172" y="34"/>
                      </a:lnTo>
                      <a:lnTo>
                        <a:pt x="169" y="33"/>
                      </a:lnTo>
                      <a:lnTo>
                        <a:pt x="166" y="33"/>
                      </a:lnTo>
                      <a:lnTo>
                        <a:pt x="163" y="31"/>
                      </a:lnTo>
                      <a:lnTo>
                        <a:pt x="160" y="31"/>
                      </a:lnTo>
                      <a:lnTo>
                        <a:pt x="155" y="31"/>
                      </a:lnTo>
                      <a:lnTo>
                        <a:pt x="152" y="33"/>
                      </a:lnTo>
                      <a:lnTo>
                        <a:pt x="149" y="36"/>
                      </a:lnTo>
                      <a:lnTo>
                        <a:pt x="145" y="34"/>
                      </a:lnTo>
                      <a:lnTo>
                        <a:pt x="142" y="31"/>
                      </a:lnTo>
                      <a:lnTo>
                        <a:pt x="137" y="30"/>
                      </a:lnTo>
                      <a:lnTo>
                        <a:pt x="134" y="30"/>
                      </a:lnTo>
                      <a:lnTo>
                        <a:pt x="131" y="28"/>
                      </a:lnTo>
                      <a:lnTo>
                        <a:pt x="128" y="28"/>
                      </a:lnTo>
                      <a:lnTo>
                        <a:pt x="125" y="28"/>
                      </a:lnTo>
                      <a:lnTo>
                        <a:pt x="122" y="27"/>
                      </a:lnTo>
                      <a:lnTo>
                        <a:pt x="118" y="28"/>
                      </a:lnTo>
                      <a:lnTo>
                        <a:pt x="114" y="25"/>
                      </a:lnTo>
                      <a:lnTo>
                        <a:pt x="111" y="25"/>
                      </a:lnTo>
                      <a:lnTo>
                        <a:pt x="107" y="25"/>
                      </a:lnTo>
                      <a:lnTo>
                        <a:pt x="104" y="27"/>
                      </a:lnTo>
                      <a:lnTo>
                        <a:pt x="99" y="25"/>
                      </a:lnTo>
                      <a:lnTo>
                        <a:pt x="98" y="22"/>
                      </a:lnTo>
                      <a:lnTo>
                        <a:pt x="96" y="19"/>
                      </a:lnTo>
                      <a:lnTo>
                        <a:pt x="88" y="19"/>
                      </a:lnTo>
                      <a:lnTo>
                        <a:pt x="87" y="17"/>
                      </a:lnTo>
                      <a:lnTo>
                        <a:pt x="82" y="15"/>
                      </a:lnTo>
                      <a:lnTo>
                        <a:pt x="74" y="17"/>
                      </a:lnTo>
                      <a:lnTo>
                        <a:pt x="76" y="20"/>
                      </a:lnTo>
                      <a:lnTo>
                        <a:pt x="74" y="25"/>
                      </a:lnTo>
                      <a:lnTo>
                        <a:pt x="72" y="28"/>
                      </a:lnTo>
                      <a:lnTo>
                        <a:pt x="69" y="30"/>
                      </a:lnTo>
                      <a:lnTo>
                        <a:pt x="66" y="36"/>
                      </a:lnTo>
                      <a:lnTo>
                        <a:pt x="63" y="38"/>
                      </a:lnTo>
                      <a:lnTo>
                        <a:pt x="60" y="36"/>
                      </a:lnTo>
                      <a:lnTo>
                        <a:pt x="55" y="30"/>
                      </a:lnTo>
                      <a:lnTo>
                        <a:pt x="53" y="33"/>
                      </a:lnTo>
                      <a:lnTo>
                        <a:pt x="53" y="38"/>
                      </a:lnTo>
                      <a:lnTo>
                        <a:pt x="50" y="39"/>
                      </a:lnTo>
                      <a:lnTo>
                        <a:pt x="46" y="42"/>
                      </a:lnTo>
                      <a:lnTo>
                        <a:pt x="47" y="46"/>
                      </a:lnTo>
                      <a:lnTo>
                        <a:pt x="46" y="49"/>
                      </a:lnTo>
                      <a:lnTo>
                        <a:pt x="46" y="49"/>
                      </a:lnTo>
                      <a:lnTo>
                        <a:pt x="42" y="52"/>
                      </a:lnTo>
                      <a:lnTo>
                        <a:pt x="39" y="55"/>
                      </a:lnTo>
                      <a:lnTo>
                        <a:pt x="39" y="60"/>
                      </a:lnTo>
                      <a:lnTo>
                        <a:pt x="39" y="63"/>
                      </a:lnTo>
                      <a:lnTo>
                        <a:pt x="41" y="66"/>
                      </a:lnTo>
                      <a:lnTo>
                        <a:pt x="41" y="69"/>
                      </a:lnTo>
                      <a:lnTo>
                        <a:pt x="38" y="74"/>
                      </a:lnTo>
                      <a:lnTo>
                        <a:pt x="34" y="69"/>
                      </a:lnTo>
                      <a:lnTo>
                        <a:pt x="31" y="69"/>
                      </a:lnTo>
                      <a:lnTo>
                        <a:pt x="31" y="71"/>
                      </a:lnTo>
                      <a:lnTo>
                        <a:pt x="34" y="74"/>
                      </a:lnTo>
                      <a:lnTo>
                        <a:pt x="39" y="77"/>
                      </a:lnTo>
                      <a:lnTo>
                        <a:pt x="38" y="80"/>
                      </a:lnTo>
                      <a:lnTo>
                        <a:pt x="36" y="85"/>
                      </a:lnTo>
                      <a:lnTo>
                        <a:pt x="36" y="88"/>
                      </a:lnTo>
                      <a:lnTo>
                        <a:pt x="38" y="92"/>
                      </a:lnTo>
                      <a:lnTo>
                        <a:pt x="38" y="95"/>
                      </a:lnTo>
                      <a:lnTo>
                        <a:pt x="39" y="98"/>
                      </a:lnTo>
                      <a:lnTo>
                        <a:pt x="41" y="103"/>
                      </a:lnTo>
                      <a:lnTo>
                        <a:pt x="39" y="106"/>
                      </a:lnTo>
                      <a:lnTo>
                        <a:pt x="39" y="104"/>
                      </a:lnTo>
                      <a:lnTo>
                        <a:pt x="38" y="101"/>
                      </a:lnTo>
                      <a:lnTo>
                        <a:pt x="34" y="98"/>
                      </a:lnTo>
                      <a:lnTo>
                        <a:pt x="33" y="101"/>
                      </a:lnTo>
                      <a:lnTo>
                        <a:pt x="30" y="104"/>
                      </a:lnTo>
                      <a:lnTo>
                        <a:pt x="28" y="104"/>
                      </a:lnTo>
                      <a:lnTo>
                        <a:pt x="26" y="107"/>
                      </a:lnTo>
                      <a:lnTo>
                        <a:pt x="26" y="112"/>
                      </a:lnTo>
                      <a:lnTo>
                        <a:pt x="25" y="115"/>
                      </a:lnTo>
                      <a:lnTo>
                        <a:pt x="22" y="119"/>
                      </a:lnTo>
                      <a:lnTo>
                        <a:pt x="20" y="122"/>
                      </a:lnTo>
                      <a:lnTo>
                        <a:pt x="20" y="125"/>
                      </a:lnTo>
                      <a:lnTo>
                        <a:pt x="20" y="128"/>
                      </a:lnTo>
                      <a:lnTo>
                        <a:pt x="20" y="133"/>
                      </a:lnTo>
                      <a:lnTo>
                        <a:pt x="20" y="136"/>
                      </a:lnTo>
                      <a:lnTo>
                        <a:pt x="20" y="139"/>
                      </a:lnTo>
                      <a:lnTo>
                        <a:pt x="20" y="142"/>
                      </a:lnTo>
                      <a:lnTo>
                        <a:pt x="22" y="147"/>
                      </a:lnTo>
                      <a:lnTo>
                        <a:pt x="20" y="150"/>
                      </a:lnTo>
                      <a:lnTo>
                        <a:pt x="15" y="153"/>
                      </a:lnTo>
                      <a:lnTo>
                        <a:pt x="15" y="157"/>
                      </a:lnTo>
                      <a:lnTo>
                        <a:pt x="14" y="160"/>
                      </a:lnTo>
                      <a:lnTo>
                        <a:pt x="12" y="163"/>
                      </a:lnTo>
                      <a:lnTo>
                        <a:pt x="12" y="168"/>
                      </a:lnTo>
                      <a:lnTo>
                        <a:pt x="12" y="171"/>
                      </a:lnTo>
                      <a:lnTo>
                        <a:pt x="9" y="172"/>
                      </a:lnTo>
                      <a:lnTo>
                        <a:pt x="7" y="177"/>
                      </a:lnTo>
                      <a:lnTo>
                        <a:pt x="3" y="179"/>
                      </a:lnTo>
                      <a:lnTo>
                        <a:pt x="0" y="179"/>
                      </a:lnTo>
                      <a:lnTo>
                        <a:pt x="0" y="184"/>
                      </a:lnTo>
                      <a:lnTo>
                        <a:pt x="0" y="187"/>
                      </a:lnTo>
                      <a:lnTo>
                        <a:pt x="3" y="188"/>
                      </a:lnTo>
                      <a:lnTo>
                        <a:pt x="3" y="191"/>
                      </a:lnTo>
                      <a:lnTo>
                        <a:pt x="0" y="195"/>
                      </a:lnTo>
                      <a:lnTo>
                        <a:pt x="0" y="198"/>
                      </a:lnTo>
                      <a:lnTo>
                        <a:pt x="1" y="203"/>
                      </a:lnTo>
                      <a:lnTo>
                        <a:pt x="1" y="206"/>
                      </a:lnTo>
                      <a:lnTo>
                        <a:pt x="1" y="209"/>
                      </a:lnTo>
                      <a:lnTo>
                        <a:pt x="3" y="212"/>
                      </a:lnTo>
                      <a:lnTo>
                        <a:pt x="4" y="217"/>
                      </a:lnTo>
                      <a:lnTo>
                        <a:pt x="7" y="214"/>
                      </a:lnTo>
                      <a:lnTo>
                        <a:pt x="11" y="212"/>
                      </a:lnTo>
                      <a:lnTo>
                        <a:pt x="14" y="212"/>
                      </a:lnTo>
                      <a:lnTo>
                        <a:pt x="19" y="210"/>
                      </a:lnTo>
                      <a:lnTo>
                        <a:pt x="22" y="212"/>
                      </a:lnTo>
                      <a:lnTo>
                        <a:pt x="25" y="214"/>
                      </a:lnTo>
                      <a:lnTo>
                        <a:pt x="23" y="217"/>
                      </a:lnTo>
                      <a:lnTo>
                        <a:pt x="22" y="222"/>
                      </a:lnTo>
                      <a:lnTo>
                        <a:pt x="23" y="223"/>
                      </a:lnTo>
                      <a:lnTo>
                        <a:pt x="25" y="226"/>
                      </a:lnTo>
                      <a:lnTo>
                        <a:pt x="26" y="230"/>
                      </a:lnTo>
                      <a:lnTo>
                        <a:pt x="30" y="233"/>
                      </a:lnTo>
                      <a:lnTo>
                        <a:pt x="28" y="236"/>
                      </a:lnTo>
                      <a:lnTo>
                        <a:pt x="28" y="241"/>
                      </a:lnTo>
                      <a:lnTo>
                        <a:pt x="26" y="244"/>
                      </a:lnTo>
                      <a:lnTo>
                        <a:pt x="28" y="247"/>
                      </a:lnTo>
                      <a:lnTo>
                        <a:pt x="26" y="250"/>
                      </a:lnTo>
                      <a:lnTo>
                        <a:pt x="26" y="253"/>
                      </a:lnTo>
                      <a:lnTo>
                        <a:pt x="25" y="258"/>
                      </a:lnTo>
                      <a:lnTo>
                        <a:pt x="23" y="261"/>
                      </a:lnTo>
                      <a:lnTo>
                        <a:pt x="22" y="264"/>
                      </a:lnTo>
                      <a:lnTo>
                        <a:pt x="23" y="268"/>
                      </a:lnTo>
                      <a:lnTo>
                        <a:pt x="22" y="271"/>
                      </a:lnTo>
                      <a:lnTo>
                        <a:pt x="20" y="275"/>
                      </a:lnTo>
                      <a:lnTo>
                        <a:pt x="20" y="277"/>
                      </a:lnTo>
                      <a:lnTo>
                        <a:pt x="17" y="282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19" name="Freeform 110"/>
                <p:cNvSpPr>
                  <a:spLocks/>
                </p:cNvSpPr>
                <p:nvPr/>
              </p:nvSpPr>
              <p:spPr bwMode="auto">
                <a:xfrm>
                  <a:off x="4756" y="2655"/>
                  <a:ext cx="58" cy="18"/>
                </a:xfrm>
                <a:custGeom>
                  <a:avLst/>
                  <a:gdLst>
                    <a:gd name="T0" fmla="*/ 8 w 118"/>
                    <a:gd name="T1" fmla="*/ 32 h 37"/>
                    <a:gd name="T2" fmla="*/ 15 w 118"/>
                    <a:gd name="T3" fmla="*/ 30 h 37"/>
                    <a:gd name="T4" fmla="*/ 23 w 118"/>
                    <a:gd name="T5" fmla="*/ 30 h 37"/>
                    <a:gd name="T6" fmla="*/ 29 w 118"/>
                    <a:gd name="T7" fmla="*/ 30 h 37"/>
                    <a:gd name="T8" fmla="*/ 37 w 118"/>
                    <a:gd name="T9" fmla="*/ 32 h 37"/>
                    <a:gd name="T10" fmla="*/ 43 w 118"/>
                    <a:gd name="T11" fmla="*/ 37 h 37"/>
                    <a:gd name="T12" fmla="*/ 49 w 118"/>
                    <a:gd name="T13" fmla="*/ 35 h 37"/>
                    <a:gd name="T14" fmla="*/ 57 w 118"/>
                    <a:gd name="T15" fmla="*/ 35 h 37"/>
                    <a:gd name="T16" fmla="*/ 61 w 118"/>
                    <a:gd name="T17" fmla="*/ 32 h 37"/>
                    <a:gd name="T18" fmla="*/ 67 w 118"/>
                    <a:gd name="T19" fmla="*/ 35 h 37"/>
                    <a:gd name="T20" fmla="*/ 73 w 118"/>
                    <a:gd name="T21" fmla="*/ 33 h 37"/>
                    <a:gd name="T22" fmla="*/ 81 w 118"/>
                    <a:gd name="T23" fmla="*/ 30 h 37"/>
                    <a:gd name="T24" fmla="*/ 88 w 118"/>
                    <a:gd name="T25" fmla="*/ 29 h 37"/>
                    <a:gd name="T26" fmla="*/ 110 w 118"/>
                    <a:gd name="T27" fmla="*/ 22 h 37"/>
                    <a:gd name="T28" fmla="*/ 110 w 118"/>
                    <a:gd name="T29" fmla="*/ 16 h 37"/>
                    <a:gd name="T30" fmla="*/ 114 w 118"/>
                    <a:gd name="T31" fmla="*/ 11 h 37"/>
                    <a:gd name="T32" fmla="*/ 118 w 118"/>
                    <a:gd name="T33" fmla="*/ 7 h 37"/>
                    <a:gd name="T34" fmla="*/ 113 w 118"/>
                    <a:gd name="T35" fmla="*/ 0 h 37"/>
                    <a:gd name="T36" fmla="*/ 108 w 118"/>
                    <a:gd name="T37" fmla="*/ 8 h 37"/>
                    <a:gd name="T38" fmla="*/ 116 w 118"/>
                    <a:gd name="T39" fmla="*/ 7 h 37"/>
                    <a:gd name="T40" fmla="*/ 108 w 118"/>
                    <a:gd name="T41" fmla="*/ 13 h 37"/>
                    <a:gd name="T42" fmla="*/ 102 w 118"/>
                    <a:gd name="T43" fmla="*/ 16 h 37"/>
                    <a:gd name="T44" fmla="*/ 97 w 118"/>
                    <a:gd name="T45" fmla="*/ 22 h 37"/>
                    <a:gd name="T46" fmla="*/ 91 w 118"/>
                    <a:gd name="T47" fmla="*/ 24 h 37"/>
                    <a:gd name="T48" fmla="*/ 83 w 118"/>
                    <a:gd name="T49" fmla="*/ 19 h 37"/>
                    <a:gd name="T50" fmla="*/ 76 w 118"/>
                    <a:gd name="T51" fmla="*/ 18 h 37"/>
                    <a:gd name="T52" fmla="*/ 67 w 118"/>
                    <a:gd name="T53" fmla="*/ 18 h 37"/>
                    <a:gd name="T54" fmla="*/ 61 w 118"/>
                    <a:gd name="T55" fmla="*/ 21 h 37"/>
                    <a:gd name="T56" fmla="*/ 54 w 118"/>
                    <a:gd name="T57" fmla="*/ 18 h 37"/>
                    <a:gd name="T58" fmla="*/ 48 w 118"/>
                    <a:gd name="T59" fmla="*/ 14 h 37"/>
                    <a:gd name="T60" fmla="*/ 40 w 118"/>
                    <a:gd name="T61" fmla="*/ 11 h 37"/>
                    <a:gd name="T62" fmla="*/ 34 w 118"/>
                    <a:gd name="T63" fmla="*/ 10 h 37"/>
                    <a:gd name="T64" fmla="*/ 26 w 118"/>
                    <a:gd name="T65" fmla="*/ 10 h 37"/>
                    <a:gd name="T66" fmla="*/ 15 w 118"/>
                    <a:gd name="T67" fmla="*/ 11 h 37"/>
                    <a:gd name="T68" fmla="*/ 10 w 118"/>
                    <a:gd name="T69" fmla="*/ 16 h 37"/>
                    <a:gd name="T70" fmla="*/ 3 w 118"/>
                    <a:gd name="T71" fmla="*/ 19 h 37"/>
                    <a:gd name="T72" fmla="*/ 0 w 118"/>
                    <a:gd name="T73" fmla="*/ 27 h 37"/>
                    <a:gd name="T74" fmla="*/ 3 w 118"/>
                    <a:gd name="T75" fmla="*/ 33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18" h="37">
                      <a:moveTo>
                        <a:pt x="8" y="32"/>
                      </a:moveTo>
                      <a:lnTo>
                        <a:pt x="8" y="32"/>
                      </a:lnTo>
                      <a:lnTo>
                        <a:pt x="11" y="30"/>
                      </a:lnTo>
                      <a:lnTo>
                        <a:pt x="15" y="30"/>
                      </a:lnTo>
                      <a:lnTo>
                        <a:pt x="19" y="32"/>
                      </a:lnTo>
                      <a:lnTo>
                        <a:pt x="23" y="30"/>
                      </a:lnTo>
                      <a:lnTo>
                        <a:pt x="26" y="30"/>
                      </a:lnTo>
                      <a:lnTo>
                        <a:pt x="29" y="30"/>
                      </a:lnTo>
                      <a:lnTo>
                        <a:pt x="34" y="32"/>
                      </a:lnTo>
                      <a:lnTo>
                        <a:pt x="37" y="32"/>
                      </a:lnTo>
                      <a:lnTo>
                        <a:pt x="40" y="35"/>
                      </a:lnTo>
                      <a:lnTo>
                        <a:pt x="43" y="37"/>
                      </a:lnTo>
                      <a:lnTo>
                        <a:pt x="46" y="37"/>
                      </a:lnTo>
                      <a:lnTo>
                        <a:pt x="49" y="35"/>
                      </a:lnTo>
                      <a:lnTo>
                        <a:pt x="54" y="35"/>
                      </a:lnTo>
                      <a:lnTo>
                        <a:pt x="57" y="35"/>
                      </a:lnTo>
                      <a:lnTo>
                        <a:pt x="57" y="30"/>
                      </a:lnTo>
                      <a:lnTo>
                        <a:pt x="61" y="32"/>
                      </a:lnTo>
                      <a:lnTo>
                        <a:pt x="64" y="32"/>
                      </a:lnTo>
                      <a:lnTo>
                        <a:pt x="67" y="35"/>
                      </a:lnTo>
                      <a:lnTo>
                        <a:pt x="70" y="33"/>
                      </a:lnTo>
                      <a:lnTo>
                        <a:pt x="73" y="33"/>
                      </a:lnTo>
                      <a:lnTo>
                        <a:pt x="76" y="32"/>
                      </a:lnTo>
                      <a:lnTo>
                        <a:pt x="81" y="30"/>
                      </a:lnTo>
                      <a:lnTo>
                        <a:pt x="84" y="27"/>
                      </a:lnTo>
                      <a:lnTo>
                        <a:pt x="88" y="29"/>
                      </a:lnTo>
                      <a:lnTo>
                        <a:pt x="99" y="27"/>
                      </a:lnTo>
                      <a:lnTo>
                        <a:pt x="110" y="22"/>
                      </a:lnTo>
                      <a:lnTo>
                        <a:pt x="110" y="19"/>
                      </a:lnTo>
                      <a:lnTo>
                        <a:pt x="110" y="16"/>
                      </a:lnTo>
                      <a:lnTo>
                        <a:pt x="113" y="16"/>
                      </a:lnTo>
                      <a:lnTo>
                        <a:pt x="114" y="11"/>
                      </a:lnTo>
                      <a:lnTo>
                        <a:pt x="118" y="11"/>
                      </a:lnTo>
                      <a:lnTo>
                        <a:pt x="118" y="7"/>
                      </a:lnTo>
                      <a:lnTo>
                        <a:pt x="116" y="3"/>
                      </a:lnTo>
                      <a:lnTo>
                        <a:pt x="113" y="0"/>
                      </a:lnTo>
                      <a:lnTo>
                        <a:pt x="110" y="3"/>
                      </a:lnTo>
                      <a:lnTo>
                        <a:pt x="108" y="8"/>
                      </a:lnTo>
                      <a:lnTo>
                        <a:pt x="113" y="7"/>
                      </a:lnTo>
                      <a:lnTo>
                        <a:pt x="116" y="7"/>
                      </a:lnTo>
                      <a:lnTo>
                        <a:pt x="113" y="10"/>
                      </a:lnTo>
                      <a:lnTo>
                        <a:pt x="108" y="13"/>
                      </a:lnTo>
                      <a:lnTo>
                        <a:pt x="105" y="13"/>
                      </a:lnTo>
                      <a:lnTo>
                        <a:pt x="102" y="16"/>
                      </a:lnTo>
                      <a:lnTo>
                        <a:pt x="99" y="19"/>
                      </a:lnTo>
                      <a:lnTo>
                        <a:pt x="97" y="22"/>
                      </a:lnTo>
                      <a:lnTo>
                        <a:pt x="94" y="22"/>
                      </a:lnTo>
                      <a:lnTo>
                        <a:pt x="91" y="24"/>
                      </a:lnTo>
                      <a:lnTo>
                        <a:pt x="88" y="22"/>
                      </a:lnTo>
                      <a:lnTo>
                        <a:pt x="83" y="19"/>
                      </a:lnTo>
                      <a:lnTo>
                        <a:pt x="81" y="16"/>
                      </a:lnTo>
                      <a:lnTo>
                        <a:pt x="76" y="18"/>
                      </a:lnTo>
                      <a:lnTo>
                        <a:pt x="70" y="19"/>
                      </a:lnTo>
                      <a:lnTo>
                        <a:pt x="67" y="18"/>
                      </a:lnTo>
                      <a:lnTo>
                        <a:pt x="64" y="21"/>
                      </a:lnTo>
                      <a:lnTo>
                        <a:pt x="61" y="21"/>
                      </a:lnTo>
                      <a:lnTo>
                        <a:pt x="57" y="21"/>
                      </a:lnTo>
                      <a:lnTo>
                        <a:pt x="54" y="18"/>
                      </a:lnTo>
                      <a:lnTo>
                        <a:pt x="51" y="16"/>
                      </a:lnTo>
                      <a:lnTo>
                        <a:pt x="48" y="14"/>
                      </a:lnTo>
                      <a:lnTo>
                        <a:pt x="43" y="11"/>
                      </a:lnTo>
                      <a:lnTo>
                        <a:pt x="40" y="11"/>
                      </a:lnTo>
                      <a:lnTo>
                        <a:pt x="37" y="11"/>
                      </a:lnTo>
                      <a:lnTo>
                        <a:pt x="34" y="10"/>
                      </a:lnTo>
                      <a:lnTo>
                        <a:pt x="30" y="10"/>
                      </a:lnTo>
                      <a:lnTo>
                        <a:pt x="26" y="10"/>
                      </a:lnTo>
                      <a:lnTo>
                        <a:pt x="19" y="8"/>
                      </a:lnTo>
                      <a:lnTo>
                        <a:pt x="15" y="11"/>
                      </a:lnTo>
                      <a:lnTo>
                        <a:pt x="13" y="14"/>
                      </a:lnTo>
                      <a:lnTo>
                        <a:pt x="10" y="16"/>
                      </a:lnTo>
                      <a:lnTo>
                        <a:pt x="3" y="16"/>
                      </a:lnTo>
                      <a:lnTo>
                        <a:pt x="3" y="19"/>
                      </a:lnTo>
                      <a:lnTo>
                        <a:pt x="2" y="22"/>
                      </a:lnTo>
                      <a:lnTo>
                        <a:pt x="0" y="27"/>
                      </a:lnTo>
                      <a:lnTo>
                        <a:pt x="2" y="30"/>
                      </a:lnTo>
                      <a:lnTo>
                        <a:pt x="3" y="33"/>
                      </a:lnTo>
                      <a:lnTo>
                        <a:pt x="8" y="32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20" name="Freeform 111"/>
                <p:cNvSpPr>
                  <a:spLocks/>
                </p:cNvSpPr>
                <p:nvPr/>
              </p:nvSpPr>
              <p:spPr bwMode="auto">
                <a:xfrm>
                  <a:off x="4838" y="2656"/>
                  <a:ext cx="14" cy="7"/>
                </a:xfrm>
                <a:custGeom>
                  <a:avLst/>
                  <a:gdLst>
                    <a:gd name="T0" fmla="*/ 7 w 29"/>
                    <a:gd name="T1" fmla="*/ 0 h 13"/>
                    <a:gd name="T2" fmla="*/ 5 w 29"/>
                    <a:gd name="T3" fmla="*/ 2 h 13"/>
                    <a:gd name="T4" fmla="*/ 3 w 29"/>
                    <a:gd name="T5" fmla="*/ 5 h 13"/>
                    <a:gd name="T6" fmla="*/ 8 w 29"/>
                    <a:gd name="T7" fmla="*/ 5 h 13"/>
                    <a:gd name="T8" fmla="*/ 5 w 29"/>
                    <a:gd name="T9" fmla="*/ 7 h 13"/>
                    <a:gd name="T10" fmla="*/ 2 w 29"/>
                    <a:gd name="T11" fmla="*/ 10 h 13"/>
                    <a:gd name="T12" fmla="*/ 0 w 29"/>
                    <a:gd name="T13" fmla="*/ 13 h 13"/>
                    <a:gd name="T14" fmla="*/ 8 w 29"/>
                    <a:gd name="T15" fmla="*/ 13 h 13"/>
                    <a:gd name="T16" fmla="*/ 11 w 29"/>
                    <a:gd name="T17" fmla="*/ 11 h 13"/>
                    <a:gd name="T18" fmla="*/ 15 w 29"/>
                    <a:gd name="T19" fmla="*/ 11 h 13"/>
                    <a:gd name="T20" fmla="*/ 19 w 29"/>
                    <a:gd name="T21" fmla="*/ 11 h 13"/>
                    <a:gd name="T22" fmla="*/ 22 w 29"/>
                    <a:gd name="T23" fmla="*/ 10 h 13"/>
                    <a:gd name="T24" fmla="*/ 26 w 29"/>
                    <a:gd name="T25" fmla="*/ 10 h 13"/>
                    <a:gd name="T26" fmla="*/ 29 w 29"/>
                    <a:gd name="T27" fmla="*/ 8 h 13"/>
                    <a:gd name="T28" fmla="*/ 29 w 29"/>
                    <a:gd name="T29" fmla="*/ 5 h 13"/>
                    <a:gd name="T30" fmla="*/ 27 w 29"/>
                    <a:gd name="T31" fmla="*/ 2 h 13"/>
                    <a:gd name="T32" fmla="*/ 22 w 29"/>
                    <a:gd name="T33" fmla="*/ 0 h 13"/>
                    <a:gd name="T34" fmla="*/ 19 w 29"/>
                    <a:gd name="T35" fmla="*/ 2 h 13"/>
                    <a:gd name="T36" fmla="*/ 16 w 29"/>
                    <a:gd name="T37" fmla="*/ 2 h 13"/>
                    <a:gd name="T38" fmla="*/ 13 w 29"/>
                    <a:gd name="T39" fmla="*/ 2 h 13"/>
                    <a:gd name="T40" fmla="*/ 10 w 29"/>
                    <a:gd name="T41" fmla="*/ 0 h 13"/>
                    <a:gd name="T42" fmla="*/ 7 w 29"/>
                    <a:gd name="T43" fmla="*/ 0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9" h="13">
                      <a:moveTo>
                        <a:pt x="7" y="0"/>
                      </a:moveTo>
                      <a:lnTo>
                        <a:pt x="5" y="2"/>
                      </a:lnTo>
                      <a:lnTo>
                        <a:pt x="3" y="5"/>
                      </a:lnTo>
                      <a:lnTo>
                        <a:pt x="8" y="5"/>
                      </a:lnTo>
                      <a:lnTo>
                        <a:pt x="5" y="7"/>
                      </a:lnTo>
                      <a:lnTo>
                        <a:pt x="2" y="10"/>
                      </a:lnTo>
                      <a:lnTo>
                        <a:pt x="0" y="13"/>
                      </a:lnTo>
                      <a:lnTo>
                        <a:pt x="8" y="13"/>
                      </a:lnTo>
                      <a:lnTo>
                        <a:pt x="11" y="11"/>
                      </a:lnTo>
                      <a:lnTo>
                        <a:pt x="15" y="11"/>
                      </a:lnTo>
                      <a:lnTo>
                        <a:pt x="19" y="11"/>
                      </a:lnTo>
                      <a:lnTo>
                        <a:pt x="22" y="10"/>
                      </a:lnTo>
                      <a:lnTo>
                        <a:pt x="26" y="10"/>
                      </a:lnTo>
                      <a:lnTo>
                        <a:pt x="29" y="8"/>
                      </a:lnTo>
                      <a:lnTo>
                        <a:pt x="29" y="5"/>
                      </a:lnTo>
                      <a:lnTo>
                        <a:pt x="27" y="2"/>
                      </a:lnTo>
                      <a:lnTo>
                        <a:pt x="22" y="0"/>
                      </a:lnTo>
                      <a:lnTo>
                        <a:pt x="19" y="2"/>
                      </a:lnTo>
                      <a:lnTo>
                        <a:pt x="16" y="2"/>
                      </a:lnTo>
                      <a:lnTo>
                        <a:pt x="13" y="2"/>
                      </a:lnTo>
                      <a:lnTo>
                        <a:pt x="10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21" name="Freeform 112"/>
                <p:cNvSpPr>
                  <a:spLocks/>
                </p:cNvSpPr>
                <p:nvPr/>
              </p:nvSpPr>
              <p:spPr bwMode="auto">
                <a:xfrm>
                  <a:off x="4844" y="2523"/>
                  <a:ext cx="19" cy="8"/>
                </a:xfrm>
                <a:custGeom>
                  <a:avLst/>
                  <a:gdLst>
                    <a:gd name="T0" fmla="*/ 3 w 36"/>
                    <a:gd name="T1" fmla="*/ 2 h 16"/>
                    <a:gd name="T2" fmla="*/ 2 w 36"/>
                    <a:gd name="T3" fmla="*/ 5 h 16"/>
                    <a:gd name="T4" fmla="*/ 0 w 36"/>
                    <a:gd name="T5" fmla="*/ 8 h 16"/>
                    <a:gd name="T6" fmla="*/ 2 w 36"/>
                    <a:gd name="T7" fmla="*/ 13 h 16"/>
                    <a:gd name="T8" fmla="*/ 2 w 36"/>
                    <a:gd name="T9" fmla="*/ 16 h 16"/>
                    <a:gd name="T10" fmla="*/ 6 w 36"/>
                    <a:gd name="T11" fmla="*/ 16 h 16"/>
                    <a:gd name="T12" fmla="*/ 9 w 36"/>
                    <a:gd name="T13" fmla="*/ 16 h 16"/>
                    <a:gd name="T14" fmla="*/ 13 w 36"/>
                    <a:gd name="T15" fmla="*/ 14 h 16"/>
                    <a:gd name="T16" fmla="*/ 16 w 36"/>
                    <a:gd name="T17" fmla="*/ 13 h 16"/>
                    <a:gd name="T18" fmla="*/ 19 w 36"/>
                    <a:gd name="T19" fmla="*/ 11 h 16"/>
                    <a:gd name="T20" fmla="*/ 24 w 36"/>
                    <a:gd name="T21" fmla="*/ 13 h 16"/>
                    <a:gd name="T22" fmla="*/ 27 w 36"/>
                    <a:gd name="T23" fmla="*/ 11 h 16"/>
                    <a:gd name="T24" fmla="*/ 30 w 36"/>
                    <a:gd name="T25" fmla="*/ 11 h 16"/>
                    <a:gd name="T26" fmla="*/ 33 w 36"/>
                    <a:gd name="T27" fmla="*/ 11 h 16"/>
                    <a:gd name="T28" fmla="*/ 36 w 36"/>
                    <a:gd name="T29" fmla="*/ 6 h 16"/>
                    <a:gd name="T30" fmla="*/ 33 w 36"/>
                    <a:gd name="T31" fmla="*/ 6 h 16"/>
                    <a:gd name="T32" fmla="*/ 30 w 36"/>
                    <a:gd name="T33" fmla="*/ 3 h 16"/>
                    <a:gd name="T34" fmla="*/ 27 w 36"/>
                    <a:gd name="T35" fmla="*/ 6 h 16"/>
                    <a:gd name="T36" fmla="*/ 22 w 36"/>
                    <a:gd name="T37" fmla="*/ 3 h 16"/>
                    <a:gd name="T38" fmla="*/ 16 w 36"/>
                    <a:gd name="T39" fmla="*/ 2 h 16"/>
                    <a:gd name="T40" fmla="*/ 9 w 36"/>
                    <a:gd name="T41" fmla="*/ 0 h 16"/>
                    <a:gd name="T42" fmla="*/ 3 w 36"/>
                    <a:gd name="T43" fmla="*/ 2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6" h="16">
                      <a:moveTo>
                        <a:pt x="3" y="2"/>
                      </a:moveTo>
                      <a:lnTo>
                        <a:pt x="2" y="5"/>
                      </a:lnTo>
                      <a:lnTo>
                        <a:pt x="0" y="8"/>
                      </a:lnTo>
                      <a:lnTo>
                        <a:pt x="2" y="13"/>
                      </a:lnTo>
                      <a:lnTo>
                        <a:pt x="2" y="16"/>
                      </a:lnTo>
                      <a:lnTo>
                        <a:pt x="6" y="16"/>
                      </a:lnTo>
                      <a:lnTo>
                        <a:pt x="9" y="16"/>
                      </a:lnTo>
                      <a:lnTo>
                        <a:pt x="13" y="14"/>
                      </a:lnTo>
                      <a:lnTo>
                        <a:pt x="16" y="13"/>
                      </a:lnTo>
                      <a:lnTo>
                        <a:pt x="19" y="11"/>
                      </a:lnTo>
                      <a:lnTo>
                        <a:pt x="24" y="13"/>
                      </a:lnTo>
                      <a:lnTo>
                        <a:pt x="27" y="11"/>
                      </a:lnTo>
                      <a:lnTo>
                        <a:pt x="30" y="11"/>
                      </a:lnTo>
                      <a:lnTo>
                        <a:pt x="33" y="11"/>
                      </a:lnTo>
                      <a:lnTo>
                        <a:pt x="36" y="6"/>
                      </a:lnTo>
                      <a:lnTo>
                        <a:pt x="33" y="6"/>
                      </a:lnTo>
                      <a:lnTo>
                        <a:pt x="30" y="3"/>
                      </a:lnTo>
                      <a:lnTo>
                        <a:pt x="27" y="6"/>
                      </a:lnTo>
                      <a:lnTo>
                        <a:pt x="22" y="3"/>
                      </a:lnTo>
                      <a:lnTo>
                        <a:pt x="16" y="2"/>
                      </a:lnTo>
                      <a:lnTo>
                        <a:pt x="9" y="0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22" name="Freeform 113"/>
                <p:cNvSpPr>
                  <a:spLocks/>
                </p:cNvSpPr>
                <p:nvPr/>
              </p:nvSpPr>
              <p:spPr bwMode="auto">
                <a:xfrm>
                  <a:off x="4864" y="2645"/>
                  <a:ext cx="19" cy="9"/>
                </a:xfrm>
                <a:custGeom>
                  <a:avLst/>
                  <a:gdLst>
                    <a:gd name="T0" fmla="*/ 0 w 38"/>
                    <a:gd name="T1" fmla="*/ 18 h 18"/>
                    <a:gd name="T2" fmla="*/ 4 w 38"/>
                    <a:gd name="T3" fmla="*/ 14 h 18"/>
                    <a:gd name="T4" fmla="*/ 8 w 38"/>
                    <a:gd name="T5" fmla="*/ 13 h 18"/>
                    <a:gd name="T6" fmla="*/ 11 w 38"/>
                    <a:gd name="T7" fmla="*/ 13 h 18"/>
                    <a:gd name="T8" fmla="*/ 14 w 38"/>
                    <a:gd name="T9" fmla="*/ 13 h 18"/>
                    <a:gd name="T10" fmla="*/ 19 w 38"/>
                    <a:gd name="T11" fmla="*/ 13 h 18"/>
                    <a:gd name="T12" fmla="*/ 22 w 38"/>
                    <a:gd name="T13" fmla="*/ 14 h 18"/>
                    <a:gd name="T14" fmla="*/ 25 w 38"/>
                    <a:gd name="T15" fmla="*/ 16 h 18"/>
                    <a:gd name="T16" fmla="*/ 27 w 38"/>
                    <a:gd name="T17" fmla="*/ 13 h 18"/>
                    <a:gd name="T18" fmla="*/ 30 w 38"/>
                    <a:gd name="T19" fmla="*/ 8 h 18"/>
                    <a:gd name="T20" fmla="*/ 34 w 38"/>
                    <a:gd name="T21" fmla="*/ 6 h 18"/>
                    <a:gd name="T22" fmla="*/ 38 w 38"/>
                    <a:gd name="T23" fmla="*/ 6 h 18"/>
                    <a:gd name="T24" fmla="*/ 34 w 38"/>
                    <a:gd name="T25" fmla="*/ 3 h 18"/>
                    <a:gd name="T26" fmla="*/ 31 w 38"/>
                    <a:gd name="T27" fmla="*/ 0 h 18"/>
                    <a:gd name="T28" fmla="*/ 28 w 38"/>
                    <a:gd name="T29" fmla="*/ 0 h 18"/>
                    <a:gd name="T30" fmla="*/ 25 w 38"/>
                    <a:gd name="T31" fmla="*/ 2 h 18"/>
                    <a:gd name="T32" fmla="*/ 22 w 38"/>
                    <a:gd name="T33" fmla="*/ 3 h 18"/>
                    <a:gd name="T34" fmla="*/ 19 w 38"/>
                    <a:gd name="T35" fmla="*/ 3 h 18"/>
                    <a:gd name="T36" fmla="*/ 14 w 38"/>
                    <a:gd name="T37" fmla="*/ 5 h 18"/>
                    <a:gd name="T38" fmla="*/ 11 w 38"/>
                    <a:gd name="T39" fmla="*/ 5 h 18"/>
                    <a:gd name="T40" fmla="*/ 8 w 38"/>
                    <a:gd name="T41" fmla="*/ 3 h 18"/>
                    <a:gd name="T42" fmla="*/ 6 w 38"/>
                    <a:gd name="T43" fmla="*/ 6 h 18"/>
                    <a:gd name="T44" fmla="*/ 3 w 38"/>
                    <a:gd name="T45" fmla="*/ 10 h 18"/>
                    <a:gd name="T46" fmla="*/ 1 w 38"/>
                    <a:gd name="T47" fmla="*/ 13 h 18"/>
                    <a:gd name="T48" fmla="*/ 0 w 38"/>
                    <a:gd name="T49" fmla="*/ 18 h 18"/>
                    <a:gd name="T50" fmla="*/ 0 w 38"/>
                    <a:gd name="T51" fmla="*/ 18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38" h="18">
                      <a:moveTo>
                        <a:pt x="0" y="18"/>
                      </a:moveTo>
                      <a:lnTo>
                        <a:pt x="4" y="14"/>
                      </a:lnTo>
                      <a:lnTo>
                        <a:pt x="8" y="13"/>
                      </a:lnTo>
                      <a:lnTo>
                        <a:pt x="11" y="13"/>
                      </a:lnTo>
                      <a:lnTo>
                        <a:pt x="14" y="13"/>
                      </a:lnTo>
                      <a:lnTo>
                        <a:pt x="19" y="13"/>
                      </a:lnTo>
                      <a:lnTo>
                        <a:pt x="22" y="14"/>
                      </a:lnTo>
                      <a:lnTo>
                        <a:pt x="25" y="16"/>
                      </a:lnTo>
                      <a:lnTo>
                        <a:pt x="27" y="13"/>
                      </a:lnTo>
                      <a:lnTo>
                        <a:pt x="30" y="8"/>
                      </a:lnTo>
                      <a:lnTo>
                        <a:pt x="34" y="6"/>
                      </a:lnTo>
                      <a:lnTo>
                        <a:pt x="38" y="6"/>
                      </a:lnTo>
                      <a:lnTo>
                        <a:pt x="34" y="3"/>
                      </a:lnTo>
                      <a:lnTo>
                        <a:pt x="31" y="0"/>
                      </a:lnTo>
                      <a:lnTo>
                        <a:pt x="28" y="0"/>
                      </a:lnTo>
                      <a:lnTo>
                        <a:pt x="25" y="2"/>
                      </a:lnTo>
                      <a:lnTo>
                        <a:pt x="22" y="3"/>
                      </a:lnTo>
                      <a:lnTo>
                        <a:pt x="19" y="3"/>
                      </a:lnTo>
                      <a:lnTo>
                        <a:pt x="14" y="5"/>
                      </a:lnTo>
                      <a:lnTo>
                        <a:pt x="11" y="5"/>
                      </a:lnTo>
                      <a:lnTo>
                        <a:pt x="8" y="3"/>
                      </a:lnTo>
                      <a:lnTo>
                        <a:pt x="6" y="6"/>
                      </a:lnTo>
                      <a:lnTo>
                        <a:pt x="3" y="10"/>
                      </a:lnTo>
                      <a:lnTo>
                        <a:pt x="1" y="13"/>
                      </a:lnTo>
                      <a:lnTo>
                        <a:pt x="0" y="18"/>
                      </a:lnTo>
                      <a:lnTo>
                        <a:pt x="0" y="18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23" name="Freeform 114"/>
                <p:cNvSpPr>
                  <a:spLocks/>
                </p:cNvSpPr>
                <p:nvPr/>
              </p:nvSpPr>
              <p:spPr bwMode="auto">
                <a:xfrm>
                  <a:off x="4874" y="2552"/>
                  <a:ext cx="23" cy="16"/>
                </a:xfrm>
                <a:custGeom>
                  <a:avLst/>
                  <a:gdLst>
                    <a:gd name="T0" fmla="*/ 23 w 46"/>
                    <a:gd name="T1" fmla="*/ 31 h 31"/>
                    <a:gd name="T2" fmla="*/ 27 w 46"/>
                    <a:gd name="T3" fmla="*/ 30 h 31"/>
                    <a:gd name="T4" fmla="*/ 31 w 46"/>
                    <a:gd name="T5" fmla="*/ 30 h 31"/>
                    <a:gd name="T6" fmla="*/ 35 w 46"/>
                    <a:gd name="T7" fmla="*/ 28 h 31"/>
                    <a:gd name="T8" fmla="*/ 38 w 46"/>
                    <a:gd name="T9" fmla="*/ 25 h 31"/>
                    <a:gd name="T10" fmla="*/ 41 w 46"/>
                    <a:gd name="T11" fmla="*/ 25 h 31"/>
                    <a:gd name="T12" fmla="*/ 44 w 46"/>
                    <a:gd name="T13" fmla="*/ 20 h 31"/>
                    <a:gd name="T14" fmla="*/ 44 w 46"/>
                    <a:gd name="T15" fmla="*/ 17 h 31"/>
                    <a:gd name="T16" fmla="*/ 46 w 46"/>
                    <a:gd name="T17" fmla="*/ 14 h 31"/>
                    <a:gd name="T18" fmla="*/ 41 w 46"/>
                    <a:gd name="T19" fmla="*/ 12 h 31"/>
                    <a:gd name="T20" fmla="*/ 38 w 46"/>
                    <a:gd name="T21" fmla="*/ 11 h 31"/>
                    <a:gd name="T22" fmla="*/ 39 w 46"/>
                    <a:gd name="T23" fmla="*/ 8 h 31"/>
                    <a:gd name="T24" fmla="*/ 36 w 46"/>
                    <a:gd name="T25" fmla="*/ 4 h 31"/>
                    <a:gd name="T26" fmla="*/ 30 w 46"/>
                    <a:gd name="T27" fmla="*/ 1 h 31"/>
                    <a:gd name="T28" fmla="*/ 27 w 46"/>
                    <a:gd name="T29" fmla="*/ 0 h 31"/>
                    <a:gd name="T30" fmla="*/ 23 w 46"/>
                    <a:gd name="T31" fmla="*/ 0 h 31"/>
                    <a:gd name="T32" fmla="*/ 11 w 46"/>
                    <a:gd name="T33" fmla="*/ 1 h 31"/>
                    <a:gd name="T34" fmla="*/ 1 w 46"/>
                    <a:gd name="T35" fmla="*/ 3 h 31"/>
                    <a:gd name="T36" fmla="*/ 0 w 46"/>
                    <a:gd name="T37" fmla="*/ 9 h 31"/>
                    <a:gd name="T38" fmla="*/ 1 w 46"/>
                    <a:gd name="T39" fmla="*/ 12 h 31"/>
                    <a:gd name="T40" fmla="*/ 3 w 46"/>
                    <a:gd name="T41" fmla="*/ 17 h 31"/>
                    <a:gd name="T42" fmla="*/ 4 w 46"/>
                    <a:gd name="T43" fmla="*/ 20 h 31"/>
                    <a:gd name="T44" fmla="*/ 14 w 46"/>
                    <a:gd name="T45" fmla="*/ 27 h 31"/>
                    <a:gd name="T46" fmla="*/ 23 w 46"/>
                    <a:gd name="T47" fmla="*/ 31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46" h="31">
                      <a:moveTo>
                        <a:pt x="23" y="31"/>
                      </a:moveTo>
                      <a:lnTo>
                        <a:pt x="27" y="30"/>
                      </a:lnTo>
                      <a:lnTo>
                        <a:pt x="31" y="30"/>
                      </a:lnTo>
                      <a:lnTo>
                        <a:pt x="35" y="28"/>
                      </a:lnTo>
                      <a:lnTo>
                        <a:pt x="38" y="25"/>
                      </a:lnTo>
                      <a:lnTo>
                        <a:pt x="41" y="25"/>
                      </a:lnTo>
                      <a:lnTo>
                        <a:pt x="44" y="20"/>
                      </a:lnTo>
                      <a:lnTo>
                        <a:pt x="44" y="17"/>
                      </a:lnTo>
                      <a:lnTo>
                        <a:pt x="46" y="14"/>
                      </a:lnTo>
                      <a:lnTo>
                        <a:pt x="41" y="12"/>
                      </a:lnTo>
                      <a:lnTo>
                        <a:pt x="38" y="11"/>
                      </a:lnTo>
                      <a:lnTo>
                        <a:pt x="39" y="8"/>
                      </a:lnTo>
                      <a:lnTo>
                        <a:pt x="36" y="4"/>
                      </a:lnTo>
                      <a:lnTo>
                        <a:pt x="30" y="1"/>
                      </a:lnTo>
                      <a:lnTo>
                        <a:pt x="27" y="0"/>
                      </a:lnTo>
                      <a:lnTo>
                        <a:pt x="23" y="0"/>
                      </a:lnTo>
                      <a:lnTo>
                        <a:pt x="11" y="1"/>
                      </a:lnTo>
                      <a:lnTo>
                        <a:pt x="1" y="3"/>
                      </a:lnTo>
                      <a:lnTo>
                        <a:pt x="0" y="9"/>
                      </a:lnTo>
                      <a:lnTo>
                        <a:pt x="1" y="12"/>
                      </a:lnTo>
                      <a:lnTo>
                        <a:pt x="3" y="17"/>
                      </a:lnTo>
                      <a:lnTo>
                        <a:pt x="4" y="20"/>
                      </a:lnTo>
                      <a:lnTo>
                        <a:pt x="14" y="27"/>
                      </a:lnTo>
                      <a:lnTo>
                        <a:pt x="23" y="31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24" name="Freeform 115"/>
                <p:cNvSpPr>
                  <a:spLocks/>
                </p:cNvSpPr>
                <p:nvPr/>
              </p:nvSpPr>
              <p:spPr bwMode="auto">
                <a:xfrm>
                  <a:off x="4900" y="2517"/>
                  <a:ext cx="13" cy="8"/>
                </a:xfrm>
                <a:custGeom>
                  <a:avLst/>
                  <a:gdLst>
                    <a:gd name="T0" fmla="*/ 3 w 27"/>
                    <a:gd name="T1" fmla="*/ 3 h 16"/>
                    <a:gd name="T2" fmla="*/ 2 w 27"/>
                    <a:gd name="T3" fmla="*/ 5 h 16"/>
                    <a:gd name="T4" fmla="*/ 0 w 27"/>
                    <a:gd name="T5" fmla="*/ 8 h 16"/>
                    <a:gd name="T6" fmla="*/ 0 w 27"/>
                    <a:gd name="T7" fmla="*/ 11 h 16"/>
                    <a:gd name="T8" fmla="*/ 3 w 27"/>
                    <a:gd name="T9" fmla="*/ 14 h 16"/>
                    <a:gd name="T10" fmla="*/ 6 w 27"/>
                    <a:gd name="T11" fmla="*/ 16 h 16"/>
                    <a:gd name="T12" fmla="*/ 9 w 27"/>
                    <a:gd name="T13" fmla="*/ 14 h 16"/>
                    <a:gd name="T14" fmla="*/ 13 w 27"/>
                    <a:gd name="T15" fmla="*/ 14 h 16"/>
                    <a:gd name="T16" fmla="*/ 21 w 27"/>
                    <a:gd name="T17" fmla="*/ 14 h 16"/>
                    <a:gd name="T18" fmla="*/ 24 w 27"/>
                    <a:gd name="T19" fmla="*/ 16 h 16"/>
                    <a:gd name="T20" fmla="*/ 27 w 27"/>
                    <a:gd name="T21" fmla="*/ 13 h 16"/>
                    <a:gd name="T22" fmla="*/ 27 w 27"/>
                    <a:gd name="T23" fmla="*/ 9 h 16"/>
                    <a:gd name="T24" fmla="*/ 24 w 27"/>
                    <a:gd name="T25" fmla="*/ 8 h 16"/>
                    <a:gd name="T26" fmla="*/ 21 w 27"/>
                    <a:gd name="T27" fmla="*/ 5 h 16"/>
                    <a:gd name="T28" fmla="*/ 16 w 27"/>
                    <a:gd name="T29" fmla="*/ 3 h 16"/>
                    <a:gd name="T30" fmla="*/ 13 w 27"/>
                    <a:gd name="T31" fmla="*/ 1 h 16"/>
                    <a:gd name="T32" fmla="*/ 9 w 27"/>
                    <a:gd name="T33" fmla="*/ 0 h 16"/>
                    <a:gd name="T34" fmla="*/ 6 w 27"/>
                    <a:gd name="T35" fmla="*/ 1 h 16"/>
                    <a:gd name="T36" fmla="*/ 3 w 27"/>
                    <a:gd name="T37" fmla="*/ 3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7" h="16">
                      <a:moveTo>
                        <a:pt x="3" y="3"/>
                      </a:moveTo>
                      <a:lnTo>
                        <a:pt x="2" y="5"/>
                      </a:lnTo>
                      <a:lnTo>
                        <a:pt x="0" y="8"/>
                      </a:lnTo>
                      <a:lnTo>
                        <a:pt x="0" y="11"/>
                      </a:lnTo>
                      <a:lnTo>
                        <a:pt x="3" y="14"/>
                      </a:lnTo>
                      <a:lnTo>
                        <a:pt x="6" y="16"/>
                      </a:lnTo>
                      <a:lnTo>
                        <a:pt x="9" y="14"/>
                      </a:lnTo>
                      <a:lnTo>
                        <a:pt x="13" y="14"/>
                      </a:lnTo>
                      <a:lnTo>
                        <a:pt x="21" y="14"/>
                      </a:lnTo>
                      <a:lnTo>
                        <a:pt x="24" y="16"/>
                      </a:lnTo>
                      <a:lnTo>
                        <a:pt x="27" y="13"/>
                      </a:lnTo>
                      <a:lnTo>
                        <a:pt x="27" y="9"/>
                      </a:lnTo>
                      <a:lnTo>
                        <a:pt x="24" y="8"/>
                      </a:lnTo>
                      <a:lnTo>
                        <a:pt x="21" y="5"/>
                      </a:lnTo>
                      <a:lnTo>
                        <a:pt x="16" y="3"/>
                      </a:lnTo>
                      <a:lnTo>
                        <a:pt x="13" y="1"/>
                      </a:lnTo>
                      <a:lnTo>
                        <a:pt x="9" y="0"/>
                      </a:lnTo>
                      <a:lnTo>
                        <a:pt x="6" y="1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25" name="Freeform 116"/>
                <p:cNvSpPr>
                  <a:spLocks/>
                </p:cNvSpPr>
                <p:nvPr/>
              </p:nvSpPr>
              <p:spPr bwMode="auto">
                <a:xfrm>
                  <a:off x="4901" y="2445"/>
                  <a:ext cx="26" cy="63"/>
                </a:xfrm>
                <a:custGeom>
                  <a:avLst/>
                  <a:gdLst>
                    <a:gd name="T0" fmla="*/ 9 w 52"/>
                    <a:gd name="T1" fmla="*/ 95 h 125"/>
                    <a:gd name="T2" fmla="*/ 11 w 52"/>
                    <a:gd name="T3" fmla="*/ 103 h 125"/>
                    <a:gd name="T4" fmla="*/ 17 w 52"/>
                    <a:gd name="T5" fmla="*/ 107 h 125"/>
                    <a:gd name="T6" fmla="*/ 20 w 52"/>
                    <a:gd name="T7" fmla="*/ 114 h 125"/>
                    <a:gd name="T8" fmla="*/ 25 w 52"/>
                    <a:gd name="T9" fmla="*/ 120 h 125"/>
                    <a:gd name="T10" fmla="*/ 30 w 52"/>
                    <a:gd name="T11" fmla="*/ 125 h 125"/>
                    <a:gd name="T12" fmla="*/ 28 w 52"/>
                    <a:gd name="T13" fmla="*/ 117 h 125"/>
                    <a:gd name="T14" fmla="*/ 22 w 52"/>
                    <a:gd name="T15" fmla="*/ 104 h 125"/>
                    <a:gd name="T16" fmla="*/ 17 w 52"/>
                    <a:gd name="T17" fmla="*/ 93 h 125"/>
                    <a:gd name="T18" fmla="*/ 15 w 52"/>
                    <a:gd name="T19" fmla="*/ 88 h 125"/>
                    <a:gd name="T20" fmla="*/ 17 w 52"/>
                    <a:gd name="T21" fmla="*/ 82 h 125"/>
                    <a:gd name="T22" fmla="*/ 17 w 52"/>
                    <a:gd name="T23" fmla="*/ 74 h 125"/>
                    <a:gd name="T24" fmla="*/ 20 w 52"/>
                    <a:gd name="T25" fmla="*/ 69 h 125"/>
                    <a:gd name="T26" fmla="*/ 28 w 52"/>
                    <a:gd name="T27" fmla="*/ 72 h 125"/>
                    <a:gd name="T28" fmla="*/ 34 w 52"/>
                    <a:gd name="T29" fmla="*/ 72 h 125"/>
                    <a:gd name="T30" fmla="*/ 52 w 52"/>
                    <a:gd name="T31" fmla="*/ 77 h 125"/>
                    <a:gd name="T32" fmla="*/ 46 w 52"/>
                    <a:gd name="T33" fmla="*/ 72 h 125"/>
                    <a:gd name="T34" fmla="*/ 42 w 52"/>
                    <a:gd name="T35" fmla="*/ 66 h 125"/>
                    <a:gd name="T36" fmla="*/ 36 w 52"/>
                    <a:gd name="T37" fmla="*/ 63 h 125"/>
                    <a:gd name="T38" fmla="*/ 28 w 52"/>
                    <a:gd name="T39" fmla="*/ 58 h 125"/>
                    <a:gd name="T40" fmla="*/ 33 w 52"/>
                    <a:gd name="T41" fmla="*/ 52 h 125"/>
                    <a:gd name="T42" fmla="*/ 41 w 52"/>
                    <a:gd name="T43" fmla="*/ 49 h 125"/>
                    <a:gd name="T44" fmla="*/ 46 w 52"/>
                    <a:gd name="T45" fmla="*/ 42 h 125"/>
                    <a:gd name="T46" fmla="*/ 47 w 52"/>
                    <a:gd name="T47" fmla="*/ 34 h 125"/>
                    <a:gd name="T48" fmla="*/ 44 w 52"/>
                    <a:gd name="T49" fmla="*/ 28 h 125"/>
                    <a:gd name="T50" fmla="*/ 42 w 52"/>
                    <a:gd name="T51" fmla="*/ 25 h 125"/>
                    <a:gd name="T52" fmla="*/ 34 w 52"/>
                    <a:gd name="T53" fmla="*/ 26 h 125"/>
                    <a:gd name="T54" fmla="*/ 28 w 52"/>
                    <a:gd name="T55" fmla="*/ 31 h 125"/>
                    <a:gd name="T56" fmla="*/ 23 w 52"/>
                    <a:gd name="T57" fmla="*/ 38 h 125"/>
                    <a:gd name="T58" fmla="*/ 27 w 52"/>
                    <a:gd name="T59" fmla="*/ 42 h 125"/>
                    <a:gd name="T60" fmla="*/ 19 w 52"/>
                    <a:gd name="T61" fmla="*/ 46 h 125"/>
                    <a:gd name="T62" fmla="*/ 17 w 52"/>
                    <a:gd name="T63" fmla="*/ 52 h 125"/>
                    <a:gd name="T64" fmla="*/ 11 w 52"/>
                    <a:gd name="T65" fmla="*/ 55 h 125"/>
                    <a:gd name="T66" fmla="*/ 6 w 52"/>
                    <a:gd name="T67" fmla="*/ 49 h 125"/>
                    <a:gd name="T68" fmla="*/ 15 w 52"/>
                    <a:gd name="T69" fmla="*/ 41 h 125"/>
                    <a:gd name="T70" fmla="*/ 20 w 52"/>
                    <a:gd name="T71" fmla="*/ 33 h 125"/>
                    <a:gd name="T72" fmla="*/ 22 w 52"/>
                    <a:gd name="T73" fmla="*/ 26 h 125"/>
                    <a:gd name="T74" fmla="*/ 20 w 52"/>
                    <a:gd name="T75" fmla="*/ 19 h 125"/>
                    <a:gd name="T76" fmla="*/ 14 w 52"/>
                    <a:gd name="T77" fmla="*/ 14 h 125"/>
                    <a:gd name="T78" fmla="*/ 17 w 52"/>
                    <a:gd name="T79" fmla="*/ 6 h 125"/>
                    <a:gd name="T80" fmla="*/ 20 w 52"/>
                    <a:gd name="T81" fmla="*/ 0 h 125"/>
                    <a:gd name="T82" fmla="*/ 14 w 52"/>
                    <a:gd name="T83" fmla="*/ 4 h 125"/>
                    <a:gd name="T84" fmla="*/ 7 w 52"/>
                    <a:gd name="T85" fmla="*/ 11 h 125"/>
                    <a:gd name="T86" fmla="*/ 4 w 52"/>
                    <a:gd name="T87" fmla="*/ 19 h 125"/>
                    <a:gd name="T88" fmla="*/ 3 w 52"/>
                    <a:gd name="T89" fmla="*/ 25 h 125"/>
                    <a:gd name="T90" fmla="*/ 1 w 52"/>
                    <a:gd name="T91" fmla="*/ 31 h 125"/>
                    <a:gd name="T92" fmla="*/ 0 w 52"/>
                    <a:gd name="T93" fmla="*/ 39 h 125"/>
                    <a:gd name="T94" fmla="*/ 1 w 52"/>
                    <a:gd name="T95" fmla="*/ 46 h 125"/>
                    <a:gd name="T96" fmla="*/ 3 w 52"/>
                    <a:gd name="T97" fmla="*/ 53 h 125"/>
                    <a:gd name="T98" fmla="*/ 4 w 52"/>
                    <a:gd name="T99" fmla="*/ 60 h 125"/>
                    <a:gd name="T100" fmla="*/ 4 w 52"/>
                    <a:gd name="T101" fmla="*/ 68 h 125"/>
                    <a:gd name="T102" fmla="*/ 9 w 52"/>
                    <a:gd name="T103" fmla="*/ 74 h 125"/>
                    <a:gd name="T104" fmla="*/ 9 w 52"/>
                    <a:gd name="T105" fmla="*/ 82 h 125"/>
                    <a:gd name="T106" fmla="*/ 9 w 52"/>
                    <a:gd name="T107" fmla="*/ 88 h 1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52" h="125">
                      <a:moveTo>
                        <a:pt x="9" y="88"/>
                      </a:moveTo>
                      <a:lnTo>
                        <a:pt x="9" y="95"/>
                      </a:lnTo>
                      <a:lnTo>
                        <a:pt x="9" y="98"/>
                      </a:lnTo>
                      <a:lnTo>
                        <a:pt x="11" y="103"/>
                      </a:lnTo>
                      <a:lnTo>
                        <a:pt x="15" y="104"/>
                      </a:lnTo>
                      <a:lnTo>
                        <a:pt x="17" y="107"/>
                      </a:lnTo>
                      <a:lnTo>
                        <a:pt x="19" y="111"/>
                      </a:lnTo>
                      <a:lnTo>
                        <a:pt x="20" y="114"/>
                      </a:lnTo>
                      <a:lnTo>
                        <a:pt x="22" y="118"/>
                      </a:lnTo>
                      <a:lnTo>
                        <a:pt x="25" y="120"/>
                      </a:lnTo>
                      <a:lnTo>
                        <a:pt x="30" y="122"/>
                      </a:lnTo>
                      <a:lnTo>
                        <a:pt x="30" y="125"/>
                      </a:lnTo>
                      <a:lnTo>
                        <a:pt x="33" y="123"/>
                      </a:lnTo>
                      <a:lnTo>
                        <a:pt x="28" y="117"/>
                      </a:lnTo>
                      <a:lnTo>
                        <a:pt x="25" y="111"/>
                      </a:lnTo>
                      <a:lnTo>
                        <a:pt x="22" y="104"/>
                      </a:lnTo>
                      <a:lnTo>
                        <a:pt x="19" y="96"/>
                      </a:lnTo>
                      <a:lnTo>
                        <a:pt x="17" y="93"/>
                      </a:lnTo>
                      <a:lnTo>
                        <a:pt x="15" y="88"/>
                      </a:lnTo>
                      <a:lnTo>
                        <a:pt x="15" y="88"/>
                      </a:lnTo>
                      <a:lnTo>
                        <a:pt x="17" y="85"/>
                      </a:lnTo>
                      <a:lnTo>
                        <a:pt x="17" y="82"/>
                      </a:lnTo>
                      <a:lnTo>
                        <a:pt x="17" y="77"/>
                      </a:lnTo>
                      <a:lnTo>
                        <a:pt x="17" y="74"/>
                      </a:lnTo>
                      <a:lnTo>
                        <a:pt x="17" y="71"/>
                      </a:lnTo>
                      <a:lnTo>
                        <a:pt x="20" y="69"/>
                      </a:lnTo>
                      <a:lnTo>
                        <a:pt x="25" y="71"/>
                      </a:lnTo>
                      <a:lnTo>
                        <a:pt x="28" y="72"/>
                      </a:lnTo>
                      <a:lnTo>
                        <a:pt x="31" y="72"/>
                      </a:lnTo>
                      <a:lnTo>
                        <a:pt x="34" y="72"/>
                      </a:lnTo>
                      <a:lnTo>
                        <a:pt x="42" y="76"/>
                      </a:lnTo>
                      <a:lnTo>
                        <a:pt x="52" y="77"/>
                      </a:lnTo>
                      <a:lnTo>
                        <a:pt x="49" y="76"/>
                      </a:lnTo>
                      <a:lnTo>
                        <a:pt x="46" y="72"/>
                      </a:lnTo>
                      <a:lnTo>
                        <a:pt x="46" y="69"/>
                      </a:lnTo>
                      <a:lnTo>
                        <a:pt x="42" y="66"/>
                      </a:lnTo>
                      <a:lnTo>
                        <a:pt x="39" y="65"/>
                      </a:lnTo>
                      <a:lnTo>
                        <a:pt x="36" y="63"/>
                      </a:lnTo>
                      <a:lnTo>
                        <a:pt x="33" y="61"/>
                      </a:lnTo>
                      <a:lnTo>
                        <a:pt x="28" y="58"/>
                      </a:lnTo>
                      <a:lnTo>
                        <a:pt x="31" y="55"/>
                      </a:lnTo>
                      <a:lnTo>
                        <a:pt x="33" y="52"/>
                      </a:lnTo>
                      <a:lnTo>
                        <a:pt x="36" y="50"/>
                      </a:lnTo>
                      <a:lnTo>
                        <a:pt x="41" y="49"/>
                      </a:lnTo>
                      <a:lnTo>
                        <a:pt x="44" y="46"/>
                      </a:lnTo>
                      <a:lnTo>
                        <a:pt x="46" y="42"/>
                      </a:lnTo>
                      <a:lnTo>
                        <a:pt x="46" y="39"/>
                      </a:lnTo>
                      <a:lnTo>
                        <a:pt x="47" y="34"/>
                      </a:lnTo>
                      <a:lnTo>
                        <a:pt x="47" y="31"/>
                      </a:lnTo>
                      <a:lnTo>
                        <a:pt x="44" y="28"/>
                      </a:lnTo>
                      <a:lnTo>
                        <a:pt x="46" y="25"/>
                      </a:lnTo>
                      <a:lnTo>
                        <a:pt x="42" y="25"/>
                      </a:lnTo>
                      <a:lnTo>
                        <a:pt x="39" y="26"/>
                      </a:lnTo>
                      <a:lnTo>
                        <a:pt x="34" y="26"/>
                      </a:lnTo>
                      <a:lnTo>
                        <a:pt x="31" y="30"/>
                      </a:lnTo>
                      <a:lnTo>
                        <a:pt x="28" y="31"/>
                      </a:lnTo>
                      <a:lnTo>
                        <a:pt x="25" y="34"/>
                      </a:lnTo>
                      <a:lnTo>
                        <a:pt x="23" y="38"/>
                      </a:lnTo>
                      <a:lnTo>
                        <a:pt x="27" y="39"/>
                      </a:lnTo>
                      <a:lnTo>
                        <a:pt x="27" y="42"/>
                      </a:lnTo>
                      <a:lnTo>
                        <a:pt x="23" y="42"/>
                      </a:lnTo>
                      <a:lnTo>
                        <a:pt x="19" y="46"/>
                      </a:lnTo>
                      <a:lnTo>
                        <a:pt x="17" y="49"/>
                      </a:lnTo>
                      <a:lnTo>
                        <a:pt x="17" y="52"/>
                      </a:lnTo>
                      <a:lnTo>
                        <a:pt x="15" y="57"/>
                      </a:lnTo>
                      <a:lnTo>
                        <a:pt x="11" y="55"/>
                      </a:lnTo>
                      <a:lnTo>
                        <a:pt x="7" y="53"/>
                      </a:lnTo>
                      <a:lnTo>
                        <a:pt x="6" y="49"/>
                      </a:lnTo>
                      <a:lnTo>
                        <a:pt x="11" y="44"/>
                      </a:lnTo>
                      <a:lnTo>
                        <a:pt x="15" y="41"/>
                      </a:lnTo>
                      <a:lnTo>
                        <a:pt x="19" y="39"/>
                      </a:lnTo>
                      <a:lnTo>
                        <a:pt x="20" y="33"/>
                      </a:lnTo>
                      <a:lnTo>
                        <a:pt x="20" y="30"/>
                      </a:lnTo>
                      <a:lnTo>
                        <a:pt x="22" y="26"/>
                      </a:lnTo>
                      <a:lnTo>
                        <a:pt x="20" y="23"/>
                      </a:lnTo>
                      <a:lnTo>
                        <a:pt x="20" y="19"/>
                      </a:lnTo>
                      <a:lnTo>
                        <a:pt x="17" y="15"/>
                      </a:lnTo>
                      <a:lnTo>
                        <a:pt x="14" y="14"/>
                      </a:lnTo>
                      <a:lnTo>
                        <a:pt x="15" y="9"/>
                      </a:lnTo>
                      <a:lnTo>
                        <a:pt x="17" y="6"/>
                      </a:lnTo>
                      <a:lnTo>
                        <a:pt x="20" y="3"/>
                      </a:lnTo>
                      <a:lnTo>
                        <a:pt x="20" y="0"/>
                      </a:lnTo>
                      <a:lnTo>
                        <a:pt x="17" y="0"/>
                      </a:lnTo>
                      <a:lnTo>
                        <a:pt x="14" y="4"/>
                      </a:lnTo>
                      <a:lnTo>
                        <a:pt x="11" y="7"/>
                      </a:lnTo>
                      <a:lnTo>
                        <a:pt x="7" y="11"/>
                      </a:lnTo>
                      <a:lnTo>
                        <a:pt x="6" y="14"/>
                      </a:lnTo>
                      <a:lnTo>
                        <a:pt x="4" y="19"/>
                      </a:lnTo>
                      <a:lnTo>
                        <a:pt x="4" y="22"/>
                      </a:lnTo>
                      <a:lnTo>
                        <a:pt x="3" y="25"/>
                      </a:lnTo>
                      <a:lnTo>
                        <a:pt x="3" y="28"/>
                      </a:lnTo>
                      <a:lnTo>
                        <a:pt x="1" y="31"/>
                      </a:lnTo>
                      <a:lnTo>
                        <a:pt x="1" y="34"/>
                      </a:lnTo>
                      <a:lnTo>
                        <a:pt x="0" y="39"/>
                      </a:lnTo>
                      <a:lnTo>
                        <a:pt x="0" y="42"/>
                      </a:lnTo>
                      <a:lnTo>
                        <a:pt x="1" y="46"/>
                      </a:lnTo>
                      <a:lnTo>
                        <a:pt x="3" y="49"/>
                      </a:lnTo>
                      <a:lnTo>
                        <a:pt x="3" y="53"/>
                      </a:lnTo>
                      <a:lnTo>
                        <a:pt x="6" y="55"/>
                      </a:lnTo>
                      <a:lnTo>
                        <a:pt x="4" y="60"/>
                      </a:lnTo>
                      <a:lnTo>
                        <a:pt x="4" y="63"/>
                      </a:lnTo>
                      <a:lnTo>
                        <a:pt x="4" y="68"/>
                      </a:lnTo>
                      <a:lnTo>
                        <a:pt x="6" y="72"/>
                      </a:lnTo>
                      <a:lnTo>
                        <a:pt x="9" y="74"/>
                      </a:lnTo>
                      <a:lnTo>
                        <a:pt x="11" y="79"/>
                      </a:lnTo>
                      <a:lnTo>
                        <a:pt x="9" y="82"/>
                      </a:lnTo>
                      <a:lnTo>
                        <a:pt x="9" y="85"/>
                      </a:lnTo>
                      <a:lnTo>
                        <a:pt x="9" y="88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26" name="Freeform 117"/>
                <p:cNvSpPr>
                  <a:spLocks/>
                </p:cNvSpPr>
                <p:nvPr/>
              </p:nvSpPr>
              <p:spPr bwMode="auto">
                <a:xfrm>
                  <a:off x="4908" y="2547"/>
                  <a:ext cx="54" cy="21"/>
                </a:xfrm>
                <a:custGeom>
                  <a:avLst/>
                  <a:gdLst>
                    <a:gd name="T0" fmla="*/ 78 w 108"/>
                    <a:gd name="T1" fmla="*/ 28 h 42"/>
                    <a:gd name="T2" fmla="*/ 84 w 108"/>
                    <a:gd name="T3" fmla="*/ 31 h 42"/>
                    <a:gd name="T4" fmla="*/ 97 w 108"/>
                    <a:gd name="T5" fmla="*/ 39 h 42"/>
                    <a:gd name="T6" fmla="*/ 106 w 108"/>
                    <a:gd name="T7" fmla="*/ 39 h 42"/>
                    <a:gd name="T8" fmla="*/ 108 w 108"/>
                    <a:gd name="T9" fmla="*/ 33 h 42"/>
                    <a:gd name="T10" fmla="*/ 103 w 108"/>
                    <a:gd name="T11" fmla="*/ 25 h 42"/>
                    <a:gd name="T12" fmla="*/ 98 w 108"/>
                    <a:gd name="T13" fmla="*/ 20 h 42"/>
                    <a:gd name="T14" fmla="*/ 97 w 108"/>
                    <a:gd name="T15" fmla="*/ 14 h 42"/>
                    <a:gd name="T16" fmla="*/ 90 w 108"/>
                    <a:gd name="T17" fmla="*/ 7 h 42"/>
                    <a:gd name="T18" fmla="*/ 84 w 108"/>
                    <a:gd name="T19" fmla="*/ 9 h 42"/>
                    <a:gd name="T20" fmla="*/ 76 w 108"/>
                    <a:gd name="T21" fmla="*/ 7 h 42"/>
                    <a:gd name="T22" fmla="*/ 62 w 108"/>
                    <a:gd name="T23" fmla="*/ 1 h 42"/>
                    <a:gd name="T24" fmla="*/ 55 w 108"/>
                    <a:gd name="T25" fmla="*/ 1 h 42"/>
                    <a:gd name="T26" fmla="*/ 47 w 108"/>
                    <a:gd name="T27" fmla="*/ 7 h 42"/>
                    <a:gd name="T28" fmla="*/ 41 w 108"/>
                    <a:gd name="T29" fmla="*/ 1 h 42"/>
                    <a:gd name="T30" fmla="*/ 27 w 108"/>
                    <a:gd name="T31" fmla="*/ 3 h 42"/>
                    <a:gd name="T32" fmla="*/ 9 w 108"/>
                    <a:gd name="T33" fmla="*/ 4 h 42"/>
                    <a:gd name="T34" fmla="*/ 6 w 108"/>
                    <a:gd name="T35" fmla="*/ 11 h 42"/>
                    <a:gd name="T36" fmla="*/ 0 w 108"/>
                    <a:gd name="T37" fmla="*/ 17 h 42"/>
                    <a:gd name="T38" fmla="*/ 1 w 108"/>
                    <a:gd name="T39" fmla="*/ 23 h 42"/>
                    <a:gd name="T40" fmla="*/ 1 w 108"/>
                    <a:gd name="T41" fmla="*/ 30 h 42"/>
                    <a:gd name="T42" fmla="*/ 5 w 108"/>
                    <a:gd name="T43" fmla="*/ 23 h 42"/>
                    <a:gd name="T44" fmla="*/ 6 w 108"/>
                    <a:gd name="T45" fmla="*/ 17 h 42"/>
                    <a:gd name="T46" fmla="*/ 11 w 108"/>
                    <a:gd name="T47" fmla="*/ 14 h 42"/>
                    <a:gd name="T48" fmla="*/ 14 w 108"/>
                    <a:gd name="T49" fmla="*/ 19 h 42"/>
                    <a:gd name="T50" fmla="*/ 19 w 108"/>
                    <a:gd name="T51" fmla="*/ 25 h 42"/>
                    <a:gd name="T52" fmla="*/ 25 w 108"/>
                    <a:gd name="T53" fmla="*/ 26 h 42"/>
                    <a:gd name="T54" fmla="*/ 32 w 108"/>
                    <a:gd name="T55" fmla="*/ 20 h 42"/>
                    <a:gd name="T56" fmla="*/ 39 w 108"/>
                    <a:gd name="T57" fmla="*/ 19 h 42"/>
                    <a:gd name="T58" fmla="*/ 43 w 108"/>
                    <a:gd name="T59" fmla="*/ 23 h 42"/>
                    <a:gd name="T60" fmla="*/ 52 w 108"/>
                    <a:gd name="T61" fmla="*/ 25 h 42"/>
                    <a:gd name="T62" fmla="*/ 60 w 108"/>
                    <a:gd name="T63" fmla="*/ 25 h 42"/>
                    <a:gd name="T64" fmla="*/ 63 w 108"/>
                    <a:gd name="T65" fmla="*/ 22 h 42"/>
                    <a:gd name="T66" fmla="*/ 71 w 108"/>
                    <a:gd name="T67" fmla="*/ 22 h 42"/>
                    <a:gd name="T68" fmla="*/ 76 w 108"/>
                    <a:gd name="T69" fmla="*/ 28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</a:cxnLst>
                  <a:rect l="0" t="0" r="r" b="b"/>
                  <a:pathLst>
                    <a:path w="108" h="42">
                      <a:moveTo>
                        <a:pt x="76" y="28"/>
                      </a:moveTo>
                      <a:lnTo>
                        <a:pt x="78" y="28"/>
                      </a:lnTo>
                      <a:lnTo>
                        <a:pt x="81" y="31"/>
                      </a:lnTo>
                      <a:lnTo>
                        <a:pt x="84" y="31"/>
                      </a:lnTo>
                      <a:lnTo>
                        <a:pt x="87" y="33"/>
                      </a:lnTo>
                      <a:lnTo>
                        <a:pt x="97" y="39"/>
                      </a:lnTo>
                      <a:lnTo>
                        <a:pt x="104" y="42"/>
                      </a:lnTo>
                      <a:lnTo>
                        <a:pt x="106" y="39"/>
                      </a:lnTo>
                      <a:lnTo>
                        <a:pt x="106" y="36"/>
                      </a:lnTo>
                      <a:lnTo>
                        <a:pt x="108" y="33"/>
                      </a:lnTo>
                      <a:lnTo>
                        <a:pt x="104" y="28"/>
                      </a:lnTo>
                      <a:lnTo>
                        <a:pt x="103" y="25"/>
                      </a:lnTo>
                      <a:lnTo>
                        <a:pt x="100" y="23"/>
                      </a:lnTo>
                      <a:lnTo>
                        <a:pt x="98" y="20"/>
                      </a:lnTo>
                      <a:lnTo>
                        <a:pt x="98" y="17"/>
                      </a:lnTo>
                      <a:lnTo>
                        <a:pt x="97" y="14"/>
                      </a:lnTo>
                      <a:lnTo>
                        <a:pt x="93" y="12"/>
                      </a:lnTo>
                      <a:lnTo>
                        <a:pt x="90" y="7"/>
                      </a:lnTo>
                      <a:lnTo>
                        <a:pt x="87" y="7"/>
                      </a:lnTo>
                      <a:lnTo>
                        <a:pt x="84" y="9"/>
                      </a:lnTo>
                      <a:lnTo>
                        <a:pt x="81" y="9"/>
                      </a:lnTo>
                      <a:lnTo>
                        <a:pt x="76" y="7"/>
                      </a:lnTo>
                      <a:lnTo>
                        <a:pt x="68" y="3"/>
                      </a:lnTo>
                      <a:lnTo>
                        <a:pt x="62" y="1"/>
                      </a:lnTo>
                      <a:lnTo>
                        <a:pt x="58" y="0"/>
                      </a:lnTo>
                      <a:lnTo>
                        <a:pt x="55" y="1"/>
                      </a:lnTo>
                      <a:lnTo>
                        <a:pt x="52" y="3"/>
                      </a:lnTo>
                      <a:lnTo>
                        <a:pt x="47" y="7"/>
                      </a:lnTo>
                      <a:lnTo>
                        <a:pt x="43" y="4"/>
                      </a:lnTo>
                      <a:lnTo>
                        <a:pt x="41" y="1"/>
                      </a:lnTo>
                      <a:lnTo>
                        <a:pt x="38" y="3"/>
                      </a:lnTo>
                      <a:lnTo>
                        <a:pt x="27" y="3"/>
                      </a:lnTo>
                      <a:lnTo>
                        <a:pt x="17" y="3"/>
                      </a:lnTo>
                      <a:lnTo>
                        <a:pt x="9" y="4"/>
                      </a:lnTo>
                      <a:lnTo>
                        <a:pt x="9" y="7"/>
                      </a:lnTo>
                      <a:lnTo>
                        <a:pt x="6" y="11"/>
                      </a:lnTo>
                      <a:lnTo>
                        <a:pt x="3" y="12"/>
                      </a:lnTo>
                      <a:lnTo>
                        <a:pt x="0" y="17"/>
                      </a:lnTo>
                      <a:lnTo>
                        <a:pt x="0" y="20"/>
                      </a:lnTo>
                      <a:lnTo>
                        <a:pt x="1" y="23"/>
                      </a:lnTo>
                      <a:lnTo>
                        <a:pt x="0" y="26"/>
                      </a:lnTo>
                      <a:lnTo>
                        <a:pt x="1" y="30"/>
                      </a:lnTo>
                      <a:lnTo>
                        <a:pt x="1" y="26"/>
                      </a:lnTo>
                      <a:lnTo>
                        <a:pt x="5" y="23"/>
                      </a:lnTo>
                      <a:lnTo>
                        <a:pt x="6" y="20"/>
                      </a:lnTo>
                      <a:lnTo>
                        <a:pt x="6" y="17"/>
                      </a:lnTo>
                      <a:lnTo>
                        <a:pt x="8" y="14"/>
                      </a:lnTo>
                      <a:lnTo>
                        <a:pt x="11" y="14"/>
                      </a:lnTo>
                      <a:lnTo>
                        <a:pt x="11" y="17"/>
                      </a:lnTo>
                      <a:lnTo>
                        <a:pt x="14" y="19"/>
                      </a:lnTo>
                      <a:lnTo>
                        <a:pt x="16" y="22"/>
                      </a:lnTo>
                      <a:lnTo>
                        <a:pt x="19" y="25"/>
                      </a:lnTo>
                      <a:lnTo>
                        <a:pt x="22" y="26"/>
                      </a:lnTo>
                      <a:lnTo>
                        <a:pt x="25" y="26"/>
                      </a:lnTo>
                      <a:lnTo>
                        <a:pt x="28" y="23"/>
                      </a:lnTo>
                      <a:lnTo>
                        <a:pt x="32" y="20"/>
                      </a:lnTo>
                      <a:lnTo>
                        <a:pt x="36" y="17"/>
                      </a:lnTo>
                      <a:lnTo>
                        <a:pt x="39" y="19"/>
                      </a:lnTo>
                      <a:lnTo>
                        <a:pt x="38" y="23"/>
                      </a:lnTo>
                      <a:lnTo>
                        <a:pt x="43" y="23"/>
                      </a:lnTo>
                      <a:lnTo>
                        <a:pt x="49" y="25"/>
                      </a:lnTo>
                      <a:lnTo>
                        <a:pt x="52" y="25"/>
                      </a:lnTo>
                      <a:lnTo>
                        <a:pt x="55" y="26"/>
                      </a:lnTo>
                      <a:lnTo>
                        <a:pt x="60" y="25"/>
                      </a:lnTo>
                      <a:lnTo>
                        <a:pt x="60" y="22"/>
                      </a:lnTo>
                      <a:lnTo>
                        <a:pt x="63" y="22"/>
                      </a:lnTo>
                      <a:lnTo>
                        <a:pt x="68" y="22"/>
                      </a:lnTo>
                      <a:lnTo>
                        <a:pt x="71" y="22"/>
                      </a:lnTo>
                      <a:lnTo>
                        <a:pt x="74" y="25"/>
                      </a:lnTo>
                      <a:lnTo>
                        <a:pt x="76" y="28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27" name="Freeform 118"/>
                <p:cNvSpPr>
                  <a:spLocks/>
                </p:cNvSpPr>
                <p:nvPr/>
              </p:nvSpPr>
              <p:spPr bwMode="auto">
                <a:xfrm>
                  <a:off x="4933" y="2649"/>
                  <a:ext cx="5" cy="6"/>
                </a:xfrm>
                <a:custGeom>
                  <a:avLst/>
                  <a:gdLst>
                    <a:gd name="T0" fmla="*/ 1 w 9"/>
                    <a:gd name="T1" fmla="*/ 0 h 11"/>
                    <a:gd name="T2" fmla="*/ 0 w 9"/>
                    <a:gd name="T3" fmla="*/ 3 h 11"/>
                    <a:gd name="T4" fmla="*/ 1 w 9"/>
                    <a:gd name="T5" fmla="*/ 8 h 11"/>
                    <a:gd name="T6" fmla="*/ 4 w 9"/>
                    <a:gd name="T7" fmla="*/ 11 h 11"/>
                    <a:gd name="T8" fmla="*/ 7 w 9"/>
                    <a:gd name="T9" fmla="*/ 10 h 11"/>
                    <a:gd name="T10" fmla="*/ 9 w 9"/>
                    <a:gd name="T11" fmla="*/ 5 h 11"/>
                    <a:gd name="T12" fmla="*/ 9 w 9"/>
                    <a:gd name="T13" fmla="*/ 2 h 11"/>
                    <a:gd name="T14" fmla="*/ 6 w 9"/>
                    <a:gd name="T15" fmla="*/ 0 h 11"/>
                    <a:gd name="T16" fmla="*/ 1 w 9"/>
                    <a:gd name="T17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11">
                      <a:moveTo>
                        <a:pt x="1" y="0"/>
                      </a:moveTo>
                      <a:lnTo>
                        <a:pt x="0" y="3"/>
                      </a:lnTo>
                      <a:lnTo>
                        <a:pt x="1" y="8"/>
                      </a:lnTo>
                      <a:lnTo>
                        <a:pt x="4" y="11"/>
                      </a:lnTo>
                      <a:lnTo>
                        <a:pt x="7" y="10"/>
                      </a:lnTo>
                      <a:lnTo>
                        <a:pt x="9" y="5"/>
                      </a:lnTo>
                      <a:lnTo>
                        <a:pt x="9" y="2"/>
                      </a:lnTo>
                      <a:lnTo>
                        <a:pt x="6" y="0"/>
                      </a:lnTo>
                      <a:lnTo>
                        <a:pt x="1" y="0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28" name="Freeform 119"/>
                <p:cNvSpPr>
                  <a:spLocks/>
                </p:cNvSpPr>
                <p:nvPr/>
              </p:nvSpPr>
              <p:spPr bwMode="auto">
                <a:xfrm>
                  <a:off x="4943" y="2524"/>
                  <a:ext cx="12" cy="8"/>
                </a:xfrm>
                <a:custGeom>
                  <a:avLst/>
                  <a:gdLst>
                    <a:gd name="T0" fmla="*/ 8 w 23"/>
                    <a:gd name="T1" fmla="*/ 14 h 15"/>
                    <a:gd name="T2" fmla="*/ 11 w 23"/>
                    <a:gd name="T3" fmla="*/ 15 h 15"/>
                    <a:gd name="T4" fmla="*/ 15 w 23"/>
                    <a:gd name="T5" fmla="*/ 15 h 15"/>
                    <a:gd name="T6" fmla="*/ 19 w 23"/>
                    <a:gd name="T7" fmla="*/ 14 h 15"/>
                    <a:gd name="T8" fmla="*/ 22 w 23"/>
                    <a:gd name="T9" fmla="*/ 14 h 15"/>
                    <a:gd name="T10" fmla="*/ 20 w 23"/>
                    <a:gd name="T11" fmla="*/ 11 h 15"/>
                    <a:gd name="T12" fmla="*/ 23 w 23"/>
                    <a:gd name="T13" fmla="*/ 7 h 15"/>
                    <a:gd name="T14" fmla="*/ 22 w 23"/>
                    <a:gd name="T15" fmla="*/ 4 h 15"/>
                    <a:gd name="T16" fmla="*/ 20 w 23"/>
                    <a:gd name="T17" fmla="*/ 0 h 15"/>
                    <a:gd name="T18" fmla="*/ 17 w 23"/>
                    <a:gd name="T19" fmla="*/ 1 h 15"/>
                    <a:gd name="T20" fmla="*/ 14 w 23"/>
                    <a:gd name="T21" fmla="*/ 3 h 15"/>
                    <a:gd name="T22" fmla="*/ 11 w 23"/>
                    <a:gd name="T23" fmla="*/ 3 h 15"/>
                    <a:gd name="T24" fmla="*/ 8 w 23"/>
                    <a:gd name="T25" fmla="*/ 4 h 15"/>
                    <a:gd name="T26" fmla="*/ 6 w 23"/>
                    <a:gd name="T27" fmla="*/ 4 h 15"/>
                    <a:gd name="T28" fmla="*/ 3 w 23"/>
                    <a:gd name="T29" fmla="*/ 6 h 15"/>
                    <a:gd name="T30" fmla="*/ 0 w 23"/>
                    <a:gd name="T31" fmla="*/ 7 h 15"/>
                    <a:gd name="T32" fmla="*/ 1 w 23"/>
                    <a:gd name="T33" fmla="*/ 11 h 15"/>
                    <a:gd name="T34" fmla="*/ 4 w 23"/>
                    <a:gd name="T35" fmla="*/ 14 h 15"/>
                    <a:gd name="T36" fmla="*/ 8 w 23"/>
                    <a:gd name="T37" fmla="*/ 14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23" h="15">
                      <a:moveTo>
                        <a:pt x="8" y="14"/>
                      </a:moveTo>
                      <a:lnTo>
                        <a:pt x="11" y="15"/>
                      </a:lnTo>
                      <a:lnTo>
                        <a:pt x="15" y="15"/>
                      </a:lnTo>
                      <a:lnTo>
                        <a:pt x="19" y="14"/>
                      </a:lnTo>
                      <a:lnTo>
                        <a:pt x="22" y="14"/>
                      </a:lnTo>
                      <a:lnTo>
                        <a:pt x="20" y="11"/>
                      </a:lnTo>
                      <a:lnTo>
                        <a:pt x="23" y="7"/>
                      </a:lnTo>
                      <a:lnTo>
                        <a:pt x="22" y="4"/>
                      </a:lnTo>
                      <a:lnTo>
                        <a:pt x="20" y="0"/>
                      </a:lnTo>
                      <a:lnTo>
                        <a:pt x="17" y="1"/>
                      </a:lnTo>
                      <a:lnTo>
                        <a:pt x="14" y="3"/>
                      </a:lnTo>
                      <a:lnTo>
                        <a:pt x="11" y="3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3" y="6"/>
                      </a:lnTo>
                      <a:lnTo>
                        <a:pt x="0" y="7"/>
                      </a:lnTo>
                      <a:lnTo>
                        <a:pt x="1" y="11"/>
                      </a:lnTo>
                      <a:lnTo>
                        <a:pt x="4" y="14"/>
                      </a:lnTo>
                      <a:lnTo>
                        <a:pt x="8" y="14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29" name="Freeform 120"/>
                <p:cNvSpPr>
                  <a:spLocks/>
                </p:cNvSpPr>
                <p:nvPr/>
              </p:nvSpPr>
              <p:spPr bwMode="auto">
                <a:xfrm>
                  <a:off x="4960" y="2636"/>
                  <a:ext cx="13" cy="18"/>
                </a:xfrm>
                <a:custGeom>
                  <a:avLst/>
                  <a:gdLst>
                    <a:gd name="T0" fmla="*/ 23 w 26"/>
                    <a:gd name="T1" fmla="*/ 0 h 37"/>
                    <a:gd name="T2" fmla="*/ 20 w 26"/>
                    <a:gd name="T3" fmla="*/ 0 h 37"/>
                    <a:gd name="T4" fmla="*/ 18 w 26"/>
                    <a:gd name="T5" fmla="*/ 5 h 37"/>
                    <a:gd name="T6" fmla="*/ 15 w 26"/>
                    <a:gd name="T7" fmla="*/ 8 h 37"/>
                    <a:gd name="T8" fmla="*/ 13 w 26"/>
                    <a:gd name="T9" fmla="*/ 11 h 37"/>
                    <a:gd name="T10" fmla="*/ 8 w 26"/>
                    <a:gd name="T11" fmla="*/ 13 h 37"/>
                    <a:gd name="T12" fmla="*/ 7 w 26"/>
                    <a:gd name="T13" fmla="*/ 18 h 37"/>
                    <a:gd name="T14" fmla="*/ 5 w 26"/>
                    <a:gd name="T15" fmla="*/ 21 h 37"/>
                    <a:gd name="T16" fmla="*/ 7 w 26"/>
                    <a:gd name="T17" fmla="*/ 24 h 37"/>
                    <a:gd name="T18" fmla="*/ 4 w 26"/>
                    <a:gd name="T19" fmla="*/ 24 h 37"/>
                    <a:gd name="T20" fmla="*/ 4 w 26"/>
                    <a:gd name="T21" fmla="*/ 27 h 37"/>
                    <a:gd name="T22" fmla="*/ 0 w 26"/>
                    <a:gd name="T23" fmla="*/ 30 h 37"/>
                    <a:gd name="T24" fmla="*/ 2 w 26"/>
                    <a:gd name="T25" fmla="*/ 33 h 37"/>
                    <a:gd name="T26" fmla="*/ 5 w 26"/>
                    <a:gd name="T27" fmla="*/ 37 h 37"/>
                    <a:gd name="T28" fmla="*/ 8 w 26"/>
                    <a:gd name="T29" fmla="*/ 37 h 37"/>
                    <a:gd name="T30" fmla="*/ 10 w 26"/>
                    <a:gd name="T31" fmla="*/ 33 h 37"/>
                    <a:gd name="T32" fmla="*/ 12 w 26"/>
                    <a:gd name="T33" fmla="*/ 30 h 37"/>
                    <a:gd name="T34" fmla="*/ 18 w 26"/>
                    <a:gd name="T35" fmla="*/ 24 h 37"/>
                    <a:gd name="T36" fmla="*/ 21 w 26"/>
                    <a:gd name="T37" fmla="*/ 21 h 37"/>
                    <a:gd name="T38" fmla="*/ 23 w 26"/>
                    <a:gd name="T39" fmla="*/ 18 h 37"/>
                    <a:gd name="T40" fmla="*/ 23 w 26"/>
                    <a:gd name="T41" fmla="*/ 13 h 37"/>
                    <a:gd name="T42" fmla="*/ 23 w 26"/>
                    <a:gd name="T43" fmla="*/ 10 h 37"/>
                    <a:gd name="T44" fmla="*/ 23 w 26"/>
                    <a:gd name="T45" fmla="*/ 6 h 37"/>
                    <a:gd name="T46" fmla="*/ 26 w 26"/>
                    <a:gd name="T47" fmla="*/ 3 h 37"/>
                    <a:gd name="T48" fmla="*/ 23 w 26"/>
                    <a:gd name="T49" fmla="*/ 0 h 37"/>
                    <a:gd name="T50" fmla="*/ 23 w 26"/>
                    <a:gd name="T51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6" h="37">
                      <a:moveTo>
                        <a:pt x="23" y="0"/>
                      </a:moveTo>
                      <a:lnTo>
                        <a:pt x="20" y="0"/>
                      </a:lnTo>
                      <a:lnTo>
                        <a:pt x="18" y="5"/>
                      </a:lnTo>
                      <a:lnTo>
                        <a:pt x="15" y="8"/>
                      </a:lnTo>
                      <a:lnTo>
                        <a:pt x="13" y="11"/>
                      </a:lnTo>
                      <a:lnTo>
                        <a:pt x="8" y="13"/>
                      </a:lnTo>
                      <a:lnTo>
                        <a:pt x="7" y="18"/>
                      </a:lnTo>
                      <a:lnTo>
                        <a:pt x="5" y="21"/>
                      </a:lnTo>
                      <a:lnTo>
                        <a:pt x="7" y="24"/>
                      </a:lnTo>
                      <a:lnTo>
                        <a:pt x="4" y="24"/>
                      </a:lnTo>
                      <a:lnTo>
                        <a:pt x="4" y="27"/>
                      </a:lnTo>
                      <a:lnTo>
                        <a:pt x="0" y="30"/>
                      </a:lnTo>
                      <a:lnTo>
                        <a:pt x="2" y="33"/>
                      </a:lnTo>
                      <a:lnTo>
                        <a:pt x="5" y="37"/>
                      </a:lnTo>
                      <a:lnTo>
                        <a:pt x="8" y="37"/>
                      </a:lnTo>
                      <a:lnTo>
                        <a:pt x="10" y="33"/>
                      </a:lnTo>
                      <a:lnTo>
                        <a:pt x="12" y="30"/>
                      </a:lnTo>
                      <a:lnTo>
                        <a:pt x="18" y="24"/>
                      </a:lnTo>
                      <a:lnTo>
                        <a:pt x="21" y="21"/>
                      </a:lnTo>
                      <a:lnTo>
                        <a:pt x="23" y="18"/>
                      </a:lnTo>
                      <a:lnTo>
                        <a:pt x="23" y="13"/>
                      </a:lnTo>
                      <a:lnTo>
                        <a:pt x="23" y="10"/>
                      </a:lnTo>
                      <a:lnTo>
                        <a:pt x="23" y="6"/>
                      </a:lnTo>
                      <a:lnTo>
                        <a:pt x="26" y="3"/>
                      </a:lnTo>
                      <a:lnTo>
                        <a:pt x="23" y="0"/>
                      </a:lnTo>
                      <a:lnTo>
                        <a:pt x="23" y="0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30" name="Freeform 121"/>
                <p:cNvSpPr>
                  <a:spLocks/>
                </p:cNvSpPr>
                <p:nvPr/>
              </p:nvSpPr>
              <p:spPr bwMode="auto">
                <a:xfrm>
                  <a:off x="4965" y="2497"/>
                  <a:ext cx="180" cy="180"/>
                </a:xfrm>
                <a:custGeom>
                  <a:avLst/>
                  <a:gdLst>
                    <a:gd name="T0" fmla="*/ 22 w 360"/>
                    <a:gd name="T1" fmla="*/ 17 h 360"/>
                    <a:gd name="T2" fmla="*/ 52 w 360"/>
                    <a:gd name="T3" fmla="*/ 0 h 360"/>
                    <a:gd name="T4" fmla="*/ 79 w 360"/>
                    <a:gd name="T5" fmla="*/ 8 h 360"/>
                    <a:gd name="T6" fmla="*/ 105 w 360"/>
                    <a:gd name="T7" fmla="*/ 15 h 360"/>
                    <a:gd name="T8" fmla="*/ 116 w 360"/>
                    <a:gd name="T9" fmla="*/ 35 h 360"/>
                    <a:gd name="T10" fmla="*/ 113 w 360"/>
                    <a:gd name="T11" fmla="*/ 60 h 360"/>
                    <a:gd name="T12" fmla="*/ 125 w 360"/>
                    <a:gd name="T13" fmla="*/ 95 h 360"/>
                    <a:gd name="T14" fmla="*/ 136 w 360"/>
                    <a:gd name="T15" fmla="*/ 111 h 360"/>
                    <a:gd name="T16" fmla="*/ 155 w 360"/>
                    <a:gd name="T17" fmla="*/ 125 h 360"/>
                    <a:gd name="T18" fmla="*/ 173 w 360"/>
                    <a:gd name="T19" fmla="*/ 109 h 360"/>
                    <a:gd name="T20" fmla="*/ 190 w 360"/>
                    <a:gd name="T21" fmla="*/ 90 h 360"/>
                    <a:gd name="T22" fmla="*/ 214 w 360"/>
                    <a:gd name="T23" fmla="*/ 74 h 360"/>
                    <a:gd name="T24" fmla="*/ 228 w 360"/>
                    <a:gd name="T25" fmla="*/ 57 h 360"/>
                    <a:gd name="T26" fmla="*/ 260 w 360"/>
                    <a:gd name="T27" fmla="*/ 54 h 360"/>
                    <a:gd name="T28" fmla="*/ 298 w 360"/>
                    <a:gd name="T29" fmla="*/ 73 h 360"/>
                    <a:gd name="T30" fmla="*/ 325 w 360"/>
                    <a:gd name="T31" fmla="*/ 82 h 360"/>
                    <a:gd name="T32" fmla="*/ 349 w 360"/>
                    <a:gd name="T33" fmla="*/ 87 h 360"/>
                    <a:gd name="T34" fmla="*/ 352 w 360"/>
                    <a:gd name="T35" fmla="*/ 245 h 360"/>
                    <a:gd name="T36" fmla="*/ 347 w 360"/>
                    <a:gd name="T37" fmla="*/ 266 h 360"/>
                    <a:gd name="T38" fmla="*/ 333 w 360"/>
                    <a:gd name="T39" fmla="*/ 348 h 360"/>
                    <a:gd name="T40" fmla="*/ 311 w 360"/>
                    <a:gd name="T41" fmla="*/ 323 h 360"/>
                    <a:gd name="T42" fmla="*/ 305 w 360"/>
                    <a:gd name="T43" fmla="*/ 317 h 360"/>
                    <a:gd name="T44" fmla="*/ 281 w 360"/>
                    <a:gd name="T45" fmla="*/ 318 h 360"/>
                    <a:gd name="T46" fmla="*/ 274 w 360"/>
                    <a:gd name="T47" fmla="*/ 309 h 360"/>
                    <a:gd name="T48" fmla="*/ 273 w 360"/>
                    <a:gd name="T49" fmla="*/ 287 h 360"/>
                    <a:gd name="T50" fmla="*/ 285 w 360"/>
                    <a:gd name="T51" fmla="*/ 279 h 360"/>
                    <a:gd name="T52" fmla="*/ 263 w 360"/>
                    <a:gd name="T53" fmla="*/ 269 h 360"/>
                    <a:gd name="T54" fmla="*/ 285 w 360"/>
                    <a:gd name="T55" fmla="*/ 271 h 360"/>
                    <a:gd name="T56" fmla="*/ 265 w 360"/>
                    <a:gd name="T57" fmla="*/ 253 h 360"/>
                    <a:gd name="T58" fmla="*/ 255 w 360"/>
                    <a:gd name="T59" fmla="*/ 231 h 360"/>
                    <a:gd name="T60" fmla="*/ 257 w 360"/>
                    <a:gd name="T61" fmla="*/ 218 h 360"/>
                    <a:gd name="T62" fmla="*/ 249 w 360"/>
                    <a:gd name="T63" fmla="*/ 212 h 360"/>
                    <a:gd name="T64" fmla="*/ 236 w 360"/>
                    <a:gd name="T65" fmla="*/ 199 h 360"/>
                    <a:gd name="T66" fmla="*/ 217 w 360"/>
                    <a:gd name="T67" fmla="*/ 190 h 360"/>
                    <a:gd name="T68" fmla="*/ 184 w 360"/>
                    <a:gd name="T69" fmla="*/ 177 h 360"/>
                    <a:gd name="T70" fmla="*/ 151 w 360"/>
                    <a:gd name="T71" fmla="*/ 168 h 360"/>
                    <a:gd name="T72" fmla="*/ 130 w 360"/>
                    <a:gd name="T73" fmla="*/ 149 h 360"/>
                    <a:gd name="T74" fmla="*/ 128 w 360"/>
                    <a:gd name="T75" fmla="*/ 149 h 360"/>
                    <a:gd name="T76" fmla="*/ 113 w 360"/>
                    <a:gd name="T77" fmla="*/ 142 h 360"/>
                    <a:gd name="T78" fmla="*/ 95 w 360"/>
                    <a:gd name="T79" fmla="*/ 136 h 360"/>
                    <a:gd name="T80" fmla="*/ 102 w 360"/>
                    <a:gd name="T81" fmla="*/ 112 h 360"/>
                    <a:gd name="T82" fmla="*/ 92 w 360"/>
                    <a:gd name="T83" fmla="*/ 126 h 360"/>
                    <a:gd name="T84" fmla="*/ 84 w 360"/>
                    <a:gd name="T85" fmla="*/ 146 h 360"/>
                    <a:gd name="T86" fmla="*/ 62 w 360"/>
                    <a:gd name="T87" fmla="*/ 146 h 360"/>
                    <a:gd name="T88" fmla="*/ 63 w 360"/>
                    <a:gd name="T89" fmla="*/ 122 h 360"/>
                    <a:gd name="T90" fmla="*/ 44 w 360"/>
                    <a:gd name="T91" fmla="*/ 106 h 360"/>
                    <a:gd name="T92" fmla="*/ 46 w 360"/>
                    <a:gd name="T93" fmla="*/ 95 h 360"/>
                    <a:gd name="T94" fmla="*/ 68 w 360"/>
                    <a:gd name="T95" fmla="*/ 93 h 360"/>
                    <a:gd name="T96" fmla="*/ 86 w 360"/>
                    <a:gd name="T97" fmla="*/ 95 h 360"/>
                    <a:gd name="T98" fmla="*/ 97 w 360"/>
                    <a:gd name="T99" fmla="*/ 90 h 360"/>
                    <a:gd name="T100" fmla="*/ 105 w 360"/>
                    <a:gd name="T101" fmla="*/ 80 h 360"/>
                    <a:gd name="T102" fmla="*/ 90 w 360"/>
                    <a:gd name="T103" fmla="*/ 77 h 360"/>
                    <a:gd name="T104" fmla="*/ 63 w 360"/>
                    <a:gd name="T105" fmla="*/ 79 h 360"/>
                    <a:gd name="T106" fmla="*/ 44 w 360"/>
                    <a:gd name="T107" fmla="*/ 76 h 360"/>
                    <a:gd name="T108" fmla="*/ 36 w 360"/>
                    <a:gd name="T109" fmla="*/ 57 h 360"/>
                    <a:gd name="T110" fmla="*/ 22 w 360"/>
                    <a:gd name="T111" fmla="*/ 47 h 360"/>
                    <a:gd name="T112" fmla="*/ 5 w 360"/>
                    <a:gd name="T113" fmla="*/ 46 h 360"/>
                    <a:gd name="T114" fmla="*/ 11 w 360"/>
                    <a:gd name="T115" fmla="*/ 27 h 3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360" h="360">
                      <a:moveTo>
                        <a:pt x="11" y="27"/>
                      </a:moveTo>
                      <a:lnTo>
                        <a:pt x="11" y="23"/>
                      </a:lnTo>
                      <a:lnTo>
                        <a:pt x="10" y="20"/>
                      </a:lnTo>
                      <a:lnTo>
                        <a:pt x="13" y="19"/>
                      </a:lnTo>
                      <a:lnTo>
                        <a:pt x="16" y="17"/>
                      </a:lnTo>
                      <a:lnTo>
                        <a:pt x="19" y="15"/>
                      </a:lnTo>
                      <a:lnTo>
                        <a:pt x="22" y="17"/>
                      </a:lnTo>
                      <a:lnTo>
                        <a:pt x="27" y="15"/>
                      </a:lnTo>
                      <a:lnTo>
                        <a:pt x="30" y="15"/>
                      </a:lnTo>
                      <a:lnTo>
                        <a:pt x="33" y="12"/>
                      </a:lnTo>
                      <a:lnTo>
                        <a:pt x="36" y="9"/>
                      </a:lnTo>
                      <a:lnTo>
                        <a:pt x="41" y="4"/>
                      </a:lnTo>
                      <a:lnTo>
                        <a:pt x="46" y="1"/>
                      </a:lnTo>
                      <a:lnTo>
                        <a:pt x="52" y="0"/>
                      </a:lnTo>
                      <a:lnTo>
                        <a:pt x="59" y="0"/>
                      </a:lnTo>
                      <a:lnTo>
                        <a:pt x="62" y="1"/>
                      </a:lnTo>
                      <a:lnTo>
                        <a:pt x="65" y="1"/>
                      </a:lnTo>
                      <a:lnTo>
                        <a:pt x="68" y="4"/>
                      </a:lnTo>
                      <a:lnTo>
                        <a:pt x="73" y="4"/>
                      </a:lnTo>
                      <a:lnTo>
                        <a:pt x="76" y="6"/>
                      </a:lnTo>
                      <a:lnTo>
                        <a:pt x="79" y="8"/>
                      </a:lnTo>
                      <a:lnTo>
                        <a:pt x="82" y="11"/>
                      </a:lnTo>
                      <a:lnTo>
                        <a:pt x="86" y="14"/>
                      </a:lnTo>
                      <a:lnTo>
                        <a:pt x="89" y="15"/>
                      </a:lnTo>
                      <a:lnTo>
                        <a:pt x="92" y="15"/>
                      </a:lnTo>
                      <a:lnTo>
                        <a:pt x="97" y="15"/>
                      </a:lnTo>
                      <a:lnTo>
                        <a:pt x="100" y="17"/>
                      </a:lnTo>
                      <a:lnTo>
                        <a:pt x="105" y="15"/>
                      </a:lnTo>
                      <a:lnTo>
                        <a:pt x="106" y="15"/>
                      </a:lnTo>
                      <a:lnTo>
                        <a:pt x="109" y="17"/>
                      </a:lnTo>
                      <a:lnTo>
                        <a:pt x="114" y="20"/>
                      </a:lnTo>
                      <a:lnTo>
                        <a:pt x="111" y="25"/>
                      </a:lnTo>
                      <a:lnTo>
                        <a:pt x="111" y="28"/>
                      </a:lnTo>
                      <a:lnTo>
                        <a:pt x="113" y="31"/>
                      </a:lnTo>
                      <a:lnTo>
                        <a:pt x="116" y="35"/>
                      </a:lnTo>
                      <a:lnTo>
                        <a:pt x="117" y="38"/>
                      </a:lnTo>
                      <a:lnTo>
                        <a:pt x="119" y="42"/>
                      </a:lnTo>
                      <a:lnTo>
                        <a:pt x="117" y="46"/>
                      </a:lnTo>
                      <a:lnTo>
                        <a:pt x="117" y="49"/>
                      </a:lnTo>
                      <a:lnTo>
                        <a:pt x="114" y="52"/>
                      </a:lnTo>
                      <a:lnTo>
                        <a:pt x="111" y="57"/>
                      </a:lnTo>
                      <a:lnTo>
                        <a:pt x="113" y="60"/>
                      </a:lnTo>
                      <a:lnTo>
                        <a:pt x="113" y="63"/>
                      </a:lnTo>
                      <a:lnTo>
                        <a:pt x="113" y="73"/>
                      </a:lnTo>
                      <a:lnTo>
                        <a:pt x="116" y="84"/>
                      </a:lnTo>
                      <a:lnTo>
                        <a:pt x="121" y="93"/>
                      </a:lnTo>
                      <a:lnTo>
                        <a:pt x="124" y="103"/>
                      </a:lnTo>
                      <a:lnTo>
                        <a:pt x="125" y="98"/>
                      </a:lnTo>
                      <a:lnTo>
                        <a:pt x="125" y="95"/>
                      </a:lnTo>
                      <a:lnTo>
                        <a:pt x="125" y="92"/>
                      </a:lnTo>
                      <a:lnTo>
                        <a:pt x="127" y="88"/>
                      </a:lnTo>
                      <a:lnTo>
                        <a:pt x="130" y="88"/>
                      </a:lnTo>
                      <a:lnTo>
                        <a:pt x="132" y="98"/>
                      </a:lnTo>
                      <a:lnTo>
                        <a:pt x="132" y="106"/>
                      </a:lnTo>
                      <a:lnTo>
                        <a:pt x="135" y="107"/>
                      </a:lnTo>
                      <a:lnTo>
                        <a:pt x="136" y="111"/>
                      </a:lnTo>
                      <a:lnTo>
                        <a:pt x="136" y="114"/>
                      </a:lnTo>
                      <a:lnTo>
                        <a:pt x="138" y="117"/>
                      </a:lnTo>
                      <a:lnTo>
                        <a:pt x="141" y="120"/>
                      </a:lnTo>
                      <a:lnTo>
                        <a:pt x="144" y="122"/>
                      </a:lnTo>
                      <a:lnTo>
                        <a:pt x="149" y="123"/>
                      </a:lnTo>
                      <a:lnTo>
                        <a:pt x="152" y="123"/>
                      </a:lnTo>
                      <a:lnTo>
                        <a:pt x="155" y="125"/>
                      </a:lnTo>
                      <a:lnTo>
                        <a:pt x="159" y="123"/>
                      </a:lnTo>
                      <a:lnTo>
                        <a:pt x="162" y="122"/>
                      </a:lnTo>
                      <a:lnTo>
                        <a:pt x="163" y="119"/>
                      </a:lnTo>
                      <a:lnTo>
                        <a:pt x="167" y="115"/>
                      </a:lnTo>
                      <a:lnTo>
                        <a:pt x="168" y="115"/>
                      </a:lnTo>
                      <a:lnTo>
                        <a:pt x="170" y="112"/>
                      </a:lnTo>
                      <a:lnTo>
                        <a:pt x="173" y="109"/>
                      </a:lnTo>
                      <a:lnTo>
                        <a:pt x="176" y="107"/>
                      </a:lnTo>
                      <a:lnTo>
                        <a:pt x="176" y="103"/>
                      </a:lnTo>
                      <a:lnTo>
                        <a:pt x="178" y="103"/>
                      </a:lnTo>
                      <a:lnTo>
                        <a:pt x="179" y="100"/>
                      </a:lnTo>
                      <a:lnTo>
                        <a:pt x="182" y="95"/>
                      </a:lnTo>
                      <a:lnTo>
                        <a:pt x="187" y="93"/>
                      </a:lnTo>
                      <a:lnTo>
                        <a:pt x="190" y="90"/>
                      </a:lnTo>
                      <a:lnTo>
                        <a:pt x="190" y="87"/>
                      </a:lnTo>
                      <a:lnTo>
                        <a:pt x="192" y="80"/>
                      </a:lnTo>
                      <a:lnTo>
                        <a:pt x="193" y="77"/>
                      </a:lnTo>
                      <a:lnTo>
                        <a:pt x="198" y="76"/>
                      </a:lnTo>
                      <a:lnTo>
                        <a:pt x="201" y="77"/>
                      </a:lnTo>
                      <a:lnTo>
                        <a:pt x="205" y="79"/>
                      </a:lnTo>
                      <a:lnTo>
                        <a:pt x="214" y="74"/>
                      </a:lnTo>
                      <a:lnTo>
                        <a:pt x="222" y="73"/>
                      </a:lnTo>
                      <a:lnTo>
                        <a:pt x="224" y="68"/>
                      </a:lnTo>
                      <a:lnTo>
                        <a:pt x="224" y="66"/>
                      </a:lnTo>
                      <a:lnTo>
                        <a:pt x="220" y="63"/>
                      </a:lnTo>
                      <a:lnTo>
                        <a:pt x="220" y="60"/>
                      </a:lnTo>
                      <a:lnTo>
                        <a:pt x="224" y="58"/>
                      </a:lnTo>
                      <a:lnTo>
                        <a:pt x="228" y="57"/>
                      </a:lnTo>
                      <a:lnTo>
                        <a:pt x="232" y="54"/>
                      </a:lnTo>
                      <a:lnTo>
                        <a:pt x="239" y="49"/>
                      </a:lnTo>
                      <a:lnTo>
                        <a:pt x="249" y="46"/>
                      </a:lnTo>
                      <a:lnTo>
                        <a:pt x="251" y="47"/>
                      </a:lnTo>
                      <a:lnTo>
                        <a:pt x="254" y="49"/>
                      </a:lnTo>
                      <a:lnTo>
                        <a:pt x="257" y="52"/>
                      </a:lnTo>
                      <a:lnTo>
                        <a:pt x="260" y="54"/>
                      </a:lnTo>
                      <a:lnTo>
                        <a:pt x="270" y="57"/>
                      </a:lnTo>
                      <a:lnTo>
                        <a:pt x="278" y="60"/>
                      </a:lnTo>
                      <a:lnTo>
                        <a:pt x="281" y="63"/>
                      </a:lnTo>
                      <a:lnTo>
                        <a:pt x="284" y="66"/>
                      </a:lnTo>
                      <a:lnTo>
                        <a:pt x="289" y="66"/>
                      </a:lnTo>
                      <a:lnTo>
                        <a:pt x="292" y="68"/>
                      </a:lnTo>
                      <a:lnTo>
                        <a:pt x="298" y="73"/>
                      </a:lnTo>
                      <a:lnTo>
                        <a:pt x="306" y="76"/>
                      </a:lnTo>
                      <a:lnTo>
                        <a:pt x="309" y="79"/>
                      </a:lnTo>
                      <a:lnTo>
                        <a:pt x="312" y="79"/>
                      </a:lnTo>
                      <a:lnTo>
                        <a:pt x="316" y="82"/>
                      </a:lnTo>
                      <a:lnTo>
                        <a:pt x="320" y="84"/>
                      </a:lnTo>
                      <a:lnTo>
                        <a:pt x="324" y="82"/>
                      </a:lnTo>
                      <a:lnTo>
                        <a:pt x="325" y="82"/>
                      </a:lnTo>
                      <a:lnTo>
                        <a:pt x="328" y="80"/>
                      </a:lnTo>
                      <a:lnTo>
                        <a:pt x="331" y="84"/>
                      </a:lnTo>
                      <a:lnTo>
                        <a:pt x="335" y="85"/>
                      </a:lnTo>
                      <a:lnTo>
                        <a:pt x="338" y="84"/>
                      </a:lnTo>
                      <a:lnTo>
                        <a:pt x="343" y="85"/>
                      </a:lnTo>
                      <a:lnTo>
                        <a:pt x="346" y="85"/>
                      </a:lnTo>
                      <a:lnTo>
                        <a:pt x="349" y="87"/>
                      </a:lnTo>
                      <a:lnTo>
                        <a:pt x="351" y="90"/>
                      </a:lnTo>
                      <a:lnTo>
                        <a:pt x="354" y="93"/>
                      </a:lnTo>
                      <a:lnTo>
                        <a:pt x="360" y="93"/>
                      </a:lnTo>
                      <a:lnTo>
                        <a:pt x="358" y="131"/>
                      </a:lnTo>
                      <a:lnTo>
                        <a:pt x="357" y="169"/>
                      </a:lnTo>
                      <a:lnTo>
                        <a:pt x="355" y="207"/>
                      </a:lnTo>
                      <a:lnTo>
                        <a:pt x="352" y="245"/>
                      </a:lnTo>
                      <a:lnTo>
                        <a:pt x="351" y="245"/>
                      </a:lnTo>
                      <a:lnTo>
                        <a:pt x="349" y="249"/>
                      </a:lnTo>
                      <a:lnTo>
                        <a:pt x="349" y="252"/>
                      </a:lnTo>
                      <a:lnTo>
                        <a:pt x="347" y="257"/>
                      </a:lnTo>
                      <a:lnTo>
                        <a:pt x="346" y="260"/>
                      </a:lnTo>
                      <a:lnTo>
                        <a:pt x="347" y="263"/>
                      </a:lnTo>
                      <a:lnTo>
                        <a:pt x="347" y="266"/>
                      </a:lnTo>
                      <a:lnTo>
                        <a:pt x="351" y="268"/>
                      </a:lnTo>
                      <a:lnTo>
                        <a:pt x="349" y="290"/>
                      </a:lnTo>
                      <a:lnTo>
                        <a:pt x="347" y="314"/>
                      </a:lnTo>
                      <a:lnTo>
                        <a:pt x="346" y="336"/>
                      </a:lnTo>
                      <a:lnTo>
                        <a:pt x="344" y="360"/>
                      </a:lnTo>
                      <a:lnTo>
                        <a:pt x="338" y="355"/>
                      </a:lnTo>
                      <a:lnTo>
                        <a:pt x="333" y="348"/>
                      </a:lnTo>
                      <a:lnTo>
                        <a:pt x="328" y="342"/>
                      </a:lnTo>
                      <a:lnTo>
                        <a:pt x="325" y="336"/>
                      </a:lnTo>
                      <a:lnTo>
                        <a:pt x="324" y="334"/>
                      </a:lnTo>
                      <a:lnTo>
                        <a:pt x="319" y="331"/>
                      </a:lnTo>
                      <a:lnTo>
                        <a:pt x="319" y="329"/>
                      </a:lnTo>
                      <a:lnTo>
                        <a:pt x="316" y="326"/>
                      </a:lnTo>
                      <a:lnTo>
                        <a:pt x="311" y="323"/>
                      </a:lnTo>
                      <a:lnTo>
                        <a:pt x="311" y="322"/>
                      </a:lnTo>
                      <a:lnTo>
                        <a:pt x="311" y="318"/>
                      </a:lnTo>
                      <a:lnTo>
                        <a:pt x="311" y="317"/>
                      </a:lnTo>
                      <a:lnTo>
                        <a:pt x="312" y="315"/>
                      </a:lnTo>
                      <a:lnTo>
                        <a:pt x="311" y="317"/>
                      </a:lnTo>
                      <a:lnTo>
                        <a:pt x="308" y="318"/>
                      </a:lnTo>
                      <a:lnTo>
                        <a:pt x="305" y="317"/>
                      </a:lnTo>
                      <a:lnTo>
                        <a:pt x="297" y="318"/>
                      </a:lnTo>
                      <a:lnTo>
                        <a:pt x="293" y="320"/>
                      </a:lnTo>
                      <a:lnTo>
                        <a:pt x="290" y="322"/>
                      </a:lnTo>
                      <a:lnTo>
                        <a:pt x="287" y="322"/>
                      </a:lnTo>
                      <a:lnTo>
                        <a:pt x="284" y="318"/>
                      </a:lnTo>
                      <a:lnTo>
                        <a:pt x="284" y="314"/>
                      </a:lnTo>
                      <a:lnTo>
                        <a:pt x="281" y="318"/>
                      </a:lnTo>
                      <a:lnTo>
                        <a:pt x="278" y="320"/>
                      </a:lnTo>
                      <a:lnTo>
                        <a:pt x="274" y="322"/>
                      </a:lnTo>
                      <a:lnTo>
                        <a:pt x="270" y="322"/>
                      </a:lnTo>
                      <a:lnTo>
                        <a:pt x="270" y="318"/>
                      </a:lnTo>
                      <a:lnTo>
                        <a:pt x="273" y="315"/>
                      </a:lnTo>
                      <a:lnTo>
                        <a:pt x="273" y="312"/>
                      </a:lnTo>
                      <a:lnTo>
                        <a:pt x="274" y="309"/>
                      </a:lnTo>
                      <a:lnTo>
                        <a:pt x="276" y="304"/>
                      </a:lnTo>
                      <a:lnTo>
                        <a:pt x="278" y="301"/>
                      </a:lnTo>
                      <a:lnTo>
                        <a:pt x="279" y="298"/>
                      </a:lnTo>
                      <a:lnTo>
                        <a:pt x="279" y="295"/>
                      </a:lnTo>
                      <a:lnTo>
                        <a:pt x="276" y="293"/>
                      </a:lnTo>
                      <a:lnTo>
                        <a:pt x="274" y="290"/>
                      </a:lnTo>
                      <a:lnTo>
                        <a:pt x="273" y="287"/>
                      </a:lnTo>
                      <a:lnTo>
                        <a:pt x="270" y="283"/>
                      </a:lnTo>
                      <a:lnTo>
                        <a:pt x="268" y="282"/>
                      </a:lnTo>
                      <a:lnTo>
                        <a:pt x="273" y="280"/>
                      </a:lnTo>
                      <a:lnTo>
                        <a:pt x="276" y="280"/>
                      </a:lnTo>
                      <a:lnTo>
                        <a:pt x="279" y="282"/>
                      </a:lnTo>
                      <a:lnTo>
                        <a:pt x="282" y="282"/>
                      </a:lnTo>
                      <a:lnTo>
                        <a:pt x="285" y="279"/>
                      </a:lnTo>
                      <a:lnTo>
                        <a:pt x="282" y="280"/>
                      </a:lnTo>
                      <a:lnTo>
                        <a:pt x="279" y="280"/>
                      </a:lnTo>
                      <a:lnTo>
                        <a:pt x="276" y="279"/>
                      </a:lnTo>
                      <a:lnTo>
                        <a:pt x="273" y="279"/>
                      </a:lnTo>
                      <a:lnTo>
                        <a:pt x="270" y="277"/>
                      </a:lnTo>
                      <a:lnTo>
                        <a:pt x="266" y="272"/>
                      </a:lnTo>
                      <a:lnTo>
                        <a:pt x="263" y="269"/>
                      </a:lnTo>
                      <a:lnTo>
                        <a:pt x="266" y="268"/>
                      </a:lnTo>
                      <a:lnTo>
                        <a:pt x="270" y="268"/>
                      </a:lnTo>
                      <a:lnTo>
                        <a:pt x="273" y="266"/>
                      </a:lnTo>
                      <a:lnTo>
                        <a:pt x="278" y="266"/>
                      </a:lnTo>
                      <a:lnTo>
                        <a:pt x="281" y="269"/>
                      </a:lnTo>
                      <a:lnTo>
                        <a:pt x="284" y="271"/>
                      </a:lnTo>
                      <a:lnTo>
                        <a:pt x="285" y="271"/>
                      </a:lnTo>
                      <a:lnTo>
                        <a:pt x="282" y="269"/>
                      </a:lnTo>
                      <a:lnTo>
                        <a:pt x="278" y="266"/>
                      </a:lnTo>
                      <a:lnTo>
                        <a:pt x="274" y="264"/>
                      </a:lnTo>
                      <a:lnTo>
                        <a:pt x="268" y="261"/>
                      </a:lnTo>
                      <a:lnTo>
                        <a:pt x="271" y="260"/>
                      </a:lnTo>
                      <a:lnTo>
                        <a:pt x="268" y="257"/>
                      </a:lnTo>
                      <a:lnTo>
                        <a:pt x="265" y="253"/>
                      </a:lnTo>
                      <a:lnTo>
                        <a:pt x="262" y="249"/>
                      </a:lnTo>
                      <a:lnTo>
                        <a:pt x="260" y="245"/>
                      </a:lnTo>
                      <a:lnTo>
                        <a:pt x="259" y="242"/>
                      </a:lnTo>
                      <a:lnTo>
                        <a:pt x="259" y="239"/>
                      </a:lnTo>
                      <a:lnTo>
                        <a:pt x="259" y="236"/>
                      </a:lnTo>
                      <a:lnTo>
                        <a:pt x="257" y="233"/>
                      </a:lnTo>
                      <a:lnTo>
                        <a:pt x="255" y="231"/>
                      </a:lnTo>
                      <a:lnTo>
                        <a:pt x="254" y="228"/>
                      </a:lnTo>
                      <a:lnTo>
                        <a:pt x="259" y="225"/>
                      </a:lnTo>
                      <a:lnTo>
                        <a:pt x="260" y="225"/>
                      </a:lnTo>
                      <a:lnTo>
                        <a:pt x="257" y="225"/>
                      </a:lnTo>
                      <a:lnTo>
                        <a:pt x="254" y="225"/>
                      </a:lnTo>
                      <a:lnTo>
                        <a:pt x="254" y="220"/>
                      </a:lnTo>
                      <a:lnTo>
                        <a:pt x="257" y="218"/>
                      </a:lnTo>
                      <a:lnTo>
                        <a:pt x="259" y="218"/>
                      </a:lnTo>
                      <a:lnTo>
                        <a:pt x="255" y="218"/>
                      </a:lnTo>
                      <a:lnTo>
                        <a:pt x="252" y="220"/>
                      </a:lnTo>
                      <a:lnTo>
                        <a:pt x="249" y="220"/>
                      </a:lnTo>
                      <a:lnTo>
                        <a:pt x="247" y="218"/>
                      </a:lnTo>
                      <a:lnTo>
                        <a:pt x="247" y="215"/>
                      </a:lnTo>
                      <a:lnTo>
                        <a:pt x="249" y="212"/>
                      </a:lnTo>
                      <a:lnTo>
                        <a:pt x="249" y="209"/>
                      </a:lnTo>
                      <a:lnTo>
                        <a:pt x="249" y="207"/>
                      </a:lnTo>
                      <a:lnTo>
                        <a:pt x="247" y="211"/>
                      </a:lnTo>
                      <a:lnTo>
                        <a:pt x="244" y="207"/>
                      </a:lnTo>
                      <a:lnTo>
                        <a:pt x="241" y="206"/>
                      </a:lnTo>
                      <a:lnTo>
                        <a:pt x="239" y="201"/>
                      </a:lnTo>
                      <a:lnTo>
                        <a:pt x="236" y="199"/>
                      </a:lnTo>
                      <a:lnTo>
                        <a:pt x="232" y="198"/>
                      </a:lnTo>
                      <a:lnTo>
                        <a:pt x="232" y="195"/>
                      </a:lnTo>
                      <a:lnTo>
                        <a:pt x="228" y="196"/>
                      </a:lnTo>
                      <a:lnTo>
                        <a:pt x="228" y="195"/>
                      </a:lnTo>
                      <a:lnTo>
                        <a:pt x="224" y="193"/>
                      </a:lnTo>
                      <a:lnTo>
                        <a:pt x="220" y="191"/>
                      </a:lnTo>
                      <a:lnTo>
                        <a:pt x="217" y="190"/>
                      </a:lnTo>
                      <a:lnTo>
                        <a:pt x="216" y="187"/>
                      </a:lnTo>
                      <a:lnTo>
                        <a:pt x="211" y="188"/>
                      </a:lnTo>
                      <a:lnTo>
                        <a:pt x="208" y="187"/>
                      </a:lnTo>
                      <a:lnTo>
                        <a:pt x="206" y="187"/>
                      </a:lnTo>
                      <a:lnTo>
                        <a:pt x="197" y="182"/>
                      </a:lnTo>
                      <a:lnTo>
                        <a:pt x="189" y="177"/>
                      </a:lnTo>
                      <a:lnTo>
                        <a:pt x="184" y="177"/>
                      </a:lnTo>
                      <a:lnTo>
                        <a:pt x="181" y="174"/>
                      </a:lnTo>
                      <a:lnTo>
                        <a:pt x="178" y="174"/>
                      </a:lnTo>
                      <a:lnTo>
                        <a:pt x="174" y="171"/>
                      </a:lnTo>
                      <a:lnTo>
                        <a:pt x="171" y="169"/>
                      </a:lnTo>
                      <a:lnTo>
                        <a:pt x="168" y="169"/>
                      </a:lnTo>
                      <a:lnTo>
                        <a:pt x="165" y="169"/>
                      </a:lnTo>
                      <a:lnTo>
                        <a:pt x="151" y="168"/>
                      </a:lnTo>
                      <a:lnTo>
                        <a:pt x="141" y="165"/>
                      </a:lnTo>
                      <a:lnTo>
                        <a:pt x="138" y="161"/>
                      </a:lnTo>
                      <a:lnTo>
                        <a:pt x="135" y="160"/>
                      </a:lnTo>
                      <a:lnTo>
                        <a:pt x="135" y="160"/>
                      </a:lnTo>
                      <a:lnTo>
                        <a:pt x="132" y="157"/>
                      </a:lnTo>
                      <a:lnTo>
                        <a:pt x="128" y="153"/>
                      </a:lnTo>
                      <a:lnTo>
                        <a:pt x="130" y="149"/>
                      </a:lnTo>
                      <a:lnTo>
                        <a:pt x="133" y="147"/>
                      </a:lnTo>
                      <a:lnTo>
                        <a:pt x="136" y="147"/>
                      </a:lnTo>
                      <a:lnTo>
                        <a:pt x="136" y="149"/>
                      </a:lnTo>
                      <a:lnTo>
                        <a:pt x="140" y="147"/>
                      </a:lnTo>
                      <a:lnTo>
                        <a:pt x="132" y="146"/>
                      </a:lnTo>
                      <a:lnTo>
                        <a:pt x="130" y="146"/>
                      </a:lnTo>
                      <a:lnTo>
                        <a:pt x="128" y="149"/>
                      </a:lnTo>
                      <a:lnTo>
                        <a:pt x="124" y="150"/>
                      </a:lnTo>
                      <a:lnTo>
                        <a:pt x="122" y="147"/>
                      </a:lnTo>
                      <a:lnTo>
                        <a:pt x="119" y="146"/>
                      </a:lnTo>
                      <a:lnTo>
                        <a:pt x="117" y="149"/>
                      </a:lnTo>
                      <a:lnTo>
                        <a:pt x="114" y="149"/>
                      </a:lnTo>
                      <a:lnTo>
                        <a:pt x="111" y="146"/>
                      </a:lnTo>
                      <a:lnTo>
                        <a:pt x="113" y="142"/>
                      </a:lnTo>
                      <a:lnTo>
                        <a:pt x="109" y="142"/>
                      </a:lnTo>
                      <a:lnTo>
                        <a:pt x="105" y="142"/>
                      </a:lnTo>
                      <a:lnTo>
                        <a:pt x="103" y="139"/>
                      </a:lnTo>
                      <a:lnTo>
                        <a:pt x="102" y="136"/>
                      </a:lnTo>
                      <a:lnTo>
                        <a:pt x="100" y="133"/>
                      </a:lnTo>
                      <a:lnTo>
                        <a:pt x="98" y="136"/>
                      </a:lnTo>
                      <a:lnTo>
                        <a:pt x="95" y="136"/>
                      </a:lnTo>
                      <a:lnTo>
                        <a:pt x="95" y="133"/>
                      </a:lnTo>
                      <a:lnTo>
                        <a:pt x="94" y="130"/>
                      </a:lnTo>
                      <a:lnTo>
                        <a:pt x="95" y="126"/>
                      </a:lnTo>
                      <a:lnTo>
                        <a:pt x="95" y="122"/>
                      </a:lnTo>
                      <a:lnTo>
                        <a:pt x="95" y="119"/>
                      </a:lnTo>
                      <a:lnTo>
                        <a:pt x="98" y="117"/>
                      </a:lnTo>
                      <a:lnTo>
                        <a:pt x="102" y="112"/>
                      </a:lnTo>
                      <a:lnTo>
                        <a:pt x="102" y="109"/>
                      </a:lnTo>
                      <a:lnTo>
                        <a:pt x="102" y="106"/>
                      </a:lnTo>
                      <a:lnTo>
                        <a:pt x="100" y="109"/>
                      </a:lnTo>
                      <a:lnTo>
                        <a:pt x="97" y="112"/>
                      </a:lnTo>
                      <a:lnTo>
                        <a:pt x="94" y="115"/>
                      </a:lnTo>
                      <a:lnTo>
                        <a:pt x="94" y="122"/>
                      </a:lnTo>
                      <a:lnTo>
                        <a:pt x="92" y="126"/>
                      </a:lnTo>
                      <a:lnTo>
                        <a:pt x="89" y="126"/>
                      </a:lnTo>
                      <a:lnTo>
                        <a:pt x="90" y="128"/>
                      </a:lnTo>
                      <a:lnTo>
                        <a:pt x="90" y="131"/>
                      </a:lnTo>
                      <a:lnTo>
                        <a:pt x="87" y="134"/>
                      </a:lnTo>
                      <a:lnTo>
                        <a:pt x="84" y="138"/>
                      </a:lnTo>
                      <a:lnTo>
                        <a:pt x="84" y="141"/>
                      </a:lnTo>
                      <a:lnTo>
                        <a:pt x="84" y="146"/>
                      </a:lnTo>
                      <a:lnTo>
                        <a:pt x="81" y="149"/>
                      </a:lnTo>
                      <a:lnTo>
                        <a:pt x="78" y="152"/>
                      </a:lnTo>
                      <a:lnTo>
                        <a:pt x="75" y="152"/>
                      </a:lnTo>
                      <a:lnTo>
                        <a:pt x="71" y="152"/>
                      </a:lnTo>
                      <a:lnTo>
                        <a:pt x="68" y="153"/>
                      </a:lnTo>
                      <a:lnTo>
                        <a:pt x="62" y="147"/>
                      </a:lnTo>
                      <a:lnTo>
                        <a:pt x="62" y="146"/>
                      </a:lnTo>
                      <a:lnTo>
                        <a:pt x="62" y="144"/>
                      </a:lnTo>
                      <a:lnTo>
                        <a:pt x="60" y="136"/>
                      </a:lnTo>
                      <a:lnTo>
                        <a:pt x="63" y="134"/>
                      </a:lnTo>
                      <a:lnTo>
                        <a:pt x="67" y="131"/>
                      </a:lnTo>
                      <a:lnTo>
                        <a:pt x="67" y="128"/>
                      </a:lnTo>
                      <a:lnTo>
                        <a:pt x="63" y="125"/>
                      </a:lnTo>
                      <a:lnTo>
                        <a:pt x="63" y="122"/>
                      </a:lnTo>
                      <a:lnTo>
                        <a:pt x="60" y="122"/>
                      </a:lnTo>
                      <a:lnTo>
                        <a:pt x="57" y="119"/>
                      </a:lnTo>
                      <a:lnTo>
                        <a:pt x="56" y="115"/>
                      </a:lnTo>
                      <a:lnTo>
                        <a:pt x="54" y="112"/>
                      </a:lnTo>
                      <a:lnTo>
                        <a:pt x="51" y="109"/>
                      </a:lnTo>
                      <a:lnTo>
                        <a:pt x="48" y="107"/>
                      </a:lnTo>
                      <a:lnTo>
                        <a:pt x="44" y="106"/>
                      </a:lnTo>
                      <a:lnTo>
                        <a:pt x="40" y="106"/>
                      </a:lnTo>
                      <a:lnTo>
                        <a:pt x="36" y="106"/>
                      </a:lnTo>
                      <a:lnTo>
                        <a:pt x="35" y="103"/>
                      </a:lnTo>
                      <a:lnTo>
                        <a:pt x="35" y="98"/>
                      </a:lnTo>
                      <a:lnTo>
                        <a:pt x="40" y="98"/>
                      </a:lnTo>
                      <a:lnTo>
                        <a:pt x="43" y="95"/>
                      </a:lnTo>
                      <a:lnTo>
                        <a:pt x="46" y="95"/>
                      </a:lnTo>
                      <a:lnTo>
                        <a:pt x="49" y="96"/>
                      </a:lnTo>
                      <a:lnTo>
                        <a:pt x="52" y="96"/>
                      </a:lnTo>
                      <a:lnTo>
                        <a:pt x="56" y="98"/>
                      </a:lnTo>
                      <a:lnTo>
                        <a:pt x="60" y="100"/>
                      </a:lnTo>
                      <a:lnTo>
                        <a:pt x="63" y="100"/>
                      </a:lnTo>
                      <a:lnTo>
                        <a:pt x="65" y="98"/>
                      </a:lnTo>
                      <a:lnTo>
                        <a:pt x="68" y="93"/>
                      </a:lnTo>
                      <a:lnTo>
                        <a:pt x="70" y="90"/>
                      </a:lnTo>
                      <a:lnTo>
                        <a:pt x="73" y="87"/>
                      </a:lnTo>
                      <a:lnTo>
                        <a:pt x="78" y="85"/>
                      </a:lnTo>
                      <a:lnTo>
                        <a:pt x="81" y="85"/>
                      </a:lnTo>
                      <a:lnTo>
                        <a:pt x="82" y="88"/>
                      </a:lnTo>
                      <a:lnTo>
                        <a:pt x="86" y="92"/>
                      </a:lnTo>
                      <a:lnTo>
                        <a:pt x="86" y="95"/>
                      </a:lnTo>
                      <a:lnTo>
                        <a:pt x="86" y="92"/>
                      </a:lnTo>
                      <a:lnTo>
                        <a:pt x="87" y="88"/>
                      </a:lnTo>
                      <a:lnTo>
                        <a:pt x="87" y="92"/>
                      </a:lnTo>
                      <a:lnTo>
                        <a:pt x="92" y="90"/>
                      </a:lnTo>
                      <a:lnTo>
                        <a:pt x="95" y="90"/>
                      </a:lnTo>
                      <a:lnTo>
                        <a:pt x="95" y="93"/>
                      </a:lnTo>
                      <a:lnTo>
                        <a:pt x="97" y="90"/>
                      </a:lnTo>
                      <a:lnTo>
                        <a:pt x="100" y="95"/>
                      </a:lnTo>
                      <a:lnTo>
                        <a:pt x="102" y="90"/>
                      </a:lnTo>
                      <a:lnTo>
                        <a:pt x="102" y="87"/>
                      </a:lnTo>
                      <a:lnTo>
                        <a:pt x="100" y="85"/>
                      </a:lnTo>
                      <a:lnTo>
                        <a:pt x="103" y="85"/>
                      </a:lnTo>
                      <a:lnTo>
                        <a:pt x="106" y="84"/>
                      </a:lnTo>
                      <a:lnTo>
                        <a:pt x="105" y="80"/>
                      </a:lnTo>
                      <a:lnTo>
                        <a:pt x="106" y="77"/>
                      </a:lnTo>
                      <a:lnTo>
                        <a:pt x="103" y="79"/>
                      </a:lnTo>
                      <a:lnTo>
                        <a:pt x="103" y="76"/>
                      </a:lnTo>
                      <a:lnTo>
                        <a:pt x="106" y="73"/>
                      </a:lnTo>
                      <a:lnTo>
                        <a:pt x="100" y="74"/>
                      </a:lnTo>
                      <a:lnTo>
                        <a:pt x="95" y="76"/>
                      </a:lnTo>
                      <a:lnTo>
                        <a:pt x="90" y="77"/>
                      </a:lnTo>
                      <a:lnTo>
                        <a:pt x="82" y="76"/>
                      </a:lnTo>
                      <a:lnTo>
                        <a:pt x="79" y="76"/>
                      </a:lnTo>
                      <a:lnTo>
                        <a:pt x="76" y="77"/>
                      </a:lnTo>
                      <a:lnTo>
                        <a:pt x="73" y="77"/>
                      </a:lnTo>
                      <a:lnTo>
                        <a:pt x="70" y="79"/>
                      </a:lnTo>
                      <a:lnTo>
                        <a:pt x="67" y="77"/>
                      </a:lnTo>
                      <a:lnTo>
                        <a:pt x="63" y="79"/>
                      </a:lnTo>
                      <a:lnTo>
                        <a:pt x="59" y="79"/>
                      </a:lnTo>
                      <a:lnTo>
                        <a:pt x="59" y="79"/>
                      </a:lnTo>
                      <a:lnTo>
                        <a:pt x="57" y="76"/>
                      </a:lnTo>
                      <a:lnTo>
                        <a:pt x="54" y="76"/>
                      </a:lnTo>
                      <a:lnTo>
                        <a:pt x="51" y="77"/>
                      </a:lnTo>
                      <a:lnTo>
                        <a:pt x="46" y="79"/>
                      </a:lnTo>
                      <a:lnTo>
                        <a:pt x="44" y="76"/>
                      </a:lnTo>
                      <a:lnTo>
                        <a:pt x="41" y="74"/>
                      </a:lnTo>
                      <a:lnTo>
                        <a:pt x="36" y="71"/>
                      </a:lnTo>
                      <a:lnTo>
                        <a:pt x="40" y="68"/>
                      </a:lnTo>
                      <a:lnTo>
                        <a:pt x="36" y="68"/>
                      </a:lnTo>
                      <a:lnTo>
                        <a:pt x="35" y="63"/>
                      </a:lnTo>
                      <a:lnTo>
                        <a:pt x="33" y="60"/>
                      </a:lnTo>
                      <a:lnTo>
                        <a:pt x="36" y="57"/>
                      </a:lnTo>
                      <a:lnTo>
                        <a:pt x="36" y="55"/>
                      </a:lnTo>
                      <a:lnTo>
                        <a:pt x="32" y="54"/>
                      </a:lnTo>
                      <a:lnTo>
                        <a:pt x="33" y="50"/>
                      </a:lnTo>
                      <a:lnTo>
                        <a:pt x="30" y="52"/>
                      </a:lnTo>
                      <a:lnTo>
                        <a:pt x="30" y="47"/>
                      </a:lnTo>
                      <a:lnTo>
                        <a:pt x="25" y="50"/>
                      </a:lnTo>
                      <a:lnTo>
                        <a:pt x="22" y="47"/>
                      </a:lnTo>
                      <a:lnTo>
                        <a:pt x="19" y="46"/>
                      </a:lnTo>
                      <a:lnTo>
                        <a:pt x="16" y="47"/>
                      </a:lnTo>
                      <a:lnTo>
                        <a:pt x="14" y="42"/>
                      </a:lnTo>
                      <a:lnTo>
                        <a:pt x="11" y="42"/>
                      </a:lnTo>
                      <a:lnTo>
                        <a:pt x="13" y="46"/>
                      </a:lnTo>
                      <a:lnTo>
                        <a:pt x="8" y="47"/>
                      </a:lnTo>
                      <a:lnTo>
                        <a:pt x="5" y="46"/>
                      </a:lnTo>
                      <a:lnTo>
                        <a:pt x="2" y="46"/>
                      </a:lnTo>
                      <a:lnTo>
                        <a:pt x="0" y="42"/>
                      </a:lnTo>
                      <a:lnTo>
                        <a:pt x="2" y="38"/>
                      </a:lnTo>
                      <a:lnTo>
                        <a:pt x="5" y="36"/>
                      </a:lnTo>
                      <a:lnTo>
                        <a:pt x="8" y="33"/>
                      </a:lnTo>
                      <a:lnTo>
                        <a:pt x="10" y="30"/>
                      </a:lnTo>
                      <a:lnTo>
                        <a:pt x="11" y="27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31" name="Freeform 122"/>
                <p:cNvSpPr>
                  <a:spLocks/>
                </p:cNvSpPr>
                <p:nvPr/>
              </p:nvSpPr>
              <p:spPr bwMode="auto">
                <a:xfrm>
                  <a:off x="5017" y="2601"/>
                  <a:ext cx="12" cy="19"/>
                </a:xfrm>
                <a:custGeom>
                  <a:avLst/>
                  <a:gdLst>
                    <a:gd name="T0" fmla="*/ 3 w 23"/>
                    <a:gd name="T1" fmla="*/ 26 h 38"/>
                    <a:gd name="T2" fmla="*/ 4 w 23"/>
                    <a:gd name="T3" fmla="*/ 29 h 38"/>
                    <a:gd name="T4" fmla="*/ 6 w 23"/>
                    <a:gd name="T5" fmla="*/ 32 h 38"/>
                    <a:gd name="T6" fmla="*/ 6 w 23"/>
                    <a:gd name="T7" fmla="*/ 32 h 38"/>
                    <a:gd name="T8" fmla="*/ 6 w 23"/>
                    <a:gd name="T9" fmla="*/ 30 h 38"/>
                    <a:gd name="T10" fmla="*/ 9 w 23"/>
                    <a:gd name="T11" fmla="*/ 26 h 38"/>
                    <a:gd name="T12" fmla="*/ 8 w 23"/>
                    <a:gd name="T13" fmla="*/ 23 h 38"/>
                    <a:gd name="T14" fmla="*/ 8 w 23"/>
                    <a:gd name="T15" fmla="*/ 19 h 38"/>
                    <a:gd name="T16" fmla="*/ 9 w 23"/>
                    <a:gd name="T17" fmla="*/ 16 h 38"/>
                    <a:gd name="T18" fmla="*/ 6 w 23"/>
                    <a:gd name="T19" fmla="*/ 15 h 38"/>
                    <a:gd name="T20" fmla="*/ 6 w 23"/>
                    <a:gd name="T21" fmla="*/ 11 h 38"/>
                    <a:gd name="T22" fmla="*/ 9 w 23"/>
                    <a:gd name="T23" fmla="*/ 11 h 38"/>
                    <a:gd name="T24" fmla="*/ 11 w 23"/>
                    <a:gd name="T25" fmla="*/ 8 h 38"/>
                    <a:gd name="T26" fmla="*/ 16 w 23"/>
                    <a:gd name="T27" fmla="*/ 5 h 38"/>
                    <a:gd name="T28" fmla="*/ 16 w 23"/>
                    <a:gd name="T29" fmla="*/ 0 h 38"/>
                    <a:gd name="T30" fmla="*/ 17 w 23"/>
                    <a:gd name="T31" fmla="*/ 0 h 38"/>
                    <a:gd name="T32" fmla="*/ 20 w 23"/>
                    <a:gd name="T33" fmla="*/ 4 h 38"/>
                    <a:gd name="T34" fmla="*/ 20 w 23"/>
                    <a:gd name="T35" fmla="*/ 7 h 38"/>
                    <a:gd name="T36" fmla="*/ 23 w 23"/>
                    <a:gd name="T37" fmla="*/ 10 h 38"/>
                    <a:gd name="T38" fmla="*/ 22 w 23"/>
                    <a:gd name="T39" fmla="*/ 13 h 38"/>
                    <a:gd name="T40" fmla="*/ 22 w 23"/>
                    <a:gd name="T41" fmla="*/ 18 h 38"/>
                    <a:gd name="T42" fmla="*/ 20 w 23"/>
                    <a:gd name="T43" fmla="*/ 21 h 38"/>
                    <a:gd name="T44" fmla="*/ 20 w 23"/>
                    <a:gd name="T45" fmla="*/ 24 h 38"/>
                    <a:gd name="T46" fmla="*/ 22 w 23"/>
                    <a:gd name="T47" fmla="*/ 26 h 38"/>
                    <a:gd name="T48" fmla="*/ 23 w 23"/>
                    <a:gd name="T49" fmla="*/ 29 h 38"/>
                    <a:gd name="T50" fmla="*/ 22 w 23"/>
                    <a:gd name="T51" fmla="*/ 32 h 38"/>
                    <a:gd name="T52" fmla="*/ 20 w 23"/>
                    <a:gd name="T53" fmla="*/ 37 h 38"/>
                    <a:gd name="T54" fmla="*/ 17 w 23"/>
                    <a:gd name="T55" fmla="*/ 38 h 38"/>
                    <a:gd name="T56" fmla="*/ 14 w 23"/>
                    <a:gd name="T57" fmla="*/ 37 h 38"/>
                    <a:gd name="T58" fmla="*/ 11 w 23"/>
                    <a:gd name="T59" fmla="*/ 35 h 38"/>
                    <a:gd name="T60" fmla="*/ 11 w 23"/>
                    <a:gd name="T61" fmla="*/ 35 h 38"/>
                    <a:gd name="T62" fmla="*/ 8 w 23"/>
                    <a:gd name="T63" fmla="*/ 34 h 38"/>
                    <a:gd name="T64" fmla="*/ 9 w 23"/>
                    <a:gd name="T65" fmla="*/ 35 h 38"/>
                    <a:gd name="T66" fmla="*/ 6 w 23"/>
                    <a:gd name="T67" fmla="*/ 37 h 38"/>
                    <a:gd name="T68" fmla="*/ 0 w 23"/>
                    <a:gd name="T69" fmla="*/ 29 h 38"/>
                    <a:gd name="T70" fmla="*/ 0 w 23"/>
                    <a:gd name="T71" fmla="*/ 26 h 38"/>
                    <a:gd name="T72" fmla="*/ 3 w 23"/>
                    <a:gd name="T73" fmla="*/ 26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23" h="38">
                      <a:moveTo>
                        <a:pt x="3" y="26"/>
                      </a:moveTo>
                      <a:lnTo>
                        <a:pt x="4" y="29"/>
                      </a:lnTo>
                      <a:lnTo>
                        <a:pt x="6" y="32"/>
                      </a:lnTo>
                      <a:lnTo>
                        <a:pt x="6" y="32"/>
                      </a:lnTo>
                      <a:lnTo>
                        <a:pt x="6" y="30"/>
                      </a:lnTo>
                      <a:lnTo>
                        <a:pt x="9" y="26"/>
                      </a:lnTo>
                      <a:lnTo>
                        <a:pt x="8" y="23"/>
                      </a:lnTo>
                      <a:lnTo>
                        <a:pt x="8" y="19"/>
                      </a:lnTo>
                      <a:lnTo>
                        <a:pt x="9" y="16"/>
                      </a:lnTo>
                      <a:lnTo>
                        <a:pt x="6" y="15"/>
                      </a:lnTo>
                      <a:lnTo>
                        <a:pt x="6" y="11"/>
                      </a:lnTo>
                      <a:lnTo>
                        <a:pt x="9" y="11"/>
                      </a:lnTo>
                      <a:lnTo>
                        <a:pt x="11" y="8"/>
                      </a:lnTo>
                      <a:lnTo>
                        <a:pt x="16" y="5"/>
                      </a:lnTo>
                      <a:lnTo>
                        <a:pt x="16" y="0"/>
                      </a:lnTo>
                      <a:lnTo>
                        <a:pt x="17" y="0"/>
                      </a:lnTo>
                      <a:lnTo>
                        <a:pt x="20" y="4"/>
                      </a:lnTo>
                      <a:lnTo>
                        <a:pt x="20" y="7"/>
                      </a:lnTo>
                      <a:lnTo>
                        <a:pt x="23" y="10"/>
                      </a:lnTo>
                      <a:lnTo>
                        <a:pt x="22" y="13"/>
                      </a:lnTo>
                      <a:lnTo>
                        <a:pt x="22" y="18"/>
                      </a:lnTo>
                      <a:lnTo>
                        <a:pt x="20" y="21"/>
                      </a:lnTo>
                      <a:lnTo>
                        <a:pt x="20" y="24"/>
                      </a:lnTo>
                      <a:lnTo>
                        <a:pt x="22" y="26"/>
                      </a:lnTo>
                      <a:lnTo>
                        <a:pt x="23" y="29"/>
                      </a:lnTo>
                      <a:lnTo>
                        <a:pt x="22" y="32"/>
                      </a:lnTo>
                      <a:lnTo>
                        <a:pt x="20" y="37"/>
                      </a:lnTo>
                      <a:lnTo>
                        <a:pt x="17" y="38"/>
                      </a:lnTo>
                      <a:lnTo>
                        <a:pt x="14" y="37"/>
                      </a:lnTo>
                      <a:lnTo>
                        <a:pt x="11" y="35"/>
                      </a:lnTo>
                      <a:lnTo>
                        <a:pt x="11" y="35"/>
                      </a:lnTo>
                      <a:lnTo>
                        <a:pt x="8" y="34"/>
                      </a:lnTo>
                      <a:lnTo>
                        <a:pt x="9" y="35"/>
                      </a:lnTo>
                      <a:lnTo>
                        <a:pt x="6" y="37"/>
                      </a:lnTo>
                      <a:lnTo>
                        <a:pt x="0" y="29"/>
                      </a:lnTo>
                      <a:lnTo>
                        <a:pt x="0" y="26"/>
                      </a:lnTo>
                      <a:lnTo>
                        <a:pt x="3" y="26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32" name="Freeform 123"/>
                <p:cNvSpPr>
                  <a:spLocks/>
                </p:cNvSpPr>
                <p:nvPr/>
              </p:nvSpPr>
              <p:spPr bwMode="auto">
                <a:xfrm>
                  <a:off x="4829" y="2678"/>
                  <a:ext cx="11" cy="7"/>
                </a:xfrm>
                <a:custGeom>
                  <a:avLst/>
                  <a:gdLst>
                    <a:gd name="T0" fmla="*/ 0 w 20"/>
                    <a:gd name="T1" fmla="*/ 10 h 14"/>
                    <a:gd name="T2" fmla="*/ 9 w 20"/>
                    <a:gd name="T3" fmla="*/ 3 h 14"/>
                    <a:gd name="T4" fmla="*/ 20 w 20"/>
                    <a:gd name="T5" fmla="*/ 0 h 14"/>
                    <a:gd name="T6" fmla="*/ 19 w 20"/>
                    <a:gd name="T7" fmla="*/ 2 h 14"/>
                    <a:gd name="T8" fmla="*/ 20 w 20"/>
                    <a:gd name="T9" fmla="*/ 5 h 14"/>
                    <a:gd name="T10" fmla="*/ 19 w 20"/>
                    <a:gd name="T11" fmla="*/ 7 h 14"/>
                    <a:gd name="T12" fmla="*/ 14 w 20"/>
                    <a:gd name="T13" fmla="*/ 10 h 14"/>
                    <a:gd name="T14" fmla="*/ 14 w 20"/>
                    <a:gd name="T15" fmla="*/ 14 h 14"/>
                    <a:gd name="T16" fmla="*/ 11 w 20"/>
                    <a:gd name="T17" fmla="*/ 10 h 14"/>
                    <a:gd name="T18" fmla="*/ 8 w 20"/>
                    <a:gd name="T19" fmla="*/ 13 h 14"/>
                    <a:gd name="T20" fmla="*/ 5 w 20"/>
                    <a:gd name="T21" fmla="*/ 11 h 14"/>
                    <a:gd name="T22" fmla="*/ 1 w 20"/>
                    <a:gd name="T23" fmla="*/ 10 h 14"/>
                    <a:gd name="T24" fmla="*/ 0 w 20"/>
                    <a:gd name="T25" fmla="*/ 1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0" h="14">
                      <a:moveTo>
                        <a:pt x="0" y="10"/>
                      </a:moveTo>
                      <a:lnTo>
                        <a:pt x="9" y="3"/>
                      </a:lnTo>
                      <a:lnTo>
                        <a:pt x="20" y="0"/>
                      </a:lnTo>
                      <a:lnTo>
                        <a:pt x="19" y="2"/>
                      </a:lnTo>
                      <a:lnTo>
                        <a:pt x="20" y="5"/>
                      </a:lnTo>
                      <a:lnTo>
                        <a:pt x="19" y="7"/>
                      </a:lnTo>
                      <a:lnTo>
                        <a:pt x="14" y="10"/>
                      </a:lnTo>
                      <a:lnTo>
                        <a:pt x="14" y="14"/>
                      </a:lnTo>
                      <a:lnTo>
                        <a:pt x="11" y="10"/>
                      </a:lnTo>
                      <a:lnTo>
                        <a:pt x="8" y="13"/>
                      </a:lnTo>
                      <a:lnTo>
                        <a:pt x="5" y="11"/>
                      </a:lnTo>
                      <a:lnTo>
                        <a:pt x="1" y="10"/>
                      </a:lnTo>
                      <a:lnTo>
                        <a:pt x="0" y="10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33" name="Freeform 124"/>
                <p:cNvSpPr>
                  <a:spLocks/>
                </p:cNvSpPr>
                <p:nvPr/>
              </p:nvSpPr>
              <p:spPr bwMode="auto">
                <a:xfrm>
                  <a:off x="4805" y="2584"/>
                  <a:ext cx="9" cy="17"/>
                </a:xfrm>
                <a:custGeom>
                  <a:avLst/>
                  <a:gdLst>
                    <a:gd name="T0" fmla="*/ 9 w 19"/>
                    <a:gd name="T1" fmla="*/ 33 h 33"/>
                    <a:gd name="T2" fmla="*/ 11 w 19"/>
                    <a:gd name="T3" fmla="*/ 30 h 33"/>
                    <a:gd name="T4" fmla="*/ 14 w 19"/>
                    <a:gd name="T5" fmla="*/ 27 h 33"/>
                    <a:gd name="T6" fmla="*/ 11 w 19"/>
                    <a:gd name="T7" fmla="*/ 24 h 33"/>
                    <a:gd name="T8" fmla="*/ 12 w 19"/>
                    <a:gd name="T9" fmla="*/ 21 h 33"/>
                    <a:gd name="T10" fmla="*/ 15 w 19"/>
                    <a:gd name="T11" fmla="*/ 16 h 33"/>
                    <a:gd name="T12" fmla="*/ 19 w 19"/>
                    <a:gd name="T13" fmla="*/ 13 h 33"/>
                    <a:gd name="T14" fmla="*/ 17 w 19"/>
                    <a:gd name="T15" fmla="*/ 10 h 33"/>
                    <a:gd name="T16" fmla="*/ 17 w 19"/>
                    <a:gd name="T17" fmla="*/ 3 h 33"/>
                    <a:gd name="T18" fmla="*/ 17 w 19"/>
                    <a:gd name="T19" fmla="*/ 0 h 33"/>
                    <a:gd name="T20" fmla="*/ 12 w 19"/>
                    <a:gd name="T21" fmla="*/ 2 h 33"/>
                    <a:gd name="T22" fmla="*/ 9 w 19"/>
                    <a:gd name="T23" fmla="*/ 5 h 33"/>
                    <a:gd name="T24" fmla="*/ 6 w 19"/>
                    <a:gd name="T25" fmla="*/ 6 h 33"/>
                    <a:gd name="T26" fmla="*/ 3 w 19"/>
                    <a:gd name="T27" fmla="*/ 10 h 33"/>
                    <a:gd name="T28" fmla="*/ 3 w 19"/>
                    <a:gd name="T29" fmla="*/ 13 h 33"/>
                    <a:gd name="T30" fmla="*/ 4 w 19"/>
                    <a:gd name="T31" fmla="*/ 16 h 33"/>
                    <a:gd name="T32" fmla="*/ 4 w 19"/>
                    <a:gd name="T33" fmla="*/ 19 h 33"/>
                    <a:gd name="T34" fmla="*/ 1 w 19"/>
                    <a:gd name="T35" fmla="*/ 24 h 33"/>
                    <a:gd name="T36" fmla="*/ 1 w 19"/>
                    <a:gd name="T37" fmla="*/ 27 h 33"/>
                    <a:gd name="T38" fmla="*/ 0 w 19"/>
                    <a:gd name="T39" fmla="*/ 30 h 33"/>
                    <a:gd name="T40" fmla="*/ 3 w 19"/>
                    <a:gd name="T41" fmla="*/ 32 h 33"/>
                    <a:gd name="T42" fmla="*/ 6 w 19"/>
                    <a:gd name="T43" fmla="*/ 32 h 33"/>
                    <a:gd name="T44" fmla="*/ 8 w 19"/>
                    <a:gd name="T45" fmla="*/ 29 h 33"/>
                    <a:gd name="T46" fmla="*/ 9 w 19"/>
                    <a:gd name="T47" fmla="*/ 32 h 33"/>
                    <a:gd name="T48" fmla="*/ 9 w 19"/>
                    <a:gd name="T49" fmla="*/ 33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9" h="33">
                      <a:moveTo>
                        <a:pt x="9" y="33"/>
                      </a:moveTo>
                      <a:lnTo>
                        <a:pt x="11" y="30"/>
                      </a:lnTo>
                      <a:lnTo>
                        <a:pt x="14" y="27"/>
                      </a:lnTo>
                      <a:lnTo>
                        <a:pt x="11" y="24"/>
                      </a:lnTo>
                      <a:lnTo>
                        <a:pt x="12" y="21"/>
                      </a:lnTo>
                      <a:lnTo>
                        <a:pt x="15" y="16"/>
                      </a:lnTo>
                      <a:lnTo>
                        <a:pt x="19" y="13"/>
                      </a:lnTo>
                      <a:lnTo>
                        <a:pt x="17" y="10"/>
                      </a:lnTo>
                      <a:lnTo>
                        <a:pt x="17" y="3"/>
                      </a:lnTo>
                      <a:lnTo>
                        <a:pt x="17" y="0"/>
                      </a:lnTo>
                      <a:lnTo>
                        <a:pt x="12" y="2"/>
                      </a:lnTo>
                      <a:lnTo>
                        <a:pt x="9" y="5"/>
                      </a:lnTo>
                      <a:lnTo>
                        <a:pt x="6" y="6"/>
                      </a:lnTo>
                      <a:lnTo>
                        <a:pt x="3" y="10"/>
                      </a:lnTo>
                      <a:lnTo>
                        <a:pt x="3" y="13"/>
                      </a:lnTo>
                      <a:lnTo>
                        <a:pt x="4" y="16"/>
                      </a:lnTo>
                      <a:lnTo>
                        <a:pt x="4" y="19"/>
                      </a:lnTo>
                      <a:lnTo>
                        <a:pt x="1" y="24"/>
                      </a:lnTo>
                      <a:lnTo>
                        <a:pt x="1" y="27"/>
                      </a:lnTo>
                      <a:lnTo>
                        <a:pt x="0" y="30"/>
                      </a:lnTo>
                      <a:lnTo>
                        <a:pt x="3" y="32"/>
                      </a:lnTo>
                      <a:lnTo>
                        <a:pt x="6" y="32"/>
                      </a:lnTo>
                      <a:lnTo>
                        <a:pt x="8" y="29"/>
                      </a:lnTo>
                      <a:lnTo>
                        <a:pt x="9" y="32"/>
                      </a:lnTo>
                      <a:lnTo>
                        <a:pt x="9" y="33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34" name="Freeform 125"/>
                <p:cNvSpPr>
                  <a:spLocks/>
                </p:cNvSpPr>
                <p:nvPr/>
              </p:nvSpPr>
              <p:spPr bwMode="auto">
                <a:xfrm>
                  <a:off x="4818" y="2513"/>
                  <a:ext cx="13" cy="11"/>
                </a:xfrm>
                <a:custGeom>
                  <a:avLst/>
                  <a:gdLst>
                    <a:gd name="T0" fmla="*/ 14 w 27"/>
                    <a:gd name="T1" fmla="*/ 21 h 21"/>
                    <a:gd name="T2" fmla="*/ 14 w 27"/>
                    <a:gd name="T3" fmla="*/ 16 h 21"/>
                    <a:gd name="T4" fmla="*/ 16 w 27"/>
                    <a:gd name="T5" fmla="*/ 13 h 21"/>
                    <a:gd name="T6" fmla="*/ 19 w 27"/>
                    <a:gd name="T7" fmla="*/ 14 h 21"/>
                    <a:gd name="T8" fmla="*/ 22 w 27"/>
                    <a:gd name="T9" fmla="*/ 14 h 21"/>
                    <a:gd name="T10" fmla="*/ 25 w 27"/>
                    <a:gd name="T11" fmla="*/ 11 h 21"/>
                    <a:gd name="T12" fmla="*/ 27 w 27"/>
                    <a:gd name="T13" fmla="*/ 8 h 21"/>
                    <a:gd name="T14" fmla="*/ 24 w 27"/>
                    <a:gd name="T15" fmla="*/ 5 h 21"/>
                    <a:gd name="T16" fmla="*/ 21 w 27"/>
                    <a:gd name="T17" fmla="*/ 3 h 21"/>
                    <a:gd name="T18" fmla="*/ 17 w 27"/>
                    <a:gd name="T19" fmla="*/ 6 h 21"/>
                    <a:gd name="T20" fmla="*/ 14 w 27"/>
                    <a:gd name="T21" fmla="*/ 9 h 21"/>
                    <a:gd name="T22" fmla="*/ 14 w 27"/>
                    <a:gd name="T23" fmla="*/ 6 h 21"/>
                    <a:gd name="T24" fmla="*/ 14 w 27"/>
                    <a:gd name="T25" fmla="*/ 3 h 21"/>
                    <a:gd name="T26" fmla="*/ 11 w 27"/>
                    <a:gd name="T27" fmla="*/ 2 h 21"/>
                    <a:gd name="T28" fmla="*/ 6 w 27"/>
                    <a:gd name="T29" fmla="*/ 0 h 21"/>
                    <a:gd name="T30" fmla="*/ 3 w 27"/>
                    <a:gd name="T31" fmla="*/ 2 h 21"/>
                    <a:gd name="T32" fmla="*/ 2 w 27"/>
                    <a:gd name="T33" fmla="*/ 3 h 21"/>
                    <a:gd name="T34" fmla="*/ 0 w 27"/>
                    <a:gd name="T35" fmla="*/ 6 h 21"/>
                    <a:gd name="T36" fmla="*/ 0 w 27"/>
                    <a:gd name="T37" fmla="*/ 9 h 21"/>
                    <a:gd name="T38" fmla="*/ 0 w 27"/>
                    <a:gd name="T39" fmla="*/ 14 h 21"/>
                    <a:gd name="T40" fmla="*/ 2 w 27"/>
                    <a:gd name="T41" fmla="*/ 17 h 21"/>
                    <a:gd name="T42" fmla="*/ 5 w 27"/>
                    <a:gd name="T43" fmla="*/ 16 h 21"/>
                    <a:gd name="T44" fmla="*/ 8 w 27"/>
                    <a:gd name="T45" fmla="*/ 13 h 21"/>
                    <a:gd name="T46" fmla="*/ 10 w 27"/>
                    <a:gd name="T47" fmla="*/ 8 h 21"/>
                    <a:gd name="T48" fmla="*/ 13 w 27"/>
                    <a:gd name="T49" fmla="*/ 13 h 21"/>
                    <a:gd name="T50" fmla="*/ 13 w 27"/>
                    <a:gd name="T51" fmla="*/ 16 h 21"/>
                    <a:gd name="T52" fmla="*/ 13 w 27"/>
                    <a:gd name="T53" fmla="*/ 19 h 21"/>
                    <a:gd name="T54" fmla="*/ 14 w 27"/>
                    <a:gd name="T55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7" h="21">
                      <a:moveTo>
                        <a:pt x="14" y="21"/>
                      </a:moveTo>
                      <a:lnTo>
                        <a:pt x="14" y="16"/>
                      </a:lnTo>
                      <a:lnTo>
                        <a:pt x="16" y="13"/>
                      </a:lnTo>
                      <a:lnTo>
                        <a:pt x="19" y="14"/>
                      </a:lnTo>
                      <a:lnTo>
                        <a:pt x="22" y="14"/>
                      </a:lnTo>
                      <a:lnTo>
                        <a:pt x="25" y="11"/>
                      </a:lnTo>
                      <a:lnTo>
                        <a:pt x="27" y="8"/>
                      </a:lnTo>
                      <a:lnTo>
                        <a:pt x="24" y="5"/>
                      </a:lnTo>
                      <a:lnTo>
                        <a:pt x="21" y="3"/>
                      </a:lnTo>
                      <a:lnTo>
                        <a:pt x="17" y="6"/>
                      </a:lnTo>
                      <a:lnTo>
                        <a:pt x="14" y="9"/>
                      </a:lnTo>
                      <a:lnTo>
                        <a:pt x="14" y="6"/>
                      </a:lnTo>
                      <a:lnTo>
                        <a:pt x="14" y="3"/>
                      </a:lnTo>
                      <a:lnTo>
                        <a:pt x="11" y="2"/>
                      </a:lnTo>
                      <a:lnTo>
                        <a:pt x="6" y="0"/>
                      </a:lnTo>
                      <a:lnTo>
                        <a:pt x="3" y="2"/>
                      </a:lnTo>
                      <a:lnTo>
                        <a:pt x="2" y="3"/>
                      </a:lnTo>
                      <a:lnTo>
                        <a:pt x="0" y="6"/>
                      </a:lnTo>
                      <a:lnTo>
                        <a:pt x="0" y="9"/>
                      </a:lnTo>
                      <a:lnTo>
                        <a:pt x="0" y="14"/>
                      </a:lnTo>
                      <a:lnTo>
                        <a:pt x="2" y="17"/>
                      </a:lnTo>
                      <a:lnTo>
                        <a:pt x="5" y="16"/>
                      </a:lnTo>
                      <a:lnTo>
                        <a:pt x="8" y="13"/>
                      </a:lnTo>
                      <a:lnTo>
                        <a:pt x="10" y="8"/>
                      </a:lnTo>
                      <a:lnTo>
                        <a:pt x="13" y="13"/>
                      </a:lnTo>
                      <a:lnTo>
                        <a:pt x="13" y="16"/>
                      </a:lnTo>
                      <a:lnTo>
                        <a:pt x="13" y="19"/>
                      </a:lnTo>
                      <a:lnTo>
                        <a:pt x="14" y="21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35" name="Freeform 126"/>
                <p:cNvSpPr>
                  <a:spLocks/>
                </p:cNvSpPr>
                <p:nvPr/>
              </p:nvSpPr>
              <p:spPr bwMode="auto">
                <a:xfrm>
                  <a:off x="4820" y="2660"/>
                  <a:ext cx="71" cy="42"/>
                </a:xfrm>
                <a:custGeom>
                  <a:avLst/>
                  <a:gdLst>
                    <a:gd name="T0" fmla="*/ 5 w 143"/>
                    <a:gd name="T1" fmla="*/ 70 h 84"/>
                    <a:gd name="T2" fmla="*/ 8 w 143"/>
                    <a:gd name="T3" fmla="*/ 73 h 84"/>
                    <a:gd name="T4" fmla="*/ 0 w 143"/>
                    <a:gd name="T5" fmla="*/ 80 h 84"/>
                    <a:gd name="T6" fmla="*/ 8 w 143"/>
                    <a:gd name="T7" fmla="*/ 84 h 84"/>
                    <a:gd name="T8" fmla="*/ 20 w 143"/>
                    <a:gd name="T9" fmla="*/ 80 h 84"/>
                    <a:gd name="T10" fmla="*/ 27 w 143"/>
                    <a:gd name="T11" fmla="*/ 76 h 84"/>
                    <a:gd name="T12" fmla="*/ 33 w 143"/>
                    <a:gd name="T13" fmla="*/ 75 h 84"/>
                    <a:gd name="T14" fmla="*/ 39 w 143"/>
                    <a:gd name="T15" fmla="*/ 68 h 84"/>
                    <a:gd name="T16" fmla="*/ 46 w 143"/>
                    <a:gd name="T17" fmla="*/ 64 h 84"/>
                    <a:gd name="T18" fmla="*/ 52 w 143"/>
                    <a:gd name="T19" fmla="*/ 57 h 84"/>
                    <a:gd name="T20" fmla="*/ 55 w 143"/>
                    <a:gd name="T21" fmla="*/ 54 h 84"/>
                    <a:gd name="T22" fmla="*/ 60 w 143"/>
                    <a:gd name="T23" fmla="*/ 48 h 84"/>
                    <a:gd name="T24" fmla="*/ 60 w 143"/>
                    <a:gd name="T25" fmla="*/ 46 h 84"/>
                    <a:gd name="T26" fmla="*/ 71 w 143"/>
                    <a:gd name="T27" fmla="*/ 40 h 84"/>
                    <a:gd name="T28" fmla="*/ 85 w 143"/>
                    <a:gd name="T29" fmla="*/ 34 h 84"/>
                    <a:gd name="T30" fmla="*/ 93 w 143"/>
                    <a:gd name="T31" fmla="*/ 32 h 84"/>
                    <a:gd name="T32" fmla="*/ 100 w 143"/>
                    <a:gd name="T33" fmla="*/ 27 h 84"/>
                    <a:gd name="T34" fmla="*/ 114 w 143"/>
                    <a:gd name="T35" fmla="*/ 22 h 84"/>
                    <a:gd name="T36" fmla="*/ 128 w 143"/>
                    <a:gd name="T37" fmla="*/ 16 h 84"/>
                    <a:gd name="T38" fmla="*/ 135 w 143"/>
                    <a:gd name="T39" fmla="*/ 11 h 84"/>
                    <a:gd name="T40" fmla="*/ 141 w 143"/>
                    <a:gd name="T41" fmla="*/ 7 h 84"/>
                    <a:gd name="T42" fmla="*/ 139 w 143"/>
                    <a:gd name="T43" fmla="*/ 0 h 84"/>
                    <a:gd name="T44" fmla="*/ 133 w 143"/>
                    <a:gd name="T45" fmla="*/ 0 h 84"/>
                    <a:gd name="T46" fmla="*/ 125 w 143"/>
                    <a:gd name="T47" fmla="*/ 3 h 84"/>
                    <a:gd name="T48" fmla="*/ 119 w 143"/>
                    <a:gd name="T49" fmla="*/ 5 h 84"/>
                    <a:gd name="T50" fmla="*/ 112 w 143"/>
                    <a:gd name="T51" fmla="*/ 5 h 84"/>
                    <a:gd name="T52" fmla="*/ 104 w 143"/>
                    <a:gd name="T53" fmla="*/ 7 h 84"/>
                    <a:gd name="T54" fmla="*/ 95 w 143"/>
                    <a:gd name="T55" fmla="*/ 7 h 84"/>
                    <a:gd name="T56" fmla="*/ 73 w 143"/>
                    <a:gd name="T57" fmla="*/ 11 h 84"/>
                    <a:gd name="T58" fmla="*/ 63 w 143"/>
                    <a:gd name="T59" fmla="*/ 18 h 84"/>
                    <a:gd name="T60" fmla="*/ 58 w 143"/>
                    <a:gd name="T61" fmla="*/ 22 h 84"/>
                    <a:gd name="T62" fmla="*/ 54 w 143"/>
                    <a:gd name="T63" fmla="*/ 27 h 84"/>
                    <a:gd name="T64" fmla="*/ 44 w 143"/>
                    <a:gd name="T65" fmla="*/ 34 h 84"/>
                    <a:gd name="T66" fmla="*/ 33 w 143"/>
                    <a:gd name="T67" fmla="*/ 37 h 84"/>
                    <a:gd name="T68" fmla="*/ 25 w 143"/>
                    <a:gd name="T69" fmla="*/ 40 h 84"/>
                    <a:gd name="T70" fmla="*/ 19 w 143"/>
                    <a:gd name="T71" fmla="*/ 45 h 84"/>
                    <a:gd name="T72" fmla="*/ 8 w 143"/>
                    <a:gd name="T73" fmla="*/ 59 h 84"/>
                    <a:gd name="T74" fmla="*/ 5 w 143"/>
                    <a:gd name="T75" fmla="*/ 65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43" h="84">
                      <a:moveTo>
                        <a:pt x="5" y="68"/>
                      </a:moveTo>
                      <a:lnTo>
                        <a:pt x="5" y="70"/>
                      </a:lnTo>
                      <a:lnTo>
                        <a:pt x="8" y="70"/>
                      </a:lnTo>
                      <a:lnTo>
                        <a:pt x="8" y="73"/>
                      </a:lnTo>
                      <a:lnTo>
                        <a:pt x="1" y="76"/>
                      </a:lnTo>
                      <a:lnTo>
                        <a:pt x="0" y="80"/>
                      </a:lnTo>
                      <a:lnTo>
                        <a:pt x="0" y="84"/>
                      </a:lnTo>
                      <a:lnTo>
                        <a:pt x="8" y="84"/>
                      </a:lnTo>
                      <a:lnTo>
                        <a:pt x="17" y="81"/>
                      </a:lnTo>
                      <a:lnTo>
                        <a:pt x="20" y="80"/>
                      </a:lnTo>
                      <a:lnTo>
                        <a:pt x="24" y="76"/>
                      </a:lnTo>
                      <a:lnTo>
                        <a:pt x="27" y="76"/>
                      </a:lnTo>
                      <a:lnTo>
                        <a:pt x="30" y="76"/>
                      </a:lnTo>
                      <a:lnTo>
                        <a:pt x="33" y="75"/>
                      </a:lnTo>
                      <a:lnTo>
                        <a:pt x="38" y="72"/>
                      </a:lnTo>
                      <a:lnTo>
                        <a:pt x="39" y="68"/>
                      </a:lnTo>
                      <a:lnTo>
                        <a:pt x="43" y="67"/>
                      </a:lnTo>
                      <a:lnTo>
                        <a:pt x="46" y="64"/>
                      </a:lnTo>
                      <a:lnTo>
                        <a:pt x="49" y="61"/>
                      </a:lnTo>
                      <a:lnTo>
                        <a:pt x="52" y="57"/>
                      </a:lnTo>
                      <a:lnTo>
                        <a:pt x="55" y="54"/>
                      </a:lnTo>
                      <a:lnTo>
                        <a:pt x="55" y="54"/>
                      </a:lnTo>
                      <a:lnTo>
                        <a:pt x="55" y="49"/>
                      </a:lnTo>
                      <a:lnTo>
                        <a:pt x="60" y="48"/>
                      </a:lnTo>
                      <a:lnTo>
                        <a:pt x="60" y="48"/>
                      </a:lnTo>
                      <a:lnTo>
                        <a:pt x="60" y="46"/>
                      </a:lnTo>
                      <a:lnTo>
                        <a:pt x="62" y="46"/>
                      </a:lnTo>
                      <a:lnTo>
                        <a:pt x="71" y="40"/>
                      </a:lnTo>
                      <a:lnTo>
                        <a:pt x="82" y="35"/>
                      </a:lnTo>
                      <a:lnTo>
                        <a:pt x="85" y="34"/>
                      </a:lnTo>
                      <a:lnTo>
                        <a:pt x="89" y="34"/>
                      </a:lnTo>
                      <a:lnTo>
                        <a:pt x="93" y="32"/>
                      </a:lnTo>
                      <a:lnTo>
                        <a:pt x="97" y="30"/>
                      </a:lnTo>
                      <a:lnTo>
                        <a:pt x="100" y="27"/>
                      </a:lnTo>
                      <a:lnTo>
                        <a:pt x="103" y="27"/>
                      </a:lnTo>
                      <a:lnTo>
                        <a:pt x="114" y="22"/>
                      </a:lnTo>
                      <a:lnTo>
                        <a:pt x="123" y="18"/>
                      </a:lnTo>
                      <a:lnTo>
                        <a:pt x="128" y="16"/>
                      </a:lnTo>
                      <a:lnTo>
                        <a:pt x="131" y="15"/>
                      </a:lnTo>
                      <a:lnTo>
                        <a:pt x="135" y="11"/>
                      </a:lnTo>
                      <a:lnTo>
                        <a:pt x="138" y="10"/>
                      </a:lnTo>
                      <a:lnTo>
                        <a:pt x="141" y="7"/>
                      </a:lnTo>
                      <a:lnTo>
                        <a:pt x="143" y="3"/>
                      </a:lnTo>
                      <a:lnTo>
                        <a:pt x="139" y="0"/>
                      </a:lnTo>
                      <a:lnTo>
                        <a:pt x="136" y="2"/>
                      </a:lnTo>
                      <a:lnTo>
                        <a:pt x="133" y="0"/>
                      </a:lnTo>
                      <a:lnTo>
                        <a:pt x="130" y="0"/>
                      </a:lnTo>
                      <a:lnTo>
                        <a:pt x="125" y="3"/>
                      </a:lnTo>
                      <a:lnTo>
                        <a:pt x="122" y="3"/>
                      </a:lnTo>
                      <a:lnTo>
                        <a:pt x="119" y="5"/>
                      </a:lnTo>
                      <a:lnTo>
                        <a:pt x="116" y="7"/>
                      </a:lnTo>
                      <a:lnTo>
                        <a:pt x="112" y="5"/>
                      </a:lnTo>
                      <a:lnTo>
                        <a:pt x="108" y="5"/>
                      </a:lnTo>
                      <a:lnTo>
                        <a:pt x="104" y="7"/>
                      </a:lnTo>
                      <a:lnTo>
                        <a:pt x="101" y="7"/>
                      </a:lnTo>
                      <a:lnTo>
                        <a:pt x="95" y="7"/>
                      </a:lnTo>
                      <a:lnTo>
                        <a:pt x="84" y="8"/>
                      </a:lnTo>
                      <a:lnTo>
                        <a:pt x="73" y="11"/>
                      </a:lnTo>
                      <a:lnTo>
                        <a:pt x="63" y="15"/>
                      </a:lnTo>
                      <a:lnTo>
                        <a:pt x="63" y="18"/>
                      </a:lnTo>
                      <a:lnTo>
                        <a:pt x="60" y="21"/>
                      </a:lnTo>
                      <a:lnTo>
                        <a:pt x="58" y="22"/>
                      </a:lnTo>
                      <a:lnTo>
                        <a:pt x="57" y="26"/>
                      </a:lnTo>
                      <a:lnTo>
                        <a:pt x="54" y="27"/>
                      </a:lnTo>
                      <a:lnTo>
                        <a:pt x="46" y="32"/>
                      </a:lnTo>
                      <a:lnTo>
                        <a:pt x="44" y="34"/>
                      </a:lnTo>
                      <a:lnTo>
                        <a:pt x="43" y="35"/>
                      </a:lnTo>
                      <a:lnTo>
                        <a:pt x="33" y="37"/>
                      </a:lnTo>
                      <a:lnTo>
                        <a:pt x="28" y="38"/>
                      </a:lnTo>
                      <a:lnTo>
                        <a:pt x="25" y="40"/>
                      </a:lnTo>
                      <a:lnTo>
                        <a:pt x="22" y="42"/>
                      </a:lnTo>
                      <a:lnTo>
                        <a:pt x="19" y="45"/>
                      </a:lnTo>
                      <a:lnTo>
                        <a:pt x="8" y="54"/>
                      </a:lnTo>
                      <a:lnTo>
                        <a:pt x="8" y="59"/>
                      </a:lnTo>
                      <a:lnTo>
                        <a:pt x="8" y="62"/>
                      </a:lnTo>
                      <a:lnTo>
                        <a:pt x="5" y="65"/>
                      </a:lnTo>
                      <a:lnTo>
                        <a:pt x="5" y="68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36" name="Freeform 127"/>
                <p:cNvSpPr>
                  <a:spLocks/>
                </p:cNvSpPr>
                <p:nvPr/>
              </p:nvSpPr>
              <p:spPr bwMode="auto">
                <a:xfrm>
                  <a:off x="4914" y="2436"/>
                  <a:ext cx="9" cy="12"/>
                </a:xfrm>
                <a:custGeom>
                  <a:avLst/>
                  <a:gdLst>
                    <a:gd name="T0" fmla="*/ 3 w 17"/>
                    <a:gd name="T1" fmla="*/ 25 h 25"/>
                    <a:gd name="T2" fmla="*/ 3 w 17"/>
                    <a:gd name="T3" fmla="*/ 25 h 25"/>
                    <a:gd name="T4" fmla="*/ 7 w 17"/>
                    <a:gd name="T5" fmla="*/ 25 h 25"/>
                    <a:gd name="T6" fmla="*/ 11 w 17"/>
                    <a:gd name="T7" fmla="*/ 23 h 25"/>
                    <a:gd name="T8" fmla="*/ 14 w 17"/>
                    <a:gd name="T9" fmla="*/ 20 h 25"/>
                    <a:gd name="T10" fmla="*/ 15 w 17"/>
                    <a:gd name="T11" fmla="*/ 17 h 25"/>
                    <a:gd name="T12" fmla="*/ 15 w 17"/>
                    <a:gd name="T13" fmla="*/ 14 h 25"/>
                    <a:gd name="T14" fmla="*/ 17 w 17"/>
                    <a:gd name="T15" fmla="*/ 11 h 25"/>
                    <a:gd name="T16" fmla="*/ 17 w 17"/>
                    <a:gd name="T17" fmla="*/ 9 h 25"/>
                    <a:gd name="T18" fmla="*/ 17 w 17"/>
                    <a:gd name="T19" fmla="*/ 6 h 25"/>
                    <a:gd name="T20" fmla="*/ 15 w 17"/>
                    <a:gd name="T21" fmla="*/ 6 h 25"/>
                    <a:gd name="T22" fmla="*/ 14 w 17"/>
                    <a:gd name="T23" fmla="*/ 3 h 25"/>
                    <a:gd name="T24" fmla="*/ 12 w 17"/>
                    <a:gd name="T25" fmla="*/ 0 h 25"/>
                    <a:gd name="T26" fmla="*/ 11 w 17"/>
                    <a:gd name="T27" fmla="*/ 3 h 25"/>
                    <a:gd name="T28" fmla="*/ 7 w 17"/>
                    <a:gd name="T29" fmla="*/ 4 h 25"/>
                    <a:gd name="T30" fmla="*/ 3 w 17"/>
                    <a:gd name="T31" fmla="*/ 7 h 25"/>
                    <a:gd name="T32" fmla="*/ 3 w 17"/>
                    <a:gd name="T33" fmla="*/ 11 h 25"/>
                    <a:gd name="T34" fmla="*/ 0 w 17"/>
                    <a:gd name="T35" fmla="*/ 15 h 25"/>
                    <a:gd name="T36" fmla="*/ 1 w 17"/>
                    <a:gd name="T37" fmla="*/ 19 h 25"/>
                    <a:gd name="T38" fmla="*/ 1 w 17"/>
                    <a:gd name="T39" fmla="*/ 22 h 25"/>
                    <a:gd name="T40" fmla="*/ 3 w 17"/>
                    <a:gd name="T41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7" h="25">
                      <a:moveTo>
                        <a:pt x="3" y="25"/>
                      </a:moveTo>
                      <a:lnTo>
                        <a:pt x="3" y="25"/>
                      </a:lnTo>
                      <a:lnTo>
                        <a:pt x="7" y="25"/>
                      </a:lnTo>
                      <a:lnTo>
                        <a:pt x="11" y="23"/>
                      </a:lnTo>
                      <a:lnTo>
                        <a:pt x="14" y="20"/>
                      </a:lnTo>
                      <a:lnTo>
                        <a:pt x="15" y="17"/>
                      </a:lnTo>
                      <a:lnTo>
                        <a:pt x="15" y="14"/>
                      </a:lnTo>
                      <a:lnTo>
                        <a:pt x="17" y="11"/>
                      </a:lnTo>
                      <a:lnTo>
                        <a:pt x="17" y="9"/>
                      </a:lnTo>
                      <a:lnTo>
                        <a:pt x="17" y="6"/>
                      </a:lnTo>
                      <a:lnTo>
                        <a:pt x="15" y="6"/>
                      </a:lnTo>
                      <a:lnTo>
                        <a:pt x="14" y="3"/>
                      </a:lnTo>
                      <a:lnTo>
                        <a:pt x="12" y="0"/>
                      </a:lnTo>
                      <a:lnTo>
                        <a:pt x="11" y="3"/>
                      </a:lnTo>
                      <a:lnTo>
                        <a:pt x="7" y="4"/>
                      </a:lnTo>
                      <a:lnTo>
                        <a:pt x="3" y="7"/>
                      </a:lnTo>
                      <a:lnTo>
                        <a:pt x="3" y="11"/>
                      </a:lnTo>
                      <a:lnTo>
                        <a:pt x="0" y="15"/>
                      </a:lnTo>
                      <a:lnTo>
                        <a:pt x="1" y="19"/>
                      </a:lnTo>
                      <a:lnTo>
                        <a:pt x="1" y="22"/>
                      </a:lnTo>
                      <a:lnTo>
                        <a:pt x="3" y="25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37" name="Freeform 128"/>
                <p:cNvSpPr>
                  <a:spLocks/>
                </p:cNvSpPr>
                <p:nvPr/>
              </p:nvSpPr>
              <p:spPr bwMode="auto">
                <a:xfrm>
                  <a:off x="4959" y="2508"/>
                  <a:ext cx="8" cy="9"/>
                </a:xfrm>
                <a:custGeom>
                  <a:avLst/>
                  <a:gdLst>
                    <a:gd name="T0" fmla="*/ 10 w 16"/>
                    <a:gd name="T1" fmla="*/ 0 h 19"/>
                    <a:gd name="T2" fmla="*/ 8 w 16"/>
                    <a:gd name="T3" fmla="*/ 1 h 19"/>
                    <a:gd name="T4" fmla="*/ 5 w 16"/>
                    <a:gd name="T5" fmla="*/ 3 h 19"/>
                    <a:gd name="T6" fmla="*/ 0 w 16"/>
                    <a:gd name="T7" fmla="*/ 5 h 19"/>
                    <a:gd name="T8" fmla="*/ 3 w 16"/>
                    <a:gd name="T9" fmla="*/ 8 h 19"/>
                    <a:gd name="T10" fmla="*/ 3 w 16"/>
                    <a:gd name="T11" fmla="*/ 13 h 19"/>
                    <a:gd name="T12" fmla="*/ 5 w 16"/>
                    <a:gd name="T13" fmla="*/ 16 h 19"/>
                    <a:gd name="T14" fmla="*/ 10 w 16"/>
                    <a:gd name="T15" fmla="*/ 19 h 19"/>
                    <a:gd name="T16" fmla="*/ 13 w 16"/>
                    <a:gd name="T17" fmla="*/ 19 h 19"/>
                    <a:gd name="T18" fmla="*/ 15 w 16"/>
                    <a:gd name="T19" fmla="*/ 14 h 19"/>
                    <a:gd name="T20" fmla="*/ 16 w 16"/>
                    <a:gd name="T21" fmla="*/ 8 h 19"/>
                    <a:gd name="T22" fmla="*/ 16 w 16"/>
                    <a:gd name="T23" fmla="*/ 6 h 19"/>
                    <a:gd name="T24" fmla="*/ 15 w 16"/>
                    <a:gd name="T25" fmla="*/ 3 h 19"/>
                    <a:gd name="T26" fmla="*/ 13 w 16"/>
                    <a:gd name="T27" fmla="*/ 1 h 19"/>
                    <a:gd name="T28" fmla="*/ 10 w 16"/>
                    <a:gd name="T29" fmla="*/ 0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6" h="19">
                      <a:moveTo>
                        <a:pt x="10" y="0"/>
                      </a:moveTo>
                      <a:lnTo>
                        <a:pt x="8" y="1"/>
                      </a:lnTo>
                      <a:lnTo>
                        <a:pt x="5" y="3"/>
                      </a:lnTo>
                      <a:lnTo>
                        <a:pt x="0" y="5"/>
                      </a:lnTo>
                      <a:lnTo>
                        <a:pt x="3" y="8"/>
                      </a:lnTo>
                      <a:lnTo>
                        <a:pt x="3" y="13"/>
                      </a:lnTo>
                      <a:lnTo>
                        <a:pt x="5" y="16"/>
                      </a:lnTo>
                      <a:lnTo>
                        <a:pt x="10" y="19"/>
                      </a:lnTo>
                      <a:lnTo>
                        <a:pt x="13" y="19"/>
                      </a:lnTo>
                      <a:lnTo>
                        <a:pt x="15" y="14"/>
                      </a:lnTo>
                      <a:lnTo>
                        <a:pt x="16" y="8"/>
                      </a:lnTo>
                      <a:lnTo>
                        <a:pt x="16" y="6"/>
                      </a:lnTo>
                      <a:lnTo>
                        <a:pt x="15" y="3"/>
                      </a:lnTo>
                      <a:lnTo>
                        <a:pt x="13" y="1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38" name="Freeform 129"/>
                <p:cNvSpPr>
                  <a:spLocks/>
                </p:cNvSpPr>
                <p:nvPr/>
              </p:nvSpPr>
              <p:spPr bwMode="auto">
                <a:xfrm>
                  <a:off x="5017" y="2601"/>
                  <a:ext cx="12" cy="22"/>
                </a:xfrm>
                <a:custGeom>
                  <a:avLst/>
                  <a:gdLst>
                    <a:gd name="T0" fmla="*/ 3 w 23"/>
                    <a:gd name="T1" fmla="*/ 26 h 45"/>
                    <a:gd name="T2" fmla="*/ 0 w 23"/>
                    <a:gd name="T3" fmla="*/ 26 h 45"/>
                    <a:gd name="T4" fmla="*/ 0 w 23"/>
                    <a:gd name="T5" fmla="*/ 29 h 45"/>
                    <a:gd name="T6" fmla="*/ 6 w 23"/>
                    <a:gd name="T7" fmla="*/ 37 h 45"/>
                    <a:gd name="T8" fmla="*/ 9 w 23"/>
                    <a:gd name="T9" fmla="*/ 35 h 45"/>
                    <a:gd name="T10" fmla="*/ 8 w 23"/>
                    <a:gd name="T11" fmla="*/ 34 h 45"/>
                    <a:gd name="T12" fmla="*/ 11 w 23"/>
                    <a:gd name="T13" fmla="*/ 35 h 45"/>
                    <a:gd name="T14" fmla="*/ 11 w 23"/>
                    <a:gd name="T15" fmla="*/ 35 h 45"/>
                    <a:gd name="T16" fmla="*/ 9 w 23"/>
                    <a:gd name="T17" fmla="*/ 37 h 45"/>
                    <a:gd name="T18" fmla="*/ 9 w 23"/>
                    <a:gd name="T19" fmla="*/ 40 h 45"/>
                    <a:gd name="T20" fmla="*/ 12 w 23"/>
                    <a:gd name="T21" fmla="*/ 45 h 45"/>
                    <a:gd name="T22" fmla="*/ 16 w 23"/>
                    <a:gd name="T23" fmla="*/ 43 h 45"/>
                    <a:gd name="T24" fmla="*/ 16 w 23"/>
                    <a:gd name="T25" fmla="*/ 40 h 45"/>
                    <a:gd name="T26" fmla="*/ 11 w 23"/>
                    <a:gd name="T27" fmla="*/ 35 h 45"/>
                    <a:gd name="T28" fmla="*/ 14 w 23"/>
                    <a:gd name="T29" fmla="*/ 37 h 45"/>
                    <a:gd name="T30" fmla="*/ 17 w 23"/>
                    <a:gd name="T31" fmla="*/ 38 h 45"/>
                    <a:gd name="T32" fmla="*/ 20 w 23"/>
                    <a:gd name="T33" fmla="*/ 37 h 45"/>
                    <a:gd name="T34" fmla="*/ 22 w 23"/>
                    <a:gd name="T35" fmla="*/ 32 h 45"/>
                    <a:gd name="T36" fmla="*/ 23 w 23"/>
                    <a:gd name="T37" fmla="*/ 29 h 45"/>
                    <a:gd name="T38" fmla="*/ 22 w 23"/>
                    <a:gd name="T39" fmla="*/ 26 h 45"/>
                    <a:gd name="T40" fmla="*/ 20 w 23"/>
                    <a:gd name="T41" fmla="*/ 24 h 45"/>
                    <a:gd name="T42" fmla="*/ 20 w 23"/>
                    <a:gd name="T43" fmla="*/ 21 h 45"/>
                    <a:gd name="T44" fmla="*/ 22 w 23"/>
                    <a:gd name="T45" fmla="*/ 18 h 45"/>
                    <a:gd name="T46" fmla="*/ 22 w 23"/>
                    <a:gd name="T47" fmla="*/ 13 h 45"/>
                    <a:gd name="T48" fmla="*/ 23 w 23"/>
                    <a:gd name="T49" fmla="*/ 10 h 45"/>
                    <a:gd name="T50" fmla="*/ 20 w 23"/>
                    <a:gd name="T51" fmla="*/ 7 h 45"/>
                    <a:gd name="T52" fmla="*/ 20 w 23"/>
                    <a:gd name="T53" fmla="*/ 4 h 45"/>
                    <a:gd name="T54" fmla="*/ 17 w 23"/>
                    <a:gd name="T55" fmla="*/ 0 h 45"/>
                    <a:gd name="T56" fmla="*/ 16 w 23"/>
                    <a:gd name="T57" fmla="*/ 0 h 45"/>
                    <a:gd name="T58" fmla="*/ 16 w 23"/>
                    <a:gd name="T59" fmla="*/ 5 h 45"/>
                    <a:gd name="T60" fmla="*/ 11 w 23"/>
                    <a:gd name="T61" fmla="*/ 8 h 45"/>
                    <a:gd name="T62" fmla="*/ 9 w 23"/>
                    <a:gd name="T63" fmla="*/ 11 h 45"/>
                    <a:gd name="T64" fmla="*/ 6 w 23"/>
                    <a:gd name="T65" fmla="*/ 11 h 45"/>
                    <a:gd name="T66" fmla="*/ 6 w 23"/>
                    <a:gd name="T67" fmla="*/ 15 h 45"/>
                    <a:gd name="T68" fmla="*/ 9 w 23"/>
                    <a:gd name="T69" fmla="*/ 16 h 45"/>
                    <a:gd name="T70" fmla="*/ 8 w 23"/>
                    <a:gd name="T71" fmla="*/ 19 h 45"/>
                    <a:gd name="T72" fmla="*/ 8 w 23"/>
                    <a:gd name="T73" fmla="*/ 23 h 45"/>
                    <a:gd name="T74" fmla="*/ 9 w 23"/>
                    <a:gd name="T75" fmla="*/ 26 h 45"/>
                    <a:gd name="T76" fmla="*/ 6 w 23"/>
                    <a:gd name="T77" fmla="*/ 30 h 45"/>
                    <a:gd name="T78" fmla="*/ 6 w 23"/>
                    <a:gd name="T79" fmla="*/ 32 h 45"/>
                    <a:gd name="T80" fmla="*/ 6 w 23"/>
                    <a:gd name="T81" fmla="*/ 32 h 45"/>
                    <a:gd name="T82" fmla="*/ 4 w 23"/>
                    <a:gd name="T83" fmla="*/ 29 h 45"/>
                    <a:gd name="T84" fmla="*/ 3 w 23"/>
                    <a:gd name="T85" fmla="*/ 26 h 4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3" h="45">
                      <a:moveTo>
                        <a:pt x="3" y="26"/>
                      </a:moveTo>
                      <a:lnTo>
                        <a:pt x="0" y="26"/>
                      </a:lnTo>
                      <a:lnTo>
                        <a:pt x="0" y="29"/>
                      </a:lnTo>
                      <a:lnTo>
                        <a:pt x="6" y="37"/>
                      </a:lnTo>
                      <a:lnTo>
                        <a:pt x="9" y="35"/>
                      </a:lnTo>
                      <a:lnTo>
                        <a:pt x="8" y="34"/>
                      </a:lnTo>
                      <a:lnTo>
                        <a:pt x="11" y="35"/>
                      </a:lnTo>
                      <a:lnTo>
                        <a:pt x="11" y="35"/>
                      </a:lnTo>
                      <a:lnTo>
                        <a:pt x="9" y="37"/>
                      </a:lnTo>
                      <a:lnTo>
                        <a:pt x="9" y="40"/>
                      </a:lnTo>
                      <a:lnTo>
                        <a:pt x="12" y="45"/>
                      </a:lnTo>
                      <a:lnTo>
                        <a:pt x="16" y="43"/>
                      </a:lnTo>
                      <a:lnTo>
                        <a:pt x="16" y="40"/>
                      </a:lnTo>
                      <a:lnTo>
                        <a:pt x="11" y="35"/>
                      </a:lnTo>
                      <a:lnTo>
                        <a:pt x="14" y="37"/>
                      </a:lnTo>
                      <a:lnTo>
                        <a:pt x="17" y="38"/>
                      </a:lnTo>
                      <a:lnTo>
                        <a:pt x="20" y="37"/>
                      </a:lnTo>
                      <a:lnTo>
                        <a:pt x="22" y="32"/>
                      </a:lnTo>
                      <a:lnTo>
                        <a:pt x="23" y="29"/>
                      </a:lnTo>
                      <a:lnTo>
                        <a:pt x="22" y="26"/>
                      </a:lnTo>
                      <a:lnTo>
                        <a:pt x="20" y="24"/>
                      </a:lnTo>
                      <a:lnTo>
                        <a:pt x="20" y="21"/>
                      </a:lnTo>
                      <a:lnTo>
                        <a:pt x="22" y="18"/>
                      </a:lnTo>
                      <a:lnTo>
                        <a:pt x="22" y="13"/>
                      </a:lnTo>
                      <a:lnTo>
                        <a:pt x="23" y="10"/>
                      </a:lnTo>
                      <a:lnTo>
                        <a:pt x="20" y="7"/>
                      </a:lnTo>
                      <a:lnTo>
                        <a:pt x="20" y="4"/>
                      </a:lnTo>
                      <a:lnTo>
                        <a:pt x="17" y="0"/>
                      </a:lnTo>
                      <a:lnTo>
                        <a:pt x="16" y="0"/>
                      </a:lnTo>
                      <a:lnTo>
                        <a:pt x="16" y="5"/>
                      </a:lnTo>
                      <a:lnTo>
                        <a:pt x="11" y="8"/>
                      </a:lnTo>
                      <a:lnTo>
                        <a:pt x="9" y="11"/>
                      </a:lnTo>
                      <a:lnTo>
                        <a:pt x="6" y="11"/>
                      </a:lnTo>
                      <a:lnTo>
                        <a:pt x="6" y="15"/>
                      </a:lnTo>
                      <a:lnTo>
                        <a:pt x="9" y="16"/>
                      </a:lnTo>
                      <a:lnTo>
                        <a:pt x="8" y="19"/>
                      </a:lnTo>
                      <a:lnTo>
                        <a:pt x="8" y="23"/>
                      </a:lnTo>
                      <a:lnTo>
                        <a:pt x="9" y="26"/>
                      </a:lnTo>
                      <a:lnTo>
                        <a:pt x="6" y="30"/>
                      </a:lnTo>
                      <a:lnTo>
                        <a:pt x="6" y="32"/>
                      </a:lnTo>
                      <a:lnTo>
                        <a:pt x="6" y="32"/>
                      </a:lnTo>
                      <a:lnTo>
                        <a:pt x="4" y="29"/>
                      </a:lnTo>
                      <a:lnTo>
                        <a:pt x="3" y="26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839" name="Freeform 130"/>
                <p:cNvSpPr>
                  <a:spLocks/>
                </p:cNvSpPr>
                <p:nvPr/>
              </p:nvSpPr>
              <p:spPr bwMode="auto">
                <a:xfrm>
                  <a:off x="5078" y="2640"/>
                  <a:ext cx="27" cy="23"/>
                </a:xfrm>
                <a:custGeom>
                  <a:avLst/>
                  <a:gdLst>
                    <a:gd name="T0" fmla="*/ 0 w 54"/>
                    <a:gd name="T1" fmla="*/ 39 h 44"/>
                    <a:gd name="T2" fmla="*/ 0 w 54"/>
                    <a:gd name="T3" fmla="*/ 44 h 44"/>
                    <a:gd name="T4" fmla="*/ 3 w 54"/>
                    <a:gd name="T5" fmla="*/ 42 h 44"/>
                    <a:gd name="T6" fmla="*/ 7 w 54"/>
                    <a:gd name="T7" fmla="*/ 41 h 44"/>
                    <a:gd name="T8" fmla="*/ 10 w 54"/>
                    <a:gd name="T9" fmla="*/ 41 h 44"/>
                    <a:gd name="T10" fmla="*/ 14 w 54"/>
                    <a:gd name="T11" fmla="*/ 41 h 44"/>
                    <a:gd name="T12" fmla="*/ 18 w 54"/>
                    <a:gd name="T13" fmla="*/ 42 h 44"/>
                    <a:gd name="T14" fmla="*/ 21 w 54"/>
                    <a:gd name="T15" fmla="*/ 42 h 44"/>
                    <a:gd name="T16" fmla="*/ 24 w 54"/>
                    <a:gd name="T17" fmla="*/ 44 h 44"/>
                    <a:gd name="T18" fmla="*/ 27 w 54"/>
                    <a:gd name="T19" fmla="*/ 42 h 44"/>
                    <a:gd name="T20" fmla="*/ 32 w 54"/>
                    <a:gd name="T21" fmla="*/ 39 h 44"/>
                    <a:gd name="T22" fmla="*/ 35 w 54"/>
                    <a:gd name="T23" fmla="*/ 36 h 44"/>
                    <a:gd name="T24" fmla="*/ 38 w 54"/>
                    <a:gd name="T25" fmla="*/ 33 h 44"/>
                    <a:gd name="T26" fmla="*/ 41 w 54"/>
                    <a:gd name="T27" fmla="*/ 31 h 44"/>
                    <a:gd name="T28" fmla="*/ 45 w 54"/>
                    <a:gd name="T29" fmla="*/ 30 h 44"/>
                    <a:gd name="T30" fmla="*/ 46 w 54"/>
                    <a:gd name="T31" fmla="*/ 25 h 44"/>
                    <a:gd name="T32" fmla="*/ 46 w 54"/>
                    <a:gd name="T33" fmla="*/ 22 h 44"/>
                    <a:gd name="T34" fmla="*/ 49 w 54"/>
                    <a:gd name="T35" fmla="*/ 20 h 44"/>
                    <a:gd name="T36" fmla="*/ 51 w 54"/>
                    <a:gd name="T37" fmla="*/ 15 h 44"/>
                    <a:gd name="T38" fmla="*/ 53 w 54"/>
                    <a:gd name="T39" fmla="*/ 12 h 44"/>
                    <a:gd name="T40" fmla="*/ 54 w 54"/>
                    <a:gd name="T41" fmla="*/ 9 h 44"/>
                    <a:gd name="T42" fmla="*/ 49 w 54"/>
                    <a:gd name="T43" fmla="*/ 6 h 44"/>
                    <a:gd name="T44" fmla="*/ 46 w 54"/>
                    <a:gd name="T45" fmla="*/ 3 h 44"/>
                    <a:gd name="T46" fmla="*/ 46 w 54"/>
                    <a:gd name="T47" fmla="*/ 1 h 44"/>
                    <a:gd name="T48" fmla="*/ 45 w 54"/>
                    <a:gd name="T49" fmla="*/ 0 h 44"/>
                    <a:gd name="T50" fmla="*/ 41 w 54"/>
                    <a:gd name="T51" fmla="*/ 0 h 44"/>
                    <a:gd name="T52" fmla="*/ 38 w 54"/>
                    <a:gd name="T53" fmla="*/ 0 h 44"/>
                    <a:gd name="T54" fmla="*/ 37 w 54"/>
                    <a:gd name="T55" fmla="*/ 0 h 44"/>
                    <a:gd name="T56" fmla="*/ 34 w 54"/>
                    <a:gd name="T57" fmla="*/ 1 h 44"/>
                    <a:gd name="T58" fmla="*/ 29 w 54"/>
                    <a:gd name="T59" fmla="*/ 1 h 44"/>
                    <a:gd name="T60" fmla="*/ 22 w 54"/>
                    <a:gd name="T61" fmla="*/ 4 h 44"/>
                    <a:gd name="T62" fmla="*/ 22 w 54"/>
                    <a:gd name="T63" fmla="*/ 6 h 44"/>
                    <a:gd name="T64" fmla="*/ 14 w 54"/>
                    <a:gd name="T65" fmla="*/ 12 h 44"/>
                    <a:gd name="T66" fmla="*/ 10 w 54"/>
                    <a:gd name="T67" fmla="*/ 22 h 44"/>
                    <a:gd name="T68" fmla="*/ 5 w 54"/>
                    <a:gd name="T69" fmla="*/ 31 h 44"/>
                    <a:gd name="T70" fmla="*/ 0 w 54"/>
                    <a:gd name="T71" fmla="*/ 39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54" h="44">
                      <a:moveTo>
                        <a:pt x="0" y="39"/>
                      </a:moveTo>
                      <a:lnTo>
                        <a:pt x="0" y="44"/>
                      </a:lnTo>
                      <a:lnTo>
                        <a:pt x="3" y="42"/>
                      </a:lnTo>
                      <a:lnTo>
                        <a:pt x="7" y="41"/>
                      </a:lnTo>
                      <a:lnTo>
                        <a:pt x="10" y="41"/>
                      </a:lnTo>
                      <a:lnTo>
                        <a:pt x="14" y="41"/>
                      </a:lnTo>
                      <a:lnTo>
                        <a:pt x="18" y="42"/>
                      </a:lnTo>
                      <a:lnTo>
                        <a:pt x="21" y="42"/>
                      </a:lnTo>
                      <a:lnTo>
                        <a:pt x="24" y="44"/>
                      </a:lnTo>
                      <a:lnTo>
                        <a:pt x="27" y="42"/>
                      </a:lnTo>
                      <a:lnTo>
                        <a:pt x="32" y="39"/>
                      </a:lnTo>
                      <a:lnTo>
                        <a:pt x="35" y="36"/>
                      </a:lnTo>
                      <a:lnTo>
                        <a:pt x="38" y="33"/>
                      </a:lnTo>
                      <a:lnTo>
                        <a:pt x="41" y="31"/>
                      </a:lnTo>
                      <a:lnTo>
                        <a:pt x="45" y="30"/>
                      </a:lnTo>
                      <a:lnTo>
                        <a:pt x="46" y="25"/>
                      </a:lnTo>
                      <a:lnTo>
                        <a:pt x="46" y="22"/>
                      </a:lnTo>
                      <a:lnTo>
                        <a:pt x="49" y="20"/>
                      </a:lnTo>
                      <a:lnTo>
                        <a:pt x="51" y="15"/>
                      </a:lnTo>
                      <a:lnTo>
                        <a:pt x="53" y="12"/>
                      </a:lnTo>
                      <a:lnTo>
                        <a:pt x="54" y="9"/>
                      </a:lnTo>
                      <a:lnTo>
                        <a:pt x="49" y="6"/>
                      </a:lnTo>
                      <a:lnTo>
                        <a:pt x="46" y="3"/>
                      </a:lnTo>
                      <a:lnTo>
                        <a:pt x="46" y="1"/>
                      </a:lnTo>
                      <a:lnTo>
                        <a:pt x="45" y="0"/>
                      </a:lnTo>
                      <a:lnTo>
                        <a:pt x="41" y="0"/>
                      </a:lnTo>
                      <a:lnTo>
                        <a:pt x="38" y="0"/>
                      </a:lnTo>
                      <a:lnTo>
                        <a:pt x="37" y="0"/>
                      </a:lnTo>
                      <a:lnTo>
                        <a:pt x="34" y="1"/>
                      </a:lnTo>
                      <a:lnTo>
                        <a:pt x="29" y="1"/>
                      </a:lnTo>
                      <a:lnTo>
                        <a:pt x="22" y="4"/>
                      </a:lnTo>
                      <a:lnTo>
                        <a:pt x="22" y="6"/>
                      </a:lnTo>
                      <a:lnTo>
                        <a:pt x="14" y="12"/>
                      </a:lnTo>
                      <a:lnTo>
                        <a:pt x="10" y="22"/>
                      </a:lnTo>
                      <a:lnTo>
                        <a:pt x="5" y="31"/>
                      </a:lnTo>
                      <a:lnTo>
                        <a:pt x="0" y="39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</p:grpSp>
          <p:sp>
            <p:nvSpPr>
              <p:cNvPr id="755" name="Freeform 131"/>
              <p:cNvSpPr>
                <a:spLocks/>
              </p:cNvSpPr>
              <p:nvPr/>
            </p:nvSpPr>
            <p:spPr bwMode="auto">
              <a:xfrm>
                <a:off x="6919942" y="3702416"/>
                <a:ext cx="122885" cy="166112"/>
              </a:xfrm>
              <a:custGeom>
                <a:avLst/>
                <a:gdLst>
                  <a:gd name="T0" fmla="*/ 1 w 157"/>
                  <a:gd name="T1" fmla="*/ 5 h 220"/>
                  <a:gd name="T2" fmla="*/ 4 w 157"/>
                  <a:gd name="T3" fmla="*/ 0 h 220"/>
                  <a:gd name="T4" fmla="*/ 9 w 157"/>
                  <a:gd name="T5" fmla="*/ 8 h 220"/>
                  <a:gd name="T6" fmla="*/ 20 w 157"/>
                  <a:gd name="T7" fmla="*/ 10 h 220"/>
                  <a:gd name="T8" fmla="*/ 25 w 157"/>
                  <a:gd name="T9" fmla="*/ 14 h 220"/>
                  <a:gd name="T10" fmla="*/ 30 w 157"/>
                  <a:gd name="T11" fmla="*/ 19 h 220"/>
                  <a:gd name="T12" fmla="*/ 36 w 157"/>
                  <a:gd name="T13" fmla="*/ 27 h 220"/>
                  <a:gd name="T14" fmla="*/ 31 w 157"/>
                  <a:gd name="T15" fmla="*/ 36 h 220"/>
                  <a:gd name="T16" fmla="*/ 36 w 157"/>
                  <a:gd name="T17" fmla="*/ 43 h 220"/>
                  <a:gd name="T18" fmla="*/ 46 w 157"/>
                  <a:gd name="T19" fmla="*/ 36 h 220"/>
                  <a:gd name="T20" fmla="*/ 54 w 157"/>
                  <a:gd name="T21" fmla="*/ 33 h 220"/>
                  <a:gd name="T22" fmla="*/ 62 w 157"/>
                  <a:gd name="T23" fmla="*/ 40 h 220"/>
                  <a:gd name="T24" fmla="*/ 66 w 157"/>
                  <a:gd name="T25" fmla="*/ 33 h 220"/>
                  <a:gd name="T26" fmla="*/ 71 w 157"/>
                  <a:gd name="T27" fmla="*/ 25 h 220"/>
                  <a:gd name="T28" fmla="*/ 71 w 157"/>
                  <a:gd name="T29" fmla="*/ 19 h 220"/>
                  <a:gd name="T30" fmla="*/ 79 w 157"/>
                  <a:gd name="T31" fmla="*/ 22 h 220"/>
                  <a:gd name="T32" fmla="*/ 85 w 157"/>
                  <a:gd name="T33" fmla="*/ 32 h 220"/>
                  <a:gd name="T34" fmla="*/ 93 w 157"/>
                  <a:gd name="T35" fmla="*/ 41 h 220"/>
                  <a:gd name="T36" fmla="*/ 104 w 157"/>
                  <a:gd name="T37" fmla="*/ 49 h 220"/>
                  <a:gd name="T38" fmla="*/ 112 w 157"/>
                  <a:gd name="T39" fmla="*/ 59 h 220"/>
                  <a:gd name="T40" fmla="*/ 122 w 157"/>
                  <a:gd name="T41" fmla="*/ 79 h 220"/>
                  <a:gd name="T42" fmla="*/ 123 w 157"/>
                  <a:gd name="T43" fmla="*/ 94 h 220"/>
                  <a:gd name="T44" fmla="*/ 123 w 157"/>
                  <a:gd name="T45" fmla="*/ 105 h 220"/>
                  <a:gd name="T46" fmla="*/ 122 w 157"/>
                  <a:gd name="T47" fmla="*/ 116 h 220"/>
                  <a:gd name="T48" fmla="*/ 120 w 157"/>
                  <a:gd name="T49" fmla="*/ 125 h 220"/>
                  <a:gd name="T50" fmla="*/ 123 w 157"/>
                  <a:gd name="T51" fmla="*/ 135 h 220"/>
                  <a:gd name="T52" fmla="*/ 125 w 157"/>
                  <a:gd name="T53" fmla="*/ 152 h 220"/>
                  <a:gd name="T54" fmla="*/ 128 w 157"/>
                  <a:gd name="T55" fmla="*/ 162 h 220"/>
                  <a:gd name="T56" fmla="*/ 136 w 157"/>
                  <a:gd name="T57" fmla="*/ 168 h 220"/>
                  <a:gd name="T58" fmla="*/ 144 w 157"/>
                  <a:gd name="T59" fmla="*/ 179 h 220"/>
                  <a:gd name="T60" fmla="*/ 147 w 157"/>
                  <a:gd name="T61" fmla="*/ 190 h 220"/>
                  <a:gd name="T62" fmla="*/ 154 w 157"/>
                  <a:gd name="T63" fmla="*/ 201 h 220"/>
                  <a:gd name="T64" fmla="*/ 157 w 157"/>
                  <a:gd name="T65" fmla="*/ 212 h 220"/>
                  <a:gd name="T66" fmla="*/ 150 w 157"/>
                  <a:gd name="T67" fmla="*/ 219 h 220"/>
                  <a:gd name="T68" fmla="*/ 147 w 157"/>
                  <a:gd name="T69" fmla="*/ 211 h 220"/>
                  <a:gd name="T70" fmla="*/ 146 w 157"/>
                  <a:gd name="T71" fmla="*/ 212 h 220"/>
                  <a:gd name="T72" fmla="*/ 138 w 157"/>
                  <a:gd name="T73" fmla="*/ 216 h 220"/>
                  <a:gd name="T74" fmla="*/ 130 w 157"/>
                  <a:gd name="T75" fmla="*/ 219 h 220"/>
                  <a:gd name="T76" fmla="*/ 123 w 157"/>
                  <a:gd name="T77" fmla="*/ 212 h 220"/>
                  <a:gd name="T78" fmla="*/ 112 w 157"/>
                  <a:gd name="T79" fmla="*/ 206 h 220"/>
                  <a:gd name="T80" fmla="*/ 101 w 157"/>
                  <a:gd name="T81" fmla="*/ 200 h 220"/>
                  <a:gd name="T82" fmla="*/ 93 w 157"/>
                  <a:gd name="T83" fmla="*/ 192 h 220"/>
                  <a:gd name="T84" fmla="*/ 84 w 157"/>
                  <a:gd name="T85" fmla="*/ 186 h 220"/>
                  <a:gd name="T86" fmla="*/ 73 w 157"/>
                  <a:gd name="T87" fmla="*/ 178 h 220"/>
                  <a:gd name="T88" fmla="*/ 65 w 157"/>
                  <a:gd name="T89" fmla="*/ 170 h 220"/>
                  <a:gd name="T90" fmla="*/ 58 w 157"/>
                  <a:gd name="T91" fmla="*/ 167 h 220"/>
                  <a:gd name="T92" fmla="*/ 49 w 157"/>
                  <a:gd name="T93" fmla="*/ 159 h 220"/>
                  <a:gd name="T94" fmla="*/ 49 w 157"/>
                  <a:gd name="T95" fmla="*/ 149 h 220"/>
                  <a:gd name="T96" fmla="*/ 44 w 157"/>
                  <a:gd name="T97" fmla="*/ 138 h 220"/>
                  <a:gd name="T98" fmla="*/ 38 w 157"/>
                  <a:gd name="T99" fmla="*/ 127 h 220"/>
                  <a:gd name="T100" fmla="*/ 30 w 157"/>
                  <a:gd name="T101" fmla="*/ 117 h 220"/>
                  <a:gd name="T102" fmla="*/ 28 w 157"/>
                  <a:gd name="T103" fmla="*/ 111 h 220"/>
                  <a:gd name="T104" fmla="*/ 27 w 157"/>
                  <a:gd name="T105" fmla="*/ 106 h 220"/>
                  <a:gd name="T106" fmla="*/ 19 w 157"/>
                  <a:gd name="T107" fmla="*/ 98 h 220"/>
                  <a:gd name="T108" fmla="*/ 19 w 157"/>
                  <a:gd name="T109" fmla="*/ 87 h 220"/>
                  <a:gd name="T110" fmla="*/ 19 w 157"/>
                  <a:gd name="T111" fmla="*/ 76 h 220"/>
                  <a:gd name="T112" fmla="*/ 11 w 157"/>
                  <a:gd name="T113" fmla="*/ 67 h 220"/>
                  <a:gd name="T114" fmla="*/ 12 w 157"/>
                  <a:gd name="T115" fmla="*/ 59 h 220"/>
                  <a:gd name="T116" fmla="*/ 9 w 157"/>
                  <a:gd name="T117" fmla="*/ 48 h 220"/>
                  <a:gd name="T118" fmla="*/ 9 w 157"/>
                  <a:gd name="T119" fmla="*/ 40 h 220"/>
                  <a:gd name="T120" fmla="*/ 6 w 157"/>
                  <a:gd name="T121" fmla="*/ 27 h 220"/>
                  <a:gd name="T122" fmla="*/ 1 w 157"/>
                  <a:gd name="T123" fmla="*/ 19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57" h="220">
                    <a:moveTo>
                      <a:pt x="0" y="11"/>
                    </a:moveTo>
                    <a:lnTo>
                      <a:pt x="1" y="8"/>
                    </a:lnTo>
                    <a:lnTo>
                      <a:pt x="1" y="5"/>
                    </a:lnTo>
                    <a:lnTo>
                      <a:pt x="1" y="2"/>
                    </a:lnTo>
                    <a:lnTo>
                      <a:pt x="1" y="0"/>
                    </a:lnTo>
                    <a:lnTo>
                      <a:pt x="4" y="0"/>
                    </a:lnTo>
                    <a:lnTo>
                      <a:pt x="6" y="5"/>
                    </a:lnTo>
                    <a:lnTo>
                      <a:pt x="8" y="6"/>
                    </a:lnTo>
                    <a:lnTo>
                      <a:pt x="9" y="8"/>
                    </a:lnTo>
                    <a:lnTo>
                      <a:pt x="14" y="8"/>
                    </a:lnTo>
                    <a:lnTo>
                      <a:pt x="17" y="11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3" y="11"/>
                    </a:lnTo>
                    <a:lnTo>
                      <a:pt x="25" y="14"/>
                    </a:lnTo>
                    <a:lnTo>
                      <a:pt x="27" y="17"/>
                    </a:lnTo>
                    <a:lnTo>
                      <a:pt x="25" y="17"/>
                    </a:lnTo>
                    <a:lnTo>
                      <a:pt x="30" y="19"/>
                    </a:lnTo>
                    <a:lnTo>
                      <a:pt x="33" y="19"/>
                    </a:lnTo>
                    <a:lnTo>
                      <a:pt x="35" y="24"/>
                    </a:lnTo>
                    <a:lnTo>
                      <a:pt x="36" y="27"/>
                    </a:lnTo>
                    <a:lnTo>
                      <a:pt x="36" y="30"/>
                    </a:lnTo>
                    <a:lnTo>
                      <a:pt x="33" y="33"/>
                    </a:lnTo>
                    <a:lnTo>
                      <a:pt x="31" y="36"/>
                    </a:lnTo>
                    <a:lnTo>
                      <a:pt x="31" y="38"/>
                    </a:lnTo>
                    <a:lnTo>
                      <a:pt x="33" y="40"/>
                    </a:lnTo>
                    <a:lnTo>
                      <a:pt x="36" y="43"/>
                    </a:lnTo>
                    <a:lnTo>
                      <a:pt x="39" y="43"/>
                    </a:lnTo>
                    <a:lnTo>
                      <a:pt x="41" y="40"/>
                    </a:lnTo>
                    <a:lnTo>
                      <a:pt x="46" y="36"/>
                    </a:lnTo>
                    <a:lnTo>
                      <a:pt x="49" y="35"/>
                    </a:lnTo>
                    <a:lnTo>
                      <a:pt x="50" y="35"/>
                    </a:lnTo>
                    <a:lnTo>
                      <a:pt x="54" y="33"/>
                    </a:lnTo>
                    <a:lnTo>
                      <a:pt x="55" y="36"/>
                    </a:lnTo>
                    <a:lnTo>
                      <a:pt x="57" y="40"/>
                    </a:lnTo>
                    <a:lnTo>
                      <a:pt x="62" y="40"/>
                    </a:lnTo>
                    <a:lnTo>
                      <a:pt x="65" y="36"/>
                    </a:lnTo>
                    <a:lnTo>
                      <a:pt x="65" y="36"/>
                    </a:lnTo>
                    <a:lnTo>
                      <a:pt x="66" y="33"/>
                    </a:lnTo>
                    <a:lnTo>
                      <a:pt x="66" y="29"/>
                    </a:lnTo>
                    <a:lnTo>
                      <a:pt x="68" y="29"/>
                    </a:lnTo>
                    <a:lnTo>
                      <a:pt x="71" y="25"/>
                    </a:lnTo>
                    <a:lnTo>
                      <a:pt x="71" y="22"/>
                    </a:lnTo>
                    <a:lnTo>
                      <a:pt x="71" y="21"/>
                    </a:lnTo>
                    <a:lnTo>
                      <a:pt x="71" y="19"/>
                    </a:lnTo>
                    <a:lnTo>
                      <a:pt x="74" y="21"/>
                    </a:lnTo>
                    <a:lnTo>
                      <a:pt x="76" y="21"/>
                    </a:lnTo>
                    <a:lnTo>
                      <a:pt x="79" y="22"/>
                    </a:lnTo>
                    <a:lnTo>
                      <a:pt x="82" y="25"/>
                    </a:lnTo>
                    <a:lnTo>
                      <a:pt x="84" y="29"/>
                    </a:lnTo>
                    <a:lnTo>
                      <a:pt x="85" y="32"/>
                    </a:lnTo>
                    <a:lnTo>
                      <a:pt x="87" y="35"/>
                    </a:lnTo>
                    <a:lnTo>
                      <a:pt x="92" y="38"/>
                    </a:lnTo>
                    <a:lnTo>
                      <a:pt x="93" y="41"/>
                    </a:lnTo>
                    <a:lnTo>
                      <a:pt x="96" y="44"/>
                    </a:lnTo>
                    <a:lnTo>
                      <a:pt x="101" y="48"/>
                    </a:lnTo>
                    <a:lnTo>
                      <a:pt x="104" y="49"/>
                    </a:lnTo>
                    <a:lnTo>
                      <a:pt x="108" y="52"/>
                    </a:lnTo>
                    <a:lnTo>
                      <a:pt x="111" y="56"/>
                    </a:lnTo>
                    <a:lnTo>
                      <a:pt x="112" y="59"/>
                    </a:lnTo>
                    <a:lnTo>
                      <a:pt x="115" y="67"/>
                    </a:lnTo>
                    <a:lnTo>
                      <a:pt x="119" y="73"/>
                    </a:lnTo>
                    <a:lnTo>
                      <a:pt x="122" y="79"/>
                    </a:lnTo>
                    <a:lnTo>
                      <a:pt x="123" y="87"/>
                    </a:lnTo>
                    <a:lnTo>
                      <a:pt x="123" y="90"/>
                    </a:lnTo>
                    <a:lnTo>
                      <a:pt x="123" y="94"/>
                    </a:lnTo>
                    <a:lnTo>
                      <a:pt x="125" y="98"/>
                    </a:lnTo>
                    <a:lnTo>
                      <a:pt x="123" y="101"/>
                    </a:lnTo>
                    <a:lnTo>
                      <a:pt x="123" y="105"/>
                    </a:lnTo>
                    <a:lnTo>
                      <a:pt x="122" y="108"/>
                    </a:lnTo>
                    <a:lnTo>
                      <a:pt x="122" y="111"/>
                    </a:lnTo>
                    <a:lnTo>
                      <a:pt x="122" y="116"/>
                    </a:lnTo>
                    <a:lnTo>
                      <a:pt x="122" y="119"/>
                    </a:lnTo>
                    <a:lnTo>
                      <a:pt x="120" y="122"/>
                    </a:lnTo>
                    <a:lnTo>
                      <a:pt x="120" y="125"/>
                    </a:lnTo>
                    <a:lnTo>
                      <a:pt x="123" y="128"/>
                    </a:lnTo>
                    <a:lnTo>
                      <a:pt x="125" y="132"/>
                    </a:lnTo>
                    <a:lnTo>
                      <a:pt x="123" y="135"/>
                    </a:lnTo>
                    <a:lnTo>
                      <a:pt x="123" y="138"/>
                    </a:lnTo>
                    <a:lnTo>
                      <a:pt x="125" y="146"/>
                    </a:lnTo>
                    <a:lnTo>
                      <a:pt x="125" y="152"/>
                    </a:lnTo>
                    <a:lnTo>
                      <a:pt x="125" y="155"/>
                    </a:lnTo>
                    <a:lnTo>
                      <a:pt x="125" y="159"/>
                    </a:lnTo>
                    <a:lnTo>
                      <a:pt x="128" y="162"/>
                    </a:lnTo>
                    <a:lnTo>
                      <a:pt x="131" y="165"/>
                    </a:lnTo>
                    <a:lnTo>
                      <a:pt x="133" y="167"/>
                    </a:lnTo>
                    <a:lnTo>
                      <a:pt x="136" y="168"/>
                    </a:lnTo>
                    <a:lnTo>
                      <a:pt x="139" y="171"/>
                    </a:lnTo>
                    <a:lnTo>
                      <a:pt x="139" y="176"/>
                    </a:lnTo>
                    <a:lnTo>
                      <a:pt x="144" y="179"/>
                    </a:lnTo>
                    <a:lnTo>
                      <a:pt x="144" y="182"/>
                    </a:lnTo>
                    <a:lnTo>
                      <a:pt x="146" y="187"/>
                    </a:lnTo>
                    <a:lnTo>
                      <a:pt x="147" y="190"/>
                    </a:lnTo>
                    <a:lnTo>
                      <a:pt x="149" y="193"/>
                    </a:lnTo>
                    <a:lnTo>
                      <a:pt x="150" y="198"/>
                    </a:lnTo>
                    <a:lnTo>
                      <a:pt x="154" y="201"/>
                    </a:lnTo>
                    <a:lnTo>
                      <a:pt x="154" y="205"/>
                    </a:lnTo>
                    <a:lnTo>
                      <a:pt x="155" y="209"/>
                    </a:lnTo>
                    <a:lnTo>
                      <a:pt x="157" y="212"/>
                    </a:lnTo>
                    <a:lnTo>
                      <a:pt x="157" y="216"/>
                    </a:lnTo>
                    <a:lnTo>
                      <a:pt x="154" y="220"/>
                    </a:lnTo>
                    <a:lnTo>
                      <a:pt x="150" y="219"/>
                    </a:lnTo>
                    <a:lnTo>
                      <a:pt x="149" y="216"/>
                    </a:lnTo>
                    <a:lnTo>
                      <a:pt x="150" y="211"/>
                    </a:lnTo>
                    <a:lnTo>
                      <a:pt x="147" y="211"/>
                    </a:lnTo>
                    <a:lnTo>
                      <a:pt x="144" y="208"/>
                    </a:lnTo>
                    <a:lnTo>
                      <a:pt x="144" y="209"/>
                    </a:lnTo>
                    <a:lnTo>
                      <a:pt x="146" y="212"/>
                    </a:lnTo>
                    <a:lnTo>
                      <a:pt x="144" y="216"/>
                    </a:lnTo>
                    <a:lnTo>
                      <a:pt x="141" y="214"/>
                    </a:lnTo>
                    <a:lnTo>
                      <a:pt x="138" y="216"/>
                    </a:lnTo>
                    <a:lnTo>
                      <a:pt x="136" y="216"/>
                    </a:lnTo>
                    <a:lnTo>
                      <a:pt x="135" y="217"/>
                    </a:lnTo>
                    <a:lnTo>
                      <a:pt x="130" y="219"/>
                    </a:lnTo>
                    <a:lnTo>
                      <a:pt x="127" y="220"/>
                    </a:lnTo>
                    <a:lnTo>
                      <a:pt x="125" y="216"/>
                    </a:lnTo>
                    <a:lnTo>
                      <a:pt x="123" y="212"/>
                    </a:lnTo>
                    <a:lnTo>
                      <a:pt x="120" y="211"/>
                    </a:lnTo>
                    <a:lnTo>
                      <a:pt x="117" y="209"/>
                    </a:lnTo>
                    <a:lnTo>
                      <a:pt x="112" y="206"/>
                    </a:lnTo>
                    <a:lnTo>
                      <a:pt x="109" y="205"/>
                    </a:lnTo>
                    <a:lnTo>
                      <a:pt x="106" y="201"/>
                    </a:lnTo>
                    <a:lnTo>
                      <a:pt x="101" y="200"/>
                    </a:lnTo>
                    <a:lnTo>
                      <a:pt x="98" y="198"/>
                    </a:lnTo>
                    <a:lnTo>
                      <a:pt x="96" y="195"/>
                    </a:lnTo>
                    <a:lnTo>
                      <a:pt x="93" y="192"/>
                    </a:lnTo>
                    <a:lnTo>
                      <a:pt x="92" y="190"/>
                    </a:lnTo>
                    <a:lnTo>
                      <a:pt x="90" y="189"/>
                    </a:lnTo>
                    <a:lnTo>
                      <a:pt x="84" y="186"/>
                    </a:lnTo>
                    <a:lnTo>
                      <a:pt x="81" y="186"/>
                    </a:lnTo>
                    <a:lnTo>
                      <a:pt x="77" y="182"/>
                    </a:lnTo>
                    <a:lnTo>
                      <a:pt x="73" y="178"/>
                    </a:lnTo>
                    <a:lnTo>
                      <a:pt x="69" y="176"/>
                    </a:lnTo>
                    <a:lnTo>
                      <a:pt x="66" y="173"/>
                    </a:lnTo>
                    <a:lnTo>
                      <a:pt x="65" y="170"/>
                    </a:lnTo>
                    <a:lnTo>
                      <a:pt x="63" y="168"/>
                    </a:lnTo>
                    <a:lnTo>
                      <a:pt x="62" y="168"/>
                    </a:lnTo>
                    <a:lnTo>
                      <a:pt x="58" y="167"/>
                    </a:lnTo>
                    <a:lnTo>
                      <a:pt x="55" y="165"/>
                    </a:lnTo>
                    <a:lnTo>
                      <a:pt x="52" y="162"/>
                    </a:lnTo>
                    <a:lnTo>
                      <a:pt x="49" y="159"/>
                    </a:lnTo>
                    <a:lnTo>
                      <a:pt x="47" y="155"/>
                    </a:lnTo>
                    <a:lnTo>
                      <a:pt x="50" y="152"/>
                    </a:lnTo>
                    <a:lnTo>
                      <a:pt x="49" y="149"/>
                    </a:lnTo>
                    <a:lnTo>
                      <a:pt x="47" y="144"/>
                    </a:lnTo>
                    <a:lnTo>
                      <a:pt x="47" y="141"/>
                    </a:lnTo>
                    <a:lnTo>
                      <a:pt x="44" y="138"/>
                    </a:lnTo>
                    <a:lnTo>
                      <a:pt x="41" y="135"/>
                    </a:lnTo>
                    <a:lnTo>
                      <a:pt x="38" y="132"/>
                    </a:lnTo>
                    <a:lnTo>
                      <a:pt x="38" y="127"/>
                    </a:lnTo>
                    <a:lnTo>
                      <a:pt x="33" y="125"/>
                    </a:lnTo>
                    <a:lnTo>
                      <a:pt x="31" y="121"/>
                    </a:lnTo>
                    <a:lnTo>
                      <a:pt x="30" y="117"/>
                    </a:lnTo>
                    <a:lnTo>
                      <a:pt x="27" y="117"/>
                    </a:lnTo>
                    <a:lnTo>
                      <a:pt x="23" y="114"/>
                    </a:lnTo>
                    <a:lnTo>
                      <a:pt x="28" y="111"/>
                    </a:lnTo>
                    <a:lnTo>
                      <a:pt x="30" y="111"/>
                    </a:lnTo>
                    <a:lnTo>
                      <a:pt x="27" y="111"/>
                    </a:lnTo>
                    <a:lnTo>
                      <a:pt x="27" y="106"/>
                    </a:lnTo>
                    <a:lnTo>
                      <a:pt x="22" y="105"/>
                    </a:lnTo>
                    <a:lnTo>
                      <a:pt x="20" y="101"/>
                    </a:lnTo>
                    <a:lnTo>
                      <a:pt x="19" y="98"/>
                    </a:lnTo>
                    <a:lnTo>
                      <a:pt x="20" y="94"/>
                    </a:lnTo>
                    <a:lnTo>
                      <a:pt x="20" y="90"/>
                    </a:lnTo>
                    <a:lnTo>
                      <a:pt x="19" y="87"/>
                    </a:lnTo>
                    <a:lnTo>
                      <a:pt x="19" y="84"/>
                    </a:lnTo>
                    <a:lnTo>
                      <a:pt x="20" y="79"/>
                    </a:lnTo>
                    <a:lnTo>
                      <a:pt x="19" y="76"/>
                    </a:lnTo>
                    <a:lnTo>
                      <a:pt x="16" y="73"/>
                    </a:lnTo>
                    <a:lnTo>
                      <a:pt x="12" y="70"/>
                    </a:lnTo>
                    <a:lnTo>
                      <a:pt x="11" y="67"/>
                    </a:lnTo>
                    <a:lnTo>
                      <a:pt x="12" y="65"/>
                    </a:lnTo>
                    <a:lnTo>
                      <a:pt x="12" y="62"/>
                    </a:lnTo>
                    <a:lnTo>
                      <a:pt x="12" y="59"/>
                    </a:lnTo>
                    <a:lnTo>
                      <a:pt x="11" y="56"/>
                    </a:lnTo>
                    <a:lnTo>
                      <a:pt x="11" y="51"/>
                    </a:lnTo>
                    <a:lnTo>
                      <a:pt x="9" y="48"/>
                    </a:lnTo>
                    <a:lnTo>
                      <a:pt x="9" y="48"/>
                    </a:lnTo>
                    <a:lnTo>
                      <a:pt x="9" y="43"/>
                    </a:lnTo>
                    <a:lnTo>
                      <a:pt x="9" y="40"/>
                    </a:lnTo>
                    <a:lnTo>
                      <a:pt x="9" y="36"/>
                    </a:lnTo>
                    <a:lnTo>
                      <a:pt x="8" y="30"/>
                    </a:lnTo>
                    <a:lnTo>
                      <a:pt x="6" y="27"/>
                    </a:lnTo>
                    <a:lnTo>
                      <a:pt x="4" y="22"/>
                    </a:lnTo>
                    <a:lnTo>
                      <a:pt x="3" y="19"/>
                    </a:lnTo>
                    <a:lnTo>
                      <a:pt x="1" y="19"/>
                    </a:lnTo>
                    <a:lnTo>
                      <a:pt x="1" y="16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56" name="Freeform 132"/>
              <p:cNvSpPr>
                <a:spLocks/>
              </p:cNvSpPr>
              <p:nvPr/>
            </p:nvSpPr>
            <p:spPr bwMode="auto">
              <a:xfrm>
                <a:off x="7192032" y="3693356"/>
                <a:ext cx="269103" cy="188764"/>
              </a:xfrm>
              <a:custGeom>
                <a:avLst/>
                <a:gdLst>
                  <a:gd name="T0" fmla="*/ 15 w 346"/>
                  <a:gd name="T1" fmla="*/ 216 h 250"/>
                  <a:gd name="T2" fmla="*/ 31 w 346"/>
                  <a:gd name="T3" fmla="*/ 216 h 250"/>
                  <a:gd name="T4" fmla="*/ 43 w 346"/>
                  <a:gd name="T5" fmla="*/ 225 h 250"/>
                  <a:gd name="T6" fmla="*/ 62 w 346"/>
                  <a:gd name="T7" fmla="*/ 228 h 250"/>
                  <a:gd name="T8" fmla="*/ 54 w 346"/>
                  <a:gd name="T9" fmla="*/ 223 h 250"/>
                  <a:gd name="T10" fmla="*/ 59 w 346"/>
                  <a:gd name="T11" fmla="*/ 209 h 250"/>
                  <a:gd name="T12" fmla="*/ 64 w 346"/>
                  <a:gd name="T13" fmla="*/ 198 h 250"/>
                  <a:gd name="T14" fmla="*/ 69 w 346"/>
                  <a:gd name="T15" fmla="*/ 189 h 250"/>
                  <a:gd name="T16" fmla="*/ 72 w 346"/>
                  <a:gd name="T17" fmla="*/ 173 h 250"/>
                  <a:gd name="T18" fmla="*/ 118 w 346"/>
                  <a:gd name="T19" fmla="*/ 160 h 250"/>
                  <a:gd name="T20" fmla="*/ 140 w 346"/>
                  <a:gd name="T21" fmla="*/ 132 h 250"/>
                  <a:gd name="T22" fmla="*/ 157 w 346"/>
                  <a:gd name="T23" fmla="*/ 98 h 250"/>
                  <a:gd name="T24" fmla="*/ 176 w 346"/>
                  <a:gd name="T25" fmla="*/ 116 h 250"/>
                  <a:gd name="T26" fmla="*/ 189 w 346"/>
                  <a:gd name="T27" fmla="*/ 109 h 250"/>
                  <a:gd name="T28" fmla="*/ 191 w 346"/>
                  <a:gd name="T29" fmla="*/ 89 h 250"/>
                  <a:gd name="T30" fmla="*/ 205 w 346"/>
                  <a:gd name="T31" fmla="*/ 109 h 250"/>
                  <a:gd name="T32" fmla="*/ 205 w 346"/>
                  <a:gd name="T33" fmla="*/ 86 h 250"/>
                  <a:gd name="T34" fmla="*/ 207 w 346"/>
                  <a:gd name="T35" fmla="*/ 68 h 250"/>
                  <a:gd name="T36" fmla="*/ 216 w 346"/>
                  <a:gd name="T37" fmla="*/ 60 h 250"/>
                  <a:gd name="T38" fmla="*/ 230 w 346"/>
                  <a:gd name="T39" fmla="*/ 46 h 250"/>
                  <a:gd name="T40" fmla="*/ 238 w 346"/>
                  <a:gd name="T41" fmla="*/ 27 h 250"/>
                  <a:gd name="T42" fmla="*/ 249 w 346"/>
                  <a:gd name="T43" fmla="*/ 6 h 250"/>
                  <a:gd name="T44" fmla="*/ 254 w 346"/>
                  <a:gd name="T45" fmla="*/ 13 h 250"/>
                  <a:gd name="T46" fmla="*/ 265 w 346"/>
                  <a:gd name="T47" fmla="*/ 0 h 250"/>
                  <a:gd name="T48" fmla="*/ 276 w 346"/>
                  <a:gd name="T49" fmla="*/ 16 h 250"/>
                  <a:gd name="T50" fmla="*/ 289 w 346"/>
                  <a:gd name="T51" fmla="*/ 24 h 250"/>
                  <a:gd name="T52" fmla="*/ 288 w 346"/>
                  <a:gd name="T53" fmla="*/ 41 h 250"/>
                  <a:gd name="T54" fmla="*/ 294 w 346"/>
                  <a:gd name="T55" fmla="*/ 43 h 250"/>
                  <a:gd name="T56" fmla="*/ 297 w 346"/>
                  <a:gd name="T57" fmla="*/ 49 h 250"/>
                  <a:gd name="T58" fmla="*/ 316 w 346"/>
                  <a:gd name="T59" fmla="*/ 49 h 250"/>
                  <a:gd name="T60" fmla="*/ 332 w 346"/>
                  <a:gd name="T61" fmla="*/ 62 h 250"/>
                  <a:gd name="T62" fmla="*/ 346 w 346"/>
                  <a:gd name="T63" fmla="*/ 73 h 250"/>
                  <a:gd name="T64" fmla="*/ 326 w 346"/>
                  <a:gd name="T65" fmla="*/ 84 h 250"/>
                  <a:gd name="T66" fmla="*/ 308 w 346"/>
                  <a:gd name="T67" fmla="*/ 87 h 250"/>
                  <a:gd name="T68" fmla="*/ 324 w 346"/>
                  <a:gd name="T69" fmla="*/ 101 h 250"/>
                  <a:gd name="T70" fmla="*/ 311 w 346"/>
                  <a:gd name="T71" fmla="*/ 109 h 250"/>
                  <a:gd name="T72" fmla="*/ 291 w 346"/>
                  <a:gd name="T73" fmla="*/ 111 h 250"/>
                  <a:gd name="T74" fmla="*/ 275 w 346"/>
                  <a:gd name="T75" fmla="*/ 108 h 250"/>
                  <a:gd name="T76" fmla="*/ 254 w 346"/>
                  <a:gd name="T77" fmla="*/ 108 h 250"/>
                  <a:gd name="T78" fmla="*/ 237 w 346"/>
                  <a:gd name="T79" fmla="*/ 106 h 250"/>
                  <a:gd name="T80" fmla="*/ 221 w 346"/>
                  <a:gd name="T81" fmla="*/ 114 h 250"/>
                  <a:gd name="T82" fmla="*/ 218 w 346"/>
                  <a:gd name="T83" fmla="*/ 132 h 250"/>
                  <a:gd name="T84" fmla="*/ 216 w 346"/>
                  <a:gd name="T85" fmla="*/ 152 h 250"/>
                  <a:gd name="T86" fmla="*/ 203 w 346"/>
                  <a:gd name="T87" fmla="*/ 165 h 250"/>
                  <a:gd name="T88" fmla="*/ 207 w 346"/>
                  <a:gd name="T89" fmla="*/ 182 h 250"/>
                  <a:gd name="T90" fmla="*/ 191 w 346"/>
                  <a:gd name="T91" fmla="*/ 198 h 250"/>
                  <a:gd name="T92" fmla="*/ 186 w 346"/>
                  <a:gd name="T93" fmla="*/ 219 h 250"/>
                  <a:gd name="T94" fmla="*/ 170 w 346"/>
                  <a:gd name="T95" fmla="*/ 227 h 250"/>
                  <a:gd name="T96" fmla="*/ 156 w 346"/>
                  <a:gd name="T97" fmla="*/ 231 h 250"/>
                  <a:gd name="T98" fmla="*/ 135 w 346"/>
                  <a:gd name="T99" fmla="*/ 230 h 250"/>
                  <a:gd name="T100" fmla="*/ 116 w 346"/>
                  <a:gd name="T101" fmla="*/ 222 h 250"/>
                  <a:gd name="T102" fmla="*/ 97 w 346"/>
                  <a:gd name="T103" fmla="*/ 230 h 250"/>
                  <a:gd name="T104" fmla="*/ 86 w 346"/>
                  <a:gd name="T105" fmla="*/ 241 h 250"/>
                  <a:gd name="T106" fmla="*/ 65 w 346"/>
                  <a:gd name="T107" fmla="*/ 244 h 250"/>
                  <a:gd name="T108" fmla="*/ 45 w 346"/>
                  <a:gd name="T109" fmla="*/ 249 h 250"/>
                  <a:gd name="T110" fmla="*/ 27 w 346"/>
                  <a:gd name="T111" fmla="*/ 241 h 250"/>
                  <a:gd name="T112" fmla="*/ 15 w 346"/>
                  <a:gd name="T113" fmla="*/ 228 h 250"/>
                  <a:gd name="T114" fmla="*/ 2 w 346"/>
                  <a:gd name="T115" fmla="*/ 212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346" h="250">
                    <a:moveTo>
                      <a:pt x="5" y="201"/>
                    </a:moveTo>
                    <a:lnTo>
                      <a:pt x="5" y="203"/>
                    </a:lnTo>
                    <a:lnTo>
                      <a:pt x="5" y="206"/>
                    </a:lnTo>
                    <a:lnTo>
                      <a:pt x="7" y="211"/>
                    </a:lnTo>
                    <a:lnTo>
                      <a:pt x="10" y="212"/>
                    </a:lnTo>
                    <a:lnTo>
                      <a:pt x="15" y="216"/>
                    </a:lnTo>
                    <a:lnTo>
                      <a:pt x="18" y="217"/>
                    </a:lnTo>
                    <a:lnTo>
                      <a:pt x="23" y="217"/>
                    </a:lnTo>
                    <a:lnTo>
                      <a:pt x="27" y="217"/>
                    </a:lnTo>
                    <a:lnTo>
                      <a:pt x="29" y="216"/>
                    </a:lnTo>
                    <a:lnTo>
                      <a:pt x="29" y="212"/>
                    </a:lnTo>
                    <a:lnTo>
                      <a:pt x="31" y="216"/>
                    </a:lnTo>
                    <a:lnTo>
                      <a:pt x="34" y="216"/>
                    </a:lnTo>
                    <a:lnTo>
                      <a:pt x="34" y="219"/>
                    </a:lnTo>
                    <a:lnTo>
                      <a:pt x="34" y="220"/>
                    </a:lnTo>
                    <a:lnTo>
                      <a:pt x="39" y="220"/>
                    </a:lnTo>
                    <a:lnTo>
                      <a:pt x="42" y="222"/>
                    </a:lnTo>
                    <a:lnTo>
                      <a:pt x="43" y="225"/>
                    </a:lnTo>
                    <a:lnTo>
                      <a:pt x="45" y="225"/>
                    </a:lnTo>
                    <a:lnTo>
                      <a:pt x="50" y="222"/>
                    </a:lnTo>
                    <a:lnTo>
                      <a:pt x="53" y="225"/>
                    </a:lnTo>
                    <a:lnTo>
                      <a:pt x="56" y="228"/>
                    </a:lnTo>
                    <a:lnTo>
                      <a:pt x="59" y="230"/>
                    </a:lnTo>
                    <a:lnTo>
                      <a:pt x="62" y="228"/>
                    </a:lnTo>
                    <a:lnTo>
                      <a:pt x="65" y="231"/>
                    </a:lnTo>
                    <a:lnTo>
                      <a:pt x="67" y="231"/>
                    </a:lnTo>
                    <a:lnTo>
                      <a:pt x="64" y="228"/>
                    </a:lnTo>
                    <a:lnTo>
                      <a:pt x="61" y="228"/>
                    </a:lnTo>
                    <a:lnTo>
                      <a:pt x="58" y="227"/>
                    </a:lnTo>
                    <a:lnTo>
                      <a:pt x="54" y="223"/>
                    </a:lnTo>
                    <a:lnTo>
                      <a:pt x="54" y="220"/>
                    </a:lnTo>
                    <a:lnTo>
                      <a:pt x="58" y="217"/>
                    </a:lnTo>
                    <a:lnTo>
                      <a:pt x="61" y="219"/>
                    </a:lnTo>
                    <a:lnTo>
                      <a:pt x="58" y="216"/>
                    </a:lnTo>
                    <a:lnTo>
                      <a:pt x="58" y="212"/>
                    </a:lnTo>
                    <a:lnTo>
                      <a:pt x="59" y="209"/>
                    </a:lnTo>
                    <a:lnTo>
                      <a:pt x="61" y="206"/>
                    </a:lnTo>
                    <a:lnTo>
                      <a:pt x="61" y="201"/>
                    </a:lnTo>
                    <a:lnTo>
                      <a:pt x="62" y="200"/>
                    </a:lnTo>
                    <a:lnTo>
                      <a:pt x="65" y="200"/>
                    </a:lnTo>
                    <a:lnTo>
                      <a:pt x="67" y="198"/>
                    </a:lnTo>
                    <a:lnTo>
                      <a:pt x="64" y="198"/>
                    </a:lnTo>
                    <a:lnTo>
                      <a:pt x="59" y="198"/>
                    </a:lnTo>
                    <a:lnTo>
                      <a:pt x="62" y="195"/>
                    </a:lnTo>
                    <a:lnTo>
                      <a:pt x="61" y="192"/>
                    </a:lnTo>
                    <a:lnTo>
                      <a:pt x="61" y="187"/>
                    </a:lnTo>
                    <a:lnTo>
                      <a:pt x="64" y="189"/>
                    </a:lnTo>
                    <a:lnTo>
                      <a:pt x="69" y="189"/>
                    </a:lnTo>
                    <a:lnTo>
                      <a:pt x="70" y="190"/>
                    </a:lnTo>
                    <a:lnTo>
                      <a:pt x="69" y="185"/>
                    </a:lnTo>
                    <a:lnTo>
                      <a:pt x="69" y="182"/>
                    </a:lnTo>
                    <a:lnTo>
                      <a:pt x="69" y="179"/>
                    </a:lnTo>
                    <a:lnTo>
                      <a:pt x="69" y="176"/>
                    </a:lnTo>
                    <a:lnTo>
                      <a:pt x="72" y="173"/>
                    </a:lnTo>
                    <a:lnTo>
                      <a:pt x="75" y="170"/>
                    </a:lnTo>
                    <a:lnTo>
                      <a:pt x="77" y="170"/>
                    </a:lnTo>
                    <a:lnTo>
                      <a:pt x="80" y="170"/>
                    </a:lnTo>
                    <a:lnTo>
                      <a:pt x="83" y="168"/>
                    </a:lnTo>
                    <a:lnTo>
                      <a:pt x="100" y="165"/>
                    </a:lnTo>
                    <a:lnTo>
                      <a:pt x="118" y="160"/>
                    </a:lnTo>
                    <a:lnTo>
                      <a:pt x="123" y="157"/>
                    </a:lnTo>
                    <a:lnTo>
                      <a:pt x="126" y="155"/>
                    </a:lnTo>
                    <a:lnTo>
                      <a:pt x="127" y="154"/>
                    </a:lnTo>
                    <a:lnTo>
                      <a:pt x="131" y="149"/>
                    </a:lnTo>
                    <a:lnTo>
                      <a:pt x="135" y="141"/>
                    </a:lnTo>
                    <a:lnTo>
                      <a:pt x="140" y="132"/>
                    </a:lnTo>
                    <a:lnTo>
                      <a:pt x="148" y="124"/>
                    </a:lnTo>
                    <a:lnTo>
                      <a:pt x="154" y="114"/>
                    </a:lnTo>
                    <a:lnTo>
                      <a:pt x="157" y="111"/>
                    </a:lnTo>
                    <a:lnTo>
                      <a:pt x="157" y="106"/>
                    </a:lnTo>
                    <a:lnTo>
                      <a:pt x="157" y="101"/>
                    </a:lnTo>
                    <a:lnTo>
                      <a:pt x="157" y="98"/>
                    </a:lnTo>
                    <a:lnTo>
                      <a:pt x="164" y="98"/>
                    </a:lnTo>
                    <a:lnTo>
                      <a:pt x="167" y="100"/>
                    </a:lnTo>
                    <a:lnTo>
                      <a:pt x="169" y="105"/>
                    </a:lnTo>
                    <a:lnTo>
                      <a:pt x="170" y="109"/>
                    </a:lnTo>
                    <a:lnTo>
                      <a:pt x="173" y="111"/>
                    </a:lnTo>
                    <a:lnTo>
                      <a:pt x="176" y="116"/>
                    </a:lnTo>
                    <a:lnTo>
                      <a:pt x="180" y="119"/>
                    </a:lnTo>
                    <a:lnTo>
                      <a:pt x="183" y="120"/>
                    </a:lnTo>
                    <a:lnTo>
                      <a:pt x="186" y="117"/>
                    </a:lnTo>
                    <a:lnTo>
                      <a:pt x="188" y="114"/>
                    </a:lnTo>
                    <a:lnTo>
                      <a:pt x="189" y="111"/>
                    </a:lnTo>
                    <a:lnTo>
                      <a:pt x="189" y="109"/>
                    </a:lnTo>
                    <a:lnTo>
                      <a:pt x="191" y="106"/>
                    </a:lnTo>
                    <a:lnTo>
                      <a:pt x="188" y="101"/>
                    </a:lnTo>
                    <a:lnTo>
                      <a:pt x="188" y="98"/>
                    </a:lnTo>
                    <a:lnTo>
                      <a:pt x="186" y="95"/>
                    </a:lnTo>
                    <a:lnTo>
                      <a:pt x="186" y="92"/>
                    </a:lnTo>
                    <a:lnTo>
                      <a:pt x="191" y="89"/>
                    </a:lnTo>
                    <a:lnTo>
                      <a:pt x="191" y="89"/>
                    </a:lnTo>
                    <a:lnTo>
                      <a:pt x="194" y="86"/>
                    </a:lnTo>
                    <a:lnTo>
                      <a:pt x="196" y="95"/>
                    </a:lnTo>
                    <a:lnTo>
                      <a:pt x="199" y="106"/>
                    </a:lnTo>
                    <a:lnTo>
                      <a:pt x="202" y="108"/>
                    </a:lnTo>
                    <a:lnTo>
                      <a:pt x="205" y="109"/>
                    </a:lnTo>
                    <a:lnTo>
                      <a:pt x="205" y="103"/>
                    </a:lnTo>
                    <a:lnTo>
                      <a:pt x="203" y="97"/>
                    </a:lnTo>
                    <a:lnTo>
                      <a:pt x="202" y="90"/>
                    </a:lnTo>
                    <a:lnTo>
                      <a:pt x="199" y="86"/>
                    </a:lnTo>
                    <a:lnTo>
                      <a:pt x="202" y="82"/>
                    </a:lnTo>
                    <a:lnTo>
                      <a:pt x="205" y="86"/>
                    </a:lnTo>
                    <a:lnTo>
                      <a:pt x="208" y="82"/>
                    </a:lnTo>
                    <a:lnTo>
                      <a:pt x="211" y="81"/>
                    </a:lnTo>
                    <a:lnTo>
                      <a:pt x="215" y="76"/>
                    </a:lnTo>
                    <a:lnTo>
                      <a:pt x="213" y="73"/>
                    </a:lnTo>
                    <a:lnTo>
                      <a:pt x="210" y="71"/>
                    </a:lnTo>
                    <a:lnTo>
                      <a:pt x="207" y="68"/>
                    </a:lnTo>
                    <a:lnTo>
                      <a:pt x="207" y="67"/>
                    </a:lnTo>
                    <a:lnTo>
                      <a:pt x="208" y="63"/>
                    </a:lnTo>
                    <a:lnTo>
                      <a:pt x="211" y="60"/>
                    </a:lnTo>
                    <a:lnTo>
                      <a:pt x="215" y="57"/>
                    </a:lnTo>
                    <a:lnTo>
                      <a:pt x="215" y="60"/>
                    </a:lnTo>
                    <a:lnTo>
                      <a:pt x="216" y="60"/>
                    </a:lnTo>
                    <a:lnTo>
                      <a:pt x="219" y="60"/>
                    </a:lnTo>
                    <a:lnTo>
                      <a:pt x="224" y="57"/>
                    </a:lnTo>
                    <a:lnTo>
                      <a:pt x="224" y="54"/>
                    </a:lnTo>
                    <a:lnTo>
                      <a:pt x="226" y="51"/>
                    </a:lnTo>
                    <a:lnTo>
                      <a:pt x="227" y="49"/>
                    </a:lnTo>
                    <a:lnTo>
                      <a:pt x="230" y="46"/>
                    </a:lnTo>
                    <a:lnTo>
                      <a:pt x="230" y="43"/>
                    </a:lnTo>
                    <a:lnTo>
                      <a:pt x="232" y="38"/>
                    </a:lnTo>
                    <a:lnTo>
                      <a:pt x="232" y="35"/>
                    </a:lnTo>
                    <a:lnTo>
                      <a:pt x="234" y="32"/>
                    </a:lnTo>
                    <a:lnTo>
                      <a:pt x="238" y="30"/>
                    </a:lnTo>
                    <a:lnTo>
                      <a:pt x="238" y="27"/>
                    </a:lnTo>
                    <a:lnTo>
                      <a:pt x="242" y="24"/>
                    </a:lnTo>
                    <a:lnTo>
                      <a:pt x="245" y="21"/>
                    </a:lnTo>
                    <a:lnTo>
                      <a:pt x="246" y="17"/>
                    </a:lnTo>
                    <a:lnTo>
                      <a:pt x="248" y="13"/>
                    </a:lnTo>
                    <a:lnTo>
                      <a:pt x="249" y="9"/>
                    </a:lnTo>
                    <a:lnTo>
                      <a:pt x="249" y="6"/>
                    </a:lnTo>
                    <a:lnTo>
                      <a:pt x="251" y="3"/>
                    </a:lnTo>
                    <a:lnTo>
                      <a:pt x="254" y="0"/>
                    </a:lnTo>
                    <a:lnTo>
                      <a:pt x="256" y="3"/>
                    </a:lnTo>
                    <a:lnTo>
                      <a:pt x="256" y="6"/>
                    </a:lnTo>
                    <a:lnTo>
                      <a:pt x="256" y="9"/>
                    </a:lnTo>
                    <a:lnTo>
                      <a:pt x="254" y="13"/>
                    </a:lnTo>
                    <a:lnTo>
                      <a:pt x="256" y="17"/>
                    </a:lnTo>
                    <a:lnTo>
                      <a:pt x="259" y="14"/>
                    </a:lnTo>
                    <a:lnTo>
                      <a:pt x="262" y="11"/>
                    </a:lnTo>
                    <a:lnTo>
                      <a:pt x="264" y="6"/>
                    </a:lnTo>
                    <a:lnTo>
                      <a:pt x="262" y="3"/>
                    </a:lnTo>
                    <a:lnTo>
                      <a:pt x="265" y="0"/>
                    </a:lnTo>
                    <a:lnTo>
                      <a:pt x="268" y="0"/>
                    </a:lnTo>
                    <a:lnTo>
                      <a:pt x="270" y="3"/>
                    </a:lnTo>
                    <a:lnTo>
                      <a:pt x="270" y="8"/>
                    </a:lnTo>
                    <a:lnTo>
                      <a:pt x="272" y="11"/>
                    </a:lnTo>
                    <a:lnTo>
                      <a:pt x="273" y="14"/>
                    </a:lnTo>
                    <a:lnTo>
                      <a:pt x="276" y="16"/>
                    </a:lnTo>
                    <a:lnTo>
                      <a:pt x="280" y="17"/>
                    </a:lnTo>
                    <a:lnTo>
                      <a:pt x="281" y="14"/>
                    </a:lnTo>
                    <a:lnTo>
                      <a:pt x="283" y="17"/>
                    </a:lnTo>
                    <a:lnTo>
                      <a:pt x="286" y="19"/>
                    </a:lnTo>
                    <a:lnTo>
                      <a:pt x="289" y="22"/>
                    </a:lnTo>
                    <a:lnTo>
                      <a:pt x="289" y="24"/>
                    </a:lnTo>
                    <a:lnTo>
                      <a:pt x="289" y="27"/>
                    </a:lnTo>
                    <a:lnTo>
                      <a:pt x="289" y="30"/>
                    </a:lnTo>
                    <a:lnTo>
                      <a:pt x="286" y="32"/>
                    </a:lnTo>
                    <a:lnTo>
                      <a:pt x="286" y="35"/>
                    </a:lnTo>
                    <a:lnTo>
                      <a:pt x="286" y="38"/>
                    </a:lnTo>
                    <a:lnTo>
                      <a:pt x="288" y="41"/>
                    </a:lnTo>
                    <a:lnTo>
                      <a:pt x="284" y="44"/>
                    </a:lnTo>
                    <a:lnTo>
                      <a:pt x="281" y="46"/>
                    </a:lnTo>
                    <a:lnTo>
                      <a:pt x="284" y="44"/>
                    </a:lnTo>
                    <a:lnTo>
                      <a:pt x="288" y="44"/>
                    </a:lnTo>
                    <a:lnTo>
                      <a:pt x="291" y="44"/>
                    </a:lnTo>
                    <a:lnTo>
                      <a:pt x="294" y="43"/>
                    </a:lnTo>
                    <a:lnTo>
                      <a:pt x="299" y="40"/>
                    </a:lnTo>
                    <a:lnTo>
                      <a:pt x="302" y="40"/>
                    </a:lnTo>
                    <a:lnTo>
                      <a:pt x="303" y="43"/>
                    </a:lnTo>
                    <a:lnTo>
                      <a:pt x="303" y="47"/>
                    </a:lnTo>
                    <a:lnTo>
                      <a:pt x="300" y="49"/>
                    </a:lnTo>
                    <a:lnTo>
                      <a:pt x="297" y="49"/>
                    </a:lnTo>
                    <a:lnTo>
                      <a:pt x="299" y="54"/>
                    </a:lnTo>
                    <a:lnTo>
                      <a:pt x="302" y="52"/>
                    </a:lnTo>
                    <a:lnTo>
                      <a:pt x="307" y="51"/>
                    </a:lnTo>
                    <a:lnTo>
                      <a:pt x="310" y="47"/>
                    </a:lnTo>
                    <a:lnTo>
                      <a:pt x="313" y="49"/>
                    </a:lnTo>
                    <a:lnTo>
                      <a:pt x="316" y="49"/>
                    </a:lnTo>
                    <a:lnTo>
                      <a:pt x="319" y="52"/>
                    </a:lnTo>
                    <a:lnTo>
                      <a:pt x="321" y="55"/>
                    </a:lnTo>
                    <a:lnTo>
                      <a:pt x="322" y="59"/>
                    </a:lnTo>
                    <a:lnTo>
                      <a:pt x="326" y="57"/>
                    </a:lnTo>
                    <a:lnTo>
                      <a:pt x="329" y="60"/>
                    </a:lnTo>
                    <a:lnTo>
                      <a:pt x="332" y="62"/>
                    </a:lnTo>
                    <a:lnTo>
                      <a:pt x="335" y="65"/>
                    </a:lnTo>
                    <a:lnTo>
                      <a:pt x="337" y="63"/>
                    </a:lnTo>
                    <a:lnTo>
                      <a:pt x="340" y="65"/>
                    </a:lnTo>
                    <a:lnTo>
                      <a:pt x="343" y="63"/>
                    </a:lnTo>
                    <a:lnTo>
                      <a:pt x="346" y="67"/>
                    </a:lnTo>
                    <a:lnTo>
                      <a:pt x="346" y="73"/>
                    </a:lnTo>
                    <a:lnTo>
                      <a:pt x="343" y="78"/>
                    </a:lnTo>
                    <a:lnTo>
                      <a:pt x="340" y="79"/>
                    </a:lnTo>
                    <a:lnTo>
                      <a:pt x="337" y="79"/>
                    </a:lnTo>
                    <a:lnTo>
                      <a:pt x="334" y="81"/>
                    </a:lnTo>
                    <a:lnTo>
                      <a:pt x="329" y="82"/>
                    </a:lnTo>
                    <a:lnTo>
                      <a:pt x="326" y="84"/>
                    </a:lnTo>
                    <a:lnTo>
                      <a:pt x="322" y="82"/>
                    </a:lnTo>
                    <a:lnTo>
                      <a:pt x="319" y="82"/>
                    </a:lnTo>
                    <a:lnTo>
                      <a:pt x="316" y="79"/>
                    </a:lnTo>
                    <a:lnTo>
                      <a:pt x="313" y="82"/>
                    </a:lnTo>
                    <a:lnTo>
                      <a:pt x="308" y="84"/>
                    </a:lnTo>
                    <a:lnTo>
                      <a:pt x="308" y="87"/>
                    </a:lnTo>
                    <a:lnTo>
                      <a:pt x="310" y="90"/>
                    </a:lnTo>
                    <a:lnTo>
                      <a:pt x="313" y="95"/>
                    </a:lnTo>
                    <a:lnTo>
                      <a:pt x="316" y="97"/>
                    </a:lnTo>
                    <a:lnTo>
                      <a:pt x="321" y="98"/>
                    </a:lnTo>
                    <a:lnTo>
                      <a:pt x="321" y="101"/>
                    </a:lnTo>
                    <a:lnTo>
                      <a:pt x="324" y="101"/>
                    </a:lnTo>
                    <a:lnTo>
                      <a:pt x="326" y="105"/>
                    </a:lnTo>
                    <a:lnTo>
                      <a:pt x="322" y="108"/>
                    </a:lnTo>
                    <a:lnTo>
                      <a:pt x="319" y="108"/>
                    </a:lnTo>
                    <a:lnTo>
                      <a:pt x="316" y="108"/>
                    </a:lnTo>
                    <a:lnTo>
                      <a:pt x="314" y="109"/>
                    </a:lnTo>
                    <a:lnTo>
                      <a:pt x="311" y="109"/>
                    </a:lnTo>
                    <a:lnTo>
                      <a:pt x="305" y="112"/>
                    </a:lnTo>
                    <a:lnTo>
                      <a:pt x="302" y="112"/>
                    </a:lnTo>
                    <a:lnTo>
                      <a:pt x="297" y="111"/>
                    </a:lnTo>
                    <a:lnTo>
                      <a:pt x="291" y="105"/>
                    </a:lnTo>
                    <a:lnTo>
                      <a:pt x="289" y="108"/>
                    </a:lnTo>
                    <a:lnTo>
                      <a:pt x="291" y="111"/>
                    </a:lnTo>
                    <a:lnTo>
                      <a:pt x="289" y="116"/>
                    </a:lnTo>
                    <a:lnTo>
                      <a:pt x="288" y="114"/>
                    </a:lnTo>
                    <a:lnTo>
                      <a:pt x="284" y="114"/>
                    </a:lnTo>
                    <a:lnTo>
                      <a:pt x="281" y="111"/>
                    </a:lnTo>
                    <a:lnTo>
                      <a:pt x="278" y="109"/>
                    </a:lnTo>
                    <a:lnTo>
                      <a:pt x="275" y="108"/>
                    </a:lnTo>
                    <a:lnTo>
                      <a:pt x="270" y="108"/>
                    </a:lnTo>
                    <a:lnTo>
                      <a:pt x="267" y="109"/>
                    </a:lnTo>
                    <a:lnTo>
                      <a:pt x="264" y="108"/>
                    </a:lnTo>
                    <a:lnTo>
                      <a:pt x="261" y="109"/>
                    </a:lnTo>
                    <a:lnTo>
                      <a:pt x="257" y="108"/>
                    </a:lnTo>
                    <a:lnTo>
                      <a:pt x="254" y="108"/>
                    </a:lnTo>
                    <a:lnTo>
                      <a:pt x="251" y="106"/>
                    </a:lnTo>
                    <a:lnTo>
                      <a:pt x="249" y="109"/>
                    </a:lnTo>
                    <a:lnTo>
                      <a:pt x="246" y="111"/>
                    </a:lnTo>
                    <a:lnTo>
                      <a:pt x="243" y="106"/>
                    </a:lnTo>
                    <a:lnTo>
                      <a:pt x="240" y="108"/>
                    </a:lnTo>
                    <a:lnTo>
                      <a:pt x="237" y="106"/>
                    </a:lnTo>
                    <a:lnTo>
                      <a:pt x="234" y="111"/>
                    </a:lnTo>
                    <a:lnTo>
                      <a:pt x="230" y="108"/>
                    </a:lnTo>
                    <a:lnTo>
                      <a:pt x="226" y="106"/>
                    </a:lnTo>
                    <a:lnTo>
                      <a:pt x="226" y="108"/>
                    </a:lnTo>
                    <a:lnTo>
                      <a:pt x="224" y="111"/>
                    </a:lnTo>
                    <a:lnTo>
                      <a:pt x="221" y="114"/>
                    </a:lnTo>
                    <a:lnTo>
                      <a:pt x="219" y="117"/>
                    </a:lnTo>
                    <a:lnTo>
                      <a:pt x="219" y="120"/>
                    </a:lnTo>
                    <a:lnTo>
                      <a:pt x="218" y="124"/>
                    </a:lnTo>
                    <a:lnTo>
                      <a:pt x="218" y="127"/>
                    </a:lnTo>
                    <a:lnTo>
                      <a:pt x="218" y="128"/>
                    </a:lnTo>
                    <a:lnTo>
                      <a:pt x="218" y="132"/>
                    </a:lnTo>
                    <a:lnTo>
                      <a:pt x="216" y="135"/>
                    </a:lnTo>
                    <a:lnTo>
                      <a:pt x="216" y="138"/>
                    </a:lnTo>
                    <a:lnTo>
                      <a:pt x="218" y="141"/>
                    </a:lnTo>
                    <a:lnTo>
                      <a:pt x="219" y="144"/>
                    </a:lnTo>
                    <a:lnTo>
                      <a:pt x="216" y="147"/>
                    </a:lnTo>
                    <a:lnTo>
                      <a:pt x="216" y="152"/>
                    </a:lnTo>
                    <a:lnTo>
                      <a:pt x="215" y="155"/>
                    </a:lnTo>
                    <a:lnTo>
                      <a:pt x="215" y="158"/>
                    </a:lnTo>
                    <a:lnTo>
                      <a:pt x="213" y="162"/>
                    </a:lnTo>
                    <a:lnTo>
                      <a:pt x="210" y="163"/>
                    </a:lnTo>
                    <a:lnTo>
                      <a:pt x="207" y="162"/>
                    </a:lnTo>
                    <a:lnTo>
                      <a:pt x="203" y="165"/>
                    </a:lnTo>
                    <a:lnTo>
                      <a:pt x="202" y="170"/>
                    </a:lnTo>
                    <a:lnTo>
                      <a:pt x="202" y="173"/>
                    </a:lnTo>
                    <a:lnTo>
                      <a:pt x="200" y="176"/>
                    </a:lnTo>
                    <a:lnTo>
                      <a:pt x="202" y="179"/>
                    </a:lnTo>
                    <a:lnTo>
                      <a:pt x="203" y="179"/>
                    </a:lnTo>
                    <a:lnTo>
                      <a:pt x="207" y="182"/>
                    </a:lnTo>
                    <a:lnTo>
                      <a:pt x="202" y="184"/>
                    </a:lnTo>
                    <a:lnTo>
                      <a:pt x="200" y="189"/>
                    </a:lnTo>
                    <a:lnTo>
                      <a:pt x="196" y="189"/>
                    </a:lnTo>
                    <a:lnTo>
                      <a:pt x="194" y="193"/>
                    </a:lnTo>
                    <a:lnTo>
                      <a:pt x="191" y="195"/>
                    </a:lnTo>
                    <a:lnTo>
                      <a:pt x="191" y="198"/>
                    </a:lnTo>
                    <a:lnTo>
                      <a:pt x="192" y="203"/>
                    </a:lnTo>
                    <a:lnTo>
                      <a:pt x="192" y="206"/>
                    </a:lnTo>
                    <a:lnTo>
                      <a:pt x="191" y="209"/>
                    </a:lnTo>
                    <a:lnTo>
                      <a:pt x="188" y="212"/>
                    </a:lnTo>
                    <a:lnTo>
                      <a:pt x="188" y="216"/>
                    </a:lnTo>
                    <a:lnTo>
                      <a:pt x="186" y="219"/>
                    </a:lnTo>
                    <a:lnTo>
                      <a:pt x="183" y="222"/>
                    </a:lnTo>
                    <a:lnTo>
                      <a:pt x="183" y="227"/>
                    </a:lnTo>
                    <a:lnTo>
                      <a:pt x="180" y="227"/>
                    </a:lnTo>
                    <a:lnTo>
                      <a:pt x="176" y="223"/>
                    </a:lnTo>
                    <a:lnTo>
                      <a:pt x="173" y="225"/>
                    </a:lnTo>
                    <a:lnTo>
                      <a:pt x="170" y="227"/>
                    </a:lnTo>
                    <a:lnTo>
                      <a:pt x="169" y="227"/>
                    </a:lnTo>
                    <a:lnTo>
                      <a:pt x="165" y="227"/>
                    </a:lnTo>
                    <a:lnTo>
                      <a:pt x="165" y="225"/>
                    </a:lnTo>
                    <a:lnTo>
                      <a:pt x="162" y="227"/>
                    </a:lnTo>
                    <a:lnTo>
                      <a:pt x="157" y="228"/>
                    </a:lnTo>
                    <a:lnTo>
                      <a:pt x="156" y="231"/>
                    </a:lnTo>
                    <a:lnTo>
                      <a:pt x="153" y="235"/>
                    </a:lnTo>
                    <a:lnTo>
                      <a:pt x="148" y="235"/>
                    </a:lnTo>
                    <a:lnTo>
                      <a:pt x="145" y="231"/>
                    </a:lnTo>
                    <a:lnTo>
                      <a:pt x="142" y="233"/>
                    </a:lnTo>
                    <a:lnTo>
                      <a:pt x="138" y="230"/>
                    </a:lnTo>
                    <a:lnTo>
                      <a:pt x="135" y="230"/>
                    </a:lnTo>
                    <a:lnTo>
                      <a:pt x="131" y="227"/>
                    </a:lnTo>
                    <a:lnTo>
                      <a:pt x="127" y="225"/>
                    </a:lnTo>
                    <a:lnTo>
                      <a:pt x="127" y="222"/>
                    </a:lnTo>
                    <a:lnTo>
                      <a:pt x="123" y="222"/>
                    </a:lnTo>
                    <a:lnTo>
                      <a:pt x="119" y="222"/>
                    </a:lnTo>
                    <a:lnTo>
                      <a:pt x="116" y="222"/>
                    </a:lnTo>
                    <a:lnTo>
                      <a:pt x="113" y="222"/>
                    </a:lnTo>
                    <a:lnTo>
                      <a:pt x="108" y="222"/>
                    </a:lnTo>
                    <a:lnTo>
                      <a:pt x="105" y="223"/>
                    </a:lnTo>
                    <a:lnTo>
                      <a:pt x="102" y="223"/>
                    </a:lnTo>
                    <a:lnTo>
                      <a:pt x="99" y="225"/>
                    </a:lnTo>
                    <a:lnTo>
                      <a:pt x="97" y="230"/>
                    </a:lnTo>
                    <a:lnTo>
                      <a:pt x="97" y="231"/>
                    </a:lnTo>
                    <a:lnTo>
                      <a:pt x="96" y="235"/>
                    </a:lnTo>
                    <a:lnTo>
                      <a:pt x="96" y="238"/>
                    </a:lnTo>
                    <a:lnTo>
                      <a:pt x="94" y="239"/>
                    </a:lnTo>
                    <a:lnTo>
                      <a:pt x="89" y="239"/>
                    </a:lnTo>
                    <a:lnTo>
                      <a:pt x="86" y="241"/>
                    </a:lnTo>
                    <a:lnTo>
                      <a:pt x="83" y="246"/>
                    </a:lnTo>
                    <a:lnTo>
                      <a:pt x="80" y="244"/>
                    </a:lnTo>
                    <a:lnTo>
                      <a:pt x="77" y="244"/>
                    </a:lnTo>
                    <a:lnTo>
                      <a:pt x="73" y="246"/>
                    </a:lnTo>
                    <a:lnTo>
                      <a:pt x="70" y="244"/>
                    </a:lnTo>
                    <a:lnTo>
                      <a:pt x="65" y="244"/>
                    </a:lnTo>
                    <a:lnTo>
                      <a:pt x="62" y="241"/>
                    </a:lnTo>
                    <a:lnTo>
                      <a:pt x="59" y="243"/>
                    </a:lnTo>
                    <a:lnTo>
                      <a:pt x="56" y="244"/>
                    </a:lnTo>
                    <a:lnTo>
                      <a:pt x="53" y="244"/>
                    </a:lnTo>
                    <a:lnTo>
                      <a:pt x="48" y="246"/>
                    </a:lnTo>
                    <a:lnTo>
                      <a:pt x="45" y="249"/>
                    </a:lnTo>
                    <a:lnTo>
                      <a:pt x="42" y="249"/>
                    </a:lnTo>
                    <a:lnTo>
                      <a:pt x="39" y="250"/>
                    </a:lnTo>
                    <a:lnTo>
                      <a:pt x="35" y="249"/>
                    </a:lnTo>
                    <a:lnTo>
                      <a:pt x="32" y="246"/>
                    </a:lnTo>
                    <a:lnTo>
                      <a:pt x="29" y="244"/>
                    </a:lnTo>
                    <a:lnTo>
                      <a:pt x="27" y="241"/>
                    </a:lnTo>
                    <a:lnTo>
                      <a:pt x="24" y="238"/>
                    </a:lnTo>
                    <a:lnTo>
                      <a:pt x="21" y="236"/>
                    </a:lnTo>
                    <a:lnTo>
                      <a:pt x="18" y="233"/>
                    </a:lnTo>
                    <a:lnTo>
                      <a:pt x="16" y="231"/>
                    </a:lnTo>
                    <a:lnTo>
                      <a:pt x="16" y="230"/>
                    </a:lnTo>
                    <a:lnTo>
                      <a:pt x="15" y="228"/>
                    </a:lnTo>
                    <a:lnTo>
                      <a:pt x="12" y="227"/>
                    </a:lnTo>
                    <a:lnTo>
                      <a:pt x="8" y="223"/>
                    </a:lnTo>
                    <a:lnTo>
                      <a:pt x="5" y="220"/>
                    </a:lnTo>
                    <a:lnTo>
                      <a:pt x="5" y="217"/>
                    </a:lnTo>
                    <a:lnTo>
                      <a:pt x="5" y="212"/>
                    </a:lnTo>
                    <a:lnTo>
                      <a:pt x="2" y="212"/>
                    </a:lnTo>
                    <a:lnTo>
                      <a:pt x="0" y="208"/>
                    </a:lnTo>
                    <a:lnTo>
                      <a:pt x="4" y="204"/>
                    </a:lnTo>
                    <a:lnTo>
                      <a:pt x="5" y="20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57" name="Freeform 133"/>
              <p:cNvSpPr>
                <a:spLocks/>
              </p:cNvSpPr>
              <p:nvPr/>
            </p:nvSpPr>
            <p:spPr bwMode="auto">
              <a:xfrm>
                <a:off x="7318028" y="3753761"/>
                <a:ext cx="26444" cy="30202"/>
              </a:xfrm>
              <a:custGeom>
                <a:avLst/>
                <a:gdLst>
                  <a:gd name="T0" fmla="*/ 0 w 34"/>
                  <a:gd name="T1" fmla="*/ 17 h 39"/>
                  <a:gd name="T2" fmla="*/ 2 w 34"/>
                  <a:gd name="T3" fmla="*/ 17 h 39"/>
                  <a:gd name="T4" fmla="*/ 5 w 34"/>
                  <a:gd name="T5" fmla="*/ 17 h 39"/>
                  <a:gd name="T6" fmla="*/ 8 w 34"/>
                  <a:gd name="T7" fmla="*/ 16 h 39"/>
                  <a:gd name="T8" fmla="*/ 13 w 34"/>
                  <a:gd name="T9" fmla="*/ 14 h 39"/>
                  <a:gd name="T10" fmla="*/ 16 w 34"/>
                  <a:gd name="T11" fmla="*/ 12 h 39"/>
                  <a:gd name="T12" fmla="*/ 18 w 34"/>
                  <a:gd name="T13" fmla="*/ 9 h 39"/>
                  <a:gd name="T14" fmla="*/ 21 w 34"/>
                  <a:gd name="T15" fmla="*/ 6 h 39"/>
                  <a:gd name="T16" fmla="*/ 24 w 34"/>
                  <a:gd name="T17" fmla="*/ 3 h 39"/>
                  <a:gd name="T18" fmla="*/ 26 w 34"/>
                  <a:gd name="T19" fmla="*/ 1 h 39"/>
                  <a:gd name="T20" fmla="*/ 30 w 34"/>
                  <a:gd name="T21" fmla="*/ 0 h 39"/>
                  <a:gd name="T22" fmla="*/ 34 w 34"/>
                  <a:gd name="T23" fmla="*/ 0 h 39"/>
                  <a:gd name="T24" fmla="*/ 34 w 34"/>
                  <a:gd name="T25" fmla="*/ 1 h 39"/>
                  <a:gd name="T26" fmla="*/ 32 w 34"/>
                  <a:gd name="T27" fmla="*/ 5 h 39"/>
                  <a:gd name="T28" fmla="*/ 29 w 34"/>
                  <a:gd name="T29" fmla="*/ 8 h 39"/>
                  <a:gd name="T30" fmla="*/ 29 w 34"/>
                  <a:gd name="T31" fmla="*/ 8 h 39"/>
                  <a:gd name="T32" fmla="*/ 24 w 34"/>
                  <a:gd name="T33" fmla="*/ 11 h 39"/>
                  <a:gd name="T34" fmla="*/ 24 w 34"/>
                  <a:gd name="T35" fmla="*/ 14 h 39"/>
                  <a:gd name="T36" fmla="*/ 26 w 34"/>
                  <a:gd name="T37" fmla="*/ 17 h 39"/>
                  <a:gd name="T38" fmla="*/ 26 w 34"/>
                  <a:gd name="T39" fmla="*/ 20 h 39"/>
                  <a:gd name="T40" fmla="*/ 29 w 34"/>
                  <a:gd name="T41" fmla="*/ 25 h 39"/>
                  <a:gd name="T42" fmla="*/ 27 w 34"/>
                  <a:gd name="T43" fmla="*/ 28 h 39"/>
                  <a:gd name="T44" fmla="*/ 27 w 34"/>
                  <a:gd name="T45" fmla="*/ 30 h 39"/>
                  <a:gd name="T46" fmla="*/ 26 w 34"/>
                  <a:gd name="T47" fmla="*/ 33 h 39"/>
                  <a:gd name="T48" fmla="*/ 24 w 34"/>
                  <a:gd name="T49" fmla="*/ 36 h 39"/>
                  <a:gd name="T50" fmla="*/ 21 w 34"/>
                  <a:gd name="T51" fmla="*/ 39 h 39"/>
                  <a:gd name="T52" fmla="*/ 18 w 34"/>
                  <a:gd name="T53" fmla="*/ 38 h 39"/>
                  <a:gd name="T54" fmla="*/ 14 w 34"/>
                  <a:gd name="T55" fmla="*/ 35 h 39"/>
                  <a:gd name="T56" fmla="*/ 11 w 34"/>
                  <a:gd name="T57" fmla="*/ 30 h 39"/>
                  <a:gd name="T58" fmla="*/ 8 w 34"/>
                  <a:gd name="T59" fmla="*/ 28 h 39"/>
                  <a:gd name="T60" fmla="*/ 8 w 34"/>
                  <a:gd name="T61" fmla="*/ 25 h 39"/>
                  <a:gd name="T62" fmla="*/ 7 w 34"/>
                  <a:gd name="T63" fmla="*/ 22 h 39"/>
                  <a:gd name="T64" fmla="*/ 3 w 34"/>
                  <a:gd name="T65" fmla="*/ 19 h 39"/>
                  <a:gd name="T66" fmla="*/ 0 w 34"/>
                  <a:gd name="T67" fmla="*/ 17 h 39"/>
                  <a:gd name="T68" fmla="*/ 0 w 34"/>
                  <a:gd name="T69" fmla="*/ 17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4" h="39">
                    <a:moveTo>
                      <a:pt x="0" y="17"/>
                    </a:moveTo>
                    <a:lnTo>
                      <a:pt x="2" y="17"/>
                    </a:lnTo>
                    <a:lnTo>
                      <a:pt x="5" y="17"/>
                    </a:lnTo>
                    <a:lnTo>
                      <a:pt x="8" y="16"/>
                    </a:lnTo>
                    <a:lnTo>
                      <a:pt x="13" y="14"/>
                    </a:lnTo>
                    <a:lnTo>
                      <a:pt x="16" y="12"/>
                    </a:lnTo>
                    <a:lnTo>
                      <a:pt x="18" y="9"/>
                    </a:lnTo>
                    <a:lnTo>
                      <a:pt x="21" y="6"/>
                    </a:lnTo>
                    <a:lnTo>
                      <a:pt x="24" y="3"/>
                    </a:lnTo>
                    <a:lnTo>
                      <a:pt x="26" y="1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1"/>
                    </a:lnTo>
                    <a:lnTo>
                      <a:pt x="32" y="5"/>
                    </a:lnTo>
                    <a:lnTo>
                      <a:pt x="29" y="8"/>
                    </a:lnTo>
                    <a:lnTo>
                      <a:pt x="29" y="8"/>
                    </a:lnTo>
                    <a:lnTo>
                      <a:pt x="24" y="11"/>
                    </a:lnTo>
                    <a:lnTo>
                      <a:pt x="24" y="14"/>
                    </a:lnTo>
                    <a:lnTo>
                      <a:pt x="26" y="17"/>
                    </a:lnTo>
                    <a:lnTo>
                      <a:pt x="26" y="20"/>
                    </a:lnTo>
                    <a:lnTo>
                      <a:pt x="29" y="25"/>
                    </a:lnTo>
                    <a:lnTo>
                      <a:pt x="27" y="28"/>
                    </a:lnTo>
                    <a:lnTo>
                      <a:pt x="27" y="30"/>
                    </a:lnTo>
                    <a:lnTo>
                      <a:pt x="26" y="33"/>
                    </a:lnTo>
                    <a:lnTo>
                      <a:pt x="24" y="36"/>
                    </a:lnTo>
                    <a:lnTo>
                      <a:pt x="21" y="39"/>
                    </a:lnTo>
                    <a:lnTo>
                      <a:pt x="18" y="38"/>
                    </a:lnTo>
                    <a:lnTo>
                      <a:pt x="14" y="35"/>
                    </a:lnTo>
                    <a:lnTo>
                      <a:pt x="11" y="30"/>
                    </a:lnTo>
                    <a:lnTo>
                      <a:pt x="8" y="28"/>
                    </a:lnTo>
                    <a:lnTo>
                      <a:pt x="8" y="25"/>
                    </a:lnTo>
                    <a:lnTo>
                      <a:pt x="7" y="22"/>
                    </a:lnTo>
                    <a:lnTo>
                      <a:pt x="3" y="19"/>
                    </a:lnTo>
                    <a:lnTo>
                      <a:pt x="0" y="17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58" name="Freeform 134"/>
              <p:cNvSpPr>
                <a:spLocks/>
              </p:cNvSpPr>
              <p:nvPr/>
            </p:nvSpPr>
            <p:spPr bwMode="auto">
              <a:xfrm>
                <a:off x="7615130" y="4166022"/>
                <a:ext cx="65331" cy="34733"/>
              </a:xfrm>
              <a:custGeom>
                <a:avLst/>
                <a:gdLst>
                  <a:gd name="T0" fmla="*/ 2 w 85"/>
                  <a:gd name="T1" fmla="*/ 37 h 46"/>
                  <a:gd name="T2" fmla="*/ 2 w 85"/>
                  <a:gd name="T3" fmla="*/ 40 h 46"/>
                  <a:gd name="T4" fmla="*/ 2 w 85"/>
                  <a:gd name="T5" fmla="*/ 43 h 46"/>
                  <a:gd name="T6" fmla="*/ 2 w 85"/>
                  <a:gd name="T7" fmla="*/ 45 h 46"/>
                  <a:gd name="T8" fmla="*/ 4 w 85"/>
                  <a:gd name="T9" fmla="*/ 45 h 46"/>
                  <a:gd name="T10" fmla="*/ 4 w 85"/>
                  <a:gd name="T11" fmla="*/ 46 h 46"/>
                  <a:gd name="T12" fmla="*/ 13 w 85"/>
                  <a:gd name="T13" fmla="*/ 40 h 46"/>
                  <a:gd name="T14" fmla="*/ 24 w 85"/>
                  <a:gd name="T15" fmla="*/ 35 h 46"/>
                  <a:gd name="T16" fmla="*/ 27 w 85"/>
                  <a:gd name="T17" fmla="*/ 34 h 46"/>
                  <a:gd name="T18" fmla="*/ 31 w 85"/>
                  <a:gd name="T19" fmla="*/ 34 h 46"/>
                  <a:gd name="T20" fmla="*/ 35 w 85"/>
                  <a:gd name="T21" fmla="*/ 32 h 46"/>
                  <a:gd name="T22" fmla="*/ 39 w 85"/>
                  <a:gd name="T23" fmla="*/ 30 h 46"/>
                  <a:gd name="T24" fmla="*/ 42 w 85"/>
                  <a:gd name="T25" fmla="*/ 27 h 46"/>
                  <a:gd name="T26" fmla="*/ 45 w 85"/>
                  <a:gd name="T27" fmla="*/ 27 h 46"/>
                  <a:gd name="T28" fmla="*/ 56 w 85"/>
                  <a:gd name="T29" fmla="*/ 22 h 46"/>
                  <a:gd name="T30" fmla="*/ 65 w 85"/>
                  <a:gd name="T31" fmla="*/ 18 h 46"/>
                  <a:gd name="T32" fmla="*/ 70 w 85"/>
                  <a:gd name="T33" fmla="*/ 16 h 46"/>
                  <a:gd name="T34" fmla="*/ 73 w 85"/>
                  <a:gd name="T35" fmla="*/ 15 h 46"/>
                  <a:gd name="T36" fmla="*/ 77 w 85"/>
                  <a:gd name="T37" fmla="*/ 11 h 46"/>
                  <a:gd name="T38" fmla="*/ 80 w 85"/>
                  <a:gd name="T39" fmla="*/ 10 h 46"/>
                  <a:gd name="T40" fmla="*/ 83 w 85"/>
                  <a:gd name="T41" fmla="*/ 7 h 46"/>
                  <a:gd name="T42" fmla="*/ 85 w 85"/>
                  <a:gd name="T43" fmla="*/ 3 h 46"/>
                  <a:gd name="T44" fmla="*/ 81 w 85"/>
                  <a:gd name="T45" fmla="*/ 0 h 46"/>
                  <a:gd name="T46" fmla="*/ 78 w 85"/>
                  <a:gd name="T47" fmla="*/ 2 h 46"/>
                  <a:gd name="T48" fmla="*/ 75 w 85"/>
                  <a:gd name="T49" fmla="*/ 0 h 46"/>
                  <a:gd name="T50" fmla="*/ 72 w 85"/>
                  <a:gd name="T51" fmla="*/ 0 h 46"/>
                  <a:gd name="T52" fmla="*/ 67 w 85"/>
                  <a:gd name="T53" fmla="*/ 3 h 46"/>
                  <a:gd name="T54" fmla="*/ 64 w 85"/>
                  <a:gd name="T55" fmla="*/ 3 h 46"/>
                  <a:gd name="T56" fmla="*/ 61 w 85"/>
                  <a:gd name="T57" fmla="*/ 5 h 46"/>
                  <a:gd name="T58" fmla="*/ 58 w 85"/>
                  <a:gd name="T59" fmla="*/ 7 h 46"/>
                  <a:gd name="T60" fmla="*/ 54 w 85"/>
                  <a:gd name="T61" fmla="*/ 5 h 46"/>
                  <a:gd name="T62" fmla="*/ 50 w 85"/>
                  <a:gd name="T63" fmla="*/ 5 h 46"/>
                  <a:gd name="T64" fmla="*/ 46 w 85"/>
                  <a:gd name="T65" fmla="*/ 7 h 46"/>
                  <a:gd name="T66" fmla="*/ 43 w 85"/>
                  <a:gd name="T67" fmla="*/ 7 h 46"/>
                  <a:gd name="T68" fmla="*/ 40 w 85"/>
                  <a:gd name="T69" fmla="*/ 8 h 46"/>
                  <a:gd name="T70" fmla="*/ 35 w 85"/>
                  <a:gd name="T71" fmla="*/ 7 h 46"/>
                  <a:gd name="T72" fmla="*/ 31 w 85"/>
                  <a:gd name="T73" fmla="*/ 7 h 46"/>
                  <a:gd name="T74" fmla="*/ 24 w 85"/>
                  <a:gd name="T75" fmla="*/ 8 h 46"/>
                  <a:gd name="T76" fmla="*/ 19 w 85"/>
                  <a:gd name="T77" fmla="*/ 10 h 46"/>
                  <a:gd name="T78" fmla="*/ 16 w 85"/>
                  <a:gd name="T79" fmla="*/ 10 h 46"/>
                  <a:gd name="T80" fmla="*/ 12 w 85"/>
                  <a:gd name="T81" fmla="*/ 11 h 46"/>
                  <a:gd name="T82" fmla="*/ 8 w 85"/>
                  <a:gd name="T83" fmla="*/ 11 h 46"/>
                  <a:gd name="T84" fmla="*/ 5 w 85"/>
                  <a:gd name="T85" fmla="*/ 15 h 46"/>
                  <a:gd name="T86" fmla="*/ 5 w 85"/>
                  <a:gd name="T87" fmla="*/ 18 h 46"/>
                  <a:gd name="T88" fmla="*/ 2 w 85"/>
                  <a:gd name="T89" fmla="*/ 21 h 46"/>
                  <a:gd name="T90" fmla="*/ 0 w 85"/>
                  <a:gd name="T91" fmla="*/ 22 h 46"/>
                  <a:gd name="T92" fmla="*/ 5 w 85"/>
                  <a:gd name="T93" fmla="*/ 24 h 46"/>
                  <a:gd name="T94" fmla="*/ 7 w 85"/>
                  <a:gd name="T95" fmla="*/ 26 h 46"/>
                  <a:gd name="T96" fmla="*/ 8 w 85"/>
                  <a:gd name="T97" fmla="*/ 29 h 46"/>
                  <a:gd name="T98" fmla="*/ 7 w 85"/>
                  <a:gd name="T99" fmla="*/ 30 h 46"/>
                  <a:gd name="T100" fmla="*/ 4 w 85"/>
                  <a:gd name="T101" fmla="*/ 34 h 46"/>
                  <a:gd name="T102" fmla="*/ 4 w 85"/>
                  <a:gd name="T103" fmla="*/ 35 h 46"/>
                  <a:gd name="T104" fmla="*/ 2 w 85"/>
                  <a:gd name="T105" fmla="*/ 37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5" h="46">
                    <a:moveTo>
                      <a:pt x="2" y="37"/>
                    </a:moveTo>
                    <a:lnTo>
                      <a:pt x="2" y="40"/>
                    </a:lnTo>
                    <a:lnTo>
                      <a:pt x="2" y="43"/>
                    </a:lnTo>
                    <a:lnTo>
                      <a:pt x="2" y="45"/>
                    </a:lnTo>
                    <a:lnTo>
                      <a:pt x="4" y="45"/>
                    </a:lnTo>
                    <a:lnTo>
                      <a:pt x="4" y="46"/>
                    </a:lnTo>
                    <a:lnTo>
                      <a:pt x="13" y="40"/>
                    </a:lnTo>
                    <a:lnTo>
                      <a:pt x="24" y="35"/>
                    </a:lnTo>
                    <a:lnTo>
                      <a:pt x="27" y="34"/>
                    </a:lnTo>
                    <a:lnTo>
                      <a:pt x="31" y="34"/>
                    </a:lnTo>
                    <a:lnTo>
                      <a:pt x="35" y="32"/>
                    </a:lnTo>
                    <a:lnTo>
                      <a:pt x="39" y="30"/>
                    </a:lnTo>
                    <a:lnTo>
                      <a:pt x="42" y="27"/>
                    </a:lnTo>
                    <a:lnTo>
                      <a:pt x="45" y="27"/>
                    </a:lnTo>
                    <a:lnTo>
                      <a:pt x="56" y="22"/>
                    </a:lnTo>
                    <a:lnTo>
                      <a:pt x="65" y="18"/>
                    </a:lnTo>
                    <a:lnTo>
                      <a:pt x="70" y="16"/>
                    </a:lnTo>
                    <a:lnTo>
                      <a:pt x="73" y="15"/>
                    </a:lnTo>
                    <a:lnTo>
                      <a:pt x="77" y="11"/>
                    </a:lnTo>
                    <a:lnTo>
                      <a:pt x="80" y="10"/>
                    </a:lnTo>
                    <a:lnTo>
                      <a:pt x="83" y="7"/>
                    </a:lnTo>
                    <a:lnTo>
                      <a:pt x="85" y="3"/>
                    </a:lnTo>
                    <a:lnTo>
                      <a:pt x="81" y="0"/>
                    </a:lnTo>
                    <a:lnTo>
                      <a:pt x="78" y="2"/>
                    </a:lnTo>
                    <a:lnTo>
                      <a:pt x="75" y="0"/>
                    </a:lnTo>
                    <a:lnTo>
                      <a:pt x="72" y="0"/>
                    </a:lnTo>
                    <a:lnTo>
                      <a:pt x="67" y="3"/>
                    </a:lnTo>
                    <a:lnTo>
                      <a:pt x="64" y="3"/>
                    </a:lnTo>
                    <a:lnTo>
                      <a:pt x="61" y="5"/>
                    </a:lnTo>
                    <a:lnTo>
                      <a:pt x="58" y="7"/>
                    </a:lnTo>
                    <a:lnTo>
                      <a:pt x="54" y="5"/>
                    </a:lnTo>
                    <a:lnTo>
                      <a:pt x="50" y="5"/>
                    </a:lnTo>
                    <a:lnTo>
                      <a:pt x="46" y="7"/>
                    </a:lnTo>
                    <a:lnTo>
                      <a:pt x="43" y="7"/>
                    </a:lnTo>
                    <a:lnTo>
                      <a:pt x="40" y="8"/>
                    </a:lnTo>
                    <a:lnTo>
                      <a:pt x="35" y="7"/>
                    </a:lnTo>
                    <a:lnTo>
                      <a:pt x="31" y="7"/>
                    </a:lnTo>
                    <a:lnTo>
                      <a:pt x="24" y="8"/>
                    </a:lnTo>
                    <a:lnTo>
                      <a:pt x="19" y="10"/>
                    </a:lnTo>
                    <a:lnTo>
                      <a:pt x="16" y="10"/>
                    </a:lnTo>
                    <a:lnTo>
                      <a:pt x="12" y="11"/>
                    </a:lnTo>
                    <a:lnTo>
                      <a:pt x="8" y="11"/>
                    </a:lnTo>
                    <a:lnTo>
                      <a:pt x="5" y="15"/>
                    </a:lnTo>
                    <a:lnTo>
                      <a:pt x="5" y="18"/>
                    </a:lnTo>
                    <a:lnTo>
                      <a:pt x="2" y="21"/>
                    </a:lnTo>
                    <a:lnTo>
                      <a:pt x="0" y="22"/>
                    </a:lnTo>
                    <a:lnTo>
                      <a:pt x="5" y="24"/>
                    </a:lnTo>
                    <a:lnTo>
                      <a:pt x="7" y="26"/>
                    </a:lnTo>
                    <a:lnTo>
                      <a:pt x="8" y="29"/>
                    </a:lnTo>
                    <a:lnTo>
                      <a:pt x="7" y="30"/>
                    </a:lnTo>
                    <a:lnTo>
                      <a:pt x="4" y="34"/>
                    </a:lnTo>
                    <a:lnTo>
                      <a:pt x="4" y="35"/>
                    </a:lnTo>
                    <a:lnTo>
                      <a:pt x="2" y="3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grpSp>
            <p:nvGrpSpPr>
              <p:cNvPr id="759" name="Group 135"/>
              <p:cNvGrpSpPr>
                <a:grpSpLocks/>
              </p:cNvGrpSpPr>
              <p:nvPr/>
            </p:nvGrpSpPr>
            <p:grpSpPr bwMode="auto">
              <a:xfrm>
                <a:off x="8063117" y="3969706"/>
                <a:ext cx="426210" cy="270310"/>
                <a:chOff x="5137" y="2530"/>
                <a:chExt cx="274" cy="179"/>
              </a:xfrm>
              <a:grpFill/>
            </p:grpSpPr>
            <p:sp>
              <p:nvSpPr>
                <p:cNvPr id="794" name="Freeform 136"/>
                <p:cNvSpPr>
                  <a:spLocks/>
                </p:cNvSpPr>
                <p:nvPr/>
              </p:nvSpPr>
              <p:spPr bwMode="auto">
                <a:xfrm>
                  <a:off x="5137" y="2543"/>
                  <a:ext cx="175" cy="166"/>
                </a:xfrm>
                <a:custGeom>
                  <a:avLst/>
                  <a:gdLst>
                    <a:gd name="T0" fmla="*/ 3 w 351"/>
                    <a:gd name="T1" fmla="*/ 174 h 331"/>
                    <a:gd name="T2" fmla="*/ 7 w 351"/>
                    <a:gd name="T3" fmla="*/ 153 h 331"/>
                    <a:gd name="T4" fmla="*/ 18 w 351"/>
                    <a:gd name="T5" fmla="*/ 0 h 331"/>
                    <a:gd name="T6" fmla="*/ 38 w 351"/>
                    <a:gd name="T7" fmla="*/ 9 h 331"/>
                    <a:gd name="T8" fmla="*/ 73 w 351"/>
                    <a:gd name="T9" fmla="*/ 25 h 331"/>
                    <a:gd name="T10" fmla="*/ 113 w 351"/>
                    <a:gd name="T11" fmla="*/ 41 h 331"/>
                    <a:gd name="T12" fmla="*/ 143 w 351"/>
                    <a:gd name="T13" fmla="*/ 54 h 331"/>
                    <a:gd name="T14" fmla="*/ 157 w 351"/>
                    <a:gd name="T15" fmla="*/ 66 h 331"/>
                    <a:gd name="T16" fmla="*/ 186 w 351"/>
                    <a:gd name="T17" fmla="*/ 93 h 331"/>
                    <a:gd name="T18" fmla="*/ 181 w 351"/>
                    <a:gd name="T19" fmla="*/ 114 h 331"/>
                    <a:gd name="T20" fmla="*/ 202 w 351"/>
                    <a:gd name="T21" fmla="*/ 122 h 331"/>
                    <a:gd name="T22" fmla="*/ 233 w 351"/>
                    <a:gd name="T23" fmla="*/ 138 h 331"/>
                    <a:gd name="T24" fmla="*/ 249 w 351"/>
                    <a:gd name="T25" fmla="*/ 147 h 331"/>
                    <a:gd name="T26" fmla="*/ 252 w 351"/>
                    <a:gd name="T27" fmla="*/ 168 h 331"/>
                    <a:gd name="T28" fmla="*/ 233 w 351"/>
                    <a:gd name="T29" fmla="*/ 169 h 331"/>
                    <a:gd name="T30" fmla="*/ 222 w 351"/>
                    <a:gd name="T31" fmla="*/ 179 h 331"/>
                    <a:gd name="T32" fmla="*/ 232 w 351"/>
                    <a:gd name="T33" fmla="*/ 201 h 331"/>
                    <a:gd name="T34" fmla="*/ 248 w 351"/>
                    <a:gd name="T35" fmla="*/ 218 h 331"/>
                    <a:gd name="T36" fmla="*/ 260 w 351"/>
                    <a:gd name="T37" fmla="*/ 226 h 331"/>
                    <a:gd name="T38" fmla="*/ 265 w 351"/>
                    <a:gd name="T39" fmla="*/ 245 h 331"/>
                    <a:gd name="T40" fmla="*/ 275 w 351"/>
                    <a:gd name="T41" fmla="*/ 266 h 331"/>
                    <a:gd name="T42" fmla="*/ 295 w 351"/>
                    <a:gd name="T43" fmla="*/ 263 h 331"/>
                    <a:gd name="T44" fmla="*/ 295 w 351"/>
                    <a:gd name="T45" fmla="*/ 282 h 331"/>
                    <a:gd name="T46" fmla="*/ 314 w 351"/>
                    <a:gd name="T47" fmla="*/ 287 h 331"/>
                    <a:gd name="T48" fmla="*/ 314 w 351"/>
                    <a:gd name="T49" fmla="*/ 293 h 331"/>
                    <a:gd name="T50" fmla="*/ 322 w 351"/>
                    <a:gd name="T51" fmla="*/ 306 h 331"/>
                    <a:gd name="T52" fmla="*/ 346 w 351"/>
                    <a:gd name="T53" fmla="*/ 314 h 331"/>
                    <a:gd name="T54" fmla="*/ 333 w 351"/>
                    <a:gd name="T55" fmla="*/ 315 h 331"/>
                    <a:gd name="T56" fmla="*/ 338 w 351"/>
                    <a:gd name="T57" fmla="*/ 328 h 331"/>
                    <a:gd name="T58" fmla="*/ 317 w 351"/>
                    <a:gd name="T59" fmla="*/ 326 h 331"/>
                    <a:gd name="T60" fmla="*/ 316 w 351"/>
                    <a:gd name="T61" fmla="*/ 323 h 331"/>
                    <a:gd name="T62" fmla="*/ 298 w 351"/>
                    <a:gd name="T63" fmla="*/ 315 h 331"/>
                    <a:gd name="T64" fmla="*/ 278 w 351"/>
                    <a:gd name="T65" fmla="*/ 312 h 331"/>
                    <a:gd name="T66" fmla="*/ 254 w 351"/>
                    <a:gd name="T67" fmla="*/ 306 h 331"/>
                    <a:gd name="T68" fmla="*/ 236 w 351"/>
                    <a:gd name="T69" fmla="*/ 302 h 331"/>
                    <a:gd name="T70" fmla="*/ 224 w 351"/>
                    <a:gd name="T71" fmla="*/ 283 h 331"/>
                    <a:gd name="T72" fmla="*/ 211 w 351"/>
                    <a:gd name="T73" fmla="*/ 271 h 331"/>
                    <a:gd name="T74" fmla="*/ 200 w 351"/>
                    <a:gd name="T75" fmla="*/ 260 h 331"/>
                    <a:gd name="T76" fmla="*/ 192 w 351"/>
                    <a:gd name="T77" fmla="*/ 239 h 331"/>
                    <a:gd name="T78" fmla="*/ 181 w 351"/>
                    <a:gd name="T79" fmla="*/ 223 h 331"/>
                    <a:gd name="T80" fmla="*/ 162 w 351"/>
                    <a:gd name="T81" fmla="*/ 217 h 331"/>
                    <a:gd name="T82" fmla="*/ 143 w 351"/>
                    <a:gd name="T83" fmla="*/ 210 h 331"/>
                    <a:gd name="T84" fmla="*/ 137 w 351"/>
                    <a:gd name="T85" fmla="*/ 203 h 331"/>
                    <a:gd name="T86" fmla="*/ 129 w 351"/>
                    <a:gd name="T87" fmla="*/ 201 h 331"/>
                    <a:gd name="T88" fmla="*/ 119 w 351"/>
                    <a:gd name="T89" fmla="*/ 212 h 331"/>
                    <a:gd name="T90" fmla="*/ 102 w 351"/>
                    <a:gd name="T91" fmla="*/ 199 h 331"/>
                    <a:gd name="T92" fmla="*/ 106 w 351"/>
                    <a:gd name="T93" fmla="*/ 214 h 331"/>
                    <a:gd name="T94" fmla="*/ 103 w 351"/>
                    <a:gd name="T95" fmla="*/ 223 h 331"/>
                    <a:gd name="T96" fmla="*/ 89 w 351"/>
                    <a:gd name="T97" fmla="*/ 218 h 331"/>
                    <a:gd name="T98" fmla="*/ 86 w 351"/>
                    <a:gd name="T99" fmla="*/ 231 h 331"/>
                    <a:gd name="T100" fmla="*/ 57 w 351"/>
                    <a:gd name="T101" fmla="*/ 234 h 331"/>
                    <a:gd name="T102" fmla="*/ 64 w 351"/>
                    <a:gd name="T103" fmla="*/ 234 h 331"/>
                    <a:gd name="T104" fmla="*/ 84 w 351"/>
                    <a:gd name="T105" fmla="*/ 249 h 331"/>
                    <a:gd name="T106" fmla="*/ 65 w 351"/>
                    <a:gd name="T107" fmla="*/ 272 h 331"/>
                    <a:gd name="T108" fmla="*/ 46 w 351"/>
                    <a:gd name="T109" fmla="*/ 271 h 331"/>
                    <a:gd name="T110" fmla="*/ 30 w 351"/>
                    <a:gd name="T111" fmla="*/ 271 h 331"/>
                    <a:gd name="T112" fmla="*/ 10 w 351"/>
                    <a:gd name="T113" fmla="*/ 269 h 3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351" h="331">
                      <a:moveTo>
                        <a:pt x="0" y="268"/>
                      </a:moveTo>
                      <a:lnTo>
                        <a:pt x="2" y="244"/>
                      </a:lnTo>
                      <a:lnTo>
                        <a:pt x="3" y="222"/>
                      </a:lnTo>
                      <a:lnTo>
                        <a:pt x="5" y="198"/>
                      </a:lnTo>
                      <a:lnTo>
                        <a:pt x="7" y="176"/>
                      </a:lnTo>
                      <a:lnTo>
                        <a:pt x="3" y="174"/>
                      </a:lnTo>
                      <a:lnTo>
                        <a:pt x="3" y="171"/>
                      </a:lnTo>
                      <a:lnTo>
                        <a:pt x="2" y="168"/>
                      </a:lnTo>
                      <a:lnTo>
                        <a:pt x="3" y="165"/>
                      </a:lnTo>
                      <a:lnTo>
                        <a:pt x="5" y="160"/>
                      </a:lnTo>
                      <a:lnTo>
                        <a:pt x="5" y="157"/>
                      </a:lnTo>
                      <a:lnTo>
                        <a:pt x="7" y="153"/>
                      </a:lnTo>
                      <a:lnTo>
                        <a:pt x="8" y="153"/>
                      </a:lnTo>
                      <a:lnTo>
                        <a:pt x="11" y="115"/>
                      </a:lnTo>
                      <a:lnTo>
                        <a:pt x="13" y="77"/>
                      </a:lnTo>
                      <a:lnTo>
                        <a:pt x="14" y="39"/>
                      </a:lnTo>
                      <a:lnTo>
                        <a:pt x="16" y="1"/>
                      </a:lnTo>
                      <a:lnTo>
                        <a:pt x="18" y="0"/>
                      </a:lnTo>
                      <a:lnTo>
                        <a:pt x="21" y="1"/>
                      </a:lnTo>
                      <a:lnTo>
                        <a:pt x="24" y="1"/>
                      </a:lnTo>
                      <a:lnTo>
                        <a:pt x="29" y="4"/>
                      </a:lnTo>
                      <a:lnTo>
                        <a:pt x="32" y="6"/>
                      </a:lnTo>
                      <a:lnTo>
                        <a:pt x="35" y="8"/>
                      </a:lnTo>
                      <a:lnTo>
                        <a:pt x="38" y="9"/>
                      </a:lnTo>
                      <a:lnTo>
                        <a:pt x="46" y="12"/>
                      </a:lnTo>
                      <a:lnTo>
                        <a:pt x="49" y="15"/>
                      </a:lnTo>
                      <a:lnTo>
                        <a:pt x="53" y="15"/>
                      </a:lnTo>
                      <a:lnTo>
                        <a:pt x="56" y="19"/>
                      </a:lnTo>
                      <a:lnTo>
                        <a:pt x="65" y="22"/>
                      </a:lnTo>
                      <a:lnTo>
                        <a:pt x="73" y="25"/>
                      </a:lnTo>
                      <a:lnTo>
                        <a:pt x="87" y="30"/>
                      </a:lnTo>
                      <a:lnTo>
                        <a:pt x="100" y="33"/>
                      </a:lnTo>
                      <a:lnTo>
                        <a:pt x="103" y="34"/>
                      </a:lnTo>
                      <a:lnTo>
                        <a:pt x="108" y="36"/>
                      </a:lnTo>
                      <a:lnTo>
                        <a:pt x="110" y="39"/>
                      </a:lnTo>
                      <a:lnTo>
                        <a:pt x="113" y="41"/>
                      </a:lnTo>
                      <a:lnTo>
                        <a:pt x="121" y="47"/>
                      </a:lnTo>
                      <a:lnTo>
                        <a:pt x="132" y="52"/>
                      </a:lnTo>
                      <a:lnTo>
                        <a:pt x="135" y="49"/>
                      </a:lnTo>
                      <a:lnTo>
                        <a:pt x="138" y="50"/>
                      </a:lnTo>
                      <a:lnTo>
                        <a:pt x="141" y="50"/>
                      </a:lnTo>
                      <a:lnTo>
                        <a:pt x="143" y="54"/>
                      </a:lnTo>
                      <a:lnTo>
                        <a:pt x="143" y="57"/>
                      </a:lnTo>
                      <a:lnTo>
                        <a:pt x="146" y="58"/>
                      </a:lnTo>
                      <a:lnTo>
                        <a:pt x="149" y="58"/>
                      </a:lnTo>
                      <a:lnTo>
                        <a:pt x="152" y="61"/>
                      </a:lnTo>
                      <a:lnTo>
                        <a:pt x="154" y="65"/>
                      </a:lnTo>
                      <a:lnTo>
                        <a:pt x="157" y="66"/>
                      </a:lnTo>
                      <a:lnTo>
                        <a:pt x="159" y="69"/>
                      </a:lnTo>
                      <a:lnTo>
                        <a:pt x="162" y="73"/>
                      </a:lnTo>
                      <a:lnTo>
                        <a:pt x="165" y="74"/>
                      </a:lnTo>
                      <a:lnTo>
                        <a:pt x="168" y="73"/>
                      </a:lnTo>
                      <a:lnTo>
                        <a:pt x="178" y="82"/>
                      </a:lnTo>
                      <a:lnTo>
                        <a:pt x="186" y="93"/>
                      </a:lnTo>
                      <a:lnTo>
                        <a:pt x="184" y="96"/>
                      </a:lnTo>
                      <a:lnTo>
                        <a:pt x="184" y="99"/>
                      </a:lnTo>
                      <a:lnTo>
                        <a:pt x="184" y="104"/>
                      </a:lnTo>
                      <a:lnTo>
                        <a:pt x="184" y="107"/>
                      </a:lnTo>
                      <a:lnTo>
                        <a:pt x="181" y="111"/>
                      </a:lnTo>
                      <a:lnTo>
                        <a:pt x="181" y="114"/>
                      </a:lnTo>
                      <a:lnTo>
                        <a:pt x="184" y="117"/>
                      </a:lnTo>
                      <a:lnTo>
                        <a:pt x="187" y="119"/>
                      </a:lnTo>
                      <a:lnTo>
                        <a:pt x="190" y="119"/>
                      </a:lnTo>
                      <a:lnTo>
                        <a:pt x="195" y="120"/>
                      </a:lnTo>
                      <a:lnTo>
                        <a:pt x="198" y="120"/>
                      </a:lnTo>
                      <a:lnTo>
                        <a:pt x="202" y="122"/>
                      </a:lnTo>
                      <a:lnTo>
                        <a:pt x="211" y="126"/>
                      </a:lnTo>
                      <a:lnTo>
                        <a:pt x="219" y="133"/>
                      </a:lnTo>
                      <a:lnTo>
                        <a:pt x="224" y="133"/>
                      </a:lnTo>
                      <a:lnTo>
                        <a:pt x="227" y="136"/>
                      </a:lnTo>
                      <a:lnTo>
                        <a:pt x="230" y="138"/>
                      </a:lnTo>
                      <a:lnTo>
                        <a:pt x="233" y="138"/>
                      </a:lnTo>
                      <a:lnTo>
                        <a:pt x="236" y="138"/>
                      </a:lnTo>
                      <a:lnTo>
                        <a:pt x="240" y="138"/>
                      </a:lnTo>
                      <a:lnTo>
                        <a:pt x="243" y="139"/>
                      </a:lnTo>
                      <a:lnTo>
                        <a:pt x="244" y="141"/>
                      </a:lnTo>
                      <a:lnTo>
                        <a:pt x="248" y="144"/>
                      </a:lnTo>
                      <a:lnTo>
                        <a:pt x="249" y="147"/>
                      </a:lnTo>
                      <a:lnTo>
                        <a:pt x="251" y="150"/>
                      </a:lnTo>
                      <a:lnTo>
                        <a:pt x="254" y="153"/>
                      </a:lnTo>
                      <a:lnTo>
                        <a:pt x="256" y="160"/>
                      </a:lnTo>
                      <a:lnTo>
                        <a:pt x="256" y="165"/>
                      </a:lnTo>
                      <a:lnTo>
                        <a:pt x="254" y="166"/>
                      </a:lnTo>
                      <a:lnTo>
                        <a:pt x="252" y="168"/>
                      </a:lnTo>
                      <a:lnTo>
                        <a:pt x="251" y="169"/>
                      </a:lnTo>
                      <a:lnTo>
                        <a:pt x="246" y="169"/>
                      </a:lnTo>
                      <a:lnTo>
                        <a:pt x="243" y="169"/>
                      </a:lnTo>
                      <a:lnTo>
                        <a:pt x="240" y="169"/>
                      </a:lnTo>
                      <a:lnTo>
                        <a:pt x="236" y="169"/>
                      </a:lnTo>
                      <a:lnTo>
                        <a:pt x="233" y="169"/>
                      </a:lnTo>
                      <a:lnTo>
                        <a:pt x="229" y="168"/>
                      </a:lnTo>
                      <a:lnTo>
                        <a:pt x="225" y="169"/>
                      </a:lnTo>
                      <a:lnTo>
                        <a:pt x="222" y="169"/>
                      </a:lnTo>
                      <a:lnTo>
                        <a:pt x="222" y="172"/>
                      </a:lnTo>
                      <a:lnTo>
                        <a:pt x="221" y="176"/>
                      </a:lnTo>
                      <a:lnTo>
                        <a:pt x="222" y="179"/>
                      </a:lnTo>
                      <a:lnTo>
                        <a:pt x="224" y="184"/>
                      </a:lnTo>
                      <a:lnTo>
                        <a:pt x="225" y="187"/>
                      </a:lnTo>
                      <a:lnTo>
                        <a:pt x="227" y="190"/>
                      </a:lnTo>
                      <a:lnTo>
                        <a:pt x="227" y="193"/>
                      </a:lnTo>
                      <a:lnTo>
                        <a:pt x="227" y="196"/>
                      </a:lnTo>
                      <a:lnTo>
                        <a:pt x="232" y="201"/>
                      </a:lnTo>
                      <a:lnTo>
                        <a:pt x="235" y="203"/>
                      </a:lnTo>
                      <a:lnTo>
                        <a:pt x="238" y="204"/>
                      </a:lnTo>
                      <a:lnTo>
                        <a:pt x="241" y="209"/>
                      </a:lnTo>
                      <a:lnTo>
                        <a:pt x="241" y="212"/>
                      </a:lnTo>
                      <a:lnTo>
                        <a:pt x="246" y="215"/>
                      </a:lnTo>
                      <a:lnTo>
                        <a:pt x="248" y="218"/>
                      </a:lnTo>
                      <a:lnTo>
                        <a:pt x="251" y="218"/>
                      </a:lnTo>
                      <a:lnTo>
                        <a:pt x="256" y="222"/>
                      </a:lnTo>
                      <a:lnTo>
                        <a:pt x="256" y="223"/>
                      </a:lnTo>
                      <a:lnTo>
                        <a:pt x="257" y="223"/>
                      </a:lnTo>
                      <a:lnTo>
                        <a:pt x="260" y="223"/>
                      </a:lnTo>
                      <a:lnTo>
                        <a:pt x="260" y="226"/>
                      </a:lnTo>
                      <a:lnTo>
                        <a:pt x="260" y="228"/>
                      </a:lnTo>
                      <a:lnTo>
                        <a:pt x="262" y="231"/>
                      </a:lnTo>
                      <a:lnTo>
                        <a:pt x="262" y="234"/>
                      </a:lnTo>
                      <a:lnTo>
                        <a:pt x="262" y="239"/>
                      </a:lnTo>
                      <a:lnTo>
                        <a:pt x="262" y="242"/>
                      </a:lnTo>
                      <a:lnTo>
                        <a:pt x="265" y="245"/>
                      </a:lnTo>
                      <a:lnTo>
                        <a:pt x="268" y="249"/>
                      </a:lnTo>
                      <a:lnTo>
                        <a:pt x="270" y="252"/>
                      </a:lnTo>
                      <a:lnTo>
                        <a:pt x="270" y="255"/>
                      </a:lnTo>
                      <a:lnTo>
                        <a:pt x="271" y="258"/>
                      </a:lnTo>
                      <a:lnTo>
                        <a:pt x="271" y="261"/>
                      </a:lnTo>
                      <a:lnTo>
                        <a:pt x="275" y="266"/>
                      </a:lnTo>
                      <a:lnTo>
                        <a:pt x="278" y="266"/>
                      </a:lnTo>
                      <a:lnTo>
                        <a:pt x="281" y="264"/>
                      </a:lnTo>
                      <a:lnTo>
                        <a:pt x="284" y="264"/>
                      </a:lnTo>
                      <a:lnTo>
                        <a:pt x="289" y="264"/>
                      </a:lnTo>
                      <a:lnTo>
                        <a:pt x="292" y="263"/>
                      </a:lnTo>
                      <a:lnTo>
                        <a:pt x="295" y="263"/>
                      </a:lnTo>
                      <a:lnTo>
                        <a:pt x="298" y="264"/>
                      </a:lnTo>
                      <a:lnTo>
                        <a:pt x="298" y="269"/>
                      </a:lnTo>
                      <a:lnTo>
                        <a:pt x="297" y="272"/>
                      </a:lnTo>
                      <a:lnTo>
                        <a:pt x="294" y="276"/>
                      </a:lnTo>
                      <a:lnTo>
                        <a:pt x="294" y="279"/>
                      </a:lnTo>
                      <a:lnTo>
                        <a:pt x="295" y="282"/>
                      </a:lnTo>
                      <a:lnTo>
                        <a:pt x="298" y="283"/>
                      </a:lnTo>
                      <a:lnTo>
                        <a:pt x="302" y="287"/>
                      </a:lnTo>
                      <a:lnTo>
                        <a:pt x="305" y="287"/>
                      </a:lnTo>
                      <a:lnTo>
                        <a:pt x="308" y="287"/>
                      </a:lnTo>
                      <a:lnTo>
                        <a:pt x="311" y="287"/>
                      </a:lnTo>
                      <a:lnTo>
                        <a:pt x="314" y="287"/>
                      </a:lnTo>
                      <a:lnTo>
                        <a:pt x="317" y="288"/>
                      </a:lnTo>
                      <a:lnTo>
                        <a:pt x="322" y="288"/>
                      </a:lnTo>
                      <a:lnTo>
                        <a:pt x="322" y="288"/>
                      </a:lnTo>
                      <a:lnTo>
                        <a:pt x="321" y="291"/>
                      </a:lnTo>
                      <a:lnTo>
                        <a:pt x="317" y="293"/>
                      </a:lnTo>
                      <a:lnTo>
                        <a:pt x="314" y="293"/>
                      </a:lnTo>
                      <a:lnTo>
                        <a:pt x="311" y="296"/>
                      </a:lnTo>
                      <a:lnTo>
                        <a:pt x="313" y="299"/>
                      </a:lnTo>
                      <a:lnTo>
                        <a:pt x="316" y="302"/>
                      </a:lnTo>
                      <a:lnTo>
                        <a:pt x="316" y="304"/>
                      </a:lnTo>
                      <a:lnTo>
                        <a:pt x="321" y="306"/>
                      </a:lnTo>
                      <a:lnTo>
                        <a:pt x="322" y="306"/>
                      </a:lnTo>
                      <a:lnTo>
                        <a:pt x="325" y="307"/>
                      </a:lnTo>
                      <a:lnTo>
                        <a:pt x="330" y="310"/>
                      </a:lnTo>
                      <a:lnTo>
                        <a:pt x="333" y="310"/>
                      </a:lnTo>
                      <a:lnTo>
                        <a:pt x="336" y="310"/>
                      </a:lnTo>
                      <a:lnTo>
                        <a:pt x="343" y="314"/>
                      </a:lnTo>
                      <a:lnTo>
                        <a:pt x="346" y="314"/>
                      </a:lnTo>
                      <a:lnTo>
                        <a:pt x="351" y="312"/>
                      </a:lnTo>
                      <a:lnTo>
                        <a:pt x="346" y="314"/>
                      </a:lnTo>
                      <a:lnTo>
                        <a:pt x="343" y="315"/>
                      </a:lnTo>
                      <a:lnTo>
                        <a:pt x="340" y="317"/>
                      </a:lnTo>
                      <a:lnTo>
                        <a:pt x="336" y="315"/>
                      </a:lnTo>
                      <a:lnTo>
                        <a:pt x="333" y="315"/>
                      </a:lnTo>
                      <a:lnTo>
                        <a:pt x="332" y="318"/>
                      </a:lnTo>
                      <a:lnTo>
                        <a:pt x="335" y="320"/>
                      </a:lnTo>
                      <a:lnTo>
                        <a:pt x="338" y="322"/>
                      </a:lnTo>
                      <a:lnTo>
                        <a:pt x="341" y="323"/>
                      </a:lnTo>
                      <a:lnTo>
                        <a:pt x="341" y="326"/>
                      </a:lnTo>
                      <a:lnTo>
                        <a:pt x="338" y="328"/>
                      </a:lnTo>
                      <a:lnTo>
                        <a:pt x="335" y="328"/>
                      </a:lnTo>
                      <a:lnTo>
                        <a:pt x="332" y="331"/>
                      </a:lnTo>
                      <a:lnTo>
                        <a:pt x="327" y="331"/>
                      </a:lnTo>
                      <a:lnTo>
                        <a:pt x="324" y="331"/>
                      </a:lnTo>
                      <a:lnTo>
                        <a:pt x="321" y="329"/>
                      </a:lnTo>
                      <a:lnTo>
                        <a:pt x="317" y="326"/>
                      </a:lnTo>
                      <a:lnTo>
                        <a:pt x="316" y="326"/>
                      </a:lnTo>
                      <a:lnTo>
                        <a:pt x="314" y="323"/>
                      </a:lnTo>
                      <a:lnTo>
                        <a:pt x="317" y="323"/>
                      </a:lnTo>
                      <a:lnTo>
                        <a:pt x="321" y="322"/>
                      </a:lnTo>
                      <a:lnTo>
                        <a:pt x="317" y="320"/>
                      </a:lnTo>
                      <a:lnTo>
                        <a:pt x="316" y="323"/>
                      </a:lnTo>
                      <a:lnTo>
                        <a:pt x="314" y="320"/>
                      </a:lnTo>
                      <a:lnTo>
                        <a:pt x="311" y="317"/>
                      </a:lnTo>
                      <a:lnTo>
                        <a:pt x="306" y="317"/>
                      </a:lnTo>
                      <a:lnTo>
                        <a:pt x="305" y="317"/>
                      </a:lnTo>
                      <a:lnTo>
                        <a:pt x="302" y="317"/>
                      </a:lnTo>
                      <a:lnTo>
                        <a:pt x="298" y="315"/>
                      </a:lnTo>
                      <a:lnTo>
                        <a:pt x="295" y="315"/>
                      </a:lnTo>
                      <a:lnTo>
                        <a:pt x="292" y="314"/>
                      </a:lnTo>
                      <a:lnTo>
                        <a:pt x="287" y="314"/>
                      </a:lnTo>
                      <a:lnTo>
                        <a:pt x="284" y="314"/>
                      </a:lnTo>
                      <a:lnTo>
                        <a:pt x="281" y="314"/>
                      </a:lnTo>
                      <a:lnTo>
                        <a:pt x="278" y="312"/>
                      </a:lnTo>
                      <a:lnTo>
                        <a:pt x="273" y="312"/>
                      </a:lnTo>
                      <a:lnTo>
                        <a:pt x="275" y="309"/>
                      </a:lnTo>
                      <a:lnTo>
                        <a:pt x="268" y="310"/>
                      </a:lnTo>
                      <a:lnTo>
                        <a:pt x="263" y="310"/>
                      </a:lnTo>
                      <a:lnTo>
                        <a:pt x="259" y="310"/>
                      </a:lnTo>
                      <a:lnTo>
                        <a:pt x="254" y="306"/>
                      </a:lnTo>
                      <a:lnTo>
                        <a:pt x="251" y="309"/>
                      </a:lnTo>
                      <a:lnTo>
                        <a:pt x="248" y="309"/>
                      </a:lnTo>
                      <a:lnTo>
                        <a:pt x="243" y="307"/>
                      </a:lnTo>
                      <a:lnTo>
                        <a:pt x="240" y="304"/>
                      </a:lnTo>
                      <a:lnTo>
                        <a:pt x="238" y="306"/>
                      </a:lnTo>
                      <a:lnTo>
                        <a:pt x="236" y="302"/>
                      </a:lnTo>
                      <a:lnTo>
                        <a:pt x="233" y="301"/>
                      </a:lnTo>
                      <a:lnTo>
                        <a:pt x="230" y="298"/>
                      </a:lnTo>
                      <a:lnTo>
                        <a:pt x="230" y="293"/>
                      </a:lnTo>
                      <a:lnTo>
                        <a:pt x="229" y="290"/>
                      </a:lnTo>
                      <a:lnTo>
                        <a:pt x="227" y="287"/>
                      </a:lnTo>
                      <a:lnTo>
                        <a:pt x="224" y="283"/>
                      </a:lnTo>
                      <a:lnTo>
                        <a:pt x="222" y="283"/>
                      </a:lnTo>
                      <a:lnTo>
                        <a:pt x="217" y="282"/>
                      </a:lnTo>
                      <a:lnTo>
                        <a:pt x="216" y="282"/>
                      </a:lnTo>
                      <a:lnTo>
                        <a:pt x="214" y="277"/>
                      </a:lnTo>
                      <a:lnTo>
                        <a:pt x="214" y="274"/>
                      </a:lnTo>
                      <a:lnTo>
                        <a:pt x="211" y="271"/>
                      </a:lnTo>
                      <a:lnTo>
                        <a:pt x="211" y="268"/>
                      </a:lnTo>
                      <a:lnTo>
                        <a:pt x="213" y="266"/>
                      </a:lnTo>
                      <a:lnTo>
                        <a:pt x="210" y="266"/>
                      </a:lnTo>
                      <a:lnTo>
                        <a:pt x="206" y="264"/>
                      </a:lnTo>
                      <a:lnTo>
                        <a:pt x="202" y="263"/>
                      </a:lnTo>
                      <a:lnTo>
                        <a:pt x="200" y="260"/>
                      </a:lnTo>
                      <a:lnTo>
                        <a:pt x="202" y="255"/>
                      </a:lnTo>
                      <a:lnTo>
                        <a:pt x="200" y="252"/>
                      </a:lnTo>
                      <a:lnTo>
                        <a:pt x="198" y="249"/>
                      </a:lnTo>
                      <a:lnTo>
                        <a:pt x="195" y="245"/>
                      </a:lnTo>
                      <a:lnTo>
                        <a:pt x="194" y="244"/>
                      </a:lnTo>
                      <a:lnTo>
                        <a:pt x="192" y="239"/>
                      </a:lnTo>
                      <a:lnTo>
                        <a:pt x="192" y="236"/>
                      </a:lnTo>
                      <a:lnTo>
                        <a:pt x="190" y="234"/>
                      </a:lnTo>
                      <a:lnTo>
                        <a:pt x="189" y="231"/>
                      </a:lnTo>
                      <a:lnTo>
                        <a:pt x="187" y="226"/>
                      </a:lnTo>
                      <a:lnTo>
                        <a:pt x="184" y="223"/>
                      </a:lnTo>
                      <a:lnTo>
                        <a:pt x="181" y="223"/>
                      </a:lnTo>
                      <a:lnTo>
                        <a:pt x="178" y="222"/>
                      </a:lnTo>
                      <a:lnTo>
                        <a:pt x="175" y="218"/>
                      </a:lnTo>
                      <a:lnTo>
                        <a:pt x="171" y="220"/>
                      </a:lnTo>
                      <a:lnTo>
                        <a:pt x="168" y="218"/>
                      </a:lnTo>
                      <a:lnTo>
                        <a:pt x="165" y="218"/>
                      </a:lnTo>
                      <a:lnTo>
                        <a:pt x="162" y="217"/>
                      </a:lnTo>
                      <a:lnTo>
                        <a:pt x="157" y="215"/>
                      </a:lnTo>
                      <a:lnTo>
                        <a:pt x="154" y="214"/>
                      </a:lnTo>
                      <a:lnTo>
                        <a:pt x="152" y="214"/>
                      </a:lnTo>
                      <a:lnTo>
                        <a:pt x="149" y="214"/>
                      </a:lnTo>
                      <a:lnTo>
                        <a:pt x="146" y="212"/>
                      </a:lnTo>
                      <a:lnTo>
                        <a:pt x="143" y="210"/>
                      </a:lnTo>
                      <a:lnTo>
                        <a:pt x="144" y="207"/>
                      </a:lnTo>
                      <a:lnTo>
                        <a:pt x="143" y="204"/>
                      </a:lnTo>
                      <a:lnTo>
                        <a:pt x="143" y="207"/>
                      </a:lnTo>
                      <a:lnTo>
                        <a:pt x="140" y="207"/>
                      </a:lnTo>
                      <a:lnTo>
                        <a:pt x="137" y="204"/>
                      </a:lnTo>
                      <a:lnTo>
                        <a:pt x="137" y="203"/>
                      </a:lnTo>
                      <a:lnTo>
                        <a:pt x="137" y="207"/>
                      </a:lnTo>
                      <a:lnTo>
                        <a:pt x="133" y="204"/>
                      </a:lnTo>
                      <a:lnTo>
                        <a:pt x="132" y="201"/>
                      </a:lnTo>
                      <a:lnTo>
                        <a:pt x="132" y="201"/>
                      </a:lnTo>
                      <a:lnTo>
                        <a:pt x="130" y="204"/>
                      </a:lnTo>
                      <a:lnTo>
                        <a:pt x="129" y="201"/>
                      </a:lnTo>
                      <a:lnTo>
                        <a:pt x="129" y="204"/>
                      </a:lnTo>
                      <a:lnTo>
                        <a:pt x="129" y="210"/>
                      </a:lnTo>
                      <a:lnTo>
                        <a:pt x="125" y="207"/>
                      </a:lnTo>
                      <a:lnTo>
                        <a:pt x="122" y="206"/>
                      </a:lnTo>
                      <a:lnTo>
                        <a:pt x="121" y="209"/>
                      </a:lnTo>
                      <a:lnTo>
                        <a:pt x="119" y="212"/>
                      </a:lnTo>
                      <a:lnTo>
                        <a:pt x="116" y="210"/>
                      </a:lnTo>
                      <a:lnTo>
                        <a:pt x="111" y="209"/>
                      </a:lnTo>
                      <a:lnTo>
                        <a:pt x="108" y="207"/>
                      </a:lnTo>
                      <a:lnTo>
                        <a:pt x="106" y="204"/>
                      </a:lnTo>
                      <a:lnTo>
                        <a:pt x="105" y="201"/>
                      </a:lnTo>
                      <a:lnTo>
                        <a:pt x="102" y="199"/>
                      </a:lnTo>
                      <a:lnTo>
                        <a:pt x="100" y="198"/>
                      </a:lnTo>
                      <a:lnTo>
                        <a:pt x="102" y="199"/>
                      </a:lnTo>
                      <a:lnTo>
                        <a:pt x="103" y="203"/>
                      </a:lnTo>
                      <a:lnTo>
                        <a:pt x="105" y="207"/>
                      </a:lnTo>
                      <a:lnTo>
                        <a:pt x="106" y="210"/>
                      </a:lnTo>
                      <a:lnTo>
                        <a:pt x="106" y="214"/>
                      </a:lnTo>
                      <a:lnTo>
                        <a:pt x="108" y="217"/>
                      </a:lnTo>
                      <a:lnTo>
                        <a:pt x="110" y="220"/>
                      </a:lnTo>
                      <a:lnTo>
                        <a:pt x="108" y="220"/>
                      </a:lnTo>
                      <a:lnTo>
                        <a:pt x="105" y="220"/>
                      </a:lnTo>
                      <a:lnTo>
                        <a:pt x="106" y="223"/>
                      </a:lnTo>
                      <a:lnTo>
                        <a:pt x="103" y="223"/>
                      </a:lnTo>
                      <a:lnTo>
                        <a:pt x="98" y="220"/>
                      </a:lnTo>
                      <a:lnTo>
                        <a:pt x="95" y="222"/>
                      </a:lnTo>
                      <a:lnTo>
                        <a:pt x="92" y="218"/>
                      </a:lnTo>
                      <a:lnTo>
                        <a:pt x="89" y="217"/>
                      </a:lnTo>
                      <a:lnTo>
                        <a:pt x="89" y="217"/>
                      </a:lnTo>
                      <a:lnTo>
                        <a:pt x="89" y="218"/>
                      </a:lnTo>
                      <a:lnTo>
                        <a:pt x="92" y="220"/>
                      </a:lnTo>
                      <a:lnTo>
                        <a:pt x="95" y="223"/>
                      </a:lnTo>
                      <a:lnTo>
                        <a:pt x="97" y="226"/>
                      </a:lnTo>
                      <a:lnTo>
                        <a:pt x="97" y="228"/>
                      </a:lnTo>
                      <a:lnTo>
                        <a:pt x="97" y="231"/>
                      </a:lnTo>
                      <a:lnTo>
                        <a:pt x="86" y="231"/>
                      </a:lnTo>
                      <a:lnTo>
                        <a:pt x="75" y="234"/>
                      </a:lnTo>
                      <a:lnTo>
                        <a:pt x="72" y="234"/>
                      </a:lnTo>
                      <a:lnTo>
                        <a:pt x="68" y="233"/>
                      </a:lnTo>
                      <a:lnTo>
                        <a:pt x="65" y="231"/>
                      </a:lnTo>
                      <a:lnTo>
                        <a:pt x="60" y="233"/>
                      </a:lnTo>
                      <a:lnTo>
                        <a:pt x="57" y="234"/>
                      </a:lnTo>
                      <a:lnTo>
                        <a:pt x="54" y="234"/>
                      </a:lnTo>
                      <a:lnTo>
                        <a:pt x="53" y="231"/>
                      </a:lnTo>
                      <a:lnTo>
                        <a:pt x="51" y="230"/>
                      </a:lnTo>
                      <a:lnTo>
                        <a:pt x="53" y="233"/>
                      </a:lnTo>
                      <a:lnTo>
                        <a:pt x="54" y="236"/>
                      </a:lnTo>
                      <a:lnTo>
                        <a:pt x="64" y="234"/>
                      </a:lnTo>
                      <a:lnTo>
                        <a:pt x="67" y="234"/>
                      </a:lnTo>
                      <a:lnTo>
                        <a:pt x="70" y="237"/>
                      </a:lnTo>
                      <a:lnTo>
                        <a:pt x="76" y="239"/>
                      </a:lnTo>
                      <a:lnTo>
                        <a:pt x="79" y="242"/>
                      </a:lnTo>
                      <a:lnTo>
                        <a:pt x="83" y="245"/>
                      </a:lnTo>
                      <a:lnTo>
                        <a:pt x="84" y="249"/>
                      </a:lnTo>
                      <a:lnTo>
                        <a:pt x="86" y="250"/>
                      </a:lnTo>
                      <a:lnTo>
                        <a:pt x="87" y="255"/>
                      </a:lnTo>
                      <a:lnTo>
                        <a:pt x="87" y="258"/>
                      </a:lnTo>
                      <a:lnTo>
                        <a:pt x="86" y="261"/>
                      </a:lnTo>
                      <a:lnTo>
                        <a:pt x="75" y="266"/>
                      </a:lnTo>
                      <a:lnTo>
                        <a:pt x="65" y="272"/>
                      </a:lnTo>
                      <a:lnTo>
                        <a:pt x="60" y="274"/>
                      </a:lnTo>
                      <a:lnTo>
                        <a:pt x="57" y="276"/>
                      </a:lnTo>
                      <a:lnTo>
                        <a:pt x="56" y="276"/>
                      </a:lnTo>
                      <a:lnTo>
                        <a:pt x="54" y="272"/>
                      </a:lnTo>
                      <a:lnTo>
                        <a:pt x="51" y="271"/>
                      </a:lnTo>
                      <a:lnTo>
                        <a:pt x="46" y="271"/>
                      </a:lnTo>
                      <a:lnTo>
                        <a:pt x="43" y="269"/>
                      </a:lnTo>
                      <a:lnTo>
                        <a:pt x="41" y="269"/>
                      </a:lnTo>
                      <a:lnTo>
                        <a:pt x="37" y="269"/>
                      </a:lnTo>
                      <a:lnTo>
                        <a:pt x="37" y="269"/>
                      </a:lnTo>
                      <a:lnTo>
                        <a:pt x="33" y="271"/>
                      </a:lnTo>
                      <a:lnTo>
                        <a:pt x="30" y="271"/>
                      </a:lnTo>
                      <a:lnTo>
                        <a:pt x="27" y="269"/>
                      </a:lnTo>
                      <a:lnTo>
                        <a:pt x="24" y="271"/>
                      </a:lnTo>
                      <a:lnTo>
                        <a:pt x="21" y="271"/>
                      </a:lnTo>
                      <a:lnTo>
                        <a:pt x="18" y="269"/>
                      </a:lnTo>
                      <a:lnTo>
                        <a:pt x="13" y="268"/>
                      </a:lnTo>
                      <a:lnTo>
                        <a:pt x="10" y="269"/>
                      </a:lnTo>
                      <a:lnTo>
                        <a:pt x="7" y="271"/>
                      </a:lnTo>
                      <a:lnTo>
                        <a:pt x="3" y="271"/>
                      </a:lnTo>
                      <a:lnTo>
                        <a:pt x="0" y="268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95" name="Freeform 137"/>
                <p:cNvSpPr>
                  <a:spLocks/>
                </p:cNvSpPr>
                <p:nvPr/>
              </p:nvSpPr>
              <p:spPr bwMode="auto">
                <a:xfrm>
                  <a:off x="5274" y="2575"/>
                  <a:ext cx="75" cy="44"/>
                </a:xfrm>
                <a:custGeom>
                  <a:avLst/>
                  <a:gdLst>
                    <a:gd name="T0" fmla="*/ 23 w 149"/>
                    <a:gd name="T1" fmla="*/ 77 h 87"/>
                    <a:gd name="T2" fmla="*/ 33 w 149"/>
                    <a:gd name="T3" fmla="*/ 77 h 87"/>
                    <a:gd name="T4" fmla="*/ 42 w 149"/>
                    <a:gd name="T5" fmla="*/ 82 h 87"/>
                    <a:gd name="T6" fmla="*/ 50 w 149"/>
                    <a:gd name="T7" fmla="*/ 87 h 87"/>
                    <a:gd name="T8" fmla="*/ 58 w 149"/>
                    <a:gd name="T9" fmla="*/ 87 h 87"/>
                    <a:gd name="T10" fmla="*/ 69 w 149"/>
                    <a:gd name="T11" fmla="*/ 85 h 87"/>
                    <a:gd name="T12" fmla="*/ 79 w 149"/>
                    <a:gd name="T13" fmla="*/ 82 h 87"/>
                    <a:gd name="T14" fmla="*/ 87 w 149"/>
                    <a:gd name="T15" fmla="*/ 79 h 87"/>
                    <a:gd name="T16" fmla="*/ 96 w 149"/>
                    <a:gd name="T17" fmla="*/ 76 h 87"/>
                    <a:gd name="T18" fmla="*/ 106 w 149"/>
                    <a:gd name="T19" fmla="*/ 68 h 87"/>
                    <a:gd name="T20" fmla="*/ 111 w 149"/>
                    <a:gd name="T21" fmla="*/ 61 h 87"/>
                    <a:gd name="T22" fmla="*/ 117 w 149"/>
                    <a:gd name="T23" fmla="*/ 55 h 87"/>
                    <a:gd name="T24" fmla="*/ 126 w 149"/>
                    <a:gd name="T25" fmla="*/ 57 h 87"/>
                    <a:gd name="T26" fmla="*/ 138 w 149"/>
                    <a:gd name="T27" fmla="*/ 49 h 87"/>
                    <a:gd name="T28" fmla="*/ 131 w 149"/>
                    <a:gd name="T29" fmla="*/ 39 h 87"/>
                    <a:gd name="T30" fmla="*/ 139 w 149"/>
                    <a:gd name="T31" fmla="*/ 33 h 87"/>
                    <a:gd name="T32" fmla="*/ 149 w 149"/>
                    <a:gd name="T33" fmla="*/ 25 h 87"/>
                    <a:gd name="T34" fmla="*/ 147 w 149"/>
                    <a:gd name="T35" fmla="*/ 14 h 87"/>
                    <a:gd name="T36" fmla="*/ 149 w 149"/>
                    <a:gd name="T37" fmla="*/ 6 h 87"/>
                    <a:gd name="T38" fmla="*/ 144 w 149"/>
                    <a:gd name="T39" fmla="*/ 0 h 87"/>
                    <a:gd name="T40" fmla="*/ 134 w 149"/>
                    <a:gd name="T41" fmla="*/ 6 h 87"/>
                    <a:gd name="T42" fmla="*/ 125 w 149"/>
                    <a:gd name="T43" fmla="*/ 1 h 87"/>
                    <a:gd name="T44" fmla="*/ 120 w 149"/>
                    <a:gd name="T45" fmla="*/ 11 h 87"/>
                    <a:gd name="T46" fmla="*/ 122 w 149"/>
                    <a:gd name="T47" fmla="*/ 28 h 87"/>
                    <a:gd name="T48" fmla="*/ 115 w 149"/>
                    <a:gd name="T49" fmla="*/ 31 h 87"/>
                    <a:gd name="T50" fmla="*/ 106 w 149"/>
                    <a:gd name="T51" fmla="*/ 34 h 87"/>
                    <a:gd name="T52" fmla="*/ 98 w 149"/>
                    <a:gd name="T53" fmla="*/ 46 h 87"/>
                    <a:gd name="T54" fmla="*/ 92 w 149"/>
                    <a:gd name="T55" fmla="*/ 54 h 87"/>
                    <a:gd name="T56" fmla="*/ 84 w 149"/>
                    <a:gd name="T57" fmla="*/ 55 h 87"/>
                    <a:gd name="T58" fmla="*/ 73 w 149"/>
                    <a:gd name="T59" fmla="*/ 54 h 87"/>
                    <a:gd name="T60" fmla="*/ 65 w 149"/>
                    <a:gd name="T61" fmla="*/ 52 h 87"/>
                    <a:gd name="T62" fmla="*/ 63 w 149"/>
                    <a:gd name="T63" fmla="*/ 42 h 87"/>
                    <a:gd name="T64" fmla="*/ 65 w 149"/>
                    <a:gd name="T65" fmla="*/ 34 h 87"/>
                    <a:gd name="T66" fmla="*/ 60 w 149"/>
                    <a:gd name="T67" fmla="*/ 44 h 87"/>
                    <a:gd name="T68" fmla="*/ 57 w 149"/>
                    <a:gd name="T69" fmla="*/ 54 h 87"/>
                    <a:gd name="T70" fmla="*/ 46 w 149"/>
                    <a:gd name="T71" fmla="*/ 55 h 87"/>
                    <a:gd name="T72" fmla="*/ 39 w 149"/>
                    <a:gd name="T73" fmla="*/ 57 h 87"/>
                    <a:gd name="T74" fmla="*/ 28 w 149"/>
                    <a:gd name="T75" fmla="*/ 55 h 87"/>
                    <a:gd name="T76" fmla="*/ 19 w 149"/>
                    <a:gd name="T77" fmla="*/ 55 h 87"/>
                    <a:gd name="T78" fmla="*/ 7 w 149"/>
                    <a:gd name="T79" fmla="*/ 55 h 87"/>
                    <a:gd name="T80" fmla="*/ 0 w 149"/>
                    <a:gd name="T81" fmla="*/ 58 h 87"/>
                    <a:gd name="T82" fmla="*/ 4 w 149"/>
                    <a:gd name="T83" fmla="*/ 66 h 87"/>
                    <a:gd name="T84" fmla="*/ 15 w 149"/>
                    <a:gd name="T85" fmla="*/ 71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49" h="87">
                      <a:moveTo>
                        <a:pt x="19" y="73"/>
                      </a:moveTo>
                      <a:lnTo>
                        <a:pt x="20" y="74"/>
                      </a:lnTo>
                      <a:lnTo>
                        <a:pt x="23" y="77"/>
                      </a:lnTo>
                      <a:lnTo>
                        <a:pt x="27" y="80"/>
                      </a:lnTo>
                      <a:lnTo>
                        <a:pt x="30" y="77"/>
                      </a:lnTo>
                      <a:lnTo>
                        <a:pt x="33" y="77"/>
                      </a:lnTo>
                      <a:lnTo>
                        <a:pt x="36" y="77"/>
                      </a:lnTo>
                      <a:lnTo>
                        <a:pt x="39" y="79"/>
                      </a:lnTo>
                      <a:lnTo>
                        <a:pt x="42" y="82"/>
                      </a:lnTo>
                      <a:lnTo>
                        <a:pt x="44" y="87"/>
                      </a:lnTo>
                      <a:lnTo>
                        <a:pt x="47" y="87"/>
                      </a:lnTo>
                      <a:lnTo>
                        <a:pt x="50" y="87"/>
                      </a:lnTo>
                      <a:lnTo>
                        <a:pt x="55" y="87"/>
                      </a:lnTo>
                      <a:lnTo>
                        <a:pt x="58" y="85"/>
                      </a:lnTo>
                      <a:lnTo>
                        <a:pt x="58" y="87"/>
                      </a:lnTo>
                      <a:lnTo>
                        <a:pt x="61" y="87"/>
                      </a:lnTo>
                      <a:lnTo>
                        <a:pt x="65" y="85"/>
                      </a:lnTo>
                      <a:lnTo>
                        <a:pt x="69" y="85"/>
                      </a:lnTo>
                      <a:lnTo>
                        <a:pt x="73" y="87"/>
                      </a:lnTo>
                      <a:lnTo>
                        <a:pt x="76" y="85"/>
                      </a:lnTo>
                      <a:lnTo>
                        <a:pt x="79" y="82"/>
                      </a:lnTo>
                      <a:lnTo>
                        <a:pt x="82" y="80"/>
                      </a:lnTo>
                      <a:lnTo>
                        <a:pt x="87" y="80"/>
                      </a:lnTo>
                      <a:lnTo>
                        <a:pt x="87" y="79"/>
                      </a:lnTo>
                      <a:lnTo>
                        <a:pt x="88" y="76"/>
                      </a:lnTo>
                      <a:lnTo>
                        <a:pt x="92" y="76"/>
                      </a:lnTo>
                      <a:lnTo>
                        <a:pt x="96" y="76"/>
                      </a:lnTo>
                      <a:lnTo>
                        <a:pt x="99" y="73"/>
                      </a:lnTo>
                      <a:lnTo>
                        <a:pt x="103" y="73"/>
                      </a:lnTo>
                      <a:lnTo>
                        <a:pt x="106" y="68"/>
                      </a:lnTo>
                      <a:lnTo>
                        <a:pt x="106" y="68"/>
                      </a:lnTo>
                      <a:lnTo>
                        <a:pt x="111" y="65"/>
                      </a:lnTo>
                      <a:lnTo>
                        <a:pt x="111" y="61"/>
                      </a:lnTo>
                      <a:lnTo>
                        <a:pt x="112" y="58"/>
                      </a:lnTo>
                      <a:lnTo>
                        <a:pt x="112" y="55"/>
                      </a:lnTo>
                      <a:lnTo>
                        <a:pt x="117" y="55"/>
                      </a:lnTo>
                      <a:lnTo>
                        <a:pt x="120" y="55"/>
                      </a:lnTo>
                      <a:lnTo>
                        <a:pt x="123" y="55"/>
                      </a:lnTo>
                      <a:lnTo>
                        <a:pt x="126" y="57"/>
                      </a:lnTo>
                      <a:lnTo>
                        <a:pt x="130" y="55"/>
                      </a:lnTo>
                      <a:lnTo>
                        <a:pt x="134" y="54"/>
                      </a:lnTo>
                      <a:lnTo>
                        <a:pt x="138" y="49"/>
                      </a:lnTo>
                      <a:lnTo>
                        <a:pt x="138" y="46"/>
                      </a:lnTo>
                      <a:lnTo>
                        <a:pt x="134" y="42"/>
                      </a:lnTo>
                      <a:lnTo>
                        <a:pt x="131" y="39"/>
                      </a:lnTo>
                      <a:lnTo>
                        <a:pt x="133" y="36"/>
                      </a:lnTo>
                      <a:lnTo>
                        <a:pt x="133" y="31"/>
                      </a:lnTo>
                      <a:lnTo>
                        <a:pt x="139" y="33"/>
                      </a:lnTo>
                      <a:lnTo>
                        <a:pt x="142" y="33"/>
                      </a:lnTo>
                      <a:lnTo>
                        <a:pt x="145" y="30"/>
                      </a:lnTo>
                      <a:lnTo>
                        <a:pt x="149" y="25"/>
                      </a:lnTo>
                      <a:lnTo>
                        <a:pt x="149" y="20"/>
                      </a:lnTo>
                      <a:lnTo>
                        <a:pt x="149" y="17"/>
                      </a:lnTo>
                      <a:lnTo>
                        <a:pt x="147" y="14"/>
                      </a:lnTo>
                      <a:lnTo>
                        <a:pt x="147" y="12"/>
                      </a:lnTo>
                      <a:lnTo>
                        <a:pt x="149" y="9"/>
                      </a:lnTo>
                      <a:lnTo>
                        <a:pt x="149" y="6"/>
                      </a:lnTo>
                      <a:lnTo>
                        <a:pt x="145" y="6"/>
                      </a:lnTo>
                      <a:lnTo>
                        <a:pt x="141" y="3"/>
                      </a:lnTo>
                      <a:lnTo>
                        <a:pt x="144" y="0"/>
                      </a:lnTo>
                      <a:lnTo>
                        <a:pt x="141" y="1"/>
                      </a:lnTo>
                      <a:lnTo>
                        <a:pt x="136" y="3"/>
                      </a:lnTo>
                      <a:lnTo>
                        <a:pt x="134" y="6"/>
                      </a:lnTo>
                      <a:lnTo>
                        <a:pt x="131" y="4"/>
                      </a:lnTo>
                      <a:lnTo>
                        <a:pt x="128" y="1"/>
                      </a:lnTo>
                      <a:lnTo>
                        <a:pt x="125" y="1"/>
                      </a:lnTo>
                      <a:lnTo>
                        <a:pt x="122" y="1"/>
                      </a:lnTo>
                      <a:lnTo>
                        <a:pt x="118" y="3"/>
                      </a:lnTo>
                      <a:lnTo>
                        <a:pt x="120" y="11"/>
                      </a:lnTo>
                      <a:lnTo>
                        <a:pt x="122" y="20"/>
                      </a:lnTo>
                      <a:lnTo>
                        <a:pt x="122" y="25"/>
                      </a:lnTo>
                      <a:lnTo>
                        <a:pt x="122" y="28"/>
                      </a:lnTo>
                      <a:lnTo>
                        <a:pt x="120" y="31"/>
                      </a:lnTo>
                      <a:lnTo>
                        <a:pt x="118" y="31"/>
                      </a:lnTo>
                      <a:lnTo>
                        <a:pt x="115" y="31"/>
                      </a:lnTo>
                      <a:lnTo>
                        <a:pt x="112" y="30"/>
                      </a:lnTo>
                      <a:lnTo>
                        <a:pt x="109" y="31"/>
                      </a:lnTo>
                      <a:lnTo>
                        <a:pt x="106" y="34"/>
                      </a:lnTo>
                      <a:lnTo>
                        <a:pt x="101" y="38"/>
                      </a:lnTo>
                      <a:lnTo>
                        <a:pt x="99" y="41"/>
                      </a:lnTo>
                      <a:lnTo>
                        <a:pt x="98" y="46"/>
                      </a:lnTo>
                      <a:lnTo>
                        <a:pt x="98" y="49"/>
                      </a:lnTo>
                      <a:lnTo>
                        <a:pt x="95" y="52"/>
                      </a:lnTo>
                      <a:lnTo>
                        <a:pt x="92" y="54"/>
                      </a:lnTo>
                      <a:lnTo>
                        <a:pt x="88" y="54"/>
                      </a:lnTo>
                      <a:lnTo>
                        <a:pt x="84" y="55"/>
                      </a:lnTo>
                      <a:lnTo>
                        <a:pt x="84" y="55"/>
                      </a:lnTo>
                      <a:lnTo>
                        <a:pt x="80" y="52"/>
                      </a:lnTo>
                      <a:lnTo>
                        <a:pt x="76" y="52"/>
                      </a:lnTo>
                      <a:lnTo>
                        <a:pt x="73" y="54"/>
                      </a:lnTo>
                      <a:lnTo>
                        <a:pt x="69" y="57"/>
                      </a:lnTo>
                      <a:lnTo>
                        <a:pt x="66" y="55"/>
                      </a:lnTo>
                      <a:lnTo>
                        <a:pt x="65" y="52"/>
                      </a:lnTo>
                      <a:lnTo>
                        <a:pt x="63" y="49"/>
                      </a:lnTo>
                      <a:lnTo>
                        <a:pt x="61" y="46"/>
                      </a:lnTo>
                      <a:lnTo>
                        <a:pt x="63" y="42"/>
                      </a:lnTo>
                      <a:lnTo>
                        <a:pt x="65" y="39"/>
                      </a:lnTo>
                      <a:lnTo>
                        <a:pt x="68" y="36"/>
                      </a:lnTo>
                      <a:lnTo>
                        <a:pt x="65" y="34"/>
                      </a:lnTo>
                      <a:lnTo>
                        <a:pt x="61" y="36"/>
                      </a:lnTo>
                      <a:lnTo>
                        <a:pt x="61" y="41"/>
                      </a:lnTo>
                      <a:lnTo>
                        <a:pt x="60" y="44"/>
                      </a:lnTo>
                      <a:lnTo>
                        <a:pt x="57" y="47"/>
                      </a:lnTo>
                      <a:lnTo>
                        <a:pt x="60" y="50"/>
                      </a:lnTo>
                      <a:lnTo>
                        <a:pt x="57" y="54"/>
                      </a:lnTo>
                      <a:lnTo>
                        <a:pt x="53" y="54"/>
                      </a:lnTo>
                      <a:lnTo>
                        <a:pt x="50" y="57"/>
                      </a:lnTo>
                      <a:lnTo>
                        <a:pt x="46" y="55"/>
                      </a:lnTo>
                      <a:lnTo>
                        <a:pt x="42" y="55"/>
                      </a:lnTo>
                      <a:lnTo>
                        <a:pt x="42" y="57"/>
                      </a:lnTo>
                      <a:lnTo>
                        <a:pt x="39" y="57"/>
                      </a:lnTo>
                      <a:lnTo>
                        <a:pt x="36" y="57"/>
                      </a:lnTo>
                      <a:lnTo>
                        <a:pt x="31" y="58"/>
                      </a:lnTo>
                      <a:lnTo>
                        <a:pt x="28" y="55"/>
                      </a:lnTo>
                      <a:lnTo>
                        <a:pt x="25" y="54"/>
                      </a:lnTo>
                      <a:lnTo>
                        <a:pt x="22" y="54"/>
                      </a:lnTo>
                      <a:lnTo>
                        <a:pt x="19" y="55"/>
                      </a:lnTo>
                      <a:lnTo>
                        <a:pt x="14" y="54"/>
                      </a:lnTo>
                      <a:lnTo>
                        <a:pt x="11" y="54"/>
                      </a:lnTo>
                      <a:lnTo>
                        <a:pt x="7" y="55"/>
                      </a:lnTo>
                      <a:lnTo>
                        <a:pt x="4" y="52"/>
                      </a:lnTo>
                      <a:lnTo>
                        <a:pt x="1" y="54"/>
                      </a:lnTo>
                      <a:lnTo>
                        <a:pt x="0" y="58"/>
                      </a:lnTo>
                      <a:lnTo>
                        <a:pt x="0" y="61"/>
                      </a:lnTo>
                      <a:lnTo>
                        <a:pt x="1" y="65"/>
                      </a:lnTo>
                      <a:lnTo>
                        <a:pt x="4" y="66"/>
                      </a:lnTo>
                      <a:lnTo>
                        <a:pt x="7" y="68"/>
                      </a:lnTo>
                      <a:lnTo>
                        <a:pt x="12" y="68"/>
                      </a:lnTo>
                      <a:lnTo>
                        <a:pt x="15" y="71"/>
                      </a:lnTo>
                      <a:lnTo>
                        <a:pt x="19" y="73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96" name="Freeform 138"/>
                <p:cNvSpPr>
                  <a:spLocks/>
                </p:cNvSpPr>
                <p:nvPr/>
              </p:nvSpPr>
              <p:spPr bwMode="auto">
                <a:xfrm>
                  <a:off x="5306" y="2681"/>
                  <a:ext cx="8" cy="8"/>
                </a:xfrm>
                <a:custGeom>
                  <a:avLst/>
                  <a:gdLst>
                    <a:gd name="T0" fmla="*/ 14 w 16"/>
                    <a:gd name="T1" fmla="*/ 15 h 15"/>
                    <a:gd name="T2" fmla="*/ 14 w 16"/>
                    <a:gd name="T3" fmla="*/ 15 h 15"/>
                    <a:gd name="T4" fmla="*/ 16 w 16"/>
                    <a:gd name="T5" fmla="*/ 11 h 15"/>
                    <a:gd name="T6" fmla="*/ 16 w 16"/>
                    <a:gd name="T7" fmla="*/ 7 h 15"/>
                    <a:gd name="T8" fmla="*/ 14 w 16"/>
                    <a:gd name="T9" fmla="*/ 4 h 15"/>
                    <a:gd name="T10" fmla="*/ 11 w 16"/>
                    <a:gd name="T11" fmla="*/ 3 h 15"/>
                    <a:gd name="T12" fmla="*/ 6 w 16"/>
                    <a:gd name="T13" fmla="*/ 3 h 15"/>
                    <a:gd name="T14" fmla="*/ 3 w 16"/>
                    <a:gd name="T15" fmla="*/ 0 h 15"/>
                    <a:gd name="T16" fmla="*/ 0 w 16"/>
                    <a:gd name="T17" fmla="*/ 1 h 15"/>
                    <a:gd name="T18" fmla="*/ 0 w 16"/>
                    <a:gd name="T19" fmla="*/ 6 h 15"/>
                    <a:gd name="T20" fmla="*/ 3 w 16"/>
                    <a:gd name="T21" fmla="*/ 9 h 15"/>
                    <a:gd name="T22" fmla="*/ 0 w 16"/>
                    <a:gd name="T23" fmla="*/ 12 h 15"/>
                    <a:gd name="T24" fmla="*/ 3 w 16"/>
                    <a:gd name="T25" fmla="*/ 11 h 15"/>
                    <a:gd name="T26" fmla="*/ 6 w 16"/>
                    <a:gd name="T27" fmla="*/ 12 h 15"/>
                    <a:gd name="T28" fmla="*/ 10 w 16"/>
                    <a:gd name="T29" fmla="*/ 12 h 15"/>
                    <a:gd name="T30" fmla="*/ 14 w 16"/>
                    <a:gd name="T31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6" h="15">
                      <a:moveTo>
                        <a:pt x="14" y="15"/>
                      </a:moveTo>
                      <a:lnTo>
                        <a:pt x="14" y="15"/>
                      </a:lnTo>
                      <a:lnTo>
                        <a:pt x="16" y="11"/>
                      </a:lnTo>
                      <a:lnTo>
                        <a:pt x="16" y="7"/>
                      </a:lnTo>
                      <a:lnTo>
                        <a:pt x="14" y="4"/>
                      </a:lnTo>
                      <a:lnTo>
                        <a:pt x="11" y="3"/>
                      </a:lnTo>
                      <a:lnTo>
                        <a:pt x="6" y="3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6"/>
                      </a:lnTo>
                      <a:lnTo>
                        <a:pt x="3" y="9"/>
                      </a:lnTo>
                      <a:lnTo>
                        <a:pt x="0" y="12"/>
                      </a:lnTo>
                      <a:lnTo>
                        <a:pt x="3" y="11"/>
                      </a:lnTo>
                      <a:lnTo>
                        <a:pt x="6" y="12"/>
                      </a:lnTo>
                      <a:lnTo>
                        <a:pt x="10" y="12"/>
                      </a:lnTo>
                      <a:lnTo>
                        <a:pt x="14" y="15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97" name="Freeform 139"/>
                <p:cNvSpPr>
                  <a:spLocks/>
                </p:cNvSpPr>
                <p:nvPr/>
              </p:nvSpPr>
              <p:spPr bwMode="auto">
                <a:xfrm>
                  <a:off x="5322" y="2544"/>
                  <a:ext cx="40" cy="45"/>
                </a:xfrm>
                <a:custGeom>
                  <a:avLst/>
                  <a:gdLst>
                    <a:gd name="T0" fmla="*/ 62 w 81"/>
                    <a:gd name="T1" fmla="*/ 49 h 91"/>
                    <a:gd name="T2" fmla="*/ 60 w 81"/>
                    <a:gd name="T3" fmla="*/ 41 h 91"/>
                    <a:gd name="T4" fmla="*/ 55 w 81"/>
                    <a:gd name="T5" fmla="*/ 37 h 91"/>
                    <a:gd name="T6" fmla="*/ 47 w 81"/>
                    <a:gd name="T7" fmla="*/ 32 h 91"/>
                    <a:gd name="T8" fmla="*/ 43 w 81"/>
                    <a:gd name="T9" fmla="*/ 26 h 91"/>
                    <a:gd name="T10" fmla="*/ 35 w 81"/>
                    <a:gd name="T11" fmla="*/ 22 h 91"/>
                    <a:gd name="T12" fmla="*/ 28 w 81"/>
                    <a:gd name="T13" fmla="*/ 16 h 91"/>
                    <a:gd name="T14" fmla="*/ 22 w 81"/>
                    <a:gd name="T15" fmla="*/ 11 h 91"/>
                    <a:gd name="T16" fmla="*/ 16 w 81"/>
                    <a:gd name="T17" fmla="*/ 10 h 91"/>
                    <a:gd name="T18" fmla="*/ 11 w 81"/>
                    <a:gd name="T19" fmla="*/ 5 h 91"/>
                    <a:gd name="T20" fmla="*/ 3 w 81"/>
                    <a:gd name="T21" fmla="*/ 0 h 91"/>
                    <a:gd name="T22" fmla="*/ 0 w 81"/>
                    <a:gd name="T23" fmla="*/ 5 h 91"/>
                    <a:gd name="T24" fmla="*/ 8 w 81"/>
                    <a:gd name="T25" fmla="*/ 7 h 91"/>
                    <a:gd name="T26" fmla="*/ 14 w 81"/>
                    <a:gd name="T27" fmla="*/ 11 h 91"/>
                    <a:gd name="T28" fmla="*/ 22 w 81"/>
                    <a:gd name="T29" fmla="*/ 18 h 91"/>
                    <a:gd name="T30" fmla="*/ 28 w 81"/>
                    <a:gd name="T31" fmla="*/ 22 h 91"/>
                    <a:gd name="T32" fmla="*/ 35 w 81"/>
                    <a:gd name="T33" fmla="*/ 29 h 91"/>
                    <a:gd name="T34" fmla="*/ 41 w 81"/>
                    <a:gd name="T35" fmla="*/ 35 h 91"/>
                    <a:gd name="T36" fmla="*/ 49 w 81"/>
                    <a:gd name="T37" fmla="*/ 35 h 91"/>
                    <a:gd name="T38" fmla="*/ 55 w 81"/>
                    <a:gd name="T39" fmla="*/ 41 h 91"/>
                    <a:gd name="T40" fmla="*/ 58 w 81"/>
                    <a:gd name="T41" fmla="*/ 49 h 91"/>
                    <a:gd name="T42" fmla="*/ 63 w 81"/>
                    <a:gd name="T43" fmla="*/ 56 h 91"/>
                    <a:gd name="T44" fmla="*/ 65 w 81"/>
                    <a:gd name="T45" fmla="*/ 64 h 91"/>
                    <a:gd name="T46" fmla="*/ 65 w 81"/>
                    <a:gd name="T47" fmla="*/ 76 h 91"/>
                    <a:gd name="T48" fmla="*/ 71 w 81"/>
                    <a:gd name="T49" fmla="*/ 91 h 91"/>
                    <a:gd name="T50" fmla="*/ 76 w 81"/>
                    <a:gd name="T51" fmla="*/ 84 h 91"/>
                    <a:gd name="T52" fmla="*/ 79 w 81"/>
                    <a:gd name="T53" fmla="*/ 79 h 91"/>
                    <a:gd name="T54" fmla="*/ 81 w 81"/>
                    <a:gd name="T55" fmla="*/ 72 h 91"/>
                    <a:gd name="T56" fmla="*/ 79 w 81"/>
                    <a:gd name="T57" fmla="*/ 65 h 91"/>
                    <a:gd name="T58" fmla="*/ 76 w 81"/>
                    <a:gd name="T59" fmla="*/ 57 h 91"/>
                    <a:gd name="T60" fmla="*/ 71 w 81"/>
                    <a:gd name="T61" fmla="*/ 51 h 91"/>
                    <a:gd name="T62" fmla="*/ 66 w 81"/>
                    <a:gd name="T63" fmla="*/ 51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81" h="91">
                      <a:moveTo>
                        <a:pt x="66" y="51"/>
                      </a:moveTo>
                      <a:lnTo>
                        <a:pt x="62" y="49"/>
                      </a:lnTo>
                      <a:lnTo>
                        <a:pt x="62" y="46"/>
                      </a:lnTo>
                      <a:lnTo>
                        <a:pt x="60" y="41"/>
                      </a:lnTo>
                      <a:lnTo>
                        <a:pt x="57" y="40"/>
                      </a:lnTo>
                      <a:lnTo>
                        <a:pt x="55" y="37"/>
                      </a:lnTo>
                      <a:lnTo>
                        <a:pt x="50" y="35"/>
                      </a:lnTo>
                      <a:lnTo>
                        <a:pt x="47" y="32"/>
                      </a:lnTo>
                      <a:lnTo>
                        <a:pt x="46" y="29"/>
                      </a:lnTo>
                      <a:lnTo>
                        <a:pt x="43" y="26"/>
                      </a:lnTo>
                      <a:lnTo>
                        <a:pt x="39" y="24"/>
                      </a:lnTo>
                      <a:lnTo>
                        <a:pt x="35" y="22"/>
                      </a:lnTo>
                      <a:lnTo>
                        <a:pt x="31" y="19"/>
                      </a:lnTo>
                      <a:lnTo>
                        <a:pt x="28" y="16"/>
                      </a:lnTo>
                      <a:lnTo>
                        <a:pt x="25" y="14"/>
                      </a:lnTo>
                      <a:lnTo>
                        <a:pt x="22" y="11"/>
                      </a:lnTo>
                      <a:lnTo>
                        <a:pt x="19" y="10"/>
                      </a:lnTo>
                      <a:lnTo>
                        <a:pt x="16" y="10"/>
                      </a:lnTo>
                      <a:lnTo>
                        <a:pt x="14" y="7"/>
                      </a:lnTo>
                      <a:lnTo>
                        <a:pt x="11" y="5"/>
                      </a:lnTo>
                      <a:lnTo>
                        <a:pt x="6" y="3"/>
                      </a:lnTo>
                      <a:lnTo>
                        <a:pt x="3" y="0"/>
                      </a:lnTo>
                      <a:lnTo>
                        <a:pt x="3" y="3"/>
                      </a:lnTo>
                      <a:lnTo>
                        <a:pt x="0" y="5"/>
                      </a:lnTo>
                      <a:lnTo>
                        <a:pt x="3" y="7"/>
                      </a:lnTo>
                      <a:lnTo>
                        <a:pt x="8" y="7"/>
                      </a:lnTo>
                      <a:lnTo>
                        <a:pt x="11" y="10"/>
                      </a:lnTo>
                      <a:lnTo>
                        <a:pt x="14" y="11"/>
                      </a:lnTo>
                      <a:lnTo>
                        <a:pt x="17" y="14"/>
                      </a:lnTo>
                      <a:lnTo>
                        <a:pt x="22" y="18"/>
                      </a:lnTo>
                      <a:lnTo>
                        <a:pt x="23" y="21"/>
                      </a:lnTo>
                      <a:lnTo>
                        <a:pt x="28" y="22"/>
                      </a:lnTo>
                      <a:lnTo>
                        <a:pt x="31" y="26"/>
                      </a:lnTo>
                      <a:lnTo>
                        <a:pt x="35" y="29"/>
                      </a:lnTo>
                      <a:lnTo>
                        <a:pt x="38" y="32"/>
                      </a:lnTo>
                      <a:lnTo>
                        <a:pt x="41" y="35"/>
                      </a:lnTo>
                      <a:lnTo>
                        <a:pt x="44" y="35"/>
                      </a:lnTo>
                      <a:lnTo>
                        <a:pt x="49" y="35"/>
                      </a:lnTo>
                      <a:lnTo>
                        <a:pt x="52" y="38"/>
                      </a:lnTo>
                      <a:lnTo>
                        <a:pt x="55" y="41"/>
                      </a:lnTo>
                      <a:lnTo>
                        <a:pt x="55" y="45"/>
                      </a:lnTo>
                      <a:lnTo>
                        <a:pt x="58" y="49"/>
                      </a:lnTo>
                      <a:lnTo>
                        <a:pt x="60" y="53"/>
                      </a:lnTo>
                      <a:lnTo>
                        <a:pt x="63" y="56"/>
                      </a:lnTo>
                      <a:lnTo>
                        <a:pt x="63" y="60"/>
                      </a:lnTo>
                      <a:lnTo>
                        <a:pt x="65" y="64"/>
                      </a:lnTo>
                      <a:lnTo>
                        <a:pt x="65" y="72"/>
                      </a:lnTo>
                      <a:lnTo>
                        <a:pt x="65" y="76"/>
                      </a:lnTo>
                      <a:lnTo>
                        <a:pt x="66" y="83"/>
                      </a:lnTo>
                      <a:lnTo>
                        <a:pt x="71" y="91"/>
                      </a:lnTo>
                      <a:lnTo>
                        <a:pt x="74" y="87"/>
                      </a:lnTo>
                      <a:lnTo>
                        <a:pt x="76" y="84"/>
                      </a:lnTo>
                      <a:lnTo>
                        <a:pt x="77" y="83"/>
                      </a:lnTo>
                      <a:lnTo>
                        <a:pt x="79" y="79"/>
                      </a:lnTo>
                      <a:lnTo>
                        <a:pt x="77" y="75"/>
                      </a:lnTo>
                      <a:lnTo>
                        <a:pt x="81" y="72"/>
                      </a:lnTo>
                      <a:lnTo>
                        <a:pt x="81" y="68"/>
                      </a:lnTo>
                      <a:lnTo>
                        <a:pt x="79" y="65"/>
                      </a:lnTo>
                      <a:lnTo>
                        <a:pt x="77" y="62"/>
                      </a:lnTo>
                      <a:lnTo>
                        <a:pt x="76" y="57"/>
                      </a:lnTo>
                      <a:lnTo>
                        <a:pt x="73" y="56"/>
                      </a:lnTo>
                      <a:lnTo>
                        <a:pt x="71" y="51"/>
                      </a:lnTo>
                      <a:lnTo>
                        <a:pt x="68" y="53"/>
                      </a:lnTo>
                      <a:lnTo>
                        <a:pt x="66" y="51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98" name="Freeform 140"/>
                <p:cNvSpPr>
                  <a:spLocks/>
                </p:cNvSpPr>
                <p:nvPr/>
              </p:nvSpPr>
              <p:spPr bwMode="auto">
                <a:xfrm>
                  <a:off x="5389" y="2601"/>
                  <a:ext cx="22" cy="29"/>
                </a:xfrm>
                <a:custGeom>
                  <a:avLst/>
                  <a:gdLst>
                    <a:gd name="T0" fmla="*/ 9 w 42"/>
                    <a:gd name="T1" fmla="*/ 34 h 59"/>
                    <a:gd name="T2" fmla="*/ 12 w 42"/>
                    <a:gd name="T3" fmla="*/ 35 h 59"/>
                    <a:gd name="T4" fmla="*/ 15 w 42"/>
                    <a:gd name="T5" fmla="*/ 37 h 59"/>
                    <a:gd name="T6" fmla="*/ 17 w 42"/>
                    <a:gd name="T7" fmla="*/ 40 h 59"/>
                    <a:gd name="T8" fmla="*/ 15 w 42"/>
                    <a:gd name="T9" fmla="*/ 43 h 59"/>
                    <a:gd name="T10" fmla="*/ 15 w 42"/>
                    <a:gd name="T11" fmla="*/ 46 h 59"/>
                    <a:gd name="T12" fmla="*/ 17 w 42"/>
                    <a:gd name="T13" fmla="*/ 51 h 59"/>
                    <a:gd name="T14" fmla="*/ 19 w 42"/>
                    <a:gd name="T15" fmla="*/ 54 h 59"/>
                    <a:gd name="T16" fmla="*/ 22 w 42"/>
                    <a:gd name="T17" fmla="*/ 56 h 59"/>
                    <a:gd name="T18" fmla="*/ 26 w 42"/>
                    <a:gd name="T19" fmla="*/ 59 h 59"/>
                    <a:gd name="T20" fmla="*/ 26 w 42"/>
                    <a:gd name="T21" fmla="*/ 59 h 59"/>
                    <a:gd name="T22" fmla="*/ 30 w 42"/>
                    <a:gd name="T23" fmla="*/ 59 h 59"/>
                    <a:gd name="T24" fmla="*/ 33 w 42"/>
                    <a:gd name="T25" fmla="*/ 59 h 59"/>
                    <a:gd name="T26" fmla="*/ 38 w 42"/>
                    <a:gd name="T27" fmla="*/ 56 h 59"/>
                    <a:gd name="T28" fmla="*/ 41 w 42"/>
                    <a:gd name="T29" fmla="*/ 56 h 59"/>
                    <a:gd name="T30" fmla="*/ 42 w 42"/>
                    <a:gd name="T31" fmla="*/ 53 h 59"/>
                    <a:gd name="T32" fmla="*/ 41 w 42"/>
                    <a:gd name="T33" fmla="*/ 50 h 59"/>
                    <a:gd name="T34" fmla="*/ 41 w 42"/>
                    <a:gd name="T35" fmla="*/ 46 h 59"/>
                    <a:gd name="T36" fmla="*/ 41 w 42"/>
                    <a:gd name="T37" fmla="*/ 46 h 59"/>
                    <a:gd name="T38" fmla="*/ 39 w 42"/>
                    <a:gd name="T39" fmla="*/ 42 h 59"/>
                    <a:gd name="T40" fmla="*/ 36 w 42"/>
                    <a:gd name="T41" fmla="*/ 38 h 59"/>
                    <a:gd name="T42" fmla="*/ 33 w 42"/>
                    <a:gd name="T43" fmla="*/ 35 h 59"/>
                    <a:gd name="T44" fmla="*/ 31 w 42"/>
                    <a:gd name="T45" fmla="*/ 32 h 59"/>
                    <a:gd name="T46" fmla="*/ 28 w 42"/>
                    <a:gd name="T47" fmla="*/ 32 h 59"/>
                    <a:gd name="T48" fmla="*/ 25 w 42"/>
                    <a:gd name="T49" fmla="*/ 29 h 59"/>
                    <a:gd name="T50" fmla="*/ 20 w 42"/>
                    <a:gd name="T51" fmla="*/ 21 h 59"/>
                    <a:gd name="T52" fmla="*/ 15 w 42"/>
                    <a:gd name="T53" fmla="*/ 11 h 59"/>
                    <a:gd name="T54" fmla="*/ 14 w 42"/>
                    <a:gd name="T55" fmla="*/ 8 h 59"/>
                    <a:gd name="T56" fmla="*/ 11 w 42"/>
                    <a:gd name="T57" fmla="*/ 5 h 59"/>
                    <a:gd name="T58" fmla="*/ 6 w 42"/>
                    <a:gd name="T59" fmla="*/ 5 h 59"/>
                    <a:gd name="T60" fmla="*/ 3 w 42"/>
                    <a:gd name="T61" fmla="*/ 4 h 59"/>
                    <a:gd name="T62" fmla="*/ 0 w 42"/>
                    <a:gd name="T63" fmla="*/ 0 h 59"/>
                    <a:gd name="T64" fmla="*/ 1 w 42"/>
                    <a:gd name="T65" fmla="*/ 5 h 59"/>
                    <a:gd name="T66" fmla="*/ 1 w 42"/>
                    <a:gd name="T67" fmla="*/ 8 h 59"/>
                    <a:gd name="T68" fmla="*/ 0 w 42"/>
                    <a:gd name="T69" fmla="*/ 11 h 59"/>
                    <a:gd name="T70" fmla="*/ 0 w 42"/>
                    <a:gd name="T71" fmla="*/ 15 h 59"/>
                    <a:gd name="T72" fmla="*/ 0 w 42"/>
                    <a:gd name="T73" fmla="*/ 18 h 59"/>
                    <a:gd name="T74" fmla="*/ 0 w 42"/>
                    <a:gd name="T75" fmla="*/ 23 h 59"/>
                    <a:gd name="T76" fmla="*/ 3 w 42"/>
                    <a:gd name="T77" fmla="*/ 26 h 59"/>
                    <a:gd name="T78" fmla="*/ 6 w 42"/>
                    <a:gd name="T79" fmla="*/ 29 h 59"/>
                    <a:gd name="T80" fmla="*/ 7 w 42"/>
                    <a:gd name="T81" fmla="*/ 32 h 59"/>
                    <a:gd name="T82" fmla="*/ 9 w 42"/>
                    <a:gd name="T83" fmla="*/ 34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42" h="59">
                      <a:moveTo>
                        <a:pt x="9" y="34"/>
                      </a:moveTo>
                      <a:lnTo>
                        <a:pt x="12" y="35"/>
                      </a:lnTo>
                      <a:lnTo>
                        <a:pt x="15" y="37"/>
                      </a:lnTo>
                      <a:lnTo>
                        <a:pt x="17" y="40"/>
                      </a:lnTo>
                      <a:lnTo>
                        <a:pt x="15" y="43"/>
                      </a:lnTo>
                      <a:lnTo>
                        <a:pt x="15" y="46"/>
                      </a:lnTo>
                      <a:lnTo>
                        <a:pt x="17" y="51"/>
                      </a:lnTo>
                      <a:lnTo>
                        <a:pt x="19" y="54"/>
                      </a:lnTo>
                      <a:lnTo>
                        <a:pt x="22" y="56"/>
                      </a:lnTo>
                      <a:lnTo>
                        <a:pt x="26" y="59"/>
                      </a:lnTo>
                      <a:lnTo>
                        <a:pt x="26" y="59"/>
                      </a:lnTo>
                      <a:lnTo>
                        <a:pt x="30" y="59"/>
                      </a:lnTo>
                      <a:lnTo>
                        <a:pt x="33" y="59"/>
                      </a:lnTo>
                      <a:lnTo>
                        <a:pt x="38" y="56"/>
                      </a:lnTo>
                      <a:lnTo>
                        <a:pt x="41" y="56"/>
                      </a:lnTo>
                      <a:lnTo>
                        <a:pt x="42" y="53"/>
                      </a:lnTo>
                      <a:lnTo>
                        <a:pt x="41" y="50"/>
                      </a:lnTo>
                      <a:lnTo>
                        <a:pt x="41" y="46"/>
                      </a:lnTo>
                      <a:lnTo>
                        <a:pt x="41" y="46"/>
                      </a:lnTo>
                      <a:lnTo>
                        <a:pt x="39" y="42"/>
                      </a:lnTo>
                      <a:lnTo>
                        <a:pt x="36" y="38"/>
                      </a:lnTo>
                      <a:lnTo>
                        <a:pt x="33" y="35"/>
                      </a:lnTo>
                      <a:lnTo>
                        <a:pt x="31" y="32"/>
                      </a:lnTo>
                      <a:lnTo>
                        <a:pt x="28" y="32"/>
                      </a:lnTo>
                      <a:lnTo>
                        <a:pt x="25" y="29"/>
                      </a:lnTo>
                      <a:lnTo>
                        <a:pt x="20" y="21"/>
                      </a:lnTo>
                      <a:lnTo>
                        <a:pt x="15" y="11"/>
                      </a:lnTo>
                      <a:lnTo>
                        <a:pt x="14" y="8"/>
                      </a:lnTo>
                      <a:lnTo>
                        <a:pt x="11" y="5"/>
                      </a:lnTo>
                      <a:lnTo>
                        <a:pt x="6" y="5"/>
                      </a:lnTo>
                      <a:lnTo>
                        <a:pt x="3" y="4"/>
                      </a:lnTo>
                      <a:lnTo>
                        <a:pt x="0" y="0"/>
                      </a:lnTo>
                      <a:lnTo>
                        <a:pt x="1" y="5"/>
                      </a:lnTo>
                      <a:lnTo>
                        <a:pt x="1" y="8"/>
                      </a:lnTo>
                      <a:lnTo>
                        <a:pt x="0" y="11"/>
                      </a:lnTo>
                      <a:lnTo>
                        <a:pt x="0" y="15"/>
                      </a:lnTo>
                      <a:lnTo>
                        <a:pt x="0" y="18"/>
                      </a:lnTo>
                      <a:lnTo>
                        <a:pt x="0" y="23"/>
                      </a:lnTo>
                      <a:lnTo>
                        <a:pt x="3" y="26"/>
                      </a:lnTo>
                      <a:lnTo>
                        <a:pt x="6" y="29"/>
                      </a:lnTo>
                      <a:lnTo>
                        <a:pt x="7" y="32"/>
                      </a:lnTo>
                      <a:lnTo>
                        <a:pt x="9" y="34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99" name="Freeform 141"/>
                <p:cNvSpPr>
                  <a:spLocks/>
                </p:cNvSpPr>
                <p:nvPr/>
              </p:nvSpPr>
              <p:spPr bwMode="auto">
                <a:xfrm>
                  <a:off x="5245" y="2530"/>
                  <a:ext cx="16" cy="6"/>
                </a:xfrm>
                <a:custGeom>
                  <a:avLst/>
                  <a:gdLst>
                    <a:gd name="T0" fmla="*/ 1 w 32"/>
                    <a:gd name="T1" fmla="*/ 11 h 11"/>
                    <a:gd name="T2" fmla="*/ 1 w 32"/>
                    <a:gd name="T3" fmla="*/ 11 h 11"/>
                    <a:gd name="T4" fmla="*/ 0 w 32"/>
                    <a:gd name="T5" fmla="*/ 8 h 11"/>
                    <a:gd name="T6" fmla="*/ 3 w 32"/>
                    <a:gd name="T7" fmla="*/ 3 h 11"/>
                    <a:gd name="T8" fmla="*/ 5 w 32"/>
                    <a:gd name="T9" fmla="*/ 0 h 11"/>
                    <a:gd name="T10" fmla="*/ 8 w 32"/>
                    <a:gd name="T11" fmla="*/ 0 h 11"/>
                    <a:gd name="T12" fmla="*/ 13 w 32"/>
                    <a:gd name="T13" fmla="*/ 0 h 11"/>
                    <a:gd name="T14" fmla="*/ 16 w 32"/>
                    <a:gd name="T15" fmla="*/ 0 h 11"/>
                    <a:gd name="T16" fmla="*/ 19 w 32"/>
                    <a:gd name="T17" fmla="*/ 0 h 11"/>
                    <a:gd name="T18" fmla="*/ 22 w 32"/>
                    <a:gd name="T19" fmla="*/ 0 h 11"/>
                    <a:gd name="T20" fmla="*/ 25 w 32"/>
                    <a:gd name="T21" fmla="*/ 2 h 11"/>
                    <a:gd name="T22" fmla="*/ 30 w 32"/>
                    <a:gd name="T23" fmla="*/ 3 h 11"/>
                    <a:gd name="T24" fmla="*/ 32 w 32"/>
                    <a:gd name="T25" fmla="*/ 3 h 11"/>
                    <a:gd name="T26" fmla="*/ 32 w 32"/>
                    <a:gd name="T27" fmla="*/ 3 h 11"/>
                    <a:gd name="T28" fmla="*/ 27 w 32"/>
                    <a:gd name="T29" fmla="*/ 5 h 11"/>
                    <a:gd name="T30" fmla="*/ 27 w 32"/>
                    <a:gd name="T31" fmla="*/ 8 h 11"/>
                    <a:gd name="T32" fmla="*/ 22 w 32"/>
                    <a:gd name="T33" fmla="*/ 8 h 11"/>
                    <a:gd name="T34" fmla="*/ 19 w 32"/>
                    <a:gd name="T35" fmla="*/ 10 h 11"/>
                    <a:gd name="T36" fmla="*/ 16 w 32"/>
                    <a:gd name="T37" fmla="*/ 10 h 11"/>
                    <a:gd name="T38" fmla="*/ 13 w 32"/>
                    <a:gd name="T39" fmla="*/ 10 h 11"/>
                    <a:gd name="T40" fmla="*/ 9 w 32"/>
                    <a:gd name="T41" fmla="*/ 7 h 11"/>
                    <a:gd name="T42" fmla="*/ 6 w 32"/>
                    <a:gd name="T43" fmla="*/ 10 h 11"/>
                    <a:gd name="T44" fmla="*/ 1 w 32"/>
                    <a:gd name="T45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2" h="11">
                      <a:moveTo>
                        <a:pt x="1" y="11"/>
                      </a:moveTo>
                      <a:lnTo>
                        <a:pt x="1" y="11"/>
                      </a:lnTo>
                      <a:lnTo>
                        <a:pt x="0" y="8"/>
                      </a:lnTo>
                      <a:lnTo>
                        <a:pt x="3" y="3"/>
                      </a:lnTo>
                      <a:lnTo>
                        <a:pt x="5" y="0"/>
                      </a:lnTo>
                      <a:lnTo>
                        <a:pt x="8" y="0"/>
                      </a:lnTo>
                      <a:lnTo>
                        <a:pt x="13" y="0"/>
                      </a:lnTo>
                      <a:lnTo>
                        <a:pt x="16" y="0"/>
                      </a:lnTo>
                      <a:lnTo>
                        <a:pt x="19" y="0"/>
                      </a:lnTo>
                      <a:lnTo>
                        <a:pt x="22" y="0"/>
                      </a:lnTo>
                      <a:lnTo>
                        <a:pt x="25" y="2"/>
                      </a:lnTo>
                      <a:lnTo>
                        <a:pt x="30" y="3"/>
                      </a:lnTo>
                      <a:lnTo>
                        <a:pt x="32" y="3"/>
                      </a:lnTo>
                      <a:lnTo>
                        <a:pt x="32" y="3"/>
                      </a:lnTo>
                      <a:lnTo>
                        <a:pt x="27" y="5"/>
                      </a:lnTo>
                      <a:lnTo>
                        <a:pt x="27" y="8"/>
                      </a:lnTo>
                      <a:lnTo>
                        <a:pt x="22" y="8"/>
                      </a:lnTo>
                      <a:lnTo>
                        <a:pt x="19" y="10"/>
                      </a:lnTo>
                      <a:lnTo>
                        <a:pt x="16" y="10"/>
                      </a:lnTo>
                      <a:lnTo>
                        <a:pt x="13" y="10"/>
                      </a:lnTo>
                      <a:lnTo>
                        <a:pt x="9" y="7"/>
                      </a:lnTo>
                      <a:lnTo>
                        <a:pt x="6" y="10"/>
                      </a:lnTo>
                      <a:lnTo>
                        <a:pt x="1" y="11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</p:grpSp>
          <p:grpSp>
            <p:nvGrpSpPr>
              <p:cNvPr id="760" name="Group 142"/>
              <p:cNvGrpSpPr>
                <a:grpSpLocks/>
              </p:cNvGrpSpPr>
              <p:nvPr/>
            </p:nvGrpSpPr>
            <p:grpSpPr bwMode="auto">
              <a:xfrm>
                <a:off x="8150229" y="4970912"/>
                <a:ext cx="629981" cy="502867"/>
                <a:chOff x="5193" y="3193"/>
                <a:chExt cx="405" cy="333"/>
              </a:xfrm>
              <a:grpFill/>
            </p:grpSpPr>
            <p:sp>
              <p:nvSpPr>
                <p:cNvPr id="784" name="Freeform 143"/>
                <p:cNvSpPr>
                  <a:spLocks/>
                </p:cNvSpPr>
                <p:nvPr/>
              </p:nvSpPr>
              <p:spPr bwMode="auto">
                <a:xfrm>
                  <a:off x="5193" y="3525"/>
                  <a:ext cx="1" cy="1"/>
                </a:xfrm>
                <a:custGeom>
                  <a:avLst/>
                  <a:gdLst>
                    <a:gd name="T0" fmla="*/ 3 w 3"/>
                    <a:gd name="T1" fmla="*/ 2 h 2"/>
                    <a:gd name="T2" fmla="*/ 3 w 3"/>
                    <a:gd name="T3" fmla="*/ 0 h 2"/>
                    <a:gd name="T4" fmla="*/ 0 w 3"/>
                    <a:gd name="T5" fmla="*/ 2 h 2"/>
                    <a:gd name="T6" fmla="*/ 3 w 3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3" y="2"/>
                      </a:move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3" y="2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85" name="Freeform 144"/>
                <p:cNvSpPr>
                  <a:spLocks/>
                </p:cNvSpPr>
                <p:nvPr/>
              </p:nvSpPr>
              <p:spPr bwMode="auto">
                <a:xfrm>
                  <a:off x="5193" y="3519"/>
                  <a:ext cx="9" cy="6"/>
                </a:xfrm>
                <a:custGeom>
                  <a:avLst/>
                  <a:gdLst>
                    <a:gd name="T0" fmla="*/ 19 w 19"/>
                    <a:gd name="T1" fmla="*/ 1 h 12"/>
                    <a:gd name="T2" fmla="*/ 17 w 19"/>
                    <a:gd name="T3" fmla="*/ 0 h 12"/>
                    <a:gd name="T4" fmla="*/ 14 w 19"/>
                    <a:gd name="T5" fmla="*/ 0 h 12"/>
                    <a:gd name="T6" fmla="*/ 11 w 19"/>
                    <a:gd name="T7" fmla="*/ 3 h 12"/>
                    <a:gd name="T8" fmla="*/ 6 w 19"/>
                    <a:gd name="T9" fmla="*/ 6 h 12"/>
                    <a:gd name="T10" fmla="*/ 3 w 19"/>
                    <a:gd name="T11" fmla="*/ 6 h 12"/>
                    <a:gd name="T12" fmla="*/ 0 w 19"/>
                    <a:gd name="T13" fmla="*/ 9 h 12"/>
                    <a:gd name="T14" fmla="*/ 0 w 19"/>
                    <a:gd name="T15" fmla="*/ 12 h 12"/>
                    <a:gd name="T16" fmla="*/ 3 w 19"/>
                    <a:gd name="T17" fmla="*/ 11 h 12"/>
                    <a:gd name="T18" fmla="*/ 6 w 19"/>
                    <a:gd name="T19" fmla="*/ 12 h 12"/>
                    <a:gd name="T20" fmla="*/ 9 w 19"/>
                    <a:gd name="T21" fmla="*/ 9 h 12"/>
                    <a:gd name="T22" fmla="*/ 11 w 19"/>
                    <a:gd name="T23" fmla="*/ 4 h 12"/>
                    <a:gd name="T24" fmla="*/ 14 w 19"/>
                    <a:gd name="T25" fmla="*/ 3 h 12"/>
                    <a:gd name="T26" fmla="*/ 19 w 19"/>
                    <a:gd name="T27" fmla="*/ 1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9" h="12">
                      <a:moveTo>
                        <a:pt x="19" y="1"/>
                      </a:moveTo>
                      <a:lnTo>
                        <a:pt x="17" y="0"/>
                      </a:lnTo>
                      <a:lnTo>
                        <a:pt x="14" y="0"/>
                      </a:lnTo>
                      <a:lnTo>
                        <a:pt x="11" y="3"/>
                      </a:lnTo>
                      <a:lnTo>
                        <a:pt x="6" y="6"/>
                      </a:lnTo>
                      <a:lnTo>
                        <a:pt x="3" y="6"/>
                      </a:lnTo>
                      <a:lnTo>
                        <a:pt x="0" y="9"/>
                      </a:lnTo>
                      <a:lnTo>
                        <a:pt x="0" y="12"/>
                      </a:lnTo>
                      <a:lnTo>
                        <a:pt x="3" y="11"/>
                      </a:lnTo>
                      <a:lnTo>
                        <a:pt x="6" y="12"/>
                      </a:lnTo>
                      <a:lnTo>
                        <a:pt x="9" y="9"/>
                      </a:lnTo>
                      <a:lnTo>
                        <a:pt x="11" y="4"/>
                      </a:lnTo>
                      <a:lnTo>
                        <a:pt x="14" y="3"/>
                      </a:lnTo>
                      <a:lnTo>
                        <a:pt x="19" y="1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86" name="Freeform 145"/>
                <p:cNvSpPr>
                  <a:spLocks/>
                </p:cNvSpPr>
                <p:nvPr/>
              </p:nvSpPr>
              <p:spPr bwMode="auto">
                <a:xfrm>
                  <a:off x="5277" y="3442"/>
                  <a:ext cx="16" cy="11"/>
                </a:xfrm>
                <a:custGeom>
                  <a:avLst/>
                  <a:gdLst>
                    <a:gd name="T0" fmla="*/ 25 w 32"/>
                    <a:gd name="T1" fmla="*/ 9 h 22"/>
                    <a:gd name="T2" fmla="*/ 28 w 32"/>
                    <a:gd name="T3" fmla="*/ 9 h 22"/>
                    <a:gd name="T4" fmla="*/ 32 w 32"/>
                    <a:gd name="T5" fmla="*/ 6 h 22"/>
                    <a:gd name="T6" fmla="*/ 30 w 32"/>
                    <a:gd name="T7" fmla="*/ 1 h 22"/>
                    <a:gd name="T8" fmla="*/ 27 w 32"/>
                    <a:gd name="T9" fmla="*/ 0 h 22"/>
                    <a:gd name="T10" fmla="*/ 24 w 32"/>
                    <a:gd name="T11" fmla="*/ 1 h 22"/>
                    <a:gd name="T12" fmla="*/ 20 w 32"/>
                    <a:gd name="T13" fmla="*/ 5 h 22"/>
                    <a:gd name="T14" fmla="*/ 19 w 32"/>
                    <a:gd name="T15" fmla="*/ 9 h 22"/>
                    <a:gd name="T16" fmla="*/ 16 w 32"/>
                    <a:gd name="T17" fmla="*/ 11 h 22"/>
                    <a:gd name="T18" fmla="*/ 11 w 32"/>
                    <a:gd name="T19" fmla="*/ 14 h 22"/>
                    <a:gd name="T20" fmla="*/ 8 w 32"/>
                    <a:gd name="T21" fmla="*/ 16 h 22"/>
                    <a:gd name="T22" fmla="*/ 5 w 32"/>
                    <a:gd name="T23" fmla="*/ 19 h 22"/>
                    <a:gd name="T24" fmla="*/ 0 w 32"/>
                    <a:gd name="T25" fmla="*/ 20 h 22"/>
                    <a:gd name="T26" fmla="*/ 5 w 32"/>
                    <a:gd name="T27" fmla="*/ 22 h 22"/>
                    <a:gd name="T28" fmla="*/ 8 w 32"/>
                    <a:gd name="T29" fmla="*/ 19 h 22"/>
                    <a:gd name="T30" fmla="*/ 12 w 32"/>
                    <a:gd name="T31" fmla="*/ 20 h 22"/>
                    <a:gd name="T32" fmla="*/ 16 w 32"/>
                    <a:gd name="T33" fmla="*/ 19 h 22"/>
                    <a:gd name="T34" fmla="*/ 19 w 32"/>
                    <a:gd name="T35" fmla="*/ 17 h 22"/>
                    <a:gd name="T36" fmla="*/ 24 w 32"/>
                    <a:gd name="T37" fmla="*/ 17 h 22"/>
                    <a:gd name="T38" fmla="*/ 27 w 32"/>
                    <a:gd name="T39" fmla="*/ 16 h 22"/>
                    <a:gd name="T40" fmla="*/ 30 w 32"/>
                    <a:gd name="T41" fmla="*/ 13 h 22"/>
                    <a:gd name="T42" fmla="*/ 25 w 32"/>
                    <a:gd name="T43" fmla="*/ 11 h 22"/>
                    <a:gd name="T44" fmla="*/ 22 w 32"/>
                    <a:gd name="T45" fmla="*/ 11 h 22"/>
                    <a:gd name="T46" fmla="*/ 25 w 32"/>
                    <a:gd name="T47" fmla="*/ 9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32" h="22">
                      <a:moveTo>
                        <a:pt x="25" y="9"/>
                      </a:moveTo>
                      <a:lnTo>
                        <a:pt x="28" y="9"/>
                      </a:lnTo>
                      <a:lnTo>
                        <a:pt x="32" y="6"/>
                      </a:lnTo>
                      <a:lnTo>
                        <a:pt x="30" y="1"/>
                      </a:lnTo>
                      <a:lnTo>
                        <a:pt x="27" y="0"/>
                      </a:lnTo>
                      <a:lnTo>
                        <a:pt x="24" y="1"/>
                      </a:lnTo>
                      <a:lnTo>
                        <a:pt x="20" y="5"/>
                      </a:lnTo>
                      <a:lnTo>
                        <a:pt x="19" y="9"/>
                      </a:lnTo>
                      <a:lnTo>
                        <a:pt x="16" y="11"/>
                      </a:lnTo>
                      <a:lnTo>
                        <a:pt x="11" y="14"/>
                      </a:lnTo>
                      <a:lnTo>
                        <a:pt x="8" y="16"/>
                      </a:lnTo>
                      <a:lnTo>
                        <a:pt x="5" y="19"/>
                      </a:lnTo>
                      <a:lnTo>
                        <a:pt x="0" y="20"/>
                      </a:lnTo>
                      <a:lnTo>
                        <a:pt x="5" y="22"/>
                      </a:lnTo>
                      <a:lnTo>
                        <a:pt x="8" y="19"/>
                      </a:lnTo>
                      <a:lnTo>
                        <a:pt x="12" y="20"/>
                      </a:lnTo>
                      <a:lnTo>
                        <a:pt x="16" y="19"/>
                      </a:lnTo>
                      <a:lnTo>
                        <a:pt x="19" y="17"/>
                      </a:lnTo>
                      <a:lnTo>
                        <a:pt x="24" y="17"/>
                      </a:lnTo>
                      <a:lnTo>
                        <a:pt x="27" y="16"/>
                      </a:lnTo>
                      <a:lnTo>
                        <a:pt x="30" y="13"/>
                      </a:lnTo>
                      <a:lnTo>
                        <a:pt x="25" y="11"/>
                      </a:lnTo>
                      <a:lnTo>
                        <a:pt x="22" y="11"/>
                      </a:lnTo>
                      <a:lnTo>
                        <a:pt x="25" y="9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87" name="Freeform 146"/>
                <p:cNvSpPr>
                  <a:spLocks/>
                </p:cNvSpPr>
                <p:nvPr/>
              </p:nvSpPr>
              <p:spPr bwMode="auto">
                <a:xfrm>
                  <a:off x="5279" y="3317"/>
                  <a:ext cx="204" cy="125"/>
                </a:xfrm>
                <a:custGeom>
                  <a:avLst/>
                  <a:gdLst>
                    <a:gd name="T0" fmla="*/ 9 w 407"/>
                    <a:gd name="T1" fmla="*/ 220 h 249"/>
                    <a:gd name="T2" fmla="*/ 14 w 407"/>
                    <a:gd name="T3" fmla="*/ 220 h 249"/>
                    <a:gd name="T4" fmla="*/ 4 w 407"/>
                    <a:gd name="T5" fmla="*/ 230 h 249"/>
                    <a:gd name="T6" fmla="*/ 19 w 407"/>
                    <a:gd name="T7" fmla="*/ 231 h 249"/>
                    <a:gd name="T8" fmla="*/ 30 w 407"/>
                    <a:gd name="T9" fmla="*/ 238 h 249"/>
                    <a:gd name="T10" fmla="*/ 42 w 407"/>
                    <a:gd name="T11" fmla="*/ 241 h 249"/>
                    <a:gd name="T12" fmla="*/ 49 w 407"/>
                    <a:gd name="T13" fmla="*/ 246 h 249"/>
                    <a:gd name="T14" fmla="*/ 74 w 407"/>
                    <a:gd name="T15" fmla="*/ 247 h 249"/>
                    <a:gd name="T16" fmla="*/ 92 w 407"/>
                    <a:gd name="T17" fmla="*/ 241 h 249"/>
                    <a:gd name="T18" fmla="*/ 118 w 407"/>
                    <a:gd name="T19" fmla="*/ 223 h 249"/>
                    <a:gd name="T20" fmla="*/ 139 w 407"/>
                    <a:gd name="T21" fmla="*/ 217 h 249"/>
                    <a:gd name="T22" fmla="*/ 142 w 407"/>
                    <a:gd name="T23" fmla="*/ 212 h 249"/>
                    <a:gd name="T24" fmla="*/ 163 w 407"/>
                    <a:gd name="T25" fmla="*/ 195 h 249"/>
                    <a:gd name="T26" fmla="*/ 210 w 407"/>
                    <a:gd name="T27" fmla="*/ 152 h 249"/>
                    <a:gd name="T28" fmla="*/ 242 w 407"/>
                    <a:gd name="T29" fmla="*/ 141 h 249"/>
                    <a:gd name="T30" fmla="*/ 266 w 407"/>
                    <a:gd name="T31" fmla="*/ 135 h 249"/>
                    <a:gd name="T32" fmla="*/ 279 w 407"/>
                    <a:gd name="T33" fmla="*/ 135 h 249"/>
                    <a:gd name="T34" fmla="*/ 280 w 407"/>
                    <a:gd name="T35" fmla="*/ 127 h 249"/>
                    <a:gd name="T36" fmla="*/ 283 w 407"/>
                    <a:gd name="T37" fmla="*/ 117 h 249"/>
                    <a:gd name="T38" fmla="*/ 302 w 407"/>
                    <a:gd name="T39" fmla="*/ 105 h 249"/>
                    <a:gd name="T40" fmla="*/ 342 w 407"/>
                    <a:gd name="T41" fmla="*/ 78 h 249"/>
                    <a:gd name="T42" fmla="*/ 361 w 407"/>
                    <a:gd name="T43" fmla="*/ 66 h 249"/>
                    <a:gd name="T44" fmla="*/ 377 w 407"/>
                    <a:gd name="T45" fmla="*/ 55 h 249"/>
                    <a:gd name="T46" fmla="*/ 385 w 407"/>
                    <a:gd name="T47" fmla="*/ 38 h 249"/>
                    <a:gd name="T48" fmla="*/ 390 w 407"/>
                    <a:gd name="T49" fmla="*/ 30 h 249"/>
                    <a:gd name="T50" fmla="*/ 404 w 407"/>
                    <a:gd name="T51" fmla="*/ 19 h 249"/>
                    <a:gd name="T52" fmla="*/ 390 w 407"/>
                    <a:gd name="T53" fmla="*/ 27 h 249"/>
                    <a:gd name="T54" fmla="*/ 387 w 407"/>
                    <a:gd name="T55" fmla="*/ 28 h 249"/>
                    <a:gd name="T56" fmla="*/ 398 w 407"/>
                    <a:gd name="T57" fmla="*/ 16 h 249"/>
                    <a:gd name="T58" fmla="*/ 379 w 407"/>
                    <a:gd name="T59" fmla="*/ 24 h 249"/>
                    <a:gd name="T60" fmla="*/ 360 w 407"/>
                    <a:gd name="T61" fmla="*/ 30 h 249"/>
                    <a:gd name="T62" fmla="*/ 371 w 407"/>
                    <a:gd name="T63" fmla="*/ 14 h 249"/>
                    <a:gd name="T64" fmla="*/ 363 w 407"/>
                    <a:gd name="T65" fmla="*/ 6 h 249"/>
                    <a:gd name="T66" fmla="*/ 377 w 407"/>
                    <a:gd name="T67" fmla="*/ 1 h 249"/>
                    <a:gd name="T68" fmla="*/ 360 w 407"/>
                    <a:gd name="T69" fmla="*/ 3 h 249"/>
                    <a:gd name="T70" fmla="*/ 333 w 407"/>
                    <a:gd name="T71" fmla="*/ 22 h 249"/>
                    <a:gd name="T72" fmla="*/ 299 w 407"/>
                    <a:gd name="T73" fmla="*/ 49 h 249"/>
                    <a:gd name="T74" fmla="*/ 234 w 407"/>
                    <a:gd name="T75" fmla="*/ 97 h 249"/>
                    <a:gd name="T76" fmla="*/ 218 w 407"/>
                    <a:gd name="T77" fmla="*/ 103 h 249"/>
                    <a:gd name="T78" fmla="*/ 201 w 407"/>
                    <a:gd name="T79" fmla="*/ 112 h 249"/>
                    <a:gd name="T80" fmla="*/ 182 w 407"/>
                    <a:gd name="T81" fmla="*/ 122 h 249"/>
                    <a:gd name="T82" fmla="*/ 139 w 407"/>
                    <a:gd name="T83" fmla="*/ 139 h 249"/>
                    <a:gd name="T84" fmla="*/ 120 w 407"/>
                    <a:gd name="T85" fmla="*/ 143 h 249"/>
                    <a:gd name="T86" fmla="*/ 104 w 407"/>
                    <a:gd name="T87" fmla="*/ 154 h 249"/>
                    <a:gd name="T88" fmla="*/ 87 w 407"/>
                    <a:gd name="T89" fmla="*/ 165 h 249"/>
                    <a:gd name="T90" fmla="*/ 74 w 407"/>
                    <a:gd name="T91" fmla="*/ 171 h 249"/>
                    <a:gd name="T92" fmla="*/ 58 w 407"/>
                    <a:gd name="T93" fmla="*/ 178 h 249"/>
                    <a:gd name="T94" fmla="*/ 46 w 407"/>
                    <a:gd name="T95" fmla="*/ 189 h 249"/>
                    <a:gd name="T96" fmla="*/ 39 w 407"/>
                    <a:gd name="T97" fmla="*/ 198 h 249"/>
                    <a:gd name="T98" fmla="*/ 31 w 407"/>
                    <a:gd name="T99" fmla="*/ 195 h 249"/>
                    <a:gd name="T100" fmla="*/ 25 w 407"/>
                    <a:gd name="T101" fmla="*/ 204 h 249"/>
                    <a:gd name="T102" fmla="*/ 20 w 407"/>
                    <a:gd name="T103" fmla="*/ 206 h 249"/>
                    <a:gd name="T104" fmla="*/ 23 w 407"/>
                    <a:gd name="T105" fmla="*/ 209 h 249"/>
                    <a:gd name="T106" fmla="*/ 6 w 407"/>
                    <a:gd name="T107" fmla="*/ 214 h 2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407" h="249">
                      <a:moveTo>
                        <a:pt x="0" y="222"/>
                      </a:moveTo>
                      <a:lnTo>
                        <a:pt x="4" y="220"/>
                      </a:lnTo>
                      <a:lnTo>
                        <a:pt x="7" y="219"/>
                      </a:lnTo>
                      <a:lnTo>
                        <a:pt x="11" y="217"/>
                      </a:lnTo>
                      <a:lnTo>
                        <a:pt x="9" y="220"/>
                      </a:lnTo>
                      <a:lnTo>
                        <a:pt x="6" y="222"/>
                      </a:lnTo>
                      <a:lnTo>
                        <a:pt x="4" y="225"/>
                      </a:lnTo>
                      <a:lnTo>
                        <a:pt x="7" y="223"/>
                      </a:lnTo>
                      <a:lnTo>
                        <a:pt x="11" y="220"/>
                      </a:lnTo>
                      <a:lnTo>
                        <a:pt x="14" y="220"/>
                      </a:lnTo>
                      <a:lnTo>
                        <a:pt x="11" y="222"/>
                      </a:lnTo>
                      <a:lnTo>
                        <a:pt x="7" y="225"/>
                      </a:lnTo>
                      <a:lnTo>
                        <a:pt x="3" y="227"/>
                      </a:lnTo>
                      <a:lnTo>
                        <a:pt x="1" y="230"/>
                      </a:lnTo>
                      <a:lnTo>
                        <a:pt x="4" y="230"/>
                      </a:lnTo>
                      <a:lnTo>
                        <a:pt x="9" y="231"/>
                      </a:lnTo>
                      <a:lnTo>
                        <a:pt x="12" y="231"/>
                      </a:lnTo>
                      <a:lnTo>
                        <a:pt x="12" y="231"/>
                      </a:lnTo>
                      <a:lnTo>
                        <a:pt x="17" y="231"/>
                      </a:lnTo>
                      <a:lnTo>
                        <a:pt x="19" y="231"/>
                      </a:lnTo>
                      <a:lnTo>
                        <a:pt x="23" y="230"/>
                      </a:lnTo>
                      <a:lnTo>
                        <a:pt x="27" y="228"/>
                      </a:lnTo>
                      <a:lnTo>
                        <a:pt x="31" y="230"/>
                      </a:lnTo>
                      <a:lnTo>
                        <a:pt x="31" y="235"/>
                      </a:lnTo>
                      <a:lnTo>
                        <a:pt x="30" y="238"/>
                      </a:lnTo>
                      <a:lnTo>
                        <a:pt x="33" y="238"/>
                      </a:lnTo>
                      <a:lnTo>
                        <a:pt x="38" y="236"/>
                      </a:lnTo>
                      <a:lnTo>
                        <a:pt x="39" y="236"/>
                      </a:lnTo>
                      <a:lnTo>
                        <a:pt x="42" y="236"/>
                      </a:lnTo>
                      <a:lnTo>
                        <a:pt x="42" y="241"/>
                      </a:lnTo>
                      <a:lnTo>
                        <a:pt x="41" y="243"/>
                      </a:lnTo>
                      <a:lnTo>
                        <a:pt x="41" y="246"/>
                      </a:lnTo>
                      <a:lnTo>
                        <a:pt x="42" y="246"/>
                      </a:lnTo>
                      <a:lnTo>
                        <a:pt x="46" y="244"/>
                      </a:lnTo>
                      <a:lnTo>
                        <a:pt x="49" y="246"/>
                      </a:lnTo>
                      <a:lnTo>
                        <a:pt x="52" y="244"/>
                      </a:lnTo>
                      <a:lnTo>
                        <a:pt x="55" y="244"/>
                      </a:lnTo>
                      <a:lnTo>
                        <a:pt x="55" y="249"/>
                      </a:lnTo>
                      <a:lnTo>
                        <a:pt x="65" y="247"/>
                      </a:lnTo>
                      <a:lnTo>
                        <a:pt x="74" y="247"/>
                      </a:lnTo>
                      <a:lnTo>
                        <a:pt x="77" y="246"/>
                      </a:lnTo>
                      <a:lnTo>
                        <a:pt x="80" y="244"/>
                      </a:lnTo>
                      <a:lnTo>
                        <a:pt x="85" y="244"/>
                      </a:lnTo>
                      <a:lnTo>
                        <a:pt x="88" y="241"/>
                      </a:lnTo>
                      <a:lnTo>
                        <a:pt x="92" y="241"/>
                      </a:lnTo>
                      <a:lnTo>
                        <a:pt x="95" y="236"/>
                      </a:lnTo>
                      <a:lnTo>
                        <a:pt x="98" y="235"/>
                      </a:lnTo>
                      <a:lnTo>
                        <a:pt x="109" y="230"/>
                      </a:lnTo>
                      <a:lnTo>
                        <a:pt x="118" y="223"/>
                      </a:lnTo>
                      <a:lnTo>
                        <a:pt x="118" y="223"/>
                      </a:lnTo>
                      <a:lnTo>
                        <a:pt x="122" y="222"/>
                      </a:lnTo>
                      <a:lnTo>
                        <a:pt x="126" y="219"/>
                      </a:lnTo>
                      <a:lnTo>
                        <a:pt x="131" y="219"/>
                      </a:lnTo>
                      <a:lnTo>
                        <a:pt x="134" y="219"/>
                      </a:lnTo>
                      <a:lnTo>
                        <a:pt x="139" y="217"/>
                      </a:lnTo>
                      <a:lnTo>
                        <a:pt x="142" y="214"/>
                      </a:lnTo>
                      <a:lnTo>
                        <a:pt x="138" y="216"/>
                      </a:lnTo>
                      <a:lnTo>
                        <a:pt x="134" y="217"/>
                      </a:lnTo>
                      <a:lnTo>
                        <a:pt x="139" y="214"/>
                      </a:lnTo>
                      <a:lnTo>
                        <a:pt x="142" y="212"/>
                      </a:lnTo>
                      <a:lnTo>
                        <a:pt x="142" y="209"/>
                      </a:lnTo>
                      <a:lnTo>
                        <a:pt x="147" y="208"/>
                      </a:lnTo>
                      <a:lnTo>
                        <a:pt x="150" y="204"/>
                      </a:lnTo>
                      <a:lnTo>
                        <a:pt x="153" y="203"/>
                      </a:lnTo>
                      <a:lnTo>
                        <a:pt x="163" y="195"/>
                      </a:lnTo>
                      <a:lnTo>
                        <a:pt x="172" y="187"/>
                      </a:lnTo>
                      <a:lnTo>
                        <a:pt x="188" y="174"/>
                      </a:lnTo>
                      <a:lnTo>
                        <a:pt x="204" y="158"/>
                      </a:lnTo>
                      <a:lnTo>
                        <a:pt x="207" y="155"/>
                      </a:lnTo>
                      <a:lnTo>
                        <a:pt x="210" y="152"/>
                      </a:lnTo>
                      <a:lnTo>
                        <a:pt x="212" y="152"/>
                      </a:lnTo>
                      <a:lnTo>
                        <a:pt x="215" y="151"/>
                      </a:lnTo>
                      <a:lnTo>
                        <a:pt x="225" y="147"/>
                      </a:lnTo>
                      <a:lnTo>
                        <a:pt x="234" y="144"/>
                      </a:lnTo>
                      <a:lnTo>
                        <a:pt x="242" y="141"/>
                      </a:lnTo>
                      <a:lnTo>
                        <a:pt x="252" y="138"/>
                      </a:lnTo>
                      <a:lnTo>
                        <a:pt x="260" y="133"/>
                      </a:lnTo>
                      <a:lnTo>
                        <a:pt x="266" y="130"/>
                      </a:lnTo>
                      <a:lnTo>
                        <a:pt x="269" y="133"/>
                      </a:lnTo>
                      <a:lnTo>
                        <a:pt x="266" y="135"/>
                      </a:lnTo>
                      <a:lnTo>
                        <a:pt x="263" y="135"/>
                      </a:lnTo>
                      <a:lnTo>
                        <a:pt x="266" y="135"/>
                      </a:lnTo>
                      <a:lnTo>
                        <a:pt x="271" y="135"/>
                      </a:lnTo>
                      <a:lnTo>
                        <a:pt x="274" y="136"/>
                      </a:lnTo>
                      <a:lnTo>
                        <a:pt x="279" y="135"/>
                      </a:lnTo>
                      <a:lnTo>
                        <a:pt x="280" y="136"/>
                      </a:lnTo>
                      <a:lnTo>
                        <a:pt x="283" y="133"/>
                      </a:lnTo>
                      <a:lnTo>
                        <a:pt x="287" y="130"/>
                      </a:lnTo>
                      <a:lnTo>
                        <a:pt x="283" y="127"/>
                      </a:lnTo>
                      <a:lnTo>
                        <a:pt x="280" y="127"/>
                      </a:lnTo>
                      <a:lnTo>
                        <a:pt x="277" y="125"/>
                      </a:lnTo>
                      <a:lnTo>
                        <a:pt x="280" y="124"/>
                      </a:lnTo>
                      <a:lnTo>
                        <a:pt x="282" y="120"/>
                      </a:lnTo>
                      <a:lnTo>
                        <a:pt x="283" y="117"/>
                      </a:lnTo>
                      <a:lnTo>
                        <a:pt x="283" y="117"/>
                      </a:lnTo>
                      <a:lnTo>
                        <a:pt x="287" y="112"/>
                      </a:lnTo>
                      <a:lnTo>
                        <a:pt x="291" y="109"/>
                      </a:lnTo>
                      <a:lnTo>
                        <a:pt x="295" y="106"/>
                      </a:lnTo>
                      <a:lnTo>
                        <a:pt x="299" y="106"/>
                      </a:lnTo>
                      <a:lnTo>
                        <a:pt x="302" y="105"/>
                      </a:lnTo>
                      <a:lnTo>
                        <a:pt x="306" y="103"/>
                      </a:lnTo>
                      <a:lnTo>
                        <a:pt x="309" y="101"/>
                      </a:lnTo>
                      <a:lnTo>
                        <a:pt x="325" y="92"/>
                      </a:lnTo>
                      <a:lnTo>
                        <a:pt x="337" y="81"/>
                      </a:lnTo>
                      <a:lnTo>
                        <a:pt x="342" y="78"/>
                      </a:lnTo>
                      <a:lnTo>
                        <a:pt x="347" y="76"/>
                      </a:lnTo>
                      <a:lnTo>
                        <a:pt x="350" y="74"/>
                      </a:lnTo>
                      <a:lnTo>
                        <a:pt x="353" y="71"/>
                      </a:lnTo>
                      <a:lnTo>
                        <a:pt x="358" y="70"/>
                      </a:lnTo>
                      <a:lnTo>
                        <a:pt x="361" y="66"/>
                      </a:lnTo>
                      <a:lnTo>
                        <a:pt x="361" y="66"/>
                      </a:lnTo>
                      <a:lnTo>
                        <a:pt x="364" y="63"/>
                      </a:lnTo>
                      <a:lnTo>
                        <a:pt x="369" y="60"/>
                      </a:lnTo>
                      <a:lnTo>
                        <a:pt x="374" y="57"/>
                      </a:lnTo>
                      <a:lnTo>
                        <a:pt x="377" y="55"/>
                      </a:lnTo>
                      <a:lnTo>
                        <a:pt x="382" y="52"/>
                      </a:lnTo>
                      <a:lnTo>
                        <a:pt x="383" y="49"/>
                      </a:lnTo>
                      <a:lnTo>
                        <a:pt x="385" y="44"/>
                      </a:lnTo>
                      <a:lnTo>
                        <a:pt x="387" y="41"/>
                      </a:lnTo>
                      <a:lnTo>
                        <a:pt x="385" y="38"/>
                      </a:lnTo>
                      <a:lnTo>
                        <a:pt x="396" y="32"/>
                      </a:lnTo>
                      <a:lnTo>
                        <a:pt x="407" y="24"/>
                      </a:lnTo>
                      <a:lnTo>
                        <a:pt x="399" y="28"/>
                      </a:lnTo>
                      <a:lnTo>
                        <a:pt x="390" y="32"/>
                      </a:lnTo>
                      <a:lnTo>
                        <a:pt x="390" y="30"/>
                      </a:lnTo>
                      <a:lnTo>
                        <a:pt x="393" y="28"/>
                      </a:lnTo>
                      <a:lnTo>
                        <a:pt x="396" y="28"/>
                      </a:lnTo>
                      <a:lnTo>
                        <a:pt x="401" y="25"/>
                      </a:lnTo>
                      <a:lnTo>
                        <a:pt x="404" y="22"/>
                      </a:lnTo>
                      <a:lnTo>
                        <a:pt x="404" y="19"/>
                      </a:lnTo>
                      <a:lnTo>
                        <a:pt x="401" y="21"/>
                      </a:lnTo>
                      <a:lnTo>
                        <a:pt x="398" y="21"/>
                      </a:lnTo>
                      <a:lnTo>
                        <a:pt x="396" y="24"/>
                      </a:lnTo>
                      <a:lnTo>
                        <a:pt x="391" y="24"/>
                      </a:lnTo>
                      <a:lnTo>
                        <a:pt x="390" y="27"/>
                      </a:lnTo>
                      <a:lnTo>
                        <a:pt x="393" y="27"/>
                      </a:lnTo>
                      <a:lnTo>
                        <a:pt x="390" y="28"/>
                      </a:lnTo>
                      <a:lnTo>
                        <a:pt x="387" y="30"/>
                      </a:lnTo>
                      <a:lnTo>
                        <a:pt x="383" y="30"/>
                      </a:lnTo>
                      <a:lnTo>
                        <a:pt x="387" y="28"/>
                      </a:lnTo>
                      <a:lnTo>
                        <a:pt x="390" y="25"/>
                      </a:lnTo>
                      <a:lnTo>
                        <a:pt x="393" y="22"/>
                      </a:lnTo>
                      <a:lnTo>
                        <a:pt x="390" y="21"/>
                      </a:lnTo>
                      <a:lnTo>
                        <a:pt x="393" y="21"/>
                      </a:lnTo>
                      <a:lnTo>
                        <a:pt x="398" y="16"/>
                      </a:lnTo>
                      <a:lnTo>
                        <a:pt x="393" y="17"/>
                      </a:lnTo>
                      <a:lnTo>
                        <a:pt x="390" y="19"/>
                      </a:lnTo>
                      <a:lnTo>
                        <a:pt x="385" y="22"/>
                      </a:lnTo>
                      <a:lnTo>
                        <a:pt x="382" y="22"/>
                      </a:lnTo>
                      <a:lnTo>
                        <a:pt x="379" y="24"/>
                      </a:lnTo>
                      <a:lnTo>
                        <a:pt x="375" y="27"/>
                      </a:lnTo>
                      <a:lnTo>
                        <a:pt x="371" y="27"/>
                      </a:lnTo>
                      <a:lnTo>
                        <a:pt x="367" y="30"/>
                      </a:lnTo>
                      <a:lnTo>
                        <a:pt x="364" y="32"/>
                      </a:lnTo>
                      <a:lnTo>
                        <a:pt x="360" y="30"/>
                      </a:lnTo>
                      <a:lnTo>
                        <a:pt x="361" y="27"/>
                      </a:lnTo>
                      <a:lnTo>
                        <a:pt x="363" y="24"/>
                      </a:lnTo>
                      <a:lnTo>
                        <a:pt x="364" y="21"/>
                      </a:lnTo>
                      <a:lnTo>
                        <a:pt x="367" y="17"/>
                      </a:lnTo>
                      <a:lnTo>
                        <a:pt x="371" y="14"/>
                      </a:lnTo>
                      <a:lnTo>
                        <a:pt x="371" y="11"/>
                      </a:lnTo>
                      <a:lnTo>
                        <a:pt x="366" y="13"/>
                      </a:lnTo>
                      <a:lnTo>
                        <a:pt x="363" y="13"/>
                      </a:lnTo>
                      <a:lnTo>
                        <a:pt x="363" y="11"/>
                      </a:lnTo>
                      <a:lnTo>
                        <a:pt x="363" y="6"/>
                      </a:lnTo>
                      <a:lnTo>
                        <a:pt x="364" y="6"/>
                      </a:lnTo>
                      <a:lnTo>
                        <a:pt x="367" y="1"/>
                      </a:lnTo>
                      <a:lnTo>
                        <a:pt x="371" y="0"/>
                      </a:lnTo>
                      <a:lnTo>
                        <a:pt x="374" y="0"/>
                      </a:lnTo>
                      <a:lnTo>
                        <a:pt x="377" y="1"/>
                      </a:lnTo>
                      <a:lnTo>
                        <a:pt x="374" y="0"/>
                      </a:lnTo>
                      <a:lnTo>
                        <a:pt x="371" y="0"/>
                      </a:lnTo>
                      <a:lnTo>
                        <a:pt x="367" y="0"/>
                      </a:lnTo>
                      <a:lnTo>
                        <a:pt x="363" y="3"/>
                      </a:lnTo>
                      <a:lnTo>
                        <a:pt x="360" y="3"/>
                      </a:lnTo>
                      <a:lnTo>
                        <a:pt x="352" y="8"/>
                      </a:lnTo>
                      <a:lnTo>
                        <a:pt x="342" y="13"/>
                      </a:lnTo>
                      <a:lnTo>
                        <a:pt x="337" y="16"/>
                      </a:lnTo>
                      <a:lnTo>
                        <a:pt x="336" y="19"/>
                      </a:lnTo>
                      <a:lnTo>
                        <a:pt x="333" y="22"/>
                      </a:lnTo>
                      <a:lnTo>
                        <a:pt x="329" y="27"/>
                      </a:lnTo>
                      <a:lnTo>
                        <a:pt x="328" y="30"/>
                      </a:lnTo>
                      <a:lnTo>
                        <a:pt x="318" y="38"/>
                      </a:lnTo>
                      <a:lnTo>
                        <a:pt x="307" y="46"/>
                      </a:lnTo>
                      <a:lnTo>
                        <a:pt x="299" y="49"/>
                      </a:lnTo>
                      <a:lnTo>
                        <a:pt x="291" y="51"/>
                      </a:lnTo>
                      <a:lnTo>
                        <a:pt x="280" y="62"/>
                      </a:lnTo>
                      <a:lnTo>
                        <a:pt x="269" y="73"/>
                      </a:lnTo>
                      <a:lnTo>
                        <a:pt x="252" y="86"/>
                      </a:lnTo>
                      <a:lnTo>
                        <a:pt x="234" y="97"/>
                      </a:lnTo>
                      <a:lnTo>
                        <a:pt x="231" y="98"/>
                      </a:lnTo>
                      <a:lnTo>
                        <a:pt x="226" y="100"/>
                      </a:lnTo>
                      <a:lnTo>
                        <a:pt x="223" y="101"/>
                      </a:lnTo>
                      <a:lnTo>
                        <a:pt x="220" y="103"/>
                      </a:lnTo>
                      <a:lnTo>
                        <a:pt x="218" y="103"/>
                      </a:lnTo>
                      <a:lnTo>
                        <a:pt x="215" y="105"/>
                      </a:lnTo>
                      <a:lnTo>
                        <a:pt x="210" y="106"/>
                      </a:lnTo>
                      <a:lnTo>
                        <a:pt x="207" y="109"/>
                      </a:lnTo>
                      <a:lnTo>
                        <a:pt x="204" y="111"/>
                      </a:lnTo>
                      <a:lnTo>
                        <a:pt x="201" y="112"/>
                      </a:lnTo>
                      <a:lnTo>
                        <a:pt x="196" y="114"/>
                      </a:lnTo>
                      <a:lnTo>
                        <a:pt x="193" y="116"/>
                      </a:lnTo>
                      <a:lnTo>
                        <a:pt x="190" y="117"/>
                      </a:lnTo>
                      <a:lnTo>
                        <a:pt x="187" y="119"/>
                      </a:lnTo>
                      <a:lnTo>
                        <a:pt x="182" y="122"/>
                      </a:lnTo>
                      <a:lnTo>
                        <a:pt x="171" y="127"/>
                      </a:lnTo>
                      <a:lnTo>
                        <a:pt x="160" y="130"/>
                      </a:lnTo>
                      <a:lnTo>
                        <a:pt x="152" y="135"/>
                      </a:lnTo>
                      <a:lnTo>
                        <a:pt x="142" y="138"/>
                      </a:lnTo>
                      <a:lnTo>
                        <a:pt x="139" y="139"/>
                      </a:lnTo>
                      <a:lnTo>
                        <a:pt x="134" y="141"/>
                      </a:lnTo>
                      <a:lnTo>
                        <a:pt x="131" y="141"/>
                      </a:lnTo>
                      <a:lnTo>
                        <a:pt x="128" y="141"/>
                      </a:lnTo>
                      <a:lnTo>
                        <a:pt x="125" y="141"/>
                      </a:lnTo>
                      <a:lnTo>
                        <a:pt x="120" y="143"/>
                      </a:lnTo>
                      <a:lnTo>
                        <a:pt x="117" y="146"/>
                      </a:lnTo>
                      <a:lnTo>
                        <a:pt x="112" y="149"/>
                      </a:lnTo>
                      <a:lnTo>
                        <a:pt x="109" y="151"/>
                      </a:lnTo>
                      <a:lnTo>
                        <a:pt x="106" y="152"/>
                      </a:lnTo>
                      <a:lnTo>
                        <a:pt x="104" y="154"/>
                      </a:lnTo>
                      <a:lnTo>
                        <a:pt x="101" y="155"/>
                      </a:lnTo>
                      <a:lnTo>
                        <a:pt x="98" y="157"/>
                      </a:lnTo>
                      <a:lnTo>
                        <a:pt x="93" y="160"/>
                      </a:lnTo>
                      <a:lnTo>
                        <a:pt x="90" y="162"/>
                      </a:lnTo>
                      <a:lnTo>
                        <a:pt x="87" y="165"/>
                      </a:lnTo>
                      <a:lnTo>
                        <a:pt x="88" y="170"/>
                      </a:lnTo>
                      <a:lnTo>
                        <a:pt x="85" y="165"/>
                      </a:lnTo>
                      <a:lnTo>
                        <a:pt x="82" y="166"/>
                      </a:lnTo>
                      <a:lnTo>
                        <a:pt x="79" y="168"/>
                      </a:lnTo>
                      <a:lnTo>
                        <a:pt x="74" y="171"/>
                      </a:lnTo>
                      <a:lnTo>
                        <a:pt x="71" y="174"/>
                      </a:lnTo>
                      <a:lnTo>
                        <a:pt x="68" y="173"/>
                      </a:lnTo>
                      <a:lnTo>
                        <a:pt x="65" y="176"/>
                      </a:lnTo>
                      <a:lnTo>
                        <a:pt x="63" y="179"/>
                      </a:lnTo>
                      <a:lnTo>
                        <a:pt x="58" y="178"/>
                      </a:lnTo>
                      <a:lnTo>
                        <a:pt x="55" y="181"/>
                      </a:lnTo>
                      <a:lnTo>
                        <a:pt x="57" y="184"/>
                      </a:lnTo>
                      <a:lnTo>
                        <a:pt x="52" y="184"/>
                      </a:lnTo>
                      <a:lnTo>
                        <a:pt x="49" y="184"/>
                      </a:lnTo>
                      <a:lnTo>
                        <a:pt x="46" y="189"/>
                      </a:lnTo>
                      <a:lnTo>
                        <a:pt x="42" y="189"/>
                      </a:lnTo>
                      <a:lnTo>
                        <a:pt x="41" y="192"/>
                      </a:lnTo>
                      <a:lnTo>
                        <a:pt x="44" y="192"/>
                      </a:lnTo>
                      <a:lnTo>
                        <a:pt x="39" y="193"/>
                      </a:lnTo>
                      <a:lnTo>
                        <a:pt x="39" y="198"/>
                      </a:lnTo>
                      <a:lnTo>
                        <a:pt x="36" y="201"/>
                      </a:lnTo>
                      <a:lnTo>
                        <a:pt x="38" y="198"/>
                      </a:lnTo>
                      <a:lnTo>
                        <a:pt x="34" y="198"/>
                      </a:lnTo>
                      <a:lnTo>
                        <a:pt x="36" y="195"/>
                      </a:lnTo>
                      <a:lnTo>
                        <a:pt x="31" y="195"/>
                      </a:lnTo>
                      <a:lnTo>
                        <a:pt x="31" y="198"/>
                      </a:lnTo>
                      <a:lnTo>
                        <a:pt x="28" y="198"/>
                      </a:lnTo>
                      <a:lnTo>
                        <a:pt x="25" y="201"/>
                      </a:lnTo>
                      <a:lnTo>
                        <a:pt x="20" y="204"/>
                      </a:lnTo>
                      <a:lnTo>
                        <a:pt x="25" y="204"/>
                      </a:lnTo>
                      <a:lnTo>
                        <a:pt x="28" y="203"/>
                      </a:lnTo>
                      <a:lnTo>
                        <a:pt x="31" y="203"/>
                      </a:lnTo>
                      <a:lnTo>
                        <a:pt x="28" y="203"/>
                      </a:lnTo>
                      <a:lnTo>
                        <a:pt x="23" y="204"/>
                      </a:lnTo>
                      <a:lnTo>
                        <a:pt x="20" y="206"/>
                      </a:lnTo>
                      <a:lnTo>
                        <a:pt x="23" y="208"/>
                      </a:lnTo>
                      <a:lnTo>
                        <a:pt x="28" y="206"/>
                      </a:lnTo>
                      <a:lnTo>
                        <a:pt x="25" y="208"/>
                      </a:lnTo>
                      <a:lnTo>
                        <a:pt x="20" y="209"/>
                      </a:lnTo>
                      <a:lnTo>
                        <a:pt x="23" y="209"/>
                      </a:lnTo>
                      <a:lnTo>
                        <a:pt x="20" y="212"/>
                      </a:lnTo>
                      <a:lnTo>
                        <a:pt x="15" y="212"/>
                      </a:lnTo>
                      <a:lnTo>
                        <a:pt x="12" y="214"/>
                      </a:lnTo>
                      <a:lnTo>
                        <a:pt x="9" y="214"/>
                      </a:lnTo>
                      <a:lnTo>
                        <a:pt x="6" y="214"/>
                      </a:lnTo>
                      <a:lnTo>
                        <a:pt x="1" y="219"/>
                      </a:lnTo>
                      <a:lnTo>
                        <a:pt x="0" y="222"/>
                      </a:lnTo>
                      <a:lnTo>
                        <a:pt x="0" y="222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88" name="Freeform 147"/>
                <p:cNvSpPr>
                  <a:spLocks/>
                </p:cNvSpPr>
                <p:nvPr/>
              </p:nvSpPr>
              <p:spPr bwMode="auto">
                <a:xfrm>
                  <a:off x="5477" y="3321"/>
                  <a:ext cx="4" cy="4"/>
                </a:xfrm>
                <a:custGeom>
                  <a:avLst/>
                  <a:gdLst>
                    <a:gd name="T0" fmla="*/ 10 w 10"/>
                    <a:gd name="T1" fmla="*/ 0 h 8"/>
                    <a:gd name="T2" fmla="*/ 10 w 10"/>
                    <a:gd name="T3" fmla="*/ 0 h 8"/>
                    <a:gd name="T4" fmla="*/ 7 w 10"/>
                    <a:gd name="T5" fmla="*/ 1 h 8"/>
                    <a:gd name="T6" fmla="*/ 2 w 10"/>
                    <a:gd name="T7" fmla="*/ 5 h 8"/>
                    <a:gd name="T8" fmla="*/ 0 w 10"/>
                    <a:gd name="T9" fmla="*/ 8 h 8"/>
                    <a:gd name="T10" fmla="*/ 5 w 10"/>
                    <a:gd name="T11" fmla="*/ 6 h 8"/>
                    <a:gd name="T12" fmla="*/ 8 w 10"/>
                    <a:gd name="T13" fmla="*/ 3 h 8"/>
                    <a:gd name="T14" fmla="*/ 10 w 10"/>
                    <a:gd name="T15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0" h="8">
                      <a:moveTo>
                        <a:pt x="10" y="0"/>
                      </a:moveTo>
                      <a:lnTo>
                        <a:pt x="10" y="0"/>
                      </a:lnTo>
                      <a:lnTo>
                        <a:pt x="7" y="1"/>
                      </a:lnTo>
                      <a:lnTo>
                        <a:pt x="2" y="5"/>
                      </a:lnTo>
                      <a:lnTo>
                        <a:pt x="0" y="8"/>
                      </a:lnTo>
                      <a:lnTo>
                        <a:pt x="5" y="6"/>
                      </a:lnTo>
                      <a:lnTo>
                        <a:pt x="8" y="3"/>
                      </a:lnTo>
                      <a:lnTo>
                        <a:pt x="10" y="0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89" name="Freeform 148"/>
                <p:cNvSpPr>
                  <a:spLocks/>
                </p:cNvSpPr>
                <p:nvPr/>
              </p:nvSpPr>
              <p:spPr bwMode="auto">
                <a:xfrm>
                  <a:off x="5484" y="3193"/>
                  <a:ext cx="114" cy="147"/>
                </a:xfrm>
                <a:custGeom>
                  <a:avLst/>
                  <a:gdLst>
                    <a:gd name="T0" fmla="*/ 8 w 228"/>
                    <a:gd name="T1" fmla="*/ 285 h 293"/>
                    <a:gd name="T2" fmla="*/ 16 w 228"/>
                    <a:gd name="T3" fmla="*/ 293 h 293"/>
                    <a:gd name="T4" fmla="*/ 35 w 228"/>
                    <a:gd name="T5" fmla="*/ 285 h 293"/>
                    <a:gd name="T6" fmla="*/ 54 w 228"/>
                    <a:gd name="T7" fmla="*/ 273 h 293"/>
                    <a:gd name="T8" fmla="*/ 74 w 228"/>
                    <a:gd name="T9" fmla="*/ 257 h 293"/>
                    <a:gd name="T10" fmla="*/ 89 w 228"/>
                    <a:gd name="T11" fmla="*/ 249 h 293"/>
                    <a:gd name="T12" fmla="*/ 128 w 228"/>
                    <a:gd name="T13" fmla="*/ 214 h 293"/>
                    <a:gd name="T14" fmla="*/ 133 w 228"/>
                    <a:gd name="T15" fmla="*/ 200 h 293"/>
                    <a:gd name="T16" fmla="*/ 160 w 228"/>
                    <a:gd name="T17" fmla="*/ 190 h 293"/>
                    <a:gd name="T18" fmla="*/ 173 w 228"/>
                    <a:gd name="T19" fmla="*/ 192 h 293"/>
                    <a:gd name="T20" fmla="*/ 182 w 228"/>
                    <a:gd name="T21" fmla="*/ 176 h 293"/>
                    <a:gd name="T22" fmla="*/ 198 w 228"/>
                    <a:gd name="T23" fmla="*/ 170 h 293"/>
                    <a:gd name="T24" fmla="*/ 214 w 228"/>
                    <a:gd name="T25" fmla="*/ 151 h 293"/>
                    <a:gd name="T26" fmla="*/ 228 w 228"/>
                    <a:gd name="T27" fmla="*/ 136 h 293"/>
                    <a:gd name="T28" fmla="*/ 212 w 228"/>
                    <a:gd name="T29" fmla="*/ 130 h 293"/>
                    <a:gd name="T30" fmla="*/ 188 w 228"/>
                    <a:gd name="T31" fmla="*/ 144 h 293"/>
                    <a:gd name="T32" fmla="*/ 165 w 228"/>
                    <a:gd name="T33" fmla="*/ 143 h 293"/>
                    <a:gd name="T34" fmla="*/ 149 w 228"/>
                    <a:gd name="T35" fmla="*/ 135 h 293"/>
                    <a:gd name="T36" fmla="*/ 150 w 228"/>
                    <a:gd name="T37" fmla="*/ 122 h 293"/>
                    <a:gd name="T38" fmla="*/ 158 w 228"/>
                    <a:gd name="T39" fmla="*/ 97 h 293"/>
                    <a:gd name="T40" fmla="*/ 155 w 228"/>
                    <a:gd name="T41" fmla="*/ 89 h 293"/>
                    <a:gd name="T42" fmla="*/ 147 w 228"/>
                    <a:gd name="T43" fmla="*/ 98 h 293"/>
                    <a:gd name="T44" fmla="*/ 138 w 228"/>
                    <a:gd name="T45" fmla="*/ 114 h 293"/>
                    <a:gd name="T46" fmla="*/ 133 w 228"/>
                    <a:gd name="T47" fmla="*/ 101 h 293"/>
                    <a:gd name="T48" fmla="*/ 120 w 228"/>
                    <a:gd name="T49" fmla="*/ 100 h 293"/>
                    <a:gd name="T50" fmla="*/ 128 w 228"/>
                    <a:gd name="T51" fmla="*/ 92 h 293"/>
                    <a:gd name="T52" fmla="*/ 138 w 228"/>
                    <a:gd name="T53" fmla="*/ 78 h 293"/>
                    <a:gd name="T54" fmla="*/ 136 w 228"/>
                    <a:gd name="T55" fmla="*/ 60 h 293"/>
                    <a:gd name="T56" fmla="*/ 142 w 228"/>
                    <a:gd name="T57" fmla="*/ 55 h 293"/>
                    <a:gd name="T58" fmla="*/ 146 w 228"/>
                    <a:gd name="T59" fmla="*/ 38 h 293"/>
                    <a:gd name="T60" fmla="*/ 138 w 228"/>
                    <a:gd name="T61" fmla="*/ 40 h 293"/>
                    <a:gd name="T62" fmla="*/ 138 w 228"/>
                    <a:gd name="T63" fmla="*/ 27 h 293"/>
                    <a:gd name="T64" fmla="*/ 125 w 228"/>
                    <a:gd name="T65" fmla="*/ 24 h 293"/>
                    <a:gd name="T66" fmla="*/ 117 w 228"/>
                    <a:gd name="T67" fmla="*/ 25 h 293"/>
                    <a:gd name="T68" fmla="*/ 117 w 228"/>
                    <a:gd name="T69" fmla="*/ 8 h 293"/>
                    <a:gd name="T70" fmla="*/ 114 w 228"/>
                    <a:gd name="T71" fmla="*/ 2 h 293"/>
                    <a:gd name="T72" fmla="*/ 111 w 228"/>
                    <a:gd name="T73" fmla="*/ 13 h 293"/>
                    <a:gd name="T74" fmla="*/ 109 w 228"/>
                    <a:gd name="T75" fmla="*/ 32 h 293"/>
                    <a:gd name="T76" fmla="*/ 108 w 228"/>
                    <a:gd name="T77" fmla="*/ 46 h 293"/>
                    <a:gd name="T78" fmla="*/ 117 w 228"/>
                    <a:gd name="T79" fmla="*/ 40 h 293"/>
                    <a:gd name="T80" fmla="*/ 108 w 228"/>
                    <a:gd name="T81" fmla="*/ 54 h 293"/>
                    <a:gd name="T82" fmla="*/ 114 w 228"/>
                    <a:gd name="T83" fmla="*/ 73 h 293"/>
                    <a:gd name="T84" fmla="*/ 123 w 228"/>
                    <a:gd name="T85" fmla="*/ 74 h 293"/>
                    <a:gd name="T86" fmla="*/ 123 w 228"/>
                    <a:gd name="T87" fmla="*/ 78 h 293"/>
                    <a:gd name="T88" fmla="*/ 120 w 228"/>
                    <a:gd name="T89" fmla="*/ 87 h 293"/>
                    <a:gd name="T90" fmla="*/ 112 w 228"/>
                    <a:gd name="T91" fmla="*/ 93 h 293"/>
                    <a:gd name="T92" fmla="*/ 122 w 228"/>
                    <a:gd name="T93" fmla="*/ 108 h 293"/>
                    <a:gd name="T94" fmla="*/ 109 w 228"/>
                    <a:gd name="T95" fmla="*/ 116 h 293"/>
                    <a:gd name="T96" fmla="*/ 104 w 228"/>
                    <a:gd name="T97" fmla="*/ 130 h 293"/>
                    <a:gd name="T98" fmla="*/ 96 w 228"/>
                    <a:gd name="T99" fmla="*/ 144 h 293"/>
                    <a:gd name="T100" fmla="*/ 71 w 228"/>
                    <a:gd name="T101" fmla="*/ 176 h 293"/>
                    <a:gd name="T102" fmla="*/ 52 w 228"/>
                    <a:gd name="T103" fmla="*/ 187 h 293"/>
                    <a:gd name="T104" fmla="*/ 36 w 228"/>
                    <a:gd name="T105" fmla="*/ 193 h 293"/>
                    <a:gd name="T106" fmla="*/ 25 w 228"/>
                    <a:gd name="T107" fmla="*/ 208 h 293"/>
                    <a:gd name="T108" fmla="*/ 38 w 228"/>
                    <a:gd name="T109" fmla="*/ 219 h 293"/>
                    <a:gd name="T110" fmla="*/ 50 w 228"/>
                    <a:gd name="T111" fmla="*/ 227 h 293"/>
                    <a:gd name="T112" fmla="*/ 49 w 228"/>
                    <a:gd name="T113" fmla="*/ 241 h 293"/>
                    <a:gd name="T114" fmla="*/ 22 w 228"/>
                    <a:gd name="T115" fmla="*/ 266 h 293"/>
                    <a:gd name="T116" fmla="*/ 6 w 228"/>
                    <a:gd name="T117" fmla="*/ 277 h 29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28" h="293">
                      <a:moveTo>
                        <a:pt x="6" y="279"/>
                      </a:moveTo>
                      <a:lnTo>
                        <a:pt x="8" y="279"/>
                      </a:lnTo>
                      <a:lnTo>
                        <a:pt x="6" y="284"/>
                      </a:lnTo>
                      <a:lnTo>
                        <a:pt x="6" y="287"/>
                      </a:lnTo>
                      <a:lnTo>
                        <a:pt x="8" y="285"/>
                      </a:lnTo>
                      <a:lnTo>
                        <a:pt x="12" y="285"/>
                      </a:lnTo>
                      <a:lnTo>
                        <a:pt x="14" y="284"/>
                      </a:lnTo>
                      <a:lnTo>
                        <a:pt x="16" y="287"/>
                      </a:lnTo>
                      <a:lnTo>
                        <a:pt x="12" y="292"/>
                      </a:lnTo>
                      <a:lnTo>
                        <a:pt x="16" y="293"/>
                      </a:lnTo>
                      <a:lnTo>
                        <a:pt x="20" y="292"/>
                      </a:lnTo>
                      <a:lnTo>
                        <a:pt x="24" y="290"/>
                      </a:lnTo>
                      <a:lnTo>
                        <a:pt x="27" y="289"/>
                      </a:lnTo>
                      <a:lnTo>
                        <a:pt x="31" y="285"/>
                      </a:lnTo>
                      <a:lnTo>
                        <a:pt x="35" y="285"/>
                      </a:lnTo>
                      <a:lnTo>
                        <a:pt x="39" y="282"/>
                      </a:lnTo>
                      <a:lnTo>
                        <a:pt x="43" y="281"/>
                      </a:lnTo>
                      <a:lnTo>
                        <a:pt x="46" y="279"/>
                      </a:lnTo>
                      <a:lnTo>
                        <a:pt x="50" y="276"/>
                      </a:lnTo>
                      <a:lnTo>
                        <a:pt x="54" y="273"/>
                      </a:lnTo>
                      <a:lnTo>
                        <a:pt x="58" y="270"/>
                      </a:lnTo>
                      <a:lnTo>
                        <a:pt x="62" y="266"/>
                      </a:lnTo>
                      <a:lnTo>
                        <a:pt x="66" y="263"/>
                      </a:lnTo>
                      <a:lnTo>
                        <a:pt x="71" y="260"/>
                      </a:lnTo>
                      <a:lnTo>
                        <a:pt x="74" y="257"/>
                      </a:lnTo>
                      <a:lnTo>
                        <a:pt x="74" y="257"/>
                      </a:lnTo>
                      <a:lnTo>
                        <a:pt x="79" y="254"/>
                      </a:lnTo>
                      <a:lnTo>
                        <a:pt x="82" y="252"/>
                      </a:lnTo>
                      <a:lnTo>
                        <a:pt x="85" y="250"/>
                      </a:lnTo>
                      <a:lnTo>
                        <a:pt x="89" y="249"/>
                      </a:lnTo>
                      <a:lnTo>
                        <a:pt x="92" y="246"/>
                      </a:lnTo>
                      <a:lnTo>
                        <a:pt x="95" y="241"/>
                      </a:lnTo>
                      <a:lnTo>
                        <a:pt x="100" y="239"/>
                      </a:lnTo>
                      <a:lnTo>
                        <a:pt x="114" y="227"/>
                      </a:lnTo>
                      <a:lnTo>
                        <a:pt x="128" y="214"/>
                      </a:lnTo>
                      <a:lnTo>
                        <a:pt x="125" y="212"/>
                      </a:lnTo>
                      <a:lnTo>
                        <a:pt x="127" y="211"/>
                      </a:lnTo>
                      <a:lnTo>
                        <a:pt x="127" y="206"/>
                      </a:lnTo>
                      <a:lnTo>
                        <a:pt x="130" y="203"/>
                      </a:lnTo>
                      <a:lnTo>
                        <a:pt x="133" y="200"/>
                      </a:lnTo>
                      <a:lnTo>
                        <a:pt x="138" y="198"/>
                      </a:lnTo>
                      <a:lnTo>
                        <a:pt x="142" y="195"/>
                      </a:lnTo>
                      <a:lnTo>
                        <a:pt x="149" y="192"/>
                      </a:lnTo>
                      <a:lnTo>
                        <a:pt x="155" y="190"/>
                      </a:lnTo>
                      <a:lnTo>
                        <a:pt x="160" y="190"/>
                      </a:lnTo>
                      <a:lnTo>
                        <a:pt x="166" y="190"/>
                      </a:lnTo>
                      <a:lnTo>
                        <a:pt x="166" y="193"/>
                      </a:lnTo>
                      <a:lnTo>
                        <a:pt x="166" y="198"/>
                      </a:lnTo>
                      <a:lnTo>
                        <a:pt x="169" y="195"/>
                      </a:lnTo>
                      <a:lnTo>
                        <a:pt x="173" y="192"/>
                      </a:lnTo>
                      <a:lnTo>
                        <a:pt x="173" y="187"/>
                      </a:lnTo>
                      <a:lnTo>
                        <a:pt x="174" y="187"/>
                      </a:lnTo>
                      <a:lnTo>
                        <a:pt x="177" y="182"/>
                      </a:lnTo>
                      <a:lnTo>
                        <a:pt x="181" y="179"/>
                      </a:lnTo>
                      <a:lnTo>
                        <a:pt x="182" y="176"/>
                      </a:lnTo>
                      <a:lnTo>
                        <a:pt x="184" y="176"/>
                      </a:lnTo>
                      <a:lnTo>
                        <a:pt x="187" y="176"/>
                      </a:lnTo>
                      <a:lnTo>
                        <a:pt x="192" y="173"/>
                      </a:lnTo>
                      <a:lnTo>
                        <a:pt x="195" y="171"/>
                      </a:lnTo>
                      <a:lnTo>
                        <a:pt x="198" y="170"/>
                      </a:lnTo>
                      <a:lnTo>
                        <a:pt x="203" y="165"/>
                      </a:lnTo>
                      <a:lnTo>
                        <a:pt x="204" y="162"/>
                      </a:lnTo>
                      <a:lnTo>
                        <a:pt x="207" y="159"/>
                      </a:lnTo>
                      <a:lnTo>
                        <a:pt x="211" y="154"/>
                      </a:lnTo>
                      <a:lnTo>
                        <a:pt x="214" y="151"/>
                      </a:lnTo>
                      <a:lnTo>
                        <a:pt x="215" y="147"/>
                      </a:lnTo>
                      <a:lnTo>
                        <a:pt x="220" y="143"/>
                      </a:lnTo>
                      <a:lnTo>
                        <a:pt x="222" y="139"/>
                      </a:lnTo>
                      <a:lnTo>
                        <a:pt x="223" y="138"/>
                      </a:lnTo>
                      <a:lnTo>
                        <a:pt x="228" y="136"/>
                      </a:lnTo>
                      <a:lnTo>
                        <a:pt x="228" y="133"/>
                      </a:lnTo>
                      <a:lnTo>
                        <a:pt x="225" y="128"/>
                      </a:lnTo>
                      <a:lnTo>
                        <a:pt x="220" y="128"/>
                      </a:lnTo>
                      <a:lnTo>
                        <a:pt x="217" y="128"/>
                      </a:lnTo>
                      <a:lnTo>
                        <a:pt x="212" y="130"/>
                      </a:lnTo>
                      <a:lnTo>
                        <a:pt x="209" y="132"/>
                      </a:lnTo>
                      <a:lnTo>
                        <a:pt x="204" y="135"/>
                      </a:lnTo>
                      <a:lnTo>
                        <a:pt x="201" y="136"/>
                      </a:lnTo>
                      <a:lnTo>
                        <a:pt x="195" y="141"/>
                      </a:lnTo>
                      <a:lnTo>
                        <a:pt x="188" y="144"/>
                      </a:lnTo>
                      <a:lnTo>
                        <a:pt x="182" y="146"/>
                      </a:lnTo>
                      <a:lnTo>
                        <a:pt x="173" y="147"/>
                      </a:lnTo>
                      <a:lnTo>
                        <a:pt x="171" y="144"/>
                      </a:lnTo>
                      <a:lnTo>
                        <a:pt x="168" y="143"/>
                      </a:lnTo>
                      <a:lnTo>
                        <a:pt x="165" y="143"/>
                      </a:lnTo>
                      <a:lnTo>
                        <a:pt x="161" y="141"/>
                      </a:lnTo>
                      <a:lnTo>
                        <a:pt x="158" y="136"/>
                      </a:lnTo>
                      <a:lnTo>
                        <a:pt x="154" y="135"/>
                      </a:lnTo>
                      <a:lnTo>
                        <a:pt x="150" y="135"/>
                      </a:lnTo>
                      <a:lnTo>
                        <a:pt x="149" y="135"/>
                      </a:lnTo>
                      <a:lnTo>
                        <a:pt x="149" y="133"/>
                      </a:lnTo>
                      <a:lnTo>
                        <a:pt x="146" y="132"/>
                      </a:lnTo>
                      <a:lnTo>
                        <a:pt x="147" y="127"/>
                      </a:lnTo>
                      <a:lnTo>
                        <a:pt x="149" y="124"/>
                      </a:lnTo>
                      <a:lnTo>
                        <a:pt x="150" y="122"/>
                      </a:lnTo>
                      <a:lnTo>
                        <a:pt x="150" y="117"/>
                      </a:lnTo>
                      <a:lnTo>
                        <a:pt x="155" y="109"/>
                      </a:lnTo>
                      <a:lnTo>
                        <a:pt x="158" y="100"/>
                      </a:lnTo>
                      <a:lnTo>
                        <a:pt x="155" y="100"/>
                      </a:lnTo>
                      <a:lnTo>
                        <a:pt x="158" y="97"/>
                      </a:lnTo>
                      <a:lnTo>
                        <a:pt x="161" y="95"/>
                      </a:lnTo>
                      <a:lnTo>
                        <a:pt x="158" y="95"/>
                      </a:lnTo>
                      <a:lnTo>
                        <a:pt x="155" y="97"/>
                      </a:lnTo>
                      <a:lnTo>
                        <a:pt x="155" y="92"/>
                      </a:lnTo>
                      <a:lnTo>
                        <a:pt x="155" y="89"/>
                      </a:lnTo>
                      <a:lnTo>
                        <a:pt x="154" y="86"/>
                      </a:lnTo>
                      <a:lnTo>
                        <a:pt x="150" y="87"/>
                      </a:lnTo>
                      <a:lnTo>
                        <a:pt x="152" y="92"/>
                      </a:lnTo>
                      <a:lnTo>
                        <a:pt x="149" y="95"/>
                      </a:lnTo>
                      <a:lnTo>
                        <a:pt x="147" y="98"/>
                      </a:lnTo>
                      <a:lnTo>
                        <a:pt x="144" y="101"/>
                      </a:lnTo>
                      <a:lnTo>
                        <a:pt x="144" y="106"/>
                      </a:lnTo>
                      <a:lnTo>
                        <a:pt x="142" y="109"/>
                      </a:lnTo>
                      <a:lnTo>
                        <a:pt x="141" y="113"/>
                      </a:lnTo>
                      <a:lnTo>
                        <a:pt x="138" y="114"/>
                      </a:lnTo>
                      <a:lnTo>
                        <a:pt x="135" y="114"/>
                      </a:lnTo>
                      <a:lnTo>
                        <a:pt x="135" y="111"/>
                      </a:lnTo>
                      <a:lnTo>
                        <a:pt x="136" y="108"/>
                      </a:lnTo>
                      <a:lnTo>
                        <a:pt x="136" y="103"/>
                      </a:lnTo>
                      <a:lnTo>
                        <a:pt x="133" y="101"/>
                      </a:lnTo>
                      <a:lnTo>
                        <a:pt x="130" y="103"/>
                      </a:lnTo>
                      <a:lnTo>
                        <a:pt x="127" y="100"/>
                      </a:lnTo>
                      <a:lnTo>
                        <a:pt x="122" y="100"/>
                      </a:lnTo>
                      <a:lnTo>
                        <a:pt x="122" y="100"/>
                      </a:lnTo>
                      <a:lnTo>
                        <a:pt x="120" y="100"/>
                      </a:lnTo>
                      <a:lnTo>
                        <a:pt x="120" y="98"/>
                      </a:lnTo>
                      <a:lnTo>
                        <a:pt x="123" y="98"/>
                      </a:lnTo>
                      <a:lnTo>
                        <a:pt x="125" y="97"/>
                      </a:lnTo>
                      <a:lnTo>
                        <a:pt x="127" y="93"/>
                      </a:lnTo>
                      <a:lnTo>
                        <a:pt x="128" y="92"/>
                      </a:lnTo>
                      <a:lnTo>
                        <a:pt x="128" y="87"/>
                      </a:lnTo>
                      <a:lnTo>
                        <a:pt x="131" y="86"/>
                      </a:lnTo>
                      <a:lnTo>
                        <a:pt x="135" y="82"/>
                      </a:lnTo>
                      <a:lnTo>
                        <a:pt x="138" y="81"/>
                      </a:lnTo>
                      <a:lnTo>
                        <a:pt x="138" y="78"/>
                      </a:lnTo>
                      <a:lnTo>
                        <a:pt x="136" y="73"/>
                      </a:lnTo>
                      <a:lnTo>
                        <a:pt x="136" y="71"/>
                      </a:lnTo>
                      <a:lnTo>
                        <a:pt x="136" y="68"/>
                      </a:lnTo>
                      <a:lnTo>
                        <a:pt x="135" y="63"/>
                      </a:lnTo>
                      <a:lnTo>
                        <a:pt x="136" y="60"/>
                      </a:lnTo>
                      <a:lnTo>
                        <a:pt x="133" y="59"/>
                      </a:lnTo>
                      <a:lnTo>
                        <a:pt x="135" y="55"/>
                      </a:lnTo>
                      <a:lnTo>
                        <a:pt x="138" y="57"/>
                      </a:lnTo>
                      <a:lnTo>
                        <a:pt x="141" y="60"/>
                      </a:lnTo>
                      <a:lnTo>
                        <a:pt x="142" y="55"/>
                      </a:lnTo>
                      <a:lnTo>
                        <a:pt x="142" y="52"/>
                      </a:lnTo>
                      <a:lnTo>
                        <a:pt x="146" y="49"/>
                      </a:lnTo>
                      <a:lnTo>
                        <a:pt x="146" y="46"/>
                      </a:lnTo>
                      <a:lnTo>
                        <a:pt x="144" y="41"/>
                      </a:lnTo>
                      <a:lnTo>
                        <a:pt x="146" y="38"/>
                      </a:lnTo>
                      <a:lnTo>
                        <a:pt x="146" y="35"/>
                      </a:lnTo>
                      <a:lnTo>
                        <a:pt x="142" y="35"/>
                      </a:lnTo>
                      <a:lnTo>
                        <a:pt x="139" y="35"/>
                      </a:lnTo>
                      <a:lnTo>
                        <a:pt x="141" y="38"/>
                      </a:lnTo>
                      <a:lnTo>
                        <a:pt x="138" y="40"/>
                      </a:lnTo>
                      <a:lnTo>
                        <a:pt x="138" y="35"/>
                      </a:lnTo>
                      <a:lnTo>
                        <a:pt x="138" y="32"/>
                      </a:lnTo>
                      <a:lnTo>
                        <a:pt x="141" y="32"/>
                      </a:lnTo>
                      <a:lnTo>
                        <a:pt x="138" y="30"/>
                      </a:lnTo>
                      <a:lnTo>
                        <a:pt x="138" y="27"/>
                      </a:lnTo>
                      <a:lnTo>
                        <a:pt x="135" y="25"/>
                      </a:lnTo>
                      <a:lnTo>
                        <a:pt x="131" y="27"/>
                      </a:lnTo>
                      <a:lnTo>
                        <a:pt x="131" y="24"/>
                      </a:lnTo>
                      <a:lnTo>
                        <a:pt x="128" y="22"/>
                      </a:lnTo>
                      <a:lnTo>
                        <a:pt x="125" y="24"/>
                      </a:lnTo>
                      <a:lnTo>
                        <a:pt x="122" y="21"/>
                      </a:lnTo>
                      <a:lnTo>
                        <a:pt x="127" y="19"/>
                      </a:lnTo>
                      <a:lnTo>
                        <a:pt x="122" y="19"/>
                      </a:lnTo>
                      <a:lnTo>
                        <a:pt x="120" y="22"/>
                      </a:lnTo>
                      <a:lnTo>
                        <a:pt x="117" y="25"/>
                      </a:lnTo>
                      <a:lnTo>
                        <a:pt x="117" y="22"/>
                      </a:lnTo>
                      <a:lnTo>
                        <a:pt x="116" y="19"/>
                      </a:lnTo>
                      <a:lnTo>
                        <a:pt x="117" y="14"/>
                      </a:lnTo>
                      <a:lnTo>
                        <a:pt x="116" y="11"/>
                      </a:lnTo>
                      <a:lnTo>
                        <a:pt x="117" y="8"/>
                      </a:lnTo>
                      <a:lnTo>
                        <a:pt x="116" y="5"/>
                      </a:lnTo>
                      <a:lnTo>
                        <a:pt x="119" y="3"/>
                      </a:lnTo>
                      <a:lnTo>
                        <a:pt x="122" y="0"/>
                      </a:lnTo>
                      <a:lnTo>
                        <a:pt x="117" y="2"/>
                      </a:lnTo>
                      <a:lnTo>
                        <a:pt x="114" y="2"/>
                      </a:lnTo>
                      <a:lnTo>
                        <a:pt x="111" y="2"/>
                      </a:lnTo>
                      <a:lnTo>
                        <a:pt x="109" y="2"/>
                      </a:lnTo>
                      <a:lnTo>
                        <a:pt x="108" y="5"/>
                      </a:lnTo>
                      <a:lnTo>
                        <a:pt x="109" y="8"/>
                      </a:lnTo>
                      <a:lnTo>
                        <a:pt x="111" y="13"/>
                      </a:lnTo>
                      <a:lnTo>
                        <a:pt x="111" y="16"/>
                      </a:lnTo>
                      <a:lnTo>
                        <a:pt x="112" y="19"/>
                      </a:lnTo>
                      <a:lnTo>
                        <a:pt x="112" y="24"/>
                      </a:lnTo>
                      <a:lnTo>
                        <a:pt x="111" y="27"/>
                      </a:lnTo>
                      <a:lnTo>
                        <a:pt x="109" y="32"/>
                      </a:lnTo>
                      <a:lnTo>
                        <a:pt x="104" y="32"/>
                      </a:lnTo>
                      <a:lnTo>
                        <a:pt x="106" y="35"/>
                      </a:lnTo>
                      <a:lnTo>
                        <a:pt x="106" y="40"/>
                      </a:lnTo>
                      <a:lnTo>
                        <a:pt x="106" y="43"/>
                      </a:lnTo>
                      <a:lnTo>
                        <a:pt x="108" y="46"/>
                      </a:lnTo>
                      <a:lnTo>
                        <a:pt x="109" y="43"/>
                      </a:lnTo>
                      <a:lnTo>
                        <a:pt x="114" y="41"/>
                      </a:lnTo>
                      <a:lnTo>
                        <a:pt x="117" y="40"/>
                      </a:lnTo>
                      <a:lnTo>
                        <a:pt x="119" y="36"/>
                      </a:lnTo>
                      <a:lnTo>
                        <a:pt x="117" y="40"/>
                      </a:lnTo>
                      <a:lnTo>
                        <a:pt x="114" y="43"/>
                      </a:lnTo>
                      <a:lnTo>
                        <a:pt x="111" y="43"/>
                      </a:lnTo>
                      <a:lnTo>
                        <a:pt x="108" y="48"/>
                      </a:lnTo>
                      <a:lnTo>
                        <a:pt x="108" y="51"/>
                      </a:lnTo>
                      <a:lnTo>
                        <a:pt x="108" y="54"/>
                      </a:lnTo>
                      <a:lnTo>
                        <a:pt x="111" y="68"/>
                      </a:lnTo>
                      <a:lnTo>
                        <a:pt x="109" y="81"/>
                      </a:lnTo>
                      <a:lnTo>
                        <a:pt x="114" y="81"/>
                      </a:lnTo>
                      <a:lnTo>
                        <a:pt x="116" y="78"/>
                      </a:lnTo>
                      <a:lnTo>
                        <a:pt x="114" y="73"/>
                      </a:lnTo>
                      <a:lnTo>
                        <a:pt x="114" y="70"/>
                      </a:lnTo>
                      <a:lnTo>
                        <a:pt x="117" y="73"/>
                      </a:lnTo>
                      <a:lnTo>
                        <a:pt x="119" y="76"/>
                      </a:lnTo>
                      <a:lnTo>
                        <a:pt x="120" y="73"/>
                      </a:lnTo>
                      <a:lnTo>
                        <a:pt x="123" y="74"/>
                      </a:lnTo>
                      <a:lnTo>
                        <a:pt x="127" y="71"/>
                      </a:lnTo>
                      <a:lnTo>
                        <a:pt x="127" y="71"/>
                      </a:lnTo>
                      <a:lnTo>
                        <a:pt x="123" y="74"/>
                      </a:lnTo>
                      <a:lnTo>
                        <a:pt x="127" y="76"/>
                      </a:lnTo>
                      <a:lnTo>
                        <a:pt x="123" y="78"/>
                      </a:lnTo>
                      <a:lnTo>
                        <a:pt x="120" y="78"/>
                      </a:lnTo>
                      <a:lnTo>
                        <a:pt x="120" y="82"/>
                      </a:lnTo>
                      <a:lnTo>
                        <a:pt x="123" y="81"/>
                      </a:lnTo>
                      <a:lnTo>
                        <a:pt x="122" y="84"/>
                      </a:lnTo>
                      <a:lnTo>
                        <a:pt x="120" y="87"/>
                      </a:lnTo>
                      <a:lnTo>
                        <a:pt x="117" y="92"/>
                      </a:lnTo>
                      <a:lnTo>
                        <a:pt x="116" y="87"/>
                      </a:lnTo>
                      <a:lnTo>
                        <a:pt x="116" y="84"/>
                      </a:lnTo>
                      <a:lnTo>
                        <a:pt x="114" y="84"/>
                      </a:lnTo>
                      <a:lnTo>
                        <a:pt x="112" y="93"/>
                      </a:lnTo>
                      <a:lnTo>
                        <a:pt x="109" y="106"/>
                      </a:lnTo>
                      <a:lnTo>
                        <a:pt x="112" y="106"/>
                      </a:lnTo>
                      <a:lnTo>
                        <a:pt x="117" y="105"/>
                      </a:lnTo>
                      <a:lnTo>
                        <a:pt x="120" y="103"/>
                      </a:lnTo>
                      <a:lnTo>
                        <a:pt x="122" y="108"/>
                      </a:lnTo>
                      <a:lnTo>
                        <a:pt x="119" y="111"/>
                      </a:lnTo>
                      <a:lnTo>
                        <a:pt x="114" y="113"/>
                      </a:lnTo>
                      <a:lnTo>
                        <a:pt x="112" y="108"/>
                      </a:lnTo>
                      <a:lnTo>
                        <a:pt x="109" y="113"/>
                      </a:lnTo>
                      <a:lnTo>
                        <a:pt x="109" y="116"/>
                      </a:lnTo>
                      <a:lnTo>
                        <a:pt x="108" y="119"/>
                      </a:lnTo>
                      <a:lnTo>
                        <a:pt x="111" y="120"/>
                      </a:lnTo>
                      <a:lnTo>
                        <a:pt x="108" y="122"/>
                      </a:lnTo>
                      <a:lnTo>
                        <a:pt x="106" y="127"/>
                      </a:lnTo>
                      <a:lnTo>
                        <a:pt x="104" y="130"/>
                      </a:lnTo>
                      <a:lnTo>
                        <a:pt x="104" y="135"/>
                      </a:lnTo>
                      <a:lnTo>
                        <a:pt x="103" y="138"/>
                      </a:lnTo>
                      <a:lnTo>
                        <a:pt x="103" y="139"/>
                      </a:lnTo>
                      <a:lnTo>
                        <a:pt x="98" y="141"/>
                      </a:lnTo>
                      <a:lnTo>
                        <a:pt x="96" y="144"/>
                      </a:lnTo>
                      <a:lnTo>
                        <a:pt x="95" y="149"/>
                      </a:lnTo>
                      <a:lnTo>
                        <a:pt x="93" y="152"/>
                      </a:lnTo>
                      <a:lnTo>
                        <a:pt x="90" y="152"/>
                      </a:lnTo>
                      <a:lnTo>
                        <a:pt x="81" y="163"/>
                      </a:lnTo>
                      <a:lnTo>
                        <a:pt x="71" y="176"/>
                      </a:lnTo>
                      <a:lnTo>
                        <a:pt x="68" y="179"/>
                      </a:lnTo>
                      <a:lnTo>
                        <a:pt x="65" y="182"/>
                      </a:lnTo>
                      <a:lnTo>
                        <a:pt x="60" y="185"/>
                      </a:lnTo>
                      <a:lnTo>
                        <a:pt x="57" y="187"/>
                      </a:lnTo>
                      <a:lnTo>
                        <a:pt x="52" y="187"/>
                      </a:lnTo>
                      <a:lnTo>
                        <a:pt x="50" y="187"/>
                      </a:lnTo>
                      <a:lnTo>
                        <a:pt x="47" y="189"/>
                      </a:lnTo>
                      <a:lnTo>
                        <a:pt x="43" y="190"/>
                      </a:lnTo>
                      <a:lnTo>
                        <a:pt x="39" y="192"/>
                      </a:lnTo>
                      <a:lnTo>
                        <a:pt x="36" y="193"/>
                      </a:lnTo>
                      <a:lnTo>
                        <a:pt x="31" y="195"/>
                      </a:lnTo>
                      <a:lnTo>
                        <a:pt x="28" y="198"/>
                      </a:lnTo>
                      <a:lnTo>
                        <a:pt x="25" y="203"/>
                      </a:lnTo>
                      <a:lnTo>
                        <a:pt x="25" y="206"/>
                      </a:lnTo>
                      <a:lnTo>
                        <a:pt x="25" y="208"/>
                      </a:lnTo>
                      <a:lnTo>
                        <a:pt x="28" y="211"/>
                      </a:lnTo>
                      <a:lnTo>
                        <a:pt x="31" y="211"/>
                      </a:lnTo>
                      <a:lnTo>
                        <a:pt x="36" y="214"/>
                      </a:lnTo>
                      <a:lnTo>
                        <a:pt x="36" y="217"/>
                      </a:lnTo>
                      <a:lnTo>
                        <a:pt x="38" y="219"/>
                      </a:lnTo>
                      <a:lnTo>
                        <a:pt x="41" y="222"/>
                      </a:lnTo>
                      <a:lnTo>
                        <a:pt x="43" y="224"/>
                      </a:lnTo>
                      <a:lnTo>
                        <a:pt x="46" y="224"/>
                      </a:lnTo>
                      <a:lnTo>
                        <a:pt x="49" y="225"/>
                      </a:lnTo>
                      <a:lnTo>
                        <a:pt x="50" y="227"/>
                      </a:lnTo>
                      <a:lnTo>
                        <a:pt x="52" y="228"/>
                      </a:lnTo>
                      <a:lnTo>
                        <a:pt x="52" y="233"/>
                      </a:lnTo>
                      <a:lnTo>
                        <a:pt x="50" y="236"/>
                      </a:lnTo>
                      <a:lnTo>
                        <a:pt x="49" y="239"/>
                      </a:lnTo>
                      <a:lnTo>
                        <a:pt x="49" y="241"/>
                      </a:lnTo>
                      <a:lnTo>
                        <a:pt x="46" y="244"/>
                      </a:lnTo>
                      <a:lnTo>
                        <a:pt x="44" y="247"/>
                      </a:lnTo>
                      <a:lnTo>
                        <a:pt x="39" y="250"/>
                      </a:lnTo>
                      <a:lnTo>
                        <a:pt x="31" y="260"/>
                      </a:lnTo>
                      <a:lnTo>
                        <a:pt x="22" y="266"/>
                      </a:lnTo>
                      <a:lnTo>
                        <a:pt x="17" y="270"/>
                      </a:lnTo>
                      <a:lnTo>
                        <a:pt x="14" y="273"/>
                      </a:lnTo>
                      <a:lnTo>
                        <a:pt x="14" y="274"/>
                      </a:lnTo>
                      <a:lnTo>
                        <a:pt x="11" y="274"/>
                      </a:lnTo>
                      <a:lnTo>
                        <a:pt x="6" y="277"/>
                      </a:lnTo>
                      <a:lnTo>
                        <a:pt x="3" y="279"/>
                      </a:lnTo>
                      <a:lnTo>
                        <a:pt x="0" y="282"/>
                      </a:lnTo>
                      <a:lnTo>
                        <a:pt x="3" y="284"/>
                      </a:lnTo>
                      <a:lnTo>
                        <a:pt x="6" y="279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90" name="Freeform 149"/>
                <p:cNvSpPr>
                  <a:spLocks/>
                </p:cNvSpPr>
                <p:nvPr/>
              </p:nvSpPr>
              <p:spPr bwMode="auto">
                <a:xfrm>
                  <a:off x="5550" y="3241"/>
                  <a:ext cx="4" cy="2"/>
                </a:xfrm>
                <a:custGeom>
                  <a:avLst/>
                  <a:gdLst>
                    <a:gd name="T0" fmla="*/ 6 w 6"/>
                    <a:gd name="T1" fmla="*/ 0 h 3"/>
                    <a:gd name="T2" fmla="*/ 5 w 6"/>
                    <a:gd name="T3" fmla="*/ 0 h 3"/>
                    <a:gd name="T4" fmla="*/ 0 w 6"/>
                    <a:gd name="T5" fmla="*/ 1 h 3"/>
                    <a:gd name="T6" fmla="*/ 5 w 6"/>
                    <a:gd name="T7" fmla="*/ 3 h 3"/>
                    <a:gd name="T8" fmla="*/ 6 w 6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5" y="0"/>
                      </a:lnTo>
                      <a:lnTo>
                        <a:pt x="0" y="1"/>
                      </a:lnTo>
                      <a:lnTo>
                        <a:pt x="5" y="3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91" name="Freeform 150"/>
                <p:cNvSpPr>
                  <a:spLocks/>
                </p:cNvSpPr>
                <p:nvPr/>
              </p:nvSpPr>
              <p:spPr bwMode="auto">
                <a:xfrm>
                  <a:off x="5562" y="3227"/>
                  <a:ext cx="4" cy="6"/>
                </a:xfrm>
                <a:custGeom>
                  <a:avLst/>
                  <a:gdLst>
                    <a:gd name="T0" fmla="*/ 6 w 6"/>
                    <a:gd name="T1" fmla="*/ 0 h 11"/>
                    <a:gd name="T2" fmla="*/ 4 w 6"/>
                    <a:gd name="T3" fmla="*/ 0 h 11"/>
                    <a:gd name="T4" fmla="*/ 1 w 6"/>
                    <a:gd name="T5" fmla="*/ 3 h 11"/>
                    <a:gd name="T6" fmla="*/ 0 w 6"/>
                    <a:gd name="T7" fmla="*/ 6 h 11"/>
                    <a:gd name="T8" fmla="*/ 3 w 6"/>
                    <a:gd name="T9" fmla="*/ 11 h 11"/>
                    <a:gd name="T10" fmla="*/ 6 w 6"/>
                    <a:gd name="T11" fmla="*/ 10 h 11"/>
                    <a:gd name="T12" fmla="*/ 6 w 6"/>
                    <a:gd name="T13" fmla="*/ 3 h 11"/>
                    <a:gd name="T14" fmla="*/ 6 w 6"/>
                    <a:gd name="T1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" h="11">
                      <a:moveTo>
                        <a:pt x="6" y="0"/>
                      </a:moveTo>
                      <a:lnTo>
                        <a:pt x="4" y="0"/>
                      </a:lnTo>
                      <a:lnTo>
                        <a:pt x="1" y="3"/>
                      </a:lnTo>
                      <a:lnTo>
                        <a:pt x="0" y="6"/>
                      </a:lnTo>
                      <a:lnTo>
                        <a:pt x="3" y="11"/>
                      </a:lnTo>
                      <a:lnTo>
                        <a:pt x="6" y="10"/>
                      </a:lnTo>
                      <a:lnTo>
                        <a:pt x="6" y="3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92" name="Freeform 151"/>
                <p:cNvSpPr>
                  <a:spLocks/>
                </p:cNvSpPr>
                <p:nvPr/>
              </p:nvSpPr>
              <p:spPr bwMode="auto">
                <a:xfrm>
                  <a:off x="5585" y="3382"/>
                  <a:ext cx="11" cy="9"/>
                </a:xfrm>
                <a:custGeom>
                  <a:avLst/>
                  <a:gdLst>
                    <a:gd name="T0" fmla="*/ 0 w 22"/>
                    <a:gd name="T1" fmla="*/ 13 h 17"/>
                    <a:gd name="T2" fmla="*/ 0 w 22"/>
                    <a:gd name="T3" fmla="*/ 17 h 17"/>
                    <a:gd name="T4" fmla="*/ 6 w 22"/>
                    <a:gd name="T5" fmla="*/ 14 h 17"/>
                    <a:gd name="T6" fmla="*/ 11 w 22"/>
                    <a:gd name="T7" fmla="*/ 14 h 17"/>
                    <a:gd name="T8" fmla="*/ 10 w 22"/>
                    <a:gd name="T9" fmla="*/ 9 h 17"/>
                    <a:gd name="T10" fmla="*/ 10 w 22"/>
                    <a:gd name="T11" fmla="*/ 6 h 17"/>
                    <a:gd name="T12" fmla="*/ 11 w 22"/>
                    <a:gd name="T13" fmla="*/ 3 h 17"/>
                    <a:gd name="T14" fmla="*/ 16 w 22"/>
                    <a:gd name="T15" fmla="*/ 5 h 17"/>
                    <a:gd name="T16" fmla="*/ 13 w 22"/>
                    <a:gd name="T17" fmla="*/ 8 h 17"/>
                    <a:gd name="T18" fmla="*/ 16 w 22"/>
                    <a:gd name="T19" fmla="*/ 5 h 17"/>
                    <a:gd name="T20" fmla="*/ 19 w 22"/>
                    <a:gd name="T21" fmla="*/ 3 h 17"/>
                    <a:gd name="T22" fmla="*/ 22 w 22"/>
                    <a:gd name="T23" fmla="*/ 2 h 17"/>
                    <a:gd name="T24" fmla="*/ 19 w 22"/>
                    <a:gd name="T25" fmla="*/ 2 h 17"/>
                    <a:gd name="T26" fmla="*/ 16 w 22"/>
                    <a:gd name="T27" fmla="*/ 0 h 17"/>
                    <a:gd name="T28" fmla="*/ 13 w 22"/>
                    <a:gd name="T29" fmla="*/ 0 h 17"/>
                    <a:gd name="T30" fmla="*/ 8 w 22"/>
                    <a:gd name="T31" fmla="*/ 2 h 17"/>
                    <a:gd name="T32" fmla="*/ 5 w 22"/>
                    <a:gd name="T33" fmla="*/ 2 h 17"/>
                    <a:gd name="T34" fmla="*/ 2 w 22"/>
                    <a:gd name="T35" fmla="*/ 5 h 17"/>
                    <a:gd name="T36" fmla="*/ 6 w 22"/>
                    <a:gd name="T37" fmla="*/ 5 h 17"/>
                    <a:gd name="T38" fmla="*/ 10 w 22"/>
                    <a:gd name="T39" fmla="*/ 5 h 17"/>
                    <a:gd name="T40" fmla="*/ 6 w 22"/>
                    <a:gd name="T41" fmla="*/ 9 h 17"/>
                    <a:gd name="T42" fmla="*/ 3 w 22"/>
                    <a:gd name="T43" fmla="*/ 11 h 17"/>
                    <a:gd name="T44" fmla="*/ 0 w 22"/>
                    <a:gd name="T45" fmla="*/ 13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2" h="17">
                      <a:moveTo>
                        <a:pt x="0" y="13"/>
                      </a:moveTo>
                      <a:lnTo>
                        <a:pt x="0" y="17"/>
                      </a:lnTo>
                      <a:lnTo>
                        <a:pt x="6" y="14"/>
                      </a:lnTo>
                      <a:lnTo>
                        <a:pt x="11" y="14"/>
                      </a:lnTo>
                      <a:lnTo>
                        <a:pt x="10" y="9"/>
                      </a:lnTo>
                      <a:lnTo>
                        <a:pt x="10" y="6"/>
                      </a:lnTo>
                      <a:lnTo>
                        <a:pt x="11" y="3"/>
                      </a:lnTo>
                      <a:lnTo>
                        <a:pt x="16" y="5"/>
                      </a:lnTo>
                      <a:lnTo>
                        <a:pt x="13" y="8"/>
                      </a:lnTo>
                      <a:lnTo>
                        <a:pt x="16" y="5"/>
                      </a:lnTo>
                      <a:lnTo>
                        <a:pt x="19" y="3"/>
                      </a:lnTo>
                      <a:lnTo>
                        <a:pt x="22" y="2"/>
                      </a:lnTo>
                      <a:lnTo>
                        <a:pt x="19" y="2"/>
                      </a:lnTo>
                      <a:lnTo>
                        <a:pt x="16" y="0"/>
                      </a:lnTo>
                      <a:lnTo>
                        <a:pt x="13" y="0"/>
                      </a:lnTo>
                      <a:lnTo>
                        <a:pt x="8" y="2"/>
                      </a:lnTo>
                      <a:lnTo>
                        <a:pt x="5" y="2"/>
                      </a:lnTo>
                      <a:lnTo>
                        <a:pt x="2" y="5"/>
                      </a:lnTo>
                      <a:lnTo>
                        <a:pt x="6" y="5"/>
                      </a:lnTo>
                      <a:lnTo>
                        <a:pt x="10" y="5"/>
                      </a:lnTo>
                      <a:lnTo>
                        <a:pt x="6" y="9"/>
                      </a:lnTo>
                      <a:lnTo>
                        <a:pt x="3" y="11"/>
                      </a:lnTo>
                      <a:lnTo>
                        <a:pt x="0" y="13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93" name="Freeform 152"/>
                <p:cNvSpPr>
                  <a:spLocks/>
                </p:cNvSpPr>
                <p:nvPr/>
              </p:nvSpPr>
              <p:spPr bwMode="auto">
                <a:xfrm>
                  <a:off x="5587" y="3393"/>
                  <a:ext cx="2" cy="2"/>
                </a:xfrm>
                <a:custGeom>
                  <a:avLst/>
                  <a:gdLst>
                    <a:gd name="T0" fmla="*/ 0 w 3"/>
                    <a:gd name="T1" fmla="*/ 3 h 4"/>
                    <a:gd name="T2" fmla="*/ 1 w 3"/>
                    <a:gd name="T3" fmla="*/ 4 h 4"/>
                    <a:gd name="T4" fmla="*/ 3 w 3"/>
                    <a:gd name="T5" fmla="*/ 0 h 4"/>
                    <a:gd name="T6" fmla="*/ 0 w 3"/>
                    <a:gd name="T7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4">
                      <a:moveTo>
                        <a:pt x="0" y="3"/>
                      </a:moveTo>
                      <a:lnTo>
                        <a:pt x="1" y="4"/>
                      </a:lnTo>
                      <a:lnTo>
                        <a:pt x="3" y="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</p:grpSp>
          <p:grpSp>
            <p:nvGrpSpPr>
              <p:cNvPr id="761" name="Group 153"/>
              <p:cNvGrpSpPr>
                <a:grpSpLocks/>
              </p:cNvGrpSpPr>
              <p:nvPr/>
            </p:nvGrpSpPr>
            <p:grpSpPr bwMode="auto">
              <a:xfrm>
                <a:off x="8501771" y="4113169"/>
                <a:ext cx="152440" cy="161582"/>
                <a:chOff x="5419" y="2625"/>
                <a:chExt cx="98" cy="107"/>
              </a:xfrm>
              <a:grpFill/>
            </p:grpSpPr>
            <p:sp>
              <p:nvSpPr>
                <p:cNvPr id="771" name="Freeform 154"/>
                <p:cNvSpPr>
                  <a:spLocks/>
                </p:cNvSpPr>
                <p:nvPr/>
              </p:nvSpPr>
              <p:spPr bwMode="auto">
                <a:xfrm>
                  <a:off x="5419" y="2625"/>
                  <a:ext cx="18" cy="16"/>
                </a:xfrm>
                <a:custGeom>
                  <a:avLst/>
                  <a:gdLst>
                    <a:gd name="T0" fmla="*/ 12 w 35"/>
                    <a:gd name="T1" fmla="*/ 20 h 31"/>
                    <a:gd name="T2" fmla="*/ 14 w 35"/>
                    <a:gd name="T3" fmla="*/ 23 h 31"/>
                    <a:gd name="T4" fmla="*/ 17 w 35"/>
                    <a:gd name="T5" fmla="*/ 26 h 31"/>
                    <a:gd name="T6" fmla="*/ 22 w 35"/>
                    <a:gd name="T7" fmla="*/ 30 h 31"/>
                    <a:gd name="T8" fmla="*/ 25 w 35"/>
                    <a:gd name="T9" fmla="*/ 30 h 31"/>
                    <a:gd name="T10" fmla="*/ 28 w 35"/>
                    <a:gd name="T11" fmla="*/ 31 h 31"/>
                    <a:gd name="T12" fmla="*/ 32 w 35"/>
                    <a:gd name="T13" fmla="*/ 31 h 31"/>
                    <a:gd name="T14" fmla="*/ 35 w 35"/>
                    <a:gd name="T15" fmla="*/ 31 h 31"/>
                    <a:gd name="T16" fmla="*/ 32 w 35"/>
                    <a:gd name="T17" fmla="*/ 28 h 31"/>
                    <a:gd name="T18" fmla="*/ 28 w 35"/>
                    <a:gd name="T19" fmla="*/ 26 h 31"/>
                    <a:gd name="T20" fmla="*/ 25 w 35"/>
                    <a:gd name="T21" fmla="*/ 23 h 31"/>
                    <a:gd name="T22" fmla="*/ 24 w 35"/>
                    <a:gd name="T23" fmla="*/ 19 h 31"/>
                    <a:gd name="T24" fmla="*/ 22 w 35"/>
                    <a:gd name="T25" fmla="*/ 15 h 31"/>
                    <a:gd name="T26" fmla="*/ 20 w 35"/>
                    <a:gd name="T27" fmla="*/ 12 h 31"/>
                    <a:gd name="T28" fmla="*/ 17 w 35"/>
                    <a:gd name="T29" fmla="*/ 9 h 31"/>
                    <a:gd name="T30" fmla="*/ 14 w 35"/>
                    <a:gd name="T31" fmla="*/ 7 h 31"/>
                    <a:gd name="T32" fmla="*/ 11 w 35"/>
                    <a:gd name="T33" fmla="*/ 6 h 31"/>
                    <a:gd name="T34" fmla="*/ 8 w 35"/>
                    <a:gd name="T35" fmla="*/ 3 h 31"/>
                    <a:gd name="T36" fmla="*/ 5 w 35"/>
                    <a:gd name="T37" fmla="*/ 1 h 31"/>
                    <a:gd name="T38" fmla="*/ 0 w 35"/>
                    <a:gd name="T39" fmla="*/ 0 h 31"/>
                    <a:gd name="T40" fmla="*/ 0 w 35"/>
                    <a:gd name="T41" fmla="*/ 3 h 31"/>
                    <a:gd name="T42" fmla="*/ 1 w 35"/>
                    <a:gd name="T43" fmla="*/ 6 h 31"/>
                    <a:gd name="T44" fmla="*/ 5 w 35"/>
                    <a:gd name="T45" fmla="*/ 9 h 31"/>
                    <a:gd name="T46" fmla="*/ 8 w 35"/>
                    <a:gd name="T47" fmla="*/ 12 h 31"/>
                    <a:gd name="T48" fmla="*/ 9 w 35"/>
                    <a:gd name="T49" fmla="*/ 15 h 31"/>
                    <a:gd name="T50" fmla="*/ 12 w 35"/>
                    <a:gd name="T51" fmla="*/ 20 h 31"/>
                    <a:gd name="T52" fmla="*/ 12 w 35"/>
                    <a:gd name="T53" fmla="*/ 20 h 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35" h="31">
                      <a:moveTo>
                        <a:pt x="12" y="20"/>
                      </a:moveTo>
                      <a:lnTo>
                        <a:pt x="14" y="23"/>
                      </a:lnTo>
                      <a:lnTo>
                        <a:pt x="17" y="26"/>
                      </a:lnTo>
                      <a:lnTo>
                        <a:pt x="22" y="30"/>
                      </a:lnTo>
                      <a:lnTo>
                        <a:pt x="25" y="30"/>
                      </a:lnTo>
                      <a:lnTo>
                        <a:pt x="28" y="31"/>
                      </a:lnTo>
                      <a:lnTo>
                        <a:pt x="32" y="31"/>
                      </a:lnTo>
                      <a:lnTo>
                        <a:pt x="35" y="31"/>
                      </a:lnTo>
                      <a:lnTo>
                        <a:pt x="32" y="28"/>
                      </a:lnTo>
                      <a:lnTo>
                        <a:pt x="28" y="26"/>
                      </a:lnTo>
                      <a:lnTo>
                        <a:pt x="25" y="23"/>
                      </a:lnTo>
                      <a:lnTo>
                        <a:pt x="24" y="19"/>
                      </a:lnTo>
                      <a:lnTo>
                        <a:pt x="22" y="15"/>
                      </a:lnTo>
                      <a:lnTo>
                        <a:pt x="20" y="12"/>
                      </a:lnTo>
                      <a:lnTo>
                        <a:pt x="17" y="9"/>
                      </a:lnTo>
                      <a:lnTo>
                        <a:pt x="14" y="7"/>
                      </a:lnTo>
                      <a:lnTo>
                        <a:pt x="11" y="6"/>
                      </a:lnTo>
                      <a:lnTo>
                        <a:pt x="8" y="3"/>
                      </a:lnTo>
                      <a:lnTo>
                        <a:pt x="5" y="1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1" y="6"/>
                      </a:lnTo>
                      <a:lnTo>
                        <a:pt x="5" y="9"/>
                      </a:lnTo>
                      <a:lnTo>
                        <a:pt x="8" y="12"/>
                      </a:lnTo>
                      <a:lnTo>
                        <a:pt x="9" y="15"/>
                      </a:lnTo>
                      <a:lnTo>
                        <a:pt x="12" y="20"/>
                      </a:lnTo>
                      <a:lnTo>
                        <a:pt x="12" y="20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72" name="Freeform 155"/>
                <p:cNvSpPr>
                  <a:spLocks/>
                </p:cNvSpPr>
                <p:nvPr/>
              </p:nvSpPr>
              <p:spPr bwMode="auto">
                <a:xfrm>
                  <a:off x="5430" y="2662"/>
                  <a:ext cx="3" cy="6"/>
                </a:xfrm>
                <a:custGeom>
                  <a:avLst/>
                  <a:gdLst>
                    <a:gd name="T0" fmla="*/ 5 w 7"/>
                    <a:gd name="T1" fmla="*/ 13 h 13"/>
                    <a:gd name="T2" fmla="*/ 4 w 7"/>
                    <a:gd name="T3" fmla="*/ 12 h 13"/>
                    <a:gd name="T4" fmla="*/ 5 w 7"/>
                    <a:gd name="T5" fmla="*/ 8 h 13"/>
                    <a:gd name="T6" fmla="*/ 7 w 7"/>
                    <a:gd name="T7" fmla="*/ 5 h 13"/>
                    <a:gd name="T8" fmla="*/ 7 w 7"/>
                    <a:gd name="T9" fmla="*/ 0 h 13"/>
                    <a:gd name="T10" fmla="*/ 4 w 7"/>
                    <a:gd name="T11" fmla="*/ 4 h 13"/>
                    <a:gd name="T12" fmla="*/ 0 w 7"/>
                    <a:gd name="T13" fmla="*/ 7 h 13"/>
                    <a:gd name="T14" fmla="*/ 4 w 7"/>
                    <a:gd name="T15" fmla="*/ 10 h 13"/>
                    <a:gd name="T16" fmla="*/ 5 w 7"/>
                    <a:gd name="T17" fmla="*/ 13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" h="13">
                      <a:moveTo>
                        <a:pt x="5" y="13"/>
                      </a:moveTo>
                      <a:lnTo>
                        <a:pt x="4" y="12"/>
                      </a:lnTo>
                      <a:lnTo>
                        <a:pt x="5" y="8"/>
                      </a:lnTo>
                      <a:lnTo>
                        <a:pt x="7" y="5"/>
                      </a:lnTo>
                      <a:lnTo>
                        <a:pt x="7" y="0"/>
                      </a:lnTo>
                      <a:lnTo>
                        <a:pt x="4" y="4"/>
                      </a:lnTo>
                      <a:lnTo>
                        <a:pt x="0" y="7"/>
                      </a:lnTo>
                      <a:lnTo>
                        <a:pt x="4" y="10"/>
                      </a:lnTo>
                      <a:lnTo>
                        <a:pt x="5" y="13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73" name="Freeform 156"/>
                <p:cNvSpPr>
                  <a:spLocks/>
                </p:cNvSpPr>
                <p:nvPr/>
              </p:nvSpPr>
              <p:spPr bwMode="auto">
                <a:xfrm>
                  <a:off x="5430" y="2653"/>
                  <a:ext cx="12" cy="13"/>
                </a:xfrm>
                <a:custGeom>
                  <a:avLst/>
                  <a:gdLst>
                    <a:gd name="T0" fmla="*/ 19 w 24"/>
                    <a:gd name="T1" fmla="*/ 24 h 25"/>
                    <a:gd name="T2" fmla="*/ 22 w 24"/>
                    <a:gd name="T3" fmla="*/ 25 h 25"/>
                    <a:gd name="T4" fmla="*/ 24 w 24"/>
                    <a:gd name="T5" fmla="*/ 21 h 25"/>
                    <a:gd name="T6" fmla="*/ 22 w 24"/>
                    <a:gd name="T7" fmla="*/ 17 h 25"/>
                    <a:gd name="T8" fmla="*/ 22 w 24"/>
                    <a:gd name="T9" fmla="*/ 14 h 25"/>
                    <a:gd name="T10" fmla="*/ 19 w 24"/>
                    <a:gd name="T11" fmla="*/ 11 h 25"/>
                    <a:gd name="T12" fmla="*/ 16 w 24"/>
                    <a:gd name="T13" fmla="*/ 11 h 25"/>
                    <a:gd name="T14" fmla="*/ 14 w 24"/>
                    <a:gd name="T15" fmla="*/ 6 h 25"/>
                    <a:gd name="T16" fmla="*/ 14 w 24"/>
                    <a:gd name="T17" fmla="*/ 3 h 25"/>
                    <a:gd name="T18" fmla="*/ 11 w 24"/>
                    <a:gd name="T19" fmla="*/ 0 h 25"/>
                    <a:gd name="T20" fmla="*/ 8 w 24"/>
                    <a:gd name="T21" fmla="*/ 0 h 25"/>
                    <a:gd name="T22" fmla="*/ 5 w 24"/>
                    <a:gd name="T23" fmla="*/ 5 h 25"/>
                    <a:gd name="T24" fmla="*/ 3 w 24"/>
                    <a:gd name="T25" fmla="*/ 8 h 25"/>
                    <a:gd name="T26" fmla="*/ 0 w 24"/>
                    <a:gd name="T27" fmla="*/ 10 h 25"/>
                    <a:gd name="T28" fmla="*/ 0 w 24"/>
                    <a:gd name="T29" fmla="*/ 14 h 25"/>
                    <a:gd name="T30" fmla="*/ 3 w 24"/>
                    <a:gd name="T31" fmla="*/ 14 h 25"/>
                    <a:gd name="T32" fmla="*/ 6 w 24"/>
                    <a:gd name="T33" fmla="*/ 13 h 25"/>
                    <a:gd name="T34" fmla="*/ 10 w 24"/>
                    <a:gd name="T35" fmla="*/ 11 h 25"/>
                    <a:gd name="T36" fmla="*/ 13 w 24"/>
                    <a:gd name="T37" fmla="*/ 16 h 25"/>
                    <a:gd name="T38" fmla="*/ 13 w 24"/>
                    <a:gd name="T39" fmla="*/ 19 h 25"/>
                    <a:gd name="T40" fmla="*/ 16 w 24"/>
                    <a:gd name="T41" fmla="*/ 22 h 25"/>
                    <a:gd name="T42" fmla="*/ 19 w 24"/>
                    <a:gd name="T43" fmla="*/ 24 h 25"/>
                    <a:gd name="T44" fmla="*/ 19 w 24"/>
                    <a:gd name="T45" fmla="*/ 24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24" h="25">
                      <a:moveTo>
                        <a:pt x="19" y="24"/>
                      </a:moveTo>
                      <a:lnTo>
                        <a:pt x="22" y="25"/>
                      </a:lnTo>
                      <a:lnTo>
                        <a:pt x="24" y="21"/>
                      </a:lnTo>
                      <a:lnTo>
                        <a:pt x="22" y="17"/>
                      </a:lnTo>
                      <a:lnTo>
                        <a:pt x="22" y="14"/>
                      </a:lnTo>
                      <a:lnTo>
                        <a:pt x="19" y="11"/>
                      </a:lnTo>
                      <a:lnTo>
                        <a:pt x="16" y="11"/>
                      </a:lnTo>
                      <a:lnTo>
                        <a:pt x="14" y="6"/>
                      </a:lnTo>
                      <a:lnTo>
                        <a:pt x="14" y="3"/>
                      </a:lnTo>
                      <a:lnTo>
                        <a:pt x="11" y="0"/>
                      </a:lnTo>
                      <a:lnTo>
                        <a:pt x="8" y="0"/>
                      </a:lnTo>
                      <a:lnTo>
                        <a:pt x="5" y="5"/>
                      </a:lnTo>
                      <a:lnTo>
                        <a:pt x="3" y="8"/>
                      </a:lnTo>
                      <a:lnTo>
                        <a:pt x="0" y="10"/>
                      </a:lnTo>
                      <a:lnTo>
                        <a:pt x="0" y="14"/>
                      </a:lnTo>
                      <a:lnTo>
                        <a:pt x="3" y="14"/>
                      </a:lnTo>
                      <a:lnTo>
                        <a:pt x="6" y="13"/>
                      </a:lnTo>
                      <a:lnTo>
                        <a:pt x="10" y="11"/>
                      </a:lnTo>
                      <a:lnTo>
                        <a:pt x="13" y="16"/>
                      </a:lnTo>
                      <a:lnTo>
                        <a:pt x="13" y="19"/>
                      </a:lnTo>
                      <a:lnTo>
                        <a:pt x="16" y="22"/>
                      </a:lnTo>
                      <a:lnTo>
                        <a:pt x="19" y="24"/>
                      </a:lnTo>
                      <a:lnTo>
                        <a:pt x="19" y="24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74" name="Freeform 157"/>
                <p:cNvSpPr>
                  <a:spLocks/>
                </p:cNvSpPr>
                <p:nvPr/>
              </p:nvSpPr>
              <p:spPr bwMode="auto">
                <a:xfrm>
                  <a:off x="5437" y="2641"/>
                  <a:ext cx="1" cy="2"/>
                </a:xfrm>
                <a:custGeom>
                  <a:avLst/>
                  <a:gdLst>
                    <a:gd name="T0" fmla="*/ 3 w 3"/>
                    <a:gd name="T1" fmla="*/ 3 h 3"/>
                    <a:gd name="T2" fmla="*/ 3 w 3"/>
                    <a:gd name="T3" fmla="*/ 0 h 3"/>
                    <a:gd name="T4" fmla="*/ 0 w 3"/>
                    <a:gd name="T5" fmla="*/ 2 h 3"/>
                    <a:gd name="T6" fmla="*/ 3 w 3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3">
                      <a:moveTo>
                        <a:pt x="3" y="3"/>
                      </a:move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3" y="3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75" name="Freeform 158"/>
                <p:cNvSpPr>
                  <a:spLocks/>
                </p:cNvSpPr>
                <p:nvPr/>
              </p:nvSpPr>
              <p:spPr bwMode="auto">
                <a:xfrm>
                  <a:off x="5442" y="2664"/>
                  <a:ext cx="4" cy="6"/>
                </a:xfrm>
                <a:custGeom>
                  <a:avLst/>
                  <a:gdLst>
                    <a:gd name="T0" fmla="*/ 3 w 8"/>
                    <a:gd name="T1" fmla="*/ 11 h 11"/>
                    <a:gd name="T2" fmla="*/ 5 w 8"/>
                    <a:gd name="T3" fmla="*/ 10 h 11"/>
                    <a:gd name="T4" fmla="*/ 8 w 8"/>
                    <a:gd name="T5" fmla="*/ 8 h 11"/>
                    <a:gd name="T6" fmla="*/ 7 w 8"/>
                    <a:gd name="T7" fmla="*/ 3 h 11"/>
                    <a:gd name="T8" fmla="*/ 7 w 8"/>
                    <a:gd name="T9" fmla="*/ 0 h 11"/>
                    <a:gd name="T10" fmla="*/ 3 w 8"/>
                    <a:gd name="T11" fmla="*/ 0 h 11"/>
                    <a:gd name="T12" fmla="*/ 0 w 8"/>
                    <a:gd name="T13" fmla="*/ 3 h 11"/>
                    <a:gd name="T14" fmla="*/ 0 w 8"/>
                    <a:gd name="T15" fmla="*/ 7 h 11"/>
                    <a:gd name="T16" fmla="*/ 3 w 8"/>
                    <a:gd name="T17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11">
                      <a:moveTo>
                        <a:pt x="3" y="11"/>
                      </a:moveTo>
                      <a:lnTo>
                        <a:pt x="5" y="10"/>
                      </a:lnTo>
                      <a:lnTo>
                        <a:pt x="8" y="8"/>
                      </a:lnTo>
                      <a:lnTo>
                        <a:pt x="7" y="3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0" y="7"/>
                      </a:lnTo>
                      <a:lnTo>
                        <a:pt x="3" y="11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76" name="Freeform 159"/>
                <p:cNvSpPr>
                  <a:spLocks/>
                </p:cNvSpPr>
                <p:nvPr/>
              </p:nvSpPr>
              <p:spPr bwMode="auto">
                <a:xfrm>
                  <a:off x="5446" y="2669"/>
                  <a:ext cx="1" cy="1"/>
                </a:xfrm>
                <a:custGeom>
                  <a:avLst/>
                  <a:gdLst>
                    <a:gd name="T0" fmla="*/ 0 w 1"/>
                    <a:gd name="T1" fmla="*/ 3 h 3"/>
                    <a:gd name="T2" fmla="*/ 1 w 1"/>
                    <a:gd name="T3" fmla="*/ 3 h 3"/>
                    <a:gd name="T4" fmla="*/ 0 w 1"/>
                    <a:gd name="T5" fmla="*/ 0 h 3"/>
                    <a:gd name="T6" fmla="*/ 0 w 1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3">
                      <a:moveTo>
                        <a:pt x="0" y="3"/>
                      </a:moveTo>
                      <a:lnTo>
                        <a:pt x="1" y="3"/>
                      </a:lnTo>
                      <a:lnTo>
                        <a:pt x="0" y="0"/>
                      </a:lnTo>
                      <a:lnTo>
                        <a:pt x="0" y="3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77" name="Freeform 160"/>
                <p:cNvSpPr>
                  <a:spLocks/>
                </p:cNvSpPr>
                <p:nvPr/>
              </p:nvSpPr>
              <p:spPr bwMode="auto">
                <a:xfrm>
                  <a:off x="5454" y="2643"/>
                  <a:ext cx="23" cy="21"/>
                </a:xfrm>
                <a:custGeom>
                  <a:avLst/>
                  <a:gdLst>
                    <a:gd name="T0" fmla="*/ 20 w 46"/>
                    <a:gd name="T1" fmla="*/ 25 h 41"/>
                    <a:gd name="T2" fmla="*/ 33 w 46"/>
                    <a:gd name="T3" fmla="*/ 32 h 41"/>
                    <a:gd name="T4" fmla="*/ 44 w 46"/>
                    <a:gd name="T5" fmla="*/ 41 h 41"/>
                    <a:gd name="T6" fmla="*/ 46 w 46"/>
                    <a:gd name="T7" fmla="*/ 38 h 41"/>
                    <a:gd name="T8" fmla="*/ 46 w 46"/>
                    <a:gd name="T9" fmla="*/ 35 h 41"/>
                    <a:gd name="T10" fmla="*/ 44 w 46"/>
                    <a:gd name="T11" fmla="*/ 32 h 41"/>
                    <a:gd name="T12" fmla="*/ 41 w 46"/>
                    <a:gd name="T13" fmla="*/ 29 h 41"/>
                    <a:gd name="T14" fmla="*/ 38 w 46"/>
                    <a:gd name="T15" fmla="*/ 27 h 41"/>
                    <a:gd name="T16" fmla="*/ 34 w 46"/>
                    <a:gd name="T17" fmla="*/ 24 h 41"/>
                    <a:gd name="T18" fmla="*/ 31 w 46"/>
                    <a:gd name="T19" fmla="*/ 19 h 41"/>
                    <a:gd name="T20" fmla="*/ 28 w 46"/>
                    <a:gd name="T21" fmla="*/ 19 h 41"/>
                    <a:gd name="T22" fmla="*/ 23 w 46"/>
                    <a:gd name="T23" fmla="*/ 17 h 41"/>
                    <a:gd name="T24" fmla="*/ 20 w 46"/>
                    <a:gd name="T25" fmla="*/ 16 h 41"/>
                    <a:gd name="T26" fmla="*/ 17 w 46"/>
                    <a:gd name="T27" fmla="*/ 14 h 41"/>
                    <a:gd name="T28" fmla="*/ 15 w 46"/>
                    <a:gd name="T29" fmla="*/ 11 h 41"/>
                    <a:gd name="T30" fmla="*/ 12 w 46"/>
                    <a:gd name="T31" fmla="*/ 8 h 41"/>
                    <a:gd name="T32" fmla="*/ 9 w 46"/>
                    <a:gd name="T33" fmla="*/ 3 h 41"/>
                    <a:gd name="T34" fmla="*/ 6 w 46"/>
                    <a:gd name="T35" fmla="*/ 3 h 41"/>
                    <a:gd name="T36" fmla="*/ 3 w 46"/>
                    <a:gd name="T37" fmla="*/ 3 h 41"/>
                    <a:gd name="T38" fmla="*/ 0 w 46"/>
                    <a:gd name="T39" fmla="*/ 0 h 41"/>
                    <a:gd name="T40" fmla="*/ 1 w 46"/>
                    <a:gd name="T41" fmla="*/ 5 h 41"/>
                    <a:gd name="T42" fmla="*/ 3 w 46"/>
                    <a:gd name="T43" fmla="*/ 8 h 41"/>
                    <a:gd name="T44" fmla="*/ 4 w 46"/>
                    <a:gd name="T45" fmla="*/ 11 h 41"/>
                    <a:gd name="T46" fmla="*/ 7 w 46"/>
                    <a:gd name="T47" fmla="*/ 14 h 41"/>
                    <a:gd name="T48" fmla="*/ 11 w 46"/>
                    <a:gd name="T49" fmla="*/ 17 h 41"/>
                    <a:gd name="T50" fmla="*/ 14 w 46"/>
                    <a:gd name="T51" fmla="*/ 21 h 41"/>
                    <a:gd name="T52" fmla="*/ 17 w 46"/>
                    <a:gd name="T53" fmla="*/ 24 h 41"/>
                    <a:gd name="T54" fmla="*/ 20 w 46"/>
                    <a:gd name="T55" fmla="*/ 25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46" h="41">
                      <a:moveTo>
                        <a:pt x="20" y="25"/>
                      </a:moveTo>
                      <a:lnTo>
                        <a:pt x="33" y="32"/>
                      </a:lnTo>
                      <a:lnTo>
                        <a:pt x="44" y="41"/>
                      </a:lnTo>
                      <a:lnTo>
                        <a:pt x="46" y="38"/>
                      </a:lnTo>
                      <a:lnTo>
                        <a:pt x="46" y="35"/>
                      </a:lnTo>
                      <a:lnTo>
                        <a:pt x="44" y="32"/>
                      </a:lnTo>
                      <a:lnTo>
                        <a:pt x="41" y="29"/>
                      </a:lnTo>
                      <a:lnTo>
                        <a:pt x="38" y="27"/>
                      </a:lnTo>
                      <a:lnTo>
                        <a:pt x="34" y="24"/>
                      </a:lnTo>
                      <a:lnTo>
                        <a:pt x="31" y="19"/>
                      </a:lnTo>
                      <a:lnTo>
                        <a:pt x="28" y="19"/>
                      </a:lnTo>
                      <a:lnTo>
                        <a:pt x="23" y="17"/>
                      </a:lnTo>
                      <a:lnTo>
                        <a:pt x="20" y="16"/>
                      </a:lnTo>
                      <a:lnTo>
                        <a:pt x="17" y="14"/>
                      </a:lnTo>
                      <a:lnTo>
                        <a:pt x="15" y="11"/>
                      </a:lnTo>
                      <a:lnTo>
                        <a:pt x="12" y="8"/>
                      </a:lnTo>
                      <a:lnTo>
                        <a:pt x="9" y="3"/>
                      </a:lnTo>
                      <a:lnTo>
                        <a:pt x="6" y="3"/>
                      </a:lnTo>
                      <a:lnTo>
                        <a:pt x="3" y="3"/>
                      </a:lnTo>
                      <a:lnTo>
                        <a:pt x="0" y="0"/>
                      </a:lnTo>
                      <a:lnTo>
                        <a:pt x="1" y="5"/>
                      </a:lnTo>
                      <a:lnTo>
                        <a:pt x="3" y="8"/>
                      </a:lnTo>
                      <a:lnTo>
                        <a:pt x="4" y="11"/>
                      </a:lnTo>
                      <a:lnTo>
                        <a:pt x="7" y="14"/>
                      </a:lnTo>
                      <a:lnTo>
                        <a:pt x="11" y="17"/>
                      </a:lnTo>
                      <a:lnTo>
                        <a:pt x="14" y="21"/>
                      </a:lnTo>
                      <a:lnTo>
                        <a:pt x="17" y="24"/>
                      </a:lnTo>
                      <a:lnTo>
                        <a:pt x="20" y="25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78" name="Freeform 161"/>
                <p:cNvSpPr>
                  <a:spLocks/>
                </p:cNvSpPr>
                <p:nvPr/>
              </p:nvSpPr>
              <p:spPr bwMode="auto">
                <a:xfrm>
                  <a:off x="5471" y="2679"/>
                  <a:ext cx="21" cy="14"/>
                </a:xfrm>
                <a:custGeom>
                  <a:avLst/>
                  <a:gdLst>
                    <a:gd name="T0" fmla="*/ 13 w 41"/>
                    <a:gd name="T1" fmla="*/ 24 h 27"/>
                    <a:gd name="T2" fmla="*/ 16 w 41"/>
                    <a:gd name="T3" fmla="*/ 24 h 27"/>
                    <a:gd name="T4" fmla="*/ 19 w 41"/>
                    <a:gd name="T5" fmla="*/ 24 h 27"/>
                    <a:gd name="T6" fmla="*/ 22 w 41"/>
                    <a:gd name="T7" fmla="*/ 23 h 27"/>
                    <a:gd name="T8" fmla="*/ 25 w 41"/>
                    <a:gd name="T9" fmla="*/ 24 h 27"/>
                    <a:gd name="T10" fmla="*/ 30 w 41"/>
                    <a:gd name="T11" fmla="*/ 26 h 27"/>
                    <a:gd name="T12" fmla="*/ 33 w 41"/>
                    <a:gd name="T13" fmla="*/ 27 h 27"/>
                    <a:gd name="T14" fmla="*/ 36 w 41"/>
                    <a:gd name="T15" fmla="*/ 27 h 27"/>
                    <a:gd name="T16" fmla="*/ 40 w 41"/>
                    <a:gd name="T17" fmla="*/ 26 h 27"/>
                    <a:gd name="T18" fmla="*/ 41 w 41"/>
                    <a:gd name="T19" fmla="*/ 23 h 27"/>
                    <a:gd name="T20" fmla="*/ 40 w 41"/>
                    <a:gd name="T21" fmla="*/ 19 h 27"/>
                    <a:gd name="T22" fmla="*/ 36 w 41"/>
                    <a:gd name="T23" fmla="*/ 16 h 27"/>
                    <a:gd name="T24" fmla="*/ 35 w 41"/>
                    <a:gd name="T25" fmla="*/ 11 h 27"/>
                    <a:gd name="T26" fmla="*/ 32 w 41"/>
                    <a:gd name="T27" fmla="*/ 11 h 27"/>
                    <a:gd name="T28" fmla="*/ 28 w 41"/>
                    <a:gd name="T29" fmla="*/ 7 h 27"/>
                    <a:gd name="T30" fmla="*/ 25 w 41"/>
                    <a:gd name="T31" fmla="*/ 7 h 27"/>
                    <a:gd name="T32" fmla="*/ 22 w 41"/>
                    <a:gd name="T33" fmla="*/ 7 h 27"/>
                    <a:gd name="T34" fmla="*/ 17 w 41"/>
                    <a:gd name="T35" fmla="*/ 7 h 27"/>
                    <a:gd name="T36" fmla="*/ 14 w 41"/>
                    <a:gd name="T37" fmla="*/ 7 h 27"/>
                    <a:gd name="T38" fmla="*/ 14 w 41"/>
                    <a:gd name="T39" fmla="*/ 8 h 27"/>
                    <a:gd name="T40" fmla="*/ 11 w 41"/>
                    <a:gd name="T41" fmla="*/ 7 h 27"/>
                    <a:gd name="T42" fmla="*/ 8 w 41"/>
                    <a:gd name="T43" fmla="*/ 4 h 27"/>
                    <a:gd name="T44" fmla="*/ 5 w 41"/>
                    <a:gd name="T45" fmla="*/ 0 h 27"/>
                    <a:gd name="T46" fmla="*/ 1 w 41"/>
                    <a:gd name="T47" fmla="*/ 2 h 27"/>
                    <a:gd name="T48" fmla="*/ 0 w 41"/>
                    <a:gd name="T49" fmla="*/ 5 h 27"/>
                    <a:gd name="T50" fmla="*/ 0 w 41"/>
                    <a:gd name="T51" fmla="*/ 8 h 27"/>
                    <a:gd name="T52" fmla="*/ 0 w 41"/>
                    <a:gd name="T53" fmla="*/ 11 h 27"/>
                    <a:gd name="T54" fmla="*/ 1 w 41"/>
                    <a:gd name="T55" fmla="*/ 16 h 27"/>
                    <a:gd name="T56" fmla="*/ 3 w 41"/>
                    <a:gd name="T57" fmla="*/ 19 h 27"/>
                    <a:gd name="T58" fmla="*/ 8 w 41"/>
                    <a:gd name="T59" fmla="*/ 23 h 27"/>
                    <a:gd name="T60" fmla="*/ 11 w 41"/>
                    <a:gd name="T61" fmla="*/ 23 h 27"/>
                    <a:gd name="T62" fmla="*/ 13 w 41"/>
                    <a:gd name="T63" fmla="*/ 24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41" h="27">
                      <a:moveTo>
                        <a:pt x="13" y="24"/>
                      </a:moveTo>
                      <a:lnTo>
                        <a:pt x="16" y="24"/>
                      </a:lnTo>
                      <a:lnTo>
                        <a:pt x="19" y="24"/>
                      </a:lnTo>
                      <a:lnTo>
                        <a:pt x="22" y="23"/>
                      </a:lnTo>
                      <a:lnTo>
                        <a:pt x="25" y="24"/>
                      </a:lnTo>
                      <a:lnTo>
                        <a:pt x="30" y="26"/>
                      </a:lnTo>
                      <a:lnTo>
                        <a:pt x="33" y="27"/>
                      </a:lnTo>
                      <a:lnTo>
                        <a:pt x="36" y="27"/>
                      </a:lnTo>
                      <a:lnTo>
                        <a:pt x="40" y="26"/>
                      </a:lnTo>
                      <a:lnTo>
                        <a:pt x="41" y="23"/>
                      </a:lnTo>
                      <a:lnTo>
                        <a:pt x="40" y="19"/>
                      </a:lnTo>
                      <a:lnTo>
                        <a:pt x="36" y="16"/>
                      </a:lnTo>
                      <a:lnTo>
                        <a:pt x="35" y="11"/>
                      </a:lnTo>
                      <a:lnTo>
                        <a:pt x="32" y="11"/>
                      </a:lnTo>
                      <a:lnTo>
                        <a:pt x="28" y="7"/>
                      </a:lnTo>
                      <a:lnTo>
                        <a:pt x="25" y="7"/>
                      </a:lnTo>
                      <a:lnTo>
                        <a:pt x="22" y="7"/>
                      </a:lnTo>
                      <a:lnTo>
                        <a:pt x="17" y="7"/>
                      </a:lnTo>
                      <a:lnTo>
                        <a:pt x="14" y="7"/>
                      </a:lnTo>
                      <a:lnTo>
                        <a:pt x="14" y="8"/>
                      </a:lnTo>
                      <a:lnTo>
                        <a:pt x="11" y="7"/>
                      </a:lnTo>
                      <a:lnTo>
                        <a:pt x="8" y="4"/>
                      </a:lnTo>
                      <a:lnTo>
                        <a:pt x="5" y="0"/>
                      </a:lnTo>
                      <a:lnTo>
                        <a:pt x="1" y="2"/>
                      </a:lnTo>
                      <a:lnTo>
                        <a:pt x="0" y="5"/>
                      </a:lnTo>
                      <a:lnTo>
                        <a:pt x="0" y="8"/>
                      </a:lnTo>
                      <a:lnTo>
                        <a:pt x="0" y="11"/>
                      </a:lnTo>
                      <a:lnTo>
                        <a:pt x="1" y="16"/>
                      </a:lnTo>
                      <a:lnTo>
                        <a:pt x="3" y="19"/>
                      </a:lnTo>
                      <a:lnTo>
                        <a:pt x="8" y="23"/>
                      </a:lnTo>
                      <a:lnTo>
                        <a:pt x="11" y="23"/>
                      </a:lnTo>
                      <a:lnTo>
                        <a:pt x="13" y="24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79" name="Freeform 162"/>
                <p:cNvSpPr>
                  <a:spLocks/>
                </p:cNvSpPr>
                <p:nvPr/>
              </p:nvSpPr>
              <p:spPr bwMode="auto">
                <a:xfrm>
                  <a:off x="5472" y="2661"/>
                  <a:ext cx="2" cy="4"/>
                </a:xfrm>
                <a:custGeom>
                  <a:avLst/>
                  <a:gdLst>
                    <a:gd name="T0" fmla="*/ 5 w 5"/>
                    <a:gd name="T1" fmla="*/ 8 h 8"/>
                    <a:gd name="T2" fmla="*/ 4 w 5"/>
                    <a:gd name="T3" fmla="*/ 5 h 8"/>
                    <a:gd name="T4" fmla="*/ 4 w 5"/>
                    <a:gd name="T5" fmla="*/ 0 h 8"/>
                    <a:gd name="T6" fmla="*/ 0 w 5"/>
                    <a:gd name="T7" fmla="*/ 1 h 8"/>
                    <a:gd name="T8" fmla="*/ 2 w 5"/>
                    <a:gd name="T9" fmla="*/ 5 h 8"/>
                    <a:gd name="T10" fmla="*/ 5 w 5"/>
                    <a:gd name="T1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8">
                      <a:moveTo>
                        <a:pt x="5" y="8"/>
                      </a:moveTo>
                      <a:lnTo>
                        <a:pt x="4" y="5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2" y="5"/>
                      </a:lnTo>
                      <a:lnTo>
                        <a:pt x="5" y="8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80" name="Freeform 163"/>
                <p:cNvSpPr>
                  <a:spLocks/>
                </p:cNvSpPr>
                <p:nvPr/>
              </p:nvSpPr>
              <p:spPr bwMode="auto">
                <a:xfrm>
                  <a:off x="5473" y="2724"/>
                  <a:ext cx="9" cy="8"/>
                </a:xfrm>
                <a:custGeom>
                  <a:avLst/>
                  <a:gdLst>
                    <a:gd name="T0" fmla="*/ 0 w 19"/>
                    <a:gd name="T1" fmla="*/ 4 h 14"/>
                    <a:gd name="T2" fmla="*/ 3 w 19"/>
                    <a:gd name="T3" fmla="*/ 4 h 14"/>
                    <a:gd name="T4" fmla="*/ 6 w 19"/>
                    <a:gd name="T5" fmla="*/ 8 h 14"/>
                    <a:gd name="T6" fmla="*/ 10 w 19"/>
                    <a:gd name="T7" fmla="*/ 6 h 14"/>
                    <a:gd name="T8" fmla="*/ 13 w 19"/>
                    <a:gd name="T9" fmla="*/ 9 h 14"/>
                    <a:gd name="T10" fmla="*/ 14 w 19"/>
                    <a:gd name="T11" fmla="*/ 12 h 14"/>
                    <a:gd name="T12" fmla="*/ 17 w 19"/>
                    <a:gd name="T13" fmla="*/ 14 h 14"/>
                    <a:gd name="T14" fmla="*/ 19 w 19"/>
                    <a:gd name="T15" fmla="*/ 11 h 14"/>
                    <a:gd name="T16" fmla="*/ 16 w 19"/>
                    <a:gd name="T17" fmla="*/ 8 h 14"/>
                    <a:gd name="T18" fmla="*/ 11 w 19"/>
                    <a:gd name="T19" fmla="*/ 6 h 14"/>
                    <a:gd name="T20" fmla="*/ 8 w 19"/>
                    <a:gd name="T21" fmla="*/ 3 h 14"/>
                    <a:gd name="T22" fmla="*/ 5 w 19"/>
                    <a:gd name="T23" fmla="*/ 1 h 14"/>
                    <a:gd name="T24" fmla="*/ 2 w 19"/>
                    <a:gd name="T25" fmla="*/ 0 h 14"/>
                    <a:gd name="T26" fmla="*/ 0 w 19"/>
                    <a:gd name="T27" fmla="*/ 0 h 14"/>
                    <a:gd name="T28" fmla="*/ 0 w 19"/>
                    <a:gd name="T29" fmla="*/ 4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9" h="14">
                      <a:moveTo>
                        <a:pt x="0" y="4"/>
                      </a:moveTo>
                      <a:lnTo>
                        <a:pt x="3" y="4"/>
                      </a:lnTo>
                      <a:lnTo>
                        <a:pt x="6" y="8"/>
                      </a:lnTo>
                      <a:lnTo>
                        <a:pt x="10" y="6"/>
                      </a:lnTo>
                      <a:lnTo>
                        <a:pt x="13" y="9"/>
                      </a:lnTo>
                      <a:lnTo>
                        <a:pt x="14" y="12"/>
                      </a:lnTo>
                      <a:lnTo>
                        <a:pt x="17" y="14"/>
                      </a:lnTo>
                      <a:lnTo>
                        <a:pt x="19" y="11"/>
                      </a:lnTo>
                      <a:lnTo>
                        <a:pt x="16" y="8"/>
                      </a:lnTo>
                      <a:lnTo>
                        <a:pt x="11" y="6"/>
                      </a:lnTo>
                      <a:lnTo>
                        <a:pt x="8" y="3"/>
                      </a:lnTo>
                      <a:lnTo>
                        <a:pt x="5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81" name="Freeform 164"/>
                <p:cNvSpPr>
                  <a:spLocks/>
                </p:cNvSpPr>
                <p:nvPr/>
              </p:nvSpPr>
              <p:spPr bwMode="auto">
                <a:xfrm>
                  <a:off x="5491" y="2660"/>
                  <a:ext cx="12" cy="26"/>
                </a:xfrm>
                <a:custGeom>
                  <a:avLst/>
                  <a:gdLst>
                    <a:gd name="T0" fmla="*/ 6 w 23"/>
                    <a:gd name="T1" fmla="*/ 34 h 53"/>
                    <a:gd name="T2" fmla="*/ 9 w 23"/>
                    <a:gd name="T3" fmla="*/ 37 h 53"/>
                    <a:gd name="T4" fmla="*/ 12 w 23"/>
                    <a:gd name="T5" fmla="*/ 40 h 53"/>
                    <a:gd name="T6" fmla="*/ 15 w 23"/>
                    <a:gd name="T7" fmla="*/ 43 h 53"/>
                    <a:gd name="T8" fmla="*/ 19 w 23"/>
                    <a:gd name="T9" fmla="*/ 46 h 53"/>
                    <a:gd name="T10" fmla="*/ 20 w 23"/>
                    <a:gd name="T11" fmla="*/ 49 h 53"/>
                    <a:gd name="T12" fmla="*/ 22 w 23"/>
                    <a:gd name="T13" fmla="*/ 53 h 53"/>
                    <a:gd name="T14" fmla="*/ 23 w 23"/>
                    <a:gd name="T15" fmla="*/ 49 h 53"/>
                    <a:gd name="T16" fmla="*/ 22 w 23"/>
                    <a:gd name="T17" fmla="*/ 46 h 53"/>
                    <a:gd name="T18" fmla="*/ 20 w 23"/>
                    <a:gd name="T19" fmla="*/ 43 h 53"/>
                    <a:gd name="T20" fmla="*/ 19 w 23"/>
                    <a:gd name="T21" fmla="*/ 40 h 53"/>
                    <a:gd name="T22" fmla="*/ 22 w 23"/>
                    <a:gd name="T23" fmla="*/ 35 h 53"/>
                    <a:gd name="T24" fmla="*/ 19 w 23"/>
                    <a:gd name="T25" fmla="*/ 30 h 53"/>
                    <a:gd name="T26" fmla="*/ 17 w 23"/>
                    <a:gd name="T27" fmla="*/ 27 h 53"/>
                    <a:gd name="T28" fmla="*/ 15 w 23"/>
                    <a:gd name="T29" fmla="*/ 24 h 53"/>
                    <a:gd name="T30" fmla="*/ 11 w 23"/>
                    <a:gd name="T31" fmla="*/ 19 h 53"/>
                    <a:gd name="T32" fmla="*/ 11 w 23"/>
                    <a:gd name="T33" fmla="*/ 16 h 53"/>
                    <a:gd name="T34" fmla="*/ 14 w 23"/>
                    <a:gd name="T35" fmla="*/ 13 h 53"/>
                    <a:gd name="T36" fmla="*/ 11 w 23"/>
                    <a:gd name="T37" fmla="*/ 10 h 53"/>
                    <a:gd name="T38" fmla="*/ 9 w 23"/>
                    <a:gd name="T39" fmla="*/ 5 h 53"/>
                    <a:gd name="T40" fmla="*/ 7 w 23"/>
                    <a:gd name="T41" fmla="*/ 2 h 53"/>
                    <a:gd name="T42" fmla="*/ 4 w 23"/>
                    <a:gd name="T43" fmla="*/ 0 h 53"/>
                    <a:gd name="T44" fmla="*/ 1 w 23"/>
                    <a:gd name="T45" fmla="*/ 0 h 53"/>
                    <a:gd name="T46" fmla="*/ 0 w 23"/>
                    <a:gd name="T47" fmla="*/ 3 h 53"/>
                    <a:gd name="T48" fmla="*/ 3 w 23"/>
                    <a:gd name="T49" fmla="*/ 7 h 53"/>
                    <a:gd name="T50" fmla="*/ 3 w 23"/>
                    <a:gd name="T51" fmla="*/ 11 h 53"/>
                    <a:gd name="T52" fmla="*/ 1 w 23"/>
                    <a:gd name="T53" fmla="*/ 15 h 53"/>
                    <a:gd name="T54" fmla="*/ 1 w 23"/>
                    <a:gd name="T55" fmla="*/ 18 h 53"/>
                    <a:gd name="T56" fmla="*/ 4 w 23"/>
                    <a:gd name="T57" fmla="*/ 26 h 53"/>
                    <a:gd name="T58" fmla="*/ 6 w 23"/>
                    <a:gd name="T59" fmla="*/ 34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23" h="53">
                      <a:moveTo>
                        <a:pt x="6" y="34"/>
                      </a:moveTo>
                      <a:lnTo>
                        <a:pt x="9" y="37"/>
                      </a:lnTo>
                      <a:lnTo>
                        <a:pt x="12" y="40"/>
                      </a:lnTo>
                      <a:lnTo>
                        <a:pt x="15" y="43"/>
                      </a:lnTo>
                      <a:lnTo>
                        <a:pt x="19" y="46"/>
                      </a:lnTo>
                      <a:lnTo>
                        <a:pt x="20" y="49"/>
                      </a:lnTo>
                      <a:lnTo>
                        <a:pt x="22" y="53"/>
                      </a:lnTo>
                      <a:lnTo>
                        <a:pt x="23" y="49"/>
                      </a:lnTo>
                      <a:lnTo>
                        <a:pt x="22" y="46"/>
                      </a:lnTo>
                      <a:lnTo>
                        <a:pt x="20" y="43"/>
                      </a:lnTo>
                      <a:lnTo>
                        <a:pt x="19" y="40"/>
                      </a:lnTo>
                      <a:lnTo>
                        <a:pt x="22" y="35"/>
                      </a:lnTo>
                      <a:lnTo>
                        <a:pt x="19" y="30"/>
                      </a:lnTo>
                      <a:lnTo>
                        <a:pt x="17" y="27"/>
                      </a:lnTo>
                      <a:lnTo>
                        <a:pt x="15" y="24"/>
                      </a:lnTo>
                      <a:lnTo>
                        <a:pt x="11" y="19"/>
                      </a:lnTo>
                      <a:lnTo>
                        <a:pt x="11" y="16"/>
                      </a:lnTo>
                      <a:lnTo>
                        <a:pt x="14" y="13"/>
                      </a:lnTo>
                      <a:lnTo>
                        <a:pt x="11" y="10"/>
                      </a:lnTo>
                      <a:lnTo>
                        <a:pt x="9" y="5"/>
                      </a:lnTo>
                      <a:lnTo>
                        <a:pt x="7" y="2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3" y="7"/>
                      </a:lnTo>
                      <a:lnTo>
                        <a:pt x="3" y="11"/>
                      </a:lnTo>
                      <a:lnTo>
                        <a:pt x="1" y="15"/>
                      </a:lnTo>
                      <a:lnTo>
                        <a:pt x="1" y="18"/>
                      </a:lnTo>
                      <a:lnTo>
                        <a:pt x="4" y="26"/>
                      </a:lnTo>
                      <a:lnTo>
                        <a:pt x="6" y="34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82" name="Freeform 165"/>
                <p:cNvSpPr>
                  <a:spLocks/>
                </p:cNvSpPr>
                <p:nvPr/>
              </p:nvSpPr>
              <p:spPr bwMode="auto">
                <a:xfrm>
                  <a:off x="5499" y="2698"/>
                  <a:ext cx="18" cy="14"/>
                </a:xfrm>
                <a:custGeom>
                  <a:avLst/>
                  <a:gdLst>
                    <a:gd name="T0" fmla="*/ 17 w 35"/>
                    <a:gd name="T1" fmla="*/ 24 h 27"/>
                    <a:gd name="T2" fmla="*/ 25 w 35"/>
                    <a:gd name="T3" fmla="*/ 26 h 27"/>
                    <a:gd name="T4" fmla="*/ 35 w 35"/>
                    <a:gd name="T5" fmla="*/ 27 h 27"/>
                    <a:gd name="T6" fmla="*/ 33 w 35"/>
                    <a:gd name="T7" fmla="*/ 23 h 27"/>
                    <a:gd name="T8" fmla="*/ 32 w 35"/>
                    <a:gd name="T9" fmla="*/ 19 h 27"/>
                    <a:gd name="T10" fmla="*/ 30 w 35"/>
                    <a:gd name="T11" fmla="*/ 16 h 27"/>
                    <a:gd name="T12" fmla="*/ 30 w 35"/>
                    <a:gd name="T13" fmla="*/ 13 h 27"/>
                    <a:gd name="T14" fmla="*/ 25 w 35"/>
                    <a:gd name="T15" fmla="*/ 13 h 27"/>
                    <a:gd name="T16" fmla="*/ 22 w 35"/>
                    <a:gd name="T17" fmla="*/ 12 h 27"/>
                    <a:gd name="T18" fmla="*/ 19 w 35"/>
                    <a:gd name="T19" fmla="*/ 12 h 27"/>
                    <a:gd name="T20" fmla="*/ 16 w 35"/>
                    <a:gd name="T21" fmla="*/ 10 h 27"/>
                    <a:gd name="T22" fmla="*/ 11 w 35"/>
                    <a:gd name="T23" fmla="*/ 7 h 27"/>
                    <a:gd name="T24" fmla="*/ 8 w 35"/>
                    <a:gd name="T25" fmla="*/ 4 h 27"/>
                    <a:gd name="T26" fmla="*/ 5 w 35"/>
                    <a:gd name="T27" fmla="*/ 2 h 27"/>
                    <a:gd name="T28" fmla="*/ 2 w 35"/>
                    <a:gd name="T29" fmla="*/ 0 h 27"/>
                    <a:gd name="T30" fmla="*/ 0 w 35"/>
                    <a:gd name="T31" fmla="*/ 5 h 27"/>
                    <a:gd name="T32" fmla="*/ 3 w 35"/>
                    <a:gd name="T33" fmla="*/ 7 h 27"/>
                    <a:gd name="T34" fmla="*/ 6 w 35"/>
                    <a:gd name="T35" fmla="*/ 8 h 27"/>
                    <a:gd name="T36" fmla="*/ 6 w 35"/>
                    <a:gd name="T37" fmla="*/ 13 h 27"/>
                    <a:gd name="T38" fmla="*/ 9 w 35"/>
                    <a:gd name="T39" fmla="*/ 18 h 27"/>
                    <a:gd name="T40" fmla="*/ 13 w 35"/>
                    <a:gd name="T41" fmla="*/ 21 h 27"/>
                    <a:gd name="T42" fmla="*/ 17 w 35"/>
                    <a:gd name="T43" fmla="*/ 24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35" h="27">
                      <a:moveTo>
                        <a:pt x="17" y="24"/>
                      </a:moveTo>
                      <a:lnTo>
                        <a:pt x="25" y="26"/>
                      </a:lnTo>
                      <a:lnTo>
                        <a:pt x="35" y="27"/>
                      </a:lnTo>
                      <a:lnTo>
                        <a:pt x="33" y="23"/>
                      </a:lnTo>
                      <a:lnTo>
                        <a:pt x="32" y="19"/>
                      </a:lnTo>
                      <a:lnTo>
                        <a:pt x="30" y="16"/>
                      </a:lnTo>
                      <a:lnTo>
                        <a:pt x="30" y="13"/>
                      </a:lnTo>
                      <a:lnTo>
                        <a:pt x="25" y="13"/>
                      </a:lnTo>
                      <a:lnTo>
                        <a:pt x="22" y="12"/>
                      </a:lnTo>
                      <a:lnTo>
                        <a:pt x="19" y="12"/>
                      </a:lnTo>
                      <a:lnTo>
                        <a:pt x="16" y="10"/>
                      </a:lnTo>
                      <a:lnTo>
                        <a:pt x="11" y="7"/>
                      </a:lnTo>
                      <a:lnTo>
                        <a:pt x="8" y="4"/>
                      </a:lnTo>
                      <a:lnTo>
                        <a:pt x="5" y="2"/>
                      </a:lnTo>
                      <a:lnTo>
                        <a:pt x="2" y="0"/>
                      </a:lnTo>
                      <a:lnTo>
                        <a:pt x="0" y="5"/>
                      </a:lnTo>
                      <a:lnTo>
                        <a:pt x="3" y="7"/>
                      </a:lnTo>
                      <a:lnTo>
                        <a:pt x="6" y="8"/>
                      </a:lnTo>
                      <a:lnTo>
                        <a:pt x="6" y="13"/>
                      </a:lnTo>
                      <a:lnTo>
                        <a:pt x="9" y="18"/>
                      </a:lnTo>
                      <a:lnTo>
                        <a:pt x="13" y="21"/>
                      </a:lnTo>
                      <a:lnTo>
                        <a:pt x="17" y="24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83" name="Freeform 166"/>
                <p:cNvSpPr>
                  <a:spLocks/>
                </p:cNvSpPr>
                <p:nvPr/>
              </p:nvSpPr>
              <p:spPr bwMode="auto">
                <a:xfrm>
                  <a:off x="5503" y="2682"/>
                  <a:ext cx="3" cy="8"/>
                </a:xfrm>
                <a:custGeom>
                  <a:avLst/>
                  <a:gdLst>
                    <a:gd name="T0" fmla="*/ 5 w 7"/>
                    <a:gd name="T1" fmla="*/ 16 h 16"/>
                    <a:gd name="T2" fmla="*/ 7 w 7"/>
                    <a:gd name="T3" fmla="*/ 14 h 16"/>
                    <a:gd name="T4" fmla="*/ 7 w 7"/>
                    <a:gd name="T5" fmla="*/ 9 h 16"/>
                    <a:gd name="T6" fmla="*/ 5 w 7"/>
                    <a:gd name="T7" fmla="*/ 6 h 16"/>
                    <a:gd name="T8" fmla="*/ 3 w 7"/>
                    <a:gd name="T9" fmla="*/ 3 h 16"/>
                    <a:gd name="T10" fmla="*/ 0 w 7"/>
                    <a:gd name="T11" fmla="*/ 0 h 16"/>
                    <a:gd name="T12" fmla="*/ 0 w 7"/>
                    <a:gd name="T13" fmla="*/ 3 h 16"/>
                    <a:gd name="T14" fmla="*/ 0 w 7"/>
                    <a:gd name="T15" fmla="*/ 6 h 16"/>
                    <a:gd name="T16" fmla="*/ 0 w 7"/>
                    <a:gd name="T17" fmla="*/ 9 h 16"/>
                    <a:gd name="T18" fmla="*/ 3 w 7"/>
                    <a:gd name="T19" fmla="*/ 12 h 16"/>
                    <a:gd name="T20" fmla="*/ 5 w 7"/>
                    <a:gd name="T21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7" h="16">
                      <a:moveTo>
                        <a:pt x="5" y="16"/>
                      </a:moveTo>
                      <a:lnTo>
                        <a:pt x="7" y="14"/>
                      </a:lnTo>
                      <a:lnTo>
                        <a:pt x="7" y="9"/>
                      </a:lnTo>
                      <a:lnTo>
                        <a:pt x="5" y="6"/>
                      </a:lnTo>
                      <a:lnTo>
                        <a:pt x="3" y="3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0" y="9"/>
                      </a:lnTo>
                      <a:lnTo>
                        <a:pt x="3" y="12"/>
                      </a:lnTo>
                      <a:lnTo>
                        <a:pt x="5" y="16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</p:grpSp>
          <p:grpSp>
            <p:nvGrpSpPr>
              <p:cNvPr id="762" name="Group 167"/>
              <p:cNvGrpSpPr>
                <a:grpSpLocks/>
              </p:cNvGrpSpPr>
              <p:nvPr/>
            </p:nvGrpSpPr>
            <p:grpSpPr bwMode="auto">
              <a:xfrm>
                <a:off x="7185809" y="4240017"/>
                <a:ext cx="1116856" cy="1014795"/>
                <a:chOff x="4573" y="2709"/>
                <a:chExt cx="718" cy="672"/>
              </a:xfrm>
              <a:grpFill/>
            </p:grpSpPr>
            <p:sp>
              <p:nvSpPr>
                <p:cNvPr id="763" name="Freeform 168"/>
                <p:cNvSpPr>
                  <a:spLocks/>
                </p:cNvSpPr>
                <p:nvPr/>
              </p:nvSpPr>
              <p:spPr bwMode="auto">
                <a:xfrm>
                  <a:off x="4927" y="3218"/>
                  <a:ext cx="26" cy="9"/>
                </a:xfrm>
                <a:custGeom>
                  <a:avLst/>
                  <a:gdLst>
                    <a:gd name="T0" fmla="*/ 27 w 52"/>
                    <a:gd name="T1" fmla="*/ 19 h 19"/>
                    <a:gd name="T2" fmla="*/ 30 w 52"/>
                    <a:gd name="T3" fmla="*/ 19 h 19"/>
                    <a:gd name="T4" fmla="*/ 33 w 52"/>
                    <a:gd name="T5" fmla="*/ 18 h 19"/>
                    <a:gd name="T6" fmla="*/ 35 w 52"/>
                    <a:gd name="T7" fmla="*/ 14 h 19"/>
                    <a:gd name="T8" fmla="*/ 38 w 52"/>
                    <a:gd name="T9" fmla="*/ 13 h 19"/>
                    <a:gd name="T10" fmla="*/ 41 w 52"/>
                    <a:gd name="T11" fmla="*/ 11 h 19"/>
                    <a:gd name="T12" fmla="*/ 46 w 52"/>
                    <a:gd name="T13" fmla="*/ 11 h 19"/>
                    <a:gd name="T14" fmla="*/ 49 w 52"/>
                    <a:gd name="T15" fmla="*/ 13 h 19"/>
                    <a:gd name="T16" fmla="*/ 52 w 52"/>
                    <a:gd name="T17" fmla="*/ 11 h 19"/>
                    <a:gd name="T18" fmla="*/ 52 w 52"/>
                    <a:gd name="T19" fmla="*/ 8 h 19"/>
                    <a:gd name="T20" fmla="*/ 49 w 52"/>
                    <a:gd name="T21" fmla="*/ 6 h 19"/>
                    <a:gd name="T22" fmla="*/ 46 w 52"/>
                    <a:gd name="T23" fmla="*/ 8 h 19"/>
                    <a:gd name="T24" fmla="*/ 43 w 52"/>
                    <a:gd name="T25" fmla="*/ 6 h 19"/>
                    <a:gd name="T26" fmla="*/ 38 w 52"/>
                    <a:gd name="T27" fmla="*/ 6 h 19"/>
                    <a:gd name="T28" fmla="*/ 41 w 52"/>
                    <a:gd name="T29" fmla="*/ 3 h 19"/>
                    <a:gd name="T30" fmla="*/ 38 w 52"/>
                    <a:gd name="T31" fmla="*/ 0 h 19"/>
                    <a:gd name="T32" fmla="*/ 30 w 52"/>
                    <a:gd name="T33" fmla="*/ 0 h 19"/>
                    <a:gd name="T34" fmla="*/ 27 w 52"/>
                    <a:gd name="T35" fmla="*/ 2 h 19"/>
                    <a:gd name="T36" fmla="*/ 24 w 52"/>
                    <a:gd name="T37" fmla="*/ 3 h 19"/>
                    <a:gd name="T38" fmla="*/ 14 w 52"/>
                    <a:gd name="T39" fmla="*/ 5 h 19"/>
                    <a:gd name="T40" fmla="*/ 6 w 52"/>
                    <a:gd name="T41" fmla="*/ 6 h 19"/>
                    <a:gd name="T42" fmla="*/ 3 w 52"/>
                    <a:gd name="T43" fmla="*/ 8 h 19"/>
                    <a:gd name="T44" fmla="*/ 0 w 52"/>
                    <a:gd name="T45" fmla="*/ 11 h 19"/>
                    <a:gd name="T46" fmla="*/ 0 w 52"/>
                    <a:gd name="T47" fmla="*/ 14 h 19"/>
                    <a:gd name="T48" fmla="*/ 1 w 52"/>
                    <a:gd name="T49" fmla="*/ 19 h 19"/>
                    <a:gd name="T50" fmla="*/ 5 w 52"/>
                    <a:gd name="T51" fmla="*/ 19 h 19"/>
                    <a:gd name="T52" fmla="*/ 9 w 52"/>
                    <a:gd name="T53" fmla="*/ 19 h 19"/>
                    <a:gd name="T54" fmla="*/ 13 w 52"/>
                    <a:gd name="T55" fmla="*/ 18 h 19"/>
                    <a:gd name="T56" fmla="*/ 16 w 52"/>
                    <a:gd name="T57" fmla="*/ 19 h 19"/>
                    <a:gd name="T58" fmla="*/ 19 w 52"/>
                    <a:gd name="T59" fmla="*/ 16 h 19"/>
                    <a:gd name="T60" fmla="*/ 24 w 52"/>
                    <a:gd name="T61" fmla="*/ 18 h 19"/>
                    <a:gd name="T62" fmla="*/ 27 w 52"/>
                    <a:gd name="T63" fmla="*/ 19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52" h="19">
                      <a:moveTo>
                        <a:pt x="27" y="19"/>
                      </a:moveTo>
                      <a:lnTo>
                        <a:pt x="30" y="19"/>
                      </a:lnTo>
                      <a:lnTo>
                        <a:pt x="33" y="18"/>
                      </a:lnTo>
                      <a:lnTo>
                        <a:pt x="35" y="14"/>
                      </a:lnTo>
                      <a:lnTo>
                        <a:pt x="38" y="13"/>
                      </a:lnTo>
                      <a:lnTo>
                        <a:pt x="41" y="11"/>
                      </a:lnTo>
                      <a:lnTo>
                        <a:pt x="46" y="11"/>
                      </a:lnTo>
                      <a:lnTo>
                        <a:pt x="49" y="13"/>
                      </a:lnTo>
                      <a:lnTo>
                        <a:pt x="52" y="11"/>
                      </a:lnTo>
                      <a:lnTo>
                        <a:pt x="52" y="8"/>
                      </a:lnTo>
                      <a:lnTo>
                        <a:pt x="49" y="6"/>
                      </a:lnTo>
                      <a:lnTo>
                        <a:pt x="46" y="8"/>
                      </a:lnTo>
                      <a:lnTo>
                        <a:pt x="43" y="6"/>
                      </a:lnTo>
                      <a:lnTo>
                        <a:pt x="38" y="6"/>
                      </a:lnTo>
                      <a:lnTo>
                        <a:pt x="41" y="3"/>
                      </a:lnTo>
                      <a:lnTo>
                        <a:pt x="38" y="0"/>
                      </a:lnTo>
                      <a:lnTo>
                        <a:pt x="30" y="0"/>
                      </a:lnTo>
                      <a:lnTo>
                        <a:pt x="27" y="2"/>
                      </a:lnTo>
                      <a:lnTo>
                        <a:pt x="24" y="3"/>
                      </a:lnTo>
                      <a:lnTo>
                        <a:pt x="14" y="5"/>
                      </a:lnTo>
                      <a:lnTo>
                        <a:pt x="6" y="6"/>
                      </a:lnTo>
                      <a:lnTo>
                        <a:pt x="3" y="8"/>
                      </a:lnTo>
                      <a:lnTo>
                        <a:pt x="0" y="11"/>
                      </a:lnTo>
                      <a:lnTo>
                        <a:pt x="0" y="14"/>
                      </a:lnTo>
                      <a:lnTo>
                        <a:pt x="1" y="19"/>
                      </a:lnTo>
                      <a:lnTo>
                        <a:pt x="5" y="19"/>
                      </a:lnTo>
                      <a:lnTo>
                        <a:pt x="9" y="19"/>
                      </a:lnTo>
                      <a:lnTo>
                        <a:pt x="13" y="18"/>
                      </a:lnTo>
                      <a:lnTo>
                        <a:pt x="16" y="19"/>
                      </a:lnTo>
                      <a:lnTo>
                        <a:pt x="19" y="16"/>
                      </a:lnTo>
                      <a:lnTo>
                        <a:pt x="24" y="18"/>
                      </a:lnTo>
                      <a:lnTo>
                        <a:pt x="27" y="19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64" name="Freeform 169"/>
                <p:cNvSpPr>
                  <a:spLocks/>
                </p:cNvSpPr>
                <p:nvPr/>
              </p:nvSpPr>
              <p:spPr bwMode="auto">
                <a:xfrm>
                  <a:off x="4935" y="2721"/>
                  <a:ext cx="10" cy="11"/>
                </a:xfrm>
                <a:custGeom>
                  <a:avLst/>
                  <a:gdLst>
                    <a:gd name="T0" fmla="*/ 16 w 20"/>
                    <a:gd name="T1" fmla="*/ 21 h 21"/>
                    <a:gd name="T2" fmla="*/ 17 w 20"/>
                    <a:gd name="T3" fmla="*/ 21 h 21"/>
                    <a:gd name="T4" fmla="*/ 20 w 20"/>
                    <a:gd name="T5" fmla="*/ 19 h 21"/>
                    <a:gd name="T6" fmla="*/ 17 w 20"/>
                    <a:gd name="T7" fmla="*/ 16 h 21"/>
                    <a:gd name="T8" fmla="*/ 14 w 20"/>
                    <a:gd name="T9" fmla="*/ 15 h 21"/>
                    <a:gd name="T10" fmla="*/ 14 w 20"/>
                    <a:gd name="T11" fmla="*/ 11 h 21"/>
                    <a:gd name="T12" fmla="*/ 12 w 20"/>
                    <a:gd name="T13" fmla="*/ 8 h 21"/>
                    <a:gd name="T14" fmla="*/ 12 w 20"/>
                    <a:gd name="T15" fmla="*/ 5 h 21"/>
                    <a:gd name="T16" fmla="*/ 12 w 20"/>
                    <a:gd name="T17" fmla="*/ 0 h 21"/>
                    <a:gd name="T18" fmla="*/ 4 w 20"/>
                    <a:gd name="T19" fmla="*/ 10 h 21"/>
                    <a:gd name="T20" fmla="*/ 0 w 20"/>
                    <a:gd name="T21" fmla="*/ 18 h 21"/>
                    <a:gd name="T22" fmla="*/ 1 w 20"/>
                    <a:gd name="T23" fmla="*/ 21 h 21"/>
                    <a:gd name="T24" fmla="*/ 4 w 20"/>
                    <a:gd name="T25" fmla="*/ 21 h 21"/>
                    <a:gd name="T26" fmla="*/ 8 w 20"/>
                    <a:gd name="T27" fmla="*/ 19 h 21"/>
                    <a:gd name="T28" fmla="*/ 11 w 20"/>
                    <a:gd name="T29" fmla="*/ 21 h 21"/>
                    <a:gd name="T30" fmla="*/ 16 w 20"/>
                    <a:gd name="T31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0" h="21">
                      <a:moveTo>
                        <a:pt x="16" y="21"/>
                      </a:moveTo>
                      <a:lnTo>
                        <a:pt x="17" y="21"/>
                      </a:lnTo>
                      <a:lnTo>
                        <a:pt x="20" y="19"/>
                      </a:lnTo>
                      <a:lnTo>
                        <a:pt x="17" y="16"/>
                      </a:lnTo>
                      <a:lnTo>
                        <a:pt x="14" y="15"/>
                      </a:lnTo>
                      <a:lnTo>
                        <a:pt x="14" y="11"/>
                      </a:lnTo>
                      <a:lnTo>
                        <a:pt x="12" y="8"/>
                      </a:lnTo>
                      <a:lnTo>
                        <a:pt x="12" y="5"/>
                      </a:lnTo>
                      <a:lnTo>
                        <a:pt x="12" y="0"/>
                      </a:lnTo>
                      <a:lnTo>
                        <a:pt x="4" y="10"/>
                      </a:lnTo>
                      <a:lnTo>
                        <a:pt x="0" y="18"/>
                      </a:lnTo>
                      <a:lnTo>
                        <a:pt x="1" y="21"/>
                      </a:lnTo>
                      <a:lnTo>
                        <a:pt x="4" y="21"/>
                      </a:lnTo>
                      <a:lnTo>
                        <a:pt x="8" y="19"/>
                      </a:lnTo>
                      <a:lnTo>
                        <a:pt x="11" y="21"/>
                      </a:lnTo>
                      <a:lnTo>
                        <a:pt x="16" y="21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65" name="Freeform 170"/>
                <p:cNvSpPr>
                  <a:spLocks/>
                </p:cNvSpPr>
                <p:nvPr/>
              </p:nvSpPr>
              <p:spPr bwMode="auto">
                <a:xfrm>
                  <a:off x="4942" y="2719"/>
                  <a:ext cx="20" cy="14"/>
                </a:xfrm>
                <a:custGeom>
                  <a:avLst/>
                  <a:gdLst>
                    <a:gd name="T0" fmla="*/ 30 w 40"/>
                    <a:gd name="T1" fmla="*/ 8 h 28"/>
                    <a:gd name="T2" fmla="*/ 27 w 40"/>
                    <a:gd name="T3" fmla="*/ 4 h 28"/>
                    <a:gd name="T4" fmla="*/ 24 w 40"/>
                    <a:gd name="T5" fmla="*/ 4 h 28"/>
                    <a:gd name="T6" fmla="*/ 22 w 40"/>
                    <a:gd name="T7" fmla="*/ 8 h 28"/>
                    <a:gd name="T8" fmla="*/ 19 w 40"/>
                    <a:gd name="T9" fmla="*/ 4 h 28"/>
                    <a:gd name="T10" fmla="*/ 16 w 40"/>
                    <a:gd name="T11" fmla="*/ 6 h 28"/>
                    <a:gd name="T12" fmla="*/ 11 w 40"/>
                    <a:gd name="T13" fmla="*/ 8 h 28"/>
                    <a:gd name="T14" fmla="*/ 8 w 40"/>
                    <a:gd name="T15" fmla="*/ 6 h 28"/>
                    <a:gd name="T16" fmla="*/ 6 w 40"/>
                    <a:gd name="T17" fmla="*/ 3 h 28"/>
                    <a:gd name="T18" fmla="*/ 2 w 40"/>
                    <a:gd name="T19" fmla="*/ 1 h 28"/>
                    <a:gd name="T20" fmla="*/ 0 w 40"/>
                    <a:gd name="T21" fmla="*/ 4 h 28"/>
                    <a:gd name="T22" fmla="*/ 0 w 40"/>
                    <a:gd name="T23" fmla="*/ 8 h 28"/>
                    <a:gd name="T24" fmla="*/ 0 w 40"/>
                    <a:gd name="T25" fmla="*/ 11 h 28"/>
                    <a:gd name="T26" fmla="*/ 2 w 40"/>
                    <a:gd name="T27" fmla="*/ 15 h 28"/>
                    <a:gd name="T28" fmla="*/ 2 w 40"/>
                    <a:gd name="T29" fmla="*/ 19 h 28"/>
                    <a:gd name="T30" fmla="*/ 6 w 40"/>
                    <a:gd name="T31" fmla="*/ 20 h 28"/>
                    <a:gd name="T32" fmla="*/ 10 w 40"/>
                    <a:gd name="T33" fmla="*/ 25 h 28"/>
                    <a:gd name="T34" fmla="*/ 13 w 40"/>
                    <a:gd name="T35" fmla="*/ 27 h 28"/>
                    <a:gd name="T36" fmla="*/ 16 w 40"/>
                    <a:gd name="T37" fmla="*/ 28 h 28"/>
                    <a:gd name="T38" fmla="*/ 19 w 40"/>
                    <a:gd name="T39" fmla="*/ 28 h 28"/>
                    <a:gd name="T40" fmla="*/ 22 w 40"/>
                    <a:gd name="T41" fmla="*/ 25 h 28"/>
                    <a:gd name="T42" fmla="*/ 27 w 40"/>
                    <a:gd name="T43" fmla="*/ 23 h 28"/>
                    <a:gd name="T44" fmla="*/ 30 w 40"/>
                    <a:gd name="T45" fmla="*/ 22 h 28"/>
                    <a:gd name="T46" fmla="*/ 33 w 40"/>
                    <a:gd name="T47" fmla="*/ 17 h 28"/>
                    <a:gd name="T48" fmla="*/ 36 w 40"/>
                    <a:gd name="T49" fmla="*/ 15 h 28"/>
                    <a:gd name="T50" fmla="*/ 38 w 40"/>
                    <a:gd name="T51" fmla="*/ 12 h 28"/>
                    <a:gd name="T52" fmla="*/ 40 w 40"/>
                    <a:gd name="T53" fmla="*/ 9 h 28"/>
                    <a:gd name="T54" fmla="*/ 38 w 40"/>
                    <a:gd name="T55" fmla="*/ 6 h 28"/>
                    <a:gd name="T56" fmla="*/ 38 w 40"/>
                    <a:gd name="T57" fmla="*/ 3 h 28"/>
                    <a:gd name="T58" fmla="*/ 33 w 40"/>
                    <a:gd name="T59" fmla="*/ 1 h 28"/>
                    <a:gd name="T60" fmla="*/ 30 w 40"/>
                    <a:gd name="T61" fmla="*/ 0 h 28"/>
                    <a:gd name="T62" fmla="*/ 29 w 40"/>
                    <a:gd name="T63" fmla="*/ 3 h 28"/>
                    <a:gd name="T64" fmla="*/ 30 w 40"/>
                    <a:gd name="T65" fmla="*/ 8 h 28"/>
                    <a:gd name="T66" fmla="*/ 30 w 40"/>
                    <a:gd name="T67" fmla="*/ 8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40" h="28">
                      <a:moveTo>
                        <a:pt x="30" y="8"/>
                      </a:moveTo>
                      <a:lnTo>
                        <a:pt x="27" y="4"/>
                      </a:lnTo>
                      <a:lnTo>
                        <a:pt x="24" y="4"/>
                      </a:lnTo>
                      <a:lnTo>
                        <a:pt x="22" y="8"/>
                      </a:lnTo>
                      <a:lnTo>
                        <a:pt x="19" y="4"/>
                      </a:lnTo>
                      <a:lnTo>
                        <a:pt x="16" y="6"/>
                      </a:lnTo>
                      <a:lnTo>
                        <a:pt x="11" y="8"/>
                      </a:lnTo>
                      <a:lnTo>
                        <a:pt x="8" y="6"/>
                      </a:lnTo>
                      <a:lnTo>
                        <a:pt x="6" y="3"/>
                      </a:lnTo>
                      <a:lnTo>
                        <a:pt x="2" y="1"/>
                      </a:ln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11"/>
                      </a:lnTo>
                      <a:lnTo>
                        <a:pt x="2" y="15"/>
                      </a:lnTo>
                      <a:lnTo>
                        <a:pt x="2" y="19"/>
                      </a:lnTo>
                      <a:lnTo>
                        <a:pt x="6" y="20"/>
                      </a:lnTo>
                      <a:lnTo>
                        <a:pt x="10" y="25"/>
                      </a:lnTo>
                      <a:lnTo>
                        <a:pt x="13" y="27"/>
                      </a:lnTo>
                      <a:lnTo>
                        <a:pt x="16" y="28"/>
                      </a:lnTo>
                      <a:lnTo>
                        <a:pt x="19" y="28"/>
                      </a:lnTo>
                      <a:lnTo>
                        <a:pt x="22" y="25"/>
                      </a:lnTo>
                      <a:lnTo>
                        <a:pt x="27" y="23"/>
                      </a:lnTo>
                      <a:lnTo>
                        <a:pt x="30" y="22"/>
                      </a:lnTo>
                      <a:lnTo>
                        <a:pt x="33" y="17"/>
                      </a:lnTo>
                      <a:lnTo>
                        <a:pt x="36" y="15"/>
                      </a:lnTo>
                      <a:lnTo>
                        <a:pt x="38" y="12"/>
                      </a:lnTo>
                      <a:lnTo>
                        <a:pt x="40" y="9"/>
                      </a:lnTo>
                      <a:lnTo>
                        <a:pt x="38" y="6"/>
                      </a:lnTo>
                      <a:lnTo>
                        <a:pt x="38" y="3"/>
                      </a:lnTo>
                      <a:lnTo>
                        <a:pt x="33" y="1"/>
                      </a:lnTo>
                      <a:lnTo>
                        <a:pt x="30" y="0"/>
                      </a:lnTo>
                      <a:lnTo>
                        <a:pt x="29" y="3"/>
                      </a:lnTo>
                      <a:lnTo>
                        <a:pt x="30" y="8"/>
                      </a:lnTo>
                      <a:lnTo>
                        <a:pt x="30" y="8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66" name="Freeform 171"/>
                <p:cNvSpPr>
                  <a:spLocks/>
                </p:cNvSpPr>
                <p:nvPr/>
              </p:nvSpPr>
              <p:spPr bwMode="auto">
                <a:xfrm>
                  <a:off x="5000" y="3321"/>
                  <a:ext cx="71" cy="60"/>
                </a:xfrm>
                <a:custGeom>
                  <a:avLst/>
                  <a:gdLst>
                    <a:gd name="T0" fmla="*/ 65 w 143"/>
                    <a:gd name="T1" fmla="*/ 94 h 121"/>
                    <a:gd name="T2" fmla="*/ 66 w 143"/>
                    <a:gd name="T3" fmla="*/ 92 h 121"/>
                    <a:gd name="T4" fmla="*/ 76 w 143"/>
                    <a:gd name="T5" fmla="*/ 91 h 121"/>
                    <a:gd name="T6" fmla="*/ 73 w 143"/>
                    <a:gd name="T7" fmla="*/ 94 h 121"/>
                    <a:gd name="T8" fmla="*/ 66 w 143"/>
                    <a:gd name="T9" fmla="*/ 102 h 121"/>
                    <a:gd name="T10" fmla="*/ 73 w 143"/>
                    <a:gd name="T11" fmla="*/ 105 h 121"/>
                    <a:gd name="T12" fmla="*/ 81 w 143"/>
                    <a:gd name="T13" fmla="*/ 95 h 121"/>
                    <a:gd name="T14" fmla="*/ 82 w 143"/>
                    <a:gd name="T15" fmla="*/ 87 h 121"/>
                    <a:gd name="T16" fmla="*/ 89 w 143"/>
                    <a:gd name="T17" fmla="*/ 78 h 121"/>
                    <a:gd name="T18" fmla="*/ 98 w 143"/>
                    <a:gd name="T19" fmla="*/ 70 h 121"/>
                    <a:gd name="T20" fmla="*/ 106 w 143"/>
                    <a:gd name="T21" fmla="*/ 59 h 121"/>
                    <a:gd name="T22" fmla="*/ 112 w 143"/>
                    <a:gd name="T23" fmla="*/ 59 h 121"/>
                    <a:gd name="T24" fmla="*/ 112 w 143"/>
                    <a:gd name="T25" fmla="*/ 64 h 121"/>
                    <a:gd name="T26" fmla="*/ 117 w 143"/>
                    <a:gd name="T27" fmla="*/ 53 h 121"/>
                    <a:gd name="T28" fmla="*/ 123 w 143"/>
                    <a:gd name="T29" fmla="*/ 43 h 121"/>
                    <a:gd name="T30" fmla="*/ 130 w 143"/>
                    <a:gd name="T31" fmla="*/ 32 h 121"/>
                    <a:gd name="T32" fmla="*/ 135 w 143"/>
                    <a:gd name="T33" fmla="*/ 21 h 121"/>
                    <a:gd name="T34" fmla="*/ 141 w 143"/>
                    <a:gd name="T35" fmla="*/ 8 h 121"/>
                    <a:gd name="T36" fmla="*/ 128 w 143"/>
                    <a:gd name="T37" fmla="*/ 10 h 121"/>
                    <a:gd name="T38" fmla="*/ 119 w 143"/>
                    <a:gd name="T39" fmla="*/ 11 h 121"/>
                    <a:gd name="T40" fmla="*/ 108 w 143"/>
                    <a:gd name="T41" fmla="*/ 13 h 121"/>
                    <a:gd name="T42" fmla="*/ 97 w 143"/>
                    <a:gd name="T43" fmla="*/ 15 h 121"/>
                    <a:gd name="T44" fmla="*/ 92 w 143"/>
                    <a:gd name="T45" fmla="*/ 19 h 121"/>
                    <a:gd name="T46" fmla="*/ 89 w 143"/>
                    <a:gd name="T47" fmla="*/ 18 h 121"/>
                    <a:gd name="T48" fmla="*/ 65 w 143"/>
                    <a:gd name="T49" fmla="*/ 19 h 121"/>
                    <a:gd name="T50" fmla="*/ 57 w 143"/>
                    <a:gd name="T51" fmla="*/ 13 h 121"/>
                    <a:gd name="T52" fmla="*/ 46 w 143"/>
                    <a:gd name="T53" fmla="*/ 8 h 121"/>
                    <a:gd name="T54" fmla="*/ 39 w 143"/>
                    <a:gd name="T55" fmla="*/ 7 h 121"/>
                    <a:gd name="T56" fmla="*/ 30 w 143"/>
                    <a:gd name="T57" fmla="*/ 0 h 121"/>
                    <a:gd name="T58" fmla="*/ 22 w 143"/>
                    <a:gd name="T59" fmla="*/ 10 h 121"/>
                    <a:gd name="T60" fmla="*/ 17 w 143"/>
                    <a:gd name="T61" fmla="*/ 21 h 121"/>
                    <a:gd name="T62" fmla="*/ 12 w 143"/>
                    <a:gd name="T63" fmla="*/ 32 h 121"/>
                    <a:gd name="T64" fmla="*/ 12 w 143"/>
                    <a:gd name="T65" fmla="*/ 41 h 121"/>
                    <a:gd name="T66" fmla="*/ 16 w 143"/>
                    <a:gd name="T67" fmla="*/ 53 h 121"/>
                    <a:gd name="T68" fmla="*/ 9 w 143"/>
                    <a:gd name="T69" fmla="*/ 64 h 121"/>
                    <a:gd name="T70" fmla="*/ 14 w 143"/>
                    <a:gd name="T71" fmla="*/ 68 h 121"/>
                    <a:gd name="T72" fmla="*/ 11 w 143"/>
                    <a:gd name="T73" fmla="*/ 72 h 121"/>
                    <a:gd name="T74" fmla="*/ 6 w 143"/>
                    <a:gd name="T75" fmla="*/ 68 h 121"/>
                    <a:gd name="T76" fmla="*/ 1 w 143"/>
                    <a:gd name="T77" fmla="*/ 80 h 121"/>
                    <a:gd name="T78" fmla="*/ 0 w 143"/>
                    <a:gd name="T79" fmla="*/ 89 h 121"/>
                    <a:gd name="T80" fmla="*/ 1 w 143"/>
                    <a:gd name="T81" fmla="*/ 100 h 121"/>
                    <a:gd name="T82" fmla="*/ 6 w 143"/>
                    <a:gd name="T83" fmla="*/ 105 h 121"/>
                    <a:gd name="T84" fmla="*/ 14 w 143"/>
                    <a:gd name="T85" fmla="*/ 110 h 121"/>
                    <a:gd name="T86" fmla="*/ 5 w 143"/>
                    <a:gd name="T87" fmla="*/ 113 h 121"/>
                    <a:gd name="T88" fmla="*/ 9 w 143"/>
                    <a:gd name="T89" fmla="*/ 114 h 121"/>
                    <a:gd name="T90" fmla="*/ 20 w 143"/>
                    <a:gd name="T91" fmla="*/ 114 h 121"/>
                    <a:gd name="T92" fmla="*/ 28 w 143"/>
                    <a:gd name="T93" fmla="*/ 121 h 121"/>
                    <a:gd name="T94" fmla="*/ 38 w 143"/>
                    <a:gd name="T95" fmla="*/ 111 h 121"/>
                    <a:gd name="T96" fmla="*/ 43 w 143"/>
                    <a:gd name="T97" fmla="*/ 105 h 121"/>
                    <a:gd name="T98" fmla="*/ 46 w 143"/>
                    <a:gd name="T99" fmla="*/ 105 h 121"/>
                    <a:gd name="T100" fmla="*/ 55 w 143"/>
                    <a:gd name="T101" fmla="*/ 99 h 121"/>
                    <a:gd name="T102" fmla="*/ 63 w 143"/>
                    <a:gd name="T103" fmla="*/ 89 h 1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43" h="121">
                      <a:moveTo>
                        <a:pt x="63" y="86"/>
                      </a:moveTo>
                      <a:lnTo>
                        <a:pt x="63" y="89"/>
                      </a:lnTo>
                      <a:lnTo>
                        <a:pt x="65" y="94"/>
                      </a:lnTo>
                      <a:lnTo>
                        <a:pt x="60" y="95"/>
                      </a:lnTo>
                      <a:lnTo>
                        <a:pt x="65" y="95"/>
                      </a:lnTo>
                      <a:lnTo>
                        <a:pt x="66" y="92"/>
                      </a:lnTo>
                      <a:lnTo>
                        <a:pt x="68" y="89"/>
                      </a:lnTo>
                      <a:lnTo>
                        <a:pt x="73" y="89"/>
                      </a:lnTo>
                      <a:lnTo>
                        <a:pt x="76" y="91"/>
                      </a:lnTo>
                      <a:lnTo>
                        <a:pt x="76" y="95"/>
                      </a:lnTo>
                      <a:lnTo>
                        <a:pt x="73" y="97"/>
                      </a:lnTo>
                      <a:lnTo>
                        <a:pt x="73" y="94"/>
                      </a:lnTo>
                      <a:lnTo>
                        <a:pt x="70" y="95"/>
                      </a:lnTo>
                      <a:lnTo>
                        <a:pt x="68" y="99"/>
                      </a:lnTo>
                      <a:lnTo>
                        <a:pt x="66" y="102"/>
                      </a:lnTo>
                      <a:lnTo>
                        <a:pt x="70" y="103"/>
                      </a:lnTo>
                      <a:lnTo>
                        <a:pt x="73" y="100"/>
                      </a:lnTo>
                      <a:lnTo>
                        <a:pt x="73" y="105"/>
                      </a:lnTo>
                      <a:lnTo>
                        <a:pt x="78" y="102"/>
                      </a:lnTo>
                      <a:lnTo>
                        <a:pt x="78" y="99"/>
                      </a:lnTo>
                      <a:lnTo>
                        <a:pt x="81" y="95"/>
                      </a:lnTo>
                      <a:lnTo>
                        <a:pt x="82" y="91"/>
                      </a:lnTo>
                      <a:lnTo>
                        <a:pt x="79" y="91"/>
                      </a:lnTo>
                      <a:lnTo>
                        <a:pt x="82" y="87"/>
                      </a:lnTo>
                      <a:lnTo>
                        <a:pt x="85" y="84"/>
                      </a:lnTo>
                      <a:lnTo>
                        <a:pt x="89" y="81"/>
                      </a:lnTo>
                      <a:lnTo>
                        <a:pt x="89" y="78"/>
                      </a:lnTo>
                      <a:lnTo>
                        <a:pt x="92" y="76"/>
                      </a:lnTo>
                      <a:lnTo>
                        <a:pt x="95" y="73"/>
                      </a:lnTo>
                      <a:lnTo>
                        <a:pt x="98" y="70"/>
                      </a:lnTo>
                      <a:lnTo>
                        <a:pt x="100" y="65"/>
                      </a:lnTo>
                      <a:lnTo>
                        <a:pt x="103" y="64"/>
                      </a:lnTo>
                      <a:lnTo>
                        <a:pt x="106" y="59"/>
                      </a:lnTo>
                      <a:lnTo>
                        <a:pt x="109" y="59"/>
                      </a:lnTo>
                      <a:lnTo>
                        <a:pt x="111" y="56"/>
                      </a:lnTo>
                      <a:lnTo>
                        <a:pt x="112" y="59"/>
                      </a:lnTo>
                      <a:lnTo>
                        <a:pt x="111" y="62"/>
                      </a:lnTo>
                      <a:lnTo>
                        <a:pt x="109" y="65"/>
                      </a:lnTo>
                      <a:lnTo>
                        <a:pt x="112" y="64"/>
                      </a:lnTo>
                      <a:lnTo>
                        <a:pt x="114" y="60"/>
                      </a:lnTo>
                      <a:lnTo>
                        <a:pt x="116" y="56"/>
                      </a:lnTo>
                      <a:lnTo>
                        <a:pt x="117" y="53"/>
                      </a:lnTo>
                      <a:lnTo>
                        <a:pt x="119" y="49"/>
                      </a:lnTo>
                      <a:lnTo>
                        <a:pt x="120" y="46"/>
                      </a:lnTo>
                      <a:lnTo>
                        <a:pt x="123" y="43"/>
                      </a:lnTo>
                      <a:lnTo>
                        <a:pt x="127" y="38"/>
                      </a:lnTo>
                      <a:lnTo>
                        <a:pt x="127" y="35"/>
                      </a:lnTo>
                      <a:lnTo>
                        <a:pt x="130" y="32"/>
                      </a:lnTo>
                      <a:lnTo>
                        <a:pt x="133" y="29"/>
                      </a:lnTo>
                      <a:lnTo>
                        <a:pt x="135" y="24"/>
                      </a:lnTo>
                      <a:lnTo>
                        <a:pt x="135" y="21"/>
                      </a:lnTo>
                      <a:lnTo>
                        <a:pt x="141" y="16"/>
                      </a:lnTo>
                      <a:lnTo>
                        <a:pt x="143" y="13"/>
                      </a:lnTo>
                      <a:lnTo>
                        <a:pt x="141" y="8"/>
                      </a:lnTo>
                      <a:lnTo>
                        <a:pt x="135" y="5"/>
                      </a:lnTo>
                      <a:lnTo>
                        <a:pt x="131" y="8"/>
                      </a:lnTo>
                      <a:lnTo>
                        <a:pt x="128" y="10"/>
                      </a:lnTo>
                      <a:lnTo>
                        <a:pt x="125" y="10"/>
                      </a:lnTo>
                      <a:lnTo>
                        <a:pt x="122" y="8"/>
                      </a:lnTo>
                      <a:lnTo>
                        <a:pt x="119" y="11"/>
                      </a:lnTo>
                      <a:lnTo>
                        <a:pt x="114" y="13"/>
                      </a:lnTo>
                      <a:lnTo>
                        <a:pt x="111" y="15"/>
                      </a:lnTo>
                      <a:lnTo>
                        <a:pt x="108" y="13"/>
                      </a:lnTo>
                      <a:lnTo>
                        <a:pt x="104" y="15"/>
                      </a:lnTo>
                      <a:lnTo>
                        <a:pt x="100" y="15"/>
                      </a:lnTo>
                      <a:lnTo>
                        <a:pt x="97" y="15"/>
                      </a:lnTo>
                      <a:lnTo>
                        <a:pt x="93" y="15"/>
                      </a:lnTo>
                      <a:lnTo>
                        <a:pt x="90" y="16"/>
                      </a:lnTo>
                      <a:lnTo>
                        <a:pt x="92" y="19"/>
                      </a:lnTo>
                      <a:lnTo>
                        <a:pt x="92" y="21"/>
                      </a:lnTo>
                      <a:lnTo>
                        <a:pt x="89" y="21"/>
                      </a:lnTo>
                      <a:lnTo>
                        <a:pt x="89" y="18"/>
                      </a:lnTo>
                      <a:lnTo>
                        <a:pt x="79" y="21"/>
                      </a:lnTo>
                      <a:lnTo>
                        <a:pt x="70" y="21"/>
                      </a:lnTo>
                      <a:lnTo>
                        <a:pt x="65" y="19"/>
                      </a:lnTo>
                      <a:lnTo>
                        <a:pt x="62" y="16"/>
                      </a:lnTo>
                      <a:lnTo>
                        <a:pt x="58" y="16"/>
                      </a:lnTo>
                      <a:lnTo>
                        <a:pt x="57" y="13"/>
                      </a:lnTo>
                      <a:lnTo>
                        <a:pt x="54" y="11"/>
                      </a:lnTo>
                      <a:lnTo>
                        <a:pt x="49" y="10"/>
                      </a:lnTo>
                      <a:lnTo>
                        <a:pt x="46" y="8"/>
                      </a:lnTo>
                      <a:lnTo>
                        <a:pt x="47" y="5"/>
                      </a:lnTo>
                      <a:lnTo>
                        <a:pt x="44" y="7"/>
                      </a:lnTo>
                      <a:lnTo>
                        <a:pt x="39" y="7"/>
                      </a:lnTo>
                      <a:lnTo>
                        <a:pt x="36" y="5"/>
                      </a:lnTo>
                      <a:lnTo>
                        <a:pt x="33" y="3"/>
                      </a:lnTo>
                      <a:lnTo>
                        <a:pt x="30" y="0"/>
                      </a:lnTo>
                      <a:lnTo>
                        <a:pt x="27" y="3"/>
                      </a:lnTo>
                      <a:lnTo>
                        <a:pt x="25" y="8"/>
                      </a:lnTo>
                      <a:lnTo>
                        <a:pt x="22" y="10"/>
                      </a:lnTo>
                      <a:lnTo>
                        <a:pt x="19" y="15"/>
                      </a:lnTo>
                      <a:lnTo>
                        <a:pt x="19" y="18"/>
                      </a:lnTo>
                      <a:lnTo>
                        <a:pt x="17" y="21"/>
                      </a:lnTo>
                      <a:lnTo>
                        <a:pt x="16" y="24"/>
                      </a:lnTo>
                      <a:lnTo>
                        <a:pt x="16" y="27"/>
                      </a:lnTo>
                      <a:lnTo>
                        <a:pt x="12" y="32"/>
                      </a:lnTo>
                      <a:lnTo>
                        <a:pt x="14" y="35"/>
                      </a:lnTo>
                      <a:lnTo>
                        <a:pt x="12" y="38"/>
                      </a:lnTo>
                      <a:lnTo>
                        <a:pt x="12" y="41"/>
                      </a:lnTo>
                      <a:lnTo>
                        <a:pt x="12" y="45"/>
                      </a:lnTo>
                      <a:lnTo>
                        <a:pt x="12" y="49"/>
                      </a:lnTo>
                      <a:lnTo>
                        <a:pt x="16" y="53"/>
                      </a:lnTo>
                      <a:lnTo>
                        <a:pt x="14" y="56"/>
                      </a:lnTo>
                      <a:lnTo>
                        <a:pt x="12" y="60"/>
                      </a:lnTo>
                      <a:lnTo>
                        <a:pt x="9" y="64"/>
                      </a:lnTo>
                      <a:lnTo>
                        <a:pt x="14" y="60"/>
                      </a:lnTo>
                      <a:lnTo>
                        <a:pt x="14" y="65"/>
                      </a:lnTo>
                      <a:lnTo>
                        <a:pt x="14" y="68"/>
                      </a:lnTo>
                      <a:lnTo>
                        <a:pt x="14" y="72"/>
                      </a:lnTo>
                      <a:lnTo>
                        <a:pt x="11" y="75"/>
                      </a:lnTo>
                      <a:lnTo>
                        <a:pt x="11" y="72"/>
                      </a:lnTo>
                      <a:lnTo>
                        <a:pt x="11" y="68"/>
                      </a:lnTo>
                      <a:lnTo>
                        <a:pt x="9" y="65"/>
                      </a:lnTo>
                      <a:lnTo>
                        <a:pt x="6" y="68"/>
                      </a:lnTo>
                      <a:lnTo>
                        <a:pt x="5" y="72"/>
                      </a:lnTo>
                      <a:lnTo>
                        <a:pt x="3" y="75"/>
                      </a:lnTo>
                      <a:lnTo>
                        <a:pt x="1" y="80"/>
                      </a:lnTo>
                      <a:lnTo>
                        <a:pt x="3" y="83"/>
                      </a:lnTo>
                      <a:lnTo>
                        <a:pt x="1" y="86"/>
                      </a:lnTo>
                      <a:lnTo>
                        <a:pt x="0" y="89"/>
                      </a:lnTo>
                      <a:lnTo>
                        <a:pt x="0" y="92"/>
                      </a:lnTo>
                      <a:lnTo>
                        <a:pt x="3" y="95"/>
                      </a:lnTo>
                      <a:lnTo>
                        <a:pt x="1" y="100"/>
                      </a:lnTo>
                      <a:lnTo>
                        <a:pt x="3" y="103"/>
                      </a:lnTo>
                      <a:lnTo>
                        <a:pt x="3" y="106"/>
                      </a:lnTo>
                      <a:lnTo>
                        <a:pt x="6" y="105"/>
                      </a:lnTo>
                      <a:lnTo>
                        <a:pt x="9" y="106"/>
                      </a:lnTo>
                      <a:lnTo>
                        <a:pt x="12" y="106"/>
                      </a:lnTo>
                      <a:lnTo>
                        <a:pt x="14" y="110"/>
                      </a:lnTo>
                      <a:lnTo>
                        <a:pt x="9" y="113"/>
                      </a:lnTo>
                      <a:lnTo>
                        <a:pt x="6" y="110"/>
                      </a:lnTo>
                      <a:lnTo>
                        <a:pt x="5" y="113"/>
                      </a:lnTo>
                      <a:lnTo>
                        <a:pt x="3" y="116"/>
                      </a:lnTo>
                      <a:lnTo>
                        <a:pt x="6" y="116"/>
                      </a:lnTo>
                      <a:lnTo>
                        <a:pt x="9" y="114"/>
                      </a:lnTo>
                      <a:lnTo>
                        <a:pt x="12" y="116"/>
                      </a:lnTo>
                      <a:lnTo>
                        <a:pt x="17" y="118"/>
                      </a:lnTo>
                      <a:lnTo>
                        <a:pt x="20" y="114"/>
                      </a:lnTo>
                      <a:lnTo>
                        <a:pt x="22" y="119"/>
                      </a:lnTo>
                      <a:lnTo>
                        <a:pt x="25" y="119"/>
                      </a:lnTo>
                      <a:lnTo>
                        <a:pt x="28" y="121"/>
                      </a:lnTo>
                      <a:lnTo>
                        <a:pt x="30" y="118"/>
                      </a:lnTo>
                      <a:lnTo>
                        <a:pt x="35" y="114"/>
                      </a:lnTo>
                      <a:lnTo>
                        <a:pt x="38" y="111"/>
                      </a:lnTo>
                      <a:lnTo>
                        <a:pt x="39" y="108"/>
                      </a:lnTo>
                      <a:lnTo>
                        <a:pt x="43" y="108"/>
                      </a:lnTo>
                      <a:lnTo>
                        <a:pt x="43" y="105"/>
                      </a:lnTo>
                      <a:lnTo>
                        <a:pt x="44" y="100"/>
                      </a:lnTo>
                      <a:lnTo>
                        <a:pt x="47" y="102"/>
                      </a:lnTo>
                      <a:lnTo>
                        <a:pt x="46" y="105"/>
                      </a:lnTo>
                      <a:lnTo>
                        <a:pt x="51" y="105"/>
                      </a:lnTo>
                      <a:lnTo>
                        <a:pt x="52" y="102"/>
                      </a:lnTo>
                      <a:lnTo>
                        <a:pt x="55" y="99"/>
                      </a:lnTo>
                      <a:lnTo>
                        <a:pt x="58" y="95"/>
                      </a:lnTo>
                      <a:lnTo>
                        <a:pt x="62" y="92"/>
                      </a:lnTo>
                      <a:lnTo>
                        <a:pt x="63" y="89"/>
                      </a:lnTo>
                      <a:lnTo>
                        <a:pt x="63" y="86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67" name="Freeform 172"/>
                <p:cNvSpPr>
                  <a:spLocks/>
                </p:cNvSpPr>
                <p:nvPr/>
              </p:nvSpPr>
              <p:spPr bwMode="auto">
                <a:xfrm>
                  <a:off x="5007" y="3299"/>
                  <a:ext cx="9" cy="11"/>
                </a:xfrm>
                <a:custGeom>
                  <a:avLst/>
                  <a:gdLst>
                    <a:gd name="T0" fmla="*/ 3 w 18"/>
                    <a:gd name="T1" fmla="*/ 16 h 21"/>
                    <a:gd name="T2" fmla="*/ 3 w 18"/>
                    <a:gd name="T3" fmla="*/ 18 h 21"/>
                    <a:gd name="T4" fmla="*/ 0 w 18"/>
                    <a:gd name="T5" fmla="*/ 21 h 21"/>
                    <a:gd name="T6" fmla="*/ 5 w 18"/>
                    <a:gd name="T7" fmla="*/ 21 h 21"/>
                    <a:gd name="T8" fmla="*/ 8 w 18"/>
                    <a:gd name="T9" fmla="*/ 19 h 21"/>
                    <a:gd name="T10" fmla="*/ 11 w 18"/>
                    <a:gd name="T11" fmla="*/ 16 h 21"/>
                    <a:gd name="T12" fmla="*/ 13 w 18"/>
                    <a:gd name="T13" fmla="*/ 15 h 21"/>
                    <a:gd name="T14" fmla="*/ 13 w 18"/>
                    <a:gd name="T15" fmla="*/ 12 h 21"/>
                    <a:gd name="T16" fmla="*/ 16 w 18"/>
                    <a:gd name="T17" fmla="*/ 8 h 21"/>
                    <a:gd name="T18" fmla="*/ 18 w 18"/>
                    <a:gd name="T19" fmla="*/ 4 h 21"/>
                    <a:gd name="T20" fmla="*/ 18 w 18"/>
                    <a:gd name="T21" fmla="*/ 0 h 21"/>
                    <a:gd name="T22" fmla="*/ 14 w 18"/>
                    <a:gd name="T23" fmla="*/ 0 h 21"/>
                    <a:gd name="T24" fmla="*/ 8 w 18"/>
                    <a:gd name="T25" fmla="*/ 8 h 21"/>
                    <a:gd name="T26" fmla="*/ 3 w 18"/>
                    <a:gd name="T27" fmla="*/ 16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8" h="21">
                      <a:moveTo>
                        <a:pt x="3" y="16"/>
                      </a:moveTo>
                      <a:lnTo>
                        <a:pt x="3" y="18"/>
                      </a:lnTo>
                      <a:lnTo>
                        <a:pt x="0" y="21"/>
                      </a:lnTo>
                      <a:lnTo>
                        <a:pt x="5" y="21"/>
                      </a:lnTo>
                      <a:lnTo>
                        <a:pt x="8" y="19"/>
                      </a:lnTo>
                      <a:lnTo>
                        <a:pt x="11" y="16"/>
                      </a:lnTo>
                      <a:lnTo>
                        <a:pt x="13" y="15"/>
                      </a:lnTo>
                      <a:lnTo>
                        <a:pt x="13" y="12"/>
                      </a:lnTo>
                      <a:lnTo>
                        <a:pt x="16" y="8"/>
                      </a:lnTo>
                      <a:lnTo>
                        <a:pt x="18" y="4"/>
                      </a:lnTo>
                      <a:lnTo>
                        <a:pt x="18" y="0"/>
                      </a:lnTo>
                      <a:lnTo>
                        <a:pt x="14" y="0"/>
                      </a:lnTo>
                      <a:lnTo>
                        <a:pt x="8" y="8"/>
                      </a:lnTo>
                      <a:lnTo>
                        <a:pt x="3" y="16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68" name="Freeform 173"/>
                <p:cNvSpPr>
                  <a:spLocks/>
                </p:cNvSpPr>
                <p:nvPr/>
              </p:nvSpPr>
              <p:spPr bwMode="auto">
                <a:xfrm>
                  <a:off x="5042" y="2770"/>
                  <a:ext cx="11" cy="12"/>
                </a:xfrm>
                <a:custGeom>
                  <a:avLst/>
                  <a:gdLst>
                    <a:gd name="T0" fmla="*/ 0 w 22"/>
                    <a:gd name="T1" fmla="*/ 21 h 25"/>
                    <a:gd name="T2" fmla="*/ 6 w 22"/>
                    <a:gd name="T3" fmla="*/ 24 h 25"/>
                    <a:gd name="T4" fmla="*/ 11 w 22"/>
                    <a:gd name="T5" fmla="*/ 25 h 25"/>
                    <a:gd name="T6" fmla="*/ 14 w 22"/>
                    <a:gd name="T7" fmla="*/ 24 h 25"/>
                    <a:gd name="T8" fmla="*/ 17 w 22"/>
                    <a:gd name="T9" fmla="*/ 25 h 25"/>
                    <a:gd name="T10" fmla="*/ 20 w 22"/>
                    <a:gd name="T11" fmla="*/ 22 h 25"/>
                    <a:gd name="T12" fmla="*/ 22 w 22"/>
                    <a:gd name="T13" fmla="*/ 19 h 25"/>
                    <a:gd name="T14" fmla="*/ 19 w 22"/>
                    <a:gd name="T15" fmla="*/ 22 h 25"/>
                    <a:gd name="T16" fmla="*/ 16 w 22"/>
                    <a:gd name="T17" fmla="*/ 19 h 25"/>
                    <a:gd name="T18" fmla="*/ 13 w 22"/>
                    <a:gd name="T19" fmla="*/ 16 h 25"/>
                    <a:gd name="T20" fmla="*/ 16 w 22"/>
                    <a:gd name="T21" fmla="*/ 14 h 25"/>
                    <a:gd name="T22" fmla="*/ 16 w 22"/>
                    <a:gd name="T23" fmla="*/ 11 h 25"/>
                    <a:gd name="T24" fmla="*/ 19 w 22"/>
                    <a:gd name="T25" fmla="*/ 10 h 25"/>
                    <a:gd name="T26" fmla="*/ 20 w 22"/>
                    <a:gd name="T27" fmla="*/ 6 h 25"/>
                    <a:gd name="T28" fmla="*/ 17 w 22"/>
                    <a:gd name="T29" fmla="*/ 5 h 25"/>
                    <a:gd name="T30" fmla="*/ 14 w 22"/>
                    <a:gd name="T31" fmla="*/ 6 h 25"/>
                    <a:gd name="T32" fmla="*/ 13 w 22"/>
                    <a:gd name="T33" fmla="*/ 3 h 25"/>
                    <a:gd name="T34" fmla="*/ 16 w 22"/>
                    <a:gd name="T35" fmla="*/ 0 h 25"/>
                    <a:gd name="T36" fmla="*/ 13 w 22"/>
                    <a:gd name="T37" fmla="*/ 2 h 25"/>
                    <a:gd name="T38" fmla="*/ 11 w 22"/>
                    <a:gd name="T39" fmla="*/ 5 h 25"/>
                    <a:gd name="T40" fmla="*/ 8 w 22"/>
                    <a:gd name="T41" fmla="*/ 5 h 25"/>
                    <a:gd name="T42" fmla="*/ 5 w 22"/>
                    <a:gd name="T43" fmla="*/ 6 h 25"/>
                    <a:gd name="T44" fmla="*/ 3 w 22"/>
                    <a:gd name="T45" fmla="*/ 10 h 25"/>
                    <a:gd name="T46" fmla="*/ 3 w 22"/>
                    <a:gd name="T47" fmla="*/ 13 h 25"/>
                    <a:gd name="T48" fmla="*/ 3 w 22"/>
                    <a:gd name="T49" fmla="*/ 16 h 25"/>
                    <a:gd name="T50" fmla="*/ 1 w 22"/>
                    <a:gd name="T51" fmla="*/ 19 h 25"/>
                    <a:gd name="T52" fmla="*/ 0 w 22"/>
                    <a:gd name="T53" fmla="*/ 21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22" h="25">
                      <a:moveTo>
                        <a:pt x="0" y="21"/>
                      </a:moveTo>
                      <a:lnTo>
                        <a:pt x="6" y="24"/>
                      </a:lnTo>
                      <a:lnTo>
                        <a:pt x="11" y="25"/>
                      </a:lnTo>
                      <a:lnTo>
                        <a:pt x="14" y="24"/>
                      </a:lnTo>
                      <a:lnTo>
                        <a:pt x="17" y="25"/>
                      </a:lnTo>
                      <a:lnTo>
                        <a:pt x="20" y="22"/>
                      </a:lnTo>
                      <a:lnTo>
                        <a:pt x="22" y="19"/>
                      </a:lnTo>
                      <a:lnTo>
                        <a:pt x="19" y="22"/>
                      </a:lnTo>
                      <a:lnTo>
                        <a:pt x="16" y="19"/>
                      </a:lnTo>
                      <a:lnTo>
                        <a:pt x="13" y="16"/>
                      </a:lnTo>
                      <a:lnTo>
                        <a:pt x="16" y="14"/>
                      </a:lnTo>
                      <a:lnTo>
                        <a:pt x="16" y="11"/>
                      </a:lnTo>
                      <a:lnTo>
                        <a:pt x="19" y="10"/>
                      </a:lnTo>
                      <a:lnTo>
                        <a:pt x="20" y="6"/>
                      </a:lnTo>
                      <a:lnTo>
                        <a:pt x="17" y="5"/>
                      </a:lnTo>
                      <a:lnTo>
                        <a:pt x="14" y="6"/>
                      </a:lnTo>
                      <a:lnTo>
                        <a:pt x="13" y="3"/>
                      </a:lnTo>
                      <a:lnTo>
                        <a:pt x="16" y="0"/>
                      </a:lnTo>
                      <a:lnTo>
                        <a:pt x="13" y="2"/>
                      </a:lnTo>
                      <a:lnTo>
                        <a:pt x="11" y="5"/>
                      </a:lnTo>
                      <a:lnTo>
                        <a:pt x="8" y="5"/>
                      </a:lnTo>
                      <a:lnTo>
                        <a:pt x="5" y="6"/>
                      </a:lnTo>
                      <a:lnTo>
                        <a:pt x="3" y="10"/>
                      </a:lnTo>
                      <a:lnTo>
                        <a:pt x="3" y="13"/>
                      </a:lnTo>
                      <a:lnTo>
                        <a:pt x="3" y="16"/>
                      </a:lnTo>
                      <a:lnTo>
                        <a:pt x="1" y="19"/>
                      </a:lnTo>
                      <a:lnTo>
                        <a:pt x="0" y="21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69" name="Freeform 174"/>
                <p:cNvSpPr>
                  <a:spLocks/>
                </p:cNvSpPr>
                <p:nvPr/>
              </p:nvSpPr>
              <p:spPr bwMode="auto">
                <a:xfrm>
                  <a:off x="5075" y="3302"/>
                  <a:ext cx="7" cy="11"/>
                </a:xfrm>
                <a:custGeom>
                  <a:avLst/>
                  <a:gdLst>
                    <a:gd name="T0" fmla="*/ 0 w 15"/>
                    <a:gd name="T1" fmla="*/ 9 h 20"/>
                    <a:gd name="T2" fmla="*/ 0 w 15"/>
                    <a:gd name="T3" fmla="*/ 12 h 20"/>
                    <a:gd name="T4" fmla="*/ 0 w 15"/>
                    <a:gd name="T5" fmla="*/ 20 h 20"/>
                    <a:gd name="T6" fmla="*/ 4 w 15"/>
                    <a:gd name="T7" fmla="*/ 20 h 20"/>
                    <a:gd name="T8" fmla="*/ 12 w 15"/>
                    <a:gd name="T9" fmla="*/ 17 h 20"/>
                    <a:gd name="T10" fmla="*/ 12 w 15"/>
                    <a:gd name="T11" fmla="*/ 14 h 20"/>
                    <a:gd name="T12" fmla="*/ 13 w 15"/>
                    <a:gd name="T13" fmla="*/ 9 h 20"/>
                    <a:gd name="T14" fmla="*/ 15 w 15"/>
                    <a:gd name="T15" fmla="*/ 8 h 20"/>
                    <a:gd name="T16" fmla="*/ 12 w 15"/>
                    <a:gd name="T17" fmla="*/ 6 h 20"/>
                    <a:gd name="T18" fmla="*/ 10 w 15"/>
                    <a:gd name="T19" fmla="*/ 3 h 20"/>
                    <a:gd name="T20" fmla="*/ 7 w 15"/>
                    <a:gd name="T21" fmla="*/ 0 h 20"/>
                    <a:gd name="T22" fmla="*/ 4 w 15"/>
                    <a:gd name="T23" fmla="*/ 3 h 20"/>
                    <a:gd name="T24" fmla="*/ 2 w 15"/>
                    <a:gd name="T25" fmla="*/ 6 h 20"/>
                    <a:gd name="T26" fmla="*/ 0 w 15"/>
                    <a:gd name="T27" fmla="*/ 9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5" h="20">
                      <a:moveTo>
                        <a:pt x="0" y="9"/>
                      </a:moveTo>
                      <a:lnTo>
                        <a:pt x="0" y="12"/>
                      </a:lnTo>
                      <a:lnTo>
                        <a:pt x="0" y="20"/>
                      </a:lnTo>
                      <a:lnTo>
                        <a:pt x="4" y="20"/>
                      </a:lnTo>
                      <a:lnTo>
                        <a:pt x="12" y="17"/>
                      </a:lnTo>
                      <a:lnTo>
                        <a:pt x="12" y="14"/>
                      </a:lnTo>
                      <a:lnTo>
                        <a:pt x="13" y="9"/>
                      </a:lnTo>
                      <a:lnTo>
                        <a:pt x="15" y="8"/>
                      </a:lnTo>
                      <a:lnTo>
                        <a:pt x="12" y="6"/>
                      </a:lnTo>
                      <a:lnTo>
                        <a:pt x="10" y="3"/>
                      </a:lnTo>
                      <a:lnTo>
                        <a:pt x="7" y="0"/>
                      </a:lnTo>
                      <a:lnTo>
                        <a:pt x="4" y="3"/>
                      </a:lnTo>
                      <a:lnTo>
                        <a:pt x="2" y="6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70" name="Freeform 175"/>
                <p:cNvSpPr>
                  <a:spLocks/>
                </p:cNvSpPr>
                <p:nvPr/>
              </p:nvSpPr>
              <p:spPr bwMode="auto">
                <a:xfrm>
                  <a:off x="4573" y="2709"/>
                  <a:ext cx="718" cy="581"/>
                </a:xfrm>
                <a:custGeom>
                  <a:avLst/>
                  <a:gdLst>
                    <a:gd name="T0" fmla="*/ 57 w 1435"/>
                    <a:gd name="T1" fmla="*/ 864 h 1160"/>
                    <a:gd name="T2" fmla="*/ 53 w 1435"/>
                    <a:gd name="T3" fmla="*/ 734 h 1160"/>
                    <a:gd name="T4" fmla="*/ 36 w 1435"/>
                    <a:gd name="T5" fmla="*/ 629 h 1160"/>
                    <a:gd name="T6" fmla="*/ 50 w 1435"/>
                    <a:gd name="T7" fmla="*/ 616 h 1160"/>
                    <a:gd name="T8" fmla="*/ 57 w 1435"/>
                    <a:gd name="T9" fmla="*/ 582 h 1160"/>
                    <a:gd name="T10" fmla="*/ 79 w 1435"/>
                    <a:gd name="T11" fmla="*/ 477 h 1160"/>
                    <a:gd name="T12" fmla="*/ 128 w 1435"/>
                    <a:gd name="T13" fmla="*/ 448 h 1160"/>
                    <a:gd name="T14" fmla="*/ 215 w 1435"/>
                    <a:gd name="T15" fmla="*/ 409 h 1160"/>
                    <a:gd name="T16" fmla="*/ 301 w 1435"/>
                    <a:gd name="T17" fmla="*/ 382 h 1160"/>
                    <a:gd name="T18" fmla="*/ 409 w 1435"/>
                    <a:gd name="T19" fmla="*/ 291 h 1160"/>
                    <a:gd name="T20" fmla="*/ 452 w 1435"/>
                    <a:gd name="T21" fmla="*/ 261 h 1160"/>
                    <a:gd name="T22" fmla="*/ 466 w 1435"/>
                    <a:gd name="T23" fmla="*/ 236 h 1160"/>
                    <a:gd name="T24" fmla="*/ 499 w 1435"/>
                    <a:gd name="T25" fmla="*/ 218 h 1160"/>
                    <a:gd name="T26" fmla="*/ 526 w 1435"/>
                    <a:gd name="T27" fmla="*/ 182 h 1160"/>
                    <a:gd name="T28" fmla="*/ 553 w 1435"/>
                    <a:gd name="T29" fmla="*/ 152 h 1160"/>
                    <a:gd name="T30" fmla="*/ 583 w 1435"/>
                    <a:gd name="T31" fmla="*/ 133 h 1160"/>
                    <a:gd name="T32" fmla="*/ 637 w 1435"/>
                    <a:gd name="T33" fmla="*/ 174 h 1160"/>
                    <a:gd name="T34" fmla="*/ 674 w 1435"/>
                    <a:gd name="T35" fmla="*/ 171 h 1160"/>
                    <a:gd name="T36" fmla="*/ 688 w 1435"/>
                    <a:gd name="T37" fmla="*/ 153 h 1160"/>
                    <a:gd name="T38" fmla="*/ 732 w 1435"/>
                    <a:gd name="T39" fmla="*/ 77 h 1160"/>
                    <a:gd name="T40" fmla="*/ 788 w 1435"/>
                    <a:gd name="T41" fmla="*/ 61 h 1160"/>
                    <a:gd name="T42" fmla="*/ 794 w 1435"/>
                    <a:gd name="T43" fmla="*/ 15 h 1160"/>
                    <a:gd name="T44" fmla="*/ 858 w 1435"/>
                    <a:gd name="T45" fmla="*/ 39 h 1160"/>
                    <a:gd name="T46" fmla="*/ 927 w 1435"/>
                    <a:gd name="T47" fmla="*/ 47 h 1160"/>
                    <a:gd name="T48" fmla="*/ 954 w 1435"/>
                    <a:gd name="T49" fmla="*/ 54 h 1160"/>
                    <a:gd name="T50" fmla="*/ 924 w 1435"/>
                    <a:gd name="T51" fmla="*/ 107 h 1160"/>
                    <a:gd name="T52" fmla="*/ 923 w 1435"/>
                    <a:gd name="T53" fmla="*/ 190 h 1160"/>
                    <a:gd name="T54" fmla="*/ 997 w 1435"/>
                    <a:gd name="T55" fmla="*/ 247 h 1160"/>
                    <a:gd name="T56" fmla="*/ 1080 w 1435"/>
                    <a:gd name="T57" fmla="*/ 263 h 1160"/>
                    <a:gd name="T58" fmla="*/ 1124 w 1435"/>
                    <a:gd name="T59" fmla="*/ 119 h 1160"/>
                    <a:gd name="T60" fmla="*/ 1143 w 1435"/>
                    <a:gd name="T61" fmla="*/ 55 h 1160"/>
                    <a:gd name="T62" fmla="*/ 1183 w 1435"/>
                    <a:gd name="T63" fmla="*/ 38 h 1160"/>
                    <a:gd name="T64" fmla="*/ 1200 w 1435"/>
                    <a:gd name="T65" fmla="*/ 138 h 1160"/>
                    <a:gd name="T66" fmla="*/ 1249 w 1435"/>
                    <a:gd name="T67" fmla="*/ 188 h 1160"/>
                    <a:gd name="T68" fmla="*/ 1262 w 1435"/>
                    <a:gd name="T69" fmla="*/ 279 h 1160"/>
                    <a:gd name="T70" fmla="*/ 1286 w 1435"/>
                    <a:gd name="T71" fmla="*/ 355 h 1160"/>
                    <a:gd name="T72" fmla="*/ 1335 w 1435"/>
                    <a:gd name="T73" fmla="*/ 398 h 1160"/>
                    <a:gd name="T74" fmla="*/ 1349 w 1435"/>
                    <a:gd name="T75" fmla="*/ 479 h 1160"/>
                    <a:gd name="T76" fmla="*/ 1378 w 1435"/>
                    <a:gd name="T77" fmla="*/ 518 h 1160"/>
                    <a:gd name="T78" fmla="*/ 1424 w 1435"/>
                    <a:gd name="T79" fmla="*/ 577 h 1160"/>
                    <a:gd name="T80" fmla="*/ 1414 w 1435"/>
                    <a:gd name="T81" fmla="*/ 678 h 1160"/>
                    <a:gd name="T82" fmla="*/ 1386 w 1435"/>
                    <a:gd name="T83" fmla="*/ 777 h 1160"/>
                    <a:gd name="T84" fmla="*/ 1316 w 1435"/>
                    <a:gd name="T85" fmla="*/ 888 h 1160"/>
                    <a:gd name="T86" fmla="*/ 1238 w 1435"/>
                    <a:gd name="T87" fmla="*/ 953 h 1160"/>
                    <a:gd name="T88" fmla="*/ 1168 w 1435"/>
                    <a:gd name="T89" fmla="*/ 1029 h 1160"/>
                    <a:gd name="T90" fmla="*/ 1076 w 1435"/>
                    <a:gd name="T91" fmla="*/ 1106 h 1160"/>
                    <a:gd name="T92" fmla="*/ 962 w 1435"/>
                    <a:gd name="T93" fmla="*/ 1148 h 1160"/>
                    <a:gd name="T94" fmla="*/ 948 w 1435"/>
                    <a:gd name="T95" fmla="*/ 1110 h 1160"/>
                    <a:gd name="T96" fmla="*/ 869 w 1435"/>
                    <a:gd name="T97" fmla="*/ 1140 h 1160"/>
                    <a:gd name="T98" fmla="*/ 793 w 1435"/>
                    <a:gd name="T99" fmla="*/ 1094 h 1160"/>
                    <a:gd name="T100" fmla="*/ 802 w 1435"/>
                    <a:gd name="T101" fmla="*/ 1021 h 1160"/>
                    <a:gd name="T102" fmla="*/ 783 w 1435"/>
                    <a:gd name="T103" fmla="*/ 1002 h 1160"/>
                    <a:gd name="T104" fmla="*/ 745 w 1435"/>
                    <a:gd name="T105" fmla="*/ 999 h 1160"/>
                    <a:gd name="T106" fmla="*/ 786 w 1435"/>
                    <a:gd name="T107" fmla="*/ 938 h 1160"/>
                    <a:gd name="T108" fmla="*/ 772 w 1435"/>
                    <a:gd name="T109" fmla="*/ 934 h 1160"/>
                    <a:gd name="T110" fmla="*/ 696 w 1435"/>
                    <a:gd name="T111" fmla="*/ 988 h 1160"/>
                    <a:gd name="T112" fmla="*/ 678 w 1435"/>
                    <a:gd name="T113" fmla="*/ 918 h 1160"/>
                    <a:gd name="T114" fmla="*/ 643 w 1435"/>
                    <a:gd name="T115" fmla="*/ 869 h 1160"/>
                    <a:gd name="T116" fmla="*/ 429 w 1435"/>
                    <a:gd name="T117" fmla="*/ 881 h 1160"/>
                    <a:gd name="T118" fmla="*/ 299 w 1435"/>
                    <a:gd name="T119" fmla="*/ 946 h 1160"/>
                    <a:gd name="T120" fmla="*/ 185 w 1435"/>
                    <a:gd name="T121" fmla="*/ 949 h 1160"/>
                    <a:gd name="T122" fmla="*/ 98 w 1435"/>
                    <a:gd name="T123" fmla="*/ 992 h 1160"/>
                    <a:gd name="T124" fmla="*/ 3 w 1435"/>
                    <a:gd name="T125" fmla="*/ 965 h 11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435" h="1160">
                      <a:moveTo>
                        <a:pt x="15" y="937"/>
                      </a:moveTo>
                      <a:lnTo>
                        <a:pt x="19" y="937"/>
                      </a:lnTo>
                      <a:lnTo>
                        <a:pt x="22" y="935"/>
                      </a:lnTo>
                      <a:lnTo>
                        <a:pt x="26" y="932"/>
                      </a:lnTo>
                      <a:lnTo>
                        <a:pt x="30" y="929"/>
                      </a:lnTo>
                      <a:lnTo>
                        <a:pt x="33" y="926"/>
                      </a:lnTo>
                      <a:lnTo>
                        <a:pt x="36" y="923"/>
                      </a:lnTo>
                      <a:lnTo>
                        <a:pt x="38" y="919"/>
                      </a:lnTo>
                      <a:lnTo>
                        <a:pt x="38" y="916"/>
                      </a:lnTo>
                      <a:lnTo>
                        <a:pt x="39" y="913"/>
                      </a:lnTo>
                      <a:lnTo>
                        <a:pt x="39" y="908"/>
                      </a:lnTo>
                      <a:lnTo>
                        <a:pt x="41" y="905"/>
                      </a:lnTo>
                      <a:lnTo>
                        <a:pt x="41" y="902"/>
                      </a:lnTo>
                      <a:lnTo>
                        <a:pt x="41" y="899"/>
                      </a:lnTo>
                      <a:lnTo>
                        <a:pt x="42" y="896"/>
                      </a:lnTo>
                      <a:lnTo>
                        <a:pt x="46" y="891"/>
                      </a:lnTo>
                      <a:lnTo>
                        <a:pt x="44" y="896"/>
                      </a:lnTo>
                      <a:lnTo>
                        <a:pt x="44" y="899"/>
                      </a:lnTo>
                      <a:lnTo>
                        <a:pt x="44" y="896"/>
                      </a:lnTo>
                      <a:lnTo>
                        <a:pt x="47" y="896"/>
                      </a:lnTo>
                      <a:lnTo>
                        <a:pt x="47" y="891"/>
                      </a:lnTo>
                      <a:lnTo>
                        <a:pt x="49" y="888"/>
                      </a:lnTo>
                      <a:lnTo>
                        <a:pt x="50" y="884"/>
                      </a:lnTo>
                      <a:lnTo>
                        <a:pt x="49" y="881"/>
                      </a:lnTo>
                      <a:lnTo>
                        <a:pt x="53" y="878"/>
                      </a:lnTo>
                      <a:lnTo>
                        <a:pt x="53" y="875"/>
                      </a:lnTo>
                      <a:lnTo>
                        <a:pt x="55" y="870"/>
                      </a:lnTo>
                      <a:lnTo>
                        <a:pt x="55" y="867"/>
                      </a:lnTo>
                      <a:lnTo>
                        <a:pt x="57" y="864"/>
                      </a:lnTo>
                      <a:lnTo>
                        <a:pt x="58" y="854"/>
                      </a:lnTo>
                      <a:lnTo>
                        <a:pt x="55" y="846"/>
                      </a:lnTo>
                      <a:lnTo>
                        <a:pt x="53" y="837"/>
                      </a:lnTo>
                      <a:lnTo>
                        <a:pt x="53" y="829"/>
                      </a:lnTo>
                      <a:lnTo>
                        <a:pt x="52" y="826"/>
                      </a:lnTo>
                      <a:lnTo>
                        <a:pt x="50" y="821"/>
                      </a:lnTo>
                      <a:lnTo>
                        <a:pt x="50" y="818"/>
                      </a:lnTo>
                      <a:lnTo>
                        <a:pt x="50" y="815"/>
                      </a:lnTo>
                      <a:lnTo>
                        <a:pt x="50" y="805"/>
                      </a:lnTo>
                      <a:lnTo>
                        <a:pt x="50" y="797"/>
                      </a:lnTo>
                      <a:lnTo>
                        <a:pt x="52" y="794"/>
                      </a:lnTo>
                      <a:lnTo>
                        <a:pt x="50" y="789"/>
                      </a:lnTo>
                      <a:lnTo>
                        <a:pt x="52" y="788"/>
                      </a:lnTo>
                      <a:lnTo>
                        <a:pt x="53" y="785"/>
                      </a:lnTo>
                      <a:lnTo>
                        <a:pt x="53" y="780"/>
                      </a:lnTo>
                      <a:lnTo>
                        <a:pt x="55" y="777"/>
                      </a:lnTo>
                      <a:lnTo>
                        <a:pt x="57" y="773"/>
                      </a:lnTo>
                      <a:lnTo>
                        <a:pt x="58" y="770"/>
                      </a:lnTo>
                      <a:lnTo>
                        <a:pt x="58" y="766"/>
                      </a:lnTo>
                      <a:lnTo>
                        <a:pt x="58" y="762"/>
                      </a:lnTo>
                      <a:lnTo>
                        <a:pt x="58" y="759"/>
                      </a:lnTo>
                      <a:lnTo>
                        <a:pt x="58" y="756"/>
                      </a:lnTo>
                      <a:lnTo>
                        <a:pt x="58" y="753"/>
                      </a:lnTo>
                      <a:lnTo>
                        <a:pt x="57" y="748"/>
                      </a:lnTo>
                      <a:lnTo>
                        <a:pt x="55" y="745"/>
                      </a:lnTo>
                      <a:lnTo>
                        <a:pt x="53" y="742"/>
                      </a:lnTo>
                      <a:lnTo>
                        <a:pt x="53" y="739"/>
                      </a:lnTo>
                      <a:lnTo>
                        <a:pt x="53" y="739"/>
                      </a:lnTo>
                      <a:lnTo>
                        <a:pt x="53" y="734"/>
                      </a:lnTo>
                      <a:lnTo>
                        <a:pt x="53" y="726"/>
                      </a:lnTo>
                      <a:lnTo>
                        <a:pt x="50" y="716"/>
                      </a:lnTo>
                      <a:lnTo>
                        <a:pt x="46" y="712"/>
                      </a:lnTo>
                      <a:lnTo>
                        <a:pt x="46" y="708"/>
                      </a:lnTo>
                      <a:lnTo>
                        <a:pt x="46" y="705"/>
                      </a:lnTo>
                      <a:lnTo>
                        <a:pt x="46" y="699"/>
                      </a:lnTo>
                      <a:lnTo>
                        <a:pt x="49" y="694"/>
                      </a:lnTo>
                      <a:lnTo>
                        <a:pt x="49" y="693"/>
                      </a:lnTo>
                      <a:lnTo>
                        <a:pt x="49" y="689"/>
                      </a:lnTo>
                      <a:lnTo>
                        <a:pt x="49" y="683"/>
                      </a:lnTo>
                      <a:lnTo>
                        <a:pt x="47" y="674"/>
                      </a:lnTo>
                      <a:lnTo>
                        <a:pt x="44" y="666"/>
                      </a:lnTo>
                      <a:lnTo>
                        <a:pt x="44" y="662"/>
                      </a:lnTo>
                      <a:lnTo>
                        <a:pt x="42" y="659"/>
                      </a:lnTo>
                      <a:lnTo>
                        <a:pt x="39" y="655"/>
                      </a:lnTo>
                      <a:lnTo>
                        <a:pt x="39" y="651"/>
                      </a:lnTo>
                      <a:lnTo>
                        <a:pt x="36" y="648"/>
                      </a:lnTo>
                      <a:lnTo>
                        <a:pt x="36" y="647"/>
                      </a:lnTo>
                      <a:lnTo>
                        <a:pt x="33" y="643"/>
                      </a:lnTo>
                      <a:lnTo>
                        <a:pt x="31" y="640"/>
                      </a:lnTo>
                      <a:lnTo>
                        <a:pt x="31" y="637"/>
                      </a:lnTo>
                      <a:lnTo>
                        <a:pt x="30" y="632"/>
                      </a:lnTo>
                      <a:lnTo>
                        <a:pt x="33" y="629"/>
                      </a:lnTo>
                      <a:lnTo>
                        <a:pt x="33" y="626"/>
                      </a:lnTo>
                      <a:lnTo>
                        <a:pt x="34" y="629"/>
                      </a:lnTo>
                      <a:lnTo>
                        <a:pt x="33" y="632"/>
                      </a:lnTo>
                      <a:lnTo>
                        <a:pt x="33" y="636"/>
                      </a:lnTo>
                      <a:lnTo>
                        <a:pt x="34" y="632"/>
                      </a:lnTo>
                      <a:lnTo>
                        <a:pt x="36" y="629"/>
                      </a:lnTo>
                      <a:lnTo>
                        <a:pt x="36" y="626"/>
                      </a:lnTo>
                      <a:lnTo>
                        <a:pt x="36" y="629"/>
                      </a:lnTo>
                      <a:lnTo>
                        <a:pt x="38" y="632"/>
                      </a:lnTo>
                      <a:lnTo>
                        <a:pt x="38" y="636"/>
                      </a:lnTo>
                      <a:lnTo>
                        <a:pt x="38" y="640"/>
                      </a:lnTo>
                      <a:lnTo>
                        <a:pt x="39" y="636"/>
                      </a:lnTo>
                      <a:lnTo>
                        <a:pt x="39" y="640"/>
                      </a:lnTo>
                      <a:lnTo>
                        <a:pt x="39" y="643"/>
                      </a:lnTo>
                      <a:lnTo>
                        <a:pt x="39" y="647"/>
                      </a:lnTo>
                      <a:lnTo>
                        <a:pt x="41" y="643"/>
                      </a:lnTo>
                      <a:lnTo>
                        <a:pt x="41" y="647"/>
                      </a:lnTo>
                      <a:lnTo>
                        <a:pt x="41" y="650"/>
                      </a:lnTo>
                      <a:lnTo>
                        <a:pt x="44" y="648"/>
                      </a:lnTo>
                      <a:lnTo>
                        <a:pt x="49" y="647"/>
                      </a:lnTo>
                      <a:lnTo>
                        <a:pt x="50" y="643"/>
                      </a:lnTo>
                      <a:lnTo>
                        <a:pt x="50" y="640"/>
                      </a:lnTo>
                      <a:lnTo>
                        <a:pt x="52" y="637"/>
                      </a:lnTo>
                      <a:lnTo>
                        <a:pt x="49" y="634"/>
                      </a:lnTo>
                      <a:lnTo>
                        <a:pt x="46" y="631"/>
                      </a:lnTo>
                      <a:lnTo>
                        <a:pt x="44" y="626"/>
                      </a:lnTo>
                      <a:lnTo>
                        <a:pt x="44" y="623"/>
                      </a:lnTo>
                      <a:lnTo>
                        <a:pt x="42" y="620"/>
                      </a:lnTo>
                      <a:lnTo>
                        <a:pt x="41" y="616"/>
                      </a:lnTo>
                      <a:lnTo>
                        <a:pt x="41" y="612"/>
                      </a:lnTo>
                      <a:lnTo>
                        <a:pt x="42" y="609"/>
                      </a:lnTo>
                      <a:lnTo>
                        <a:pt x="44" y="605"/>
                      </a:lnTo>
                      <a:lnTo>
                        <a:pt x="47" y="609"/>
                      </a:lnTo>
                      <a:lnTo>
                        <a:pt x="49" y="612"/>
                      </a:lnTo>
                      <a:lnTo>
                        <a:pt x="50" y="616"/>
                      </a:lnTo>
                      <a:lnTo>
                        <a:pt x="50" y="620"/>
                      </a:lnTo>
                      <a:lnTo>
                        <a:pt x="50" y="623"/>
                      </a:lnTo>
                      <a:lnTo>
                        <a:pt x="49" y="626"/>
                      </a:lnTo>
                      <a:lnTo>
                        <a:pt x="47" y="631"/>
                      </a:lnTo>
                      <a:lnTo>
                        <a:pt x="47" y="631"/>
                      </a:lnTo>
                      <a:lnTo>
                        <a:pt x="52" y="631"/>
                      </a:lnTo>
                      <a:lnTo>
                        <a:pt x="53" y="628"/>
                      </a:lnTo>
                      <a:lnTo>
                        <a:pt x="55" y="624"/>
                      </a:lnTo>
                      <a:lnTo>
                        <a:pt x="55" y="628"/>
                      </a:lnTo>
                      <a:lnTo>
                        <a:pt x="55" y="637"/>
                      </a:lnTo>
                      <a:lnTo>
                        <a:pt x="57" y="640"/>
                      </a:lnTo>
                      <a:lnTo>
                        <a:pt x="61" y="640"/>
                      </a:lnTo>
                      <a:lnTo>
                        <a:pt x="65" y="637"/>
                      </a:lnTo>
                      <a:lnTo>
                        <a:pt x="65" y="634"/>
                      </a:lnTo>
                      <a:lnTo>
                        <a:pt x="65" y="629"/>
                      </a:lnTo>
                      <a:lnTo>
                        <a:pt x="66" y="626"/>
                      </a:lnTo>
                      <a:lnTo>
                        <a:pt x="69" y="623"/>
                      </a:lnTo>
                      <a:lnTo>
                        <a:pt x="69" y="620"/>
                      </a:lnTo>
                      <a:lnTo>
                        <a:pt x="66" y="615"/>
                      </a:lnTo>
                      <a:lnTo>
                        <a:pt x="66" y="612"/>
                      </a:lnTo>
                      <a:lnTo>
                        <a:pt x="65" y="609"/>
                      </a:lnTo>
                      <a:lnTo>
                        <a:pt x="63" y="605"/>
                      </a:lnTo>
                      <a:lnTo>
                        <a:pt x="61" y="602"/>
                      </a:lnTo>
                      <a:lnTo>
                        <a:pt x="61" y="597"/>
                      </a:lnTo>
                      <a:lnTo>
                        <a:pt x="61" y="594"/>
                      </a:lnTo>
                      <a:lnTo>
                        <a:pt x="60" y="591"/>
                      </a:lnTo>
                      <a:lnTo>
                        <a:pt x="57" y="588"/>
                      </a:lnTo>
                      <a:lnTo>
                        <a:pt x="55" y="585"/>
                      </a:lnTo>
                      <a:lnTo>
                        <a:pt x="57" y="582"/>
                      </a:lnTo>
                      <a:lnTo>
                        <a:pt x="57" y="578"/>
                      </a:lnTo>
                      <a:lnTo>
                        <a:pt x="55" y="578"/>
                      </a:lnTo>
                      <a:lnTo>
                        <a:pt x="57" y="574"/>
                      </a:lnTo>
                      <a:lnTo>
                        <a:pt x="57" y="570"/>
                      </a:lnTo>
                      <a:lnTo>
                        <a:pt x="55" y="569"/>
                      </a:lnTo>
                      <a:lnTo>
                        <a:pt x="53" y="566"/>
                      </a:lnTo>
                      <a:lnTo>
                        <a:pt x="52" y="564"/>
                      </a:lnTo>
                      <a:lnTo>
                        <a:pt x="52" y="559"/>
                      </a:lnTo>
                      <a:lnTo>
                        <a:pt x="52" y="555"/>
                      </a:lnTo>
                      <a:lnTo>
                        <a:pt x="53" y="547"/>
                      </a:lnTo>
                      <a:lnTo>
                        <a:pt x="55" y="544"/>
                      </a:lnTo>
                      <a:lnTo>
                        <a:pt x="57" y="540"/>
                      </a:lnTo>
                      <a:lnTo>
                        <a:pt x="58" y="537"/>
                      </a:lnTo>
                      <a:lnTo>
                        <a:pt x="60" y="534"/>
                      </a:lnTo>
                      <a:lnTo>
                        <a:pt x="63" y="529"/>
                      </a:lnTo>
                      <a:lnTo>
                        <a:pt x="66" y="526"/>
                      </a:lnTo>
                      <a:lnTo>
                        <a:pt x="69" y="523"/>
                      </a:lnTo>
                      <a:lnTo>
                        <a:pt x="71" y="520"/>
                      </a:lnTo>
                      <a:lnTo>
                        <a:pt x="72" y="517"/>
                      </a:lnTo>
                      <a:lnTo>
                        <a:pt x="72" y="513"/>
                      </a:lnTo>
                      <a:lnTo>
                        <a:pt x="72" y="509"/>
                      </a:lnTo>
                      <a:lnTo>
                        <a:pt x="74" y="505"/>
                      </a:lnTo>
                      <a:lnTo>
                        <a:pt x="76" y="502"/>
                      </a:lnTo>
                      <a:lnTo>
                        <a:pt x="76" y="499"/>
                      </a:lnTo>
                      <a:lnTo>
                        <a:pt x="76" y="496"/>
                      </a:lnTo>
                      <a:lnTo>
                        <a:pt x="76" y="493"/>
                      </a:lnTo>
                      <a:lnTo>
                        <a:pt x="72" y="490"/>
                      </a:lnTo>
                      <a:lnTo>
                        <a:pt x="72" y="485"/>
                      </a:lnTo>
                      <a:lnTo>
                        <a:pt x="79" y="477"/>
                      </a:lnTo>
                      <a:lnTo>
                        <a:pt x="82" y="469"/>
                      </a:lnTo>
                      <a:lnTo>
                        <a:pt x="85" y="464"/>
                      </a:lnTo>
                      <a:lnTo>
                        <a:pt x="87" y="461"/>
                      </a:lnTo>
                      <a:lnTo>
                        <a:pt x="88" y="458"/>
                      </a:lnTo>
                      <a:lnTo>
                        <a:pt x="92" y="455"/>
                      </a:lnTo>
                      <a:lnTo>
                        <a:pt x="95" y="453"/>
                      </a:lnTo>
                      <a:lnTo>
                        <a:pt x="95" y="456"/>
                      </a:lnTo>
                      <a:lnTo>
                        <a:pt x="95" y="459"/>
                      </a:lnTo>
                      <a:lnTo>
                        <a:pt x="93" y="463"/>
                      </a:lnTo>
                      <a:lnTo>
                        <a:pt x="92" y="467"/>
                      </a:lnTo>
                      <a:lnTo>
                        <a:pt x="92" y="471"/>
                      </a:lnTo>
                      <a:lnTo>
                        <a:pt x="92" y="474"/>
                      </a:lnTo>
                      <a:lnTo>
                        <a:pt x="92" y="477"/>
                      </a:lnTo>
                      <a:lnTo>
                        <a:pt x="90" y="480"/>
                      </a:lnTo>
                      <a:lnTo>
                        <a:pt x="95" y="480"/>
                      </a:lnTo>
                      <a:lnTo>
                        <a:pt x="98" y="480"/>
                      </a:lnTo>
                      <a:lnTo>
                        <a:pt x="101" y="475"/>
                      </a:lnTo>
                      <a:lnTo>
                        <a:pt x="103" y="472"/>
                      </a:lnTo>
                      <a:lnTo>
                        <a:pt x="104" y="469"/>
                      </a:lnTo>
                      <a:lnTo>
                        <a:pt x="106" y="466"/>
                      </a:lnTo>
                      <a:lnTo>
                        <a:pt x="107" y="463"/>
                      </a:lnTo>
                      <a:lnTo>
                        <a:pt x="109" y="463"/>
                      </a:lnTo>
                      <a:lnTo>
                        <a:pt x="111" y="458"/>
                      </a:lnTo>
                      <a:lnTo>
                        <a:pt x="112" y="455"/>
                      </a:lnTo>
                      <a:lnTo>
                        <a:pt x="117" y="453"/>
                      </a:lnTo>
                      <a:lnTo>
                        <a:pt x="120" y="452"/>
                      </a:lnTo>
                      <a:lnTo>
                        <a:pt x="123" y="448"/>
                      </a:lnTo>
                      <a:lnTo>
                        <a:pt x="125" y="448"/>
                      </a:lnTo>
                      <a:lnTo>
                        <a:pt x="128" y="448"/>
                      </a:lnTo>
                      <a:lnTo>
                        <a:pt x="131" y="447"/>
                      </a:lnTo>
                      <a:lnTo>
                        <a:pt x="134" y="445"/>
                      </a:lnTo>
                      <a:lnTo>
                        <a:pt x="138" y="444"/>
                      </a:lnTo>
                      <a:lnTo>
                        <a:pt x="142" y="442"/>
                      </a:lnTo>
                      <a:lnTo>
                        <a:pt x="145" y="440"/>
                      </a:lnTo>
                      <a:lnTo>
                        <a:pt x="149" y="436"/>
                      </a:lnTo>
                      <a:lnTo>
                        <a:pt x="152" y="433"/>
                      </a:lnTo>
                      <a:lnTo>
                        <a:pt x="155" y="431"/>
                      </a:lnTo>
                      <a:lnTo>
                        <a:pt x="158" y="429"/>
                      </a:lnTo>
                      <a:lnTo>
                        <a:pt x="161" y="426"/>
                      </a:lnTo>
                      <a:lnTo>
                        <a:pt x="164" y="423"/>
                      </a:lnTo>
                      <a:lnTo>
                        <a:pt x="168" y="421"/>
                      </a:lnTo>
                      <a:lnTo>
                        <a:pt x="171" y="420"/>
                      </a:lnTo>
                      <a:lnTo>
                        <a:pt x="174" y="417"/>
                      </a:lnTo>
                      <a:lnTo>
                        <a:pt x="174" y="413"/>
                      </a:lnTo>
                      <a:lnTo>
                        <a:pt x="179" y="413"/>
                      </a:lnTo>
                      <a:lnTo>
                        <a:pt x="182" y="412"/>
                      </a:lnTo>
                      <a:lnTo>
                        <a:pt x="185" y="412"/>
                      </a:lnTo>
                      <a:lnTo>
                        <a:pt x="188" y="409"/>
                      </a:lnTo>
                      <a:lnTo>
                        <a:pt x="193" y="407"/>
                      </a:lnTo>
                      <a:lnTo>
                        <a:pt x="193" y="406"/>
                      </a:lnTo>
                      <a:lnTo>
                        <a:pt x="198" y="402"/>
                      </a:lnTo>
                      <a:lnTo>
                        <a:pt x="198" y="406"/>
                      </a:lnTo>
                      <a:lnTo>
                        <a:pt x="201" y="407"/>
                      </a:lnTo>
                      <a:lnTo>
                        <a:pt x="204" y="406"/>
                      </a:lnTo>
                      <a:lnTo>
                        <a:pt x="207" y="404"/>
                      </a:lnTo>
                      <a:lnTo>
                        <a:pt x="210" y="404"/>
                      </a:lnTo>
                      <a:lnTo>
                        <a:pt x="212" y="407"/>
                      </a:lnTo>
                      <a:lnTo>
                        <a:pt x="215" y="409"/>
                      </a:lnTo>
                      <a:lnTo>
                        <a:pt x="220" y="409"/>
                      </a:lnTo>
                      <a:lnTo>
                        <a:pt x="223" y="407"/>
                      </a:lnTo>
                      <a:lnTo>
                        <a:pt x="226" y="406"/>
                      </a:lnTo>
                      <a:lnTo>
                        <a:pt x="229" y="406"/>
                      </a:lnTo>
                      <a:lnTo>
                        <a:pt x="234" y="404"/>
                      </a:lnTo>
                      <a:lnTo>
                        <a:pt x="237" y="401"/>
                      </a:lnTo>
                      <a:lnTo>
                        <a:pt x="241" y="398"/>
                      </a:lnTo>
                      <a:lnTo>
                        <a:pt x="244" y="396"/>
                      </a:lnTo>
                      <a:lnTo>
                        <a:pt x="247" y="394"/>
                      </a:lnTo>
                      <a:lnTo>
                        <a:pt x="250" y="393"/>
                      </a:lnTo>
                      <a:lnTo>
                        <a:pt x="253" y="393"/>
                      </a:lnTo>
                      <a:lnTo>
                        <a:pt x="256" y="393"/>
                      </a:lnTo>
                      <a:lnTo>
                        <a:pt x="260" y="393"/>
                      </a:lnTo>
                      <a:lnTo>
                        <a:pt x="263" y="391"/>
                      </a:lnTo>
                      <a:lnTo>
                        <a:pt x="266" y="393"/>
                      </a:lnTo>
                      <a:lnTo>
                        <a:pt x="269" y="391"/>
                      </a:lnTo>
                      <a:lnTo>
                        <a:pt x="272" y="388"/>
                      </a:lnTo>
                      <a:lnTo>
                        <a:pt x="275" y="385"/>
                      </a:lnTo>
                      <a:lnTo>
                        <a:pt x="279" y="382"/>
                      </a:lnTo>
                      <a:lnTo>
                        <a:pt x="282" y="379"/>
                      </a:lnTo>
                      <a:lnTo>
                        <a:pt x="282" y="379"/>
                      </a:lnTo>
                      <a:lnTo>
                        <a:pt x="285" y="379"/>
                      </a:lnTo>
                      <a:lnTo>
                        <a:pt x="285" y="379"/>
                      </a:lnTo>
                      <a:lnTo>
                        <a:pt x="287" y="379"/>
                      </a:lnTo>
                      <a:lnTo>
                        <a:pt x="290" y="377"/>
                      </a:lnTo>
                      <a:lnTo>
                        <a:pt x="293" y="379"/>
                      </a:lnTo>
                      <a:lnTo>
                        <a:pt x="295" y="379"/>
                      </a:lnTo>
                      <a:lnTo>
                        <a:pt x="298" y="380"/>
                      </a:lnTo>
                      <a:lnTo>
                        <a:pt x="301" y="382"/>
                      </a:lnTo>
                      <a:lnTo>
                        <a:pt x="306" y="379"/>
                      </a:lnTo>
                      <a:lnTo>
                        <a:pt x="306" y="379"/>
                      </a:lnTo>
                      <a:lnTo>
                        <a:pt x="320" y="375"/>
                      </a:lnTo>
                      <a:lnTo>
                        <a:pt x="334" y="371"/>
                      </a:lnTo>
                      <a:lnTo>
                        <a:pt x="348" y="366"/>
                      </a:lnTo>
                      <a:lnTo>
                        <a:pt x="361" y="356"/>
                      </a:lnTo>
                      <a:lnTo>
                        <a:pt x="366" y="355"/>
                      </a:lnTo>
                      <a:lnTo>
                        <a:pt x="369" y="350"/>
                      </a:lnTo>
                      <a:lnTo>
                        <a:pt x="371" y="347"/>
                      </a:lnTo>
                      <a:lnTo>
                        <a:pt x="374" y="344"/>
                      </a:lnTo>
                      <a:lnTo>
                        <a:pt x="377" y="341"/>
                      </a:lnTo>
                      <a:lnTo>
                        <a:pt x="379" y="336"/>
                      </a:lnTo>
                      <a:lnTo>
                        <a:pt x="380" y="333"/>
                      </a:lnTo>
                      <a:lnTo>
                        <a:pt x="383" y="329"/>
                      </a:lnTo>
                      <a:lnTo>
                        <a:pt x="382" y="326"/>
                      </a:lnTo>
                      <a:lnTo>
                        <a:pt x="385" y="326"/>
                      </a:lnTo>
                      <a:lnTo>
                        <a:pt x="388" y="325"/>
                      </a:lnTo>
                      <a:lnTo>
                        <a:pt x="387" y="322"/>
                      </a:lnTo>
                      <a:lnTo>
                        <a:pt x="390" y="317"/>
                      </a:lnTo>
                      <a:lnTo>
                        <a:pt x="393" y="317"/>
                      </a:lnTo>
                      <a:lnTo>
                        <a:pt x="396" y="314"/>
                      </a:lnTo>
                      <a:lnTo>
                        <a:pt x="399" y="310"/>
                      </a:lnTo>
                      <a:lnTo>
                        <a:pt x="404" y="309"/>
                      </a:lnTo>
                      <a:lnTo>
                        <a:pt x="407" y="304"/>
                      </a:lnTo>
                      <a:lnTo>
                        <a:pt x="410" y="302"/>
                      </a:lnTo>
                      <a:lnTo>
                        <a:pt x="413" y="299"/>
                      </a:lnTo>
                      <a:lnTo>
                        <a:pt x="413" y="296"/>
                      </a:lnTo>
                      <a:lnTo>
                        <a:pt x="409" y="295"/>
                      </a:lnTo>
                      <a:lnTo>
                        <a:pt x="409" y="291"/>
                      </a:lnTo>
                      <a:lnTo>
                        <a:pt x="409" y="288"/>
                      </a:lnTo>
                      <a:lnTo>
                        <a:pt x="409" y="285"/>
                      </a:lnTo>
                      <a:lnTo>
                        <a:pt x="409" y="280"/>
                      </a:lnTo>
                      <a:lnTo>
                        <a:pt x="409" y="277"/>
                      </a:lnTo>
                      <a:lnTo>
                        <a:pt x="409" y="274"/>
                      </a:lnTo>
                      <a:lnTo>
                        <a:pt x="410" y="268"/>
                      </a:lnTo>
                      <a:lnTo>
                        <a:pt x="415" y="261"/>
                      </a:lnTo>
                      <a:lnTo>
                        <a:pt x="420" y="256"/>
                      </a:lnTo>
                      <a:lnTo>
                        <a:pt x="425" y="252"/>
                      </a:lnTo>
                      <a:lnTo>
                        <a:pt x="428" y="255"/>
                      </a:lnTo>
                      <a:lnTo>
                        <a:pt x="426" y="252"/>
                      </a:lnTo>
                      <a:lnTo>
                        <a:pt x="428" y="247"/>
                      </a:lnTo>
                      <a:lnTo>
                        <a:pt x="431" y="247"/>
                      </a:lnTo>
                      <a:lnTo>
                        <a:pt x="436" y="247"/>
                      </a:lnTo>
                      <a:lnTo>
                        <a:pt x="436" y="242"/>
                      </a:lnTo>
                      <a:lnTo>
                        <a:pt x="437" y="239"/>
                      </a:lnTo>
                      <a:lnTo>
                        <a:pt x="440" y="237"/>
                      </a:lnTo>
                      <a:lnTo>
                        <a:pt x="442" y="234"/>
                      </a:lnTo>
                      <a:lnTo>
                        <a:pt x="445" y="231"/>
                      </a:lnTo>
                      <a:lnTo>
                        <a:pt x="447" y="234"/>
                      </a:lnTo>
                      <a:lnTo>
                        <a:pt x="444" y="237"/>
                      </a:lnTo>
                      <a:lnTo>
                        <a:pt x="444" y="239"/>
                      </a:lnTo>
                      <a:lnTo>
                        <a:pt x="445" y="242"/>
                      </a:lnTo>
                      <a:lnTo>
                        <a:pt x="448" y="244"/>
                      </a:lnTo>
                      <a:lnTo>
                        <a:pt x="447" y="247"/>
                      </a:lnTo>
                      <a:lnTo>
                        <a:pt x="448" y="250"/>
                      </a:lnTo>
                      <a:lnTo>
                        <a:pt x="450" y="253"/>
                      </a:lnTo>
                      <a:lnTo>
                        <a:pt x="452" y="256"/>
                      </a:lnTo>
                      <a:lnTo>
                        <a:pt x="452" y="261"/>
                      </a:lnTo>
                      <a:lnTo>
                        <a:pt x="453" y="264"/>
                      </a:lnTo>
                      <a:lnTo>
                        <a:pt x="455" y="268"/>
                      </a:lnTo>
                      <a:lnTo>
                        <a:pt x="456" y="271"/>
                      </a:lnTo>
                      <a:lnTo>
                        <a:pt x="458" y="274"/>
                      </a:lnTo>
                      <a:lnTo>
                        <a:pt x="459" y="279"/>
                      </a:lnTo>
                      <a:lnTo>
                        <a:pt x="459" y="280"/>
                      </a:lnTo>
                      <a:lnTo>
                        <a:pt x="461" y="277"/>
                      </a:lnTo>
                      <a:lnTo>
                        <a:pt x="459" y="272"/>
                      </a:lnTo>
                      <a:lnTo>
                        <a:pt x="461" y="269"/>
                      </a:lnTo>
                      <a:lnTo>
                        <a:pt x="463" y="266"/>
                      </a:lnTo>
                      <a:lnTo>
                        <a:pt x="464" y="263"/>
                      </a:lnTo>
                      <a:lnTo>
                        <a:pt x="463" y="260"/>
                      </a:lnTo>
                      <a:lnTo>
                        <a:pt x="464" y="255"/>
                      </a:lnTo>
                      <a:lnTo>
                        <a:pt x="467" y="258"/>
                      </a:lnTo>
                      <a:lnTo>
                        <a:pt x="469" y="261"/>
                      </a:lnTo>
                      <a:lnTo>
                        <a:pt x="472" y="264"/>
                      </a:lnTo>
                      <a:lnTo>
                        <a:pt x="472" y="264"/>
                      </a:lnTo>
                      <a:lnTo>
                        <a:pt x="471" y="261"/>
                      </a:lnTo>
                      <a:lnTo>
                        <a:pt x="471" y="256"/>
                      </a:lnTo>
                      <a:lnTo>
                        <a:pt x="474" y="253"/>
                      </a:lnTo>
                      <a:lnTo>
                        <a:pt x="477" y="250"/>
                      </a:lnTo>
                      <a:lnTo>
                        <a:pt x="474" y="252"/>
                      </a:lnTo>
                      <a:lnTo>
                        <a:pt x="469" y="249"/>
                      </a:lnTo>
                      <a:lnTo>
                        <a:pt x="467" y="244"/>
                      </a:lnTo>
                      <a:lnTo>
                        <a:pt x="464" y="242"/>
                      </a:lnTo>
                      <a:lnTo>
                        <a:pt x="466" y="239"/>
                      </a:lnTo>
                      <a:lnTo>
                        <a:pt x="463" y="237"/>
                      </a:lnTo>
                      <a:lnTo>
                        <a:pt x="463" y="234"/>
                      </a:lnTo>
                      <a:lnTo>
                        <a:pt x="466" y="236"/>
                      </a:lnTo>
                      <a:lnTo>
                        <a:pt x="466" y="233"/>
                      </a:lnTo>
                      <a:lnTo>
                        <a:pt x="469" y="233"/>
                      </a:lnTo>
                      <a:lnTo>
                        <a:pt x="472" y="231"/>
                      </a:lnTo>
                      <a:lnTo>
                        <a:pt x="469" y="228"/>
                      </a:lnTo>
                      <a:lnTo>
                        <a:pt x="467" y="223"/>
                      </a:lnTo>
                      <a:lnTo>
                        <a:pt x="471" y="222"/>
                      </a:lnTo>
                      <a:lnTo>
                        <a:pt x="474" y="222"/>
                      </a:lnTo>
                      <a:lnTo>
                        <a:pt x="477" y="225"/>
                      </a:lnTo>
                      <a:lnTo>
                        <a:pt x="474" y="225"/>
                      </a:lnTo>
                      <a:lnTo>
                        <a:pt x="477" y="228"/>
                      </a:lnTo>
                      <a:lnTo>
                        <a:pt x="477" y="231"/>
                      </a:lnTo>
                      <a:lnTo>
                        <a:pt x="480" y="230"/>
                      </a:lnTo>
                      <a:lnTo>
                        <a:pt x="482" y="226"/>
                      </a:lnTo>
                      <a:lnTo>
                        <a:pt x="485" y="226"/>
                      </a:lnTo>
                      <a:lnTo>
                        <a:pt x="488" y="228"/>
                      </a:lnTo>
                      <a:lnTo>
                        <a:pt x="490" y="231"/>
                      </a:lnTo>
                      <a:lnTo>
                        <a:pt x="493" y="231"/>
                      </a:lnTo>
                      <a:lnTo>
                        <a:pt x="496" y="230"/>
                      </a:lnTo>
                      <a:lnTo>
                        <a:pt x="499" y="231"/>
                      </a:lnTo>
                      <a:lnTo>
                        <a:pt x="504" y="231"/>
                      </a:lnTo>
                      <a:lnTo>
                        <a:pt x="507" y="231"/>
                      </a:lnTo>
                      <a:lnTo>
                        <a:pt x="510" y="233"/>
                      </a:lnTo>
                      <a:lnTo>
                        <a:pt x="507" y="230"/>
                      </a:lnTo>
                      <a:lnTo>
                        <a:pt x="504" y="228"/>
                      </a:lnTo>
                      <a:lnTo>
                        <a:pt x="501" y="230"/>
                      </a:lnTo>
                      <a:lnTo>
                        <a:pt x="496" y="230"/>
                      </a:lnTo>
                      <a:lnTo>
                        <a:pt x="496" y="225"/>
                      </a:lnTo>
                      <a:lnTo>
                        <a:pt x="498" y="222"/>
                      </a:lnTo>
                      <a:lnTo>
                        <a:pt x="499" y="218"/>
                      </a:lnTo>
                      <a:lnTo>
                        <a:pt x="501" y="222"/>
                      </a:lnTo>
                      <a:lnTo>
                        <a:pt x="505" y="218"/>
                      </a:lnTo>
                      <a:lnTo>
                        <a:pt x="505" y="215"/>
                      </a:lnTo>
                      <a:lnTo>
                        <a:pt x="507" y="211"/>
                      </a:lnTo>
                      <a:lnTo>
                        <a:pt x="510" y="209"/>
                      </a:lnTo>
                      <a:lnTo>
                        <a:pt x="507" y="207"/>
                      </a:lnTo>
                      <a:lnTo>
                        <a:pt x="504" y="212"/>
                      </a:lnTo>
                      <a:lnTo>
                        <a:pt x="501" y="207"/>
                      </a:lnTo>
                      <a:lnTo>
                        <a:pt x="499" y="204"/>
                      </a:lnTo>
                      <a:lnTo>
                        <a:pt x="499" y="201"/>
                      </a:lnTo>
                      <a:lnTo>
                        <a:pt x="501" y="201"/>
                      </a:lnTo>
                      <a:lnTo>
                        <a:pt x="501" y="198"/>
                      </a:lnTo>
                      <a:lnTo>
                        <a:pt x="504" y="193"/>
                      </a:lnTo>
                      <a:lnTo>
                        <a:pt x="507" y="195"/>
                      </a:lnTo>
                      <a:lnTo>
                        <a:pt x="510" y="191"/>
                      </a:lnTo>
                      <a:lnTo>
                        <a:pt x="513" y="188"/>
                      </a:lnTo>
                      <a:lnTo>
                        <a:pt x="512" y="185"/>
                      </a:lnTo>
                      <a:lnTo>
                        <a:pt x="515" y="187"/>
                      </a:lnTo>
                      <a:lnTo>
                        <a:pt x="518" y="188"/>
                      </a:lnTo>
                      <a:lnTo>
                        <a:pt x="521" y="191"/>
                      </a:lnTo>
                      <a:lnTo>
                        <a:pt x="524" y="195"/>
                      </a:lnTo>
                      <a:lnTo>
                        <a:pt x="528" y="195"/>
                      </a:lnTo>
                      <a:lnTo>
                        <a:pt x="529" y="196"/>
                      </a:lnTo>
                      <a:lnTo>
                        <a:pt x="526" y="191"/>
                      </a:lnTo>
                      <a:lnTo>
                        <a:pt x="526" y="188"/>
                      </a:lnTo>
                      <a:lnTo>
                        <a:pt x="523" y="187"/>
                      </a:lnTo>
                      <a:lnTo>
                        <a:pt x="520" y="187"/>
                      </a:lnTo>
                      <a:lnTo>
                        <a:pt x="523" y="184"/>
                      </a:lnTo>
                      <a:lnTo>
                        <a:pt x="526" y="182"/>
                      </a:lnTo>
                      <a:lnTo>
                        <a:pt x="523" y="182"/>
                      </a:lnTo>
                      <a:lnTo>
                        <a:pt x="520" y="185"/>
                      </a:lnTo>
                      <a:lnTo>
                        <a:pt x="520" y="180"/>
                      </a:lnTo>
                      <a:lnTo>
                        <a:pt x="523" y="179"/>
                      </a:lnTo>
                      <a:lnTo>
                        <a:pt x="526" y="176"/>
                      </a:lnTo>
                      <a:lnTo>
                        <a:pt x="529" y="176"/>
                      </a:lnTo>
                      <a:lnTo>
                        <a:pt x="529" y="179"/>
                      </a:lnTo>
                      <a:lnTo>
                        <a:pt x="531" y="176"/>
                      </a:lnTo>
                      <a:lnTo>
                        <a:pt x="534" y="177"/>
                      </a:lnTo>
                      <a:lnTo>
                        <a:pt x="537" y="180"/>
                      </a:lnTo>
                      <a:lnTo>
                        <a:pt x="540" y="180"/>
                      </a:lnTo>
                      <a:lnTo>
                        <a:pt x="539" y="177"/>
                      </a:lnTo>
                      <a:lnTo>
                        <a:pt x="536" y="172"/>
                      </a:lnTo>
                      <a:lnTo>
                        <a:pt x="537" y="169"/>
                      </a:lnTo>
                      <a:lnTo>
                        <a:pt x="534" y="168"/>
                      </a:lnTo>
                      <a:lnTo>
                        <a:pt x="532" y="165"/>
                      </a:lnTo>
                      <a:lnTo>
                        <a:pt x="534" y="161"/>
                      </a:lnTo>
                      <a:lnTo>
                        <a:pt x="539" y="160"/>
                      </a:lnTo>
                      <a:lnTo>
                        <a:pt x="539" y="157"/>
                      </a:lnTo>
                      <a:lnTo>
                        <a:pt x="544" y="158"/>
                      </a:lnTo>
                      <a:lnTo>
                        <a:pt x="545" y="155"/>
                      </a:lnTo>
                      <a:lnTo>
                        <a:pt x="548" y="155"/>
                      </a:lnTo>
                      <a:lnTo>
                        <a:pt x="550" y="155"/>
                      </a:lnTo>
                      <a:lnTo>
                        <a:pt x="550" y="150"/>
                      </a:lnTo>
                      <a:lnTo>
                        <a:pt x="550" y="147"/>
                      </a:lnTo>
                      <a:lnTo>
                        <a:pt x="550" y="144"/>
                      </a:lnTo>
                      <a:lnTo>
                        <a:pt x="553" y="144"/>
                      </a:lnTo>
                      <a:lnTo>
                        <a:pt x="553" y="149"/>
                      </a:lnTo>
                      <a:lnTo>
                        <a:pt x="553" y="152"/>
                      </a:lnTo>
                      <a:lnTo>
                        <a:pt x="551" y="155"/>
                      </a:lnTo>
                      <a:lnTo>
                        <a:pt x="550" y="158"/>
                      </a:lnTo>
                      <a:lnTo>
                        <a:pt x="553" y="155"/>
                      </a:lnTo>
                      <a:lnTo>
                        <a:pt x="555" y="152"/>
                      </a:lnTo>
                      <a:lnTo>
                        <a:pt x="558" y="152"/>
                      </a:lnTo>
                      <a:lnTo>
                        <a:pt x="558" y="155"/>
                      </a:lnTo>
                      <a:lnTo>
                        <a:pt x="559" y="160"/>
                      </a:lnTo>
                      <a:lnTo>
                        <a:pt x="561" y="155"/>
                      </a:lnTo>
                      <a:lnTo>
                        <a:pt x="564" y="153"/>
                      </a:lnTo>
                      <a:lnTo>
                        <a:pt x="564" y="150"/>
                      </a:lnTo>
                      <a:lnTo>
                        <a:pt x="567" y="147"/>
                      </a:lnTo>
                      <a:lnTo>
                        <a:pt x="567" y="144"/>
                      </a:lnTo>
                      <a:lnTo>
                        <a:pt x="570" y="141"/>
                      </a:lnTo>
                      <a:lnTo>
                        <a:pt x="570" y="138"/>
                      </a:lnTo>
                      <a:lnTo>
                        <a:pt x="570" y="136"/>
                      </a:lnTo>
                      <a:lnTo>
                        <a:pt x="566" y="136"/>
                      </a:lnTo>
                      <a:lnTo>
                        <a:pt x="566" y="133"/>
                      </a:lnTo>
                      <a:lnTo>
                        <a:pt x="569" y="134"/>
                      </a:lnTo>
                      <a:lnTo>
                        <a:pt x="569" y="131"/>
                      </a:lnTo>
                      <a:lnTo>
                        <a:pt x="572" y="130"/>
                      </a:lnTo>
                      <a:lnTo>
                        <a:pt x="570" y="134"/>
                      </a:lnTo>
                      <a:lnTo>
                        <a:pt x="574" y="131"/>
                      </a:lnTo>
                      <a:lnTo>
                        <a:pt x="572" y="134"/>
                      </a:lnTo>
                      <a:lnTo>
                        <a:pt x="574" y="138"/>
                      </a:lnTo>
                      <a:lnTo>
                        <a:pt x="574" y="141"/>
                      </a:lnTo>
                      <a:lnTo>
                        <a:pt x="577" y="141"/>
                      </a:lnTo>
                      <a:lnTo>
                        <a:pt x="577" y="138"/>
                      </a:lnTo>
                      <a:lnTo>
                        <a:pt x="580" y="134"/>
                      </a:lnTo>
                      <a:lnTo>
                        <a:pt x="583" y="133"/>
                      </a:lnTo>
                      <a:lnTo>
                        <a:pt x="582" y="136"/>
                      </a:lnTo>
                      <a:lnTo>
                        <a:pt x="583" y="138"/>
                      </a:lnTo>
                      <a:lnTo>
                        <a:pt x="586" y="141"/>
                      </a:lnTo>
                      <a:lnTo>
                        <a:pt x="590" y="138"/>
                      </a:lnTo>
                      <a:lnTo>
                        <a:pt x="593" y="134"/>
                      </a:lnTo>
                      <a:lnTo>
                        <a:pt x="596" y="133"/>
                      </a:lnTo>
                      <a:lnTo>
                        <a:pt x="597" y="131"/>
                      </a:lnTo>
                      <a:lnTo>
                        <a:pt x="594" y="128"/>
                      </a:lnTo>
                      <a:lnTo>
                        <a:pt x="596" y="125"/>
                      </a:lnTo>
                      <a:lnTo>
                        <a:pt x="601" y="123"/>
                      </a:lnTo>
                      <a:lnTo>
                        <a:pt x="602" y="122"/>
                      </a:lnTo>
                      <a:lnTo>
                        <a:pt x="604" y="125"/>
                      </a:lnTo>
                      <a:lnTo>
                        <a:pt x="605" y="130"/>
                      </a:lnTo>
                      <a:lnTo>
                        <a:pt x="610" y="131"/>
                      </a:lnTo>
                      <a:lnTo>
                        <a:pt x="613" y="131"/>
                      </a:lnTo>
                      <a:lnTo>
                        <a:pt x="616" y="131"/>
                      </a:lnTo>
                      <a:lnTo>
                        <a:pt x="618" y="134"/>
                      </a:lnTo>
                      <a:lnTo>
                        <a:pt x="621" y="138"/>
                      </a:lnTo>
                      <a:lnTo>
                        <a:pt x="626" y="141"/>
                      </a:lnTo>
                      <a:lnTo>
                        <a:pt x="628" y="144"/>
                      </a:lnTo>
                      <a:lnTo>
                        <a:pt x="629" y="147"/>
                      </a:lnTo>
                      <a:lnTo>
                        <a:pt x="629" y="150"/>
                      </a:lnTo>
                      <a:lnTo>
                        <a:pt x="632" y="153"/>
                      </a:lnTo>
                      <a:lnTo>
                        <a:pt x="637" y="157"/>
                      </a:lnTo>
                      <a:lnTo>
                        <a:pt x="640" y="160"/>
                      </a:lnTo>
                      <a:lnTo>
                        <a:pt x="640" y="165"/>
                      </a:lnTo>
                      <a:lnTo>
                        <a:pt x="640" y="166"/>
                      </a:lnTo>
                      <a:lnTo>
                        <a:pt x="639" y="169"/>
                      </a:lnTo>
                      <a:lnTo>
                        <a:pt x="637" y="174"/>
                      </a:lnTo>
                      <a:lnTo>
                        <a:pt x="636" y="177"/>
                      </a:lnTo>
                      <a:lnTo>
                        <a:pt x="636" y="180"/>
                      </a:lnTo>
                      <a:lnTo>
                        <a:pt x="634" y="184"/>
                      </a:lnTo>
                      <a:lnTo>
                        <a:pt x="632" y="187"/>
                      </a:lnTo>
                      <a:lnTo>
                        <a:pt x="632" y="191"/>
                      </a:lnTo>
                      <a:lnTo>
                        <a:pt x="631" y="195"/>
                      </a:lnTo>
                      <a:lnTo>
                        <a:pt x="634" y="191"/>
                      </a:lnTo>
                      <a:lnTo>
                        <a:pt x="636" y="188"/>
                      </a:lnTo>
                      <a:lnTo>
                        <a:pt x="636" y="185"/>
                      </a:lnTo>
                      <a:lnTo>
                        <a:pt x="639" y="184"/>
                      </a:lnTo>
                      <a:lnTo>
                        <a:pt x="640" y="188"/>
                      </a:lnTo>
                      <a:lnTo>
                        <a:pt x="640" y="191"/>
                      </a:lnTo>
                      <a:lnTo>
                        <a:pt x="642" y="187"/>
                      </a:lnTo>
                      <a:lnTo>
                        <a:pt x="640" y="184"/>
                      </a:lnTo>
                      <a:lnTo>
                        <a:pt x="640" y="180"/>
                      </a:lnTo>
                      <a:lnTo>
                        <a:pt x="639" y="177"/>
                      </a:lnTo>
                      <a:lnTo>
                        <a:pt x="642" y="174"/>
                      </a:lnTo>
                      <a:lnTo>
                        <a:pt x="645" y="176"/>
                      </a:lnTo>
                      <a:lnTo>
                        <a:pt x="648" y="176"/>
                      </a:lnTo>
                      <a:lnTo>
                        <a:pt x="650" y="176"/>
                      </a:lnTo>
                      <a:lnTo>
                        <a:pt x="648" y="172"/>
                      </a:lnTo>
                      <a:lnTo>
                        <a:pt x="648" y="169"/>
                      </a:lnTo>
                      <a:lnTo>
                        <a:pt x="650" y="168"/>
                      </a:lnTo>
                      <a:lnTo>
                        <a:pt x="653" y="165"/>
                      </a:lnTo>
                      <a:lnTo>
                        <a:pt x="656" y="165"/>
                      </a:lnTo>
                      <a:lnTo>
                        <a:pt x="659" y="166"/>
                      </a:lnTo>
                      <a:lnTo>
                        <a:pt x="666" y="168"/>
                      </a:lnTo>
                      <a:lnTo>
                        <a:pt x="672" y="169"/>
                      </a:lnTo>
                      <a:lnTo>
                        <a:pt x="674" y="171"/>
                      </a:lnTo>
                      <a:lnTo>
                        <a:pt x="675" y="174"/>
                      </a:lnTo>
                      <a:lnTo>
                        <a:pt x="675" y="177"/>
                      </a:lnTo>
                      <a:lnTo>
                        <a:pt x="674" y="180"/>
                      </a:lnTo>
                      <a:lnTo>
                        <a:pt x="677" y="179"/>
                      </a:lnTo>
                      <a:lnTo>
                        <a:pt x="678" y="176"/>
                      </a:lnTo>
                      <a:lnTo>
                        <a:pt x="677" y="171"/>
                      </a:lnTo>
                      <a:lnTo>
                        <a:pt x="677" y="168"/>
                      </a:lnTo>
                      <a:lnTo>
                        <a:pt x="680" y="169"/>
                      </a:lnTo>
                      <a:lnTo>
                        <a:pt x="685" y="171"/>
                      </a:lnTo>
                      <a:lnTo>
                        <a:pt x="686" y="174"/>
                      </a:lnTo>
                      <a:lnTo>
                        <a:pt x="689" y="177"/>
                      </a:lnTo>
                      <a:lnTo>
                        <a:pt x="688" y="182"/>
                      </a:lnTo>
                      <a:lnTo>
                        <a:pt x="693" y="182"/>
                      </a:lnTo>
                      <a:lnTo>
                        <a:pt x="694" y="182"/>
                      </a:lnTo>
                      <a:lnTo>
                        <a:pt x="691" y="176"/>
                      </a:lnTo>
                      <a:lnTo>
                        <a:pt x="691" y="172"/>
                      </a:lnTo>
                      <a:lnTo>
                        <a:pt x="693" y="168"/>
                      </a:lnTo>
                      <a:lnTo>
                        <a:pt x="696" y="168"/>
                      </a:lnTo>
                      <a:lnTo>
                        <a:pt x="699" y="168"/>
                      </a:lnTo>
                      <a:lnTo>
                        <a:pt x="704" y="166"/>
                      </a:lnTo>
                      <a:lnTo>
                        <a:pt x="699" y="166"/>
                      </a:lnTo>
                      <a:lnTo>
                        <a:pt x="696" y="166"/>
                      </a:lnTo>
                      <a:lnTo>
                        <a:pt x="693" y="163"/>
                      </a:lnTo>
                      <a:lnTo>
                        <a:pt x="691" y="158"/>
                      </a:lnTo>
                      <a:lnTo>
                        <a:pt x="696" y="158"/>
                      </a:lnTo>
                      <a:lnTo>
                        <a:pt x="699" y="157"/>
                      </a:lnTo>
                      <a:lnTo>
                        <a:pt x="696" y="157"/>
                      </a:lnTo>
                      <a:lnTo>
                        <a:pt x="691" y="157"/>
                      </a:lnTo>
                      <a:lnTo>
                        <a:pt x="688" y="153"/>
                      </a:lnTo>
                      <a:lnTo>
                        <a:pt x="685" y="150"/>
                      </a:lnTo>
                      <a:lnTo>
                        <a:pt x="685" y="147"/>
                      </a:lnTo>
                      <a:lnTo>
                        <a:pt x="688" y="144"/>
                      </a:lnTo>
                      <a:lnTo>
                        <a:pt x="689" y="141"/>
                      </a:lnTo>
                      <a:lnTo>
                        <a:pt x="691" y="136"/>
                      </a:lnTo>
                      <a:lnTo>
                        <a:pt x="693" y="136"/>
                      </a:lnTo>
                      <a:lnTo>
                        <a:pt x="696" y="134"/>
                      </a:lnTo>
                      <a:lnTo>
                        <a:pt x="701" y="134"/>
                      </a:lnTo>
                      <a:lnTo>
                        <a:pt x="701" y="130"/>
                      </a:lnTo>
                      <a:lnTo>
                        <a:pt x="701" y="126"/>
                      </a:lnTo>
                      <a:lnTo>
                        <a:pt x="704" y="123"/>
                      </a:lnTo>
                      <a:lnTo>
                        <a:pt x="704" y="120"/>
                      </a:lnTo>
                      <a:lnTo>
                        <a:pt x="705" y="117"/>
                      </a:lnTo>
                      <a:lnTo>
                        <a:pt x="708" y="112"/>
                      </a:lnTo>
                      <a:lnTo>
                        <a:pt x="712" y="114"/>
                      </a:lnTo>
                      <a:lnTo>
                        <a:pt x="712" y="114"/>
                      </a:lnTo>
                      <a:lnTo>
                        <a:pt x="716" y="112"/>
                      </a:lnTo>
                      <a:lnTo>
                        <a:pt x="720" y="109"/>
                      </a:lnTo>
                      <a:lnTo>
                        <a:pt x="723" y="106"/>
                      </a:lnTo>
                      <a:lnTo>
                        <a:pt x="724" y="107"/>
                      </a:lnTo>
                      <a:lnTo>
                        <a:pt x="721" y="103"/>
                      </a:lnTo>
                      <a:lnTo>
                        <a:pt x="720" y="98"/>
                      </a:lnTo>
                      <a:lnTo>
                        <a:pt x="720" y="95"/>
                      </a:lnTo>
                      <a:lnTo>
                        <a:pt x="720" y="90"/>
                      </a:lnTo>
                      <a:lnTo>
                        <a:pt x="724" y="90"/>
                      </a:lnTo>
                      <a:lnTo>
                        <a:pt x="727" y="88"/>
                      </a:lnTo>
                      <a:lnTo>
                        <a:pt x="729" y="85"/>
                      </a:lnTo>
                      <a:lnTo>
                        <a:pt x="729" y="80"/>
                      </a:lnTo>
                      <a:lnTo>
                        <a:pt x="732" y="77"/>
                      </a:lnTo>
                      <a:lnTo>
                        <a:pt x="735" y="77"/>
                      </a:lnTo>
                      <a:lnTo>
                        <a:pt x="737" y="80"/>
                      </a:lnTo>
                      <a:lnTo>
                        <a:pt x="740" y="80"/>
                      </a:lnTo>
                      <a:lnTo>
                        <a:pt x="737" y="77"/>
                      </a:lnTo>
                      <a:lnTo>
                        <a:pt x="739" y="74"/>
                      </a:lnTo>
                      <a:lnTo>
                        <a:pt x="739" y="71"/>
                      </a:lnTo>
                      <a:lnTo>
                        <a:pt x="740" y="68"/>
                      </a:lnTo>
                      <a:lnTo>
                        <a:pt x="743" y="69"/>
                      </a:lnTo>
                      <a:lnTo>
                        <a:pt x="745" y="73"/>
                      </a:lnTo>
                      <a:lnTo>
                        <a:pt x="748" y="76"/>
                      </a:lnTo>
                      <a:lnTo>
                        <a:pt x="751" y="77"/>
                      </a:lnTo>
                      <a:lnTo>
                        <a:pt x="748" y="74"/>
                      </a:lnTo>
                      <a:lnTo>
                        <a:pt x="750" y="69"/>
                      </a:lnTo>
                      <a:lnTo>
                        <a:pt x="748" y="71"/>
                      </a:lnTo>
                      <a:lnTo>
                        <a:pt x="748" y="68"/>
                      </a:lnTo>
                      <a:lnTo>
                        <a:pt x="751" y="65"/>
                      </a:lnTo>
                      <a:lnTo>
                        <a:pt x="754" y="66"/>
                      </a:lnTo>
                      <a:lnTo>
                        <a:pt x="754" y="63"/>
                      </a:lnTo>
                      <a:lnTo>
                        <a:pt x="754" y="60"/>
                      </a:lnTo>
                      <a:lnTo>
                        <a:pt x="758" y="58"/>
                      </a:lnTo>
                      <a:lnTo>
                        <a:pt x="762" y="60"/>
                      </a:lnTo>
                      <a:lnTo>
                        <a:pt x="764" y="57"/>
                      </a:lnTo>
                      <a:lnTo>
                        <a:pt x="767" y="60"/>
                      </a:lnTo>
                      <a:lnTo>
                        <a:pt x="770" y="63"/>
                      </a:lnTo>
                      <a:lnTo>
                        <a:pt x="773" y="63"/>
                      </a:lnTo>
                      <a:lnTo>
                        <a:pt x="777" y="63"/>
                      </a:lnTo>
                      <a:lnTo>
                        <a:pt x="780" y="63"/>
                      </a:lnTo>
                      <a:lnTo>
                        <a:pt x="785" y="61"/>
                      </a:lnTo>
                      <a:lnTo>
                        <a:pt x="788" y="61"/>
                      </a:lnTo>
                      <a:lnTo>
                        <a:pt x="791" y="65"/>
                      </a:lnTo>
                      <a:lnTo>
                        <a:pt x="794" y="63"/>
                      </a:lnTo>
                      <a:lnTo>
                        <a:pt x="799" y="60"/>
                      </a:lnTo>
                      <a:lnTo>
                        <a:pt x="802" y="60"/>
                      </a:lnTo>
                      <a:lnTo>
                        <a:pt x="804" y="60"/>
                      </a:lnTo>
                      <a:lnTo>
                        <a:pt x="805" y="65"/>
                      </a:lnTo>
                      <a:lnTo>
                        <a:pt x="805" y="60"/>
                      </a:lnTo>
                      <a:lnTo>
                        <a:pt x="808" y="57"/>
                      </a:lnTo>
                      <a:lnTo>
                        <a:pt x="813" y="57"/>
                      </a:lnTo>
                      <a:lnTo>
                        <a:pt x="816" y="57"/>
                      </a:lnTo>
                      <a:lnTo>
                        <a:pt x="813" y="54"/>
                      </a:lnTo>
                      <a:lnTo>
                        <a:pt x="815" y="50"/>
                      </a:lnTo>
                      <a:lnTo>
                        <a:pt x="815" y="47"/>
                      </a:lnTo>
                      <a:lnTo>
                        <a:pt x="815" y="44"/>
                      </a:lnTo>
                      <a:lnTo>
                        <a:pt x="816" y="39"/>
                      </a:lnTo>
                      <a:lnTo>
                        <a:pt x="815" y="38"/>
                      </a:lnTo>
                      <a:lnTo>
                        <a:pt x="815" y="38"/>
                      </a:lnTo>
                      <a:lnTo>
                        <a:pt x="815" y="38"/>
                      </a:lnTo>
                      <a:lnTo>
                        <a:pt x="812" y="31"/>
                      </a:lnTo>
                      <a:lnTo>
                        <a:pt x="808" y="28"/>
                      </a:lnTo>
                      <a:lnTo>
                        <a:pt x="805" y="30"/>
                      </a:lnTo>
                      <a:lnTo>
                        <a:pt x="796" y="31"/>
                      </a:lnTo>
                      <a:lnTo>
                        <a:pt x="796" y="28"/>
                      </a:lnTo>
                      <a:lnTo>
                        <a:pt x="793" y="28"/>
                      </a:lnTo>
                      <a:lnTo>
                        <a:pt x="791" y="23"/>
                      </a:lnTo>
                      <a:lnTo>
                        <a:pt x="788" y="23"/>
                      </a:lnTo>
                      <a:lnTo>
                        <a:pt x="788" y="20"/>
                      </a:lnTo>
                      <a:lnTo>
                        <a:pt x="793" y="19"/>
                      </a:lnTo>
                      <a:lnTo>
                        <a:pt x="794" y="15"/>
                      </a:lnTo>
                      <a:lnTo>
                        <a:pt x="797" y="19"/>
                      </a:lnTo>
                      <a:lnTo>
                        <a:pt x="799" y="23"/>
                      </a:lnTo>
                      <a:lnTo>
                        <a:pt x="799" y="27"/>
                      </a:lnTo>
                      <a:lnTo>
                        <a:pt x="800" y="23"/>
                      </a:lnTo>
                      <a:lnTo>
                        <a:pt x="802" y="20"/>
                      </a:lnTo>
                      <a:lnTo>
                        <a:pt x="800" y="15"/>
                      </a:lnTo>
                      <a:lnTo>
                        <a:pt x="804" y="20"/>
                      </a:lnTo>
                      <a:lnTo>
                        <a:pt x="807" y="15"/>
                      </a:lnTo>
                      <a:lnTo>
                        <a:pt x="808" y="20"/>
                      </a:lnTo>
                      <a:lnTo>
                        <a:pt x="812" y="20"/>
                      </a:lnTo>
                      <a:lnTo>
                        <a:pt x="813" y="25"/>
                      </a:lnTo>
                      <a:lnTo>
                        <a:pt x="815" y="25"/>
                      </a:lnTo>
                      <a:lnTo>
                        <a:pt x="816" y="28"/>
                      </a:lnTo>
                      <a:lnTo>
                        <a:pt x="819" y="31"/>
                      </a:lnTo>
                      <a:lnTo>
                        <a:pt x="823" y="28"/>
                      </a:lnTo>
                      <a:lnTo>
                        <a:pt x="826" y="28"/>
                      </a:lnTo>
                      <a:lnTo>
                        <a:pt x="826" y="23"/>
                      </a:lnTo>
                      <a:lnTo>
                        <a:pt x="829" y="27"/>
                      </a:lnTo>
                      <a:lnTo>
                        <a:pt x="831" y="31"/>
                      </a:lnTo>
                      <a:lnTo>
                        <a:pt x="832" y="34"/>
                      </a:lnTo>
                      <a:lnTo>
                        <a:pt x="834" y="38"/>
                      </a:lnTo>
                      <a:lnTo>
                        <a:pt x="837" y="41"/>
                      </a:lnTo>
                      <a:lnTo>
                        <a:pt x="840" y="39"/>
                      </a:lnTo>
                      <a:lnTo>
                        <a:pt x="843" y="42"/>
                      </a:lnTo>
                      <a:lnTo>
                        <a:pt x="848" y="41"/>
                      </a:lnTo>
                      <a:lnTo>
                        <a:pt x="846" y="44"/>
                      </a:lnTo>
                      <a:lnTo>
                        <a:pt x="851" y="44"/>
                      </a:lnTo>
                      <a:lnTo>
                        <a:pt x="854" y="42"/>
                      </a:lnTo>
                      <a:lnTo>
                        <a:pt x="858" y="39"/>
                      </a:lnTo>
                      <a:lnTo>
                        <a:pt x="861" y="41"/>
                      </a:lnTo>
                      <a:lnTo>
                        <a:pt x="859" y="44"/>
                      </a:lnTo>
                      <a:lnTo>
                        <a:pt x="861" y="47"/>
                      </a:lnTo>
                      <a:lnTo>
                        <a:pt x="864" y="47"/>
                      </a:lnTo>
                      <a:lnTo>
                        <a:pt x="867" y="47"/>
                      </a:lnTo>
                      <a:lnTo>
                        <a:pt x="870" y="52"/>
                      </a:lnTo>
                      <a:lnTo>
                        <a:pt x="869" y="55"/>
                      </a:lnTo>
                      <a:lnTo>
                        <a:pt x="872" y="52"/>
                      </a:lnTo>
                      <a:lnTo>
                        <a:pt x="873" y="50"/>
                      </a:lnTo>
                      <a:lnTo>
                        <a:pt x="877" y="54"/>
                      </a:lnTo>
                      <a:lnTo>
                        <a:pt x="881" y="55"/>
                      </a:lnTo>
                      <a:lnTo>
                        <a:pt x="885" y="54"/>
                      </a:lnTo>
                      <a:lnTo>
                        <a:pt x="888" y="50"/>
                      </a:lnTo>
                      <a:lnTo>
                        <a:pt x="891" y="50"/>
                      </a:lnTo>
                      <a:lnTo>
                        <a:pt x="892" y="54"/>
                      </a:lnTo>
                      <a:lnTo>
                        <a:pt x="894" y="57"/>
                      </a:lnTo>
                      <a:lnTo>
                        <a:pt x="897" y="58"/>
                      </a:lnTo>
                      <a:lnTo>
                        <a:pt x="899" y="61"/>
                      </a:lnTo>
                      <a:lnTo>
                        <a:pt x="904" y="61"/>
                      </a:lnTo>
                      <a:lnTo>
                        <a:pt x="907" y="61"/>
                      </a:lnTo>
                      <a:lnTo>
                        <a:pt x="910" y="61"/>
                      </a:lnTo>
                      <a:lnTo>
                        <a:pt x="908" y="58"/>
                      </a:lnTo>
                      <a:lnTo>
                        <a:pt x="911" y="55"/>
                      </a:lnTo>
                      <a:lnTo>
                        <a:pt x="916" y="57"/>
                      </a:lnTo>
                      <a:lnTo>
                        <a:pt x="919" y="55"/>
                      </a:lnTo>
                      <a:lnTo>
                        <a:pt x="923" y="54"/>
                      </a:lnTo>
                      <a:lnTo>
                        <a:pt x="921" y="50"/>
                      </a:lnTo>
                      <a:lnTo>
                        <a:pt x="924" y="49"/>
                      </a:lnTo>
                      <a:lnTo>
                        <a:pt x="927" y="47"/>
                      </a:lnTo>
                      <a:lnTo>
                        <a:pt x="931" y="46"/>
                      </a:lnTo>
                      <a:lnTo>
                        <a:pt x="932" y="42"/>
                      </a:lnTo>
                      <a:lnTo>
                        <a:pt x="934" y="46"/>
                      </a:lnTo>
                      <a:lnTo>
                        <a:pt x="929" y="49"/>
                      </a:lnTo>
                      <a:lnTo>
                        <a:pt x="926" y="50"/>
                      </a:lnTo>
                      <a:lnTo>
                        <a:pt x="929" y="50"/>
                      </a:lnTo>
                      <a:lnTo>
                        <a:pt x="926" y="55"/>
                      </a:lnTo>
                      <a:lnTo>
                        <a:pt x="923" y="57"/>
                      </a:lnTo>
                      <a:lnTo>
                        <a:pt x="923" y="61"/>
                      </a:lnTo>
                      <a:lnTo>
                        <a:pt x="924" y="65"/>
                      </a:lnTo>
                      <a:lnTo>
                        <a:pt x="926" y="61"/>
                      </a:lnTo>
                      <a:lnTo>
                        <a:pt x="931" y="58"/>
                      </a:lnTo>
                      <a:lnTo>
                        <a:pt x="934" y="57"/>
                      </a:lnTo>
                      <a:lnTo>
                        <a:pt x="932" y="60"/>
                      </a:lnTo>
                      <a:lnTo>
                        <a:pt x="935" y="61"/>
                      </a:lnTo>
                      <a:lnTo>
                        <a:pt x="934" y="65"/>
                      </a:lnTo>
                      <a:lnTo>
                        <a:pt x="934" y="68"/>
                      </a:lnTo>
                      <a:lnTo>
                        <a:pt x="938" y="71"/>
                      </a:lnTo>
                      <a:lnTo>
                        <a:pt x="943" y="69"/>
                      </a:lnTo>
                      <a:lnTo>
                        <a:pt x="945" y="66"/>
                      </a:lnTo>
                      <a:lnTo>
                        <a:pt x="946" y="61"/>
                      </a:lnTo>
                      <a:lnTo>
                        <a:pt x="943" y="60"/>
                      </a:lnTo>
                      <a:lnTo>
                        <a:pt x="943" y="57"/>
                      </a:lnTo>
                      <a:lnTo>
                        <a:pt x="946" y="54"/>
                      </a:lnTo>
                      <a:lnTo>
                        <a:pt x="950" y="50"/>
                      </a:lnTo>
                      <a:lnTo>
                        <a:pt x="953" y="50"/>
                      </a:lnTo>
                      <a:lnTo>
                        <a:pt x="956" y="47"/>
                      </a:lnTo>
                      <a:lnTo>
                        <a:pt x="953" y="50"/>
                      </a:lnTo>
                      <a:lnTo>
                        <a:pt x="954" y="54"/>
                      </a:lnTo>
                      <a:lnTo>
                        <a:pt x="956" y="57"/>
                      </a:lnTo>
                      <a:lnTo>
                        <a:pt x="957" y="60"/>
                      </a:lnTo>
                      <a:lnTo>
                        <a:pt x="961" y="63"/>
                      </a:lnTo>
                      <a:lnTo>
                        <a:pt x="959" y="60"/>
                      </a:lnTo>
                      <a:lnTo>
                        <a:pt x="962" y="60"/>
                      </a:lnTo>
                      <a:lnTo>
                        <a:pt x="964" y="60"/>
                      </a:lnTo>
                      <a:lnTo>
                        <a:pt x="965" y="61"/>
                      </a:lnTo>
                      <a:lnTo>
                        <a:pt x="967" y="63"/>
                      </a:lnTo>
                      <a:lnTo>
                        <a:pt x="965" y="68"/>
                      </a:lnTo>
                      <a:lnTo>
                        <a:pt x="962" y="73"/>
                      </a:lnTo>
                      <a:lnTo>
                        <a:pt x="956" y="80"/>
                      </a:lnTo>
                      <a:lnTo>
                        <a:pt x="948" y="85"/>
                      </a:lnTo>
                      <a:lnTo>
                        <a:pt x="951" y="90"/>
                      </a:lnTo>
                      <a:lnTo>
                        <a:pt x="953" y="93"/>
                      </a:lnTo>
                      <a:lnTo>
                        <a:pt x="950" y="90"/>
                      </a:lnTo>
                      <a:lnTo>
                        <a:pt x="950" y="95"/>
                      </a:lnTo>
                      <a:lnTo>
                        <a:pt x="948" y="98"/>
                      </a:lnTo>
                      <a:lnTo>
                        <a:pt x="946" y="101"/>
                      </a:lnTo>
                      <a:lnTo>
                        <a:pt x="943" y="103"/>
                      </a:lnTo>
                      <a:lnTo>
                        <a:pt x="943" y="100"/>
                      </a:lnTo>
                      <a:lnTo>
                        <a:pt x="943" y="96"/>
                      </a:lnTo>
                      <a:lnTo>
                        <a:pt x="940" y="100"/>
                      </a:lnTo>
                      <a:lnTo>
                        <a:pt x="935" y="103"/>
                      </a:lnTo>
                      <a:lnTo>
                        <a:pt x="935" y="98"/>
                      </a:lnTo>
                      <a:lnTo>
                        <a:pt x="931" y="101"/>
                      </a:lnTo>
                      <a:lnTo>
                        <a:pt x="931" y="104"/>
                      </a:lnTo>
                      <a:lnTo>
                        <a:pt x="929" y="101"/>
                      </a:lnTo>
                      <a:lnTo>
                        <a:pt x="926" y="104"/>
                      </a:lnTo>
                      <a:lnTo>
                        <a:pt x="924" y="107"/>
                      </a:lnTo>
                      <a:lnTo>
                        <a:pt x="926" y="111"/>
                      </a:lnTo>
                      <a:lnTo>
                        <a:pt x="923" y="111"/>
                      </a:lnTo>
                      <a:lnTo>
                        <a:pt x="923" y="114"/>
                      </a:lnTo>
                      <a:lnTo>
                        <a:pt x="921" y="117"/>
                      </a:lnTo>
                      <a:lnTo>
                        <a:pt x="923" y="120"/>
                      </a:lnTo>
                      <a:lnTo>
                        <a:pt x="926" y="122"/>
                      </a:lnTo>
                      <a:lnTo>
                        <a:pt x="929" y="119"/>
                      </a:lnTo>
                      <a:lnTo>
                        <a:pt x="927" y="123"/>
                      </a:lnTo>
                      <a:lnTo>
                        <a:pt x="926" y="126"/>
                      </a:lnTo>
                      <a:lnTo>
                        <a:pt x="924" y="130"/>
                      </a:lnTo>
                      <a:lnTo>
                        <a:pt x="921" y="133"/>
                      </a:lnTo>
                      <a:lnTo>
                        <a:pt x="921" y="136"/>
                      </a:lnTo>
                      <a:lnTo>
                        <a:pt x="919" y="141"/>
                      </a:lnTo>
                      <a:lnTo>
                        <a:pt x="916" y="142"/>
                      </a:lnTo>
                      <a:lnTo>
                        <a:pt x="913" y="145"/>
                      </a:lnTo>
                      <a:lnTo>
                        <a:pt x="911" y="150"/>
                      </a:lnTo>
                      <a:lnTo>
                        <a:pt x="907" y="153"/>
                      </a:lnTo>
                      <a:lnTo>
                        <a:pt x="905" y="157"/>
                      </a:lnTo>
                      <a:lnTo>
                        <a:pt x="904" y="160"/>
                      </a:lnTo>
                      <a:lnTo>
                        <a:pt x="900" y="163"/>
                      </a:lnTo>
                      <a:lnTo>
                        <a:pt x="897" y="163"/>
                      </a:lnTo>
                      <a:lnTo>
                        <a:pt x="899" y="168"/>
                      </a:lnTo>
                      <a:lnTo>
                        <a:pt x="900" y="172"/>
                      </a:lnTo>
                      <a:lnTo>
                        <a:pt x="902" y="174"/>
                      </a:lnTo>
                      <a:lnTo>
                        <a:pt x="904" y="176"/>
                      </a:lnTo>
                      <a:lnTo>
                        <a:pt x="910" y="179"/>
                      </a:lnTo>
                      <a:lnTo>
                        <a:pt x="915" y="185"/>
                      </a:lnTo>
                      <a:lnTo>
                        <a:pt x="921" y="188"/>
                      </a:lnTo>
                      <a:lnTo>
                        <a:pt x="923" y="190"/>
                      </a:lnTo>
                      <a:lnTo>
                        <a:pt x="924" y="193"/>
                      </a:lnTo>
                      <a:lnTo>
                        <a:pt x="926" y="195"/>
                      </a:lnTo>
                      <a:lnTo>
                        <a:pt x="926" y="196"/>
                      </a:lnTo>
                      <a:lnTo>
                        <a:pt x="927" y="199"/>
                      </a:lnTo>
                      <a:lnTo>
                        <a:pt x="931" y="201"/>
                      </a:lnTo>
                      <a:lnTo>
                        <a:pt x="935" y="203"/>
                      </a:lnTo>
                      <a:lnTo>
                        <a:pt x="935" y="206"/>
                      </a:lnTo>
                      <a:lnTo>
                        <a:pt x="938" y="209"/>
                      </a:lnTo>
                      <a:lnTo>
                        <a:pt x="938" y="212"/>
                      </a:lnTo>
                      <a:lnTo>
                        <a:pt x="942" y="212"/>
                      </a:lnTo>
                      <a:lnTo>
                        <a:pt x="945" y="212"/>
                      </a:lnTo>
                      <a:lnTo>
                        <a:pt x="950" y="209"/>
                      </a:lnTo>
                      <a:lnTo>
                        <a:pt x="953" y="214"/>
                      </a:lnTo>
                      <a:lnTo>
                        <a:pt x="956" y="215"/>
                      </a:lnTo>
                      <a:lnTo>
                        <a:pt x="956" y="215"/>
                      </a:lnTo>
                      <a:lnTo>
                        <a:pt x="959" y="218"/>
                      </a:lnTo>
                      <a:lnTo>
                        <a:pt x="962" y="222"/>
                      </a:lnTo>
                      <a:lnTo>
                        <a:pt x="967" y="222"/>
                      </a:lnTo>
                      <a:lnTo>
                        <a:pt x="970" y="223"/>
                      </a:lnTo>
                      <a:lnTo>
                        <a:pt x="973" y="226"/>
                      </a:lnTo>
                      <a:lnTo>
                        <a:pt x="975" y="230"/>
                      </a:lnTo>
                      <a:lnTo>
                        <a:pt x="976" y="233"/>
                      </a:lnTo>
                      <a:lnTo>
                        <a:pt x="980" y="237"/>
                      </a:lnTo>
                      <a:lnTo>
                        <a:pt x="981" y="237"/>
                      </a:lnTo>
                      <a:lnTo>
                        <a:pt x="983" y="242"/>
                      </a:lnTo>
                      <a:lnTo>
                        <a:pt x="986" y="244"/>
                      </a:lnTo>
                      <a:lnTo>
                        <a:pt x="991" y="245"/>
                      </a:lnTo>
                      <a:lnTo>
                        <a:pt x="994" y="247"/>
                      </a:lnTo>
                      <a:lnTo>
                        <a:pt x="997" y="247"/>
                      </a:lnTo>
                      <a:lnTo>
                        <a:pt x="1002" y="247"/>
                      </a:lnTo>
                      <a:lnTo>
                        <a:pt x="1005" y="249"/>
                      </a:lnTo>
                      <a:lnTo>
                        <a:pt x="1008" y="252"/>
                      </a:lnTo>
                      <a:lnTo>
                        <a:pt x="1013" y="252"/>
                      </a:lnTo>
                      <a:lnTo>
                        <a:pt x="1016" y="255"/>
                      </a:lnTo>
                      <a:lnTo>
                        <a:pt x="1018" y="258"/>
                      </a:lnTo>
                      <a:lnTo>
                        <a:pt x="1018" y="263"/>
                      </a:lnTo>
                      <a:lnTo>
                        <a:pt x="1018" y="266"/>
                      </a:lnTo>
                      <a:lnTo>
                        <a:pt x="1019" y="269"/>
                      </a:lnTo>
                      <a:lnTo>
                        <a:pt x="1021" y="271"/>
                      </a:lnTo>
                      <a:lnTo>
                        <a:pt x="1024" y="271"/>
                      </a:lnTo>
                      <a:lnTo>
                        <a:pt x="1029" y="274"/>
                      </a:lnTo>
                      <a:lnTo>
                        <a:pt x="1032" y="277"/>
                      </a:lnTo>
                      <a:lnTo>
                        <a:pt x="1035" y="279"/>
                      </a:lnTo>
                      <a:lnTo>
                        <a:pt x="1037" y="279"/>
                      </a:lnTo>
                      <a:lnTo>
                        <a:pt x="1040" y="280"/>
                      </a:lnTo>
                      <a:lnTo>
                        <a:pt x="1043" y="285"/>
                      </a:lnTo>
                      <a:lnTo>
                        <a:pt x="1043" y="285"/>
                      </a:lnTo>
                      <a:lnTo>
                        <a:pt x="1046" y="285"/>
                      </a:lnTo>
                      <a:lnTo>
                        <a:pt x="1051" y="285"/>
                      </a:lnTo>
                      <a:lnTo>
                        <a:pt x="1054" y="283"/>
                      </a:lnTo>
                      <a:lnTo>
                        <a:pt x="1057" y="283"/>
                      </a:lnTo>
                      <a:lnTo>
                        <a:pt x="1061" y="282"/>
                      </a:lnTo>
                      <a:lnTo>
                        <a:pt x="1065" y="280"/>
                      </a:lnTo>
                      <a:lnTo>
                        <a:pt x="1068" y="279"/>
                      </a:lnTo>
                      <a:lnTo>
                        <a:pt x="1072" y="277"/>
                      </a:lnTo>
                      <a:lnTo>
                        <a:pt x="1075" y="274"/>
                      </a:lnTo>
                      <a:lnTo>
                        <a:pt x="1078" y="271"/>
                      </a:lnTo>
                      <a:lnTo>
                        <a:pt x="1080" y="263"/>
                      </a:lnTo>
                      <a:lnTo>
                        <a:pt x="1084" y="256"/>
                      </a:lnTo>
                      <a:lnTo>
                        <a:pt x="1088" y="249"/>
                      </a:lnTo>
                      <a:lnTo>
                        <a:pt x="1094" y="244"/>
                      </a:lnTo>
                      <a:lnTo>
                        <a:pt x="1095" y="239"/>
                      </a:lnTo>
                      <a:lnTo>
                        <a:pt x="1097" y="236"/>
                      </a:lnTo>
                      <a:lnTo>
                        <a:pt x="1100" y="230"/>
                      </a:lnTo>
                      <a:lnTo>
                        <a:pt x="1102" y="226"/>
                      </a:lnTo>
                      <a:lnTo>
                        <a:pt x="1103" y="222"/>
                      </a:lnTo>
                      <a:lnTo>
                        <a:pt x="1107" y="218"/>
                      </a:lnTo>
                      <a:lnTo>
                        <a:pt x="1107" y="218"/>
                      </a:lnTo>
                      <a:lnTo>
                        <a:pt x="1105" y="214"/>
                      </a:lnTo>
                      <a:lnTo>
                        <a:pt x="1111" y="198"/>
                      </a:lnTo>
                      <a:lnTo>
                        <a:pt x="1118" y="182"/>
                      </a:lnTo>
                      <a:lnTo>
                        <a:pt x="1118" y="182"/>
                      </a:lnTo>
                      <a:lnTo>
                        <a:pt x="1119" y="179"/>
                      </a:lnTo>
                      <a:lnTo>
                        <a:pt x="1121" y="176"/>
                      </a:lnTo>
                      <a:lnTo>
                        <a:pt x="1121" y="172"/>
                      </a:lnTo>
                      <a:lnTo>
                        <a:pt x="1121" y="169"/>
                      </a:lnTo>
                      <a:lnTo>
                        <a:pt x="1119" y="165"/>
                      </a:lnTo>
                      <a:lnTo>
                        <a:pt x="1119" y="158"/>
                      </a:lnTo>
                      <a:lnTo>
                        <a:pt x="1121" y="150"/>
                      </a:lnTo>
                      <a:lnTo>
                        <a:pt x="1124" y="144"/>
                      </a:lnTo>
                      <a:lnTo>
                        <a:pt x="1124" y="142"/>
                      </a:lnTo>
                      <a:lnTo>
                        <a:pt x="1124" y="139"/>
                      </a:lnTo>
                      <a:lnTo>
                        <a:pt x="1124" y="136"/>
                      </a:lnTo>
                      <a:lnTo>
                        <a:pt x="1121" y="130"/>
                      </a:lnTo>
                      <a:lnTo>
                        <a:pt x="1121" y="126"/>
                      </a:lnTo>
                      <a:lnTo>
                        <a:pt x="1122" y="123"/>
                      </a:lnTo>
                      <a:lnTo>
                        <a:pt x="1124" y="119"/>
                      </a:lnTo>
                      <a:lnTo>
                        <a:pt x="1126" y="115"/>
                      </a:lnTo>
                      <a:lnTo>
                        <a:pt x="1127" y="112"/>
                      </a:lnTo>
                      <a:lnTo>
                        <a:pt x="1129" y="109"/>
                      </a:lnTo>
                      <a:lnTo>
                        <a:pt x="1130" y="107"/>
                      </a:lnTo>
                      <a:lnTo>
                        <a:pt x="1132" y="107"/>
                      </a:lnTo>
                      <a:lnTo>
                        <a:pt x="1132" y="103"/>
                      </a:lnTo>
                      <a:lnTo>
                        <a:pt x="1132" y="100"/>
                      </a:lnTo>
                      <a:lnTo>
                        <a:pt x="1130" y="96"/>
                      </a:lnTo>
                      <a:lnTo>
                        <a:pt x="1130" y="93"/>
                      </a:lnTo>
                      <a:lnTo>
                        <a:pt x="1132" y="88"/>
                      </a:lnTo>
                      <a:lnTo>
                        <a:pt x="1135" y="87"/>
                      </a:lnTo>
                      <a:lnTo>
                        <a:pt x="1138" y="84"/>
                      </a:lnTo>
                      <a:lnTo>
                        <a:pt x="1140" y="80"/>
                      </a:lnTo>
                      <a:lnTo>
                        <a:pt x="1141" y="84"/>
                      </a:lnTo>
                      <a:lnTo>
                        <a:pt x="1143" y="87"/>
                      </a:lnTo>
                      <a:lnTo>
                        <a:pt x="1143" y="84"/>
                      </a:lnTo>
                      <a:lnTo>
                        <a:pt x="1146" y="80"/>
                      </a:lnTo>
                      <a:lnTo>
                        <a:pt x="1143" y="80"/>
                      </a:lnTo>
                      <a:lnTo>
                        <a:pt x="1143" y="76"/>
                      </a:lnTo>
                      <a:lnTo>
                        <a:pt x="1140" y="76"/>
                      </a:lnTo>
                      <a:lnTo>
                        <a:pt x="1137" y="71"/>
                      </a:lnTo>
                      <a:lnTo>
                        <a:pt x="1134" y="74"/>
                      </a:lnTo>
                      <a:lnTo>
                        <a:pt x="1134" y="73"/>
                      </a:lnTo>
                      <a:lnTo>
                        <a:pt x="1135" y="69"/>
                      </a:lnTo>
                      <a:lnTo>
                        <a:pt x="1137" y="66"/>
                      </a:lnTo>
                      <a:lnTo>
                        <a:pt x="1138" y="61"/>
                      </a:lnTo>
                      <a:lnTo>
                        <a:pt x="1141" y="61"/>
                      </a:lnTo>
                      <a:lnTo>
                        <a:pt x="1141" y="58"/>
                      </a:lnTo>
                      <a:lnTo>
                        <a:pt x="1143" y="55"/>
                      </a:lnTo>
                      <a:lnTo>
                        <a:pt x="1145" y="50"/>
                      </a:lnTo>
                      <a:lnTo>
                        <a:pt x="1146" y="55"/>
                      </a:lnTo>
                      <a:lnTo>
                        <a:pt x="1151" y="55"/>
                      </a:lnTo>
                      <a:lnTo>
                        <a:pt x="1149" y="47"/>
                      </a:lnTo>
                      <a:lnTo>
                        <a:pt x="1149" y="44"/>
                      </a:lnTo>
                      <a:lnTo>
                        <a:pt x="1153" y="41"/>
                      </a:lnTo>
                      <a:lnTo>
                        <a:pt x="1154" y="33"/>
                      </a:lnTo>
                      <a:lnTo>
                        <a:pt x="1157" y="28"/>
                      </a:lnTo>
                      <a:lnTo>
                        <a:pt x="1159" y="22"/>
                      </a:lnTo>
                      <a:lnTo>
                        <a:pt x="1160" y="15"/>
                      </a:lnTo>
                      <a:lnTo>
                        <a:pt x="1160" y="9"/>
                      </a:lnTo>
                      <a:lnTo>
                        <a:pt x="1164" y="8"/>
                      </a:lnTo>
                      <a:lnTo>
                        <a:pt x="1167" y="6"/>
                      </a:lnTo>
                      <a:lnTo>
                        <a:pt x="1170" y="3"/>
                      </a:lnTo>
                      <a:lnTo>
                        <a:pt x="1172" y="1"/>
                      </a:lnTo>
                      <a:lnTo>
                        <a:pt x="1175" y="0"/>
                      </a:lnTo>
                      <a:lnTo>
                        <a:pt x="1178" y="0"/>
                      </a:lnTo>
                      <a:lnTo>
                        <a:pt x="1176" y="4"/>
                      </a:lnTo>
                      <a:lnTo>
                        <a:pt x="1173" y="8"/>
                      </a:lnTo>
                      <a:lnTo>
                        <a:pt x="1178" y="6"/>
                      </a:lnTo>
                      <a:lnTo>
                        <a:pt x="1180" y="9"/>
                      </a:lnTo>
                      <a:lnTo>
                        <a:pt x="1183" y="12"/>
                      </a:lnTo>
                      <a:lnTo>
                        <a:pt x="1183" y="15"/>
                      </a:lnTo>
                      <a:lnTo>
                        <a:pt x="1183" y="19"/>
                      </a:lnTo>
                      <a:lnTo>
                        <a:pt x="1183" y="23"/>
                      </a:lnTo>
                      <a:lnTo>
                        <a:pt x="1184" y="27"/>
                      </a:lnTo>
                      <a:lnTo>
                        <a:pt x="1183" y="30"/>
                      </a:lnTo>
                      <a:lnTo>
                        <a:pt x="1183" y="33"/>
                      </a:lnTo>
                      <a:lnTo>
                        <a:pt x="1183" y="38"/>
                      </a:lnTo>
                      <a:lnTo>
                        <a:pt x="1183" y="41"/>
                      </a:lnTo>
                      <a:lnTo>
                        <a:pt x="1183" y="44"/>
                      </a:lnTo>
                      <a:lnTo>
                        <a:pt x="1184" y="47"/>
                      </a:lnTo>
                      <a:lnTo>
                        <a:pt x="1189" y="49"/>
                      </a:lnTo>
                      <a:lnTo>
                        <a:pt x="1192" y="49"/>
                      </a:lnTo>
                      <a:lnTo>
                        <a:pt x="1195" y="50"/>
                      </a:lnTo>
                      <a:lnTo>
                        <a:pt x="1192" y="54"/>
                      </a:lnTo>
                      <a:lnTo>
                        <a:pt x="1189" y="57"/>
                      </a:lnTo>
                      <a:lnTo>
                        <a:pt x="1187" y="60"/>
                      </a:lnTo>
                      <a:lnTo>
                        <a:pt x="1187" y="65"/>
                      </a:lnTo>
                      <a:lnTo>
                        <a:pt x="1191" y="66"/>
                      </a:lnTo>
                      <a:lnTo>
                        <a:pt x="1194" y="69"/>
                      </a:lnTo>
                      <a:lnTo>
                        <a:pt x="1194" y="73"/>
                      </a:lnTo>
                      <a:lnTo>
                        <a:pt x="1197" y="76"/>
                      </a:lnTo>
                      <a:lnTo>
                        <a:pt x="1197" y="79"/>
                      </a:lnTo>
                      <a:lnTo>
                        <a:pt x="1195" y="82"/>
                      </a:lnTo>
                      <a:lnTo>
                        <a:pt x="1195" y="85"/>
                      </a:lnTo>
                      <a:lnTo>
                        <a:pt x="1199" y="87"/>
                      </a:lnTo>
                      <a:lnTo>
                        <a:pt x="1200" y="90"/>
                      </a:lnTo>
                      <a:lnTo>
                        <a:pt x="1199" y="93"/>
                      </a:lnTo>
                      <a:lnTo>
                        <a:pt x="1199" y="98"/>
                      </a:lnTo>
                      <a:lnTo>
                        <a:pt x="1199" y="101"/>
                      </a:lnTo>
                      <a:lnTo>
                        <a:pt x="1199" y="104"/>
                      </a:lnTo>
                      <a:lnTo>
                        <a:pt x="1200" y="107"/>
                      </a:lnTo>
                      <a:lnTo>
                        <a:pt x="1197" y="119"/>
                      </a:lnTo>
                      <a:lnTo>
                        <a:pt x="1197" y="130"/>
                      </a:lnTo>
                      <a:lnTo>
                        <a:pt x="1197" y="131"/>
                      </a:lnTo>
                      <a:lnTo>
                        <a:pt x="1200" y="134"/>
                      </a:lnTo>
                      <a:lnTo>
                        <a:pt x="1200" y="138"/>
                      </a:lnTo>
                      <a:lnTo>
                        <a:pt x="1200" y="141"/>
                      </a:lnTo>
                      <a:lnTo>
                        <a:pt x="1200" y="145"/>
                      </a:lnTo>
                      <a:lnTo>
                        <a:pt x="1200" y="149"/>
                      </a:lnTo>
                      <a:lnTo>
                        <a:pt x="1202" y="152"/>
                      </a:lnTo>
                      <a:lnTo>
                        <a:pt x="1205" y="153"/>
                      </a:lnTo>
                      <a:lnTo>
                        <a:pt x="1210" y="153"/>
                      </a:lnTo>
                      <a:lnTo>
                        <a:pt x="1213" y="150"/>
                      </a:lnTo>
                      <a:lnTo>
                        <a:pt x="1216" y="147"/>
                      </a:lnTo>
                      <a:lnTo>
                        <a:pt x="1216" y="144"/>
                      </a:lnTo>
                      <a:lnTo>
                        <a:pt x="1221" y="145"/>
                      </a:lnTo>
                      <a:lnTo>
                        <a:pt x="1224" y="144"/>
                      </a:lnTo>
                      <a:lnTo>
                        <a:pt x="1227" y="141"/>
                      </a:lnTo>
                      <a:lnTo>
                        <a:pt x="1230" y="144"/>
                      </a:lnTo>
                      <a:lnTo>
                        <a:pt x="1230" y="147"/>
                      </a:lnTo>
                      <a:lnTo>
                        <a:pt x="1230" y="150"/>
                      </a:lnTo>
                      <a:lnTo>
                        <a:pt x="1232" y="155"/>
                      </a:lnTo>
                      <a:lnTo>
                        <a:pt x="1235" y="155"/>
                      </a:lnTo>
                      <a:lnTo>
                        <a:pt x="1238" y="158"/>
                      </a:lnTo>
                      <a:lnTo>
                        <a:pt x="1240" y="163"/>
                      </a:lnTo>
                      <a:lnTo>
                        <a:pt x="1243" y="166"/>
                      </a:lnTo>
                      <a:lnTo>
                        <a:pt x="1246" y="168"/>
                      </a:lnTo>
                      <a:lnTo>
                        <a:pt x="1249" y="168"/>
                      </a:lnTo>
                      <a:lnTo>
                        <a:pt x="1251" y="171"/>
                      </a:lnTo>
                      <a:lnTo>
                        <a:pt x="1254" y="172"/>
                      </a:lnTo>
                      <a:lnTo>
                        <a:pt x="1251" y="176"/>
                      </a:lnTo>
                      <a:lnTo>
                        <a:pt x="1249" y="179"/>
                      </a:lnTo>
                      <a:lnTo>
                        <a:pt x="1248" y="182"/>
                      </a:lnTo>
                      <a:lnTo>
                        <a:pt x="1252" y="185"/>
                      </a:lnTo>
                      <a:lnTo>
                        <a:pt x="1249" y="188"/>
                      </a:lnTo>
                      <a:lnTo>
                        <a:pt x="1246" y="191"/>
                      </a:lnTo>
                      <a:lnTo>
                        <a:pt x="1246" y="195"/>
                      </a:lnTo>
                      <a:lnTo>
                        <a:pt x="1248" y="198"/>
                      </a:lnTo>
                      <a:lnTo>
                        <a:pt x="1248" y="203"/>
                      </a:lnTo>
                      <a:lnTo>
                        <a:pt x="1249" y="206"/>
                      </a:lnTo>
                      <a:lnTo>
                        <a:pt x="1248" y="209"/>
                      </a:lnTo>
                      <a:lnTo>
                        <a:pt x="1249" y="214"/>
                      </a:lnTo>
                      <a:lnTo>
                        <a:pt x="1251" y="217"/>
                      </a:lnTo>
                      <a:lnTo>
                        <a:pt x="1249" y="220"/>
                      </a:lnTo>
                      <a:lnTo>
                        <a:pt x="1248" y="223"/>
                      </a:lnTo>
                      <a:lnTo>
                        <a:pt x="1248" y="226"/>
                      </a:lnTo>
                      <a:lnTo>
                        <a:pt x="1246" y="230"/>
                      </a:lnTo>
                      <a:lnTo>
                        <a:pt x="1246" y="234"/>
                      </a:lnTo>
                      <a:lnTo>
                        <a:pt x="1248" y="237"/>
                      </a:lnTo>
                      <a:lnTo>
                        <a:pt x="1249" y="241"/>
                      </a:lnTo>
                      <a:lnTo>
                        <a:pt x="1251" y="244"/>
                      </a:lnTo>
                      <a:lnTo>
                        <a:pt x="1254" y="247"/>
                      </a:lnTo>
                      <a:lnTo>
                        <a:pt x="1256" y="252"/>
                      </a:lnTo>
                      <a:lnTo>
                        <a:pt x="1254" y="253"/>
                      </a:lnTo>
                      <a:lnTo>
                        <a:pt x="1259" y="252"/>
                      </a:lnTo>
                      <a:lnTo>
                        <a:pt x="1262" y="250"/>
                      </a:lnTo>
                      <a:lnTo>
                        <a:pt x="1260" y="255"/>
                      </a:lnTo>
                      <a:lnTo>
                        <a:pt x="1257" y="258"/>
                      </a:lnTo>
                      <a:lnTo>
                        <a:pt x="1260" y="261"/>
                      </a:lnTo>
                      <a:lnTo>
                        <a:pt x="1260" y="264"/>
                      </a:lnTo>
                      <a:lnTo>
                        <a:pt x="1260" y="268"/>
                      </a:lnTo>
                      <a:lnTo>
                        <a:pt x="1262" y="271"/>
                      </a:lnTo>
                      <a:lnTo>
                        <a:pt x="1262" y="276"/>
                      </a:lnTo>
                      <a:lnTo>
                        <a:pt x="1262" y="279"/>
                      </a:lnTo>
                      <a:lnTo>
                        <a:pt x="1264" y="282"/>
                      </a:lnTo>
                      <a:lnTo>
                        <a:pt x="1260" y="285"/>
                      </a:lnTo>
                      <a:lnTo>
                        <a:pt x="1260" y="290"/>
                      </a:lnTo>
                      <a:lnTo>
                        <a:pt x="1259" y="293"/>
                      </a:lnTo>
                      <a:lnTo>
                        <a:pt x="1259" y="296"/>
                      </a:lnTo>
                      <a:lnTo>
                        <a:pt x="1256" y="299"/>
                      </a:lnTo>
                      <a:lnTo>
                        <a:pt x="1254" y="302"/>
                      </a:lnTo>
                      <a:lnTo>
                        <a:pt x="1254" y="307"/>
                      </a:lnTo>
                      <a:lnTo>
                        <a:pt x="1256" y="310"/>
                      </a:lnTo>
                      <a:lnTo>
                        <a:pt x="1259" y="314"/>
                      </a:lnTo>
                      <a:lnTo>
                        <a:pt x="1259" y="317"/>
                      </a:lnTo>
                      <a:lnTo>
                        <a:pt x="1262" y="318"/>
                      </a:lnTo>
                      <a:lnTo>
                        <a:pt x="1262" y="318"/>
                      </a:lnTo>
                      <a:lnTo>
                        <a:pt x="1262" y="322"/>
                      </a:lnTo>
                      <a:lnTo>
                        <a:pt x="1260" y="326"/>
                      </a:lnTo>
                      <a:lnTo>
                        <a:pt x="1259" y="329"/>
                      </a:lnTo>
                      <a:lnTo>
                        <a:pt x="1257" y="333"/>
                      </a:lnTo>
                      <a:lnTo>
                        <a:pt x="1259" y="336"/>
                      </a:lnTo>
                      <a:lnTo>
                        <a:pt x="1262" y="339"/>
                      </a:lnTo>
                      <a:lnTo>
                        <a:pt x="1265" y="342"/>
                      </a:lnTo>
                      <a:lnTo>
                        <a:pt x="1268" y="345"/>
                      </a:lnTo>
                      <a:lnTo>
                        <a:pt x="1271" y="345"/>
                      </a:lnTo>
                      <a:lnTo>
                        <a:pt x="1275" y="348"/>
                      </a:lnTo>
                      <a:lnTo>
                        <a:pt x="1278" y="350"/>
                      </a:lnTo>
                      <a:lnTo>
                        <a:pt x="1281" y="347"/>
                      </a:lnTo>
                      <a:lnTo>
                        <a:pt x="1283" y="350"/>
                      </a:lnTo>
                      <a:lnTo>
                        <a:pt x="1283" y="353"/>
                      </a:lnTo>
                      <a:lnTo>
                        <a:pt x="1284" y="355"/>
                      </a:lnTo>
                      <a:lnTo>
                        <a:pt x="1286" y="355"/>
                      </a:lnTo>
                      <a:lnTo>
                        <a:pt x="1289" y="355"/>
                      </a:lnTo>
                      <a:lnTo>
                        <a:pt x="1294" y="355"/>
                      </a:lnTo>
                      <a:lnTo>
                        <a:pt x="1294" y="352"/>
                      </a:lnTo>
                      <a:lnTo>
                        <a:pt x="1297" y="356"/>
                      </a:lnTo>
                      <a:lnTo>
                        <a:pt x="1298" y="361"/>
                      </a:lnTo>
                      <a:lnTo>
                        <a:pt x="1298" y="364"/>
                      </a:lnTo>
                      <a:lnTo>
                        <a:pt x="1298" y="369"/>
                      </a:lnTo>
                      <a:lnTo>
                        <a:pt x="1302" y="372"/>
                      </a:lnTo>
                      <a:lnTo>
                        <a:pt x="1303" y="369"/>
                      </a:lnTo>
                      <a:lnTo>
                        <a:pt x="1306" y="368"/>
                      </a:lnTo>
                      <a:lnTo>
                        <a:pt x="1305" y="371"/>
                      </a:lnTo>
                      <a:lnTo>
                        <a:pt x="1308" y="374"/>
                      </a:lnTo>
                      <a:lnTo>
                        <a:pt x="1311" y="374"/>
                      </a:lnTo>
                      <a:lnTo>
                        <a:pt x="1314" y="375"/>
                      </a:lnTo>
                      <a:lnTo>
                        <a:pt x="1317" y="377"/>
                      </a:lnTo>
                      <a:lnTo>
                        <a:pt x="1319" y="379"/>
                      </a:lnTo>
                      <a:lnTo>
                        <a:pt x="1317" y="382"/>
                      </a:lnTo>
                      <a:lnTo>
                        <a:pt x="1321" y="385"/>
                      </a:lnTo>
                      <a:lnTo>
                        <a:pt x="1325" y="385"/>
                      </a:lnTo>
                      <a:lnTo>
                        <a:pt x="1325" y="382"/>
                      </a:lnTo>
                      <a:lnTo>
                        <a:pt x="1329" y="382"/>
                      </a:lnTo>
                      <a:lnTo>
                        <a:pt x="1329" y="385"/>
                      </a:lnTo>
                      <a:lnTo>
                        <a:pt x="1330" y="388"/>
                      </a:lnTo>
                      <a:lnTo>
                        <a:pt x="1335" y="388"/>
                      </a:lnTo>
                      <a:lnTo>
                        <a:pt x="1335" y="391"/>
                      </a:lnTo>
                      <a:lnTo>
                        <a:pt x="1335" y="394"/>
                      </a:lnTo>
                      <a:lnTo>
                        <a:pt x="1337" y="398"/>
                      </a:lnTo>
                      <a:lnTo>
                        <a:pt x="1338" y="401"/>
                      </a:lnTo>
                      <a:lnTo>
                        <a:pt x="1335" y="398"/>
                      </a:lnTo>
                      <a:lnTo>
                        <a:pt x="1332" y="398"/>
                      </a:lnTo>
                      <a:lnTo>
                        <a:pt x="1329" y="401"/>
                      </a:lnTo>
                      <a:lnTo>
                        <a:pt x="1330" y="406"/>
                      </a:lnTo>
                      <a:lnTo>
                        <a:pt x="1330" y="409"/>
                      </a:lnTo>
                      <a:lnTo>
                        <a:pt x="1332" y="412"/>
                      </a:lnTo>
                      <a:lnTo>
                        <a:pt x="1330" y="415"/>
                      </a:lnTo>
                      <a:lnTo>
                        <a:pt x="1335" y="415"/>
                      </a:lnTo>
                      <a:lnTo>
                        <a:pt x="1338" y="415"/>
                      </a:lnTo>
                      <a:lnTo>
                        <a:pt x="1340" y="420"/>
                      </a:lnTo>
                      <a:lnTo>
                        <a:pt x="1343" y="423"/>
                      </a:lnTo>
                      <a:lnTo>
                        <a:pt x="1341" y="426"/>
                      </a:lnTo>
                      <a:lnTo>
                        <a:pt x="1341" y="429"/>
                      </a:lnTo>
                      <a:lnTo>
                        <a:pt x="1343" y="431"/>
                      </a:lnTo>
                      <a:lnTo>
                        <a:pt x="1344" y="434"/>
                      </a:lnTo>
                      <a:lnTo>
                        <a:pt x="1343" y="437"/>
                      </a:lnTo>
                      <a:lnTo>
                        <a:pt x="1344" y="440"/>
                      </a:lnTo>
                      <a:lnTo>
                        <a:pt x="1349" y="442"/>
                      </a:lnTo>
                      <a:lnTo>
                        <a:pt x="1346" y="445"/>
                      </a:lnTo>
                      <a:lnTo>
                        <a:pt x="1346" y="448"/>
                      </a:lnTo>
                      <a:lnTo>
                        <a:pt x="1344" y="452"/>
                      </a:lnTo>
                      <a:lnTo>
                        <a:pt x="1344" y="456"/>
                      </a:lnTo>
                      <a:lnTo>
                        <a:pt x="1344" y="459"/>
                      </a:lnTo>
                      <a:lnTo>
                        <a:pt x="1344" y="463"/>
                      </a:lnTo>
                      <a:lnTo>
                        <a:pt x="1346" y="466"/>
                      </a:lnTo>
                      <a:lnTo>
                        <a:pt x="1346" y="471"/>
                      </a:lnTo>
                      <a:lnTo>
                        <a:pt x="1348" y="474"/>
                      </a:lnTo>
                      <a:lnTo>
                        <a:pt x="1348" y="477"/>
                      </a:lnTo>
                      <a:lnTo>
                        <a:pt x="1346" y="480"/>
                      </a:lnTo>
                      <a:lnTo>
                        <a:pt x="1349" y="479"/>
                      </a:lnTo>
                      <a:lnTo>
                        <a:pt x="1354" y="477"/>
                      </a:lnTo>
                      <a:lnTo>
                        <a:pt x="1356" y="480"/>
                      </a:lnTo>
                      <a:lnTo>
                        <a:pt x="1356" y="485"/>
                      </a:lnTo>
                      <a:lnTo>
                        <a:pt x="1357" y="485"/>
                      </a:lnTo>
                      <a:lnTo>
                        <a:pt x="1359" y="482"/>
                      </a:lnTo>
                      <a:lnTo>
                        <a:pt x="1359" y="480"/>
                      </a:lnTo>
                      <a:lnTo>
                        <a:pt x="1357" y="477"/>
                      </a:lnTo>
                      <a:lnTo>
                        <a:pt x="1357" y="474"/>
                      </a:lnTo>
                      <a:lnTo>
                        <a:pt x="1359" y="471"/>
                      </a:lnTo>
                      <a:lnTo>
                        <a:pt x="1360" y="467"/>
                      </a:lnTo>
                      <a:lnTo>
                        <a:pt x="1360" y="467"/>
                      </a:lnTo>
                      <a:lnTo>
                        <a:pt x="1368" y="475"/>
                      </a:lnTo>
                      <a:lnTo>
                        <a:pt x="1376" y="483"/>
                      </a:lnTo>
                      <a:lnTo>
                        <a:pt x="1378" y="480"/>
                      </a:lnTo>
                      <a:lnTo>
                        <a:pt x="1378" y="475"/>
                      </a:lnTo>
                      <a:lnTo>
                        <a:pt x="1381" y="474"/>
                      </a:lnTo>
                      <a:lnTo>
                        <a:pt x="1383" y="477"/>
                      </a:lnTo>
                      <a:lnTo>
                        <a:pt x="1384" y="482"/>
                      </a:lnTo>
                      <a:lnTo>
                        <a:pt x="1383" y="483"/>
                      </a:lnTo>
                      <a:lnTo>
                        <a:pt x="1384" y="486"/>
                      </a:lnTo>
                      <a:lnTo>
                        <a:pt x="1384" y="491"/>
                      </a:lnTo>
                      <a:lnTo>
                        <a:pt x="1383" y="494"/>
                      </a:lnTo>
                      <a:lnTo>
                        <a:pt x="1383" y="498"/>
                      </a:lnTo>
                      <a:lnTo>
                        <a:pt x="1379" y="501"/>
                      </a:lnTo>
                      <a:lnTo>
                        <a:pt x="1379" y="504"/>
                      </a:lnTo>
                      <a:lnTo>
                        <a:pt x="1379" y="509"/>
                      </a:lnTo>
                      <a:lnTo>
                        <a:pt x="1379" y="512"/>
                      </a:lnTo>
                      <a:lnTo>
                        <a:pt x="1378" y="515"/>
                      </a:lnTo>
                      <a:lnTo>
                        <a:pt x="1378" y="518"/>
                      </a:lnTo>
                      <a:lnTo>
                        <a:pt x="1378" y="523"/>
                      </a:lnTo>
                      <a:lnTo>
                        <a:pt x="1381" y="524"/>
                      </a:lnTo>
                      <a:lnTo>
                        <a:pt x="1384" y="524"/>
                      </a:lnTo>
                      <a:lnTo>
                        <a:pt x="1386" y="526"/>
                      </a:lnTo>
                      <a:lnTo>
                        <a:pt x="1384" y="523"/>
                      </a:lnTo>
                      <a:lnTo>
                        <a:pt x="1386" y="520"/>
                      </a:lnTo>
                      <a:lnTo>
                        <a:pt x="1390" y="521"/>
                      </a:lnTo>
                      <a:lnTo>
                        <a:pt x="1390" y="526"/>
                      </a:lnTo>
                      <a:lnTo>
                        <a:pt x="1392" y="529"/>
                      </a:lnTo>
                      <a:lnTo>
                        <a:pt x="1390" y="532"/>
                      </a:lnTo>
                      <a:lnTo>
                        <a:pt x="1389" y="534"/>
                      </a:lnTo>
                      <a:lnTo>
                        <a:pt x="1387" y="529"/>
                      </a:lnTo>
                      <a:lnTo>
                        <a:pt x="1386" y="528"/>
                      </a:lnTo>
                      <a:lnTo>
                        <a:pt x="1389" y="536"/>
                      </a:lnTo>
                      <a:lnTo>
                        <a:pt x="1394" y="542"/>
                      </a:lnTo>
                      <a:lnTo>
                        <a:pt x="1395" y="542"/>
                      </a:lnTo>
                      <a:lnTo>
                        <a:pt x="1398" y="545"/>
                      </a:lnTo>
                      <a:lnTo>
                        <a:pt x="1402" y="545"/>
                      </a:lnTo>
                      <a:lnTo>
                        <a:pt x="1402" y="542"/>
                      </a:lnTo>
                      <a:lnTo>
                        <a:pt x="1406" y="545"/>
                      </a:lnTo>
                      <a:lnTo>
                        <a:pt x="1409" y="548"/>
                      </a:lnTo>
                      <a:lnTo>
                        <a:pt x="1409" y="553"/>
                      </a:lnTo>
                      <a:lnTo>
                        <a:pt x="1409" y="558"/>
                      </a:lnTo>
                      <a:lnTo>
                        <a:pt x="1411" y="563"/>
                      </a:lnTo>
                      <a:lnTo>
                        <a:pt x="1413" y="567"/>
                      </a:lnTo>
                      <a:lnTo>
                        <a:pt x="1416" y="570"/>
                      </a:lnTo>
                      <a:lnTo>
                        <a:pt x="1421" y="574"/>
                      </a:lnTo>
                      <a:lnTo>
                        <a:pt x="1421" y="574"/>
                      </a:lnTo>
                      <a:lnTo>
                        <a:pt x="1424" y="577"/>
                      </a:lnTo>
                      <a:lnTo>
                        <a:pt x="1422" y="580"/>
                      </a:lnTo>
                      <a:lnTo>
                        <a:pt x="1422" y="583"/>
                      </a:lnTo>
                      <a:lnTo>
                        <a:pt x="1424" y="588"/>
                      </a:lnTo>
                      <a:lnTo>
                        <a:pt x="1424" y="591"/>
                      </a:lnTo>
                      <a:lnTo>
                        <a:pt x="1427" y="594"/>
                      </a:lnTo>
                      <a:lnTo>
                        <a:pt x="1430" y="593"/>
                      </a:lnTo>
                      <a:lnTo>
                        <a:pt x="1433" y="597"/>
                      </a:lnTo>
                      <a:lnTo>
                        <a:pt x="1432" y="601"/>
                      </a:lnTo>
                      <a:lnTo>
                        <a:pt x="1432" y="604"/>
                      </a:lnTo>
                      <a:lnTo>
                        <a:pt x="1429" y="607"/>
                      </a:lnTo>
                      <a:lnTo>
                        <a:pt x="1427" y="610"/>
                      </a:lnTo>
                      <a:lnTo>
                        <a:pt x="1429" y="615"/>
                      </a:lnTo>
                      <a:lnTo>
                        <a:pt x="1430" y="615"/>
                      </a:lnTo>
                      <a:lnTo>
                        <a:pt x="1430" y="620"/>
                      </a:lnTo>
                      <a:lnTo>
                        <a:pt x="1429" y="623"/>
                      </a:lnTo>
                      <a:lnTo>
                        <a:pt x="1432" y="620"/>
                      </a:lnTo>
                      <a:lnTo>
                        <a:pt x="1435" y="623"/>
                      </a:lnTo>
                      <a:lnTo>
                        <a:pt x="1432" y="626"/>
                      </a:lnTo>
                      <a:lnTo>
                        <a:pt x="1430" y="629"/>
                      </a:lnTo>
                      <a:lnTo>
                        <a:pt x="1429" y="632"/>
                      </a:lnTo>
                      <a:lnTo>
                        <a:pt x="1425" y="637"/>
                      </a:lnTo>
                      <a:lnTo>
                        <a:pt x="1427" y="640"/>
                      </a:lnTo>
                      <a:lnTo>
                        <a:pt x="1425" y="643"/>
                      </a:lnTo>
                      <a:lnTo>
                        <a:pt x="1422" y="656"/>
                      </a:lnTo>
                      <a:lnTo>
                        <a:pt x="1421" y="669"/>
                      </a:lnTo>
                      <a:lnTo>
                        <a:pt x="1417" y="669"/>
                      </a:lnTo>
                      <a:lnTo>
                        <a:pt x="1414" y="672"/>
                      </a:lnTo>
                      <a:lnTo>
                        <a:pt x="1416" y="675"/>
                      </a:lnTo>
                      <a:lnTo>
                        <a:pt x="1414" y="678"/>
                      </a:lnTo>
                      <a:lnTo>
                        <a:pt x="1416" y="681"/>
                      </a:lnTo>
                      <a:lnTo>
                        <a:pt x="1417" y="686"/>
                      </a:lnTo>
                      <a:lnTo>
                        <a:pt x="1417" y="689"/>
                      </a:lnTo>
                      <a:lnTo>
                        <a:pt x="1417" y="693"/>
                      </a:lnTo>
                      <a:lnTo>
                        <a:pt x="1417" y="696"/>
                      </a:lnTo>
                      <a:lnTo>
                        <a:pt x="1419" y="699"/>
                      </a:lnTo>
                      <a:lnTo>
                        <a:pt x="1417" y="704"/>
                      </a:lnTo>
                      <a:lnTo>
                        <a:pt x="1416" y="707"/>
                      </a:lnTo>
                      <a:lnTo>
                        <a:pt x="1416" y="710"/>
                      </a:lnTo>
                      <a:lnTo>
                        <a:pt x="1417" y="712"/>
                      </a:lnTo>
                      <a:lnTo>
                        <a:pt x="1419" y="715"/>
                      </a:lnTo>
                      <a:lnTo>
                        <a:pt x="1417" y="718"/>
                      </a:lnTo>
                      <a:lnTo>
                        <a:pt x="1416" y="721"/>
                      </a:lnTo>
                      <a:lnTo>
                        <a:pt x="1414" y="726"/>
                      </a:lnTo>
                      <a:lnTo>
                        <a:pt x="1413" y="729"/>
                      </a:lnTo>
                      <a:lnTo>
                        <a:pt x="1414" y="732"/>
                      </a:lnTo>
                      <a:lnTo>
                        <a:pt x="1413" y="735"/>
                      </a:lnTo>
                      <a:lnTo>
                        <a:pt x="1411" y="740"/>
                      </a:lnTo>
                      <a:lnTo>
                        <a:pt x="1408" y="743"/>
                      </a:lnTo>
                      <a:lnTo>
                        <a:pt x="1405" y="747"/>
                      </a:lnTo>
                      <a:lnTo>
                        <a:pt x="1402" y="750"/>
                      </a:lnTo>
                      <a:lnTo>
                        <a:pt x="1400" y="753"/>
                      </a:lnTo>
                      <a:lnTo>
                        <a:pt x="1397" y="756"/>
                      </a:lnTo>
                      <a:lnTo>
                        <a:pt x="1394" y="759"/>
                      </a:lnTo>
                      <a:lnTo>
                        <a:pt x="1394" y="762"/>
                      </a:lnTo>
                      <a:lnTo>
                        <a:pt x="1392" y="767"/>
                      </a:lnTo>
                      <a:lnTo>
                        <a:pt x="1389" y="770"/>
                      </a:lnTo>
                      <a:lnTo>
                        <a:pt x="1389" y="773"/>
                      </a:lnTo>
                      <a:lnTo>
                        <a:pt x="1386" y="777"/>
                      </a:lnTo>
                      <a:lnTo>
                        <a:pt x="1384" y="781"/>
                      </a:lnTo>
                      <a:lnTo>
                        <a:pt x="1383" y="785"/>
                      </a:lnTo>
                      <a:lnTo>
                        <a:pt x="1379" y="788"/>
                      </a:lnTo>
                      <a:lnTo>
                        <a:pt x="1378" y="789"/>
                      </a:lnTo>
                      <a:lnTo>
                        <a:pt x="1378" y="792"/>
                      </a:lnTo>
                      <a:lnTo>
                        <a:pt x="1375" y="796"/>
                      </a:lnTo>
                      <a:lnTo>
                        <a:pt x="1373" y="799"/>
                      </a:lnTo>
                      <a:lnTo>
                        <a:pt x="1370" y="802"/>
                      </a:lnTo>
                      <a:lnTo>
                        <a:pt x="1367" y="807"/>
                      </a:lnTo>
                      <a:lnTo>
                        <a:pt x="1365" y="810"/>
                      </a:lnTo>
                      <a:lnTo>
                        <a:pt x="1363" y="813"/>
                      </a:lnTo>
                      <a:lnTo>
                        <a:pt x="1360" y="816"/>
                      </a:lnTo>
                      <a:lnTo>
                        <a:pt x="1359" y="819"/>
                      </a:lnTo>
                      <a:lnTo>
                        <a:pt x="1360" y="824"/>
                      </a:lnTo>
                      <a:lnTo>
                        <a:pt x="1359" y="827"/>
                      </a:lnTo>
                      <a:lnTo>
                        <a:pt x="1357" y="831"/>
                      </a:lnTo>
                      <a:lnTo>
                        <a:pt x="1354" y="834"/>
                      </a:lnTo>
                      <a:lnTo>
                        <a:pt x="1351" y="837"/>
                      </a:lnTo>
                      <a:lnTo>
                        <a:pt x="1351" y="842"/>
                      </a:lnTo>
                      <a:lnTo>
                        <a:pt x="1348" y="845"/>
                      </a:lnTo>
                      <a:lnTo>
                        <a:pt x="1346" y="848"/>
                      </a:lnTo>
                      <a:lnTo>
                        <a:pt x="1343" y="851"/>
                      </a:lnTo>
                      <a:lnTo>
                        <a:pt x="1341" y="854"/>
                      </a:lnTo>
                      <a:lnTo>
                        <a:pt x="1338" y="858"/>
                      </a:lnTo>
                      <a:lnTo>
                        <a:pt x="1335" y="861"/>
                      </a:lnTo>
                      <a:lnTo>
                        <a:pt x="1325" y="869"/>
                      </a:lnTo>
                      <a:lnTo>
                        <a:pt x="1322" y="872"/>
                      </a:lnTo>
                      <a:lnTo>
                        <a:pt x="1319" y="877"/>
                      </a:lnTo>
                      <a:lnTo>
                        <a:pt x="1316" y="888"/>
                      </a:lnTo>
                      <a:lnTo>
                        <a:pt x="1313" y="888"/>
                      </a:lnTo>
                      <a:lnTo>
                        <a:pt x="1310" y="891"/>
                      </a:lnTo>
                      <a:lnTo>
                        <a:pt x="1305" y="892"/>
                      </a:lnTo>
                      <a:lnTo>
                        <a:pt x="1302" y="894"/>
                      </a:lnTo>
                      <a:lnTo>
                        <a:pt x="1298" y="897"/>
                      </a:lnTo>
                      <a:lnTo>
                        <a:pt x="1295" y="899"/>
                      </a:lnTo>
                      <a:lnTo>
                        <a:pt x="1298" y="899"/>
                      </a:lnTo>
                      <a:lnTo>
                        <a:pt x="1295" y="902"/>
                      </a:lnTo>
                      <a:lnTo>
                        <a:pt x="1291" y="902"/>
                      </a:lnTo>
                      <a:lnTo>
                        <a:pt x="1284" y="905"/>
                      </a:lnTo>
                      <a:lnTo>
                        <a:pt x="1281" y="907"/>
                      </a:lnTo>
                      <a:lnTo>
                        <a:pt x="1278" y="911"/>
                      </a:lnTo>
                      <a:lnTo>
                        <a:pt x="1275" y="913"/>
                      </a:lnTo>
                      <a:lnTo>
                        <a:pt x="1271" y="916"/>
                      </a:lnTo>
                      <a:lnTo>
                        <a:pt x="1268" y="919"/>
                      </a:lnTo>
                      <a:lnTo>
                        <a:pt x="1265" y="921"/>
                      </a:lnTo>
                      <a:lnTo>
                        <a:pt x="1260" y="924"/>
                      </a:lnTo>
                      <a:lnTo>
                        <a:pt x="1260" y="929"/>
                      </a:lnTo>
                      <a:lnTo>
                        <a:pt x="1257" y="932"/>
                      </a:lnTo>
                      <a:lnTo>
                        <a:pt x="1254" y="932"/>
                      </a:lnTo>
                      <a:lnTo>
                        <a:pt x="1251" y="932"/>
                      </a:lnTo>
                      <a:lnTo>
                        <a:pt x="1251" y="935"/>
                      </a:lnTo>
                      <a:lnTo>
                        <a:pt x="1252" y="935"/>
                      </a:lnTo>
                      <a:lnTo>
                        <a:pt x="1251" y="938"/>
                      </a:lnTo>
                      <a:lnTo>
                        <a:pt x="1248" y="943"/>
                      </a:lnTo>
                      <a:lnTo>
                        <a:pt x="1246" y="946"/>
                      </a:lnTo>
                      <a:lnTo>
                        <a:pt x="1245" y="949"/>
                      </a:lnTo>
                      <a:lnTo>
                        <a:pt x="1240" y="949"/>
                      </a:lnTo>
                      <a:lnTo>
                        <a:pt x="1238" y="953"/>
                      </a:lnTo>
                      <a:lnTo>
                        <a:pt x="1235" y="957"/>
                      </a:lnTo>
                      <a:lnTo>
                        <a:pt x="1232" y="959"/>
                      </a:lnTo>
                      <a:lnTo>
                        <a:pt x="1229" y="962"/>
                      </a:lnTo>
                      <a:lnTo>
                        <a:pt x="1225" y="965"/>
                      </a:lnTo>
                      <a:lnTo>
                        <a:pt x="1222" y="969"/>
                      </a:lnTo>
                      <a:lnTo>
                        <a:pt x="1221" y="972"/>
                      </a:lnTo>
                      <a:lnTo>
                        <a:pt x="1218" y="972"/>
                      </a:lnTo>
                      <a:lnTo>
                        <a:pt x="1218" y="976"/>
                      </a:lnTo>
                      <a:lnTo>
                        <a:pt x="1216" y="980"/>
                      </a:lnTo>
                      <a:lnTo>
                        <a:pt x="1213" y="983"/>
                      </a:lnTo>
                      <a:lnTo>
                        <a:pt x="1210" y="984"/>
                      </a:lnTo>
                      <a:lnTo>
                        <a:pt x="1208" y="989"/>
                      </a:lnTo>
                      <a:lnTo>
                        <a:pt x="1206" y="992"/>
                      </a:lnTo>
                      <a:lnTo>
                        <a:pt x="1210" y="992"/>
                      </a:lnTo>
                      <a:lnTo>
                        <a:pt x="1206" y="995"/>
                      </a:lnTo>
                      <a:lnTo>
                        <a:pt x="1205" y="992"/>
                      </a:lnTo>
                      <a:lnTo>
                        <a:pt x="1202" y="995"/>
                      </a:lnTo>
                      <a:lnTo>
                        <a:pt x="1202" y="1000"/>
                      </a:lnTo>
                      <a:lnTo>
                        <a:pt x="1197" y="1000"/>
                      </a:lnTo>
                      <a:lnTo>
                        <a:pt x="1194" y="1002"/>
                      </a:lnTo>
                      <a:lnTo>
                        <a:pt x="1191" y="1005"/>
                      </a:lnTo>
                      <a:lnTo>
                        <a:pt x="1189" y="1008"/>
                      </a:lnTo>
                      <a:lnTo>
                        <a:pt x="1186" y="1011"/>
                      </a:lnTo>
                      <a:lnTo>
                        <a:pt x="1183" y="1015"/>
                      </a:lnTo>
                      <a:lnTo>
                        <a:pt x="1180" y="1018"/>
                      </a:lnTo>
                      <a:lnTo>
                        <a:pt x="1176" y="1021"/>
                      </a:lnTo>
                      <a:lnTo>
                        <a:pt x="1173" y="1022"/>
                      </a:lnTo>
                      <a:lnTo>
                        <a:pt x="1172" y="1027"/>
                      </a:lnTo>
                      <a:lnTo>
                        <a:pt x="1168" y="1029"/>
                      </a:lnTo>
                      <a:lnTo>
                        <a:pt x="1165" y="1032"/>
                      </a:lnTo>
                      <a:lnTo>
                        <a:pt x="1164" y="1037"/>
                      </a:lnTo>
                      <a:lnTo>
                        <a:pt x="1160" y="1040"/>
                      </a:lnTo>
                      <a:lnTo>
                        <a:pt x="1160" y="1043"/>
                      </a:lnTo>
                      <a:lnTo>
                        <a:pt x="1157" y="1046"/>
                      </a:lnTo>
                      <a:lnTo>
                        <a:pt x="1154" y="1049"/>
                      </a:lnTo>
                      <a:lnTo>
                        <a:pt x="1153" y="1054"/>
                      </a:lnTo>
                      <a:lnTo>
                        <a:pt x="1151" y="1057"/>
                      </a:lnTo>
                      <a:lnTo>
                        <a:pt x="1146" y="1060"/>
                      </a:lnTo>
                      <a:lnTo>
                        <a:pt x="1146" y="1062"/>
                      </a:lnTo>
                      <a:lnTo>
                        <a:pt x="1143" y="1065"/>
                      </a:lnTo>
                      <a:lnTo>
                        <a:pt x="1140" y="1068"/>
                      </a:lnTo>
                      <a:lnTo>
                        <a:pt x="1138" y="1073"/>
                      </a:lnTo>
                      <a:lnTo>
                        <a:pt x="1137" y="1076"/>
                      </a:lnTo>
                      <a:lnTo>
                        <a:pt x="1134" y="1078"/>
                      </a:lnTo>
                      <a:lnTo>
                        <a:pt x="1137" y="1080"/>
                      </a:lnTo>
                      <a:lnTo>
                        <a:pt x="1137" y="1081"/>
                      </a:lnTo>
                      <a:lnTo>
                        <a:pt x="1135" y="1084"/>
                      </a:lnTo>
                      <a:lnTo>
                        <a:pt x="1132" y="1087"/>
                      </a:lnTo>
                      <a:lnTo>
                        <a:pt x="1130" y="1091"/>
                      </a:lnTo>
                      <a:lnTo>
                        <a:pt x="1129" y="1094"/>
                      </a:lnTo>
                      <a:lnTo>
                        <a:pt x="1127" y="1095"/>
                      </a:lnTo>
                      <a:lnTo>
                        <a:pt x="1124" y="1097"/>
                      </a:lnTo>
                      <a:lnTo>
                        <a:pt x="1119" y="1095"/>
                      </a:lnTo>
                      <a:lnTo>
                        <a:pt x="1114" y="1102"/>
                      </a:lnTo>
                      <a:lnTo>
                        <a:pt x="1108" y="1105"/>
                      </a:lnTo>
                      <a:lnTo>
                        <a:pt x="1100" y="1106"/>
                      </a:lnTo>
                      <a:lnTo>
                        <a:pt x="1092" y="1106"/>
                      </a:lnTo>
                      <a:lnTo>
                        <a:pt x="1076" y="1106"/>
                      </a:lnTo>
                      <a:lnTo>
                        <a:pt x="1061" y="1108"/>
                      </a:lnTo>
                      <a:lnTo>
                        <a:pt x="1053" y="1110"/>
                      </a:lnTo>
                      <a:lnTo>
                        <a:pt x="1043" y="1114"/>
                      </a:lnTo>
                      <a:lnTo>
                        <a:pt x="1035" y="1118"/>
                      </a:lnTo>
                      <a:lnTo>
                        <a:pt x="1027" y="1122"/>
                      </a:lnTo>
                      <a:lnTo>
                        <a:pt x="1013" y="1132"/>
                      </a:lnTo>
                      <a:lnTo>
                        <a:pt x="997" y="1143"/>
                      </a:lnTo>
                      <a:lnTo>
                        <a:pt x="996" y="1141"/>
                      </a:lnTo>
                      <a:lnTo>
                        <a:pt x="992" y="1143"/>
                      </a:lnTo>
                      <a:lnTo>
                        <a:pt x="989" y="1143"/>
                      </a:lnTo>
                      <a:lnTo>
                        <a:pt x="986" y="1143"/>
                      </a:lnTo>
                      <a:lnTo>
                        <a:pt x="983" y="1145"/>
                      </a:lnTo>
                      <a:lnTo>
                        <a:pt x="978" y="1143"/>
                      </a:lnTo>
                      <a:lnTo>
                        <a:pt x="975" y="1145"/>
                      </a:lnTo>
                      <a:lnTo>
                        <a:pt x="975" y="1148"/>
                      </a:lnTo>
                      <a:lnTo>
                        <a:pt x="975" y="1152"/>
                      </a:lnTo>
                      <a:lnTo>
                        <a:pt x="978" y="1149"/>
                      </a:lnTo>
                      <a:lnTo>
                        <a:pt x="983" y="1148"/>
                      </a:lnTo>
                      <a:lnTo>
                        <a:pt x="981" y="1151"/>
                      </a:lnTo>
                      <a:lnTo>
                        <a:pt x="978" y="1154"/>
                      </a:lnTo>
                      <a:lnTo>
                        <a:pt x="976" y="1159"/>
                      </a:lnTo>
                      <a:lnTo>
                        <a:pt x="972" y="1160"/>
                      </a:lnTo>
                      <a:lnTo>
                        <a:pt x="972" y="1159"/>
                      </a:lnTo>
                      <a:lnTo>
                        <a:pt x="972" y="1154"/>
                      </a:lnTo>
                      <a:lnTo>
                        <a:pt x="972" y="1151"/>
                      </a:lnTo>
                      <a:lnTo>
                        <a:pt x="969" y="1148"/>
                      </a:lnTo>
                      <a:lnTo>
                        <a:pt x="965" y="1151"/>
                      </a:lnTo>
                      <a:lnTo>
                        <a:pt x="962" y="1151"/>
                      </a:lnTo>
                      <a:lnTo>
                        <a:pt x="962" y="1148"/>
                      </a:lnTo>
                      <a:lnTo>
                        <a:pt x="962" y="1145"/>
                      </a:lnTo>
                      <a:lnTo>
                        <a:pt x="964" y="1140"/>
                      </a:lnTo>
                      <a:lnTo>
                        <a:pt x="959" y="1141"/>
                      </a:lnTo>
                      <a:lnTo>
                        <a:pt x="956" y="1141"/>
                      </a:lnTo>
                      <a:lnTo>
                        <a:pt x="956" y="1138"/>
                      </a:lnTo>
                      <a:lnTo>
                        <a:pt x="954" y="1135"/>
                      </a:lnTo>
                      <a:lnTo>
                        <a:pt x="956" y="1132"/>
                      </a:lnTo>
                      <a:lnTo>
                        <a:pt x="961" y="1130"/>
                      </a:lnTo>
                      <a:lnTo>
                        <a:pt x="962" y="1127"/>
                      </a:lnTo>
                      <a:lnTo>
                        <a:pt x="961" y="1124"/>
                      </a:lnTo>
                      <a:lnTo>
                        <a:pt x="957" y="1124"/>
                      </a:lnTo>
                      <a:lnTo>
                        <a:pt x="954" y="1126"/>
                      </a:lnTo>
                      <a:lnTo>
                        <a:pt x="951" y="1127"/>
                      </a:lnTo>
                      <a:lnTo>
                        <a:pt x="948" y="1130"/>
                      </a:lnTo>
                      <a:lnTo>
                        <a:pt x="945" y="1132"/>
                      </a:lnTo>
                      <a:lnTo>
                        <a:pt x="942" y="1135"/>
                      </a:lnTo>
                      <a:lnTo>
                        <a:pt x="937" y="1135"/>
                      </a:lnTo>
                      <a:lnTo>
                        <a:pt x="935" y="1130"/>
                      </a:lnTo>
                      <a:lnTo>
                        <a:pt x="934" y="1127"/>
                      </a:lnTo>
                      <a:lnTo>
                        <a:pt x="937" y="1130"/>
                      </a:lnTo>
                      <a:lnTo>
                        <a:pt x="940" y="1129"/>
                      </a:lnTo>
                      <a:lnTo>
                        <a:pt x="945" y="1127"/>
                      </a:lnTo>
                      <a:lnTo>
                        <a:pt x="948" y="1124"/>
                      </a:lnTo>
                      <a:lnTo>
                        <a:pt x="950" y="1122"/>
                      </a:lnTo>
                      <a:lnTo>
                        <a:pt x="953" y="1119"/>
                      </a:lnTo>
                      <a:lnTo>
                        <a:pt x="953" y="1116"/>
                      </a:lnTo>
                      <a:lnTo>
                        <a:pt x="951" y="1113"/>
                      </a:lnTo>
                      <a:lnTo>
                        <a:pt x="951" y="1108"/>
                      </a:lnTo>
                      <a:lnTo>
                        <a:pt x="948" y="1110"/>
                      </a:lnTo>
                      <a:lnTo>
                        <a:pt x="943" y="1113"/>
                      </a:lnTo>
                      <a:lnTo>
                        <a:pt x="940" y="1114"/>
                      </a:lnTo>
                      <a:lnTo>
                        <a:pt x="937" y="1116"/>
                      </a:lnTo>
                      <a:lnTo>
                        <a:pt x="934" y="1118"/>
                      </a:lnTo>
                      <a:lnTo>
                        <a:pt x="926" y="1121"/>
                      </a:lnTo>
                      <a:lnTo>
                        <a:pt x="931" y="1122"/>
                      </a:lnTo>
                      <a:lnTo>
                        <a:pt x="934" y="1121"/>
                      </a:lnTo>
                      <a:lnTo>
                        <a:pt x="937" y="1122"/>
                      </a:lnTo>
                      <a:lnTo>
                        <a:pt x="934" y="1126"/>
                      </a:lnTo>
                      <a:lnTo>
                        <a:pt x="931" y="1126"/>
                      </a:lnTo>
                      <a:lnTo>
                        <a:pt x="926" y="1126"/>
                      </a:lnTo>
                      <a:lnTo>
                        <a:pt x="923" y="1127"/>
                      </a:lnTo>
                      <a:lnTo>
                        <a:pt x="921" y="1129"/>
                      </a:lnTo>
                      <a:lnTo>
                        <a:pt x="918" y="1130"/>
                      </a:lnTo>
                      <a:lnTo>
                        <a:pt x="915" y="1132"/>
                      </a:lnTo>
                      <a:lnTo>
                        <a:pt x="911" y="1133"/>
                      </a:lnTo>
                      <a:lnTo>
                        <a:pt x="908" y="1135"/>
                      </a:lnTo>
                      <a:lnTo>
                        <a:pt x="904" y="1138"/>
                      </a:lnTo>
                      <a:lnTo>
                        <a:pt x="900" y="1140"/>
                      </a:lnTo>
                      <a:lnTo>
                        <a:pt x="897" y="1143"/>
                      </a:lnTo>
                      <a:lnTo>
                        <a:pt x="894" y="1143"/>
                      </a:lnTo>
                      <a:lnTo>
                        <a:pt x="891" y="1146"/>
                      </a:lnTo>
                      <a:lnTo>
                        <a:pt x="886" y="1148"/>
                      </a:lnTo>
                      <a:lnTo>
                        <a:pt x="883" y="1149"/>
                      </a:lnTo>
                      <a:lnTo>
                        <a:pt x="881" y="1146"/>
                      </a:lnTo>
                      <a:lnTo>
                        <a:pt x="878" y="1145"/>
                      </a:lnTo>
                      <a:lnTo>
                        <a:pt x="875" y="1145"/>
                      </a:lnTo>
                      <a:lnTo>
                        <a:pt x="872" y="1140"/>
                      </a:lnTo>
                      <a:lnTo>
                        <a:pt x="869" y="1140"/>
                      </a:lnTo>
                      <a:lnTo>
                        <a:pt x="865" y="1138"/>
                      </a:lnTo>
                      <a:lnTo>
                        <a:pt x="862" y="1135"/>
                      </a:lnTo>
                      <a:lnTo>
                        <a:pt x="859" y="1130"/>
                      </a:lnTo>
                      <a:lnTo>
                        <a:pt x="856" y="1129"/>
                      </a:lnTo>
                      <a:lnTo>
                        <a:pt x="853" y="1130"/>
                      </a:lnTo>
                      <a:lnTo>
                        <a:pt x="848" y="1130"/>
                      </a:lnTo>
                      <a:lnTo>
                        <a:pt x="845" y="1129"/>
                      </a:lnTo>
                      <a:lnTo>
                        <a:pt x="842" y="1126"/>
                      </a:lnTo>
                      <a:lnTo>
                        <a:pt x="839" y="1126"/>
                      </a:lnTo>
                      <a:lnTo>
                        <a:pt x="834" y="1126"/>
                      </a:lnTo>
                      <a:lnTo>
                        <a:pt x="831" y="1127"/>
                      </a:lnTo>
                      <a:lnTo>
                        <a:pt x="827" y="1130"/>
                      </a:lnTo>
                      <a:lnTo>
                        <a:pt x="824" y="1130"/>
                      </a:lnTo>
                      <a:lnTo>
                        <a:pt x="821" y="1130"/>
                      </a:lnTo>
                      <a:lnTo>
                        <a:pt x="823" y="1127"/>
                      </a:lnTo>
                      <a:lnTo>
                        <a:pt x="821" y="1122"/>
                      </a:lnTo>
                      <a:lnTo>
                        <a:pt x="818" y="1119"/>
                      </a:lnTo>
                      <a:lnTo>
                        <a:pt x="815" y="1118"/>
                      </a:lnTo>
                      <a:lnTo>
                        <a:pt x="813" y="1118"/>
                      </a:lnTo>
                      <a:lnTo>
                        <a:pt x="810" y="1116"/>
                      </a:lnTo>
                      <a:lnTo>
                        <a:pt x="807" y="1118"/>
                      </a:lnTo>
                      <a:lnTo>
                        <a:pt x="804" y="1116"/>
                      </a:lnTo>
                      <a:lnTo>
                        <a:pt x="799" y="1113"/>
                      </a:lnTo>
                      <a:lnTo>
                        <a:pt x="797" y="1108"/>
                      </a:lnTo>
                      <a:lnTo>
                        <a:pt x="797" y="1103"/>
                      </a:lnTo>
                      <a:lnTo>
                        <a:pt x="797" y="1100"/>
                      </a:lnTo>
                      <a:lnTo>
                        <a:pt x="796" y="1097"/>
                      </a:lnTo>
                      <a:lnTo>
                        <a:pt x="796" y="1094"/>
                      </a:lnTo>
                      <a:lnTo>
                        <a:pt x="793" y="1094"/>
                      </a:lnTo>
                      <a:lnTo>
                        <a:pt x="789" y="1084"/>
                      </a:lnTo>
                      <a:lnTo>
                        <a:pt x="791" y="1081"/>
                      </a:lnTo>
                      <a:lnTo>
                        <a:pt x="793" y="1078"/>
                      </a:lnTo>
                      <a:lnTo>
                        <a:pt x="794" y="1072"/>
                      </a:lnTo>
                      <a:lnTo>
                        <a:pt x="797" y="1070"/>
                      </a:lnTo>
                      <a:lnTo>
                        <a:pt x="800" y="1067"/>
                      </a:lnTo>
                      <a:lnTo>
                        <a:pt x="802" y="1065"/>
                      </a:lnTo>
                      <a:lnTo>
                        <a:pt x="804" y="1062"/>
                      </a:lnTo>
                      <a:lnTo>
                        <a:pt x="805" y="1054"/>
                      </a:lnTo>
                      <a:lnTo>
                        <a:pt x="805" y="1046"/>
                      </a:lnTo>
                      <a:lnTo>
                        <a:pt x="805" y="1038"/>
                      </a:lnTo>
                      <a:lnTo>
                        <a:pt x="804" y="1030"/>
                      </a:lnTo>
                      <a:lnTo>
                        <a:pt x="799" y="1022"/>
                      </a:lnTo>
                      <a:lnTo>
                        <a:pt x="793" y="1015"/>
                      </a:lnTo>
                      <a:lnTo>
                        <a:pt x="799" y="1021"/>
                      </a:lnTo>
                      <a:lnTo>
                        <a:pt x="802" y="1027"/>
                      </a:lnTo>
                      <a:lnTo>
                        <a:pt x="805" y="1034"/>
                      </a:lnTo>
                      <a:lnTo>
                        <a:pt x="807" y="1041"/>
                      </a:lnTo>
                      <a:lnTo>
                        <a:pt x="807" y="1038"/>
                      </a:lnTo>
                      <a:lnTo>
                        <a:pt x="807" y="1035"/>
                      </a:lnTo>
                      <a:lnTo>
                        <a:pt x="807" y="1032"/>
                      </a:lnTo>
                      <a:lnTo>
                        <a:pt x="804" y="1027"/>
                      </a:lnTo>
                      <a:lnTo>
                        <a:pt x="802" y="1024"/>
                      </a:lnTo>
                      <a:lnTo>
                        <a:pt x="800" y="1021"/>
                      </a:lnTo>
                      <a:lnTo>
                        <a:pt x="797" y="1018"/>
                      </a:lnTo>
                      <a:lnTo>
                        <a:pt x="799" y="1015"/>
                      </a:lnTo>
                      <a:lnTo>
                        <a:pt x="802" y="1013"/>
                      </a:lnTo>
                      <a:lnTo>
                        <a:pt x="802" y="1018"/>
                      </a:lnTo>
                      <a:lnTo>
                        <a:pt x="802" y="1021"/>
                      </a:lnTo>
                      <a:lnTo>
                        <a:pt x="805" y="1019"/>
                      </a:lnTo>
                      <a:lnTo>
                        <a:pt x="807" y="1015"/>
                      </a:lnTo>
                      <a:lnTo>
                        <a:pt x="807" y="1011"/>
                      </a:lnTo>
                      <a:lnTo>
                        <a:pt x="810" y="1011"/>
                      </a:lnTo>
                      <a:lnTo>
                        <a:pt x="812" y="1008"/>
                      </a:lnTo>
                      <a:lnTo>
                        <a:pt x="810" y="1007"/>
                      </a:lnTo>
                      <a:lnTo>
                        <a:pt x="807" y="1005"/>
                      </a:lnTo>
                      <a:lnTo>
                        <a:pt x="804" y="1008"/>
                      </a:lnTo>
                      <a:lnTo>
                        <a:pt x="800" y="1008"/>
                      </a:lnTo>
                      <a:lnTo>
                        <a:pt x="796" y="1010"/>
                      </a:lnTo>
                      <a:lnTo>
                        <a:pt x="797" y="1013"/>
                      </a:lnTo>
                      <a:lnTo>
                        <a:pt x="794" y="1013"/>
                      </a:lnTo>
                      <a:lnTo>
                        <a:pt x="791" y="1013"/>
                      </a:lnTo>
                      <a:lnTo>
                        <a:pt x="794" y="1015"/>
                      </a:lnTo>
                      <a:lnTo>
                        <a:pt x="791" y="1015"/>
                      </a:lnTo>
                      <a:lnTo>
                        <a:pt x="786" y="1015"/>
                      </a:lnTo>
                      <a:lnTo>
                        <a:pt x="783" y="1015"/>
                      </a:lnTo>
                      <a:lnTo>
                        <a:pt x="780" y="1018"/>
                      </a:lnTo>
                      <a:lnTo>
                        <a:pt x="777" y="1019"/>
                      </a:lnTo>
                      <a:lnTo>
                        <a:pt x="773" y="1019"/>
                      </a:lnTo>
                      <a:lnTo>
                        <a:pt x="769" y="1018"/>
                      </a:lnTo>
                      <a:lnTo>
                        <a:pt x="767" y="1019"/>
                      </a:lnTo>
                      <a:lnTo>
                        <a:pt x="764" y="1018"/>
                      </a:lnTo>
                      <a:lnTo>
                        <a:pt x="767" y="1015"/>
                      </a:lnTo>
                      <a:lnTo>
                        <a:pt x="770" y="1013"/>
                      </a:lnTo>
                      <a:lnTo>
                        <a:pt x="775" y="1010"/>
                      </a:lnTo>
                      <a:lnTo>
                        <a:pt x="778" y="1008"/>
                      </a:lnTo>
                      <a:lnTo>
                        <a:pt x="781" y="1005"/>
                      </a:lnTo>
                      <a:lnTo>
                        <a:pt x="783" y="1002"/>
                      </a:lnTo>
                      <a:lnTo>
                        <a:pt x="785" y="999"/>
                      </a:lnTo>
                      <a:lnTo>
                        <a:pt x="786" y="995"/>
                      </a:lnTo>
                      <a:lnTo>
                        <a:pt x="789" y="991"/>
                      </a:lnTo>
                      <a:lnTo>
                        <a:pt x="791" y="984"/>
                      </a:lnTo>
                      <a:lnTo>
                        <a:pt x="794" y="981"/>
                      </a:lnTo>
                      <a:lnTo>
                        <a:pt x="794" y="980"/>
                      </a:lnTo>
                      <a:lnTo>
                        <a:pt x="791" y="973"/>
                      </a:lnTo>
                      <a:lnTo>
                        <a:pt x="791" y="970"/>
                      </a:lnTo>
                      <a:lnTo>
                        <a:pt x="791" y="967"/>
                      </a:lnTo>
                      <a:lnTo>
                        <a:pt x="791" y="964"/>
                      </a:lnTo>
                      <a:lnTo>
                        <a:pt x="791" y="961"/>
                      </a:lnTo>
                      <a:lnTo>
                        <a:pt x="791" y="956"/>
                      </a:lnTo>
                      <a:lnTo>
                        <a:pt x="786" y="959"/>
                      </a:lnTo>
                      <a:lnTo>
                        <a:pt x="786" y="964"/>
                      </a:lnTo>
                      <a:lnTo>
                        <a:pt x="781" y="967"/>
                      </a:lnTo>
                      <a:lnTo>
                        <a:pt x="778" y="970"/>
                      </a:lnTo>
                      <a:lnTo>
                        <a:pt x="777" y="973"/>
                      </a:lnTo>
                      <a:lnTo>
                        <a:pt x="775" y="976"/>
                      </a:lnTo>
                      <a:lnTo>
                        <a:pt x="775" y="976"/>
                      </a:lnTo>
                      <a:lnTo>
                        <a:pt x="772" y="981"/>
                      </a:lnTo>
                      <a:lnTo>
                        <a:pt x="770" y="984"/>
                      </a:lnTo>
                      <a:lnTo>
                        <a:pt x="767" y="988"/>
                      </a:lnTo>
                      <a:lnTo>
                        <a:pt x="764" y="991"/>
                      </a:lnTo>
                      <a:lnTo>
                        <a:pt x="762" y="994"/>
                      </a:lnTo>
                      <a:lnTo>
                        <a:pt x="759" y="999"/>
                      </a:lnTo>
                      <a:lnTo>
                        <a:pt x="756" y="999"/>
                      </a:lnTo>
                      <a:lnTo>
                        <a:pt x="753" y="997"/>
                      </a:lnTo>
                      <a:lnTo>
                        <a:pt x="748" y="997"/>
                      </a:lnTo>
                      <a:lnTo>
                        <a:pt x="745" y="999"/>
                      </a:lnTo>
                      <a:lnTo>
                        <a:pt x="742" y="1000"/>
                      </a:lnTo>
                      <a:lnTo>
                        <a:pt x="739" y="1002"/>
                      </a:lnTo>
                      <a:lnTo>
                        <a:pt x="735" y="1002"/>
                      </a:lnTo>
                      <a:lnTo>
                        <a:pt x="731" y="1003"/>
                      </a:lnTo>
                      <a:lnTo>
                        <a:pt x="727" y="1003"/>
                      </a:lnTo>
                      <a:lnTo>
                        <a:pt x="729" y="1000"/>
                      </a:lnTo>
                      <a:lnTo>
                        <a:pt x="732" y="999"/>
                      </a:lnTo>
                      <a:lnTo>
                        <a:pt x="735" y="994"/>
                      </a:lnTo>
                      <a:lnTo>
                        <a:pt x="737" y="991"/>
                      </a:lnTo>
                      <a:lnTo>
                        <a:pt x="740" y="988"/>
                      </a:lnTo>
                      <a:lnTo>
                        <a:pt x="743" y="989"/>
                      </a:lnTo>
                      <a:lnTo>
                        <a:pt x="748" y="989"/>
                      </a:lnTo>
                      <a:lnTo>
                        <a:pt x="751" y="989"/>
                      </a:lnTo>
                      <a:lnTo>
                        <a:pt x="754" y="989"/>
                      </a:lnTo>
                      <a:lnTo>
                        <a:pt x="756" y="984"/>
                      </a:lnTo>
                      <a:lnTo>
                        <a:pt x="759" y="981"/>
                      </a:lnTo>
                      <a:lnTo>
                        <a:pt x="761" y="978"/>
                      </a:lnTo>
                      <a:lnTo>
                        <a:pt x="762" y="975"/>
                      </a:lnTo>
                      <a:lnTo>
                        <a:pt x="764" y="970"/>
                      </a:lnTo>
                      <a:lnTo>
                        <a:pt x="764" y="967"/>
                      </a:lnTo>
                      <a:lnTo>
                        <a:pt x="767" y="964"/>
                      </a:lnTo>
                      <a:lnTo>
                        <a:pt x="767" y="961"/>
                      </a:lnTo>
                      <a:lnTo>
                        <a:pt x="770" y="957"/>
                      </a:lnTo>
                      <a:lnTo>
                        <a:pt x="773" y="954"/>
                      </a:lnTo>
                      <a:lnTo>
                        <a:pt x="775" y="951"/>
                      </a:lnTo>
                      <a:lnTo>
                        <a:pt x="778" y="948"/>
                      </a:lnTo>
                      <a:lnTo>
                        <a:pt x="780" y="945"/>
                      </a:lnTo>
                      <a:lnTo>
                        <a:pt x="783" y="943"/>
                      </a:lnTo>
                      <a:lnTo>
                        <a:pt x="786" y="938"/>
                      </a:lnTo>
                      <a:lnTo>
                        <a:pt x="791" y="937"/>
                      </a:lnTo>
                      <a:lnTo>
                        <a:pt x="794" y="935"/>
                      </a:lnTo>
                      <a:lnTo>
                        <a:pt x="796" y="930"/>
                      </a:lnTo>
                      <a:lnTo>
                        <a:pt x="796" y="927"/>
                      </a:lnTo>
                      <a:lnTo>
                        <a:pt x="796" y="924"/>
                      </a:lnTo>
                      <a:lnTo>
                        <a:pt x="796" y="921"/>
                      </a:lnTo>
                      <a:lnTo>
                        <a:pt x="799" y="918"/>
                      </a:lnTo>
                      <a:lnTo>
                        <a:pt x="802" y="916"/>
                      </a:lnTo>
                      <a:lnTo>
                        <a:pt x="807" y="913"/>
                      </a:lnTo>
                      <a:lnTo>
                        <a:pt x="805" y="910"/>
                      </a:lnTo>
                      <a:lnTo>
                        <a:pt x="805" y="907"/>
                      </a:lnTo>
                      <a:lnTo>
                        <a:pt x="805" y="903"/>
                      </a:lnTo>
                      <a:lnTo>
                        <a:pt x="808" y="900"/>
                      </a:lnTo>
                      <a:lnTo>
                        <a:pt x="807" y="896"/>
                      </a:lnTo>
                      <a:lnTo>
                        <a:pt x="807" y="892"/>
                      </a:lnTo>
                      <a:lnTo>
                        <a:pt x="805" y="892"/>
                      </a:lnTo>
                      <a:lnTo>
                        <a:pt x="804" y="896"/>
                      </a:lnTo>
                      <a:lnTo>
                        <a:pt x="804" y="900"/>
                      </a:lnTo>
                      <a:lnTo>
                        <a:pt x="802" y="903"/>
                      </a:lnTo>
                      <a:lnTo>
                        <a:pt x="799" y="907"/>
                      </a:lnTo>
                      <a:lnTo>
                        <a:pt x="796" y="908"/>
                      </a:lnTo>
                      <a:lnTo>
                        <a:pt x="793" y="910"/>
                      </a:lnTo>
                      <a:lnTo>
                        <a:pt x="789" y="913"/>
                      </a:lnTo>
                      <a:lnTo>
                        <a:pt x="786" y="916"/>
                      </a:lnTo>
                      <a:lnTo>
                        <a:pt x="783" y="919"/>
                      </a:lnTo>
                      <a:lnTo>
                        <a:pt x="780" y="923"/>
                      </a:lnTo>
                      <a:lnTo>
                        <a:pt x="778" y="926"/>
                      </a:lnTo>
                      <a:lnTo>
                        <a:pt x="775" y="929"/>
                      </a:lnTo>
                      <a:lnTo>
                        <a:pt x="772" y="934"/>
                      </a:lnTo>
                      <a:lnTo>
                        <a:pt x="769" y="937"/>
                      </a:lnTo>
                      <a:lnTo>
                        <a:pt x="766" y="938"/>
                      </a:lnTo>
                      <a:lnTo>
                        <a:pt x="762" y="940"/>
                      </a:lnTo>
                      <a:lnTo>
                        <a:pt x="758" y="938"/>
                      </a:lnTo>
                      <a:lnTo>
                        <a:pt x="758" y="942"/>
                      </a:lnTo>
                      <a:lnTo>
                        <a:pt x="753" y="943"/>
                      </a:lnTo>
                      <a:lnTo>
                        <a:pt x="750" y="945"/>
                      </a:lnTo>
                      <a:lnTo>
                        <a:pt x="747" y="946"/>
                      </a:lnTo>
                      <a:lnTo>
                        <a:pt x="743" y="948"/>
                      </a:lnTo>
                      <a:lnTo>
                        <a:pt x="740" y="951"/>
                      </a:lnTo>
                      <a:lnTo>
                        <a:pt x="732" y="954"/>
                      </a:lnTo>
                      <a:lnTo>
                        <a:pt x="729" y="957"/>
                      </a:lnTo>
                      <a:lnTo>
                        <a:pt x="723" y="964"/>
                      </a:lnTo>
                      <a:lnTo>
                        <a:pt x="720" y="965"/>
                      </a:lnTo>
                      <a:lnTo>
                        <a:pt x="718" y="969"/>
                      </a:lnTo>
                      <a:lnTo>
                        <a:pt x="716" y="973"/>
                      </a:lnTo>
                      <a:lnTo>
                        <a:pt x="712" y="972"/>
                      </a:lnTo>
                      <a:lnTo>
                        <a:pt x="708" y="975"/>
                      </a:lnTo>
                      <a:lnTo>
                        <a:pt x="705" y="978"/>
                      </a:lnTo>
                      <a:lnTo>
                        <a:pt x="705" y="981"/>
                      </a:lnTo>
                      <a:lnTo>
                        <a:pt x="702" y="984"/>
                      </a:lnTo>
                      <a:lnTo>
                        <a:pt x="705" y="983"/>
                      </a:lnTo>
                      <a:lnTo>
                        <a:pt x="708" y="981"/>
                      </a:lnTo>
                      <a:lnTo>
                        <a:pt x="705" y="986"/>
                      </a:lnTo>
                      <a:lnTo>
                        <a:pt x="705" y="989"/>
                      </a:lnTo>
                      <a:lnTo>
                        <a:pt x="702" y="992"/>
                      </a:lnTo>
                      <a:lnTo>
                        <a:pt x="701" y="989"/>
                      </a:lnTo>
                      <a:lnTo>
                        <a:pt x="699" y="986"/>
                      </a:lnTo>
                      <a:lnTo>
                        <a:pt x="696" y="988"/>
                      </a:lnTo>
                      <a:lnTo>
                        <a:pt x="693" y="988"/>
                      </a:lnTo>
                      <a:lnTo>
                        <a:pt x="689" y="984"/>
                      </a:lnTo>
                      <a:lnTo>
                        <a:pt x="688" y="980"/>
                      </a:lnTo>
                      <a:lnTo>
                        <a:pt x="688" y="976"/>
                      </a:lnTo>
                      <a:lnTo>
                        <a:pt x="683" y="975"/>
                      </a:lnTo>
                      <a:lnTo>
                        <a:pt x="680" y="975"/>
                      </a:lnTo>
                      <a:lnTo>
                        <a:pt x="683" y="972"/>
                      </a:lnTo>
                      <a:lnTo>
                        <a:pt x="686" y="969"/>
                      </a:lnTo>
                      <a:lnTo>
                        <a:pt x="686" y="972"/>
                      </a:lnTo>
                      <a:lnTo>
                        <a:pt x="691" y="975"/>
                      </a:lnTo>
                      <a:lnTo>
                        <a:pt x="693" y="970"/>
                      </a:lnTo>
                      <a:lnTo>
                        <a:pt x="693" y="967"/>
                      </a:lnTo>
                      <a:lnTo>
                        <a:pt x="694" y="964"/>
                      </a:lnTo>
                      <a:lnTo>
                        <a:pt x="694" y="961"/>
                      </a:lnTo>
                      <a:lnTo>
                        <a:pt x="694" y="956"/>
                      </a:lnTo>
                      <a:lnTo>
                        <a:pt x="696" y="953"/>
                      </a:lnTo>
                      <a:lnTo>
                        <a:pt x="696" y="948"/>
                      </a:lnTo>
                      <a:lnTo>
                        <a:pt x="693" y="945"/>
                      </a:lnTo>
                      <a:lnTo>
                        <a:pt x="691" y="942"/>
                      </a:lnTo>
                      <a:lnTo>
                        <a:pt x="689" y="938"/>
                      </a:lnTo>
                      <a:lnTo>
                        <a:pt x="688" y="935"/>
                      </a:lnTo>
                      <a:lnTo>
                        <a:pt x="689" y="930"/>
                      </a:lnTo>
                      <a:lnTo>
                        <a:pt x="691" y="927"/>
                      </a:lnTo>
                      <a:lnTo>
                        <a:pt x="691" y="924"/>
                      </a:lnTo>
                      <a:lnTo>
                        <a:pt x="688" y="921"/>
                      </a:lnTo>
                      <a:lnTo>
                        <a:pt x="689" y="916"/>
                      </a:lnTo>
                      <a:lnTo>
                        <a:pt x="686" y="919"/>
                      </a:lnTo>
                      <a:lnTo>
                        <a:pt x="683" y="916"/>
                      </a:lnTo>
                      <a:lnTo>
                        <a:pt x="678" y="918"/>
                      </a:lnTo>
                      <a:lnTo>
                        <a:pt x="675" y="916"/>
                      </a:lnTo>
                      <a:lnTo>
                        <a:pt x="677" y="913"/>
                      </a:lnTo>
                      <a:lnTo>
                        <a:pt x="677" y="910"/>
                      </a:lnTo>
                      <a:lnTo>
                        <a:pt x="674" y="905"/>
                      </a:lnTo>
                      <a:lnTo>
                        <a:pt x="675" y="902"/>
                      </a:lnTo>
                      <a:lnTo>
                        <a:pt x="677" y="899"/>
                      </a:lnTo>
                      <a:lnTo>
                        <a:pt x="680" y="899"/>
                      </a:lnTo>
                      <a:lnTo>
                        <a:pt x="680" y="902"/>
                      </a:lnTo>
                      <a:lnTo>
                        <a:pt x="683" y="899"/>
                      </a:lnTo>
                      <a:lnTo>
                        <a:pt x="685" y="896"/>
                      </a:lnTo>
                      <a:lnTo>
                        <a:pt x="685" y="891"/>
                      </a:lnTo>
                      <a:lnTo>
                        <a:pt x="682" y="888"/>
                      </a:lnTo>
                      <a:lnTo>
                        <a:pt x="678" y="888"/>
                      </a:lnTo>
                      <a:lnTo>
                        <a:pt x="675" y="889"/>
                      </a:lnTo>
                      <a:lnTo>
                        <a:pt x="670" y="891"/>
                      </a:lnTo>
                      <a:lnTo>
                        <a:pt x="674" y="888"/>
                      </a:lnTo>
                      <a:lnTo>
                        <a:pt x="677" y="884"/>
                      </a:lnTo>
                      <a:lnTo>
                        <a:pt x="675" y="881"/>
                      </a:lnTo>
                      <a:lnTo>
                        <a:pt x="672" y="878"/>
                      </a:lnTo>
                      <a:lnTo>
                        <a:pt x="672" y="875"/>
                      </a:lnTo>
                      <a:lnTo>
                        <a:pt x="670" y="873"/>
                      </a:lnTo>
                      <a:lnTo>
                        <a:pt x="670" y="873"/>
                      </a:lnTo>
                      <a:lnTo>
                        <a:pt x="667" y="877"/>
                      </a:lnTo>
                      <a:lnTo>
                        <a:pt x="664" y="873"/>
                      </a:lnTo>
                      <a:lnTo>
                        <a:pt x="661" y="878"/>
                      </a:lnTo>
                      <a:lnTo>
                        <a:pt x="656" y="877"/>
                      </a:lnTo>
                      <a:lnTo>
                        <a:pt x="651" y="875"/>
                      </a:lnTo>
                      <a:lnTo>
                        <a:pt x="647" y="872"/>
                      </a:lnTo>
                      <a:lnTo>
                        <a:pt x="643" y="869"/>
                      </a:lnTo>
                      <a:lnTo>
                        <a:pt x="640" y="867"/>
                      </a:lnTo>
                      <a:lnTo>
                        <a:pt x="637" y="867"/>
                      </a:lnTo>
                      <a:lnTo>
                        <a:pt x="634" y="867"/>
                      </a:lnTo>
                      <a:lnTo>
                        <a:pt x="631" y="870"/>
                      </a:lnTo>
                      <a:lnTo>
                        <a:pt x="628" y="870"/>
                      </a:lnTo>
                      <a:lnTo>
                        <a:pt x="624" y="872"/>
                      </a:lnTo>
                      <a:lnTo>
                        <a:pt x="615" y="862"/>
                      </a:lnTo>
                      <a:lnTo>
                        <a:pt x="605" y="853"/>
                      </a:lnTo>
                      <a:lnTo>
                        <a:pt x="597" y="848"/>
                      </a:lnTo>
                      <a:lnTo>
                        <a:pt x="593" y="848"/>
                      </a:lnTo>
                      <a:lnTo>
                        <a:pt x="591" y="850"/>
                      </a:lnTo>
                      <a:lnTo>
                        <a:pt x="585" y="851"/>
                      </a:lnTo>
                      <a:lnTo>
                        <a:pt x="580" y="853"/>
                      </a:lnTo>
                      <a:lnTo>
                        <a:pt x="577" y="853"/>
                      </a:lnTo>
                      <a:lnTo>
                        <a:pt x="574" y="853"/>
                      </a:lnTo>
                      <a:lnTo>
                        <a:pt x="570" y="853"/>
                      </a:lnTo>
                      <a:lnTo>
                        <a:pt x="566" y="853"/>
                      </a:lnTo>
                      <a:lnTo>
                        <a:pt x="563" y="853"/>
                      </a:lnTo>
                      <a:lnTo>
                        <a:pt x="553" y="853"/>
                      </a:lnTo>
                      <a:lnTo>
                        <a:pt x="542" y="854"/>
                      </a:lnTo>
                      <a:lnTo>
                        <a:pt x="531" y="854"/>
                      </a:lnTo>
                      <a:lnTo>
                        <a:pt x="521" y="856"/>
                      </a:lnTo>
                      <a:lnTo>
                        <a:pt x="512" y="858"/>
                      </a:lnTo>
                      <a:lnTo>
                        <a:pt x="502" y="862"/>
                      </a:lnTo>
                      <a:lnTo>
                        <a:pt x="482" y="872"/>
                      </a:lnTo>
                      <a:lnTo>
                        <a:pt x="459" y="877"/>
                      </a:lnTo>
                      <a:lnTo>
                        <a:pt x="450" y="880"/>
                      </a:lnTo>
                      <a:lnTo>
                        <a:pt x="440" y="881"/>
                      </a:lnTo>
                      <a:lnTo>
                        <a:pt x="429" y="881"/>
                      </a:lnTo>
                      <a:lnTo>
                        <a:pt x="418" y="881"/>
                      </a:lnTo>
                      <a:lnTo>
                        <a:pt x="415" y="880"/>
                      </a:lnTo>
                      <a:lnTo>
                        <a:pt x="412" y="880"/>
                      </a:lnTo>
                      <a:lnTo>
                        <a:pt x="407" y="881"/>
                      </a:lnTo>
                      <a:lnTo>
                        <a:pt x="406" y="881"/>
                      </a:lnTo>
                      <a:lnTo>
                        <a:pt x="402" y="881"/>
                      </a:lnTo>
                      <a:lnTo>
                        <a:pt x="398" y="883"/>
                      </a:lnTo>
                      <a:lnTo>
                        <a:pt x="394" y="886"/>
                      </a:lnTo>
                      <a:lnTo>
                        <a:pt x="391" y="888"/>
                      </a:lnTo>
                      <a:lnTo>
                        <a:pt x="388" y="889"/>
                      </a:lnTo>
                      <a:lnTo>
                        <a:pt x="383" y="892"/>
                      </a:lnTo>
                      <a:lnTo>
                        <a:pt x="380" y="892"/>
                      </a:lnTo>
                      <a:lnTo>
                        <a:pt x="377" y="894"/>
                      </a:lnTo>
                      <a:lnTo>
                        <a:pt x="366" y="899"/>
                      </a:lnTo>
                      <a:lnTo>
                        <a:pt x="356" y="905"/>
                      </a:lnTo>
                      <a:lnTo>
                        <a:pt x="353" y="907"/>
                      </a:lnTo>
                      <a:lnTo>
                        <a:pt x="348" y="907"/>
                      </a:lnTo>
                      <a:lnTo>
                        <a:pt x="345" y="907"/>
                      </a:lnTo>
                      <a:lnTo>
                        <a:pt x="342" y="908"/>
                      </a:lnTo>
                      <a:lnTo>
                        <a:pt x="339" y="908"/>
                      </a:lnTo>
                      <a:lnTo>
                        <a:pt x="334" y="910"/>
                      </a:lnTo>
                      <a:lnTo>
                        <a:pt x="325" y="918"/>
                      </a:lnTo>
                      <a:lnTo>
                        <a:pt x="318" y="929"/>
                      </a:lnTo>
                      <a:lnTo>
                        <a:pt x="315" y="934"/>
                      </a:lnTo>
                      <a:lnTo>
                        <a:pt x="312" y="935"/>
                      </a:lnTo>
                      <a:lnTo>
                        <a:pt x="309" y="937"/>
                      </a:lnTo>
                      <a:lnTo>
                        <a:pt x="306" y="940"/>
                      </a:lnTo>
                      <a:lnTo>
                        <a:pt x="302" y="943"/>
                      </a:lnTo>
                      <a:lnTo>
                        <a:pt x="299" y="946"/>
                      </a:lnTo>
                      <a:lnTo>
                        <a:pt x="296" y="948"/>
                      </a:lnTo>
                      <a:lnTo>
                        <a:pt x="291" y="946"/>
                      </a:lnTo>
                      <a:lnTo>
                        <a:pt x="288" y="948"/>
                      </a:lnTo>
                      <a:lnTo>
                        <a:pt x="285" y="951"/>
                      </a:lnTo>
                      <a:lnTo>
                        <a:pt x="282" y="951"/>
                      </a:lnTo>
                      <a:lnTo>
                        <a:pt x="282" y="948"/>
                      </a:lnTo>
                      <a:lnTo>
                        <a:pt x="279" y="946"/>
                      </a:lnTo>
                      <a:lnTo>
                        <a:pt x="274" y="946"/>
                      </a:lnTo>
                      <a:lnTo>
                        <a:pt x="271" y="946"/>
                      </a:lnTo>
                      <a:lnTo>
                        <a:pt x="264" y="946"/>
                      </a:lnTo>
                      <a:lnTo>
                        <a:pt x="261" y="948"/>
                      </a:lnTo>
                      <a:lnTo>
                        <a:pt x="258" y="948"/>
                      </a:lnTo>
                      <a:lnTo>
                        <a:pt x="253" y="948"/>
                      </a:lnTo>
                      <a:lnTo>
                        <a:pt x="250" y="951"/>
                      </a:lnTo>
                      <a:lnTo>
                        <a:pt x="247" y="951"/>
                      </a:lnTo>
                      <a:lnTo>
                        <a:pt x="247" y="948"/>
                      </a:lnTo>
                      <a:lnTo>
                        <a:pt x="245" y="945"/>
                      </a:lnTo>
                      <a:lnTo>
                        <a:pt x="242" y="945"/>
                      </a:lnTo>
                      <a:lnTo>
                        <a:pt x="239" y="946"/>
                      </a:lnTo>
                      <a:lnTo>
                        <a:pt x="234" y="946"/>
                      </a:lnTo>
                      <a:lnTo>
                        <a:pt x="231" y="946"/>
                      </a:lnTo>
                      <a:lnTo>
                        <a:pt x="228" y="943"/>
                      </a:lnTo>
                      <a:lnTo>
                        <a:pt x="225" y="943"/>
                      </a:lnTo>
                      <a:lnTo>
                        <a:pt x="222" y="943"/>
                      </a:lnTo>
                      <a:lnTo>
                        <a:pt x="209" y="945"/>
                      </a:lnTo>
                      <a:lnTo>
                        <a:pt x="196" y="946"/>
                      </a:lnTo>
                      <a:lnTo>
                        <a:pt x="193" y="948"/>
                      </a:lnTo>
                      <a:lnTo>
                        <a:pt x="190" y="949"/>
                      </a:lnTo>
                      <a:lnTo>
                        <a:pt x="185" y="949"/>
                      </a:lnTo>
                      <a:lnTo>
                        <a:pt x="182" y="948"/>
                      </a:lnTo>
                      <a:lnTo>
                        <a:pt x="179" y="949"/>
                      </a:lnTo>
                      <a:lnTo>
                        <a:pt x="176" y="948"/>
                      </a:lnTo>
                      <a:lnTo>
                        <a:pt x="176" y="948"/>
                      </a:lnTo>
                      <a:lnTo>
                        <a:pt x="171" y="949"/>
                      </a:lnTo>
                      <a:lnTo>
                        <a:pt x="168" y="949"/>
                      </a:lnTo>
                      <a:lnTo>
                        <a:pt x="164" y="953"/>
                      </a:lnTo>
                      <a:lnTo>
                        <a:pt x="161" y="954"/>
                      </a:lnTo>
                      <a:lnTo>
                        <a:pt x="157" y="957"/>
                      </a:lnTo>
                      <a:lnTo>
                        <a:pt x="155" y="961"/>
                      </a:lnTo>
                      <a:lnTo>
                        <a:pt x="152" y="964"/>
                      </a:lnTo>
                      <a:lnTo>
                        <a:pt x="152" y="967"/>
                      </a:lnTo>
                      <a:lnTo>
                        <a:pt x="147" y="967"/>
                      </a:lnTo>
                      <a:lnTo>
                        <a:pt x="147" y="970"/>
                      </a:lnTo>
                      <a:lnTo>
                        <a:pt x="142" y="970"/>
                      </a:lnTo>
                      <a:lnTo>
                        <a:pt x="139" y="973"/>
                      </a:lnTo>
                      <a:lnTo>
                        <a:pt x="136" y="970"/>
                      </a:lnTo>
                      <a:lnTo>
                        <a:pt x="133" y="970"/>
                      </a:lnTo>
                      <a:lnTo>
                        <a:pt x="128" y="970"/>
                      </a:lnTo>
                      <a:lnTo>
                        <a:pt x="125" y="972"/>
                      </a:lnTo>
                      <a:lnTo>
                        <a:pt x="122" y="975"/>
                      </a:lnTo>
                      <a:lnTo>
                        <a:pt x="118" y="978"/>
                      </a:lnTo>
                      <a:lnTo>
                        <a:pt x="115" y="980"/>
                      </a:lnTo>
                      <a:lnTo>
                        <a:pt x="112" y="980"/>
                      </a:lnTo>
                      <a:lnTo>
                        <a:pt x="109" y="983"/>
                      </a:lnTo>
                      <a:lnTo>
                        <a:pt x="106" y="986"/>
                      </a:lnTo>
                      <a:lnTo>
                        <a:pt x="103" y="989"/>
                      </a:lnTo>
                      <a:lnTo>
                        <a:pt x="99" y="989"/>
                      </a:lnTo>
                      <a:lnTo>
                        <a:pt x="98" y="992"/>
                      </a:lnTo>
                      <a:lnTo>
                        <a:pt x="93" y="992"/>
                      </a:lnTo>
                      <a:lnTo>
                        <a:pt x="90" y="992"/>
                      </a:lnTo>
                      <a:lnTo>
                        <a:pt x="87" y="994"/>
                      </a:lnTo>
                      <a:lnTo>
                        <a:pt x="85" y="994"/>
                      </a:lnTo>
                      <a:lnTo>
                        <a:pt x="88" y="995"/>
                      </a:lnTo>
                      <a:lnTo>
                        <a:pt x="85" y="997"/>
                      </a:lnTo>
                      <a:lnTo>
                        <a:pt x="84" y="995"/>
                      </a:lnTo>
                      <a:lnTo>
                        <a:pt x="80" y="994"/>
                      </a:lnTo>
                      <a:lnTo>
                        <a:pt x="77" y="995"/>
                      </a:lnTo>
                      <a:lnTo>
                        <a:pt x="74" y="995"/>
                      </a:lnTo>
                      <a:lnTo>
                        <a:pt x="69" y="994"/>
                      </a:lnTo>
                      <a:lnTo>
                        <a:pt x="66" y="994"/>
                      </a:lnTo>
                      <a:lnTo>
                        <a:pt x="63" y="992"/>
                      </a:lnTo>
                      <a:lnTo>
                        <a:pt x="50" y="994"/>
                      </a:lnTo>
                      <a:lnTo>
                        <a:pt x="39" y="992"/>
                      </a:lnTo>
                      <a:lnTo>
                        <a:pt x="39" y="989"/>
                      </a:lnTo>
                      <a:lnTo>
                        <a:pt x="36" y="989"/>
                      </a:lnTo>
                      <a:lnTo>
                        <a:pt x="33" y="988"/>
                      </a:lnTo>
                      <a:lnTo>
                        <a:pt x="30" y="986"/>
                      </a:lnTo>
                      <a:lnTo>
                        <a:pt x="25" y="984"/>
                      </a:lnTo>
                      <a:lnTo>
                        <a:pt x="25" y="981"/>
                      </a:lnTo>
                      <a:lnTo>
                        <a:pt x="23" y="978"/>
                      </a:lnTo>
                      <a:lnTo>
                        <a:pt x="22" y="975"/>
                      </a:lnTo>
                      <a:lnTo>
                        <a:pt x="19" y="972"/>
                      </a:lnTo>
                      <a:lnTo>
                        <a:pt x="15" y="969"/>
                      </a:lnTo>
                      <a:lnTo>
                        <a:pt x="12" y="965"/>
                      </a:lnTo>
                      <a:lnTo>
                        <a:pt x="9" y="964"/>
                      </a:lnTo>
                      <a:lnTo>
                        <a:pt x="6" y="964"/>
                      </a:lnTo>
                      <a:lnTo>
                        <a:pt x="3" y="965"/>
                      </a:lnTo>
                      <a:lnTo>
                        <a:pt x="0" y="962"/>
                      </a:lnTo>
                      <a:lnTo>
                        <a:pt x="1" y="959"/>
                      </a:lnTo>
                      <a:lnTo>
                        <a:pt x="1" y="956"/>
                      </a:lnTo>
                      <a:lnTo>
                        <a:pt x="1" y="953"/>
                      </a:lnTo>
                      <a:lnTo>
                        <a:pt x="3" y="948"/>
                      </a:lnTo>
                      <a:lnTo>
                        <a:pt x="4" y="945"/>
                      </a:lnTo>
                      <a:lnTo>
                        <a:pt x="6" y="942"/>
                      </a:lnTo>
                      <a:lnTo>
                        <a:pt x="6" y="938"/>
                      </a:lnTo>
                      <a:lnTo>
                        <a:pt x="9" y="935"/>
                      </a:lnTo>
                      <a:lnTo>
                        <a:pt x="12" y="935"/>
                      </a:lnTo>
                      <a:lnTo>
                        <a:pt x="15" y="937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</p:grpSp>
        </p:grpSp>
        <p:sp>
          <p:nvSpPr>
            <p:cNvPr id="43" name="Freeform 177"/>
            <p:cNvSpPr>
              <a:spLocks noEditPoints="1"/>
            </p:cNvSpPr>
            <p:nvPr/>
          </p:nvSpPr>
          <p:spPr bwMode="auto">
            <a:xfrm>
              <a:off x="5989882" y="2264906"/>
              <a:ext cx="3248029" cy="1140698"/>
            </a:xfrm>
            <a:custGeom>
              <a:avLst/>
              <a:gdLst>
                <a:gd name="T0" fmla="*/ 192 w 4419"/>
                <a:gd name="T1" fmla="*/ 277 h 1346"/>
                <a:gd name="T2" fmla="*/ 135 w 4419"/>
                <a:gd name="T3" fmla="*/ 365 h 1346"/>
                <a:gd name="T4" fmla="*/ 256 w 4419"/>
                <a:gd name="T5" fmla="*/ 438 h 1346"/>
                <a:gd name="T6" fmla="*/ 433 w 4419"/>
                <a:gd name="T7" fmla="*/ 349 h 1346"/>
                <a:gd name="T8" fmla="*/ 544 w 4419"/>
                <a:gd name="T9" fmla="*/ 322 h 1346"/>
                <a:gd name="T10" fmla="*/ 777 w 4419"/>
                <a:gd name="T11" fmla="*/ 289 h 1346"/>
                <a:gd name="T12" fmla="*/ 1069 w 4419"/>
                <a:gd name="T13" fmla="*/ 296 h 1346"/>
                <a:gd name="T14" fmla="*/ 1117 w 4419"/>
                <a:gd name="T15" fmla="*/ 209 h 1346"/>
                <a:gd name="T16" fmla="*/ 1222 w 4419"/>
                <a:gd name="T17" fmla="*/ 360 h 1346"/>
                <a:gd name="T18" fmla="*/ 1222 w 4419"/>
                <a:gd name="T19" fmla="*/ 279 h 1346"/>
                <a:gd name="T20" fmla="*/ 1261 w 4419"/>
                <a:gd name="T21" fmla="*/ 217 h 1346"/>
                <a:gd name="T22" fmla="*/ 1309 w 4419"/>
                <a:gd name="T23" fmla="*/ 170 h 1346"/>
                <a:gd name="T24" fmla="*/ 1396 w 4419"/>
                <a:gd name="T25" fmla="*/ 82 h 1346"/>
                <a:gd name="T26" fmla="*/ 1628 w 4419"/>
                <a:gd name="T27" fmla="*/ 47 h 1346"/>
                <a:gd name="T28" fmla="*/ 1807 w 4419"/>
                <a:gd name="T29" fmla="*/ 22 h 1346"/>
                <a:gd name="T30" fmla="*/ 2015 w 4419"/>
                <a:gd name="T31" fmla="*/ 86 h 1346"/>
                <a:gd name="T32" fmla="*/ 1994 w 4419"/>
                <a:gd name="T33" fmla="*/ 116 h 1346"/>
                <a:gd name="T34" fmla="*/ 2327 w 4419"/>
                <a:gd name="T35" fmla="*/ 128 h 1346"/>
                <a:gd name="T36" fmla="*/ 2532 w 4419"/>
                <a:gd name="T37" fmla="*/ 179 h 1346"/>
                <a:gd name="T38" fmla="*/ 2790 w 4419"/>
                <a:gd name="T39" fmla="*/ 209 h 1346"/>
                <a:gd name="T40" fmla="*/ 2903 w 4419"/>
                <a:gd name="T41" fmla="*/ 173 h 1346"/>
                <a:gd name="T42" fmla="*/ 3096 w 4419"/>
                <a:gd name="T43" fmla="*/ 208 h 1346"/>
                <a:gd name="T44" fmla="*/ 3526 w 4419"/>
                <a:gd name="T45" fmla="*/ 257 h 1346"/>
                <a:gd name="T46" fmla="*/ 3934 w 4419"/>
                <a:gd name="T47" fmla="*/ 273 h 1346"/>
                <a:gd name="T48" fmla="*/ 4279 w 4419"/>
                <a:gd name="T49" fmla="*/ 381 h 1346"/>
                <a:gd name="T50" fmla="*/ 4357 w 4419"/>
                <a:gd name="T51" fmla="*/ 401 h 1346"/>
                <a:gd name="T52" fmla="*/ 4205 w 4419"/>
                <a:gd name="T53" fmla="*/ 407 h 1346"/>
                <a:gd name="T54" fmla="*/ 4075 w 4419"/>
                <a:gd name="T55" fmla="*/ 428 h 1346"/>
                <a:gd name="T56" fmla="*/ 4194 w 4419"/>
                <a:gd name="T57" fmla="*/ 528 h 1346"/>
                <a:gd name="T58" fmla="*/ 4032 w 4419"/>
                <a:gd name="T59" fmla="*/ 610 h 1346"/>
                <a:gd name="T60" fmla="*/ 4035 w 4419"/>
                <a:gd name="T61" fmla="*/ 712 h 1346"/>
                <a:gd name="T62" fmla="*/ 4081 w 4419"/>
                <a:gd name="T63" fmla="*/ 893 h 1346"/>
                <a:gd name="T64" fmla="*/ 3884 w 4419"/>
                <a:gd name="T65" fmla="*/ 623 h 1346"/>
                <a:gd name="T66" fmla="*/ 3835 w 4419"/>
                <a:gd name="T67" fmla="*/ 569 h 1346"/>
                <a:gd name="T68" fmla="*/ 3734 w 4419"/>
                <a:gd name="T69" fmla="*/ 637 h 1346"/>
                <a:gd name="T70" fmla="*/ 3502 w 4419"/>
                <a:gd name="T71" fmla="*/ 634 h 1346"/>
                <a:gd name="T72" fmla="*/ 3334 w 4419"/>
                <a:gd name="T73" fmla="*/ 813 h 1346"/>
                <a:gd name="T74" fmla="*/ 3513 w 4419"/>
                <a:gd name="T75" fmla="*/ 856 h 1346"/>
                <a:gd name="T76" fmla="*/ 3629 w 4419"/>
                <a:gd name="T77" fmla="*/ 1107 h 1346"/>
                <a:gd name="T78" fmla="*/ 3483 w 4419"/>
                <a:gd name="T79" fmla="*/ 1300 h 1346"/>
                <a:gd name="T80" fmla="*/ 3472 w 4419"/>
                <a:gd name="T81" fmla="*/ 1064 h 1346"/>
                <a:gd name="T82" fmla="*/ 3217 w 4419"/>
                <a:gd name="T83" fmla="*/ 1008 h 1346"/>
                <a:gd name="T84" fmla="*/ 2906 w 4419"/>
                <a:gd name="T85" fmla="*/ 869 h 1346"/>
                <a:gd name="T86" fmla="*/ 2755 w 4419"/>
                <a:gd name="T87" fmla="*/ 1004 h 1346"/>
                <a:gd name="T88" fmla="*/ 2419 w 4419"/>
                <a:gd name="T89" fmla="*/ 980 h 1346"/>
                <a:gd name="T90" fmla="*/ 2186 w 4419"/>
                <a:gd name="T91" fmla="*/ 996 h 1346"/>
                <a:gd name="T92" fmla="*/ 1924 w 4419"/>
                <a:gd name="T93" fmla="*/ 1010 h 1346"/>
                <a:gd name="T94" fmla="*/ 1693 w 4419"/>
                <a:gd name="T95" fmla="*/ 956 h 1346"/>
                <a:gd name="T96" fmla="*/ 1377 w 4419"/>
                <a:gd name="T97" fmla="*/ 832 h 1346"/>
                <a:gd name="T98" fmla="*/ 1115 w 4419"/>
                <a:gd name="T99" fmla="*/ 837 h 1346"/>
                <a:gd name="T100" fmla="*/ 1109 w 4419"/>
                <a:gd name="T101" fmla="*/ 966 h 1346"/>
                <a:gd name="T102" fmla="*/ 854 w 4419"/>
                <a:gd name="T103" fmla="*/ 936 h 1346"/>
                <a:gd name="T104" fmla="*/ 674 w 4419"/>
                <a:gd name="T105" fmla="*/ 1047 h 1346"/>
                <a:gd name="T106" fmla="*/ 714 w 4419"/>
                <a:gd name="T107" fmla="*/ 1200 h 1346"/>
                <a:gd name="T108" fmla="*/ 633 w 4419"/>
                <a:gd name="T109" fmla="*/ 1289 h 1346"/>
                <a:gd name="T110" fmla="*/ 413 w 4419"/>
                <a:gd name="T111" fmla="*/ 1162 h 1346"/>
                <a:gd name="T112" fmla="*/ 467 w 4419"/>
                <a:gd name="T113" fmla="*/ 1064 h 1346"/>
                <a:gd name="T114" fmla="*/ 294 w 4419"/>
                <a:gd name="T115" fmla="*/ 947 h 1346"/>
                <a:gd name="T116" fmla="*/ 180 w 4419"/>
                <a:gd name="T117" fmla="*/ 837 h 1346"/>
                <a:gd name="T118" fmla="*/ 35 w 4419"/>
                <a:gd name="T119" fmla="*/ 683 h 1346"/>
                <a:gd name="T120" fmla="*/ 89 w 4419"/>
                <a:gd name="T121" fmla="*/ 536 h 1346"/>
                <a:gd name="T122" fmla="*/ 2471 w 4419"/>
                <a:gd name="T123" fmla="*/ 931 h 1346"/>
                <a:gd name="T124" fmla="*/ 2495 w 4419"/>
                <a:gd name="T125" fmla="*/ 853 h 1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419" h="1346">
                  <a:moveTo>
                    <a:pt x="0" y="287"/>
                  </a:moveTo>
                  <a:lnTo>
                    <a:pt x="0" y="287"/>
                  </a:lnTo>
                  <a:lnTo>
                    <a:pt x="3" y="287"/>
                  </a:lnTo>
                  <a:lnTo>
                    <a:pt x="8" y="285"/>
                  </a:lnTo>
                  <a:lnTo>
                    <a:pt x="11" y="284"/>
                  </a:lnTo>
                  <a:lnTo>
                    <a:pt x="15" y="284"/>
                  </a:lnTo>
                  <a:lnTo>
                    <a:pt x="18" y="282"/>
                  </a:lnTo>
                  <a:lnTo>
                    <a:pt x="21" y="279"/>
                  </a:lnTo>
                  <a:lnTo>
                    <a:pt x="23" y="277"/>
                  </a:lnTo>
                  <a:lnTo>
                    <a:pt x="23" y="274"/>
                  </a:lnTo>
                  <a:lnTo>
                    <a:pt x="26" y="273"/>
                  </a:lnTo>
                  <a:lnTo>
                    <a:pt x="30" y="273"/>
                  </a:lnTo>
                  <a:lnTo>
                    <a:pt x="34" y="271"/>
                  </a:lnTo>
                  <a:lnTo>
                    <a:pt x="35" y="271"/>
                  </a:lnTo>
                  <a:lnTo>
                    <a:pt x="38" y="270"/>
                  </a:lnTo>
                  <a:lnTo>
                    <a:pt x="38" y="270"/>
                  </a:lnTo>
                  <a:lnTo>
                    <a:pt x="42" y="266"/>
                  </a:lnTo>
                  <a:lnTo>
                    <a:pt x="43" y="263"/>
                  </a:lnTo>
                  <a:lnTo>
                    <a:pt x="42" y="262"/>
                  </a:lnTo>
                  <a:lnTo>
                    <a:pt x="46" y="263"/>
                  </a:lnTo>
                  <a:lnTo>
                    <a:pt x="53" y="265"/>
                  </a:lnTo>
                  <a:lnTo>
                    <a:pt x="57" y="265"/>
                  </a:lnTo>
                  <a:lnTo>
                    <a:pt x="62" y="263"/>
                  </a:lnTo>
                  <a:lnTo>
                    <a:pt x="61" y="260"/>
                  </a:lnTo>
                  <a:lnTo>
                    <a:pt x="57" y="257"/>
                  </a:lnTo>
                  <a:lnTo>
                    <a:pt x="59" y="257"/>
                  </a:lnTo>
                  <a:lnTo>
                    <a:pt x="67" y="257"/>
                  </a:lnTo>
                  <a:lnTo>
                    <a:pt x="70" y="258"/>
                  </a:lnTo>
                  <a:lnTo>
                    <a:pt x="73" y="262"/>
                  </a:lnTo>
                  <a:lnTo>
                    <a:pt x="76" y="260"/>
                  </a:lnTo>
                  <a:lnTo>
                    <a:pt x="80" y="258"/>
                  </a:lnTo>
                  <a:lnTo>
                    <a:pt x="81" y="255"/>
                  </a:lnTo>
                  <a:lnTo>
                    <a:pt x="84" y="255"/>
                  </a:lnTo>
                  <a:lnTo>
                    <a:pt x="88" y="254"/>
                  </a:lnTo>
                  <a:lnTo>
                    <a:pt x="84" y="250"/>
                  </a:lnTo>
                  <a:lnTo>
                    <a:pt x="88" y="250"/>
                  </a:lnTo>
                  <a:lnTo>
                    <a:pt x="92" y="252"/>
                  </a:lnTo>
                  <a:lnTo>
                    <a:pt x="99" y="254"/>
                  </a:lnTo>
                  <a:lnTo>
                    <a:pt x="103" y="257"/>
                  </a:lnTo>
                  <a:lnTo>
                    <a:pt x="107" y="257"/>
                  </a:lnTo>
                  <a:lnTo>
                    <a:pt x="111" y="257"/>
                  </a:lnTo>
                  <a:lnTo>
                    <a:pt x="115" y="257"/>
                  </a:lnTo>
                  <a:lnTo>
                    <a:pt x="118" y="258"/>
                  </a:lnTo>
                  <a:lnTo>
                    <a:pt x="116" y="262"/>
                  </a:lnTo>
                  <a:lnTo>
                    <a:pt x="113" y="263"/>
                  </a:lnTo>
                  <a:lnTo>
                    <a:pt x="110" y="263"/>
                  </a:lnTo>
                  <a:lnTo>
                    <a:pt x="105" y="263"/>
                  </a:lnTo>
                  <a:lnTo>
                    <a:pt x="102" y="262"/>
                  </a:lnTo>
                  <a:lnTo>
                    <a:pt x="99" y="262"/>
                  </a:lnTo>
                  <a:lnTo>
                    <a:pt x="95" y="262"/>
                  </a:lnTo>
                  <a:lnTo>
                    <a:pt x="91" y="258"/>
                  </a:lnTo>
                  <a:lnTo>
                    <a:pt x="89" y="262"/>
                  </a:lnTo>
                  <a:lnTo>
                    <a:pt x="92" y="263"/>
                  </a:lnTo>
                  <a:lnTo>
                    <a:pt x="97" y="263"/>
                  </a:lnTo>
                  <a:lnTo>
                    <a:pt x="100" y="265"/>
                  </a:lnTo>
                  <a:lnTo>
                    <a:pt x="102" y="266"/>
                  </a:lnTo>
                  <a:lnTo>
                    <a:pt x="99" y="268"/>
                  </a:lnTo>
                  <a:lnTo>
                    <a:pt x="95" y="270"/>
                  </a:lnTo>
                  <a:lnTo>
                    <a:pt x="99" y="268"/>
                  </a:lnTo>
                  <a:lnTo>
                    <a:pt x="102" y="266"/>
                  </a:lnTo>
                  <a:lnTo>
                    <a:pt x="107" y="266"/>
                  </a:lnTo>
                  <a:lnTo>
                    <a:pt x="110" y="266"/>
                  </a:lnTo>
                  <a:lnTo>
                    <a:pt x="113" y="268"/>
                  </a:lnTo>
                  <a:lnTo>
                    <a:pt x="118" y="268"/>
                  </a:lnTo>
                  <a:lnTo>
                    <a:pt x="115" y="273"/>
                  </a:lnTo>
                  <a:lnTo>
                    <a:pt x="119" y="270"/>
                  </a:lnTo>
                  <a:lnTo>
                    <a:pt x="122" y="270"/>
                  </a:lnTo>
                  <a:lnTo>
                    <a:pt x="126" y="268"/>
                  </a:lnTo>
                  <a:lnTo>
                    <a:pt x="129" y="271"/>
                  </a:lnTo>
                  <a:lnTo>
                    <a:pt x="126" y="274"/>
                  </a:lnTo>
                  <a:lnTo>
                    <a:pt x="129" y="274"/>
                  </a:lnTo>
                  <a:lnTo>
                    <a:pt x="126" y="276"/>
                  </a:lnTo>
                  <a:lnTo>
                    <a:pt x="130" y="277"/>
                  </a:lnTo>
                  <a:lnTo>
                    <a:pt x="126" y="279"/>
                  </a:lnTo>
                  <a:lnTo>
                    <a:pt x="122" y="281"/>
                  </a:lnTo>
                  <a:lnTo>
                    <a:pt x="119" y="282"/>
                  </a:lnTo>
                  <a:lnTo>
                    <a:pt x="121" y="285"/>
                  </a:lnTo>
                  <a:lnTo>
                    <a:pt x="121" y="285"/>
                  </a:lnTo>
                  <a:lnTo>
                    <a:pt x="124" y="281"/>
                  </a:lnTo>
                  <a:lnTo>
                    <a:pt x="127" y="281"/>
                  </a:lnTo>
                  <a:lnTo>
                    <a:pt x="130" y="279"/>
                  </a:lnTo>
                  <a:lnTo>
                    <a:pt x="134" y="276"/>
                  </a:lnTo>
                  <a:lnTo>
                    <a:pt x="134" y="273"/>
                  </a:lnTo>
                  <a:lnTo>
                    <a:pt x="141" y="273"/>
                  </a:lnTo>
                  <a:lnTo>
                    <a:pt x="151" y="273"/>
                  </a:lnTo>
                  <a:lnTo>
                    <a:pt x="160" y="274"/>
                  </a:lnTo>
                  <a:lnTo>
                    <a:pt x="170" y="276"/>
                  </a:lnTo>
                  <a:lnTo>
                    <a:pt x="173" y="276"/>
                  </a:lnTo>
                  <a:lnTo>
                    <a:pt x="176" y="274"/>
                  </a:lnTo>
                  <a:lnTo>
                    <a:pt x="181" y="274"/>
                  </a:lnTo>
                  <a:lnTo>
                    <a:pt x="184" y="276"/>
                  </a:lnTo>
                  <a:lnTo>
                    <a:pt x="189" y="276"/>
                  </a:lnTo>
                  <a:lnTo>
                    <a:pt x="192" y="277"/>
                  </a:lnTo>
                  <a:lnTo>
                    <a:pt x="194" y="277"/>
                  </a:lnTo>
                  <a:lnTo>
                    <a:pt x="197" y="279"/>
                  </a:lnTo>
                  <a:lnTo>
                    <a:pt x="200" y="279"/>
                  </a:lnTo>
                  <a:lnTo>
                    <a:pt x="205" y="281"/>
                  </a:lnTo>
                  <a:lnTo>
                    <a:pt x="224" y="287"/>
                  </a:lnTo>
                  <a:lnTo>
                    <a:pt x="241" y="293"/>
                  </a:lnTo>
                  <a:lnTo>
                    <a:pt x="251" y="296"/>
                  </a:lnTo>
                  <a:lnTo>
                    <a:pt x="259" y="301"/>
                  </a:lnTo>
                  <a:lnTo>
                    <a:pt x="267" y="304"/>
                  </a:lnTo>
                  <a:lnTo>
                    <a:pt x="276" y="308"/>
                  </a:lnTo>
                  <a:lnTo>
                    <a:pt x="273" y="304"/>
                  </a:lnTo>
                  <a:lnTo>
                    <a:pt x="291" y="312"/>
                  </a:lnTo>
                  <a:lnTo>
                    <a:pt x="308" y="315"/>
                  </a:lnTo>
                  <a:lnTo>
                    <a:pt x="305" y="312"/>
                  </a:lnTo>
                  <a:lnTo>
                    <a:pt x="316" y="319"/>
                  </a:lnTo>
                  <a:lnTo>
                    <a:pt x="325" y="327"/>
                  </a:lnTo>
                  <a:lnTo>
                    <a:pt x="330" y="325"/>
                  </a:lnTo>
                  <a:lnTo>
                    <a:pt x="333" y="327"/>
                  </a:lnTo>
                  <a:lnTo>
                    <a:pt x="337" y="328"/>
                  </a:lnTo>
                  <a:lnTo>
                    <a:pt x="340" y="328"/>
                  </a:lnTo>
                  <a:lnTo>
                    <a:pt x="343" y="331"/>
                  </a:lnTo>
                  <a:lnTo>
                    <a:pt x="343" y="335"/>
                  </a:lnTo>
                  <a:lnTo>
                    <a:pt x="348" y="338"/>
                  </a:lnTo>
                  <a:lnTo>
                    <a:pt x="349" y="341"/>
                  </a:lnTo>
                  <a:lnTo>
                    <a:pt x="349" y="344"/>
                  </a:lnTo>
                  <a:lnTo>
                    <a:pt x="352" y="346"/>
                  </a:lnTo>
                  <a:lnTo>
                    <a:pt x="356" y="347"/>
                  </a:lnTo>
                  <a:lnTo>
                    <a:pt x="357" y="350"/>
                  </a:lnTo>
                  <a:lnTo>
                    <a:pt x="356" y="354"/>
                  </a:lnTo>
                  <a:lnTo>
                    <a:pt x="356" y="354"/>
                  </a:lnTo>
                  <a:lnTo>
                    <a:pt x="357" y="355"/>
                  </a:lnTo>
                  <a:lnTo>
                    <a:pt x="356" y="358"/>
                  </a:lnTo>
                  <a:lnTo>
                    <a:pt x="352" y="363"/>
                  </a:lnTo>
                  <a:lnTo>
                    <a:pt x="344" y="368"/>
                  </a:lnTo>
                  <a:lnTo>
                    <a:pt x="338" y="374"/>
                  </a:lnTo>
                  <a:lnTo>
                    <a:pt x="335" y="376"/>
                  </a:lnTo>
                  <a:lnTo>
                    <a:pt x="332" y="377"/>
                  </a:lnTo>
                  <a:lnTo>
                    <a:pt x="327" y="379"/>
                  </a:lnTo>
                  <a:lnTo>
                    <a:pt x="325" y="381"/>
                  </a:lnTo>
                  <a:lnTo>
                    <a:pt x="322" y="381"/>
                  </a:lnTo>
                  <a:lnTo>
                    <a:pt x="318" y="382"/>
                  </a:lnTo>
                  <a:lnTo>
                    <a:pt x="306" y="385"/>
                  </a:lnTo>
                  <a:lnTo>
                    <a:pt x="294" y="387"/>
                  </a:lnTo>
                  <a:lnTo>
                    <a:pt x="281" y="387"/>
                  </a:lnTo>
                  <a:lnTo>
                    <a:pt x="268" y="385"/>
                  </a:lnTo>
                  <a:lnTo>
                    <a:pt x="259" y="382"/>
                  </a:lnTo>
                  <a:lnTo>
                    <a:pt x="248" y="379"/>
                  </a:lnTo>
                  <a:lnTo>
                    <a:pt x="235" y="379"/>
                  </a:lnTo>
                  <a:lnTo>
                    <a:pt x="224" y="377"/>
                  </a:lnTo>
                  <a:lnTo>
                    <a:pt x="210" y="376"/>
                  </a:lnTo>
                  <a:lnTo>
                    <a:pt x="197" y="373"/>
                  </a:lnTo>
                  <a:lnTo>
                    <a:pt x="194" y="371"/>
                  </a:lnTo>
                  <a:lnTo>
                    <a:pt x="191" y="369"/>
                  </a:lnTo>
                  <a:lnTo>
                    <a:pt x="189" y="369"/>
                  </a:lnTo>
                  <a:lnTo>
                    <a:pt x="186" y="368"/>
                  </a:lnTo>
                  <a:lnTo>
                    <a:pt x="183" y="368"/>
                  </a:lnTo>
                  <a:lnTo>
                    <a:pt x="180" y="369"/>
                  </a:lnTo>
                  <a:lnTo>
                    <a:pt x="175" y="369"/>
                  </a:lnTo>
                  <a:lnTo>
                    <a:pt x="175" y="366"/>
                  </a:lnTo>
                  <a:lnTo>
                    <a:pt x="172" y="366"/>
                  </a:lnTo>
                  <a:lnTo>
                    <a:pt x="168" y="365"/>
                  </a:lnTo>
                  <a:lnTo>
                    <a:pt x="165" y="365"/>
                  </a:lnTo>
                  <a:lnTo>
                    <a:pt x="165" y="361"/>
                  </a:lnTo>
                  <a:lnTo>
                    <a:pt x="162" y="365"/>
                  </a:lnTo>
                  <a:lnTo>
                    <a:pt x="159" y="365"/>
                  </a:lnTo>
                  <a:lnTo>
                    <a:pt x="154" y="361"/>
                  </a:lnTo>
                  <a:lnTo>
                    <a:pt x="151" y="363"/>
                  </a:lnTo>
                  <a:lnTo>
                    <a:pt x="148" y="363"/>
                  </a:lnTo>
                  <a:lnTo>
                    <a:pt x="145" y="361"/>
                  </a:lnTo>
                  <a:lnTo>
                    <a:pt x="140" y="360"/>
                  </a:lnTo>
                  <a:lnTo>
                    <a:pt x="137" y="358"/>
                  </a:lnTo>
                  <a:lnTo>
                    <a:pt x="134" y="357"/>
                  </a:lnTo>
                  <a:lnTo>
                    <a:pt x="130" y="355"/>
                  </a:lnTo>
                  <a:lnTo>
                    <a:pt x="129" y="352"/>
                  </a:lnTo>
                  <a:lnTo>
                    <a:pt x="132" y="350"/>
                  </a:lnTo>
                  <a:lnTo>
                    <a:pt x="124" y="349"/>
                  </a:lnTo>
                  <a:lnTo>
                    <a:pt x="115" y="347"/>
                  </a:lnTo>
                  <a:lnTo>
                    <a:pt x="108" y="349"/>
                  </a:lnTo>
                  <a:lnTo>
                    <a:pt x="102" y="349"/>
                  </a:lnTo>
                  <a:lnTo>
                    <a:pt x="105" y="349"/>
                  </a:lnTo>
                  <a:lnTo>
                    <a:pt x="110" y="349"/>
                  </a:lnTo>
                  <a:lnTo>
                    <a:pt x="111" y="349"/>
                  </a:lnTo>
                  <a:lnTo>
                    <a:pt x="115" y="352"/>
                  </a:lnTo>
                  <a:lnTo>
                    <a:pt x="118" y="352"/>
                  </a:lnTo>
                  <a:lnTo>
                    <a:pt x="121" y="354"/>
                  </a:lnTo>
                  <a:lnTo>
                    <a:pt x="118" y="358"/>
                  </a:lnTo>
                  <a:lnTo>
                    <a:pt x="122" y="358"/>
                  </a:lnTo>
                  <a:lnTo>
                    <a:pt x="126" y="360"/>
                  </a:lnTo>
                  <a:lnTo>
                    <a:pt x="129" y="361"/>
                  </a:lnTo>
                  <a:lnTo>
                    <a:pt x="132" y="363"/>
                  </a:lnTo>
                  <a:lnTo>
                    <a:pt x="129" y="363"/>
                  </a:lnTo>
                  <a:lnTo>
                    <a:pt x="132" y="363"/>
                  </a:lnTo>
                  <a:lnTo>
                    <a:pt x="135" y="365"/>
                  </a:lnTo>
                  <a:lnTo>
                    <a:pt x="140" y="365"/>
                  </a:lnTo>
                  <a:lnTo>
                    <a:pt x="143" y="366"/>
                  </a:lnTo>
                  <a:lnTo>
                    <a:pt x="140" y="366"/>
                  </a:lnTo>
                  <a:lnTo>
                    <a:pt x="135" y="368"/>
                  </a:lnTo>
                  <a:lnTo>
                    <a:pt x="132" y="368"/>
                  </a:lnTo>
                  <a:lnTo>
                    <a:pt x="134" y="368"/>
                  </a:lnTo>
                  <a:lnTo>
                    <a:pt x="138" y="368"/>
                  </a:lnTo>
                  <a:lnTo>
                    <a:pt x="141" y="368"/>
                  </a:lnTo>
                  <a:lnTo>
                    <a:pt x="145" y="368"/>
                  </a:lnTo>
                  <a:lnTo>
                    <a:pt x="148" y="369"/>
                  </a:lnTo>
                  <a:lnTo>
                    <a:pt x="145" y="369"/>
                  </a:lnTo>
                  <a:lnTo>
                    <a:pt x="138" y="369"/>
                  </a:lnTo>
                  <a:lnTo>
                    <a:pt x="135" y="371"/>
                  </a:lnTo>
                  <a:lnTo>
                    <a:pt x="138" y="371"/>
                  </a:lnTo>
                  <a:lnTo>
                    <a:pt x="143" y="369"/>
                  </a:lnTo>
                  <a:lnTo>
                    <a:pt x="146" y="371"/>
                  </a:lnTo>
                  <a:lnTo>
                    <a:pt x="149" y="373"/>
                  </a:lnTo>
                  <a:lnTo>
                    <a:pt x="154" y="373"/>
                  </a:lnTo>
                  <a:lnTo>
                    <a:pt x="154" y="376"/>
                  </a:lnTo>
                  <a:lnTo>
                    <a:pt x="154" y="376"/>
                  </a:lnTo>
                  <a:lnTo>
                    <a:pt x="149" y="377"/>
                  </a:lnTo>
                  <a:lnTo>
                    <a:pt x="146" y="377"/>
                  </a:lnTo>
                  <a:lnTo>
                    <a:pt x="149" y="377"/>
                  </a:lnTo>
                  <a:lnTo>
                    <a:pt x="153" y="377"/>
                  </a:lnTo>
                  <a:lnTo>
                    <a:pt x="157" y="379"/>
                  </a:lnTo>
                  <a:lnTo>
                    <a:pt x="160" y="379"/>
                  </a:lnTo>
                  <a:lnTo>
                    <a:pt x="164" y="381"/>
                  </a:lnTo>
                  <a:lnTo>
                    <a:pt x="167" y="381"/>
                  </a:lnTo>
                  <a:lnTo>
                    <a:pt x="173" y="382"/>
                  </a:lnTo>
                  <a:lnTo>
                    <a:pt x="180" y="385"/>
                  </a:lnTo>
                  <a:lnTo>
                    <a:pt x="181" y="385"/>
                  </a:lnTo>
                  <a:lnTo>
                    <a:pt x="184" y="387"/>
                  </a:lnTo>
                  <a:lnTo>
                    <a:pt x="186" y="390"/>
                  </a:lnTo>
                  <a:lnTo>
                    <a:pt x="187" y="392"/>
                  </a:lnTo>
                  <a:lnTo>
                    <a:pt x="191" y="392"/>
                  </a:lnTo>
                  <a:lnTo>
                    <a:pt x="192" y="396"/>
                  </a:lnTo>
                  <a:lnTo>
                    <a:pt x="194" y="400"/>
                  </a:lnTo>
                  <a:lnTo>
                    <a:pt x="189" y="400"/>
                  </a:lnTo>
                  <a:lnTo>
                    <a:pt x="191" y="403"/>
                  </a:lnTo>
                  <a:lnTo>
                    <a:pt x="189" y="406"/>
                  </a:lnTo>
                  <a:lnTo>
                    <a:pt x="186" y="409"/>
                  </a:lnTo>
                  <a:lnTo>
                    <a:pt x="183" y="411"/>
                  </a:lnTo>
                  <a:lnTo>
                    <a:pt x="186" y="415"/>
                  </a:lnTo>
                  <a:lnTo>
                    <a:pt x="189" y="415"/>
                  </a:lnTo>
                  <a:lnTo>
                    <a:pt x="191" y="419"/>
                  </a:lnTo>
                  <a:lnTo>
                    <a:pt x="195" y="422"/>
                  </a:lnTo>
                  <a:lnTo>
                    <a:pt x="194" y="425"/>
                  </a:lnTo>
                  <a:lnTo>
                    <a:pt x="194" y="425"/>
                  </a:lnTo>
                  <a:lnTo>
                    <a:pt x="195" y="426"/>
                  </a:lnTo>
                  <a:lnTo>
                    <a:pt x="199" y="428"/>
                  </a:lnTo>
                  <a:lnTo>
                    <a:pt x="200" y="433"/>
                  </a:lnTo>
                  <a:lnTo>
                    <a:pt x="203" y="433"/>
                  </a:lnTo>
                  <a:lnTo>
                    <a:pt x="203" y="433"/>
                  </a:lnTo>
                  <a:lnTo>
                    <a:pt x="203" y="433"/>
                  </a:lnTo>
                  <a:lnTo>
                    <a:pt x="199" y="436"/>
                  </a:lnTo>
                  <a:lnTo>
                    <a:pt x="203" y="438"/>
                  </a:lnTo>
                  <a:lnTo>
                    <a:pt x="200" y="441"/>
                  </a:lnTo>
                  <a:lnTo>
                    <a:pt x="205" y="444"/>
                  </a:lnTo>
                  <a:lnTo>
                    <a:pt x="213" y="447"/>
                  </a:lnTo>
                  <a:lnTo>
                    <a:pt x="216" y="449"/>
                  </a:lnTo>
                  <a:lnTo>
                    <a:pt x="219" y="449"/>
                  </a:lnTo>
                  <a:lnTo>
                    <a:pt x="224" y="447"/>
                  </a:lnTo>
                  <a:lnTo>
                    <a:pt x="227" y="449"/>
                  </a:lnTo>
                  <a:lnTo>
                    <a:pt x="230" y="450"/>
                  </a:lnTo>
                  <a:lnTo>
                    <a:pt x="233" y="453"/>
                  </a:lnTo>
                  <a:lnTo>
                    <a:pt x="238" y="452"/>
                  </a:lnTo>
                  <a:lnTo>
                    <a:pt x="243" y="457"/>
                  </a:lnTo>
                  <a:lnTo>
                    <a:pt x="248" y="460"/>
                  </a:lnTo>
                  <a:lnTo>
                    <a:pt x="252" y="463"/>
                  </a:lnTo>
                  <a:lnTo>
                    <a:pt x="259" y="463"/>
                  </a:lnTo>
                  <a:lnTo>
                    <a:pt x="265" y="465"/>
                  </a:lnTo>
                  <a:lnTo>
                    <a:pt x="268" y="465"/>
                  </a:lnTo>
                  <a:lnTo>
                    <a:pt x="273" y="466"/>
                  </a:lnTo>
                  <a:lnTo>
                    <a:pt x="276" y="468"/>
                  </a:lnTo>
                  <a:lnTo>
                    <a:pt x="279" y="468"/>
                  </a:lnTo>
                  <a:lnTo>
                    <a:pt x="283" y="465"/>
                  </a:lnTo>
                  <a:lnTo>
                    <a:pt x="289" y="465"/>
                  </a:lnTo>
                  <a:lnTo>
                    <a:pt x="294" y="461"/>
                  </a:lnTo>
                  <a:lnTo>
                    <a:pt x="294" y="460"/>
                  </a:lnTo>
                  <a:lnTo>
                    <a:pt x="294" y="458"/>
                  </a:lnTo>
                  <a:lnTo>
                    <a:pt x="292" y="455"/>
                  </a:lnTo>
                  <a:lnTo>
                    <a:pt x="289" y="453"/>
                  </a:lnTo>
                  <a:lnTo>
                    <a:pt x="291" y="450"/>
                  </a:lnTo>
                  <a:lnTo>
                    <a:pt x="287" y="449"/>
                  </a:lnTo>
                  <a:lnTo>
                    <a:pt x="283" y="446"/>
                  </a:lnTo>
                  <a:lnTo>
                    <a:pt x="279" y="446"/>
                  </a:lnTo>
                  <a:lnTo>
                    <a:pt x="276" y="447"/>
                  </a:lnTo>
                  <a:lnTo>
                    <a:pt x="273" y="447"/>
                  </a:lnTo>
                  <a:lnTo>
                    <a:pt x="268" y="447"/>
                  </a:lnTo>
                  <a:lnTo>
                    <a:pt x="265" y="446"/>
                  </a:lnTo>
                  <a:lnTo>
                    <a:pt x="262" y="444"/>
                  </a:lnTo>
                  <a:lnTo>
                    <a:pt x="259" y="441"/>
                  </a:lnTo>
                  <a:lnTo>
                    <a:pt x="256" y="438"/>
                  </a:lnTo>
                  <a:lnTo>
                    <a:pt x="251" y="434"/>
                  </a:lnTo>
                  <a:lnTo>
                    <a:pt x="248" y="434"/>
                  </a:lnTo>
                  <a:lnTo>
                    <a:pt x="245" y="431"/>
                  </a:lnTo>
                  <a:lnTo>
                    <a:pt x="241" y="426"/>
                  </a:lnTo>
                  <a:lnTo>
                    <a:pt x="245" y="426"/>
                  </a:lnTo>
                  <a:lnTo>
                    <a:pt x="249" y="426"/>
                  </a:lnTo>
                  <a:lnTo>
                    <a:pt x="252" y="425"/>
                  </a:lnTo>
                  <a:lnTo>
                    <a:pt x="252" y="422"/>
                  </a:lnTo>
                  <a:lnTo>
                    <a:pt x="254" y="417"/>
                  </a:lnTo>
                  <a:lnTo>
                    <a:pt x="265" y="419"/>
                  </a:lnTo>
                  <a:lnTo>
                    <a:pt x="275" y="423"/>
                  </a:lnTo>
                  <a:lnTo>
                    <a:pt x="276" y="425"/>
                  </a:lnTo>
                  <a:lnTo>
                    <a:pt x="281" y="428"/>
                  </a:lnTo>
                  <a:lnTo>
                    <a:pt x="284" y="428"/>
                  </a:lnTo>
                  <a:lnTo>
                    <a:pt x="287" y="430"/>
                  </a:lnTo>
                  <a:lnTo>
                    <a:pt x="292" y="430"/>
                  </a:lnTo>
                  <a:lnTo>
                    <a:pt x="295" y="430"/>
                  </a:lnTo>
                  <a:lnTo>
                    <a:pt x="292" y="433"/>
                  </a:lnTo>
                  <a:lnTo>
                    <a:pt x="287" y="433"/>
                  </a:lnTo>
                  <a:lnTo>
                    <a:pt x="289" y="436"/>
                  </a:lnTo>
                  <a:lnTo>
                    <a:pt x="294" y="434"/>
                  </a:lnTo>
                  <a:lnTo>
                    <a:pt x="297" y="433"/>
                  </a:lnTo>
                  <a:lnTo>
                    <a:pt x="300" y="431"/>
                  </a:lnTo>
                  <a:lnTo>
                    <a:pt x="305" y="433"/>
                  </a:lnTo>
                  <a:lnTo>
                    <a:pt x="308" y="433"/>
                  </a:lnTo>
                  <a:lnTo>
                    <a:pt x="318" y="436"/>
                  </a:lnTo>
                  <a:lnTo>
                    <a:pt x="325" y="439"/>
                  </a:lnTo>
                  <a:lnTo>
                    <a:pt x="330" y="441"/>
                  </a:lnTo>
                  <a:lnTo>
                    <a:pt x="333" y="441"/>
                  </a:lnTo>
                  <a:lnTo>
                    <a:pt x="337" y="439"/>
                  </a:lnTo>
                  <a:lnTo>
                    <a:pt x="340" y="438"/>
                  </a:lnTo>
                  <a:lnTo>
                    <a:pt x="341" y="438"/>
                  </a:lnTo>
                  <a:lnTo>
                    <a:pt x="344" y="439"/>
                  </a:lnTo>
                  <a:lnTo>
                    <a:pt x="349" y="441"/>
                  </a:lnTo>
                  <a:lnTo>
                    <a:pt x="352" y="441"/>
                  </a:lnTo>
                  <a:lnTo>
                    <a:pt x="356" y="441"/>
                  </a:lnTo>
                  <a:lnTo>
                    <a:pt x="357" y="441"/>
                  </a:lnTo>
                  <a:lnTo>
                    <a:pt x="357" y="441"/>
                  </a:lnTo>
                  <a:lnTo>
                    <a:pt x="354" y="438"/>
                  </a:lnTo>
                  <a:lnTo>
                    <a:pt x="352" y="433"/>
                  </a:lnTo>
                  <a:lnTo>
                    <a:pt x="351" y="430"/>
                  </a:lnTo>
                  <a:lnTo>
                    <a:pt x="349" y="426"/>
                  </a:lnTo>
                  <a:lnTo>
                    <a:pt x="346" y="425"/>
                  </a:lnTo>
                  <a:lnTo>
                    <a:pt x="343" y="423"/>
                  </a:lnTo>
                  <a:lnTo>
                    <a:pt x="340" y="420"/>
                  </a:lnTo>
                  <a:lnTo>
                    <a:pt x="337" y="419"/>
                  </a:lnTo>
                  <a:lnTo>
                    <a:pt x="333" y="415"/>
                  </a:lnTo>
                  <a:lnTo>
                    <a:pt x="330" y="414"/>
                  </a:lnTo>
                  <a:lnTo>
                    <a:pt x="327" y="409"/>
                  </a:lnTo>
                  <a:lnTo>
                    <a:pt x="327" y="406"/>
                  </a:lnTo>
                  <a:lnTo>
                    <a:pt x="330" y="403"/>
                  </a:lnTo>
                  <a:lnTo>
                    <a:pt x="341" y="398"/>
                  </a:lnTo>
                  <a:lnTo>
                    <a:pt x="346" y="393"/>
                  </a:lnTo>
                  <a:lnTo>
                    <a:pt x="348" y="392"/>
                  </a:lnTo>
                  <a:lnTo>
                    <a:pt x="351" y="390"/>
                  </a:lnTo>
                  <a:lnTo>
                    <a:pt x="354" y="388"/>
                  </a:lnTo>
                  <a:lnTo>
                    <a:pt x="357" y="388"/>
                  </a:lnTo>
                  <a:lnTo>
                    <a:pt x="368" y="385"/>
                  </a:lnTo>
                  <a:lnTo>
                    <a:pt x="373" y="382"/>
                  </a:lnTo>
                  <a:lnTo>
                    <a:pt x="379" y="377"/>
                  </a:lnTo>
                  <a:lnTo>
                    <a:pt x="386" y="369"/>
                  </a:lnTo>
                  <a:lnTo>
                    <a:pt x="389" y="371"/>
                  </a:lnTo>
                  <a:lnTo>
                    <a:pt x="392" y="371"/>
                  </a:lnTo>
                  <a:lnTo>
                    <a:pt x="397" y="373"/>
                  </a:lnTo>
                  <a:lnTo>
                    <a:pt x="400" y="374"/>
                  </a:lnTo>
                  <a:lnTo>
                    <a:pt x="411" y="374"/>
                  </a:lnTo>
                  <a:lnTo>
                    <a:pt x="414" y="374"/>
                  </a:lnTo>
                  <a:lnTo>
                    <a:pt x="417" y="376"/>
                  </a:lnTo>
                  <a:lnTo>
                    <a:pt x="422" y="377"/>
                  </a:lnTo>
                  <a:lnTo>
                    <a:pt x="425" y="377"/>
                  </a:lnTo>
                  <a:lnTo>
                    <a:pt x="427" y="382"/>
                  </a:lnTo>
                  <a:lnTo>
                    <a:pt x="424" y="382"/>
                  </a:lnTo>
                  <a:lnTo>
                    <a:pt x="419" y="385"/>
                  </a:lnTo>
                  <a:lnTo>
                    <a:pt x="424" y="387"/>
                  </a:lnTo>
                  <a:lnTo>
                    <a:pt x="424" y="384"/>
                  </a:lnTo>
                  <a:lnTo>
                    <a:pt x="433" y="384"/>
                  </a:lnTo>
                  <a:lnTo>
                    <a:pt x="436" y="385"/>
                  </a:lnTo>
                  <a:lnTo>
                    <a:pt x="440" y="388"/>
                  </a:lnTo>
                  <a:lnTo>
                    <a:pt x="444" y="393"/>
                  </a:lnTo>
                  <a:lnTo>
                    <a:pt x="443" y="390"/>
                  </a:lnTo>
                  <a:lnTo>
                    <a:pt x="443" y="387"/>
                  </a:lnTo>
                  <a:lnTo>
                    <a:pt x="440" y="382"/>
                  </a:lnTo>
                  <a:lnTo>
                    <a:pt x="438" y="379"/>
                  </a:lnTo>
                  <a:lnTo>
                    <a:pt x="440" y="376"/>
                  </a:lnTo>
                  <a:lnTo>
                    <a:pt x="441" y="374"/>
                  </a:lnTo>
                  <a:lnTo>
                    <a:pt x="443" y="371"/>
                  </a:lnTo>
                  <a:lnTo>
                    <a:pt x="443" y="368"/>
                  </a:lnTo>
                  <a:lnTo>
                    <a:pt x="448" y="366"/>
                  </a:lnTo>
                  <a:lnTo>
                    <a:pt x="443" y="363"/>
                  </a:lnTo>
                  <a:lnTo>
                    <a:pt x="443" y="360"/>
                  </a:lnTo>
                  <a:lnTo>
                    <a:pt x="443" y="357"/>
                  </a:lnTo>
                  <a:lnTo>
                    <a:pt x="438" y="352"/>
                  </a:lnTo>
                  <a:lnTo>
                    <a:pt x="433" y="349"/>
                  </a:lnTo>
                  <a:lnTo>
                    <a:pt x="429" y="347"/>
                  </a:lnTo>
                  <a:lnTo>
                    <a:pt x="422" y="347"/>
                  </a:lnTo>
                  <a:lnTo>
                    <a:pt x="419" y="344"/>
                  </a:lnTo>
                  <a:lnTo>
                    <a:pt x="419" y="341"/>
                  </a:lnTo>
                  <a:lnTo>
                    <a:pt x="421" y="336"/>
                  </a:lnTo>
                  <a:lnTo>
                    <a:pt x="422" y="333"/>
                  </a:lnTo>
                  <a:lnTo>
                    <a:pt x="422" y="330"/>
                  </a:lnTo>
                  <a:lnTo>
                    <a:pt x="424" y="327"/>
                  </a:lnTo>
                  <a:lnTo>
                    <a:pt x="422" y="322"/>
                  </a:lnTo>
                  <a:lnTo>
                    <a:pt x="425" y="322"/>
                  </a:lnTo>
                  <a:lnTo>
                    <a:pt x="422" y="319"/>
                  </a:lnTo>
                  <a:lnTo>
                    <a:pt x="425" y="317"/>
                  </a:lnTo>
                  <a:lnTo>
                    <a:pt x="422" y="315"/>
                  </a:lnTo>
                  <a:lnTo>
                    <a:pt x="422" y="311"/>
                  </a:lnTo>
                  <a:lnTo>
                    <a:pt x="421" y="308"/>
                  </a:lnTo>
                  <a:lnTo>
                    <a:pt x="417" y="306"/>
                  </a:lnTo>
                  <a:lnTo>
                    <a:pt x="413" y="304"/>
                  </a:lnTo>
                  <a:lnTo>
                    <a:pt x="403" y="301"/>
                  </a:lnTo>
                  <a:lnTo>
                    <a:pt x="395" y="296"/>
                  </a:lnTo>
                  <a:lnTo>
                    <a:pt x="398" y="295"/>
                  </a:lnTo>
                  <a:lnTo>
                    <a:pt x="402" y="296"/>
                  </a:lnTo>
                  <a:lnTo>
                    <a:pt x="406" y="296"/>
                  </a:lnTo>
                  <a:lnTo>
                    <a:pt x="409" y="298"/>
                  </a:lnTo>
                  <a:lnTo>
                    <a:pt x="413" y="300"/>
                  </a:lnTo>
                  <a:lnTo>
                    <a:pt x="417" y="300"/>
                  </a:lnTo>
                  <a:lnTo>
                    <a:pt x="421" y="300"/>
                  </a:lnTo>
                  <a:lnTo>
                    <a:pt x="424" y="300"/>
                  </a:lnTo>
                  <a:lnTo>
                    <a:pt x="427" y="298"/>
                  </a:lnTo>
                  <a:lnTo>
                    <a:pt x="432" y="298"/>
                  </a:lnTo>
                  <a:lnTo>
                    <a:pt x="448" y="298"/>
                  </a:lnTo>
                  <a:lnTo>
                    <a:pt x="465" y="301"/>
                  </a:lnTo>
                  <a:lnTo>
                    <a:pt x="467" y="304"/>
                  </a:lnTo>
                  <a:lnTo>
                    <a:pt x="470" y="308"/>
                  </a:lnTo>
                  <a:lnTo>
                    <a:pt x="475" y="309"/>
                  </a:lnTo>
                  <a:lnTo>
                    <a:pt x="478" y="311"/>
                  </a:lnTo>
                  <a:lnTo>
                    <a:pt x="481" y="312"/>
                  </a:lnTo>
                  <a:lnTo>
                    <a:pt x="484" y="315"/>
                  </a:lnTo>
                  <a:lnTo>
                    <a:pt x="487" y="319"/>
                  </a:lnTo>
                  <a:lnTo>
                    <a:pt x="490" y="320"/>
                  </a:lnTo>
                  <a:lnTo>
                    <a:pt x="492" y="325"/>
                  </a:lnTo>
                  <a:lnTo>
                    <a:pt x="489" y="325"/>
                  </a:lnTo>
                  <a:lnTo>
                    <a:pt x="486" y="325"/>
                  </a:lnTo>
                  <a:lnTo>
                    <a:pt x="482" y="325"/>
                  </a:lnTo>
                  <a:lnTo>
                    <a:pt x="478" y="325"/>
                  </a:lnTo>
                  <a:lnTo>
                    <a:pt x="475" y="325"/>
                  </a:lnTo>
                  <a:lnTo>
                    <a:pt x="465" y="327"/>
                  </a:lnTo>
                  <a:lnTo>
                    <a:pt x="457" y="328"/>
                  </a:lnTo>
                  <a:lnTo>
                    <a:pt x="459" y="331"/>
                  </a:lnTo>
                  <a:lnTo>
                    <a:pt x="455" y="333"/>
                  </a:lnTo>
                  <a:lnTo>
                    <a:pt x="451" y="335"/>
                  </a:lnTo>
                  <a:lnTo>
                    <a:pt x="451" y="336"/>
                  </a:lnTo>
                  <a:lnTo>
                    <a:pt x="449" y="339"/>
                  </a:lnTo>
                  <a:lnTo>
                    <a:pt x="452" y="342"/>
                  </a:lnTo>
                  <a:lnTo>
                    <a:pt x="460" y="344"/>
                  </a:lnTo>
                  <a:lnTo>
                    <a:pt x="463" y="346"/>
                  </a:lnTo>
                  <a:lnTo>
                    <a:pt x="467" y="347"/>
                  </a:lnTo>
                  <a:lnTo>
                    <a:pt x="471" y="349"/>
                  </a:lnTo>
                  <a:lnTo>
                    <a:pt x="473" y="352"/>
                  </a:lnTo>
                  <a:lnTo>
                    <a:pt x="479" y="358"/>
                  </a:lnTo>
                  <a:lnTo>
                    <a:pt x="484" y="358"/>
                  </a:lnTo>
                  <a:lnTo>
                    <a:pt x="486" y="360"/>
                  </a:lnTo>
                  <a:lnTo>
                    <a:pt x="492" y="358"/>
                  </a:lnTo>
                  <a:lnTo>
                    <a:pt x="497" y="358"/>
                  </a:lnTo>
                  <a:lnTo>
                    <a:pt x="500" y="358"/>
                  </a:lnTo>
                  <a:lnTo>
                    <a:pt x="497" y="361"/>
                  </a:lnTo>
                  <a:lnTo>
                    <a:pt x="500" y="360"/>
                  </a:lnTo>
                  <a:lnTo>
                    <a:pt x="503" y="360"/>
                  </a:lnTo>
                  <a:lnTo>
                    <a:pt x="508" y="358"/>
                  </a:lnTo>
                  <a:lnTo>
                    <a:pt x="511" y="358"/>
                  </a:lnTo>
                  <a:lnTo>
                    <a:pt x="516" y="358"/>
                  </a:lnTo>
                  <a:lnTo>
                    <a:pt x="519" y="357"/>
                  </a:lnTo>
                  <a:lnTo>
                    <a:pt x="522" y="357"/>
                  </a:lnTo>
                  <a:lnTo>
                    <a:pt x="525" y="357"/>
                  </a:lnTo>
                  <a:lnTo>
                    <a:pt x="528" y="354"/>
                  </a:lnTo>
                  <a:lnTo>
                    <a:pt x="528" y="350"/>
                  </a:lnTo>
                  <a:lnTo>
                    <a:pt x="525" y="347"/>
                  </a:lnTo>
                  <a:lnTo>
                    <a:pt x="527" y="342"/>
                  </a:lnTo>
                  <a:lnTo>
                    <a:pt x="528" y="339"/>
                  </a:lnTo>
                  <a:lnTo>
                    <a:pt x="528" y="336"/>
                  </a:lnTo>
                  <a:lnTo>
                    <a:pt x="525" y="333"/>
                  </a:lnTo>
                  <a:lnTo>
                    <a:pt x="528" y="331"/>
                  </a:lnTo>
                  <a:lnTo>
                    <a:pt x="532" y="333"/>
                  </a:lnTo>
                  <a:lnTo>
                    <a:pt x="536" y="330"/>
                  </a:lnTo>
                  <a:lnTo>
                    <a:pt x="540" y="330"/>
                  </a:lnTo>
                  <a:lnTo>
                    <a:pt x="543" y="330"/>
                  </a:lnTo>
                  <a:lnTo>
                    <a:pt x="546" y="328"/>
                  </a:lnTo>
                  <a:lnTo>
                    <a:pt x="551" y="330"/>
                  </a:lnTo>
                  <a:lnTo>
                    <a:pt x="554" y="330"/>
                  </a:lnTo>
                  <a:lnTo>
                    <a:pt x="559" y="331"/>
                  </a:lnTo>
                  <a:lnTo>
                    <a:pt x="554" y="330"/>
                  </a:lnTo>
                  <a:lnTo>
                    <a:pt x="551" y="328"/>
                  </a:lnTo>
                  <a:lnTo>
                    <a:pt x="547" y="325"/>
                  </a:lnTo>
                  <a:lnTo>
                    <a:pt x="544" y="322"/>
                  </a:lnTo>
                  <a:lnTo>
                    <a:pt x="549" y="323"/>
                  </a:lnTo>
                  <a:lnTo>
                    <a:pt x="554" y="323"/>
                  </a:lnTo>
                  <a:lnTo>
                    <a:pt x="557" y="323"/>
                  </a:lnTo>
                  <a:lnTo>
                    <a:pt x="562" y="322"/>
                  </a:lnTo>
                  <a:lnTo>
                    <a:pt x="567" y="320"/>
                  </a:lnTo>
                  <a:lnTo>
                    <a:pt x="570" y="319"/>
                  </a:lnTo>
                  <a:lnTo>
                    <a:pt x="573" y="317"/>
                  </a:lnTo>
                  <a:lnTo>
                    <a:pt x="576" y="315"/>
                  </a:lnTo>
                  <a:lnTo>
                    <a:pt x="578" y="315"/>
                  </a:lnTo>
                  <a:lnTo>
                    <a:pt x="578" y="315"/>
                  </a:lnTo>
                  <a:lnTo>
                    <a:pt x="578" y="317"/>
                  </a:lnTo>
                  <a:lnTo>
                    <a:pt x="581" y="312"/>
                  </a:lnTo>
                  <a:lnTo>
                    <a:pt x="584" y="311"/>
                  </a:lnTo>
                  <a:lnTo>
                    <a:pt x="587" y="311"/>
                  </a:lnTo>
                  <a:lnTo>
                    <a:pt x="592" y="308"/>
                  </a:lnTo>
                  <a:lnTo>
                    <a:pt x="595" y="306"/>
                  </a:lnTo>
                  <a:lnTo>
                    <a:pt x="598" y="306"/>
                  </a:lnTo>
                  <a:lnTo>
                    <a:pt x="601" y="306"/>
                  </a:lnTo>
                  <a:lnTo>
                    <a:pt x="606" y="304"/>
                  </a:lnTo>
                  <a:lnTo>
                    <a:pt x="609" y="304"/>
                  </a:lnTo>
                  <a:lnTo>
                    <a:pt x="613" y="303"/>
                  </a:lnTo>
                  <a:lnTo>
                    <a:pt x="617" y="301"/>
                  </a:lnTo>
                  <a:lnTo>
                    <a:pt x="620" y="301"/>
                  </a:lnTo>
                  <a:lnTo>
                    <a:pt x="624" y="300"/>
                  </a:lnTo>
                  <a:lnTo>
                    <a:pt x="628" y="298"/>
                  </a:lnTo>
                  <a:lnTo>
                    <a:pt x="632" y="301"/>
                  </a:lnTo>
                  <a:lnTo>
                    <a:pt x="630" y="304"/>
                  </a:lnTo>
                  <a:lnTo>
                    <a:pt x="633" y="308"/>
                  </a:lnTo>
                  <a:lnTo>
                    <a:pt x="638" y="306"/>
                  </a:lnTo>
                  <a:lnTo>
                    <a:pt x="641" y="304"/>
                  </a:lnTo>
                  <a:lnTo>
                    <a:pt x="644" y="303"/>
                  </a:lnTo>
                  <a:lnTo>
                    <a:pt x="641" y="300"/>
                  </a:lnTo>
                  <a:lnTo>
                    <a:pt x="636" y="298"/>
                  </a:lnTo>
                  <a:lnTo>
                    <a:pt x="633" y="298"/>
                  </a:lnTo>
                  <a:lnTo>
                    <a:pt x="636" y="295"/>
                  </a:lnTo>
                  <a:lnTo>
                    <a:pt x="639" y="293"/>
                  </a:lnTo>
                  <a:lnTo>
                    <a:pt x="644" y="292"/>
                  </a:lnTo>
                  <a:lnTo>
                    <a:pt x="647" y="290"/>
                  </a:lnTo>
                  <a:lnTo>
                    <a:pt x="651" y="289"/>
                  </a:lnTo>
                  <a:lnTo>
                    <a:pt x="655" y="287"/>
                  </a:lnTo>
                  <a:lnTo>
                    <a:pt x="659" y="287"/>
                  </a:lnTo>
                  <a:lnTo>
                    <a:pt x="671" y="284"/>
                  </a:lnTo>
                  <a:lnTo>
                    <a:pt x="684" y="284"/>
                  </a:lnTo>
                  <a:lnTo>
                    <a:pt x="673" y="285"/>
                  </a:lnTo>
                  <a:lnTo>
                    <a:pt x="662" y="287"/>
                  </a:lnTo>
                  <a:lnTo>
                    <a:pt x="666" y="287"/>
                  </a:lnTo>
                  <a:lnTo>
                    <a:pt x="670" y="289"/>
                  </a:lnTo>
                  <a:lnTo>
                    <a:pt x="674" y="289"/>
                  </a:lnTo>
                  <a:lnTo>
                    <a:pt x="670" y="290"/>
                  </a:lnTo>
                  <a:lnTo>
                    <a:pt x="671" y="293"/>
                  </a:lnTo>
                  <a:lnTo>
                    <a:pt x="670" y="298"/>
                  </a:lnTo>
                  <a:lnTo>
                    <a:pt x="674" y="300"/>
                  </a:lnTo>
                  <a:lnTo>
                    <a:pt x="676" y="303"/>
                  </a:lnTo>
                  <a:lnTo>
                    <a:pt x="673" y="306"/>
                  </a:lnTo>
                  <a:lnTo>
                    <a:pt x="670" y="304"/>
                  </a:lnTo>
                  <a:lnTo>
                    <a:pt x="665" y="306"/>
                  </a:lnTo>
                  <a:lnTo>
                    <a:pt x="662" y="306"/>
                  </a:lnTo>
                  <a:lnTo>
                    <a:pt x="660" y="309"/>
                  </a:lnTo>
                  <a:lnTo>
                    <a:pt x="665" y="311"/>
                  </a:lnTo>
                  <a:lnTo>
                    <a:pt x="668" y="309"/>
                  </a:lnTo>
                  <a:lnTo>
                    <a:pt x="671" y="309"/>
                  </a:lnTo>
                  <a:lnTo>
                    <a:pt x="676" y="309"/>
                  </a:lnTo>
                  <a:lnTo>
                    <a:pt x="679" y="311"/>
                  </a:lnTo>
                  <a:lnTo>
                    <a:pt x="682" y="311"/>
                  </a:lnTo>
                  <a:lnTo>
                    <a:pt x="685" y="308"/>
                  </a:lnTo>
                  <a:lnTo>
                    <a:pt x="687" y="311"/>
                  </a:lnTo>
                  <a:lnTo>
                    <a:pt x="687" y="311"/>
                  </a:lnTo>
                  <a:lnTo>
                    <a:pt x="690" y="309"/>
                  </a:lnTo>
                  <a:lnTo>
                    <a:pt x="695" y="308"/>
                  </a:lnTo>
                  <a:lnTo>
                    <a:pt x="698" y="311"/>
                  </a:lnTo>
                  <a:lnTo>
                    <a:pt x="701" y="312"/>
                  </a:lnTo>
                  <a:lnTo>
                    <a:pt x="704" y="312"/>
                  </a:lnTo>
                  <a:lnTo>
                    <a:pt x="704" y="308"/>
                  </a:lnTo>
                  <a:lnTo>
                    <a:pt x="703" y="304"/>
                  </a:lnTo>
                  <a:lnTo>
                    <a:pt x="704" y="303"/>
                  </a:lnTo>
                  <a:lnTo>
                    <a:pt x="709" y="301"/>
                  </a:lnTo>
                  <a:lnTo>
                    <a:pt x="712" y="300"/>
                  </a:lnTo>
                  <a:lnTo>
                    <a:pt x="716" y="298"/>
                  </a:lnTo>
                  <a:lnTo>
                    <a:pt x="719" y="298"/>
                  </a:lnTo>
                  <a:lnTo>
                    <a:pt x="724" y="298"/>
                  </a:lnTo>
                  <a:lnTo>
                    <a:pt x="727" y="296"/>
                  </a:lnTo>
                  <a:lnTo>
                    <a:pt x="730" y="296"/>
                  </a:lnTo>
                  <a:lnTo>
                    <a:pt x="735" y="296"/>
                  </a:lnTo>
                  <a:lnTo>
                    <a:pt x="738" y="296"/>
                  </a:lnTo>
                  <a:lnTo>
                    <a:pt x="747" y="296"/>
                  </a:lnTo>
                  <a:lnTo>
                    <a:pt x="755" y="300"/>
                  </a:lnTo>
                  <a:lnTo>
                    <a:pt x="760" y="300"/>
                  </a:lnTo>
                  <a:lnTo>
                    <a:pt x="763" y="298"/>
                  </a:lnTo>
                  <a:lnTo>
                    <a:pt x="766" y="295"/>
                  </a:lnTo>
                  <a:lnTo>
                    <a:pt x="770" y="292"/>
                  </a:lnTo>
                  <a:lnTo>
                    <a:pt x="773" y="293"/>
                  </a:lnTo>
                  <a:lnTo>
                    <a:pt x="777" y="292"/>
                  </a:lnTo>
                  <a:lnTo>
                    <a:pt x="777" y="289"/>
                  </a:lnTo>
                  <a:lnTo>
                    <a:pt x="781" y="289"/>
                  </a:lnTo>
                  <a:lnTo>
                    <a:pt x="784" y="290"/>
                  </a:lnTo>
                  <a:lnTo>
                    <a:pt x="789" y="292"/>
                  </a:lnTo>
                  <a:lnTo>
                    <a:pt x="785" y="289"/>
                  </a:lnTo>
                  <a:lnTo>
                    <a:pt x="790" y="285"/>
                  </a:lnTo>
                  <a:lnTo>
                    <a:pt x="796" y="284"/>
                  </a:lnTo>
                  <a:lnTo>
                    <a:pt x="801" y="284"/>
                  </a:lnTo>
                  <a:lnTo>
                    <a:pt x="808" y="284"/>
                  </a:lnTo>
                  <a:lnTo>
                    <a:pt x="803" y="284"/>
                  </a:lnTo>
                  <a:lnTo>
                    <a:pt x="806" y="287"/>
                  </a:lnTo>
                  <a:lnTo>
                    <a:pt x="811" y="289"/>
                  </a:lnTo>
                  <a:lnTo>
                    <a:pt x="814" y="290"/>
                  </a:lnTo>
                  <a:lnTo>
                    <a:pt x="817" y="292"/>
                  </a:lnTo>
                  <a:lnTo>
                    <a:pt x="814" y="293"/>
                  </a:lnTo>
                  <a:lnTo>
                    <a:pt x="809" y="296"/>
                  </a:lnTo>
                  <a:lnTo>
                    <a:pt x="812" y="300"/>
                  </a:lnTo>
                  <a:lnTo>
                    <a:pt x="812" y="303"/>
                  </a:lnTo>
                  <a:lnTo>
                    <a:pt x="816" y="304"/>
                  </a:lnTo>
                  <a:lnTo>
                    <a:pt x="820" y="304"/>
                  </a:lnTo>
                  <a:lnTo>
                    <a:pt x="823" y="306"/>
                  </a:lnTo>
                  <a:lnTo>
                    <a:pt x="828" y="306"/>
                  </a:lnTo>
                  <a:lnTo>
                    <a:pt x="831" y="306"/>
                  </a:lnTo>
                  <a:lnTo>
                    <a:pt x="835" y="304"/>
                  </a:lnTo>
                  <a:lnTo>
                    <a:pt x="835" y="301"/>
                  </a:lnTo>
                  <a:lnTo>
                    <a:pt x="831" y="298"/>
                  </a:lnTo>
                  <a:lnTo>
                    <a:pt x="828" y="296"/>
                  </a:lnTo>
                  <a:lnTo>
                    <a:pt x="831" y="293"/>
                  </a:lnTo>
                  <a:lnTo>
                    <a:pt x="833" y="293"/>
                  </a:lnTo>
                  <a:lnTo>
                    <a:pt x="838" y="295"/>
                  </a:lnTo>
                  <a:lnTo>
                    <a:pt x="844" y="293"/>
                  </a:lnTo>
                  <a:lnTo>
                    <a:pt x="847" y="293"/>
                  </a:lnTo>
                  <a:lnTo>
                    <a:pt x="850" y="289"/>
                  </a:lnTo>
                  <a:lnTo>
                    <a:pt x="854" y="287"/>
                  </a:lnTo>
                  <a:lnTo>
                    <a:pt x="854" y="284"/>
                  </a:lnTo>
                  <a:lnTo>
                    <a:pt x="850" y="279"/>
                  </a:lnTo>
                  <a:lnTo>
                    <a:pt x="847" y="277"/>
                  </a:lnTo>
                  <a:lnTo>
                    <a:pt x="844" y="279"/>
                  </a:lnTo>
                  <a:lnTo>
                    <a:pt x="839" y="274"/>
                  </a:lnTo>
                  <a:lnTo>
                    <a:pt x="835" y="271"/>
                  </a:lnTo>
                  <a:lnTo>
                    <a:pt x="830" y="268"/>
                  </a:lnTo>
                  <a:lnTo>
                    <a:pt x="823" y="263"/>
                  </a:lnTo>
                  <a:lnTo>
                    <a:pt x="827" y="260"/>
                  </a:lnTo>
                  <a:lnTo>
                    <a:pt x="830" y="260"/>
                  </a:lnTo>
                  <a:lnTo>
                    <a:pt x="835" y="260"/>
                  </a:lnTo>
                  <a:lnTo>
                    <a:pt x="835" y="257"/>
                  </a:lnTo>
                  <a:lnTo>
                    <a:pt x="838" y="254"/>
                  </a:lnTo>
                  <a:lnTo>
                    <a:pt x="842" y="254"/>
                  </a:lnTo>
                  <a:lnTo>
                    <a:pt x="846" y="255"/>
                  </a:lnTo>
                  <a:lnTo>
                    <a:pt x="849" y="255"/>
                  </a:lnTo>
                  <a:lnTo>
                    <a:pt x="852" y="257"/>
                  </a:lnTo>
                  <a:lnTo>
                    <a:pt x="857" y="257"/>
                  </a:lnTo>
                  <a:lnTo>
                    <a:pt x="860" y="257"/>
                  </a:lnTo>
                  <a:lnTo>
                    <a:pt x="876" y="258"/>
                  </a:lnTo>
                  <a:lnTo>
                    <a:pt x="892" y="258"/>
                  </a:lnTo>
                  <a:lnTo>
                    <a:pt x="908" y="260"/>
                  </a:lnTo>
                  <a:lnTo>
                    <a:pt x="923" y="263"/>
                  </a:lnTo>
                  <a:lnTo>
                    <a:pt x="939" y="268"/>
                  </a:lnTo>
                  <a:lnTo>
                    <a:pt x="953" y="273"/>
                  </a:lnTo>
                  <a:lnTo>
                    <a:pt x="950" y="274"/>
                  </a:lnTo>
                  <a:lnTo>
                    <a:pt x="950" y="277"/>
                  </a:lnTo>
                  <a:lnTo>
                    <a:pt x="953" y="279"/>
                  </a:lnTo>
                  <a:lnTo>
                    <a:pt x="955" y="277"/>
                  </a:lnTo>
                  <a:lnTo>
                    <a:pt x="957" y="274"/>
                  </a:lnTo>
                  <a:lnTo>
                    <a:pt x="968" y="277"/>
                  </a:lnTo>
                  <a:lnTo>
                    <a:pt x="979" y="279"/>
                  </a:lnTo>
                  <a:lnTo>
                    <a:pt x="974" y="279"/>
                  </a:lnTo>
                  <a:lnTo>
                    <a:pt x="979" y="281"/>
                  </a:lnTo>
                  <a:lnTo>
                    <a:pt x="982" y="282"/>
                  </a:lnTo>
                  <a:lnTo>
                    <a:pt x="985" y="282"/>
                  </a:lnTo>
                  <a:lnTo>
                    <a:pt x="988" y="282"/>
                  </a:lnTo>
                  <a:lnTo>
                    <a:pt x="993" y="284"/>
                  </a:lnTo>
                  <a:lnTo>
                    <a:pt x="1003" y="287"/>
                  </a:lnTo>
                  <a:lnTo>
                    <a:pt x="1015" y="289"/>
                  </a:lnTo>
                  <a:lnTo>
                    <a:pt x="1019" y="289"/>
                  </a:lnTo>
                  <a:lnTo>
                    <a:pt x="1022" y="293"/>
                  </a:lnTo>
                  <a:lnTo>
                    <a:pt x="1025" y="293"/>
                  </a:lnTo>
                  <a:lnTo>
                    <a:pt x="1028" y="295"/>
                  </a:lnTo>
                  <a:lnTo>
                    <a:pt x="1031" y="296"/>
                  </a:lnTo>
                  <a:lnTo>
                    <a:pt x="1036" y="298"/>
                  </a:lnTo>
                  <a:lnTo>
                    <a:pt x="1039" y="300"/>
                  </a:lnTo>
                  <a:lnTo>
                    <a:pt x="1042" y="301"/>
                  </a:lnTo>
                  <a:lnTo>
                    <a:pt x="1045" y="303"/>
                  </a:lnTo>
                  <a:lnTo>
                    <a:pt x="1050" y="303"/>
                  </a:lnTo>
                  <a:lnTo>
                    <a:pt x="1053" y="304"/>
                  </a:lnTo>
                  <a:lnTo>
                    <a:pt x="1057" y="306"/>
                  </a:lnTo>
                  <a:lnTo>
                    <a:pt x="1057" y="311"/>
                  </a:lnTo>
                  <a:lnTo>
                    <a:pt x="1060" y="312"/>
                  </a:lnTo>
                  <a:lnTo>
                    <a:pt x="1065" y="311"/>
                  </a:lnTo>
                  <a:lnTo>
                    <a:pt x="1068" y="308"/>
                  </a:lnTo>
                  <a:lnTo>
                    <a:pt x="1068" y="308"/>
                  </a:lnTo>
                  <a:lnTo>
                    <a:pt x="1066" y="304"/>
                  </a:lnTo>
                  <a:lnTo>
                    <a:pt x="1068" y="301"/>
                  </a:lnTo>
                  <a:lnTo>
                    <a:pt x="1069" y="296"/>
                  </a:lnTo>
                  <a:lnTo>
                    <a:pt x="1069" y="293"/>
                  </a:lnTo>
                  <a:lnTo>
                    <a:pt x="1069" y="290"/>
                  </a:lnTo>
                  <a:lnTo>
                    <a:pt x="1066" y="287"/>
                  </a:lnTo>
                  <a:lnTo>
                    <a:pt x="1069" y="287"/>
                  </a:lnTo>
                  <a:lnTo>
                    <a:pt x="1066" y="285"/>
                  </a:lnTo>
                  <a:lnTo>
                    <a:pt x="1063" y="287"/>
                  </a:lnTo>
                  <a:lnTo>
                    <a:pt x="1058" y="287"/>
                  </a:lnTo>
                  <a:lnTo>
                    <a:pt x="1055" y="285"/>
                  </a:lnTo>
                  <a:lnTo>
                    <a:pt x="1052" y="284"/>
                  </a:lnTo>
                  <a:lnTo>
                    <a:pt x="1042" y="279"/>
                  </a:lnTo>
                  <a:lnTo>
                    <a:pt x="1033" y="271"/>
                  </a:lnTo>
                  <a:lnTo>
                    <a:pt x="1033" y="268"/>
                  </a:lnTo>
                  <a:lnTo>
                    <a:pt x="1031" y="265"/>
                  </a:lnTo>
                  <a:lnTo>
                    <a:pt x="1028" y="266"/>
                  </a:lnTo>
                  <a:lnTo>
                    <a:pt x="1025" y="266"/>
                  </a:lnTo>
                  <a:lnTo>
                    <a:pt x="1022" y="265"/>
                  </a:lnTo>
                  <a:lnTo>
                    <a:pt x="1017" y="263"/>
                  </a:lnTo>
                  <a:lnTo>
                    <a:pt x="1009" y="262"/>
                  </a:lnTo>
                  <a:lnTo>
                    <a:pt x="999" y="260"/>
                  </a:lnTo>
                  <a:lnTo>
                    <a:pt x="999" y="263"/>
                  </a:lnTo>
                  <a:lnTo>
                    <a:pt x="996" y="262"/>
                  </a:lnTo>
                  <a:lnTo>
                    <a:pt x="993" y="258"/>
                  </a:lnTo>
                  <a:lnTo>
                    <a:pt x="993" y="254"/>
                  </a:lnTo>
                  <a:lnTo>
                    <a:pt x="992" y="250"/>
                  </a:lnTo>
                  <a:lnTo>
                    <a:pt x="992" y="249"/>
                  </a:lnTo>
                  <a:lnTo>
                    <a:pt x="995" y="249"/>
                  </a:lnTo>
                  <a:lnTo>
                    <a:pt x="998" y="250"/>
                  </a:lnTo>
                  <a:lnTo>
                    <a:pt x="1001" y="249"/>
                  </a:lnTo>
                  <a:lnTo>
                    <a:pt x="1001" y="246"/>
                  </a:lnTo>
                  <a:lnTo>
                    <a:pt x="998" y="243"/>
                  </a:lnTo>
                  <a:lnTo>
                    <a:pt x="995" y="243"/>
                  </a:lnTo>
                  <a:lnTo>
                    <a:pt x="992" y="231"/>
                  </a:lnTo>
                  <a:lnTo>
                    <a:pt x="992" y="225"/>
                  </a:lnTo>
                  <a:lnTo>
                    <a:pt x="987" y="222"/>
                  </a:lnTo>
                  <a:lnTo>
                    <a:pt x="982" y="220"/>
                  </a:lnTo>
                  <a:lnTo>
                    <a:pt x="979" y="222"/>
                  </a:lnTo>
                  <a:lnTo>
                    <a:pt x="973" y="222"/>
                  </a:lnTo>
                  <a:lnTo>
                    <a:pt x="969" y="219"/>
                  </a:lnTo>
                  <a:lnTo>
                    <a:pt x="973" y="216"/>
                  </a:lnTo>
                  <a:lnTo>
                    <a:pt x="969" y="216"/>
                  </a:lnTo>
                  <a:lnTo>
                    <a:pt x="968" y="212"/>
                  </a:lnTo>
                  <a:lnTo>
                    <a:pt x="969" y="208"/>
                  </a:lnTo>
                  <a:lnTo>
                    <a:pt x="973" y="204"/>
                  </a:lnTo>
                  <a:lnTo>
                    <a:pt x="977" y="204"/>
                  </a:lnTo>
                  <a:lnTo>
                    <a:pt x="980" y="203"/>
                  </a:lnTo>
                  <a:lnTo>
                    <a:pt x="984" y="201"/>
                  </a:lnTo>
                  <a:lnTo>
                    <a:pt x="988" y="200"/>
                  </a:lnTo>
                  <a:lnTo>
                    <a:pt x="992" y="198"/>
                  </a:lnTo>
                  <a:lnTo>
                    <a:pt x="995" y="195"/>
                  </a:lnTo>
                  <a:lnTo>
                    <a:pt x="998" y="192"/>
                  </a:lnTo>
                  <a:lnTo>
                    <a:pt x="999" y="189"/>
                  </a:lnTo>
                  <a:lnTo>
                    <a:pt x="999" y="179"/>
                  </a:lnTo>
                  <a:lnTo>
                    <a:pt x="998" y="171"/>
                  </a:lnTo>
                  <a:lnTo>
                    <a:pt x="996" y="168"/>
                  </a:lnTo>
                  <a:lnTo>
                    <a:pt x="996" y="163"/>
                  </a:lnTo>
                  <a:lnTo>
                    <a:pt x="998" y="160"/>
                  </a:lnTo>
                  <a:lnTo>
                    <a:pt x="998" y="157"/>
                  </a:lnTo>
                  <a:lnTo>
                    <a:pt x="1001" y="154"/>
                  </a:lnTo>
                  <a:lnTo>
                    <a:pt x="1003" y="149"/>
                  </a:lnTo>
                  <a:lnTo>
                    <a:pt x="1006" y="149"/>
                  </a:lnTo>
                  <a:lnTo>
                    <a:pt x="1009" y="151"/>
                  </a:lnTo>
                  <a:lnTo>
                    <a:pt x="1006" y="152"/>
                  </a:lnTo>
                  <a:lnTo>
                    <a:pt x="1030" y="152"/>
                  </a:lnTo>
                  <a:lnTo>
                    <a:pt x="1053" y="152"/>
                  </a:lnTo>
                  <a:lnTo>
                    <a:pt x="1057" y="152"/>
                  </a:lnTo>
                  <a:lnTo>
                    <a:pt x="1060" y="152"/>
                  </a:lnTo>
                  <a:lnTo>
                    <a:pt x="1063" y="154"/>
                  </a:lnTo>
                  <a:lnTo>
                    <a:pt x="1068" y="155"/>
                  </a:lnTo>
                  <a:lnTo>
                    <a:pt x="1071" y="154"/>
                  </a:lnTo>
                  <a:lnTo>
                    <a:pt x="1076" y="155"/>
                  </a:lnTo>
                  <a:lnTo>
                    <a:pt x="1084" y="157"/>
                  </a:lnTo>
                  <a:lnTo>
                    <a:pt x="1087" y="157"/>
                  </a:lnTo>
                  <a:lnTo>
                    <a:pt x="1090" y="160"/>
                  </a:lnTo>
                  <a:lnTo>
                    <a:pt x="1093" y="163"/>
                  </a:lnTo>
                  <a:lnTo>
                    <a:pt x="1096" y="165"/>
                  </a:lnTo>
                  <a:lnTo>
                    <a:pt x="1098" y="168"/>
                  </a:lnTo>
                  <a:lnTo>
                    <a:pt x="1101" y="171"/>
                  </a:lnTo>
                  <a:lnTo>
                    <a:pt x="1099" y="174"/>
                  </a:lnTo>
                  <a:lnTo>
                    <a:pt x="1101" y="179"/>
                  </a:lnTo>
                  <a:lnTo>
                    <a:pt x="1099" y="182"/>
                  </a:lnTo>
                  <a:lnTo>
                    <a:pt x="1101" y="185"/>
                  </a:lnTo>
                  <a:lnTo>
                    <a:pt x="1098" y="189"/>
                  </a:lnTo>
                  <a:lnTo>
                    <a:pt x="1099" y="192"/>
                  </a:lnTo>
                  <a:lnTo>
                    <a:pt x="1098" y="195"/>
                  </a:lnTo>
                  <a:lnTo>
                    <a:pt x="1095" y="197"/>
                  </a:lnTo>
                  <a:lnTo>
                    <a:pt x="1090" y="198"/>
                  </a:lnTo>
                  <a:lnTo>
                    <a:pt x="1095" y="201"/>
                  </a:lnTo>
                  <a:lnTo>
                    <a:pt x="1098" y="203"/>
                  </a:lnTo>
                  <a:lnTo>
                    <a:pt x="1101" y="204"/>
                  </a:lnTo>
                  <a:lnTo>
                    <a:pt x="1104" y="206"/>
                  </a:lnTo>
                  <a:lnTo>
                    <a:pt x="1109" y="208"/>
                  </a:lnTo>
                  <a:lnTo>
                    <a:pt x="1112" y="209"/>
                  </a:lnTo>
                  <a:lnTo>
                    <a:pt x="1117" y="209"/>
                  </a:lnTo>
                  <a:lnTo>
                    <a:pt x="1120" y="211"/>
                  </a:lnTo>
                  <a:lnTo>
                    <a:pt x="1122" y="214"/>
                  </a:lnTo>
                  <a:lnTo>
                    <a:pt x="1125" y="217"/>
                  </a:lnTo>
                  <a:lnTo>
                    <a:pt x="1128" y="219"/>
                  </a:lnTo>
                  <a:lnTo>
                    <a:pt x="1130" y="222"/>
                  </a:lnTo>
                  <a:lnTo>
                    <a:pt x="1131" y="225"/>
                  </a:lnTo>
                  <a:lnTo>
                    <a:pt x="1131" y="228"/>
                  </a:lnTo>
                  <a:lnTo>
                    <a:pt x="1134" y="231"/>
                  </a:lnTo>
                  <a:lnTo>
                    <a:pt x="1136" y="235"/>
                  </a:lnTo>
                  <a:lnTo>
                    <a:pt x="1133" y="238"/>
                  </a:lnTo>
                  <a:lnTo>
                    <a:pt x="1131" y="241"/>
                  </a:lnTo>
                  <a:lnTo>
                    <a:pt x="1136" y="243"/>
                  </a:lnTo>
                  <a:lnTo>
                    <a:pt x="1137" y="246"/>
                  </a:lnTo>
                  <a:lnTo>
                    <a:pt x="1139" y="249"/>
                  </a:lnTo>
                  <a:lnTo>
                    <a:pt x="1141" y="250"/>
                  </a:lnTo>
                  <a:lnTo>
                    <a:pt x="1144" y="254"/>
                  </a:lnTo>
                  <a:lnTo>
                    <a:pt x="1147" y="257"/>
                  </a:lnTo>
                  <a:lnTo>
                    <a:pt x="1145" y="260"/>
                  </a:lnTo>
                  <a:lnTo>
                    <a:pt x="1147" y="263"/>
                  </a:lnTo>
                  <a:lnTo>
                    <a:pt x="1152" y="266"/>
                  </a:lnTo>
                  <a:lnTo>
                    <a:pt x="1150" y="270"/>
                  </a:lnTo>
                  <a:lnTo>
                    <a:pt x="1155" y="273"/>
                  </a:lnTo>
                  <a:lnTo>
                    <a:pt x="1153" y="277"/>
                  </a:lnTo>
                  <a:lnTo>
                    <a:pt x="1157" y="282"/>
                  </a:lnTo>
                  <a:lnTo>
                    <a:pt x="1161" y="287"/>
                  </a:lnTo>
                  <a:lnTo>
                    <a:pt x="1166" y="290"/>
                  </a:lnTo>
                  <a:lnTo>
                    <a:pt x="1172" y="292"/>
                  </a:lnTo>
                  <a:lnTo>
                    <a:pt x="1185" y="295"/>
                  </a:lnTo>
                  <a:lnTo>
                    <a:pt x="1195" y="301"/>
                  </a:lnTo>
                  <a:lnTo>
                    <a:pt x="1193" y="304"/>
                  </a:lnTo>
                  <a:lnTo>
                    <a:pt x="1190" y="308"/>
                  </a:lnTo>
                  <a:lnTo>
                    <a:pt x="1188" y="312"/>
                  </a:lnTo>
                  <a:lnTo>
                    <a:pt x="1190" y="315"/>
                  </a:lnTo>
                  <a:lnTo>
                    <a:pt x="1193" y="317"/>
                  </a:lnTo>
                  <a:lnTo>
                    <a:pt x="1196" y="320"/>
                  </a:lnTo>
                  <a:lnTo>
                    <a:pt x="1195" y="325"/>
                  </a:lnTo>
                  <a:lnTo>
                    <a:pt x="1196" y="328"/>
                  </a:lnTo>
                  <a:lnTo>
                    <a:pt x="1193" y="330"/>
                  </a:lnTo>
                  <a:lnTo>
                    <a:pt x="1190" y="331"/>
                  </a:lnTo>
                  <a:lnTo>
                    <a:pt x="1185" y="335"/>
                  </a:lnTo>
                  <a:lnTo>
                    <a:pt x="1185" y="336"/>
                  </a:lnTo>
                  <a:lnTo>
                    <a:pt x="1185" y="339"/>
                  </a:lnTo>
                  <a:lnTo>
                    <a:pt x="1183" y="342"/>
                  </a:lnTo>
                  <a:lnTo>
                    <a:pt x="1179" y="344"/>
                  </a:lnTo>
                  <a:lnTo>
                    <a:pt x="1183" y="349"/>
                  </a:lnTo>
                  <a:lnTo>
                    <a:pt x="1180" y="347"/>
                  </a:lnTo>
                  <a:lnTo>
                    <a:pt x="1176" y="349"/>
                  </a:lnTo>
                  <a:lnTo>
                    <a:pt x="1179" y="350"/>
                  </a:lnTo>
                  <a:lnTo>
                    <a:pt x="1177" y="354"/>
                  </a:lnTo>
                  <a:lnTo>
                    <a:pt x="1174" y="355"/>
                  </a:lnTo>
                  <a:lnTo>
                    <a:pt x="1169" y="357"/>
                  </a:lnTo>
                  <a:lnTo>
                    <a:pt x="1166" y="357"/>
                  </a:lnTo>
                  <a:lnTo>
                    <a:pt x="1166" y="357"/>
                  </a:lnTo>
                  <a:lnTo>
                    <a:pt x="1163" y="357"/>
                  </a:lnTo>
                  <a:lnTo>
                    <a:pt x="1160" y="360"/>
                  </a:lnTo>
                  <a:lnTo>
                    <a:pt x="1155" y="360"/>
                  </a:lnTo>
                  <a:lnTo>
                    <a:pt x="1152" y="361"/>
                  </a:lnTo>
                  <a:lnTo>
                    <a:pt x="1152" y="361"/>
                  </a:lnTo>
                  <a:lnTo>
                    <a:pt x="1149" y="361"/>
                  </a:lnTo>
                  <a:lnTo>
                    <a:pt x="1145" y="365"/>
                  </a:lnTo>
                  <a:lnTo>
                    <a:pt x="1141" y="365"/>
                  </a:lnTo>
                  <a:lnTo>
                    <a:pt x="1137" y="365"/>
                  </a:lnTo>
                  <a:lnTo>
                    <a:pt x="1134" y="363"/>
                  </a:lnTo>
                  <a:lnTo>
                    <a:pt x="1131" y="361"/>
                  </a:lnTo>
                  <a:lnTo>
                    <a:pt x="1128" y="358"/>
                  </a:lnTo>
                  <a:lnTo>
                    <a:pt x="1115" y="360"/>
                  </a:lnTo>
                  <a:lnTo>
                    <a:pt x="1103" y="360"/>
                  </a:lnTo>
                  <a:lnTo>
                    <a:pt x="1104" y="361"/>
                  </a:lnTo>
                  <a:lnTo>
                    <a:pt x="1104" y="361"/>
                  </a:lnTo>
                  <a:lnTo>
                    <a:pt x="1107" y="363"/>
                  </a:lnTo>
                  <a:lnTo>
                    <a:pt x="1109" y="366"/>
                  </a:lnTo>
                  <a:lnTo>
                    <a:pt x="1112" y="368"/>
                  </a:lnTo>
                  <a:lnTo>
                    <a:pt x="1117" y="369"/>
                  </a:lnTo>
                  <a:lnTo>
                    <a:pt x="1120" y="371"/>
                  </a:lnTo>
                  <a:lnTo>
                    <a:pt x="1123" y="371"/>
                  </a:lnTo>
                  <a:lnTo>
                    <a:pt x="1126" y="371"/>
                  </a:lnTo>
                  <a:lnTo>
                    <a:pt x="1137" y="374"/>
                  </a:lnTo>
                  <a:lnTo>
                    <a:pt x="1147" y="377"/>
                  </a:lnTo>
                  <a:lnTo>
                    <a:pt x="1158" y="376"/>
                  </a:lnTo>
                  <a:lnTo>
                    <a:pt x="1169" y="376"/>
                  </a:lnTo>
                  <a:lnTo>
                    <a:pt x="1182" y="377"/>
                  </a:lnTo>
                  <a:lnTo>
                    <a:pt x="1195" y="381"/>
                  </a:lnTo>
                  <a:lnTo>
                    <a:pt x="1196" y="381"/>
                  </a:lnTo>
                  <a:lnTo>
                    <a:pt x="1199" y="379"/>
                  </a:lnTo>
                  <a:lnTo>
                    <a:pt x="1202" y="377"/>
                  </a:lnTo>
                  <a:lnTo>
                    <a:pt x="1201" y="373"/>
                  </a:lnTo>
                  <a:lnTo>
                    <a:pt x="1199" y="369"/>
                  </a:lnTo>
                  <a:lnTo>
                    <a:pt x="1202" y="366"/>
                  </a:lnTo>
                  <a:lnTo>
                    <a:pt x="1207" y="366"/>
                  </a:lnTo>
                  <a:lnTo>
                    <a:pt x="1210" y="366"/>
                  </a:lnTo>
                  <a:lnTo>
                    <a:pt x="1214" y="363"/>
                  </a:lnTo>
                  <a:lnTo>
                    <a:pt x="1217" y="361"/>
                  </a:lnTo>
                  <a:lnTo>
                    <a:pt x="1222" y="360"/>
                  </a:lnTo>
                  <a:lnTo>
                    <a:pt x="1225" y="358"/>
                  </a:lnTo>
                  <a:lnTo>
                    <a:pt x="1228" y="355"/>
                  </a:lnTo>
                  <a:lnTo>
                    <a:pt x="1229" y="352"/>
                  </a:lnTo>
                  <a:lnTo>
                    <a:pt x="1229" y="349"/>
                  </a:lnTo>
                  <a:lnTo>
                    <a:pt x="1229" y="346"/>
                  </a:lnTo>
                  <a:lnTo>
                    <a:pt x="1228" y="341"/>
                  </a:lnTo>
                  <a:lnTo>
                    <a:pt x="1229" y="338"/>
                  </a:lnTo>
                  <a:lnTo>
                    <a:pt x="1233" y="336"/>
                  </a:lnTo>
                  <a:lnTo>
                    <a:pt x="1236" y="333"/>
                  </a:lnTo>
                  <a:lnTo>
                    <a:pt x="1241" y="330"/>
                  </a:lnTo>
                  <a:lnTo>
                    <a:pt x="1241" y="327"/>
                  </a:lnTo>
                  <a:lnTo>
                    <a:pt x="1239" y="323"/>
                  </a:lnTo>
                  <a:lnTo>
                    <a:pt x="1236" y="317"/>
                  </a:lnTo>
                  <a:lnTo>
                    <a:pt x="1229" y="312"/>
                  </a:lnTo>
                  <a:lnTo>
                    <a:pt x="1223" y="308"/>
                  </a:lnTo>
                  <a:lnTo>
                    <a:pt x="1217" y="304"/>
                  </a:lnTo>
                  <a:lnTo>
                    <a:pt x="1218" y="301"/>
                  </a:lnTo>
                  <a:lnTo>
                    <a:pt x="1215" y="296"/>
                  </a:lnTo>
                  <a:lnTo>
                    <a:pt x="1215" y="293"/>
                  </a:lnTo>
                  <a:lnTo>
                    <a:pt x="1228" y="289"/>
                  </a:lnTo>
                  <a:lnTo>
                    <a:pt x="1244" y="287"/>
                  </a:lnTo>
                  <a:lnTo>
                    <a:pt x="1247" y="285"/>
                  </a:lnTo>
                  <a:lnTo>
                    <a:pt x="1250" y="285"/>
                  </a:lnTo>
                  <a:lnTo>
                    <a:pt x="1253" y="284"/>
                  </a:lnTo>
                  <a:lnTo>
                    <a:pt x="1261" y="284"/>
                  </a:lnTo>
                  <a:lnTo>
                    <a:pt x="1264" y="284"/>
                  </a:lnTo>
                  <a:lnTo>
                    <a:pt x="1269" y="287"/>
                  </a:lnTo>
                  <a:lnTo>
                    <a:pt x="1269" y="292"/>
                  </a:lnTo>
                  <a:lnTo>
                    <a:pt x="1280" y="295"/>
                  </a:lnTo>
                  <a:lnTo>
                    <a:pt x="1291" y="300"/>
                  </a:lnTo>
                  <a:lnTo>
                    <a:pt x="1293" y="303"/>
                  </a:lnTo>
                  <a:lnTo>
                    <a:pt x="1294" y="306"/>
                  </a:lnTo>
                  <a:lnTo>
                    <a:pt x="1299" y="311"/>
                  </a:lnTo>
                  <a:lnTo>
                    <a:pt x="1301" y="314"/>
                  </a:lnTo>
                  <a:lnTo>
                    <a:pt x="1301" y="317"/>
                  </a:lnTo>
                  <a:lnTo>
                    <a:pt x="1302" y="320"/>
                  </a:lnTo>
                  <a:lnTo>
                    <a:pt x="1306" y="323"/>
                  </a:lnTo>
                  <a:lnTo>
                    <a:pt x="1301" y="323"/>
                  </a:lnTo>
                  <a:lnTo>
                    <a:pt x="1306" y="327"/>
                  </a:lnTo>
                  <a:lnTo>
                    <a:pt x="1309" y="328"/>
                  </a:lnTo>
                  <a:lnTo>
                    <a:pt x="1317" y="330"/>
                  </a:lnTo>
                  <a:lnTo>
                    <a:pt x="1320" y="331"/>
                  </a:lnTo>
                  <a:lnTo>
                    <a:pt x="1323" y="335"/>
                  </a:lnTo>
                  <a:lnTo>
                    <a:pt x="1326" y="333"/>
                  </a:lnTo>
                  <a:lnTo>
                    <a:pt x="1328" y="335"/>
                  </a:lnTo>
                  <a:lnTo>
                    <a:pt x="1331" y="335"/>
                  </a:lnTo>
                  <a:lnTo>
                    <a:pt x="1334" y="333"/>
                  </a:lnTo>
                  <a:lnTo>
                    <a:pt x="1339" y="333"/>
                  </a:lnTo>
                  <a:lnTo>
                    <a:pt x="1342" y="335"/>
                  </a:lnTo>
                  <a:lnTo>
                    <a:pt x="1345" y="333"/>
                  </a:lnTo>
                  <a:lnTo>
                    <a:pt x="1348" y="333"/>
                  </a:lnTo>
                  <a:lnTo>
                    <a:pt x="1356" y="335"/>
                  </a:lnTo>
                  <a:lnTo>
                    <a:pt x="1352" y="331"/>
                  </a:lnTo>
                  <a:lnTo>
                    <a:pt x="1348" y="330"/>
                  </a:lnTo>
                  <a:lnTo>
                    <a:pt x="1345" y="333"/>
                  </a:lnTo>
                  <a:lnTo>
                    <a:pt x="1342" y="330"/>
                  </a:lnTo>
                  <a:lnTo>
                    <a:pt x="1334" y="330"/>
                  </a:lnTo>
                  <a:lnTo>
                    <a:pt x="1331" y="330"/>
                  </a:lnTo>
                  <a:lnTo>
                    <a:pt x="1326" y="330"/>
                  </a:lnTo>
                  <a:lnTo>
                    <a:pt x="1325" y="328"/>
                  </a:lnTo>
                  <a:lnTo>
                    <a:pt x="1321" y="327"/>
                  </a:lnTo>
                  <a:lnTo>
                    <a:pt x="1318" y="328"/>
                  </a:lnTo>
                  <a:lnTo>
                    <a:pt x="1315" y="328"/>
                  </a:lnTo>
                  <a:lnTo>
                    <a:pt x="1310" y="325"/>
                  </a:lnTo>
                  <a:lnTo>
                    <a:pt x="1310" y="320"/>
                  </a:lnTo>
                  <a:lnTo>
                    <a:pt x="1309" y="317"/>
                  </a:lnTo>
                  <a:lnTo>
                    <a:pt x="1307" y="314"/>
                  </a:lnTo>
                  <a:lnTo>
                    <a:pt x="1310" y="311"/>
                  </a:lnTo>
                  <a:lnTo>
                    <a:pt x="1314" y="311"/>
                  </a:lnTo>
                  <a:lnTo>
                    <a:pt x="1318" y="311"/>
                  </a:lnTo>
                  <a:lnTo>
                    <a:pt x="1317" y="306"/>
                  </a:lnTo>
                  <a:lnTo>
                    <a:pt x="1314" y="306"/>
                  </a:lnTo>
                  <a:lnTo>
                    <a:pt x="1310" y="303"/>
                  </a:lnTo>
                  <a:lnTo>
                    <a:pt x="1307" y="301"/>
                  </a:lnTo>
                  <a:lnTo>
                    <a:pt x="1302" y="298"/>
                  </a:lnTo>
                  <a:lnTo>
                    <a:pt x="1301" y="295"/>
                  </a:lnTo>
                  <a:lnTo>
                    <a:pt x="1298" y="292"/>
                  </a:lnTo>
                  <a:lnTo>
                    <a:pt x="1296" y="287"/>
                  </a:lnTo>
                  <a:lnTo>
                    <a:pt x="1291" y="287"/>
                  </a:lnTo>
                  <a:lnTo>
                    <a:pt x="1288" y="287"/>
                  </a:lnTo>
                  <a:lnTo>
                    <a:pt x="1285" y="285"/>
                  </a:lnTo>
                  <a:lnTo>
                    <a:pt x="1280" y="284"/>
                  </a:lnTo>
                  <a:lnTo>
                    <a:pt x="1274" y="284"/>
                  </a:lnTo>
                  <a:lnTo>
                    <a:pt x="1269" y="282"/>
                  </a:lnTo>
                  <a:lnTo>
                    <a:pt x="1266" y="279"/>
                  </a:lnTo>
                  <a:lnTo>
                    <a:pt x="1263" y="279"/>
                  </a:lnTo>
                  <a:lnTo>
                    <a:pt x="1258" y="279"/>
                  </a:lnTo>
                  <a:lnTo>
                    <a:pt x="1255" y="279"/>
                  </a:lnTo>
                  <a:lnTo>
                    <a:pt x="1244" y="276"/>
                  </a:lnTo>
                  <a:lnTo>
                    <a:pt x="1233" y="274"/>
                  </a:lnTo>
                  <a:lnTo>
                    <a:pt x="1229" y="276"/>
                  </a:lnTo>
                  <a:lnTo>
                    <a:pt x="1226" y="277"/>
                  </a:lnTo>
                  <a:lnTo>
                    <a:pt x="1222" y="279"/>
                  </a:lnTo>
                  <a:lnTo>
                    <a:pt x="1218" y="281"/>
                  </a:lnTo>
                  <a:lnTo>
                    <a:pt x="1215" y="281"/>
                  </a:lnTo>
                  <a:lnTo>
                    <a:pt x="1210" y="281"/>
                  </a:lnTo>
                  <a:lnTo>
                    <a:pt x="1207" y="279"/>
                  </a:lnTo>
                  <a:lnTo>
                    <a:pt x="1204" y="279"/>
                  </a:lnTo>
                  <a:lnTo>
                    <a:pt x="1201" y="279"/>
                  </a:lnTo>
                  <a:lnTo>
                    <a:pt x="1196" y="281"/>
                  </a:lnTo>
                  <a:lnTo>
                    <a:pt x="1193" y="281"/>
                  </a:lnTo>
                  <a:lnTo>
                    <a:pt x="1190" y="279"/>
                  </a:lnTo>
                  <a:lnTo>
                    <a:pt x="1187" y="276"/>
                  </a:lnTo>
                  <a:lnTo>
                    <a:pt x="1187" y="273"/>
                  </a:lnTo>
                  <a:lnTo>
                    <a:pt x="1185" y="270"/>
                  </a:lnTo>
                  <a:lnTo>
                    <a:pt x="1182" y="266"/>
                  </a:lnTo>
                  <a:lnTo>
                    <a:pt x="1179" y="263"/>
                  </a:lnTo>
                  <a:lnTo>
                    <a:pt x="1176" y="262"/>
                  </a:lnTo>
                  <a:lnTo>
                    <a:pt x="1171" y="260"/>
                  </a:lnTo>
                  <a:lnTo>
                    <a:pt x="1169" y="257"/>
                  </a:lnTo>
                  <a:lnTo>
                    <a:pt x="1171" y="254"/>
                  </a:lnTo>
                  <a:lnTo>
                    <a:pt x="1169" y="249"/>
                  </a:lnTo>
                  <a:lnTo>
                    <a:pt x="1169" y="249"/>
                  </a:lnTo>
                  <a:lnTo>
                    <a:pt x="1169" y="246"/>
                  </a:lnTo>
                  <a:lnTo>
                    <a:pt x="1168" y="243"/>
                  </a:lnTo>
                  <a:lnTo>
                    <a:pt x="1171" y="238"/>
                  </a:lnTo>
                  <a:lnTo>
                    <a:pt x="1172" y="235"/>
                  </a:lnTo>
                  <a:lnTo>
                    <a:pt x="1174" y="231"/>
                  </a:lnTo>
                  <a:lnTo>
                    <a:pt x="1172" y="228"/>
                  </a:lnTo>
                  <a:lnTo>
                    <a:pt x="1169" y="225"/>
                  </a:lnTo>
                  <a:lnTo>
                    <a:pt x="1166" y="224"/>
                  </a:lnTo>
                  <a:lnTo>
                    <a:pt x="1161" y="222"/>
                  </a:lnTo>
                  <a:lnTo>
                    <a:pt x="1158" y="220"/>
                  </a:lnTo>
                  <a:lnTo>
                    <a:pt x="1155" y="217"/>
                  </a:lnTo>
                  <a:lnTo>
                    <a:pt x="1152" y="216"/>
                  </a:lnTo>
                  <a:lnTo>
                    <a:pt x="1149" y="214"/>
                  </a:lnTo>
                  <a:lnTo>
                    <a:pt x="1145" y="211"/>
                  </a:lnTo>
                  <a:lnTo>
                    <a:pt x="1141" y="208"/>
                  </a:lnTo>
                  <a:lnTo>
                    <a:pt x="1137" y="206"/>
                  </a:lnTo>
                  <a:lnTo>
                    <a:pt x="1134" y="204"/>
                  </a:lnTo>
                  <a:lnTo>
                    <a:pt x="1123" y="201"/>
                  </a:lnTo>
                  <a:lnTo>
                    <a:pt x="1126" y="198"/>
                  </a:lnTo>
                  <a:lnTo>
                    <a:pt x="1130" y="193"/>
                  </a:lnTo>
                  <a:lnTo>
                    <a:pt x="1130" y="190"/>
                  </a:lnTo>
                  <a:lnTo>
                    <a:pt x="1130" y="187"/>
                  </a:lnTo>
                  <a:lnTo>
                    <a:pt x="1144" y="184"/>
                  </a:lnTo>
                  <a:lnTo>
                    <a:pt x="1158" y="179"/>
                  </a:lnTo>
                  <a:lnTo>
                    <a:pt x="1158" y="174"/>
                  </a:lnTo>
                  <a:lnTo>
                    <a:pt x="1157" y="171"/>
                  </a:lnTo>
                  <a:lnTo>
                    <a:pt x="1155" y="168"/>
                  </a:lnTo>
                  <a:lnTo>
                    <a:pt x="1152" y="165"/>
                  </a:lnTo>
                  <a:lnTo>
                    <a:pt x="1145" y="158"/>
                  </a:lnTo>
                  <a:lnTo>
                    <a:pt x="1137" y="154"/>
                  </a:lnTo>
                  <a:lnTo>
                    <a:pt x="1142" y="154"/>
                  </a:lnTo>
                  <a:lnTo>
                    <a:pt x="1145" y="152"/>
                  </a:lnTo>
                  <a:lnTo>
                    <a:pt x="1149" y="154"/>
                  </a:lnTo>
                  <a:lnTo>
                    <a:pt x="1152" y="155"/>
                  </a:lnTo>
                  <a:lnTo>
                    <a:pt x="1157" y="157"/>
                  </a:lnTo>
                  <a:lnTo>
                    <a:pt x="1158" y="160"/>
                  </a:lnTo>
                  <a:lnTo>
                    <a:pt x="1161" y="162"/>
                  </a:lnTo>
                  <a:lnTo>
                    <a:pt x="1164" y="165"/>
                  </a:lnTo>
                  <a:lnTo>
                    <a:pt x="1168" y="168"/>
                  </a:lnTo>
                  <a:lnTo>
                    <a:pt x="1171" y="171"/>
                  </a:lnTo>
                  <a:lnTo>
                    <a:pt x="1172" y="174"/>
                  </a:lnTo>
                  <a:lnTo>
                    <a:pt x="1172" y="179"/>
                  </a:lnTo>
                  <a:lnTo>
                    <a:pt x="1172" y="182"/>
                  </a:lnTo>
                  <a:lnTo>
                    <a:pt x="1172" y="182"/>
                  </a:lnTo>
                  <a:lnTo>
                    <a:pt x="1171" y="185"/>
                  </a:lnTo>
                  <a:lnTo>
                    <a:pt x="1172" y="190"/>
                  </a:lnTo>
                  <a:lnTo>
                    <a:pt x="1176" y="192"/>
                  </a:lnTo>
                  <a:lnTo>
                    <a:pt x="1180" y="195"/>
                  </a:lnTo>
                  <a:lnTo>
                    <a:pt x="1183" y="197"/>
                  </a:lnTo>
                  <a:lnTo>
                    <a:pt x="1183" y="200"/>
                  </a:lnTo>
                  <a:lnTo>
                    <a:pt x="1179" y="201"/>
                  </a:lnTo>
                  <a:lnTo>
                    <a:pt x="1183" y="203"/>
                  </a:lnTo>
                  <a:lnTo>
                    <a:pt x="1187" y="204"/>
                  </a:lnTo>
                  <a:lnTo>
                    <a:pt x="1190" y="204"/>
                  </a:lnTo>
                  <a:lnTo>
                    <a:pt x="1195" y="206"/>
                  </a:lnTo>
                  <a:lnTo>
                    <a:pt x="1198" y="206"/>
                  </a:lnTo>
                  <a:lnTo>
                    <a:pt x="1206" y="208"/>
                  </a:lnTo>
                  <a:lnTo>
                    <a:pt x="1209" y="208"/>
                  </a:lnTo>
                  <a:lnTo>
                    <a:pt x="1212" y="208"/>
                  </a:lnTo>
                  <a:lnTo>
                    <a:pt x="1220" y="208"/>
                  </a:lnTo>
                  <a:lnTo>
                    <a:pt x="1225" y="209"/>
                  </a:lnTo>
                  <a:lnTo>
                    <a:pt x="1228" y="209"/>
                  </a:lnTo>
                  <a:lnTo>
                    <a:pt x="1231" y="212"/>
                  </a:lnTo>
                  <a:lnTo>
                    <a:pt x="1231" y="209"/>
                  </a:lnTo>
                  <a:lnTo>
                    <a:pt x="1236" y="209"/>
                  </a:lnTo>
                  <a:lnTo>
                    <a:pt x="1239" y="209"/>
                  </a:lnTo>
                  <a:lnTo>
                    <a:pt x="1242" y="209"/>
                  </a:lnTo>
                  <a:lnTo>
                    <a:pt x="1245" y="209"/>
                  </a:lnTo>
                  <a:lnTo>
                    <a:pt x="1247" y="209"/>
                  </a:lnTo>
                  <a:lnTo>
                    <a:pt x="1250" y="211"/>
                  </a:lnTo>
                  <a:lnTo>
                    <a:pt x="1255" y="212"/>
                  </a:lnTo>
                  <a:lnTo>
                    <a:pt x="1258" y="216"/>
                  </a:lnTo>
                  <a:lnTo>
                    <a:pt x="1261" y="217"/>
                  </a:lnTo>
                  <a:lnTo>
                    <a:pt x="1264" y="217"/>
                  </a:lnTo>
                  <a:lnTo>
                    <a:pt x="1269" y="217"/>
                  </a:lnTo>
                  <a:lnTo>
                    <a:pt x="1272" y="219"/>
                  </a:lnTo>
                  <a:lnTo>
                    <a:pt x="1275" y="219"/>
                  </a:lnTo>
                  <a:lnTo>
                    <a:pt x="1283" y="219"/>
                  </a:lnTo>
                  <a:lnTo>
                    <a:pt x="1287" y="214"/>
                  </a:lnTo>
                  <a:lnTo>
                    <a:pt x="1282" y="217"/>
                  </a:lnTo>
                  <a:lnTo>
                    <a:pt x="1279" y="217"/>
                  </a:lnTo>
                  <a:lnTo>
                    <a:pt x="1275" y="217"/>
                  </a:lnTo>
                  <a:lnTo>
                    <a:pt x="1272" y="217"/>
                  </a:lnTo>
                  <a:lnTo>
                    <a:pt x="1272" y="212"/>
                  </a:lnTo>
                  <a:lnTo>
                    <a:pt x="1268" y="214"/>
                  </a:lnTo>
                  <a:lnTo>
                    <a:pt x="1264" y="212"/>
                  </a:lnTo>
                  <a:lnTo>
                    <a:pt x="1263" y="209"/>
                  </a:lnTo>
                  <a:lnTo>
                    <a:pt x="1260" y="206"/>
                  </a:lnTo>
                  <a:lnTo>
                    <a:pt x="1255" y="206"/>
                  </a:lnTo>
                  <a:lnTo>
                    <a:pt x="1252" y="206"/>
                  </a:lnTo>
                  <a:lnTo>
                    <a:pt x="1250" y="203"/>
                  </a:lnTo>
                  <a:lnTo>
                    <a:pt x="1247" y="206"/>
                  </a:lnTo>
                  <a:lnTo>
                    <a:pt x="1242" y="204"/>
                  </a:lnTo>
                  <a:lnTo>
                    <a:pt x="1239" y="204"/>
                  </a:lnTo>
                  <a:lnTo>
                    <a:pt x="1236" y="204"/>
                  </a:lnTo>
                  <a:lnTo>
                    <a:pt x="1233" y="203"/>
                  </a:lnTo>
                  <a:lnTo>
                    <a:pt x="1228" y="201"/>
                  </a:lnTo>
                  <a:lnTo>
                    <a:pt x="1225" y="201"/>
                  </a:lnTo>
                  <a:lnTo>
                    <a:pt x="1222" y="200"/>
                  </a:lnTo>
                  <a:lnTo>
                    <a:pt x="1217" y="200"/>
                  </a:lnTo>
                  <a:lnTo>
                    <a:pt x="1214" y="198"/>
                  </a:lnTo>
                  <a:lnTo>
                    <a:pt x="1210" y="198"/>
                  </a:lnTo>
                  <a:lnTo>
                    <a:pt x="1207" y="197"/>
                  </a:lnTo>
                  <a:lnTo>
                    <a:pt x="1204" y="197"/>
                  </a:lnTo>
                  <a:lnTo>
                    <a:pt x="1199" y="193"/>
                  </a:lnTo>
                  <a:lnTo>
                    <a:pt x="1196" y="190"/>
                  </a:lnTo>
                  <a:lnTo>
                    <a:pt x="1193" y="187"/>
                  </a:lnTo>
                  <a:lnTo>
                    <a:pt x="1188" y="184"/>
                  </a:lnTo>
                  <a:lnTo>
                    <a:pt x="1199" y="181"/>
                  </a:lnTo>
                  <a:lnTo>
                    <a:pt x="1207" y="181"/>
                  </a:lnTo>
                  <a:lnTo>
                    <a:pt x="1214" y="182"/>
                  </a:lnTo>
                  <a:lnTo>
                    <a:pt x="1220" y="184"/>
                  </a:lnTo>
                  <a:lnTo>
                    <a:pt x="1226" y="185"/>
                  </a:lnTo>
                  <a:lnTo>
                    <a:pt x="1231" y="187"/>
                  </a:lnTo>
                  <a:lnTo>
                    <a:pt x="1237" y="187"/>
                  </a:lnTo>
                  <a:lnTo>
                    <a:pt x="1244" y="184"/>
                  </a:lnTo>
                  <a:lnTo>
                    <a:pt x="1241" y="181"/>
                  </a:lnTo>
                  <a:lnTo>
                    <a:pt x="1237" y="179"/>
                  </a:lnTo>
                  <a:lnTo>
                    <a:pt x="1234" y="178"/>
                  </a:lnTo>
                  <a:lnTo>
                    <a:pt x="1229" y="178"/>
                  </a:lnTo>
                  <a:lnTo>
                    <a:pt x="1226" y="179"/>
                  </a:lnTo>
                  <a:lnTo>
                    <a:pt x="1223" y="179"/>
                  </a:lnTo>
                  <a:lnTo>
                    <a:pt x="1220" y="178"/>
                  </a:lnTo>
                  <a:lnTo>
                    <a:pt x="1220" y="174"/>
                  </a:lnTo>
                  <a:lnTo>
                    <a:pt x="1223" y="176"/>
                  </a:lnTo>
                  <a:lnTo>
                    <a:pt x="1226" y="173"/>
                  </a:lnTo>
                  <a:lnTo>
                    <a:pt x="1231" y="171"/>
                  </a:lnTo>
                  <a:lnTo>
                    <a:pt x="1237" y="170"/>
                  </a:lnTo>
                  <a:lnTo>
                    <a:pt x="1242" y="170"/>
                  </a:lnTo>
                  <a:lnTo>
                    <a:pt x="1241" y="168"/>
                  </a:lnTo>
                  <a:lnTo>
                    <a:pt x="1258" y="170"/>
                  </a:lnTo>
                  <a:lnTo>
                    <a:pt x="1272" y="171"/>
                  </a:lnTo>
                  <a:lnTo>
                    <a:pt x="1280" y="174"/>
                  </a:lnTo>
                  <a:lnTo>
                    <a:pt x="1290" y="176"/>
                  </a:lnTo>
                  <a:lnTo>
                    <a:pt x="1293" y="176"/>
                  </a:lnTo>
                  <a:lnTo>
                    <a:pt x="1298" y="178"/>
                  </a:lnTo>
                  <a:lnTo>
                    <a:pt x="1301" y="178"/>
                  </a:lnTo>
                  <a:lnTo>
                    <a:pt x="1304" y="179"/>
                  </a:lnTo>
                  <a:lnTo>
                    <a:pt x="1307" y="181"/>
                  </a:lnTo>
                  <a:lnTo>
                    <a:pt x="1304" y="181"/>
                  </a:lnTo>
                  <a:lnTo>
                    <a:pt x="1307" y="182"/>
                  </a:lnTo>
                  <a:lnTo>
                    <a:pt x="1310" y="182"/>
                  </a:lnTo>
                  <a:lnTo>
                    <a:pt x="1318" y="185"/>
                  </a:lnTo>
                  <a:lnTo>
                    <a:pt x="1321" y="185"/>
                  </a:lnTo>
                  <a:lnTo>
                    <a:pt x="1326" y="189"/>
                  </a:lnTo>
                  <a:lnTo>
                    <a:pt x="1329" y="190"/>
                  </a:lnTo>
                  <a:lnTo>
                    <a:pt x="1333" y="190"/>
                  </a:lnTo>
                  <a:lnTo>
                    <a:pt x="1340" y="192"/>
                  </a:lnTo>
                  <a:lnTo>
                    <a:pt x="1348" y="192"/>
                  </a:lnTo>
                  <a:lnTo>
                    <a:pt x="1355" y="190"/>
                  </a:lnTo>
                  <a:lnTo>
                    <a:pt x="1361" y="190"/>
                  </a:lnTo>
                  <a:lnTo>
                    <a:pt x="1361" y="189"/>
                  </a:lnTo>
                  <a:lnTo>
                    <a:pt x="1360" y="185"/>
                  </a:lnTo>
                  <a:lnTo>
                    <a:pt x="1355" y="184"/>
                  </a:lnTo>
                  <a:lnTo>
                    <a:pt x="1352" y="182"/>
                  </a:lnTo>
                  <a:lnTo>
                    <a:pt x="1348" y="181"/>
                  </a:lnTo>
                  <a:lnTo>
                    <a:pt x="1344" y="179"/>
                  </a:lnTo>
                  <a:lnTo>
                    <a:pt x="1342" y="176"/>
                  </a:lnTo>
                  <a:lnTo>
                    <a:pt x="1339" y="174"/>
                  </a:lnTo>
                  <a:lnTo>
                    <a:pt x="1334" y="173"/>
                  </a:lnTo>
                  <a:lnTo>
                    <a:pt x="1331" y="173"/>
                  </a:lnTo>
                  <a:lnTo>
                    <a:pt x="1323" y="171"/>
                  </a:lnTo>
                  <a:lnTo>
                    <a:pt x="1320" y="171"/>
                  </a:lnTo>
                  <a:lnTo>
                    <a:pt x="1317" y="170"/>
                  </a:lnTo>
                  <a:lnTo>
                    <a:pt x="1315" y="170"/>
                  </a:lnTo>
                  <a:lnTo>
                    <a:pt x="1309" y="170"/>
                  </a:lnTo>
                  <a:lnTo>
                    <a:pt x="1302" y="168"/>
                  </a:lnTo>
                  <a:lnTo>
                    <a:pt x="1296" y="165"/>
                  </a:lnTo>
                  <a:lnTo>
                    <a:pt x="1290" y="160"/>
                  </a:lnTo>
                  <a:lnTo>
                    <a:pt x="1288" y="157"/>
                  </a:lnTo>
                  <a:lnTo>
                    <a:pt x="1288" y="154"/>
                  </a:lnTo>
                  <a:lnTo>
                    <a:pt x="1287" y="149"/>
                  </a:lnTo>
                  <a:lnTo>
                    <a:pt x="1282" y="147"/>
                  </a:lnTo>
                  <a:lnTo>
                    <a:pt x="1275" y="146"/>
                  </a:lnTo>
                  <a:lnTo>
                    <a:pt x="1271" y="143"/>
                  </a:lnTo>
                  <a:lnTo>
                    <a:pt x="1268" y="143"/>
                  </a:lnTo>
                  <a:lnTo>
                    <a:pt x="1271" y="143"/>
                  </a:lnTo>
                  <a:lnTo>
                    <a:pt x="1268" y="139"/>
                  </a:lnTo>
                  <a:lnTo>
                    <a:pt x="1264" y="138"/>
                  </a:lnTo>
                  <a:lnTo>
                    <a:pt x="1268" y="136"/>
                  </a:lnTo>
                  <a:lnTo>
                    <a:pt x="1271" y="133"/>
                  </a:lnTo>
                  <a:lnTo>
                    <a:pt x="1268" y="133"/>
                  </a:lnTo>
                  <a:lnTo>
                    <a:pt x="1271" y="130"/>
                  </a:lnTo>
                  <a:lnTo>
                    <a:pt x="1274" y="130"/>
                  </a:lnTo>
                  <a:lnTo>
                    <a:pt x="1277" y="130"/>
                  </a:lnTo>
                  <a:lnTo>
                    <a:pt x="1282" y="130"/>
                  </a:lnTo>
                  <a:lnTo>
                    <a:pt x="1285" y="128"/>
                  </a:lnTo>
                  <a:lnTo>
                    <a:pt x="1296" y="127"/>
                  </a:lnTo>
                  <a:lnTo>
                    <a:pt x="1307" y="127"/>
                  </a:lnTo>
                  <a:lnTo>
                    <a:pt x="1328" y="127"/>
                  </a:lnTo>
                  <a:lnTo>
                    <a:pt x="1347" y="125"/>
                  </a:lnTo>
                  <a:lnTo>
                    <a:pt x="1358" y="125"/>
                  </a:lnTo>
                  <a:lnTo>
                    <a:pt x="1367" y="124"/>
                  </a:lnTo>
                  <a:lnTo>
                    <a:pt x="1371" y="125"/>
                  </a:lnTo>
                  <a:lnTo>
                    <a:pt x="1372" y="125"/>
                  </a:lnTo>
                  <a:lnTo>
                    <a:pt x="1375" y="125"/>
                  </a:lnTo>
                  <a:lnTo>
                    <a:pt x="1379" y="125"/>
                  </a:lnTo>
                  <a:lnTo>
                    <a:pt x="1383" y="125"/>
                  </a:lnTo>
                  <a:lnTo>
                    <a:pt x="1385" y="122"/>
                  </a:lnTo>
                  <a:lnTo>
                    <a:pt x="1394" y="120"/>
                  </a:lnTo>
                  <a:lnTo>
                    <a:pt x="1404" y="120"/>
                  </a:lnTo>
                  <a:lnTo>
                    <a:pt x="1407" y="120"/>
                  </a:lnTo>
                  <a:lnTo>
                    <a:pt x="1410" y="119"/>
                  </a:lnTo>
                  <a:lnTo>
                    <a:pt x="1415" y="120"/>
                  </a:lnTo>
                  <a:lnTo>
                    <a:pt x="1418" y="120"/>
                  </a:lnTo>
                  <a:lnTo>
                    <a:pt x="1421" y="120"/>
                  </a:lnTo>
                  <a:lnTo>
                    <a:pt x="1421" y="119"/>
                  </a:lnTo>
                  <a:lnTo>
                    <a:pt x="1418" y="119"/>
                  </a:lnTo>
                  <a:lnTo>
                    <a:pt x="1415" y="114"/>
                  </a:lnTo>
                  <a:lnTo>
                    <a:pt x="1423" y="114"/>
                  </a:lnTo>
                  <a:lnTo>
                    <a:pt x="1417" y="114"/>
                  </a:lnTo>
                  <a:lnTo>
                    <a:pt x="1412" y="114"/>
                  </a:lnTo>
                  <a:lnTo>
                    <a:pt x="1409" y="113"/>
                  </a:lnTo>
                  <a:lnTo>
                    <a:pt x="1404" y="109"/>
                  </a:lnTo>
                  <a:lnTo>
                    <a:pt x="1401" y="109"/>
                  </a:lnTo>
                  <a:lnTo>
                    <a:pt x="1396" y="108"/>
                  </a:lnTo>
                  <a:lnTo>
                    <a:pt x="1390" y="108"/>
                  </a:lnTo>
                  <a:lnTo>
                    <a:pt x="1385" y="108"/>
                  </a:lnTo>
                  <a:lnTo>
                    <a:pt x="1382" y="105"/>
                  </a:lnTo>
                  <a:lnTo>
                    <a:pt x="1385" y="105"/>
                  </a:lnTo>
                  <a:lnTo>
                    <a:pt x="1390" y="106"/>
                  </a:lnTo>
                  <a:lnTo>
                    <a:pt x="1385" y="103"/>
                  </a:lnTo>
                  <a:lnTo>
                    <a:pt x="1382" y="103"/>
                  </a:lnTo>
                  <a:lnTo>
                    <a:pt x="1385" y="103"/>
                  </a:lnTo>
                  <a:lnTo>
                    <a:pt x="1390" y="101"/>
                  </a:lnTo>
                  <a:lnTo>
                    <a:pt x="1393" y="101"/>
                  </a:lnTo>
                  <a:lnTo>
                    <a:pt x="1396" y="103"/>
                  </a:lnTo>
                  <a:lnTo>
                    <a:pt x="1398" y="103"/>
                  </a:lnTo>
                  <a:lnTo>
                    <a:pt x="1401" y="106"/>
                  </a:lnTo>
                  <a:lnTo>
                    <a:pt x="1406" y="105"/>
                  </a:lnTo>
                  <a:lnTo>
                    <a:pt x="1409" y="105"/>
                  </a:lnTo>
                  <a:lnTo>
                    <a:pt x="1404" y="101"/>
                  </a:lnTo>
                  <a:lnTo>
                    <a:pt x="1401" y="103"/>
                  </a:lnTo>
                  <a:lnTo>
                    <a:pt x="1398" y="101"/>
                  </a:lnTo>
                  <a:lnTo>
                    <a:pt x="1394" y="101"/>
                  </a:lnTo>
                  <a:lnTo>
                    <a:pt x="1391" y="100"/>
                  </a:lnTo>
                  <a:lnTo>
                    <a:pt x="1394" y="98"/>
                  </a:lnTo>
                  <a:lnTo>
                    <a:pt x="1383" y="97"/>
                  </a:lnTo>
                  <a:lnTo>
                    <a:pt x="1372" y="97"/>
                  </a:lnTo>
                  <a:lnTo>
                    <a:pt x="1369" y="93"/>
                  </a:lnTo>
                  <a:lnTo>
                    <a:pt x="1374" y="92"/>
                  </a:lnTo>
                  <a:lnTo>
                    <a:pt x="1369" y="90"/>
                  </a:lnTo>
                  <a:lnTo>
                    <a:pt x="1374" y="90"/>
                  </a:lnTo>
                  <a:lnTo>
                    <a:pt x="1377" y="92"/>
                  </a:lnTo>
                  <a:lnTo>
                    <a:pt x="1380" y="93"/>
                  </a:lnTo>
                  <a:lnTo>
                    <a:pt x="1383" y="93"/>
                  </a:lnTo>
                  <a:lnTo>
                    <a:pt x="1388" y="95"/>
                  </a:lnTo>
                  <a:lnTo>
                    <a:pt x="1391" y="97"/>
                  </a:lnTo>
                  <a:lnTo>
                    <a:pt x="1394" y="95"/>
                  </a:lnTo>
                  <a:lnTo>
                    <a:pt x="1393" y="92"/>
                  </a:lnTo>
                  <a:lnTo>
                    <a:pt x="1396" y="92"/>
                  </a:lnTo>
                  <a:lnTo>
                    <a:pt x="1394" y="89"/>
                  </a:lnTo>
                  <a:lnTo>
                    <a:pt x="1396" y="86"/>
                  </a:lnTo>
                  <a:lnTo>
                    <a:pt x="1393" y="84"/>
                  </a:lnTo>
                  <a:lnTo>
                    <a:pt x="1396" y="84"/>
                  </a:lnTo>
                  <a:lnTo>
                    <a:pt x="1401" y="86"/>
                  </a:lnTo>
                  <a:lnTo>
                    <a:pt x="1404" y="86"/>
                  </a:lnTo>
                  <a:lnTo>
                    <a:pt x="1404" y="82"/>
                  </a:lnTo>
                  <a:lnTo>
                    <a:pt x="1396" y="82"/>
                  </a:lnTo>
                  <a:lnTo>
                    <a:pt x="1393" y="82"/>
                  </a:lnTo>
                  <a:lnTo>
                    <a:pt x="1390" y="81"/>
                  </a:lnTo>
                  <a:lnTo>
                    <a:pt x="1386" y="81"/>
                  </a:lnTo>
                  <a:lnTo>
                    <a:pt x="1383" y="79"/>
                  </a:lnTo>
                  <a:lnTo>
                    <a:pt x="1386" y="79"/>
                  </a:lnTo>
                  <a:lnTo>
                    <a:pt x="1391" y="79"/>
                  </a:lnTo>
                  <a:lnTo>
                    <a:pt x="1394" y="79"/>
                  </a:lnTo>
                  <a:lnTo>
                    <a:pt x="1398" y="79"/>
                  </a:lnTo>
                  <a:lnTo>
                    <a:pt x="1407" y="81"/>
                  </a:lnTo>
                  <a:lnTo>
                    <a:pt x="1410" y="79"/>
                  </a:lnTo>
                  <a:lnTo>
                    <a:pt x="1413" y="79"/>
                  </a:lnTo>
                  <a:lnTo>
                    <a:pt x="1415" y="76"/>
                  </a:lnTo>
                  <a:lnTo>
                    <a:pt x="1420" y="73"/>
                  </a:lnTo>
                  <a:lnTo>
                    <a:pt x="1423" y="71"/>
                  </a:lnTo>
                  <a:lnTo>
                    <a:pt x="1426" y="71"/>
                  </a:lnTo>
                  <a:lnTo>
                    <a:pt x="1423" y="70"/>
                  </a:lnTo>
                  <a:lnTo>
                    <a:pt x="1425" y="70"/>
                  </a:lnTo>
                  <a:lnTo>
                    <a:pt x="1428" y="70"/>
                  </a:lnTo>
                  <a:lnTo>
                    <a:pt x="1431" y="70"/>
                  </a:lnTo>
                  <a:lnTo>
                    <a:pt x="1436" y="70"/>
                  </a:lnTo>
                  <a:lnTo>
                    <a:pt x="1439" y="68"/>
                  </a:lnTo>
                  <a:lnTo>
                    <a:pt x="1442" y="68"/>
                  </a:lnTo>
                  <a:lnTo>
                    <a:pt x="1447" y="68"/>
                  </a:lnTo>
                  <a:lnTo>
                    <a:pt x="1445" y="67"/>
                  </a:lnTo>
                  <a:lnTo>
                    <a:pt x="1445" y="65"/>
                  </a:lnTo>
                  <a:lnTo>
                    <a:pt x="1448" y="65"/>
                  </a:lnTo>
                  <a:lnTo>
                    <a:pt x="1456" y="65"/>
                  </a:lnTo>
                  <a:lnTo>
                    <a:pt x="1459" y="63"/>
                  </a:lnTo>
                  <a:lnTo>
                    <a:pt x="1463" y="63"/>
                  </a:lnTo>
                  <a:lnTo>
                    <a:pt x="1467" y="65"/>
                  </a:lnTo>
                  <a:lnTo>
                    <a:pt x="1471" y="63"/>
                  </a:lnTo>
                  <a:lnTo>
                    <a:pt x="1474" y="65"/>
                  </a:lnTo>
                  <a:lnTo>
                    <a:pt x="1477" y="63"/>
                  </a:lnTo>
                  <a:lnTo>
                    <a:pt x="1482" y="60"/>
                  </a:lnTo>
                  <a:lnTo>
                    <a:pt x="1485" y="62"/>
                  </a:lnTo>
                  <a:lnTo>
                    <a:pt x="1488" y="62"/>
                  </a:lnTo>
                  <a:lnTo>
                    <a:pt x="1512" y="59"/>
                  </a:lnTo>
                  <a:lnTo>
                    <a:pt x="1532" y="54"/>
                  </a:lnTo>
                  <a:lnTo>
                    <a:pt x="1526" y="55"/>
                  </a:lnTo>
                  <a:lnTo>
                    <a:pt x="1523" y="55"/>
                  </a:lnTo>
                  <a:lnTo>
                    <a:pt x="1518" y="54"/>
                  </a:lnTo>
                  <a:lnTo>
                    <a:pt x="1517" y="55"/>
                  </a:lnTo>
                  <a:lnTo>
                    <a:pt x="1513" y="54"/>
                  </a:lnTo>
                  <a:lnTo>
                    <a:pt x="1510" y="54"/>
                  </a:lnTo>
                  <a:lnTo>
                    <a:pt x="1505" y="55"/>
                  </a:lnTo>
                  <a:lnTo>
                    <a:pt x="1510" y="55"/>
                  </a:lnTo>
                  <a:lnTo>
                    <a:pt x="1505" y="55"/>
                  </a:lnTo>
                  <a:lnTo>
                    <a:pt x="1502" y="54"/>
                  </a:lnTo>
                  <a:lnTo>
                    <a:pt x="1504" y="51"/>
                  </a:lnTo>
                  <a:lnTo>
                    <a:pt x="1507" y="49"/>
                  </a:lnTo>
                  <a:lnTo>
                    <a:pt x="1510" y="51"/>
                  </a:lnTo>
                  <a:lnTo>
                    <a:pt x="1515" y="52"/>
                  </a:lnTo>
                  <a:lnTo>
                    <a:pt x="1518" y="51"/>
                  </a:lnTo>
                  <a:lnTo>
                    <a:pt x="1523" y="51"/>
                  </a:lnTo>
                  <a:lnTo>
                    <a:pt x="1526" y="51"/>
                  </a:lnTo>
                  <a:lnTo>
                    <a:pt x="1521" y="51"/>
                  </a:lnTo>
                  <a:lnTo>
                    <a:pt x="1518" y="49"/>
                  </a:lnTo>
                  <a:lnTo>
                    <a:pt x="1521" y="49"/>
                  </a:lnTo>
                  <a:lnTo>
                    <a:pt x="1526" y="49"/>
                  </a:lnTo>
                  <a:lnTo>
                    <a:pt x="1529" y="49"/>
                  </a:lnTo>
                  <a:lnTo>
                    <a:pt x="1532" y="49"/>
                  </a:lnTo>
                  <a:lnTo>
                    <a:pt x="1537" y="51"/>
                  </a:lnTo>
                  <a:lnTo>
                    <a:pt x="1540" y="47"/>
                  </a:lnTo>
                  <a:lnTo>
                    <a:pt x="1543" y="47"/>
                  </a:lnTo>
                  <a:lnTo>
                    <a:pt x="1548" y="49"/>
                  </a:lnTo>
                  <a:lnTo>
                    <a:pt x="1551" y="49"/>
                  </a:lnTo>
                  <a:lnTo>
                    <a:pt x="1556" y="47"/>
                  </a:lnTo>
                  <a:lnTo>
                    <a:pt x="1567" y="47"/>
                  </a:lnTo>
                  <a:lnTo>
                    <a:pt x="1578" y="51"/>
                  </a:lnTo>
                  <a:lnTo>
                    <a:pt x="1575" y="54"/>
                  </a:lnTo>
                  <a:lnTo>
                    <a:pt x="1570" y="57"/>
                  </a:lnTo>
                  <a:lnTo>
                    <a:pt x="1575" y="55"/>
                  </a:lnTo>
                  <a:lnTo>
                    <a:pt x="1578" y="54"/>
                  </a:lnTo>
                  <a:lnTo>
                    <a:pt x="1582" y="54"/>
                  </a:lnTo>
                  <a:lnTo>
                    <a:pt x="1585" y="52"/>
                  </a:lnTo>
                  <a:lnTo>
                    <a:pt x="1589" y="54"/>
                  </a:lnTo>
                  <a:lnTo>
                    <a:pt x="1593" y="55"/>
                  </a:lnTo>
                  <a:lnTo>
                    <a:pt x="1594" y="55"/>
                  </a:lnTo>
                  <a:lnTo>
                    <a:pt x="1599" y="55"/>
                  </a:lnTo>
                  <a:lnTo>
                    <a:pt x="1602" y="54"/>
                  </a:lnTo>
                  <a:lnTo>
                    <a:pt x="1605" y="54"/>
                  </a:lnTo>
                  <a:lnTo>
                    <a:pt x="1609" y="54"/>
                  </a:lnTo>
                  <a:lnTo>
                    <a:pt x="1612" y="54"/>
                  </a:lnTo>
                  <a:lnTo>
                    <a:pt x="1616" y="54"/>
                  </a:lnTo>
                  <a:lnTo>
                    <a:pt x="1620" y="52"/>
                  </a:lnTo>
                  <a:lnTo>
                    <a:pt x="1616" y="51"/>
                  </a:lnTo>
                  <a:lnTo>
                    <a:pt x="1613" y="51"/>
                  </a:lnTo>
                  <a:lnTo>
                    <a:pt x="1616" y="49"/>
                  </a:lnTo>
                  <a:lnTo>
                    <a:pt x="1620" y="51"/>
                  </a:lnTo>
                  <a:lnTo>
                    <a:pt x="1624" y="49"/>
                  </a:lnTo>
                  <a:lnTo>
                    <a:pt x="1620" y="47"/>
                  </a:lnTo>
                  <a:lnTo>
                    <a:pt x="1623" y="47"/>
                  </a:lnTo>
                  <a:lnTo>
                    <a:pt x="1628" y="47"/>
                  </a:lnTo>
                  <a:lnTo>
                    <a:pt x="1631" y="46"/>
                  </a:lnTo>
                  <a:lnTo>
                    <a:pt x="1634" y="44"/>
                  </a:lnTo>
                  <a:lnTo>
                    <a:pt x="1639" y="46"/>
                  </a:lnTo>
                  <a:lnTo>
                    <a:pt x="1642" y="46"/>
                  </a:lnTo>
                  <a:lnTo>
                    <a:pt x="1647" y="47"/>
                  </a:lnTo>
                  <a:lnTo>
                    <a:pt x="1650" y="49"/>
                  </a:lnTo>
                  <a:lnTo>
                    <a:pt x="1653" y="47"/>
                  </a:lnTo>
                  <a:lnTo>
                    <a:pt x="1658" y="49"/>
                  </a:lnTo>
                  <a:lnTo>
                    <a:pt x="1661" y="51"/>
                  </a:lnTo>
                  <a:lnTo>
                    <a:pt x="1666" y="51"/>
                  </a:lnTo>
                  <a:lnTo>
                    <a:pt x="1667" y="51"/>
                  </a:lnTo>
                  <a:lnTo>
                    <a:pt x="1664" y="49"/>
                  </a:lnTo>
                  <a:lnTo>
                    <a:pt x="1659" y="47"/>
                  </a:lnTo>
                  <a:lnTo>
                    <a:pt x="1656" y="46"/>
                  </a:lnTo>
                  <a:lnTo>
                    <a:pt x="1653" y="44"/>
                  </a:lnTo>
                  <a:lnTo>
                    <a:pt x="1650" y="44"/>
                  </a:lnTo>
                  <a:lnTo>
                    <a:pt x="1640" y="41"/>
                  </a:lnTo>
                  <a:lnTo>
                    <a:pt x="1631" y="36"/>
                  </a:lnTo>
                  <a:lnTo>
                    <a:pt x="1650" y="38"/>
                  </a:lnTo>
                  <a:lnTo>
                    <a:pt x="1667" y="38"/>
                  </a:lnTo>
                  <a:lnTo>
                    <a:pt x="1672" y="36"/>
                  </a:lnTo>
                  <a:lnTo>
                    <a:pt x="1675" y="36"/>
                  </a:lnTo>
                  <a:lnTo>
                    <a:pt x="1678" y="36"/>
                  </a:lnTo>
                  <a:lnTo>
                    <a:pt x="1683" y="38"/>
                  </a:lnTo>
                  <a:lnTo>
                    <a:pt x="1686" y="38"/>
                  </a:lnTo>
                  <a:lnTo>
                    <a:pt x="1691" y="38"/>
                  </a:lnTo>
                  <a:lnTo>
                    <a:pt x="1702" y="40"/>
                  </a:lnTo>
                  <a:lnTo>
                    <a:pt x="1713" y="41"/>
                  </a:lnTo>
                  <a:lnTo>
                    <a:pt x="1694" y="38"/>
                  </a:lnTo>
                  <a:lnTo>
                    <a:pt x="1677" y="36"/>
                  </a:lnTo>
                  <a:lnTo>
                    <a:pt x="1677" y="32"/>
                  </a:lnTo>
                  <a:lnTo>
                    <a:pt x="1675" y="28"/>
                  </a:lnTo>
                  <a:lnTo>
                    <a:pt x="1672" y="28"/>
                  </a:lnTo>
                  <a:lnTo>
                    <a:pt x="1667" y="27"/>
                  </a:lnTo>
                  <a:lnTo>
                    <a:pt x="1664" y="25"/>
                  </a:lnTo>
                  <a:lnTo>
                    <a:pt x="1664" y="22"/>
                  </a:lnTo>
                  <a:lnTo>
                    <a:pt x="1669" y="22"/>
                  </a:lnTo>
                  <a:lnTo>
                    <a:pt x="1666" y="19"/>
                  </a:lnTo>
                  <a:lnTo>
                    <a:pt x="1669" y="16"/>
                  </a:lnTo>
                  <a:lnTo>
                    <a:pt x="1670" y="14"/>
                  </a:lnTo>
                  <a:lnTo>
                    <a:pt x="1675" y="11"/>
                  </a:lnTo>
                  <a:lnTo>
                    <a:pt x="1669" y="11"/>
                  </a:lnTo>
                  <a:lnTo>
                    <a:pt x="1672" y="11"/>
                  </a:lnTo>
                  <a:lnTo>
                    <a:pt x="1677" y="8"/>
                  </a:lnTo>
                  <a:lnTo>
                    <a:pt x="1680" y="6"/>
                  </a:lnTo>
                  <a:lnTo>
                    <a:pt x="1683" y="5"/>
                  </a:lnTo>
                  <a:lnTo>
                    <a:pt x="1686" y="3"/>
                  </a:lnTo>
                  <a:lnTo>
                    <a:pt x="1689" y="3"/>
                  </a:lnTo>
                  <a:lnTo>
                    <a:pt x="1694" y="3"/>
                  </a:lnTo>
                  <a:lnTo>
                    <a:pt x="1697" y="3"/>
                  </a:lnTo>
                  <a:lnTo>
                    <a:pt x="1702" y="2"/>
                  </a:lnTo>
                  <a:lnTo>
                    <a:pt x="1705" y="0"/>
                  </a:lnTo>
                  <a:lnTo>
                    <a:pt x="1708" y="0"/>
                  </a:lnTo>
                  <a:lnTo>
                    <a:pt x="1712" y="2"/>
                  </a:lnTo>
                  <a:lnTo>
                    <a:pt x="1715" y="2"/>
                  </a:lnTo>
                  <a:lnTo>
                    <a:pt x="1720" y="2"/>
                  </a:lnTo>
                  <a:lnTo>
                    <a:pt x="1723" y="0"/>
                  </a:lnTo>
                  <a:lnTo>
                    <a:pt x="1726" y="3"/>
                  </a:lnTo>
                  <a:lnTo>
                    <a:pt x="1731" y="3"/>
                  </a:lnTo>
                  <a:lnTo>
                    <a:pt x="1734" y="5"/>
                  </a:lnTo>
                  <a:lnTo>
                    <a:pt x="1737" y="5"/>
                  </a:lnTo>
                  <a:lnTo>
                    <a:pt x="1742" y="5"/>
                  </a:lnTo>
                  <a:lnTo>
                    <a:pt x="1745" y="6"/>
                  </a:lnTo>
                  <a:lnTo>
                    <a:pt x="1748" y="5"/>
                  </a:lnTo>
                  <a:lnTo>
                    <a:pt x="1753" y="5"/>
                  </a:lnTo>
                  <a:lnTo>
                    <a:pt x="1756" y="6"/>
                  </a:lnTo>
                  <a:lnTo>
                    <a:pt x="1759" y="8"/>
                  </a:lnTo>
                  <a:lnTo>
                    <a:pt x="1762" y="9"/>
                  </a:lnTo>
                  <a:lnTo>
                    <a:pt x="1767" y="9"/>
                  </a:lnTo>
                  <a:lnTo>
                    <a:pt x="1770" y="11"/>
                  </a:lnTo>
                  <a:lnTo>
                    <a:pt x="1762" y="11"/>
                  </a:lnTo>
                  <a:lnTo>
                    <a:pt x="1759" y="13"/>
                  </a:lnTo>
                  <a:lnTo>
                    <a:pt x="1758" y="14"/>
                  </a:lnTo>
                  <a:lnTo>
                    <a:pt x="1751" y="16"/>
                  </a:lnTo>
                  <a:lnTo>
                    <a:pt x="1740" y="17"/>
                  </a:lnTo>
                  <a:lnTo>
                    <a:pt x="1731" y="19"/>
                  </a:lnTo>
                  <a:lnTo>
                    <a:pt x="1740" y="19"/>
                  </a:lnTo>
                  <a:lnTo>
                    <a:pt x="1748" y="19"/>
                  </a:lnTo>
                  <a:lnTo>
                    <a:pt x="1759" y="19"/>
                  </a:lnTo>
                  <a:lnTo>
                    <a:pt x="1772" y="17"/>
                  </a:lnTo>
                  <a:lnTo>
                    <a:pt x="1770" y="21"/>
                  </a:lnTo>
                  <a:lnTo>
                    <a:pt x="1766" y="22"/>
                  </a:lnTo>
                  <a:lnTo>
                    <a:pt x="1770" y="22"/>
                  </a:lnTo>
                  <a:lnTo>
                    <a:pt x="1773" y="22"/>
                  </a:lnTo>
                  <a:lnTo>
                    <a:pt x="1777" y="22"/>
                  </a:lnTo>
                  <a:lnTo>
                    <a:pt x="1781" y="21"/>
                  </a:lnTo>
                  <a:lnTo>
                    <a:pt x="1785" y="21"/>
                  </a:lnTo>
                  <a:lnTo>
                    <a:pt x="1789" y="21"/>
                  </a:lnTo>
                  <a:lnTo>
                    <a:pt x="1792" y="22"/>
                  </a:lnTo>
                  <a:lnTo>
                    <a:pt x="1796" y="21"/>
                  </a:lnTo>
                  <a:lnTo>
                    <a:pt x="1799" y="21"/>
                  </a:lnTo>
                  <a:lnTo>
                    <a:pt x="1804" y="22"/>
                  </a:lnTo>
                  <a:lnTo>
                    <a:pt x="1807" y="22"/>
                  </a:lnTo>
                  <a:lnTo>
                    <a:pt x="1815" y="24"/>
                  </a:lnTo>
                  <a:lnTo>
                    <a:pt x="1815" y="27"/>
                  </a:lnTo>
                  <a:lnTo>
                    <a:pt x="1812" y="28"/>
                  </a:lnTo>
                  <a:lnTo>
                    <a:pt x="1810" y="32"/>
                  </a:lnTo>
                  <a:lnTo>
                    <a:pt x="1808" y="36"/>
                  </a:lnTo>
                  <a:lnTo>
                    <a:pt x="1805" y="36"/>
                  </a:lnTo>
                  <a:lnTo>
                    <a:pt x="1813" y="38"/>
                  </a:lnTo>
                  <a:lnTo>
                    <a:pt x="1821" y="36"/>
                  </a:lnTo>
                  <a:lnTo>
                    <a:pt x="1826" y="36"/>
                  </a:lnTo>
                  <a:lnTo>
                    <a:pt x="1829" y="36"/>
                  </a:lnTo>
                  <a:lnTo>
                    <a:pt x="1832" y="36"/>
                  </a:lnTo>
                  <a:lnTo>
                    <a:pt x="1837" y="36"/>
                  </a:lnTo>
                  <a:lnTo>
                    <a:pt x="1840" y="33"/>
                  </a:lnTo>
                  <a:lnTo>
                    <a:pt x="1837" y="30"/>
                  </a:lnTo>
                  <a:lnTo>
                    <a:pt x="1851" y="30"/>
                  </a:lnTo>
                  <a:lnTo>
                    <a:pt x="1864" y="30"/>
                  </a:lnTo>
                  <a:lnTo>
                    <a:pt x="1867" y="30"/>
                  </a:lnTo>
                  <a:lnTo>
                    <a:pt x="1872" y="30"/>
                  </a:lnTo>
                  <a:lnTo>
                    <a:pt x="1875" y="30"/>
                  </a:lnTo>
                  <a:lnTo>
                    <a:pt x="1878" y="30"/>
                  </a:lnTo>
                  <a:lnTo>
                    <a:pt x="1881" y="30"/>
                  </a:lnTo>
                  <a:lnTo>
                    <a:pt x="1886" y="32"/>
                  </a:lnTo>
                  <a:lnTo>
                    <a:pt x="1889" y="30"/>
                  </a:lnTo>
                  <a:lnTo>
                    <a:pt x="1892" y="30"/>
                  </a:lnTo>
                  <a:lnTo>
                    <a:pt x="1896" y="30"/>
                  </a:lnTo>
                  <a:lnTo>
                    <a:pt x="1899" y="30"/>
                  </a:lnTo>
                  <a:lnTo>
                    <a:pt x="1904" y="30"/>
                  </a:lnTo>
                  <a:lnTo>
                    <a:pt x="1907" y="30"/>
                  </a:lnTo>
                  <a:lnTo>
                    <a:pt x="1910" y="30"/>
                  </a:lnTo>
                  <a:lnTo>
                    <a:pt x="1918" y="32"/>
                  </a:lnTo>
                  <a:lnTo>
                    <a:pt x="1923" y="32"/>
                  </a:lnTo>
                  <a:lnTo>
                    <a:pt x="1926" y="33"/>
                  </a:lnTo>
                  <a:lnTo>
                    <a:pt x="1929" y="33"/>
                  </a:lnTo>
                  <a:lnTo>
                    <a:pt x="1934" y="35"/>
                  </a:lnTo>
                  <a:lnTo>
                    <a:pt x="1937" y="35"/>
                  </a:lnTo>
                  <a:lnTo>
                    <a:pt x="1940" y="36"/>
                  </a:lnTo>
                  <a:lnTo>
                    <a:pt x="1945" y="38"/>
                  </a:lnTo>
                  <a:lnTo>
                    <a:pt x="1945" y="41"/>
                  </a:lnTo>
                  <a:lnTo>
                    <a:pt x="1950" y="38"/>
                  </a:lnTo>
                  <a:lnTo>
                    <a:pt x="1953" y="40"/>
                  </a:lnTo>
                  <a:lnTo>
                    <a:pt x="1959" y="41"/>
                  </a:lnTo>
                  <a:lnTo>
                    <a:pt x="1964" y="43"/>
                  </a:lnTo>
                  <a:lnTo>
                    <a:pt x="1965" y="46"/>
                  </a:lnTo>
                  <a:lnTo>
                    <a:pt x="1969" y="46"/>
                  </a:lnTo>
                  <a:lnTo>
                    <a:pt x="1973" y="47"/>
                  </a:lnTo>
                  <a:lnTo>
                    <a:pt x="1975" y="51"/>
                  </a:lnTo>
                  <a:lnTo>
                    <a:pt x="1978" y="47"/>
                  </a:lnTo>
                  <a:lnTo>
                    <a:pt x="1981" y="47"/>
                  </a:lnTo>
                  <a:lnTo>
                    <a:pt x="1986" y="49"/>
                  </a:lnTo>
                  <a:lnTo>
                    <a:pt x="1981" y="47"/>
                  </a:lnTo>
                  <a:lnTo>
                    <a:pt x="1978" y="46"/>
                  </a:lnTo>
                  <a:lnTo>
                    <a:pt x="1975" y="44"/>
                  </a:lnTo>
                  <a:lnTo>
                    <a:pt x="1978" y="44"/>
                  </a:lnTo>
                  <a:lnTo>
                    <a:pt x="1983" y="46"/>
                  </a:lnTo>
                  <a:lnTo>
                    <a:pt x="1986" y="47"/>
                  </a:lnTo>
                  <a:lnTo>
                    <a:pt x="1989" y="49"/>
                  </a:lnTo>
                  <a:lnTo>
                    <a:pt x="1994" y="51"/>
                  </a:lnTo>
                  <a:lnTo>
                    <a:pt x="1997" y="54"/>
                  </a:lnTo>
                  <a:lnTo>
                    <a:pt x="2000" y="57"/>
                  </a:lnTo>
                  <a:lnTo>
                    <a:pt x="2003" y="55"/>
                  </a:lnTo>
                  <a:lnTo>
                    <a:pt x="2008" y="55"/>
                  </a:lnTo>
                  <a:lnTo>
                    <a:pt x="2011" y="59"/>
                  </a:lnTo>
                  <a:lnTo>
                    <a:pt x="2013" y="62"/>
                  </a:lnTo>
                  <a:lnTo>
                    <a:pt x="2015" y="65"/>
                  </a:lnTo>
                  <a:lnTo>
                    <a:pt x="2011" y="65"/>
                  </a:lnTo>
                  <a:lnTo>
                    <a:pt x="2010" y="63"/>
                  </a:lnTo>
                  <a:lnTo>
                    <a:pt x="2005" y="63"/>
                  </a:lnTo>
                  <a:lnTo>
                    <a:pt x="2000" y="62"/>
                  </a:lnTo>
                  <a:lnTo>
                    <a:pt x="1997" y="62"/>
                  </a:lnTo>
                  <a:lnTo>
                    <a:pt x="1994" y="60"/>
                  </a:lnTo>
                  <a:lnTo>
                    <a:pt x="1989" y="60"/>
                  </a:lnTo>
                  <a:lnTo>
                    <a:pt x="1986" y="59"/>
                  </a:lnTo>
                  <a:lnTo>
                    <a:pt x="1983" y="59"/>
                  </a:lnTo>
                  <a:lnTo>
                    <a:pt x="1980" y="57"/>
                  </a:lnTo>
                  <a:lnTo>
                    <a:pt x="1975" y="59"/>
                  </a:lnTo>
                  <a:lnTo>
                    <a:pt x="1980" y="59"/>
                  </a:lnTo>
                  <a:lnTo>
                    <a:pt x="1983" y="60"/>
                  </a:lnTo>
                  <a:lnTo>
                    <a:pt x="1986" y="60"/>
                  </a:lnTo>
                  <a:lnTo>
                    <a:pt x="1991" y="62"/>
                  </a:lnTo>
                  <a:lnTo>
                    <a:pt x="1994" y="65"/>
                  </a:lnTo>
                  <a:lnTo>
                    <a:pt x="1997" y="67"/>
                  </a:lnTo>
                  <a:lnTo>
                    <a:pt x="2000" y="65"/>
                  </a:lnTo>
                  <a:lnTo>
                    <a:pt x="2002" y="63"/>
                  </a:lnTo>
                  <a:lnTo>
                    <a:pt x="2003" y="63"/>
                  </a:lnTo>
                  <a:lnTo>
                    <a:pt x="2005" y="65"/>
                  </a:lnTo>
                  <a:lnTo>
                    <a:pt x="2010" y="67"/>
                  </a:lnTo>
                  <a:lnTo>
                    <a:pt x="2019" y="68"/>
                  </a:lnTo>
                  <a:lnTo>
                    <a:pt x="2019" y="71"/>
                  </a:lnTo>
                  <a:lnTo>
                    <a:pt x="2024" y="74"/>
                  </a:lnTo>
                  <a:lnTo>
                    <a:pt x="2022" y="78"/>
                  </a:lnTo>
                  <a:lnTo>
                    <a:pt x="2019" y="81"/>
                  </a:lnTo>
                  <a:lnTo>
                    <a:pt x="2018" y="84"/>
                  </a:lnTo>
                  <a:lnTo>
                    <a:pt x="2015" y="86"/>
                  </a:lnTo>
                  <a:lnTo>
                    <a:pt x="2010" y="87"/>
                  </a:lnTo>
                  <a:lnTo>
                    <a:pt x="2007" y="87"/>
                  </a:lnTo>
                  <a:lnTo>
                    <a:pt x="2003" y="87"/>
                  </a:lnTo>
                  <a:lnTo>
                    <a:pt x="2003" y="92"/>
                  </a:lnTo>
                  <a:lnTo>
                    <a:pt x="2000" y="95"/>
                  </a:lnTo>
                  <a:lnTo>
                    <a:pt x="1989" y="97"/>
                  </a:lnTo>
                  <a:lnTo>
                    <a:pt x="1972" y="101"/>
                  </a:lnTo>
                  <a:lnTo>
                    <a:pt x="1975" y="103"/>
                  </a:lnTo>
                  <a:lnTo>
                    <a:pt x="1972" y="105"/>
                  </a:lnTo>
                  <a:lnTo>
                    <a:pt x="1969" y="105"/>
                  </a:lnTo>
                  <a:lnTo>
                    <a:pt x="1967" y="106"/>
                  </a:lnTo>
                  <a:lnTo>
                    <a:pt x="1964" y="106"/>
                  </a:lnTo>
                  <a:lnTo>
                    <a:pt x="1961" y="106"/>
                  </a:lnTo>
                  <a:lnTo>
                    <a:pt x="1964" y="106"/>
                  </a:lnTo>
                  <a:lnTo>
                    <a:pt x="1967" y="106"/>
                  </a:lnTo>
                  <a:lnTo>
                    <a:pt x="1972" y="108"/>
                  </a:lnTo>
                  <a:lnTo>
                    <a:pt x="1969" y="111"/>
                  </a:lnTo>
                  <a:lnTo>
                    <a:pt x="1965" y="114"/>
                  </a:lnTo>
                  <a:lnTo>
                    <a:pt x="1962" y="114"/>
                  </a:lnTo>
                  <a:lnTo>
                    <a:pt x="1959" y="114"/>
                  </a:lnTo>
                  <a:lnTo>
                    <a:pt x="1954" y="117"/>
                  </a:lnTo>
                  <a:lnTo>
                    <a:pt x="1951" y="120"/>
                  </a:lnTo>
                  <a:lnTo>
                    <a:pt x="1951" y="124"/>
                  </a:lnTo>
                  <a:lnTo>
                    <a:pt x="1946" y="127"/>
                  </a:lnTo>
                  <a:lnTo>
                    <a:pt x="1943" y="127"/>
                  </a:lnTo>
                  <a:lnTo>
                    <a:pt x="1940" y="128"/>
                  </a:lnTo>
                  <a:lnTo>
                    <a:pt x="1935" y="128"/>
                  </a:lnTo>
                  <a:lnTo>
                    <a:pt x="1932" y="128"/>
                  </a:lnTo>
                  <a:lnTo>
                    <a:pt x="1929" y="128"/>
                  </a:lnTo>
                  <a:lnTo>
                    <a:pt x="1924" y="132"/>
                  </a:lnTo>
                  <a:lnTo>
                    <a:pt x="1921" y="135"/>
                  </a:lnTo>
                  <a:lnTo>
                    <a:pt x="1921" y="138"/>
                  </a:lnTo>
                  <a:lnTo>
                    <a:pt x="1918" y="139"/>
                  </a:lnTo>
                  <a:lnTo>
                    <a:pt x="1915" y="138"/>
                  </a:lnTo>
                  <a:lnTo>
                    <a:pt x="1910" y="138"/>
                  </a:lnTo>
                  <a:lnTo>
                    <a:pt x="1907" y="141"/>
                  </a:lnTo>
                  <a:lnTo>
                    <a:pt x="1907" y="146"/>
                  </a:lnTo>
                  <a:lnTo>
                    <a:pt x="1908" y="149"/>
                  </a:lnTo>
                  <a:lnTo>
                    <a:pt x="1907" y="152"/>
                  </a:lnTo>
                  <a:lnTo>
                    <a:pt x="1899" y="155"/>
                  </a:lnTo>
                  <a:lnTo>
                    <a:pt x="1896" y="157"/>
                  </a:lnTo>
                  <a:lnTo>
                    <a:pt x="1896" y="157"/>
                  </a:lnTo>
                  <a:lnTo>
                    <a:pt x="1899" y="157"/>
                  </a:lnTo>
                  <a:lnTo>
                    <a:pt x="1902" y="157"/>
                  </a:lnTo>
                  <a:lnTo>
                    <a:pt x="1907" y="157"/>
                  </a:lnTo>
                  <a:lnTo>
                    <a:pt x="1910" y="155"/>
                  </a:lnTo>
                  <a:lnTo>
                    <a:pt x="1916" y="151"/>
                  </a:lnTo>
                  <a:lnTo>
                    <a:pt x="1918" y="149"/>
                  </a:lnTo>
                  <a:lnTo>
                    <a:pt x="1915" y="146"/>
                  </a:lnTo>
                  <a:lnTo>
                    <a:pt x="1916" y="143"/>
                  </a:lnTo>
                  <a:lnTo>
                    <a:pt x="1919" y="143"/>
                  </a:lnTo>
                  <a:lnTo>
                    <a:pt x="1924" y="144"/>
                  </a:lnTo>
                  <a:lnTo>
                    <a:pt x="1927" y="144"/>
                  </a:lnTo>
                  <a:lnTo>
                    <a:pt x="1930" y="144"/>
                  </a:lnTo>
                  <a:lnTo>
                    <a:pt x="1934" y="143"/>
                  </a:lnTo>
                  <a:lnTo>
                    <a:pt x="1942" y="144"/>
                  </a:lnTo>
                  <a:lnTo>
                    <a:pt x="1945" y="143"/>
                  </a:lnTo>
                  <a:lnTo>
                    <a:pt x="1953" y="143"/>
                  </a:lnTo>
                  <a:lnTo>
                    <a:pt x="1956" y="141"/>
                  </a:lnTo>
                  <a:lnTo>
                    <a:pt x="1959" y="141"/>
                  </a:lnTo>
                  <a:lnTo>
                    <a:pt x="1964" y="139"/>
                  </a:lnTo>
                  <a:lnTo>
                    <a:pt x="1959" y="139"/>
                  </a:lnTo>
                  <a:lnTo>
                    <a:pt x="1964" y="139"/>
                  </a:lnTo>
                  <a:lnTo>
                    <a:pt x="1967" y="138"/>
                  </a:lnTo>
                  <a:lnTo>
                    <a:pt x="1970" y="138"/>
                  </a:lnTo>
                  <a:lnTo>
                    <a:pt x="1975" y="138"/>
                  </a:lnTo>
                  <a:lnTo>
                    <a:pt x="1978" y="136"/>
                  </a:lnTo>
                  <a:lnTo>
                    <a:pt x="1981" y="135"/>
                  </a:lnTo>
                  <a:lnTo>
                    <a:pt x="1986" y="135"/>
                  </a:lnTo>
                  <a:lnTo>
                    <a:pt x="1981" y="133"/>
                  </a:lnTo>
                  <a:lnTo>
                    <a:pt x="1978" y="132"/>
                  </a:lnTo>
                  <a:lnTo>
                    <a:pt x="1983" y="133"/>
                  </a:lnTo>
                  <a:lnTo>
                    <a:pt x="1988" y="135"/>
                  </a:lnTo>
                  <a:lnTo>
                    <a:pt x="1992" y="135"/>
                  </a:lnTo>
                  <a:lnTo>
                    <a:pt x="1997" y="133"/>
                  </a:lnTo>
                  <a:lnTo>
                    <a:pt x="1999" y="130"/>
                  </a:lnTo>
                  <a:lnTo>
                    <a:pt x="2003" y="128"/>
                  </a:lnTo>
                  <a:lnTo>
                    <a:pt x="2007" y="128"/>
                  </a:lnTo>
                  <a:lnTo>
                    <a:pt x="2010" y="127"/>
                  </a:lnTo>
                  <a:lnTo>
                    <a:pt x="2015" y="125"/>
                  </a:lnTo>
                  <a:lnTo>
                    <a:pt x="2008" y="124"/>
                  </a:lnTo>
                  <a:lnTo>
                    <a:pt x="2003" y="124"/>
                  </a:lnTo>
                  <a:lnTo>
                    <a:pt x="2000" y="125"/>
                  </a:lnTo>
                  <a:lnTo>
                    <a:pt x="1994" y="125"/>
                  </a:lnTo>
                  <a:lnTo>
                    <a:pt x="1988" y="125"/>
                  </a:lnTo>
                  <a:lnTo>
                    <a:pt x="1984" y="127"/>
                  </a:lnTo>
                  <a:lnTo>
                    <a:pt x="1980" y="125"/>
                  </a:lnTo>
                  <a:lnTo>
                    <a:pt x="1976" y="122"/>
                  </a:lnTo>
                  <a:lnTo>
                    <a:pt x="1981" y="119"/>
                  </a:lnTo>
                  <a:lnTo>
                    <a:pt x="1981" y="116"/>
                  </a:lnTo>
                  <a:lnTo>
                    <a:pt x="1981" y="116"/>
                  </a:lnTo>
                  <a:lnTo>
                    <a:pt x="1986" y="116"/>
                  </a:lnTo>
                  <a:lnTo>
                    <a:pt x="1994" y="116"/>
                  </a:lnTo>
                  <a:lnTo>
                    <a:pt x="1999" y="116"/>
                  </a:lnTo>
                  <a:lnTo>
                    <a:pt x="2002" y="117"/>
                  </a:lnTo>
                  <a:lnTo>
                    <a:pt x="2007" y="119"/>
                  </a:lnTo>
                  <a:lnTo>
                    <a:pt x="2010" y="119"/>
                  </a:lnTo>
                  <a:lnTo>
                    <a:pt x="2011" y="114"/>
                  </a:lnTo>
                  <a:lnTo>
                    <a:pt x="2015" y="114"/>
                  </a:lnTo>
                  <a:lnTo>
                    <a:pt x="2019" y="116"/>
                  </a:lnTo>
                  <a:lnTo>
                    <a:pt x="2015" y="117"/>
                  </a:lnTo>
                  <a:lnTo>
                    <a:pt x="2018" y="120"/>
                  </a:lnTo>
                  <a:lnTo>
                    <a:pt x="2018" y="120"/>
                  </a:lnTo>
                  <a:lnTo>
                    <a:pt x="2022" y="122"/>
                  </a:lnTo>
                  <a:lnTo>
                    <a:pt x="2026" y="124"/>
                  </a:lnTo>
                  <a:lnTo>
                    <a:pt x="2030" y="124"/>
                  </a:lnTo>
                  <a:lnTo>
                    <a:pt x="2034" y="125"/>
                  </a:lnTo>
                  <a:lnTo>
                    <a:pt x="2038" y="125"/>
                  </a:lnTo>
                  <a:lnTo>
                    <a:pt x="2043" y="125"/>
                  </a:lnTo>
                  <a:lnTo>
                    <a:pt x="2051" y="125"/>
                  </a:lnTo>
                  <a:lnTo>
                    <a:pt x="2054" y="125"/>
                  </a:lnTo>
                  <a:lnTo>
                    <a:pt x="2057" y="125"/>
                  </a:lnTo>
                  <a:lnTo>
                    <a:pt x="2062" y="124"/>
                  </a:lnTo>
                  <a:lnTo>
                    <a:pt x="2057" y="120"/>
                  </a:lnTo>
                  <a:lnTo>
                    <a:pt x="2054" y="117"/>
                  </a:lnTo>
                  <a:lnTo>
                    <a:pt x="2067" y="122"/>
                  </a:lnTo>
                  <a:lnTo>
                    <a:pt x="2080" y="128"/>
                  </a:lnTo>
                  <a:lnTo>
                    <a:pt x="2078" y="132"/>
                  </a:lnTo>
                  <a:lnTo>
                    <a:pt x="2083" y="135"/>
                  </a:lnTo>
                  <a:lnTo>
                    <a:pt x="2086" y="136"/>
                  </a:lnTo>
                  <a:lnTo>
                    <a:pt x="2089" y="138"/>
                  </a:lnTo>
                  <a:lnTo>
                    <a:pt x="2094" y="141"/>
                  </a:lnTo>
                  <a:lnTo>
                    <a:pt x="2095" y="141"/>
                  </a:lnTo>
                  <a:lnTo>
                    <a:pt x="2099" y="138"/>
                  </a:lnTo>
                  <a:lnTo>
                    <a:pt x="2102" y="138"/>
                  </a:lnTo>
                  <a:lnTo>
                    <a:pt x="2099" y="138"/>
                  </a:lnTo>
                  <a:lnTo>
                    <a:pt x="2095" y="136"/>
                  </a:lnTo>
                  <a:lnTo>
                    <a:pt x="2091" y="135"/>
                  </a:lnTo>
                  <a:lnTo>
                    <a:pt x="2087" y="135"/>
                  </a:lnTo>
                  <a:lnTo>
                    <a:pt x="2084" y="133"/>
                  </a:lnTo>
                  <a:lnTo>
                    <a:pt x="2087" y="132"/>
                  </a:lnTo>
                  <a:lnTo>
                    <a:pt x="2091" y="132"/>
                  </a:lnTo>
                  <a:lnTo>
                    <a:pt x="2095" y="130"/>
                  </a:lnTo>
                  <a:lnTo>
                    <a:pt x="2099" y="130"/>
                  </a:lnTo>
                  <a:lnTo>
                    <a:pt x="2108" y="130"/>
                  </a:lnTo>
                  <a:lnTo>
                    <a:pt x="2118" y="128"/>
                  </a:lnTo>
                  <a:lnTo>
                    <a:pt x="2133" y="125"/>
                  </a:lnTo>
                  <a:lnTo>
                    <a:pt x="2149" y="127"/>
                  </a:lnTo>
                  <a:lnTo>
                    <a:pt x="2167" y="128"/>
                  </a:lnTo>
                  <a:lnTo>
                    <a:pt x="2184" y="130"/>
                  </a:lnTo>
                  <a:lnTo>
                    <a:pt x="2194" y="130"/>
                  </a:lnTo>
                  <a:lnTo>
                    <a:pt x="2202" y="130"/>
                  </a:lnTo>
                  <a:lnTo>
                    <a:pt x="2205" y="130"/>
                  </a:lnTo>
                  <a:lnTo>
                    <a:pt x="2210" y="130"/>
                  </a:lnTo>
                  <a:lnTo>
                    <a:pt x="2213" y="130"/>
                  </a:lnTo>
                  <a:lnTo>
                    <a:pt x="2216" y="132"/>
                  </a:lnTo>
                  <a:lnTo>
                    <a:pt x="2221" y="135"/>
                  </a:lnTo>
                  <a:lnTo>
                    <a:pt x="2216" y="135"/>
                  </a:lnTo>
                  <a:lnTo>
                    <a:pt x="2213" y="133"/>
                  </a:lnTo>
                  <a:lnTo>
                    <a:pt x="2210" y="136"/>
                  </a:lnTo>
                  <a:lnTo>
                    <a:pt x="2216" y="141"/>
                  </a:lnTo>
                  <a:lnTo>
                    <a:pt x="2222" y="143"/>
                  </a:lnTo>
                  <a:lnTo>
                    <a:pt x="2230" y="144"/>
                  </a:lnTo>
                  <a:lnTo>
                    <a:pt x="2238" y="146"/>
                  </a:lnTo>
                  <a:lnTo>
                    <a:pt x="2241" y="146"/>
                  </a:lnTo>
                  <a:lnTo>
                    <a:pt x="2246" y="147"/>
                  </a:lnTo>
                  <a:lnTo>
                    <a:pt x="2249" y="147"/>
                  </a:lnTo>
                  <a:lnTo>
                    <a:pt x="2254" y="149"/>
                  </a:lnTo>
                  <a:lnTo>
                    <a:pt x="2257" y="149"/>
                  </a:lnTo>
                  <a:lnTo>
                    <a:pt x="2257" y="149"/>
                  </a:lnTo>
                  <a:lnTo>
                    <a:pt x="2259" y="149"/>
                  </a:lnTo>
                  <a:lnTo>
                    <a:pt x="2260" y="149"/>
                  </a:lnTo>
                  <a:lnTo>
                    <a:pt x="2265" y="149"/>
                  </a:lnTo>
                  <a:lnTo>
                    <a:pt x="2279" y="149"/>
                  </a:lnTo>
                  <a:lnTo>
                    <a:pt x="2294" y="151"/>
                  </a:lnTo>
                  <a:lnTo>
                    <a:pt x="2310" y="149"/>
                  </a:lnTo>
                  <a:lnTo>
                    <a:pt x="2327" y="149"/>
                  </a:lnTo>
                  <a:lnTo>
                    <a:pt x="2327" y="149"/>
                  </a:lnTo>
                  <a:lnTo>
                    <a:pt x="2330" y="147"/>
                  </a:lnTo>
                  <a:lnTo>
                    <a:pt x="2333" y="149"/>
                  </a:lnTo>
                  <a:lnTo>
                    <a:pt x="2336" y="149"/>
                  </a:lnTo>
                  <a:lnTo>
                    <a:pt x="2340" y="151"/>
                  </a:lnTo>
                  <a:lnTo>
                    <a:pt x="2344" y="151"/>
                  </a:lnTo>
                  <a:lnTo>
                    <a:pt x="2348" y="149"/>
                  </a:lnTo>
                  <a:lnTo>
                    <a:pt x="2348" y="146"/>
                  </a:lnTo>
                  <a:lnTo>
                    <a:pt x="2344" y="144"/>
                  </a:lnTo>
                  <a:lnTo>
                    <a:pt x="2344" y="144"/>
                  </a:lnTo>
                  <a:lnTo>
                    <a:pt x="2343" y="144"/>
                  </a:lnTo>
                  <a:lnTo>
                    <a:pt x="2343" y="143"/>
                  </a:lnTo>
                  <a:lnTo>
                    <a:pt x="2346" y="143"/>
                  </a:lnTo>
                  <a:lnTo>
                    <a:pt x="2343" y="141"/>
                  </a:lnTo>
                  <a:lnTo>
                    <a:pt x="2340" y="139"/>
                  </a:lnTo>
                  <a:lnTo>
                    <a:pt x="2336" y="136"/>
                  </a:lnTo>
                  <a:lnTo>
                    <a:pt x="2332" y="133"/>
                  </a:lnTo>
                  <a:lnTo>
                    <a:pt x="2329" y="133"/>
                  </a:lnTo>
                  <a:lnTo>
                    <a:pt x="2327" y="128"/>
                  </a:lnTo>
                  <a:lnTo>
                    <a:pt x="2327" y="125"/>
                  </a:lnTo>
                  <a:lnTo>
                    <a:pt x="2330" y="128"/>
                  </a:lnTo>
                  <a:lnTo>
                    <a:pt x="2335" y="128"/>
                  </a:lnTo>
                  <a:lnTo>
                    <a:pt x="2338" y="127"/>
                  </a:lnTo>
                  <a:lnTo>
                    <a:pt x="2333" y="124"/>
                  </a:lnTo>
                  <a:lnTo>
                    <a:pt x="2338" y="125"/>
                  </a:lnTo>
                  <a:lnTo>
                    <a:pt x="2341" y="125"/>
                  </a:lnTo>
                  <a:lnTo>
                    <a:pt x="2344" y="124"/>
                  </a:lnTo>
                  <a:lnTo>
                    <a:pt x="2349" y="124"/>
                  </a:lnTo>
                  <a:lnTo>
                    <a:pt x="2352" y="125"/>
                  </a:lnTo>
                  <a:lnTo>
                    <a:pt x="2356" y="125"/>
                  </a:lnTo>
                  <a:lnTo>
                    <a:pt x="2360" y="125"/>
                  </a:lnTo>
                  <a:lnTo>
                    <a:pt x="2363" y="127"/>
                  </a:lnTo>
                  <a:lnTo>
                    <a:pt x="2367" y="127"/>
                  </a:lnTo>
                  <a:lnTo>
                    <a:pt x="2370" y="128"/>
                  </a:lnTo>
                  <a:lnTo>
                    <a:pt x="2375" y="130"/>
                  </a:lnTo>
                  <a:lnTo>
                    <a:pt x="2378" y="130"/>
                  </a:lnTo>
                  <a:lnTo>
                    <a:pt x="2381" y="132"/>
                  </a:lnTo>
                  <a:lnTo>
                    <a:pt x="2384" y="132"/>
                  </a:lnTo>
                  <a:lnTo>
                    <a:pt x="2387" y="135"/>
                  </a:lnTo>
                  <a:lnTo>
                    <a:pt x="2390" y="133"/>
                  </a:lnTo>
                  <a:lnTo>
                    <a:pt x="2395" y="132"/>
                  </a:lnTo>
                  <a:lnTo>
                    <a:pt x="2398" y="132"/>
                  </a:lnTo>
                  <a:lnTo>
                    <a:pt x="2402" y="132"/>
                  </a:lnTo>
                  <a:lnTo>
                    <a:pt x="2405" y="132"/>
                  </a:lnTo>
                  <a:lnTo>
                    <a:pt x="2402" y="133"/>
                  </a:lnTo>
                  <a:lnTo>
                    <a:pt x="2405" y="135"/>
                  </a:lnTo>
                  <a:lnTo>
                    <a:pt x="2409" y="135"/>
                  </a:lnTo>
                  <a:lnTo>
                    <a:pt x="2411" y="138"/>
                  </a:lnTo>
                  <a:lnTo>
                    <a:pt x="2416" y="135"/>
                  </a:lnTo>
                  <a:lnTo>
                    <a:pt x="2421" y="135"/>
                  </a:lnTo>
                  <a:lnTo>
                    <a:pt x="2417" y="132"/>
                  </a:lnTo>
                  <a:lnTo>
                    <a:pt x="2421" y="132"/>
                  </a:lnTo>
                  <a:lnTo>
                    <a:pt x="2425" y="132"/>
                  </a:lnTo>
                  <a:lnTo>
                    <a:pt x="2428" y="133"/>
                  </a:lnTo>
                  <a:lnTo>
                    <a:pt x="2432" y="133"/>
                  </a:lnTo>
                  <a:lnTo>
                    <a:pt x="2440" y="133"/>
                  </a:lnTo>
                  <a:lnTo>
                    <a:pt x="2443" y="133"/>
                  </a:lnTo>
                  <a:lnTo>
                    <a:pt x="2446" y="133"/>
                  </a:lnTo>
                  <a:lnTo>
                    <a:pt x="2446" y="135"/>
                  </a:lnTo>
                  <a:lnTo>
                    <a:pt x="2449" y="135"/>
                  </a:lnTo>
                  <a:lnTo>
                    <a:pt x="2452" y="138"/>
                  </a:lnTo>
                  <a:lnTo>
                    <a:pt x="2457" y="138"/>
                  </a:lnTo>
                  <a:lnTo>
                    <a:pt x="2460" y="139"/>
                  </a:lnTo>
                  <a:lnTo>
                    <a:pt x="2460" y="139"/>
                  </a:lnTo>
                  <a:lnTo>
                    <a:pt x="2465" y="141"/>
                  </a:lnTo>
                  <a:lnTo>
                    <a:pt x="2468" y="139"/>
                  </a:lnTo>
                  <a:lnTo>
                    <a:pt x="2471" y="141"/>
                  </a:lnTo>
                  <a:lnTo>
                    <a:pt x="2479" y="143"/>
                  </a:lnTo>
                  <a:lnTo>
                    <a:pt x="2481" y="146"/>
                  </a:lnTo>
                  <a:lnTo>
                    <a:pt x="2482" y="147"/>
                  </a:lnTo>
                  <a:lnTo>
                    <a:pt x="2486" y="144"/>
                  </a:lnTo>
                  <a:lnTo>
                    <a:pt x="2489" y="146"/>
                  </a:lnTo>
                  <a:lnTo>
                    <a:pt x="2487" y="149"/>
                  </a:lnTo>
                  <a:lnTo>
                    <a:pt x="2484" y="151"/>
                  </a:lnTo>
                  <a:lnTo>
                    <a:pt x="2479" y="152"/>
                  </a:lnTo>
                  <a:lnTo>
                    <a:pt x="2479" y="152"/>
                  </a:lnTo>
                  <a:lnTo>
                    <a:pt x="2479" y="152"/>
                  </a:lnTo>
                  <a:lnTo>
                    <a:pt x="2481" y="152"/>
                  </a:lnTo>
                  <a:lnTo>
                    <a:pt x="2484" y="152"/>
                  </a:lnTo>
                  <a:lnTo>
                    <a:pt x="2495" y="154"/>
                  </a:lnTo>
                  <a:lnTo>
                    <a:pt x="2500" y="154"/>
                  </a:lnTo>
                  <a:lnTo>
                    <a:pt x="2503" y="154"/>
                  </a:lnTo>
                  <a:lnTo>
                    <a:pt x="2500" y="155"/>
                  </a:lnTo>
                  <a:lnTo>
                    <a:pt x="2495" y="155"/>
                  </a:lnTo>
                  <a:lnTo>
                    <a:pt x="2493" y="157"/>
                  </a:lnTo>
                  <a:lnTo>
                    <a:pt x="2497" y="157"/>
                  </a:lnTo>
                  <a:lnTo>
                    <a:pt x="2501" y="157"/>
                  </a:lnTo>
                  <a:lnTo>
                    <a:pt x="2505" y="158"/>
                  </a:lnTo>
                  <a:lnTo>
                    <a:pt x="2508" y="158"/>
                  </a:lnTo>
                  <a:lnTo>
                    <a:pt x="2508" y="158"/>
                  </a:lnTo>
                  <a:lnTo>
                    <a:pt x="2505" y="160"/>
                  </a:lnTo>
                  <a:lnTo>
                    <a:pt x="2501" y="160"/>
                  </a:lnTo>
                  <a:lnTo>
                    <a:pt x="2501" y="160"/>
                  </a:lnTo>
                  <a:lnTo>
                    <a:pt x="2505" y="162"/>
                  </a:lnTo>
                  <a:lnTo>
                    <a:pt x="2501" y="163"/>
                  </a:lnTo>
                  <a:lnTo>
                    <a:pt x="2498" y="163"/>
                  </a:lnTo>
                  <a:lnTo>
                    <a:pt x="2493" y="163"/>
                  </a:lnTo>
                  <a:lnTo>
                    <a:pt x="2492" y="163"/>
                  </a:lnTo>
                  <a:lnTo>
                    <a:pt x="2492" y="163"/>
                  </a:lnTo>
                  <a:lnTo>
                    <a:pt x="2501" y="166"/>
                  </a:lnTo>
                  <a:lnTo>
                    <a:pt x="2511" y="166"/>
                  </a:lnTo>
                  <a:lnTo>
                    <a:pt x="2514" y="166"/>
                  </a:lnTo>
                  <a:lnTo>
                    <a:pt x="2517" y="166"/>
                  </a:lnTo>
                  <a:lnTo>
                    <a:pt x="2519" y="168"/>
                  </a:lnTo>
                  <a:lnTo>
                    <a:pt x="2525" y="170"/>
                  </a:lnTo>
                  <a:lnTo>
                    <a:pt x="2527" y="171"/>
                  </a:lnTo>
                  <a:lnTo>
                    <a:pt x="2527" y="173"/>
                  </a:lnTo>
                  <a:lnTo>
                    <a:pt x="2532" y="174"/>
                  </a:lnTo>
                  <a:lnTo>
                    <a:pt x="2535" y="174"/>
                  </a:lnTo>
                  <a:lnTo>
                    <a:pt x="2532" y="178"/>
                  </a:lnTo>
                  <a:lnTo>
                    <a:pt x="2535" y="178"/>
                  </a:lnTo>
                  <a:lnTo>
                    <a:pt x="2532" y="179"/>
                  </a:lnTo>
                  <a:lnTo>
                    <a:pt x="2527" y="179"/>
                  </a:lnTo>
                  <a:lnTo>
                    <a:pt x="2519" y="179"/>
                  </a:lnTo>
                  <a:lnTo>
                    <a:pt x="2516" y="179"/>
                  </a:lnTo>
                  <a:lnTo>
                    <a:pt x="2513" y="178"/>
                  </a:lnTo>
                  <a:lnTo>
                    <a:pt x="2511" y="176"/>
                  </a:lnTo>
                  <a:lnTo>
                    <a:pt x="2508" y="176"/>
                  </a:lnTo>
                  <a:lnTo>
                    <a:pt x="2503" y="174"/>
                  </a:lnTo>
                  <a:lnTo>
                    <a:pt x="2500" y="174"/>
                  </a:lnTo>
                  <a:lnTo>
                    <a:pt x="2500" y="174"/>
                  </a:lnTo>
                  <a:lnTo>
                    <a:pt x="2501" y="176"/>
                  </a:lnTo>
                  <a:lnTo>
                    <a:pt x="2505" y="178"/>
                  </a:lnTo>
                  <a:lnTo>
                    <a:pt x="2506" y="178"/>
                  </a:lnTo>
                  <a:lnTo>
                    <a:pt x="2508" y="179"/>
                  </a:lnTo>
                  <a:lnTo>
                    <a:pt x="2513" y="181"/>
                  </a:lnTo>
                  <a:lnTo>
                    <a:pt x="2516" y="182"/>
                  </a:lnTo>
                  <a:lnTo>
                    <a:pt x="2519" y="184"/>
                  </a:lnTo>
                  <a:lnTo>
                    <a:pt x="2522" y="185"/>
                  </a:lnTo>
                  <a:lnTo>
                    <a:pt x="2527" y="187"/>
                  </a:lnTo>
                  <a:lnTo>
                    <a:pt x="2530" y="189"/>
                  </a:lnTo>
                  <a:lnTo>
                    <a:pt x="2533" y="190"/>
                  </a:lnTo>
                  <a:lnTo>
                    <a:pt x="2536" y="190"/>
                  </a:lnTo>
                  <a:lnTo>
                    <a:pt x="2541" y="189"/>
                  </a:lnTo>
                  <a:lnTo>
                    <a:pt x="2536" y="185"/>
                  </a:lnTo>
                  <a:lnTo>
                    <a:pt x="2533" y="184"/>
                  </a:lnTo>
                  <a:lnTo>
                    <a:pt x="2528" y="182"/>
                  </a:lnTo>
                  <a:lnTo>
                    <a:pt x="2539" y="185"/>
                  </a:lnTo>
                  <a:lnTo>
                    <a:pt x="2551" y="190"/>
                  </a:lnTo>
                  <a:lnTo>
                    <a:pt x="2546" y="190"/>
                  </a:lnTo>
                  <a:lnTo>
                    <a:pt x="2543" y="192"/>
                  </a:lnTo>
                  <a:lnTo>
                    <a:pt x="2539" y="192"/>
                  </a:lnTo>
                  <a:lnTo>
                    <a:pt x="2539" y="195"/>
                  </a:lnTo>
                  <a:lnTo>
                    <a:pt x="2544" y="195"/>
                  </a:lnTo>
                  <a:lnTo>
                    <a:pt x="2547" y="195"/>
                  </a:lnTo>
                  <a:lnTo>
                    <a:pt x="2551" y="197"/>
                  </a:lnTo>
                  <a:lnTo>
                    <a:pt x="2554" y="198"/>
                  </a:lnTo>
                  <a:lnTo>
                    <a:pt x="2559" y="200"/>
                  </a:lnTo>
                  <a:lnTo>
                    <a:pt x="2566" y="204"/>
                  </a:lnTo>
                  <a:lnTo>
                    <a:pt x="2576" y="208"/>
                  </a:lnTo>
                  <a:lnTo>
                    <a:pt x="2584" y="212"/>
                  </a:lnTo>
                  <a:lnTo>
                    <a:pt x="2593" y="214"/>
                  </a:lnTo>
                  <a:lnTo>
                    <a:pt x="2605" y="217"/>
                  </a:lnTo>
                  <a:lnTo>
                    <a:pt x="2612" y="219"/>
                  </a:lnTo>
                  <a:lnTo>
                    <a:pt x="2616" y="217"/>
                  </a:lnTo>
                  <a:lnTo>
                    <a:pt x="2619" y="219"/>
                  </a:lnTo>
                  <a:lnTo>
                    <a:pt x="2624" y="222"/>
                  </a:lnTo>
                  <a:lnTo>
                    <a:pt x="2627" y="224"/>
                  </a:lnTo>
                  <a:lnTo>
                    <a:pt x="2630" y="224"/>
                  </a:lnTo>
                  <a:lnTo>
                    <a:pt x="2633" y="224"/>
                  </a:lnTo>
                  <a:lnTo>
                    <a:pt x="2636" y="220"/>
                  </a:lnTo>
                  <a:lnTo>
                    <a:pt x="2636" y="217"/>
                  </a:lnTo>
                  <a:lnTo>
                    <a:pt x="2635" y="214"/>
                  </a:lnTo>
                  <a:lnTo>
                    <a:pt x="2635" y="209"/>
                  </a:lnTo>
                  <a:lnTo>
                    <a:pt x="2638" y="208"/>
                  </a:lnTo>
                  <a:lnTo>
                    <a:pt x="2635" y="208"/>
                  </a:lnTo>
                  <a:lnTo>
                    <a:pt x="2631" y="204"/>
                  </a:lnTo>
                  <a:lnTo>
                    <a:pt x="2628" y="200"/>
                  </a:lnTo>
                  <a:lnTo>
                    <a:pt x="2627" y="197"/>
                  </a:lnTo>
                  <a:lnTo>
                    <a:pt x="2625" y="193"/>
                  </a:lnTo>
                  <a:lnTo>
                    <a:pt x="2624" y="190"/>
                  </a:lnTo>
                  <a:lnTo>
                    <a:pt x="2624" y="187"/>
                  </a:lnTo>
                  <a:lnTo>
                    <a:pt x="2627" y="184"/>
                  </a:lnTo>
                  <a:lnTo>
                    <a:pt x="2635" y="190"/>
                  </a:lnTo>
                  <a:lnTo>
                    <a:pt x="2644" y="193"/>
                  </a:lnTo>
                  <a:lnTo>
                    <a:pt x="2655" y="197"/>
                  </a:lnTo>
                  <a:lnTo>
                    <a:pt x="2665" y="200"/>
                  </a:lnTo>
                  <a:lnTo>
                    <a:pt x="2674" y="201"/>
                  </a:lnTo>
                  <a:lnTo>
                    <a:pt x="2684" y="203"/>
                  </a:lnTo>
                  <a:lnTo>
                    <a:pt x="2690" y="203"/>
                  </a:lnTo>
                  <a:lnTo>
                    <a:pt x="2695" y="201"/>
                  </a:lnTo>
                  <a:lnTo>
                    <a:pt x="2698" y="203"/>
                  </a:lnTo>
                  <a:lnTo>
                    <a:pt x="2701" y="206"/>
                  </a:lnTo>
                  <a:lnTo>
                    <a:pt x="2700" y="203"/>
                  </a:lnTo>
                  <a:lnTo>
                    <a:pt x="2698" y="201"/>
                  </a:lnTo>
                  <a:lnTo>
                    <a:pt x="2700" y="198"/>
                  </a:lnTo>
                  <a:lnTo>
                    <a:pt x="2709" y="197"/>
                  </a:lnTo>
                  <a:lnTo>
                    <a:pt x="2722" y="195"/>
                  </a:lnTo>
                  <a:lnTo>
                    <a:pt x="2725" y="195"/>
                  </a:lnTo>
                  <a:lnTo>
                    <a:pt x="2728" y="195"/>
                  </a:lnTo>
                  <a:lnTo>
                    <a:pt x="2733" y="197"/>
                  </a:lnTo>
                  <a:lnTo>
                    <a:pt x="2736" y="197"/>
                  </a:lnTo>
                  <a:lnTo>
                    <a:pt x="2739" y="198"/>
                  </a:lnTo>
                  <a:lnTo>
                    <a:pt x="2743" y="198"/>
                  </a:lnTo>
                  <a:lnTo>
                    <a:pt x="2746" y="198"/>
                  </a:lnTo>
                  <a:lnTo>
                    <a:pt x="2757" y="201"/>
                  </a:lnTo>
                  <a:lnTo>
                    <a:pt x="2768" y="203"/>
                  </a:lnTo>
                  <a:lnTo>
                    <a:pt x="2773" y="204"/>
                  </a:lnTo>
                  <a:lnTo>
                    <a:pt x="2776" y="208"/>
                  </a:lnTo>
                  <a:lnTo>
                    <a:pt x="2779" y="206"/>
                  </a:lnTo>
                  <a:lnTo>
                    <a:pt x="2784" y="209"/>
                  </a:lnTo>
                  <a:lnTo>
                    <a:pt x="2787" y="211"/>
                  </a:lnTo>
                  <a:lnTo>
                    <a:pt x="2790" y="211"/>
                  </a:lnTo>
                  <a:lnTo>
                    <a:pt x="2795" y="211"/>
                  </a:lnTo>
                  <a:lnTo>
                    <a:pt x="2790" y="209"/>
                  </a:lnTo>
                  <a:lnTo>
                    <a:pt x="2787" y="209"/>
                  </a:lnTo>
                  <a:lnTo>
                    <a:pt x="2784" y="208"/>
                  </a:lnTo>
                  <a:lnTo>
                    <a:pt x="2787" y="208"/>
                  </a:lnTo>
                  <a:lnTo>
                    <a:pt x="2792" y="208"/>
                  </a:lnTo>
                  <a:lnTo>
                    <a:pt x="2787" y="206"/>
                  </a:lnTo>
                  <a:lnTo>
                    <a:pt x="2790" y="204"/>
                  </a:lnTo>
                  <a:lnTo>
                    <a:pt x="2795" y="204"/>
                  </a:lnTo>
                  <a:lnTo>
                    <a:pt x="2790" y="204"/>
                  </a:lnTo>
                  <a:lnTo>
                    <a:pt x="2784" y="204"/>
                  </a:lnTo>
                  <a:lnTo>
                    <a:pt x="2779" y="203"/>
                  </a:lnTo>
                  <a:lnTo>
                    <a:pt x="2779" y="200"/>
                  </a:lnTo>
                  <a:lnTo>
                    <a:pt x="2777" y="195"/>
                  </a:lnTo>
                  <a:lnTo>
                    <a:pt x="2781" y="195"/>
                  </a:lnTo>
                  <a:lnTo>
                    <a:pt x="2784" y="195"/>
                  </a:lnTo>
                  <a:lnTo>
                    <a:pt x="2788" y="198"/>
                  </a:lnTo>
                  <a:lnTo>
                    <a:pt x="2788" y="193"/>
                  </a:lnTo>
                  <a:lnTo>
                    <a:pt x="2801" y="197"/>
                  </a:lnTo>
                  <a:lnTo>
                    <a:pt x="2811" y="201"/>
                  </a:lnTo>
                  <a:lnTo>
                    <a:pt x="2814" y="201"/>
                  </a:lnTo>
                  <a:lnTo>
                    <a:pt x="2819" y="198"/>
                  </a:lnTo>
                  <a:lnTo>
                    <a:pt x="2822" y="200"/>
                  </a:lnTo>
                  <a:lnTo>
                    <a:pt x="2825" y="198"/>
                  </a:lnTo>
                  <a:lnTo>
                    <a:pt x="2830" y="200"/>
                  </a:lnTo>
                  <a:lnTo>
                    <a:pt x="2830" y="200"/>
                  </a:lnTo>
                  <a:lnTo>
                    <a:pt x="2822" y="195"/>
                  </a:lnTo>
                  <a:lnTo>
                    <a:pt x="2814" y="192"/>
                  </a:lnTo>
                  <a:lnTo>
                    <a:pt x="2811" y="190"/>
                  </a:lnTo>
                  <a:lnTo>
                    <a:pt x="2808" y="187"/>
                  </a:lnTo>
                  <a:lnTo>
                    <a:pt x="2804" y="185"/>
                  </a:lnTo>
                  <a:lnTo>
                    <a:pt x="2801" y="184"/>
                  </a:lnTo>
                  <a:lnTo>
                    <a:pt x="2796" y="184"/>
                  </a:lnTo>
                  <a:lnTo>
                    <a:pt x="2793" y="184"/>
                  </a:lnTo>
                  <a:lnTo>
                    <a:pt x="2796" y="184"/>
                  </a:lnTo>
                  <a:lnTo>
                    <a:pt x="2801" y="184"/>
                  </a:lnTo>
                  <a:lnTo>
                    <a:pt x="2796" y="179"/>
                  </a:lnTo>
                  <a:lnTo>
                    <a:pt x="2798" y="176"/>
                  </a:lnTo>
                  <a:lnTo>
                    <a:pt x="2801" y="176"/>
                  </a:lnTo>
                  <a:lnTo>
                    <a:pt x="2801" y="178"/>
                  </a:lnTo>
                  <a:lnTo>
                    <a:pt x="2806" y="176"/>
                  </a:lnTo>
                  <a:lnTo>
                    <a:pt x="2801" y="174"/>
                  </a:lnTo>
                  <a:lnTo>
                    <a:pt x="2798" y="174"/>
                  </a:lnTo>
                  <a:lnTo>
                    <a:pt x="2796" y="174"/>
                  </a:lnTo>
                  <a:lnTo>
                    <a:pt x="2792" y="174"/>
                  </a:lnTo>
                  <a:lnTo>
                    <a:pt x="2788" y="176"/>
                  </a:lnTo>
                  <a:lnTo>
                    <a:pt x="2785" y="176"/>
                  </a:lnTo>
                  <a:lnTo>
                    <a:pt x="2782" y="176"/>
                  </a:lnTo>
                  <a:lnTo>
                    <a:pt x="2785" y="178"/>
                  </a:lnTo>
                  <a:lnTo>
                    <a:pt x="2779" y="176"/>
                  </a:lnTo>
                  <a:lnTo>
                    <a:pt x="2776" y="174"/>
                  </a:lnTo>
                  <a:lnTo>
                    <a:pt x="2773" y="171"/>
                  </a:lnTo>
                  <a:lnTo>
                    <a:pt x="2773" y="170"/>
                  </a:lnTo>
                  <a:lnTo>
                    <a:pt x="2773" y="168"/>
                  </a:lnTo>
                  <a:lnTo>
                    <a:pt x="2776" y="166"/>
                  </a:lnTo>
                  <a:lnTo>
                    <a:pt x="2779" y="165"/>
                  </a:lnTo>
                  <a:lnTo>
                    <a:pt x="2784" y="165"/>
                  </a:lnTo>
                  <a:lnTo>
                    <a:pt x="2787" y="166"/>
                  </a:lnTo>
                  <a:lnTo>
                    <a:pt x="2788" y="166"/>
                  </a:lnTo>
                  <a:lnTo>
                    <a:pt x="2792" y="166"/>
                  </a:lnTo>
                  <a:lnTo>
                    <a:pt x="2796" y="166"/>
                  </a:lnTo>
                  <a:lnTo>
                    <a:pt x="2800" y="165"/>
                  </a:lnTo>
                  <a:lnTo>
                    <a:pt x="2803" y="165"/>
                  </a:lnTo>
                  <a:lnTo>
                    <a:pt x="2808" y="163"/>
                  </a:lnTo>
                  <a:lnTo>
                    <a:pt x="2811" y="163"/>
                  </a:lnTo>
                  <a:lnTo>
                    <a:pt x="2808" y="162"/>
                  </a:lnTo>
                  <a:lnTo>
                    <a:pt x="2804" y="158"/>
                  </a:lnTo>
                  <a:lnTo>
                    <a:pt x="2800" y="158"/>
                  </a:lnTo>
                  <a:lnTo>
                    <a:pt x="2796" y="157"/>
                  </a:lnTo>
                  <a:lnTo>
                    <a:pt x="2793" y="155"/>
                  </a:lnTo>
                  <a:lnTo>
                    <a:pt x="2788" y="154"/>
                  </a:lnTo>
                  <a:lnTo>
                    <a:pt x="2785" y="152"/>
                  </a:lnTo>
                  <a:lnTo>
                    <a:pt x="2796" y="152"/>
                  </a:lnTo>
                  <a:lnTo>
                    <a:pt x="2808" y="154"/>
                  </a:lnTo>
                  <a:lnTo>
                    <a:pt x="2819" y="157"/>
                  </a:lnTo>
                  <a:lnTo>
                    <a:pt x="2830" y="158"/>
                  </a:lnTo>
                  <a:lnTo>
                    <a:pt x="2852" y="158"/>
                  </a:lnTo>
                  <a:lnTo>
                    <a:pt x="2874" y="160"/>
                  </a:lnTo>
                  <a:lnTo>
                    <a:pt x="2898" y="162"/>
                  </a:lnTo>
                  <a:lnTo>
                    <a:pt x="2920" y="163"/>
                  </a:lnTo>
                  <a:lnTo>
                    <a:pt x="2942" y="166"/>
                  </a:lnTo>
                  <a:lnTo>
                    <a:pt x="2965" y="171"/>
                  </a:lnTo>
                  <a:lnTo>
                    <a:pt x="2952" y="171"/>
                  </a:lnTo>
                  <a:lnTo>
                    <a:pt x="2939" y="170"/>
                  </a:lnTo>
                  <a:lnTo>
                    <a:pt x="2933" y="170"/>
                  </a:lnTo>
                  <a:lnTo>
                    <a:pt x="2928" y="171"/>
                  </a:lnTo>
                  <a:lnTo>
                    <a:pt x="2925" y="170"/>
                  </a:lnTo>
                  <a:lnTo>
                    <a:pt x="2922" y="168"/>
                  </a:lnTo>
                  <a:lnTo>
                    <a:pt x="2917" y="168"/>
                  </a:lnTo>
                  <a:lnTo>
                    <a:pt x="2914" y="168"/>
                  </a:lnTo>
                  <a:lnTo>
                    <a:pt x="2911" y="170"/>
                  </a:lnTo>
                  <a:lnTo>
                    <a:pt x="2911" y="171"/>
                  </a:lnTo>
                  <a:lnTo>
                    <a:pt x="2911" y="174"/>
                  </a:lnTo>
                  <a:lnTo>
                    <a:pt x="2906" y="173"/>
                  </a:lnTo>
                  <a:lnTo>
                    <a:pt x="2903" y="173"/>
                  </a:lnTo>
                  <a:lnTo>
                    <a:pt x="2903" y="174"/>
                  </a:lnTo>
                  <a:lnTo>
                    <a:pt x="2903" y="174"/>
                  </a:lnTo>
                  <a:lnTo>
                    <a:pt x="2907" y="174"/>
                  </a:lnTo>
                  <a:lnTo>
                    <a:pt x="2911" y="176"/>
                  </a:lnTo>
                  <a:lnTo>
                    <a:pt x="2914" y="176"/>
                  </a:lnTo>
                  <a:lnTo>
                    <a:pt x="2919" y="174"/>
                  </a:lnTo>
                  <a:lnTo>
                    <a:pt x="2922" y="174"/>
                  </a:lnTo>
                  <a:lnTo>
                    <a:pt x="2925" y="173"/>
                  </a:lnTo>
                  <a:lnTo>
                    <a:pt x="2930" y="173"/>
                  </a:lnTo>
                  <a:lnTo>
                    <a:pt x="2933" y="173"/>
                  </a:lnTo>
                  <a:lnTo>
                    <a:pt x="2942" y="173"/>
                  </a:lnTo>
                  <a:lnTo>
                    <a:pt x="2950" y="171"/>
                  </a:lnTo>
                  <a:lnTo>
                    <a:pt x="2955" y="171"/>
                  </a:lnTo>
                  <a:lnTo>
                    <a:pt x="2958" y="171"/>
                  </a:lnTo>
                  <a:lnTo>
                    <a:pt x="2961" y="171"/>
                  </a:lnTo>
                  <a:lnTo>
                    <a:pt x="2966" y="171"/>
                  </a:lnTo>
                  <a:lnTo>
                    <a:pt x="2969" y="174"/>
                  </a:lnTo>
                  <a:lnTo>
                    <a:pt x="2969" y="179"/>
                  </a:lnTo>
                  <a:lnTo>
                    <a:pt x="2968" y="182"/>
                  </a:lnTo>
                  <a:lnTo>
                    <a:pt x="2968" y="184"/>
                  </a:lnTo>
                  <a:lnTo>
                    <a:pt x="2966" y="187"/>
                  </a:lnTo>
                  <a:lnTo>
                    <a:pt x="2963" y="184"/>
                  </a:lnTo>
                  <a:lnTo>
                    <a:pt x="2961" y="181"/>
                  </a:lnTo>
                  <a:lnTo>
                    <a:pt x="2960" y="178"/>
                  </a:lnTo>
                  <a:lnTo>
                    <a:pt x="2957" y="176"/>
                  </a:lnTo>
                  <a:lnTo>
                    <a:pt x="2955" y="179"/>
                  </a:lnTo>
                  <a:lnTo>
                    <a:pt x="2952" y="178"/>
                  </a:lnTo>
                  <a:lnTo>
                    <a:pt x="2949" y="176"/>
                  </a:lnTo>
                  <a:lnTo>
                    <a:pt x="2946" y="174"/>
                  </a:lnTo>
                  <a:lnTo>
                    <a:pt x="2941" y="174"/>
                  </a:lnTo>
                  <a:lnTo>
                    <a:pt x="2946" y="176"/>
                  </a:lnTo>
                  <a:lnTo>
                    <a:pt x="2947" y="179"/>
                  </a:lnTo>
                  <a:lnTo>
                    <a:pt x="2950" y="181"/>
                  </a:lnTo>
                  <a:lnTo>
                    <a:pt x="2953" y="181"/>
                  </a:lnTo>
                  <a:lnTo>
                    <a:pt x="2957" y="185"/>
                  </a:lnTo>
                  <a:lnTo>
                    <a:pt x="2953" y="185"/>
                  </a:lnTo>
                  <a:lnTo>
                    <a:pt x="2950" y="185"/>
                  </a:lnTo>
                  <a:lnTo>
                    <a:pt x="2946" y="185"/>
                  </a:lnTo>
                  <a:lnTo>
                    <a:pt x="2942" y="184"/>
                  </a:lnTo>
                  <a:lnTo>
                    <a:pt x="2939" y="184"/>
                  </a:lnTo>
                  <a:lnTo>
                    <a:pt x="2934" y="184"/>
                  </a:lnTo>
                  <a:lnTo>
                    <a:pt x="2938" y="185"/>
                  </a:lnTo>
                  <a:lnTo>
                    <a:pt x="2942" y="185"/>
                  </a:lnTo>
                  <a:lnTo>
                    <a:pt x="2946" y="189"/>
                  </a:lnTo>
                  <a:lnTo>
                    <a:pt x="2942" y="190"/>
                  </a:lnTo>
                  <a:lnTo>
                    <a:pt x="2946" y="192"/>
                  </a:lnTo>
                  <a:lnTo>
                    <a:pt x="2949" y="193"/>
                  </a:lnTo>
                  <a:lnTo>
                    <a:pt x="2952" y="193"/>
                  </a:lnTo>
                  <a:lnTo>
                    <a:pt x="2957" y="193"/>
                  </a:lnTo>
                  <a:lnTo>
                    <a:pt x="2960" y="190"/>
                  </a:lnTo>
                  <a:lnTo>
                    <a:pt x="2963" y="190"/>
                  </a:lnTo>
                  <a:lnTo>
                    <a:pt x="2968" y="190"/>
                  </a:lnTo>
                  <a:lnTo>
                    <a:pt x="2971" y="189"/>
                  </a:lnTo>
                  <a:lnTo>
                    <a:pt x="2972" y="185"/>
                  </a:lnTo>
                  <a:lnTo>
                    <a:pt x="2972" y="182"/>
                  </a:lnTo>
                  <a:lnTo>
                    <a:pt x="2972" y="179"/>
                  </a:lnTo>
                  <a:lnTo>
                    <a:pt x="2972" y="176"/>
                  </a:lnTo>
                  <a:lnTo>
                    <a:pt x="2974" y="171"/>
                  </a:lnTo>
                  <a:lnTo>
                    <a:pt x="2984" y="171"/>
                  </a:lnTo>
                  <a:lnTo>
                    <a:pt x="2996" y="171"/>
                  </a:lnTo>
                  <a:lnTo>
                    <a:pt x="3007" y="171"/>
                  </a:lnTo>
                  <a:lnTo>
                    <a:pt x="3017" y="173"/>
                  </a:lnTo>
                  <a:lnTo>
                    <a:pt x="3030" y="174"/>
                  </a:lnTo>
                  <a:lnTo>
                    <a:pt x="3042" y="176"/>
                  </a:lnTo>
                  <a:lnTo>
                    <a:pt x="3053" y="179"/>
                  </a:lnTo>
                  <a:lnTo>
                    <a:pt x="3066" y="184"/>
                  </a:lnTo>
                  <a:lnTo>
                    <a:pt x="3066" y="189"/>
                  </a:lnTo>
                  <a:lnTo>
                    <a:pt x="3063" y="190"/>
                  </a:lnTo>
                  <a:lnTo>
                    <a:pt x="3060" y="189"/>
                  </a:lnTo>
                  <a:lnTo>
                    <a:pt x="3055" y="187"/>
                  </a:lnTo>
                  <a:lnTo>
                    <a:pt x="3053" y="187"/>
                  </a:lnTo>
                  <a:lnTo>
                    <a:pt x="3050" y="185"/>
                  </a:lnTo>
                  <a:lnTo>
                    <a:pt x="3050" y="190"/>
                  </a:lnTo>
                  <a:lnTo>
                    <a:pt x="3045" y="189"/>
                  </a:lnTo>
                  <a:lnTo>
                    <a:pt x="3042" y="189"/>
                  </a:lnTo>
                  <a:lnTo>
                    <a:pt x="3045" y="193"/>
                  </a:lnTo>
                  <a:lnTo>
                    <a:pt x="3050" y="193"/>
                  </a:lnTo>
                  <a:lnTo>
                    <a:pt x="3053" y="192"/>
                  </a:lnTo>
                  <a:lnTo>
                    <a:pt x="3057" y="192"/>
                  </a:lnTo>
                  <a:lnTo>
                    <a:pt x="3061" y="193"/>
                  </a:lnTo>
                  <a:lnTo>
                    <a:pt x="3069" y="193"/>
                  </a:lnTo>
                  <a:lnTo>
                    <a:pt x="3074" y="193"/>
                  </a:lnTo>
                  <a:lnTo>
                    <a:pt x="3077" y="193"/>
                  </a:lnTo>
                  <a:lnTo>
                    <a:pt x="3082" y="200"/>
                  </a:lnTo>
                  <a:lnTo>
                    <a:pt x="3085" y="198"/>
                  </a:lnTo>
                  <a:lnTo>
                    <a:pt x="3088" y="198"/>
                  </a:lnTo>
                  <a:lnTo>
                    <a:pt x="3091" y="198"/>
                  </a:lnTo>
                  <a:lnTo>
                    <a:pt x="3095" y="198"/>
                  </a:lnTo>
                  <a:lnTo>
                    <a:pt x="3099" y="198"/>
                  </a:lnTo>
                  <a:lnTo>
                    <a:pt x="3103" y="200"/>
                  </a:lnTo>
                  <a:lnTo>
                    <a:pt x="3104" y="204"/>
                  </a:lnTo>
                  <a:lnTo>
                    <a:pt x="3099" y="206"/>
                  </a:lnTo>
                  <a:lnTo>
                    <a:pt x="3096" y="208"/>
                  </a:lnTo>
                  <a:lnTo>
                    <a:pt x="3098" y="208"/>
                  </a:lnTo>
                  <a:lnTo>
                    <a:pt x="3101" y="206"/>
                  </a:lnTo>
                  <a:lnTo>
                    <a:pt x="3104" y="204"/>
                  </a:lnTo>
                  <a:lnTo>
                    <a:pt x="3107" y="204"/>
                  </a:lnTo>
                  <a:lnTo>
                    <a:pt x="3110" y="203"/>
                  </a:lnTo>
                  <a:lnTo>
                    <a:pt x="3115" y="203"/>
                  </a:lnTo>
                  <a:lnTo>
                    <a:pt x="3118" y="203"/>
                  </a:lnTo>
                  <a:lnTo>
                    <a:pt x="3123" y="203"/>
                  </a:lnTo>
                  <a:lnTo>
                    <a:pt x="3126" y="204"/>
                  </a:lnTo>
                  <a:lnTo>
                    <a:pt x="3129" y="204"/>
                  </a:lnTo>
                  <a:lnTo>
                    <a:pt x="3134" y="204"/>
                  </a:lnTo>
                  <a:lnTo>
                    <a:pt x="3137" y="208"/>
                  </a:lnTo>
                  <a:lnTo>
                    <a:pt x="3142" y="209"/>
                  </a:lnTo>
                  <a:lnTo>
                    <a:pt x="3145" y="209"/>
                  </a:lnTo>
                  <a:lnTo>
                    <a:pt x="3149" y="211"/>
                  </a:lnTo>
                  <a:lnTo>
                    <a:pt x="3153" y="212"/>
                  </a:lnTo>
                  <a:lnTo>
                    <a:pt x="3156" y="214"/>
                  </a:lnTo>
                  <a:lnTo>
                    <a:pt x="3160" y="216"/>
                  </a:lnTo>
                  <a:lnTo>
                    <a:pt x="3156" y="217"/>
                  </a:lnTo>
                  <a:lnTo>
                    <a:pt x="3153" y="216"/>
                  </a:lnTo>
                  <a:lnTo>
                    <a:pt x="3149" y="216"/>
                  </a:lnTo>
                  <a:lnTo>
                    <a:pt x="3163" y="219"/>
                  </a:lnTo>
                  <a:lnTo>
                    <a:pt x="3177" y="220"/>
                  </a:lnTo>
                  <a:lnTo>
                    <a:pt x="3193" y="220"/>
                  </a:lnTo>
                  <a:lnTo>
                    <a:pt x="3207" y="220"/>
                  </a:lnTo>
                  <a:lnTo>
                    <a:pt x="3207" y="220"/>
                  </a:lnTo>
                  <a:lnTo>
                    <a:pt x="3210" y="219"/>
                  </a:lnTo>
                  <a:lnTo>
                    <a:pt x="3214" y="217"/>
                  </a:lnTo>
                  <a:lnTo>
                    <a:pt x="3218" y="217"/>
                  </a:lnTo>
                  <a:lnTo>
                    <a:pt x="3221" y="217"/>
                  </a:lnTo>
                  <a:lnTo>
                    <a:pt x="3225" y="216"/>
                  </a:lnTo>
                  <a:lnTo>
                    <a:pt x="3228" y="216"/>
                  </a:lnTo>
                  <a:lnTo>
                    <a:pt x="3241" y="214"/>
                  </a:lnTo>
                  <a:lnTo>
                    <a:pt x="3255" y="212"/>
                  </a:lnTo>
                  <a:lnTo>
                    <a:pt x="3267" y="212"/>
                  </a:lnTo>
                  <a:lnTo>
                    <a:pt x="3280" y="212"/>
                  </a:lnTo>
                  <a:lnTo>
                    <a:pt x="3291" y="212"/>
                  </a:lnTo>
                  <a:lnTo>
                    <a:pt x="3304" y="214"/>
                  </a:lnTo>
                  <a:lnTo>
                    <a:pt x="3317" y="216"/>
                  </a:lnTo>
                  <a:lnTo>
                    <a:pt x="3329" y="217"/>
                  </a:lnTo>
                  <a:lnTo>
                    <a:pt x="3342" y="219"/>
                  </a:lnTo>
                  <a:lnTo>
                    <a:pt x="3355" y="222"/>
                  </a:lnTo>
                  <a:lnTo>
                    <a:pt x="3369" y="225"/>
                  </a:lnTo>
                  <a:lnTo>
                    <a:pt x="3382" y="231"/>
                  </a:lnTo>
                  <a:lnTo>
                    <a:pt x="3385" y="233"/>
                  </a:lnTo>
                  <a:lnTo>
                    <a:pt x="3390" y="235"/>
                  </a:lnTo>
                  <a:lnTo>
                    <a:pt x="3390" y="235"/>
                  </a:lnTo>
                  <a:lnTo>
                    <a:pt x="3394" y="236"/>
                  </a:lnTo>
                  <a:lnTo>
                    <a:pt x="3398" y="239"/>
                  </a:lnTo>
                  <a:lnTo>
                    <a:pt x="3401" y="243"/>
                  </a:lnTo>
                  <a:lnTo>
                    <a:pt x="3404" y="246"/>
                  </a:lnTo>
                  <a:lnTo>
                    <a:pt x="3399" y="244"/>
                  </a:lnTo>
                  <a:lnTo>
                    <a:pt x="3396" y="244"/>
                  </a:lnTo>
                  <a:lnTo>
                    <a:pt x="3399" y="246"/>
                  </a:lnTo>
                  <a:lnTo>
                    <a:pt x="3404" y="246"/>
                  </a:lnTo>
                  <a:lnTo>
                    <a:pt x="3407" y="249"/>
                  </a:lnTo>
                  <a:lnTo>
                    <a:pt x="3407" y="254"/>
                  </a:lnTo>
                  <a:lnTo>
                    <a:pt x="3410" y="255"/>
                  </a:lnTo>
                  <a:lnTo>
                    <a:pt x="3413" y="255"/>
                  </a:lnTo>
                  <a:lnTo>
                    <a:pt x="3417" y="257"/>
                  </a:lnTo>
                  <a:lnTo>
                    <a:pt x="3421" y="258"/>
                  </a:lnTo>
                  <a:lnTo>
                    <a:pt x="3423" y="258"/>
                  </a:lnTo>
                  <a:lnTo>
                    <a:pt x="3426" y="258"/>
                  </a:lnTo>
                  <a:lnTo>
                    <a:pt x="3431" y="258"/>
                  </a:lnTo>
                  <a:lnTo>
                    <a:pt x="3434" y="262"/>
                  </a:lnTo>
                  <a:lnTo>
                    <a:pt x="3437" y="260"/>
                  </a:lnTo>
                  <a:lnTo>
                    <a:pt x="3440" y="260"/>
                  </a:lnTo>
                  <a:lnTo>
                    <a:pt x="3445" y="262"/>
                  </a:lnTo>
                  <a:lnTo>
                    <a:pt x="3448" y="262"/>
                  </a:lnTo>
                  <a:lnTo>
                    <a:pt x="3451" y="262"/>
                  </a:lnTo>
                  <a:lnTo>
                    <a:pt x="3455" y="263"/>
                  </a:lnTo>
                  <a:lnTo>
                    <a:pt x="3459" y="265"/>
                  </a:lnTo>
                  <a:lnTo>
                    <a:pt x="3461" y="265"/>
                  </a:lnTo>
                  <a:lnTo>
                    <a:pt x="3463" y="263"/>
                  </a:lnTo>
                  <a:lnTo>
                    <a:pt x="3466" y="262"/>
                  </a:lnTo>
                  <a:lnTo>
                    <a:pt x="3470" y="262"/>
                  </a:lnTo>
                  <a:lnTo>
                    <a:pt x="3474" y="260"/>
                  </a:lnTo>
                  <a:lnTo>
                    <a:pt x="3477" y="262"/>
                  </a:lnTo>
                  <a:lnTo>
                    <a:pt x="3478" y="262"/>
                  </a:lnTo>
                  <a:lnTo>
                    <a:pt x="3482" y="262"/>
                  </a:lnTo>
                  <a:lnTo>
                    <a:pt x="3483" y="262"/>
                  </a:lnTo>
                  <a:lnTo>
                    <a:pt x="3485" y="260"/>
                  </a:lnTo>
                  <a:lnTo>
                    <a:pt x="3488" y="260"/>
                  </a:lnTo>
                  <a:lnTo>
                    <a:pt x="3491" y="260"/>
                  </a:lnTo>
                  <a:lnTo>
                    <a:pt x="3494" y="260"/>
                  </a:lnTo>
                  <a:lnTo>
                    <a:pt x="3497" y="262"/>
                  </a:lnTo>
                  <a:lnTo>
                    <a:pt x="3502" y="260"/>
                  </a:lnTo>
                  <a:lnTo>
                    <a:pt x="3505" y="258"/>
                  </a:lnTo>
                  <a:lnTo>
                    <a:pt x="3509" y="258"/>
                  </a:lnTo>
                  <a:lnTo>
                    <a:pt x="3516" y="260"/>
                  </a:lnTo>
                  <a:lnTo>
                    <a:pt x="3520" y="260"/>
                  </a:lnTo>
                  <a:lnTo>
                    <a:pt x="3523" y="258"/>
                  </a:lnTo>
                  <a:lnTo>
                    <a:pt x="3526" y="257"/>
                  </a:lnTo>
                  <a:lnTo>
                    <a:pt x="3531" y="258"/>
                  </a:lnTo>
                  <a:lnTo>
                    <a:pt x="3534" y="260"/>
                  </a:lnTo>
                  <a:lnTo>
                    <a:pt x="3543" y="262"/>
                  </a:lnTo>
                  <a:lnTo>
                    <a:pt x="3553" y="263"/>
                  </a:lnTo>
                  <a:lnTo>
                    <a:pt x="3570" y="263"/>
                  </a:lnTo>
                  <a:lnTo>
                    <a:pt x="3588" y="265"/>
                  </a:lnTo>
                  <a:lnTo>
                    <a:pt x="3596" y="266"/>
                  </a:lnTo>
                  <a:lnTo>
                    <a:pt x="3605" y="265"/>
                  </a:lnTo>
                  <a:lnTo>
                    <a:pt x="3610" y="266"/>
                  </a:lnTo>
                  <a:lnTo>
                    <a:pt x="3615" y="265"/>
                  </a:lnTo>
                  <a:lnTo>
                    <a:pt x="3618" y="262"/>
                  </a:lnTo>
                  <a:lnTo>
                    <a:pt x="3620" y="257"/>
                  </a:lnTo>
                  <a:lnTo>
                    <a:pt x="3623" y="257"/>
                  </a:lnTo>
                  <a:lnTo>
                    <a:pt x="3627" y="258"/>
                  </a:lnTo>
                  <a:lnTo>
                    <a:pt x="3631" y="258"/>
                  </a:lnTo>
                  <a:lnTo>
                    <a:pt x="3634" y="262"/>
                  </a:lnTo>
                  <a:lnTo>
                    <a:pt x="3637" y="263"/>
                  </a:lnTo>
                  <a:lnTo>
                    <a:pt x="3640" y="263"/>
                  </a:lnTo>
                  <a:lnTo>
                    <a:pt x="3645" y="265"/>
                  </a:lnTo>
                  <a:lnTo>
                    <a:pt x="3648" y="266"/>
                  </a:lnTo>
                  <a:lnTo>
                    <a:pt x="3651" y="270"/>
                  </a:lnTo>
                  <a:lnTo>
                    <a:pt x="3654" y="273"/>
                  </a:lnTo>
                  <a:lnTo>
                    <a:pt x="3659" y="274"/>
                  </a:lnTo>
                  <a:lnTo>
                    <a:pt x="3662" y="276"/>
                  </a:lnTo>
                  <a:lnTo>
                    <a:pt x="3672" y="276"/>
                  </a:lnTo>
                  <a:lnTo>
                    <a:pt x="3681" y="277"/>
                  </a:lnTo>
                  <a:lnTo>
                    <a:pt x="3685" y="279"/>
                  </a:lnTo>
                  <a:lnTo>
                    <a:pt x="3688" y="279"/>
                  </a:lnTo>
                  <a:lnTo>
                    <a:pt x="3693" y="281"/>
                  </a:lnTo>
                  <a:lnTo>
                    <a:pt x="3696" y="281"/>
                  </a:lnTo>
                  <a:lnTo>
                    <a:pt x="3705" y="285"/>
                  </a:lnTo>
                  <a:lnTo>
                    <a:pt x="3715" y="290"/>
                  </a:lnTo>
                  <a:lnTo>
                    <a:pt x="3729" y="290"/>
                  </a:lnTo>
                  <a:lnTo>
                    <a:pt x="3745" y="292"/>
                  </a:lnTo>
                  <a:lnTo>
                    <a:pt x="3745" y="292"/>
                  </a:lnTo>
                  <a:lnTo>
                    <a:pt x="3742" y="290"/>
                  </a:lnTo>
                  <a:lnTo>
                    <a:pt x="3739" y="287"/>
                  </a:lnTo>
                  <a:lnTo>
                    <a:pt x="3742" y="289"/>
                  </a:lnTo>
                  <a:lnTo>
                    <a:pt x="3745" y="290"/>
                  </a:lnTo>
                  <a:lnTo>
                    <a:pt x="3743" y="289"/>
                  </a:lnTo>
                  <a:lnTo>
                    <a:pt x="3739" y="285"/>
                  </a:lnTo>
                  <a:lnTo>
                    <a:pt x="3742" y="282"/>
                  </a:lnTo>
                  <a:lnTo>
                    <a:pt x="3742" y="282"/>
                  </a:lnTo>
                  <a:lnTo>
                    <a:pt x="3729" y="274"/>
                  </a:lnTo>
                  <a:lnTo>
                    <a:pt x="3716" y="268"/>
                  </a:lnTo>
                  <a:lnTo>
                    <a:pt x="3713" y="268"/>
                  </a:lnTo>
                  <a:lnTo>
                    <a:pt x="3708" y="265"/>
                  </a:lnTo>
                  <a:lnTo>
                    <a:pt x="3705" y="263"/>
                  </a:lnTo>
                  <a:lnTo>
                    <a:pt x="3702" y="263"/>
                  </a:lnTo>
                  <a:lnTo>
                    <a:pt x="3697" y="263"/>
                  </a:lnTo>
                  <a:lnTo>
                    <a:pt x="3694" y="263"/>
                  </a:lnTo>
                  <a:lnTo>
                    <a:pt x="3691" y="262"/>
                  </a:lnTo>
                  <a:lnTo>
                    <a:pt x="3691" y="258"/>
                  </a:lnTo>
                  <a:lnTo>
                    <a:pt x="3694" y="257"/>
                  </a:lnTo>
                  <a:lnTo>
                    <a:pt x="3685" y="249"/>
                  </a:lnTo>
                  <a:lnTo>
                    <a:pt x="3673" y="244"/>
                  </a:lnTo>
                  <a:lnTo>
                    <a:pt x="3696" y="247"/>
                  </a:lnTo>
                  <a:lnTo>
                    <a:pt x="3719" y="249"/>
                  </a:lnTo>
                  <a:lnTo>
                    <a:pt x="3729" y="250"/>
                  </a:lnTo>
                  <a:lnTo>
                    <a:pt x="3739" y="250"/>
                  </a:lnTo>
                  <a:lnTo>
                    <a:pt x="3743" y="250"/>
                  </a:lnTo>
                  <a:lnTo>
                    <a:pt x="3746" y="252"/>
                  </a:lnTo>
                  <a:lnTo>
                    <a:pt x="3750" y="254"/>
                  </a:lnTo>
                  <a:lnTo>
                    <a:pt x="3754" y="254"/>
                  </a:lnTo>
                  <a:lnTo>
                    <a:pt x="3761" y="255"/>
                  </a:lnTo>
                  <a:lnTo>
                    <a:pt x="3764" y="257"/>
                  </a:lnTo>
                  <a:lnTo>
                    <a:pt x="3767" y="255"/>
                  </a:lnTo>
                  <a:lnTo>
                    <a:pt x="3764" y="254"/>
                  </a:lnTo>
                  <a:lnTo>
                    <a:pt x="3759" y="252"/>
                  </a:lnTo>
                  <a:lnTo>
                    <a:pt x="3756" y="252"/>
                  </a:lnTo>
                  <a:lnTo>
                    <a:pt x="3767" y="252"/>
                  </a:lnTo>
                  <a:lnTo>
                    <a:pt x="3778" y="254"/>
                  </a:lnTo>
                  <a:lnTo>
                    <a:pt x="3789" y="254"/>
                  </a:lnTo>
                  <a:lnTo>
                    <a:pt x="3800" y="254"/>
                  </a:lnTo>
                  <a:lnTo>
                    <a:pt x="3816" y="254"/>
                  </a:lnTo>
                  <a:lnTo>
                    <a:pt x="3819" y="254"/>
                  </a:lnTo>
                  <a:lnTo>
                    <a:pt x="3826" y="252"/>
                  </a:lnTo>
                  <a:lnTo>
                    <a:pt x="3832" y="254"/>
                  </a:lnTo>
                  <a:lnTo>
                    <a:pt x="3838" y="254"/>
                  </a:lnTo>
                  <a:lnTo>
                    <a:pt x="3843" y="257"/>
                  </a:lnTo>
                  <a:lnTo>
                    <a:pt x="3856" y="258"/>
                  </a:lnTo>
                  <a:lnTo>
                    <a:pt x="3865" y="262"/>
                  </a:lnTo>
                  <a:lnTo>
                    <a:pt x="3878" y="262"/>
                  </a:lnTo>
                  <a:lnTo>
                    <a:pt x="3889" y="263"/>
                  </a:lnTo>
                  <a:lnTo>
                    <a:pt x="3892" y="265"/>
                  </a:lnTo>
                  <a:lnTo>
                    <a:pt x="3896" y="265"/>
                  </a:lnTo>
                  <a:lnTo>
                    <a:pt x="3899" y="266"/>
                  </a:lnTo>
                  <a:lnTo>
                    <a:pt x="3903" y="266"/>
                  </a:lnTo>
                  <a:lnTo>
                    <a:pt x="3907" y="268"/>
                  </a:lnTo>
                  <a:lnTo>
                    <a:pt x="3911" y="268"/>
                  </a:lnTo>
                  <a:lnTo>
                    <a:pt x="3924" y="270"/>
                  </a:lnTo>
                  <a:lnTo>
                    <a:pt x="3937" y="273"/>
                  </a:lnTo>
                  <a:lnTo>
                    <a:pt x="3934" y="273"/>
                  </a:lnTo>
                  <a:lnTo>
                    <a:pt x="3929" y="271"/>
                  </a:lnTo>
                  <a:lnTo>
                    <a:pt x="3926" y="271"/>
                  </a:lnTo>
                  <a:lnTo>
                    <a:pt x="3930" y="273"/>
                  </a:lnTo>
                  <a:lnTo>
                    <a:pt x="3934" y="274"/>
                  </a:lnTo>
                  <a:lnTo>
                    <a:pt x="3937" y="274"/>
                  </a:lnTo>
                  <a:lnTo>
                    <a:pt x="3942" y="274"/>
                  </a:lnTo>
                  <a:lnTo>
                    <a:pt x="3945" y="274"/>
                  </a:lnTo>
                  <a:lnTo>
                    <a:pt x="3949" y="274"/>
                  </a:lnTo>
                  <a:lnTo>
                    <a:pt x="3953" y="276"/>
                  </a:lnTo>
                  <a:lnTo>
                    <a:pt x="3965" y="279"/>
                  </a:lnTo>
                  <a:lnTo>
                    <a:pt x="3978" y="284"/>
                  </a:lnTo>
                  <a:lnTo>
                    <a:pt x="3973" y="282"/>
                  </a:lnTo>
                  <a:lnTo>
                    <a:pt x="3967" y="281"/>
                  </a:lnTo>
                  <a:lnTo>
                    <a:pt x="3964" y="281"/>
                  </a:lnTo>
                  <a:lnTo>
                    <a:pt x="3972" y="284"/>
                  </a:lnTo>
                  <a:lnTo>
                    <a:pt x="3981" y="284"/>
                  </a:lnTo>
                  <a:lnTo>
                    <a:pt x="3984" y="285"/>
                  </a:lnTo>
                  <a:lnTo>
                    <a:pt x="3988" y="285"/>
                  </a:lnTo>
                  <a:lnTo>
                    <a:pt x="3992" y="287"/>
                  </a:lnTo>
                  <a:lnTo>
                    <a:pt x="3995" y="285"/>
                  </a:lnTo>
                  <a:lnTo>
                    <a:pt x="3999" y="287"/>
                  </a:lnTo>
                  <a:lnTo>
                    <a:pt x="4007" y="290"/>
                  </a:lnTo>
                  <a:lnTo>
                    <a:pt x="4016" y="292"/>
                  </a:lnTo>
                  <a:lnTo>
                    <a:pt x="4029" y="293"/>
                  </a:lnTo>
                  <a:lnTo>
                    <a:pt x="4040" y="298"/>
                  </a:lnTo>
                  <a:lnTo>
                    <a:pt x="4038" y="296"/>
                  </a:lnTo>
                  <a:lnTo>
                    <a:pt x="4034" y="296"/>
                  </a:lnTo>
                  <a:lnTo>
                    <a:pt x="4030" y="295"/>
                  </a:lnTo>
                  <a:lnTo>
                    <a:pt x="4037" y="298"/>
                  </a:lnTo>
                  <a:lnTo>
                    <a:pt x="4041" y="300"/>
                  </a:lnTo>
                  <a:lnTo>
                    <a:pt x="4046" y="301"/>
                  </a:lnTo>
                  <a:lnTo>
                    <a:pt x="4053" y="301"/>
                  </a:lnTo>
                  <a:lnTo>
                    <a:pt x="4057" y="303"/>
                  </a:lnTo>
                  <a:lnTo>
                    <a:pt x="4060" y="303"/>
                  </a:lnTo>
                  <a:lnTo>
                    <a:pt x="4064" y="304"/>
                  </a:lnTo>
                  <a:lnTo>
                    <a:pt x="4068" y="306"/>
                  </a:lnTo>
                  <a:lnTo>
                    <a:pt x="4072" y="308"/>
                  </a:lnTo>
                  <a:lnTo>
                    <a:pt x="4075" y="306"/>
                  </a:lnTo>
                  <a:lnTo>
                    <a:pt x="4064" y="303"/>
                  </a:lnTo>
                  <a:lnTo>
                    <a:pt x="4053" y="301"/>
                  </a:lnTo>
                  <a:lnTo>
                    <a:pt x="4067" y="304"/>
                  </a:lnTo>
                  <a:lnTo>
                    <a:pt x="4083" y="308"/>
                  </a:lnTo>
                  <a:lnTo>
                    <a:pt x="4079" y="308"/>
                  </a:lnTo>
                  <a:lnTo>
                    <a:pt x="4083" y="311"/>
                  </a:lnTo>
                  <a:lnTo>
                    <a:pt x="4084" y="312"/>
                  </a:lnTo>
                  <a:lnTo>
                    <a:pt x="4089" y="309"/>
                  </a:lnTo>
                  <a:lnTo>
                    <a:pt x="4092" y="311"/>
                  </a:lnTo>
                  <a:lnTo>
                    <a:pt x="4095" y="311"/>
                  </a:lnTo>
                  <a:lnTo>
                    <a:pt x="4100" y="314"/>
                  </a:lnTo>
                  <a:lnTo>
                    <a:pt x="4103" y="312"/>
                  </a:lnTo>
                  <a:lnTo>
                    <a:pt x="4108" y="314"/>
                  </a:lnTo>
                  <a:lnTo>
                    <a:pt x="4119" y="317"/>
                  </a:lnTo>
                  <a:lnTo>
                    <a:pt x="4130" y="320"/>
                  </a:lnTo>
                  <a:lnTo>
                    <a:pt x="4143" y="322"/>
                  </a:lnTo>
                  <a:lnTo>
                    <a:pt x="4154" y="325"/>
                  </a:lnTo>
                  <a:lnTo>
                    <a:pt x="4157" y="327"/>
                  </a:lnTo>
                  <a:lnTo>
                    <a:pt x="4162" y="327"/>
                  </a:lnTo>
                  <a:lnTo>
                    <a:pt x="4165" y="328"/>
                  </a:lnTo>
                  <a:lnTo>
                    <a:pt x="4170" y="330"/>
                  </a:lnTo>
                  <a:lnTo>
                    <a:pt x="4173" y="330"/>
                  </a:lnTo>
                  <a:lnTo>
                    <a:pt x="4173" y="330"/>
                  </a:lnTo>
                  <a:lnTo>
                    <a:pt x="4173" y="330"/>
                  </a:lnTo>
                  <a:lnTo>
                    <a:pt x="4179" y="335"/>
                  </a:lnTo>
                  <a:lnTo>
                    <a:pt x="4184" y="336"/>
                  </a:lnTo>
                  <a:lnTo>
                    <a:pt x="4187" y="338"/>
                  </a:lnTo>
                  <a:lnTo>
                    <a:pt x="4191" y="341"/>
                  </a:lnTo>
                  <a:lnTo>
                    <a:pt x="4194" y="339"/>
                  </a:lnTo>
                  <a:lnTo>
                    <a:pt x="4191" y="338"/>
                  </a:lnTo>
                  <a:lnTo>
                    <a:pt x="4194" y="338"/>
                  </a:lnTo>
                  <a:lnTo>
                    <a:pt x="4197" y="339"/>
                  </a:lnTo>
                  <a:lnTo>
                    <a:pt x="4200" y="339"/>
                  </a:lnTo>
                  <a:lnTo>
                    <a:pt x="4205" y="342"/>
                  </a:lnTo>
                  <a:lnTo>
                    <a:pt x="4208" y="346"/>
                  </a:lnTo>
                  <a:lnTo>
                    <a:pt x="4211" y="349"/>
                  </a:lnTo>
                  <a:lnTo>
                    <a:pt x="4214" y="352"/>
                  </a:lnTo>
                  <a:lnTo>
                    <a:pt x="4219" y="354"/>
                  </a:lnTo>
                  <a:lnTo>
                    <a:pt x="4222" y="355"/>
                  </a:lnTo>
                  <a:lnTo>
                    <a:pt x="4225" y="355"/>
                  </a:lnTo>
                  <a:lnTo>
                    <a:pt x="4229" y="358"/>
                  </a:lnTo>
                  <a:lnTo>
                    <a:pt x="4233" y="360"/>
                  </a:lnTo>
                  <a:lnTo>
                    <a:pt x="4237" y="363"/>
                  </a:lnTo>
                  <a:lnTo>
                    <a:pt x="4233" y="363"/>
                  </a:lnTo>
                  <a:lnTo>
                    <a:pt x="4237" y="366"/>
                  </a:lnTo>
                  <a:lnTo>
                    <a:pt x="4240" y="366"/>
                  </a:lnTo>
                  <a:lnTo>
                    <a:pt x="4243" y="368"/>
                  </a:lnTo>
                  <a:lnTo>
                    <a:pt x="4248" y="368"/>
                  </a:lnTo>
                  <a:lnTo>
                    <a:pt x="4259" y="373"/>
                  </a:lnTo>
                  <a:lnTo>
                    <a:pt x="4267" y="376"/>
                  </a:lnTo>
                  <a:lnTo>
                    <a:pt x="4265" y="373"/>
                  </a:lnTo>
                  <a:lnTo>
                    <a:pt x="4268" y="371"/>
                  </a:lnTo>
                  <a:lnTo>
                    <a:pt x="4273" y="374"/>
                  </a:lnTo>
                  <a:lnTo>
                    <a:pt x="4276" y="377"/>
                  </a:lnTo>
                  <a:lnTo>
                    <a:pt x="4279" y="381"/>
                  </a:lnTo>
                  <a:lnTo>
                    <a:pt x="4284" y="382"/>
                  </a:lnTo>
                  <a:lnTo>
                    <a:pt x="4283" y="381"/>
                  </a:lnTo>
                  <a:lnTo>
                    <a:pt x="4281" y="376"/>
                  </a:lnTo>
                  <a:lnTo>
                    <a:pt x="4278" y="373"/>
                  </a:lnTo>
                  <a:lnTo>
                    <a:pt x="4275" y="373"/>
                  </a:lnTo>
                  <a:lnTo>
                    <a:pt x="4271" y="371"/>
                  </a:lnTo>
                  <a:lnTo>
                    <a:pt x="4267" y="369"/>
                  </a:lnTo>
                  <a:lnTo>
                    <a:pt x="4263" y="369"/>
                  </a:lnTo>
                  <a:lnTo>
                    <a:pt x="4260" y="369"/>
                  </a:lnTo>
                  <a:lnTo>
                    <a:pt x="4257" y="368"/>
                  </a:lnTo>
                  <a:lnTo>
                    <a:pt x="4259" y="365"/>
                  </a:lnTo>
                  <a:lnTo>
                    <a:pt x="4251" y="358"/>
                  </a:lnTo>
                  <a:lnTo>
                    <a:pt x="4241" y="354"/>
                  </a:lnTo>
                  <a:lnTo>
                    <a:pt x="4237" y="354"/>
                  </a:lnTo>
                  <a:lnTo>
                    <a:pt x="4233" y="352"/>
                  </a:lnTo>
                  <a:lnTo>
                    <a:pt x="4230" y="352"/>
                  </a:lnTo>
                  <a:lnTo>
                    <a:pt x="4225" y="350"/>
                  </a:lnTo>
                  <a:lnTo>
                    <a:pt x="4222" y="350"/>
                  </a:lnTo>
                  <a:lnTo>
                    <a:pt x="4232" y="350"/>
                  </a:lnTo>
                  <a:lnTo>
                    <a:pt x="4241" y="350"/>
                  </a:lnTo>
                  <a:lnTo>
                    <a:pt x="4244" y="349"/>
                  </a:lnTo>
                  <a:lnTo>
                    <a:pt x="4249" y="349"/>
                  </a:lnTo>
                  <a:lnTo>
                    <a:pt x="4252" y="352"/>
                  </a:lnTo>
                  <a:lnTo>
                    <a:pt x="4257" y="350"/>
                  </a:lnTo>
                  <a:lnTo>
                    <a:pt x="4260" y="350"/>
                  </a:lnTo>
                  <a:lnTo>
                    <a:pt x="4263" y="352"/>
                  </a:lnTo>
                  <a:lnTo>
                    <a:pt x="4260" y="352"/>
                  </a:lnTo>
                  <a:lnTo>
                    <a:pt x="4263" y="355"/>
                  </a:lnTo>
                  <a:lnTo>
                    <a:pt x="4267" y="358"/>
                  </a:lnTo>
                  <a:lnTo>
                    <a:pt x="4271" y="358"/>
                  </a:lnTo>
                  <a:lnTo>
                    <a:pt x="4268" y="354"/>
                  </a:lnTo>
                  <a:lnTo>
                    <a:pt x="4273" y="355"/>
                  </a:lnTo>
                  <a:lnTo>
                    <a:pt x="4278" y="357"/>
                  </a:lnTo>
                  <a:lnTo>
                    <a:pt x="4283" y="357"/>
                  </a:lnTo>
                  <a:lnTo>
                    <a:pt x="4287" y="355"/>
                  </a:lnTo>
                  <a:lnTo>
                    <a:pt x="4278" y="354"/>
                  </a:lnTo>
                  <a:lnTo>
                    <a:pt x="4268" y="352"/>
                  </a:lnTo>
                  <a:lnTo>
                    <a:pt x="4275" y="352"/>
                  </a:lnTo>
                  <a:lnTo>
                    <a:pt x="4278" y="352"/>
                  </a:lnTo>
                  <a:lnTo>
                    <a:pt x="4281" y="354"/>
                  </a:lnTo>
                  <a:lnTo>
                    <a:pt x="4278" y="354"/>
                  </a:lnTo>
                  <a:lnTo>
                    <a:pt x="4289" y="355"/>
                  </a:lnTo>
                  <a:lnTo>
                    <a:pt x="4302" y="355"/>
                  </a:lnTo>
                  <a:lnTo>
                    <a:pt x="4305" y="355"/>
                  </a:lnTo>
                  <a:lnTo>
                    <a:pt x="4309" y="355"/>
                  </a:lnTo>
                  <a:lnTo>
                    <a:pt x="4313" y="358"/>
                  </a:lnTo>
                  <a:lnTo>
                    <a:pt x="4316" y="360"/>
                  </a:lnTo>
                  <a:lnTo>
                    <a:pt x="4319" y="361"/>
                  </a:lnTo>
                  <a:lnTo>
                    <a:pt x="4324" y="361"/>
                  </a:lnTo>
                  <a:lnTo>
                    <a:pt x="4327" y="363"/>
                  </a:lnTo>
                  <a:lnTo>
                    <a:pt x="4332" y="365"/>
                  </a:lnTo>
                  <a:lnTo>
                    <a:pt x="4335" y="366"/>
                  </a:lnTo>
                  <a:lnTo>
                    <a:pt x="4338" y="368"/>
                  </a:lnTo>
                  <a:lnTo>
                    <a:pt x="4343" y="368"/>
                  </a:lnTo>
                  <a:lnTo>
                    <a:pt x="4346" y="369"/>
                  </a:lnTo>
                  <a:lnTo>
                    <a:pt x="4360" y="373"/>
                  </a:lnTo>
                  <a:lnTo>
                    <a:pt x="4373" y="377"/>
                  </a:lnTo>
                  <a:lnTo>
                    <a:pt x="4373" y="381"/>
                  </a:lnTo>
                  <a:lnTo>
                    <a:pt x="4378" y="377"/>
                  </a:lnTo>
                  <a:lnTo>
                    <a:pt x="4381" y="379"/>
                  </a:lnTo>
                  <a:lnTo>
                    <a:pt x="4384" y="381"/>
                  </a:lnTo>
                  <a:lnTo>
                    <a:pt x="4389" y="382"/>
                  </a:lnTo>
                  <a:lnTo>
                    <a:pt x="4384" y="382"/>
                  </a:lnTo>
                  <a:lnTo>
                    <a:pt x="4389" y="384"/>
                  </a:lnTo>
                  <a:lnTo>
                    <a:pt x="4392" y="382"/>
                  </a:lnTo>
                  <a:lnTo>
                    <a:pt x="4395" y="384"/>
                  </a:lnTo>
                  <a:lnTo>
                    <a:pt x="4401" y="387"/>
                  </a:lnTo>
                  <a:lnTo>
                    <a:pt x="4397" y="392"/>
                  </a:lnTo>
                  <a:lnTo>
                    <a:pt x="4397" y="395"/>
                  </a:lnTo>
                  <a:lnTo>
                    <a:pt x="4400" y="396"/>
                  </a:lnTo>
                  <a:lnTo>
                    <a:pt x="4405" y="400"/>
                  </a:lnTo>
                  <a:lnTo>
                    <a:pt x="4406" y="403"/>
                  </a:lnTo>
                  <a:lnTo>
                    <a:pt x="4389" y="400"/>
                  </a:lnTo>
                  <a:lnTo>
                    <a:pt x="4371" y="395"/>
                  </a:lnTo>
                  <a:lnTo>
                    <a:pt x="4376" y="396"/>
                  </a:lnTo>
                  <a:lnTo>
                    <a:pt x="4379" y="398"/>
                  </a:lnTo>
                  <a:lnTo>
                    <a:pt x="4382" y="400"/>
                  </a:lnTo>
                  <a:lnTo>
                    <a:pt x="4387" y="401"/>
                  </a:lnTo>
                  <a:lnTo>
                    <a:pt x="4390" y="401"/>
                  </a:lnTo>
                  <a:lnTo>
                    <a:pt x="4394" y="403"/>
                  </a:lnTo>
                  <a:lnTo>
                    <a:pt x="4398" y="404"/>
                  </a:lnTo>
                  <a:lnTo>
                    <a:pt x="4400" y="407"/>
                  </a:lnTo>
                  <a:lnTo>
                    <a:pt x="4397" y="407"/>
                  </a:lnTo>
                  <a:lnTo>
                    <a:pt x="4394" y="406"/>
                  </a:lnTo>
                  <a:lnTo>
                    <a:pt x="4389" y="406"/>
                  </a:lnTo>
                  <a:lnTo>
                    <a:pt x="4386" y="406"/>
                  </a:lnTo>
                  <a:lnTo>
                    <a:pt x="4382" y="406"/>
                  </a:lnTo>
                  <a:lnTo>
                    <a:pt x="4378" y="407"/>
                  </a:lnTo>
                  <a:lnTo>
                    <a:pt x="4374" y="407"/>
                  </a:lnTo>
                  <a:lnTo>
                    <a:pt x="4379" y="406"/>
                  </a:lnTo>
                  <a:lnTo>
                    <a:pt x="4370" y="406"/>
                  </a:lnTo>
                  <a:lnTo>
                    <a:pt x="4360" y="403"/>
                  </a:lnTo>
                  <a:lnTo>
                    <a:pt x="4357" y="401"/>
                  </a:lnTo>
                  <a:lnTo>
                    <a:pt x="4354" y="400"/>
                  </a:lnTo>
                  <a:lnTo>
                    <a:pt x="4349" y="400"/>
                  </a:lnTo>
                  <a:lnTo>
                    <a:pt x="4346" y="400"/>
                  </a:lnTo>
                  <a:lnTo>
                    <a:pt x="4343" y="400"/>
                  </a:lnTo>
                  <a:lnTo>
                    <a:pt x="4346" y="401"/>
                  </a:lnTo>
                  <a:lnTo>
                    <a:pt x="4351" y="403"/>
                  </a:lnTo>
                  <a:lnTo>
                    <a:pt x="4354" y="403"/>
                  </a:lnTo>
                  <a:lnTo>
                    <a:pt x="4357" y="403"/>
                  </a:lnTo>
                  <a:lnTo>
                    <a:pt x="4362" y="406"/>
                  </a:lnTo>
                  <a:lnTo>
                    <a:pt x="4365" y="407"/>
                  </a:lnTo>
                  <a:lnTo>
                    <a:pt x="4368" y="409"/>
                  </a:lnTo>
                  <a:lnTo>
                    <a:pt x="4371" y="407"/>
                  </a:lnTo>
                  <a:lnTo>
                    <a:pt x="4374" y="411"/>
                  </a:lnTo>
                  <a:lnTo>
                    <a:pt x="4379" y="414"/>
                  </a:lnTo>
                  <a:lnTo>
                    <a:pt x="4382" y="417"/>
                  </a:lnTo>
                  <a:lnTo>
                    <a:pt x="4379" y="415"/>
                  </a:lnTo>
                  <a:lnTo>
                    <a:pt x="4374" y="415"/>
                  </a:lnTo>
                  <a:lnTo>
                    <a:pt x="4371" y="417"/>
                  </a:lnTo>
                  <a:lnTo>
                    <a:pt x="4379" y="417"/>
                  </a:lnTo>
                  <a:lnTo>
                    <a:pt x="4382" y="417"/>
                  </a:lnTo>
                  <a:lnTo>
                    <a:pt x="4387" y="419"/>
                  </a:lnTo>
                  <a:lnTo>
                    <a:pt x="4394" y="423"/>
                  </a:lnTo>
                  <a:lnTo>
                    <a:pt x="4392" y="428"/>
                  </a:lnTo>
                  <a:lnTo>
                    <a:pt x="4389" y="428"/>
                  </a:lnTo>
                  <a:lnTo>
                    <a:pt x="4384" y="430"/>
                  </a:lnTo>
                  <a:lnTo>
                    <a:pt x="4381" y="430"/>
                  </a:lnTo>
                  <a:lnTo>
                    <a:pt x="4381" y="433"/>
                  </a:lnTo>
                  <a:lnTo>
                    <a:pt x="4384" y="431"/>
                  </a:lnTo>
                  <a:lnTo>
                    <a:pt x="4387" y="431"/>
                  </a:lnTo>
                  <a:lnTo>
                    <a:pt x="4392" y="433"/>
                  </a:lnTo>
                  <a:lnTo>
                    <a:pt x="4389" y="438"/>
                  </a:lnTo>
                  <a:lnTo>
                    <a:pt x="4394" y="436"/>
                  </a:lnTo>
                  <a:lnTo>
                    <a:pt x="4397" y="438"/>
                  </a:lnTo>
                  <a:lnTo>
                    <a:pt x="4400" y="439"/>
                  </a:lnTo>
                  <a:lnTo>
                    <a:pt x="4405" y="439"/>
                  </a:lnTo>
                  <a:lnTo>
                    <a:pt x="4408" y="441"/>
                  </a:lnTo>
                  <a:lnTo>
                    <a:pt x="4411" y="441"/>
                  </a:lnTo>
                  <a:lnTo>
                    <a:pt x="4416" y="442"/>
                  </a:lnTo>
                  <a:lnTo>
                    <a:pt x="4419" y="446"/>
                  </a:lnTo>
                  <a:lnTo>
                    <a:pt x="4416" y="447"/>
                  </a:lnTo>
                  <a:lnTo>
                    <a:pt x="4411" y="446"/>
                  </a:lnTo>
                  <a:lnTo>
                    <a:pt x="4408" y="446"/>
                  </a:lnTo>
                  <a:lnTo>
                    <a:pt x="4405" y="442"/>
                  </a:lnTo>
                  <a:lnTo>
                    <a:pt x="4401" y="444"/>
                  </a:lnTo>
                  <a:lnTo>
                    <a:pt x="4405" y="444"/>
                  </a:lnTo>
                  <a:lnTo>
                    <a:pt x="4408" y="447"/>
                  </a:lnTo>
                  <a:lnTo>
                    <a:pt x="4409" y="450"/>
                  </a:lnTo>
                  <a:lnTo>
                    <a:pt x="4406" y="452"/>
                  </a:lnTo>
                  <a:lnTo>
                    <a:pt x="4405" y="452"/>
                  </a:lnTo>
                  <a:lnTo>
                    <a:pt x="4401" y="450"/>
                  </a:lnTo>
                  <a:lnTo>
                    <a:pt x="4398" y="450"/>
                  </a:lnTo>
                  <a:lnTo>
                    <a:pt x="4394" y="447"/>
                  </a:lnTo>
                  <a:lnTo>
                    <a:pt x="4392" y="444"/>
                  </a:lnTo>
                  <a:lnTo>
                    <a:pt x="4389" y="441"/>
                  </a:lnTo>
                  <a:lnTo>
                    <a:pt x="4386" y="439"/>
                  </a:lnTo>
                  <a:lnTo>
                    <a:pt x="4382" y="438"/>
                  </a:lnTo>
                  <a:lnTo>
                    <a:pt x="4382" y="439"/>
                  </a:lnTo>
                  <a:lnTo>
                    <a:pt x="4387" y="441"/>
                  </a:lnTo>
                  <a:lnTo>
                    <a:pt x="4390" y="446"/>
                  </a:lnTo>
                  <a:lnTo>
                    <a:pt x="4389" y="449"/>
                  </a:lnTo>
                  <a:lnTo>
                    <a:pt x="4386" y="447"/>
                  </a:lnTo>
                  <a:lnTo>
                    <a:pt x="4382" y="447"/>
                  </a:lnTo>
                  <a:lnTo>
                    <a:pt x="4378" y="446"/>
                  </a:lnTo>
                  <a:lnTo>
                    <a:pt x="4374" y="446"/>
                  </a:lnTo>
                  <a:lnTo>
                    <a:pt x="4367" y="442"/>
                  </a:lnTo>
                  <a:lnTo>
                    <a:pt x="4360" y="439"/>
                  </a:lnTo>
                  <a:lnTo>
                    <a:pt x="4355" y="438"/>
                  </a:lnTo>
                  <a:lnTo>
                    <a:pt x="4354" y="436"/>
                  </a:lnTo>
                  <a:lnTo>
                    <a:pt x="4351" y="436"/>
                  </a:lnTo>
                  <a:lnTo>
                    <a:pt x="4348" y="436"/>
                  </a:lnTo>
                  <a:lnTo>
                    <a:pt x="4343" y="434"/>
                  </a:lnTo>
                  <a:lnTo>
                    <a:pt x="4335" y="433"/>
                  </a:lnTo>
                  <a:lnTo>
                    <a:pt x="4325" y="430"/>
                  </a:lnTo>
                  <a:lnTo>
                    <a:pt x="4328" y="433"/>
                  </a:lnTo>
                  <a:lnTo>
                    <a:pt x="4325" y="433"/>
                  </a:lnTo>
                  <a:lnTo>
                    <a:pt x="4322" y="433"/>
                  </a:lnTo>
                  <a:lnTo>
                    <a:pt x="4317" y="433"/>
                  </a:lnTo>
                  <a:lnTo>
                    <a:pt x="4314" y="430"/>
                  </a:lnTo>
                  <a:lnTo>
                    <a:pt x="4311" y="430"/>
                  </a:lnTo>
                  <a:lnTo>
                    <a:pt x="4303" y="426"/>
                  </a:lnTo>
                  <a:lnTo>
                    <a:pt x="4300" y="426"/>
                  </a:lnTo>
                  <a:lnTo>
                    <a:pt x="4295" y="425"/>
                  </a:lnTo>
                  <a:lnTo>
                    <a:pt x="4289" y="419"/>
                  </a:lnTo>
                  <a:lnTo>
                    <a:pt x="4278" y="414"/>
                  </a:lnTo>
                  <a:lnTo>
                    <a:pt x="4267" y="409"/>
                  </a:lnTo>
                  <a:lnTo>
                    <a:pt x="4256" y="406"/>
                  </a:lnTo>
                  <a:lnTo>
                    <a:pt x="4244" y="404"/>
                  </a:lnTo>
                  <a:lnTo>
                    <a:pt x="4238" y="404"/>
                  </a:lnTo>
                  <a:lnTo>
                    <a:pt x="4233" y="403"/>
                  </a:lnTo>
                  <a:lnTo>
                    <a:pt x="4230" y="403"/>
                  </a:lnTo>
                  <a:lnTo>
                    <a:pt x="4227" y="406"/>
                  </a:lnTo>
                  <a:lnTo>
                    <a:pt x="4216" y="407"/>
                  </a:lnTo>
                  <a:lnTo>
                    <a:pt x="4205" y="407"/>
                  </a:lnTo>
                  <a:lnTo>
                    <a:pt x="4202" y="407"/>
                  </a:lnTo>
                  <a:lnTo>
                    <a:pt x="4197" y="406"/>
                  </a:lnTo>
                  <a:lnTo>
                    <a:pt x="4194" y="404"/>
                  </a:lnTo>
                  <a:lnTo>
                    <a:pt x="4191" y="401"/>
                  </a:lnTo>
                  <a:lnTo>
                    <a:pt x="4187" y="398"/>
                  </a:lnTo>
                  <a:lnTo>
                    <a:pt x="4183" y="398"/>
                  </a:lnTo>
                  <a:lnTo>
                    <a:pt x="4171" y="393"/>
                  </a:lnTo>
                  <a:lnTo>
                    <a:pt x="4160" y="388"/>
                  </a:lnTo>
                  <a:lnTo>
                    <a:pt x="4164" y="388"/>
                  </a:lnTo>
                  <a:lnTo>
                    <a:pt x="4164" y="385"/>
                  </a:lnTo>
                  <a:lnTo>
                    <a:pt x="4160" y="382"/>
                  </a:lnTo>
                  <a:lnTo>
                    <a:pt x="4159" y="379"/>
                  </a:lnTo>
                  <a:lnTo>
                    <a:pt x="4154" y="376"/>
                  </a:lnTo>
                  <a:lnTo>
                    <a:pt x="4151" y="376"/>
                  </a:lnTo>
                  <a:lnTo>
                    <a:pt x="4152" y="379"/>
                  </a:lnTo>
                  <a:lnTo>
                    <a:pt x="4154" y="382"/>
                  </a:lnTo>
                  <a:lnTo>
                    <a:pt x="4145" y="381"/>
                  </a:lnTo>
                  <a:lnTo>
                    <a:pt x="4135" y="374"/>
                  </a:lnTo>
                  <a:lnTo>
                    <a:pt x="4138" y="377"/>
                  </a:lnTo>
                  <a:lnTo>
                    <a:pt x="4138" y="377"/>
                  </a:lnTo>
                  <a:lnTo>
                    <a:pt x="4135" y="377"/>
                  </a:lnTo>
                  <a:lnTo>
                    <a:pt x="4132" y="377"/>
                  </a:lnTo>
                  <a:lnTo>
                    <a:pt x="4140" y="381"/>
                  </a:lnTo>
                  <a:lnTo>
                    <a:pt x="4143" y="382"/>
                  </a:lnTo>
                  <a:lnTo>
                    <a:pt x="4138" y="384"/>
                  </a:lnTo>
                  <a:lnTo>
                    <a:pt x="4135" y="385"/>
                  </a:lnTo>
                  <a:lnTo>
                    <a:pt x="4132" y="382"/>
                  </a:lnTo>
                  <a:lnTo>
                    <a:pt x="4133" y="385"/>
                  </a:lnTo>
                  <a:lnTo>
                    <a:pt x="4137" y="388"/>
                  </a:lnTo>
                  <a:lnTo>
                    <a:pt x="4140" y="392"/>
                  </a:lnTo>
                  <a:lnTo>
                    <a:pt x="4145" y="393"/>
                  </a:lnTo>
                  <a:lnTo>
                    <a:pt x="4148" y="395"/>
                  </a:lnTo>
                  <a:lnTo>
                    <a:pt x="4151" y="396"/>
                  </a:lnTo>
                  <a:lnTo>
                    <a:pt x="4162" y="400"/>
                  </a:lnTo>
                  <a:lnTo>
                    <a:pt x="4173" y="404"/>
                  </a:lnTo>
                  <a:lnTo>
                    <a:pt x="4173" y="409"/>
                  </a:lnTo>
                  <a:lnTo>
                    <a:pt x="4170" y="409"/>
                  </a:lnTo>
                  <a:lnTo>
                    <a:pt x="4167" y="409"/>
                  </a:lnTo>
                  <a:lnTo>
                    <a:pt x="4164" y="411"/>
                  </a:lnTo>
                  <a:lnTo>
                    <a:pt x="4162" y="411"/>
                  </a:lnTo>
                  <a:lnTo>
                    <a:pt x="4162" y="412"/>
                  </a:lnTo>
                  <a:lnTo>
                    <a:pt x="4165" y="412"/>
                  </a:lnTo>
                  <a:lnTo>
                    <a:pt x="4168" y="414"/>
                  </a:lnTo>
                  <a:lnTo>
                    <a:pt x="4165" y="412"/>
                  </a:lnTo>
                  <a:lnTo>
                    <a:pt x="4171" y="411"/>
                  </a:lnTo>
                  <a:lnTo>
                    <a:pt x="4175" y="411"/>
                  </a:lnTo>
                  <a:lnTo>
                    <a:pt x="4179" y="412"/>
                  </a:lnTo>
                  <a:lnTo>
                    <a:pt x="4183" y="417"/>
                  </a:lnTo>
                  <a:lnTo>
                    <a:pt x="4181" y="422"/>
                  </a:lnTo>
                  <a:lnTo>
                    <a:pt x="4178" y="422"/>
                  </a:lnTo>
                  <a:lnTo>
                    <a:pt x="4175" y="423"/>
                  </a:lnTo>
                  <a:lnTo>
                    <a:pt x="4176" y="428"/>
                  </a:lnTo>
                  <a:lnTo>
                    <a:pt x="4173" y="431"/>
                  </a:lnTo>
                  <a:lnTo>
                    <a:pt x="4170" y="431"/>
                  </a:lnTo>
                  <a:lnTo>
                    <a:pt x="4165" y="436"/>
                  </a:lnTo>
                  <a:lnTo>
                    <a:pt x="4164" y="439"/>
                  </a:lnTo>
                  <a:lnTo>
                    <a:pt x="4159" y="439"/>
                  </a:lnTo>
                  <a:lnTo>
                    <a:pt x="4162" y="436"/>
                  </a:lnTo>
                  <a:lnTo>
                    <a:pt x="4152" y="436"/>
                  </a:lnTo>
                  <a:lnTo>
                    <a:pt x="4141" y="436"/>
                  </a:lnTo>
                  <a:lnTo>
                    <a:pt x="4132" y="434"/>
                  </a:lnTo>
                  <a:lnTo>
                    <a:pt x="4122" y="431"/>
                  </a:lnTo>
                  <a:lnTo>
                    <a:pt x="4118" y="430"/>
                  </a:lnTo>
                  <a:lnTo>
                    <a:pt x="4114" y="428"/>
                  </a:lnTo>
                  <a:lnTo>
                    <a:pt x="4110" y="426"/>
                  </a:lnTo>
                  <a:lnTo>
                    <a:pt x="4106" y="426"/>
                  </a:lnTo>
                  <a:lnTo>
                    <a:pt x="4103" y="423"/>
                  </a:lnTo>
                  <a:lnTo>
                    <a:pt x="4097" y="423"/>
                  </a:lnTo>
                  <a:lnTo>
                    <a:pt x="4092" y="422"/>
                  </a:lnTo>
                  <a:lnTo>
                    <a:pt x="4089" y="423"/>
                  </a:lnTo>
                  <a:lnTo>
                    <a:pt x="4086" y="423"/>
                  </a:lnTo>
                  <a:lnTo>
                    <a:pt x="4081" y="422"/>
                  </a:lnTo>
                  <a:lnTo>
                    <a:pt x="4078" y="423"/>
                  </a:lnTo>
                  <a:lnTo>
                    <a:pt x="4081" y="423"/>
                  </a:lnTo>
                  <a:lnTo>
                    <a:pt x="4086" y="425"/>
                  </a:lnTo>
                  <a:lnTo>
                    <a:pt x="4089" y="425"/>
                  </a:lnTo>
                  <a:lnTo>
                    <a:pt x="4092" y="423"/>
                  </a:lnTo>
                  <a:lnTo>
                    <a:pt x="4095" y="423"/>
                  </a:lnTo>
                  <a:lnTo>
                    <a:pt x="4103" y="426"/>
                  </a:lnTo>
                  <a:lnTo>
                    <a:pt x="4108" y="428"/>
                  </a:lnTo>
                  <a:lnTo>
                    <a:pt x="4111" y="428"/>
                  </a:lnTo>
                  <a:lnTo>
                    <a:pt x="4114" y="433"/>
                  </a:lnTo>
                  <a:lnTo>
                    <a:pt x="4110" y="433"/>
                  </a:lnTo>
                  <a:lnTo>
                    <a:pt x="4106" y="431"/>
                  </a:lnTo>
                  <a:lnTo>
                    <a:pt x="4103" y="430"/>
                  </a:lnTo>
                  <a:lnTo>
                    <a:pt x="4099" y="430"/>
                  </a:lnTo>
                  <a:lnTo>
                    <a:pt x="4095" y="430"/>
                  </a:lnTo>
                  <a:lnTo>
                    <a:pt x="4092" y="431"/>
                  </a:lnTo>
                  <a:lnTo>
                    <a:pt x="4089" y="430"/>
                  </a:lnTo>
                  <a:lnTo>
                    <a:pt x="4086" y="428"/>
                  </a:lnTo>
                  <a:lnTo>
                    <a:pt x="4081" y="428"/>
                  </a:lnTo>
                  <a:lnTo>
                    <a:pt x="4078" y="428"/>
                  </a:lnTo>
                  <a:lnTo>
                    <a:pt x="4075" y="428"/>
                  </a:lnTo>
                  <a:lnTo>
                    <a:pt x="4086" y="431"/>
                  </a:lnTo>
                  <a:lnTo>
                    <a:pt x="4097" y="436"/>
                  </a:lnTo>
                  <a:lnTo>
                    <a:pt x="4094" y="439"/>
                  </a:lnTo>
                  <a:lnTo>
                    <a:pt x="4097" y="438"/>
                  </a:lnTo>
                  <a:lnTo>
                    <a:pt x="4102" y="436"/>
                  </a:lnTo>
                  <a:lnTo>
                    <a:pt x="4105" y="438"/>
                  </a:lnTo>
                  <a:lnTo>
                    <a:pt x="4108" y="438"/>
                  </a:lnTo>
                  <a:lnTo>
                    <a:pt x="4113" y="438"/>
                  </a:lnTo>
                  <a:lnTo>
                    <a:pt x="4114" y="434"/>
                  </a:lnTo>
                  <a:lnTo>
                    <a:pt x="4118" y="433"/>
                  </a:lnTo>
                  <a:lnTo>
                    <a:pt x="4121" y="433"/>
                  </a:lnTo>
                  <a:lnTo>
                    <a:pt x="4125" y="434"/>
                  </a:lnTo>
                  <a:lnTo>
                    <a:pt x="4129" y="438"/>
                  </a:lnTo>
                  <a:lnTo>
                    <a:pt x="4130" y="441"/>
                  </a:lnTo>
                  <a:lnTo>
                    <a:pt x="4135" y="442"/>
                  </a:lnTo>
                  <a:lnTo>
                    <a:pt x="4138" y="446"/>
                  </a:lnTo>
                  <a:lnTo>
                    <a:pt x="4152" y="450"/>
                  </a:lnTo>
                  <a:lnTo>
                    <a:pt x="4168" y="453"/>
                  </a:lnTo>
                  <a:lnTo>
                    <a:pt x="4165" y="452"/>
                  </a:lnTo>
                  <a:lnTo>
                    <a:pt x="4165" y="447"/>
                  </a:lnTo>
                  <a:lnTo>
                    <a:pt x="4178" y="453"/>
                  </a:lnTo>
                  <a:lnTo>
                    <a:pt x="4187" y="460"/>
                  </a:lnTo>
                  <a:lnTo>
                    <a:pt x="4184" y="458"/>
                  </a:lnTo>
                  <a:lnTo>
                    <a:pt x="4187" y="461"/>
                  </a:lnTo>
                  <a:lnTo>
                    <a:pt x="4191" y="461"/>
                  </a:lnTo>
                  <a:lnTo>
                    <a:pt x="4195" y="461"/>
                  </a:lnTo>
                  <a:lnTo>
                    <a:pt x="4198" y="465"/>
                  </a:lnTo>
                  <a:lnTo>
                    <a:pt x="4203" y="466"/>
                  </a:lnTo>
                  <a:lnTo>
                    <a:pt x="4206" y="469"/>
                  </a:lnTo>
                  <a:lnTo>
                    <a:pt x="4210" y="471"/>
                  </a:lnTo>
                  <a:lnTo>
                    <a:pt x="4214" y="474"/>
                  </a:lnTo>
                  <a:lnTo>
                    <a:pt x="4210" y="474"/>
                  </a:lnTo>
                  <a:lnTo>
                    <a:pt x="4214" y="476"/>
                  </a:lnTo>
                  <a:lnTo>
                    <a:pt x="4210" y="474"/>
                  </a:lnTo>
                  <a:lnTo>
                    <a:pt x="4206" y="474"/>
                  </a:lnTo>
                  <a:lnTo>
                    <a:pt x="4205" y="477"/>
                  </a:lnTo>
                  <a:lnTo>
                    <a:pt x="4210" y="476"/>
                  </a:lnTo>
                  <a:lnTo>
                    <a:pt x="4213" y="476"/>
                  </a:lnTo>
                  <a:lnTo>
                    <a:pt x="4216" y="477"/>
                  </a:lnTo>
                  <a:lnTo>
                    <a:pt x="4219" y="480"/>
                  </a:lnTo>
                  <a:lnTo>
                    <a:pt x="4222" y="480"/>
                  </a:lnTo>
                  <a:lnTo>
                    <a:pt x="4219" y="479"/>
                  </a:lnTo>
                  <a:lnTo>
                    <a:pt x="4216" y="476"/>
                  </a:lnTo>
                  <a:lnTo>
                    <a:pt x="4225" y="480"/>
                  </a:lnTo>
                  <a:lnTo>
                    <a:pt x="4235" y="485"/>
                  </a:lnTo>
                  <a:lnTo>
                    <a:pt x="4232" y="484"/>
                  </a:lnTo>
                  <a:lnTo>
                    <a:pt x="4229" y="484"/>
                  </a:lnTo>
                  <a:lnTo>
                    <a:pt x="4232" y="485"/>
                  </a:lnTo>
                  <a:lnTo>
                    <a:pt x="4235" y="487"/>
                  </a:lnTo>
                  <a:lnTo>
                    <a:pt x="4240" y="487"/>
                  </a:lnTo>
                  <a:lnTo>
                    <a:pt x="4243" y="488"/>
                  </a:lnTo>
                  <a:lnTo>
                    <a:pt x="4246" y="488"/>
                  </a:lnTo>
                  <a:lnTo>
                    <a:pt x="4249" y="490"/>
                  </a:lnTo>
                  <a:lnTo>
                    <a:pt x="4254" y="492"/>
                  </a:lnTo>
                  <a:lnTo>
                    <a:pt x="4257" y="493"/>
                  </a:lnTo>
                  <a:lnTo>
                    <a:pt x="4257" y="496"/>
                  </a:lnTo>
                  <a:lnTo>
                    <a:pt x="4268" y="503"/>
                  </a:lnTo>
                  <a:lnTo>
                    <a:pt x="4283" y="509"/>
                  </a:lnTo>
                  <a:lnTo>
                    <a:pt x="4283" y="512"/>
                  </a:lnTo>
                  <a:lnTo>
                    <a:pt x="4283" y="515"/>
                  </a:lnTo>
                  <a:lnTo>
                    <a:pt x="4279" y="517"/>
                  </a:lnTo>
                  <a:lnTo>
                    <a:pt x="4283" y="518"/>
                  </a:lnTo>
                  <a:lnTo>
                    <a:pt x="4284" y="522"/>
                  </a:lnTo>
                  <a:lnTo>
                    <a:pt x="4267" y="518"/>
                  </a:lnTo>
                  <a:lnTo>
                    <a:pt x="4248" y="515"/>
                  </a:lnTo>
                  <a:lnTo>
                    <a:pt x="4238" y="514"/>
                  </a:lnTo>
                  <a:lnTo>
                    <a:pt x="4230" y="512"/>
                  </a:lnTo>
                  <a:lnTo>
                    <a:pt x="4225" y="512"/>
                  </a:lnTo>
                  <a:lnTo>
                    <a:pt x="4222" y="512"/>
                  </a:lnTo>
                  <a:lnTo>
                    <a:pt x="4219" y="509"/>
                  </a:lnTo>
                  <a:lnTo>
                    <a:pt x="4217" y="506"/>
                  </a:lnTo>
                  <a:lnTo>
                    <a:pt x="4213" y="504"/>
                  </a:lnTo>
                  <a:lnTo>
                    <a:pt x="4216" y="507"/>
                  </a:lnTo>
                  <a:lnTo>
                    <a:pt x="4211" y="507"/>
                  </a:lnTo>
                  <a:lnTo>
                    <a:pt x="4208" y="504"/>
                  </a:lnTo>
                  <a:lnTo>
                    <a:pt x="4205" y="503"/>
                  </a:lnTo>
                  <a:lnTo>
                    <a:pt x="4200" y="503"/>
                  </a:lnTo>
                  <a:lnTo>
                    <a:pt x="4202" y="503"/>
                  </a:lnTo>
                  <a:lnTo>
                    <a:pt x="4205" y="506"/>
                  </a:lnTo>
                  <a:lnTo>
                    <a:pt x="4208" y="509"/>
                  </a:lnTo>
                  <a:lnTo>
                    <a:pt x="4211" y="511"/>
                  </a:lnTo>
                  <a:lnTo>
                    <a:pt x="4214" y="512"/>
                  </a:lnTo>
                  <a:lnTo>
                    <a:pt x="4217" y="512"/>
                  </a:lnTo>
                  <a:lnTo>
                    <a:pt x="4222" y="514"/>
                  </a:lnTo>
                  <a:lnTo>
                    <a:pt x="4217" y="514"/>
                  </a:lnTo>
                  <a:lnTo>
                    <a:pt x="4214" y="514"/>
                  </a:lnTo>
                  <a:lnTo>
                    <a:pt x="4211" y="515"/>
                  </a:lnTo>
                  <a:lnTo>
                    <a:pt x="4208" y="517"/>
                  </a:lnTo>
                  <a:lnTo>
                    <a:pt x="4206" y="520"/>
                  </a:lnTo>
                  <a:lnTo>
                    <a:pt x="4205" y="523"/>
                  </a:lnTo>
                  <a:lnTo>
                    <a:pt x="4202" y="525"/>
                  </a:lnTo>
                  <a:lnTo>
                    <a:pt x="4197" y="525"/>
                  </a:lnTo>
                  <a:lnTo>
                    <a:pt x="4194" y="528"/>
                  </a:lnTo>
                  <a:lnTo>
                    <a:pt x="4191" y="530"/>
                  </a:lnTo>
                  <a:lnTo>
                    <a:pt x="4187" y="530"/>
                  </a:lnTo>
                  <a:lnTo>
                    <a:pt x="4189" y="533"/>
                  </a:lnTo>
                  <a:lnTo>
                    <a:pt x="4186" y="534"/>
                  </a:lnTo>
                  <a:lnTo>
                    <a:pt x="4183" y="536"/>
                  </a:lnTo>
                  <a:lnTo>
                    <a:pt x="4179" y="536"/>
                  </a:lnTo>
                  <a:lnTo>
                    <a:pt x="4175" y="536"/>
                  </a:lnTo>
                  <a:lnTo>
                    <a:pt x="4178" y="536"/>
                  </a:lnTo>
                  <a:lnTo>
                    <a:pt x="4183" y="539"/>
                  </a:lnTo>
                  <a:lnTo>
                    <a:pt x="4178" y="541"/>
                  </a:lnTo>
                  <a:lnTo>
                    <a:pt x="4176" y="541"/>
                  </a:lnTo>
                  <a:lnTo>
                    <a:pt x="4173" y="541"/>
                  </a:lnTo>
                  <a:lnTo>
                    <a:pt x="4170" y="541"/>
                  </a:lnTo>
                  <a:lnTo>
                    <a:pt x="4165" y="541"/>
                  </a:lnTo>
                  <a:lnTo>
                    <a:pt x="4168" y="542"/>
                  </a:lnTo>
                  <a:lnTo>
                    <a:pt x="4167" y="545"/>
                  </a:lnTo>
                  <a:lnTo>
                    <a:pt x="4159" y="544"/>
                  </a:lnTo>
                  <a:lnTo>
                    <a:pt x="4156" y="544"/>
                  </a:lnTo>
                  <a:lnTo>
                    <a:pt x="4159" y="549"/>
                  </a:lnTo>
                  <a:lnTo>
                    <a:pt x="4162" y="550"/>
                  </a:lnTo>
                  <a:lnTo>
                    <a:pt x="4159" y="552"/>
                  </a:lnTo>
                  <a:lnTo>
                    <a:pt x="4160" y="555"/>
                  </a:lnTo>
                  <a:lnTo>
                    <a:pt x="4157" y="557"/>
                  </a:lnTo>
                  <a:lnTo>
                    <a:pt x="4154" y="555"/>
                  </a:lnTo>
                  <a:lnTo>
                    <a:pt x="4151" y="553"/>
                  </a:lnTo>
                  <a:lnTo>
                    <a:pt x="4146" y="555"/>
                  </a:lnTo>
                  <a:lnTo>
                    <a:pt x="4151" y="557"/>
                  </a:lnTo>
                  <a:lnTo>
                    <a:pt x="4154" y="558"/>
                  </a:lnTo>
                  <a:lnTo>
                    <a:pt x="4159" y="560"/>
                  </a:lnTo>
                  <a:lnTo>
                    <a:pt x="4151" y="560"/>
                  </a:lnTo>
                  <a:lnTo>
                    <a:pt x="4154" y="560"/>
                  </a:lnTo>
                  <a:lnTo>
                    <a:pt x="4154" y="564"/>
                  </a:lnTo>
                  <a:lnTo>
                    <a:pt x="4146" y="564"/>
                  </a:lnTo>
                  <a:lnTo>
                    <a:pt x="4151" y="566"/>
                  </a:lnTo>
                  <a:lnTo>
                    <a:pt x="4148" y="566"/>
                  </a:lnTo>
                  <a:lnTo>
                    <a:pt x="4151" y="568"/>
                  </a:lnTo>
                  <a:lnTo>
                    <a:pt x="4154" y="571"/>
                  </a:lnTo>
                  <a:lnTo>
                    <a:pt x="4151" y="571"/>
                  </a:lnTo>
                  <a:lnTo>
                    <a:pt x="4148" y="569"/>
                  </a:lnTo>
                  <a:lnTo>
                    <a:pt x="4143" y="568"/>
                  </a:lnTo>
                  <a:lnTo>
                    <a:pt x="4148" y="569"/>
                  </a:lnTo>
                  <a:lnTo>
                    <a:pt x="4151" y="571"/>
                  </a:lnTo>
                  <a:lnTo>
                    <a:pt x="4152" y="576"/>
                  </a:lnTo>
                  <a:lnTo>
                    <a:pt x="4151" y="576"/>
                  </a:lnTo>
                  <a:lnTo>
                    <a:pt x="4148" y="574"/>
                  </a:lnTo>
                  <a:lnTo>
                    <a:pt x="4148" y="577"/>
                  </a:lnTo>
                  <a:lnTo>
                    <a:pt x="4145" y="577"/>
                  </a:lnTo>
                  <a:lnTo>
                    <a:pt x="4143" y="582"/>
                  </a:lnTo>
                  <a:lnTo>
                    <a:pt x="4140" y="580"/>
                  </a:lnTo>
                  <a:lnTo>
                    <a:pt x="4143" y="585"/>
                  </a:lnTo>
                  <a:lnTo>
                    <a:pt x="4141" y="588"/>
                  </a:lnTo>
                  <a:lnTo>
                    <a:pt x="4137" y="588"/>
                  </a:lnTo>
                  <a:lnTo>
                    <a:pt x="4133" y="590"/>
                  </a:lnTo>
                  <a:lnTo>
                    <a:pt x="4130" y="590"/>
                  </a:lnTo>
                  <a:lnTo>
                    <a:pt x="4132" y="593"/>
                  </a:lnTo>
                  <a:lnTo>
                    <a:pt x="4129" y="591"/>
                  </a:lnTo>
                  <a:lnTo>
                    <a:pt x="4132" y="595"/>
                  </a:lnTo>
                  <a:lnTo>
                    <a:pt x="4135" y="598"/>
                  </a:lnTo>
                  <a:lnTo>
                    <a:pt x="4137" y="601"/>
                  </a:lnTo>
                  <a:lnTo>
                    <a:pt x="4140" y="604"/>
                  </a:lnTo>
                  <a:lnTo>
                    <a:pt x="4143" y="609"/>
                  </a:lnTo>
                  <a:lnTo>
                    <a:pt x="4141" y="612"/>
                  </a:lnTo>
                  <a:lnTo>
                    <a:pt x="4138" y="610"/>
                  </a:lnTo>
                  <a:lnTo>
                    <a:pt x="4135" y="609"/>
                  </a:lnTo>
                  <a:lnTo>
                    <a:pt x="4133" y="607"/>
                  </a:lnTo>
                  <a:lnTo>
                    <a:pt x="4130" y="606"/>
                  </a:lnTo>
                  <a:lnTo>
                    <a:pt x="4127" y="606"/>
                  </a:lnTo>
                  <a:lnTo>
                    <a:pt x="4122" y="604"/>
                  </a:lnTo>
                  <a:lnTo>
                    <a:pt x="4121" y="599"/>
                  </a:lnTo>
                  <a:lnTo>
                    <a:pt x="4110" y="596"/>
                  </a:lnTo>
                  <a:lnTo>
                    <a:pt x="4099" y="591"/>
                  </a:lnTo>
                  <a:lnTo>
                    <a:pt x="4095" y="590"/>
                  </a:lnTo>
                  <a:lnTo>
                    <a:pt x="4092" y="590"/>
                  </a:lnTo>
                  <a:lnTo>
                    <a:pt x="4089" y="587"/>
                  </a:lnTo>
                  <a:lnTo>
                    <a:pt x="4086" y="585"/>
                  </a:lnTo>
                  <a:lnTo>
                    <a:pt x="4081" y="587"/>
                  </a:lnTo>
                  <a:lnTo>
                    <a:pt x="4078" y="587"/>
                  </a:lnTo>
                  <a:lnTo>
                    <a:pt x="4067" y="587"/>
                  </a:lnTo>
                  <a:lnTo>
                    <a:pt x="4057" y="587"/>
                  </a:lnTo>
                  <a:lnTo>
                    <a:pt x="4053" y="587"/>
                  </a:lnTo>
                  <a:lnTo>
                    <a:pt x="4049" y="588"/>
                  </a:lnTo>
                  <a:lnTo>
                    <a:pt x="4046" y="590"/>
                  </a:lnTo>
                  <a:lnTo>
                    <a:pt x="4041" y="591"/>
                  </a:lnTo>
                  <a:lnTo>
                    <a:pt x="4038" y="591"/>
                  </a:lnTo>
                  <a:lnTo>
                    <a:pt x="4035" y="591"/>
                  </a:lnTo>
                  <a:lnTo>
                    <a:pt x="4038" y="595"/>
                  </a:lnTo>
                  <a:lnTo>
                    <a:pt x="4034" y="595"/>
                  </a:lnTo>
                  <a:lnTo>
                    <a:pt x="4030" y="595"/>
                  </a:lnTo>
                  <a:lnTo>
                    <a:pt x="4030" y="598"/>
                  </a:lnTo>
                  <a:lnTo>
                    <a:pt x="4032" y="601"/>
                  </a:lnTo>
                  <a:lnTo>
                    <a:pt x="4032" y="604"/>
                  </a:lnTo>
                  <a:lnTo>
                    <a:pt x="4032" y="609"/>
                  </a:lnTo>
                  <a:lnTo>
                    <a:pt x="4032" y="610"/>
                  </a:lnTo>
                  <a:lnTo>
                    <a:pt x="4030" y="615"/>
                  </a:lnTo>
                  <a:lnTo>
                    <a:pt x="4027" y="615"/>
                  </a:lnTo>
                  <a:lnTo>
                    <a:pt x="4024" y="612"/>
                  </a:lnTo>
                  <a:lnTo>
                    <a:pt x="4021" y="609"/>
                  </a:lnTo>
                  <a:lnTo>
                    <a:pt x="4019" y="606"/>
                  </a:lnTo>
                  <a:lnTo>
                    <a:pt x="4016" y="603"/>
                  </a:lnTo>
                  <a:lnTo>
                    <a:pt x="4014" y="599"/>
                  </a:lnTo>
                  <a:lnTo>
                    <a:pt x="4010" y="596"/>
                  </a:lnTo>
                  <a:lnTo>
                    <a:pt x="4008" y="593"/>
                  </a:lnTo>
                  <a:lnTo>
                    <a:pt x="4005" y="590"/>
                  </a:lnTo>
                  <a:lnTo>
                    <a:pt x="4002" y="591"/>
                  </a:lnTo>
                  <a:lnTo>
                    <a:pt x="3997" y="591"/>
                  </a:lnTo>
                  <a:lnTo>
                    <a:pt x="3997" y="596"/>
                  </a:lnTo>
                  <a:lnTo>
                    <a:pt x="3995" y="599"/>
                  </a:lnTo>
                  <a:lnTo>
                    <a:pt x="3992" y="601"/>
                  </a:lnTo>
                  <a:lnTo>
                    <a:pt x="3989" y="604"/>
                  </a:lnTo>
                  <a:lnTo>
                    <a:pt x="3986" y="604"/>
                  </a:lnTo>
                  <a:lnTo>
                    <a:pt x="3983" y="604"/>
                  </a:lnTo>
                  <a:lnTo>
                    <a:pt x="3986" y="606"/>
                  </a:lnTo>
                  <a:lnTo>
                    <a:pt x="3989" y="606"/>
                  </a:lnTo>
                  <a:lnTo>
                    <a:pt x="3992" y="609"/>
                  </a:lnTo>
                  <a:lnTo>
                    <a:pt x="3994" y="609"/>
                  </a:lnTo>
                  <a:lnTo>
                    <a:pt x="3994" y="612"/>
                  </a:lnTo>
                  <a:lnTo>
                    <a:pt x="3992" y="615"/>
                  </a:lnTo>
                  <a:lnTo>
                    <a:pt x="3989" y="615"/>
                  </a:lnTo>
                  <a:lnTo>
                    <a:pt x="3986" y="612"/>
                  </a:lnTo>
                  <a:lnTo>
                    <a:pt x="3981" y="610"/>
                  </a:lnTo>
                  <a:lnTo>
                    <a:pt x="3978" y="609"/>
                  </a:lnTo>
                  <a:lnTo>
                    <a:pt x="3976" y="607"/>
                  </a:lnTo>
                  <a:lnTo>
                    <a:pt x="3973" y="606"/>
                  </a:lnTo>
                  <a:lnTo>
                    <a:pt x="3968" y="604"/>
                  </a:lnTo>
                  <a:lnTo>
                    <a:pt x="3965" y="606"/>
                  </a:lnTo>
                  <a:lnTo>
                    <a:pt x="3968" y="609"/>
                  </a:lnTo>
                  <a:lnTo>
                    <a:pt x="3968" y="609"/>
                  </a:lnTo>
                  <a:lnTo>
                    <a:pt x="3964" y="610"/>
                  </a:lnTo>
                  <a:lnTo>
                    <a:pt x="3965" y="609"/>
                  </a:lnTo>
                  <a:lnTo>
                    <a:pt x="3961" y="609"/>
                  </a:lnTo>
                  <a:lnTo>
                    <a:pt x="3959" y="607"/>
                  </a:lnTo>
                  <a:lnTo>
                    <a:pt x="3956" y="607"/>
                  </a:lnTo>
                  <a:lnTo>
                    <a:pt x="3951" y="606"/>
                  </a:lnTo>
                  <a:lnTo>
                    <a:pt x="3948" y="609"/>
                  </a:lnTo>
                  <a:lnTo>
                    <a:pt x="3949" y="609"/>
                  </a:lnTo>
                  <a:lnTo>
                    <a:pt x="3953" y="609"/>
                  </a:lnTo>
                  <a:lnTo>
                    <a:pt x="3953" y="612"/>
                  </a:lnTo>
                  <a:lnTo>
                    <a:pt x="3948" y="612"/>
                  </a:lnTo>
                  <a:lnTo>
                    <a:pt x="3949" y="615"/>
                  </a:lnTo>
                  <a:lnTo>
                    <a:pt x="3953" y="618"/>
                  </a:lnTo>
                  <a:lnTo>
                    <a:pt x="3956" y="622"/>
                  </a:lnTo>
                  <a:lnTo>
                    <a:pt x="3954" y="625"/>
                  </a:lnTo>
                  <a:lnTo>
                    <a:pt x="3957" y="628"/>
                  </a:lnTo>
                  <a:lnTo>
                    <a:pt x="3961" y="629"/>
                  </a:lnTo>
                  <a:lnTo>
                    <a:pt x="3965" y="631"/>
                  </a:lnTo>
                  <a:lnTo>
                    <a:pt x="3967" y="634"/>
                  </a:lnTo>
                  <a:lnTo>
                    <a:pt x="3964" y="634"/>
                  </a:lnTo>
                  <a:lnTo>
                    <a:pt x="3965" y="639"/>
                  </a:lnTo>
                  <a:lnTo>
                    <a:pt x="3968" y="639"/>
                  </a:lnTo>
                  <a:lnTo>
                    <a:pt x="3973" y="642"/>
                  </a:lnTo>
                  <a:lnTo>
                    <a:pt x="3968" y="642"/>
                  </a:lnTo>
                  <a:lnTo>
                    <a:pt x="3965" y="642"/>
                  </a:lnTo>
                  <a:lnTo>
                    <a:pt x="3968" y="644"/>
                  </a:lnTo>
                  <a:lnTo>
                    <a:pt x="3973" y="647"/>
                  </a:lnTo>
                  <a:lnTo>
                    <a:pt x="3968" y="647"/>
                  </a:lnTo>
                  <a:lnTo>
                    <a:pt x="3968" y="650"/>
                  </a:lnTo>
                  <a:lnTo>
                    <a:pt x="3970" y="653"/>
                  </a:lnTo>
                  <a:lnTo>
                    <a:pt x="3967" y="658"/>
                  </a:lnTo>
                  <a:lnTo>
                    <a:pt x="3968" y="661"/>
                  </a:lnTo>
                  <a:lnTo>
                    <a:pt x="3972" y="671"/>
                  </a:lnTo>
                  <a:lnTo>
                    <a:pt x="3976" y="679"/>
                  </a:lnTo>
                  <a:lnTo>
                    <a:pt x="3980" y="682"/>
                  </a:lnTo>
                  <a:lnTo>
                    <a:pt x="3983" y="683"/>
                  </a:lnTo>
                  <a:lnTo>
                    <a:pt x="3986" y="687"/>
                  </a:lnTo>
                  <a:lnTo>
                    <a:pt x="3991" y="688"/>
                  </a:lnTo>
                  <a:lnTo>
                    <a:pt x="3994" y="690"/>
                  </a:lnTo>
                  <a:lnTo>
                    <a:pt x="3997" y="691"/>
                  </a:lnTo>
                  <a:lnTo>
                    <a:pt x="4002" y="691"/>
                  </a:lnTo>
                  <a:lnTo>
                    <a:pt x="4005" y="693"/>
                  </a:lnTo>
                  <a:lnTo>
                    <a:pt x="4007" y="696"/>
                  </a:lnTo>
                  <a:lnTo>
                    <a:pt x="4007" y="693"/>
                  </a:lnTo>
                  <a:lnTo>
                    <a:pt x="4002" y="690"/>
                  </a:lnTo>
                  <a:lnTo>
                    <a:pt x="4002" y="685"/>
                  </a:lnTo>
                  <a:lnTo>
                    <a:pt x="4007" y="685"/>
                  </a:lnTo>
                  <a:lnTo>
                    <a:pt x="4010" y="687"/>
                  </a:lnTo>
                  <a:lnTo>
                    <a:pt x="4013" y="688"/>
                  </a:lnTo>
                  <a:lnTo>
                    <a:pt x="4016" y="688"/>
                  </a:lnTo>
                  <a:lnTo>
                    <a:pt x="4021" y="690"/>
                  </a:lnTo>
                  <a:lnTo>
                    <a:pt x="4024" y="690"/>
                  </a:lnTo>
                  <a:lnTo>
                    <a:pt x="4027" y="691"/>
                  </a:lnTo>
                  <a:lnTo>
                    <a:pt x="4032" y="694"/>
                  </a:lnTo>
                  <a:lnTo>
                    <a:pt x="4034" y="698"/>
                  </a:lnTo>
                  <a:lnTo>
                    <a:pt x="4035" y="702"/>
                  </a:lnTo>
                  <a:lnTo>
                    <a:pt x="4032" y="706"/>
                  </a:lnTo>
                  <a:lnTo>
                    <a:pt x="4032" y="709"/>
                  </a:lnTo>
                  <a:lnTo>
                    <a:pt x="4035" y="712"/>
                  </a:lnTo>
                  <a:lnTo>
                    <a:pt x="4038" y="714"/>
                  </a:lnTo>
                  <a:lnTo>
                    <a:pt x="4038" y="715"/>
                  </a:lnTo>
                  <a:lnTo>
                    <a:pt x="4041" y="717"/>
                  </a:lnTo>
                  <a:lnTo>
                    <a:pt x="4049" y="725"/>
                  </a:lnTo>
                  <a:lnTo>
                    <a:pt x="4059" y="733"/>
                  </a:lnTo>
                  <a:lnTo>
                    <a:pt x="4062" y="733"/>
                  </a:lnTo>
                  <a:lnTo>
                    <a:pt x="4067" y="731"/>
                  </a:lnTo>
                  <a:lnTo>
                    <a:pt x="4070" y="733"/>
                  </a:lnTo>
                  <a:lnTo>
                    <a:pt x="4073" y="736"/>
                  </a:lnTo>
                  <a:lnTo>
                    <a:pt x="4076" y="737"/>
                  </a:lnTo>
                  <a:lnTo>
                    <a:pt x="4086" y="745"/>
                  </a:lnTo>
                  <a:lnTo>
                    <a:pt x="4094" y="752"/>
                  </a:lnTo>
                  <a:lnTo>
                    <a:pt x="4092" y="755"/>
                  </a:lnTo>
                  <a:lnTo>
                    <a:pt x="4091" y="760"/>
                  </a:lnTo>
                  <a:lnTo>
                    <a:pt x="4086" y="758"/>
                  </a:lnTo>
                  <a:lnTo>
                    <a:pt x="4083" y="756"/>
                  </a:lnTo>
                  <a:lnTo>
                    <a:pt x="4079" y="755"/>
                  </a:lnTo>
                  <a:lnTo>
                    <a:pt x="4075" y="753"/>
                  </a:lnTo>
                  <a:lnTo>
                    <a:pt x="4072" y="750"/>
                  </a:lnTo>
                  <a:lnTo>
                    <a:pt x="4070" y="747"/>
                  </a:lnTo>
                  <a:lnTo>
                    <a:pt x="4075" y="744"/>
                  </a:lnTo>
                  <a:lnTo>
                    <a:pt x="4073" y="739"/>
                  </a:lnTo>
                  <a:lnTo>
                    <a:pt x="4070" y="739"/>
                  </a:lnTo>
                  <a:lnTo>
                    <a:pt x="4070" y="744"/>
                  </a:lnTo>
                  <a:lnTo>
                    <a:pt x="4067" y="742"/>
                  </a:lnTo>
                  <a:lnTo>
                    <a:pt x="4062" y="742"/>
                  </a:lnTo>
                  <a:lnTo>
                    <a:pt x="4060" y="745"/>
                  </a:lnTo>
                  <a:lnTo>
                    <a:pt x="4064" y="747"/>
                  </a:lnTo>
                  <a:lnTo>
                    <a:pt x="4067" y="750"/>
                  </a:lnTo>
                  <a:lnTo>
                    <a:pt x="4065" y="753"/>
                  </a:lnTo>
                  <a:lnTo>
                    <a:pt x="4062" y="755"/>
                  </a:lnTo>
                  <a:lnTo>
                    <a:pt x="4062" y="758"/>
                  </a:lnTo>
                  <a:lnTo>
                    <a:pt x="4065" y="763"/>
                  </a:lnTo>
                  <a:lnTo>
                    <a:pt x="4065" y="766"/>
                  </a:lnTo>
                  <a:lnTo>
                    <a:pt x="4068" y="769"/>
                  </a:lnTo>
                  <a:lnTo>
                    <a:pt x="4068" y="772"/>
                  </a:lnTo>
                  <a:lnTo>
                    <a:pt x="4072" y="777"/>
                  </a:lnTo>
                  <a:lnTo>
                    <a:pt x="4073" y="780"/>
                  </a:lnTo>
                  <a:lnTo>
                    <a:pt x="4078" y="783"/>
                  </a:lnTo>
                  <a:lnTo>
                    <a:pt x="4081" y="786"/>
                  </a:lnTo>
                  <a:lnTo>
                    <a:pt x="4092" y="794"/>
                  </a:lnTo>
                  <a:lnTo>
                    <a:pt x="4103" y="801"/>
                  </a:lnTo>
                  <a:lnTo>
                    <a:pt x="4106" y="802"/>
                  </a:lnTo>
                  <a:lnTo>
                    <a:pt x="4110" y="804"/>
                  </a:lnTo>
                  <a:lnTo>
                    <a:pt x="4113" y="807"/>
                  </a:lnTo>
                  <a:lnTo>
                    <a:pt x="4113" y="810"/>
                  </a:lnTo>
                  <a:lnTo>
                    <a:pt x="4111" y="815"/>
                  </a:lnTo>
                  <a:lnTo>
                    <a:pt x="4111" y="818"/>
                  </a:lnTo>
                  <a:lnTo>
                    <a:pt x="4108" y="817"/>
                  </a:lnTo>
                  <a:lnTo>
                    <a:pt x="4105" y="818"/>
                  </a:lnTo>
                  <a:lnTo>
                    <a:pt x="4100" y="818"/>
                  </a:lnTo>
                  <a:lnTo>
                    <a:pt x="4097" y="818"/>
                  </a:lnTo>
                  <a:lnTo>
                    <a:pt x="4094" y="815"/>
                  </a:lnTo>
                  <a:lnTo>
                    <a:pt x="4091" y="815"/>
                  </a:lnTo>
                  <a:lnTo>
                    <a:pt x="4086" y="815"/>
                  </a:lnTo>
                  <a:lnTo>
                    <a:pt x="4083" y="815"/>
                  </a:lnTo>
                  <a:lnTo>
                    <a:pt x="4079" y="818"/>
                  </a:lnTo>
                  <a:lnTo>
                    <a:pt x="4078" y="821"/>
                  </a:lnTo>
                  <a:lnTo>
                    <a:pt x="4076" y="825"/>
                  </a:lnTo>
                  <a:lnTo>
                    <a:pt x="4073" y="829"/>
                  </a:lnTo>
                  <a:lnTo>
                    <a:pt x="4073" y="832"/>
                  </a:lnTo>
                  <a:lnTo>
                    <a:pt x="4073" y="832"/>
                  </a:lnTo>
                  <a:lnTo>
                    <a:pt x="4078" y="840"/>
                  </a:lnTo>
                  <a:lnTo>
                    <a:pt x="4079" y="844"/>
                  </a:lnTo>
                  <a:lnTo>
                    <a:pt x="4083" y="847"/>
                  </a:lnTo>
                  <a:lnTo>
                    <a:pt x="4086" y="851"/>
                  </a:lnTo>
                  <a:lnTo>
                    <a:pt x="4089" y="851"/>
                  </a:lnTo>
                  <a:lnTo>
                    <a:pt x="4092" y="855"/>
                  </a:lnTo>
                  <a:lnTo>
                    <a:pt x="4094" y="858"/>
                  </a:lnTo>
                  <a:lnTo>
                    <a:pt x="4091" y="856"/>
                  </a:lnTo>
                  <a:lnTo>
                    <a:pt x="4102" y="863"/>
                  </a:lnTo>
                  <a:lnTo>
                    <a:pt x="4111" y="872"/>
                  </a:lnTo>
                  <a:lnTo>
                    <a:pt x="4110" y="872"/>
                  </a:lnTo>
                  <a:lnTo>
                    <a:pt x="4105" y="871"/>
                  </a:lnTo>
                  <a:lnTo>
                    <a:pt x="4102" y="869"/>
                  </a:lnTo>
                  <a:lnTo>
                    <a:pt x="4100" y="866"/>
                  </a:lnTo>
                  <a:lnTo>
                    <a:pt x="4095" y="867"/>
                  </a:lnTo>
                  <a:lnTo>
                    <a:pt x="4092" y="867"/>
                  </a:lnTo>
                  <a:lnTo>
                    <a:pt x="4089" y="871"/>
                  </a:lnTo>
                  <a:lnTo>
                    <a:pt x="4086" y="871"/>
                  </a:lnTo>
                  <a:lnTo>
                    <a:pt x="4083" y="872"/>
                  </a:lnTo>
                  <a:lnTo>
                    <a:pt x="4079" y="875"/>
                  </a:lnTo>
                  <a:lnTo>
                    <a:pt x="4078" y="880"/>
                  </a:lnTo>
                  <a:lnTo>
                    <a:pt x="4075" y="877"/>
                  </a:lnTo>
                  <a:lnTo>
                    <a:pt x="4070" y="874"/>
                  </a:lnTo>
                  <a:lnTo>
                    <a:pt x="4067" y="875"/>
                  </a:lnTo>
                  <a:lnTo>
                    <a:pt x="4068" y="878"/>
                  </a:lnTo>
                  <a:lnTo>
                    <a:pt x="4072" y="878"/>
                  </a:lnTo>
                  <a:lnTo>
                    <a:pt x="4075" y="880"/>
                  </a:lnTo>
                  <a:lnTo>
                    <a:pt x="4076" y="883"/>
                  </a:lnTo>
                  <a:lnTo>
                    <a:pt x="4078" y="886"/>
                  </a:lnTo>
                  <a:lnTo>
                    <a:pt x="4083" y="888"/>
                  </a:lnTo>
                  <a:lnTo>
                    <a:pt x="4081" y="893"/>
                  </a:lnTo>
                  <a:lnTo>
                    <a:pt x="4086" y="894"/>
                  </a:lnTo>
                  <a:lnTo>
                    <a:pt x="4086" y="897"/>
                  </a:lnTo>
                  <a:lnTo>
                    <a:pt x="4091" y="899"/>
                  </a:lnTo>
                  <a:lnTo>
                    <a:pt x="4094" y="902"/>
                  </a:lnTo>
                  <a:lnTo>
                    <a:pt x="4094" y="905"/>
                  </a:lnTo>
                  <a:lnTo>
                    <a:pt x="4095" y="909"/>
                  </a:lnTo>
                  <a:lnTo>
                    <a:pt x="4095" y="913"/>
                  </a:lnTo>
                  <a:lnTo>
                    <a:pt x="4099" y="917"/>
                  </a:lnTo>
                  <a:lnTo>
                    <a:pt x="4099" y="920"/>
                  </a:lnTo>
                  <a:lnTo>
                    <a:pt x="4099" y="923"/>
                  </a:lnTo>
                  <a:lnTo>
                    <a:pt x="4099" y="926"/>
                  </a:lnTo>
                  <a:lnTo>
                    <a:pt x="4099" y="931"/>
                  </a:lnTo>
                  <a:lnTo>
                    <a:pt x="4095" y="932"/>
                  </a:lnTo>
                  <a:lnTo>
                    <a:pt x="4092" y="936"/>
                  </a:lnTo>
                  <a:lnTo>
                    <a:pt x="4094" y="940"/>
                  </a:lnTo>
                  <a:lnTo>
                    <a:pt x="4089" y="948"/>
                  </a:lnTo>
                  <a:lnTo>
                    <a:pt x="4084" y="956"/>
                  </a:lnTo>
                  <a:lnTo>
                    <a:pt x="4081" y="953"/>
                  </a:lnTo>
                  <a:lnTo>
                    <a:pt x="4078" y="948"/>
                  </a:lnTo>
                  <a:lnTo>
                    <a:pt x="4073" y="945"/>
                  </a:lnTo>
                  <a:lnTo>
                    <a:pt x="4068" y="943"/>
                  </a:lnTo>
                  <a:lnTo>
                    <a:pt x="4060" y="936"/>
                  </a:lnTo>
                  <a:lnTo>
                    <a:pt x="4053" y="928"/>
                  </a:lnTo>
                  <a:lnTo>
                    <a:pt x="4037" y="910"/>
                  </a:lnTo>
                  <a:lnTo>
                    <a:pt x="4019" y="896"/>
                  </a:lnTo>
                  <a:lnTo>
                    <a:pt x="4022" y="894"/>
                  </a:lnTo>
                  <a:lnTo>
                    <a:pt x="4018" y="894"/>
                  </a:lnTo>
                  <a:lnTo>
                    <a:pt x="4011" y="891"/>
                  </a:lnTo>
                  <a:lnTo>
                    <a:pt x="4007" y="886"/>
                  </a:lnTo>
                  <a:lnTo>
                    <a:pt x="4000" y="882"/>
                  </a:lnTo>
                  <a:lnTo>
                    <a:pt x="3988" y="869"/>
                  </a:lnTo>
                  <a:lnTo>
                    <a:pt x="3978" y="861"/>
                  </a:lnTo>
                  <a:lnTo>
                    <a:pt x="3956" y="840"/>
                  </a:lnTo>
                  <a:lnTo>
                    <a:pt x="3932" y="821"/>
                  </a:lnTo>
                  <a:lnTo>
                    <a:pt x="3910" y="801"/>
                  </a:lnTo>
                  <a:lnTo>
                    <a:pt x="3888" y="779"/>
                  </a:lnTo>
                  <a:lnTo>
                    <a:pt x="3878" y="766"/>
                  </a:lnTo>
                  <a:lnTo>
                    <a:pt x="3870" y="753"/>
                  </a:lnTo>
                  <a:lnTo>
                    <a:pt x="3867" y="750"/>
                  </a:lnTo>
                  <a:lnTo>
                    <a:pt x="3865" y="747"/>
                  </a:lnTo>
                  <a:lnTo>
                    <a:pt x="3862" y="744"/>
                  </a:lnTo>
                  <a:lnTo>
                    <a:pt x="3861" y="740"/>
                  </a:lnTo>
                  <a:lnTo>
                    <a:pt x="3857" y="736"/>
                  </a:lnTo>
                  <a:lnTo>
                    <a:pt x="3856" y="733"/>
                  </a:lnTo>
                  <a:lnTo>
                    <a:pt x="3856" y="729"/>
                  </a:lnTo>
                  <a:lnTo>
                    <a:pt x="3857" y="733"/>
                  </a:lnTo>
                  <a:lnTo>
                    <a:pt x="3857" y="729"/>
                  </a:lnTo>
                  <a:lnTo>
                    <a:pt x="3859" y="726"/>
                  </a:lnTo>
                  <a:lnTo>
                    <a:pt x="3861" y="721"/>
                  </a:lnTo>
                  <a:lnTo>
                    <a:pt x="3859" y="718"/>
                  </a:lnTo>
                  <a:lnTo>
                    <a:pt x="3864" y="718"/>
                  </a:lnTo>
                  <a:lnTo>
                    <a:pt x="3861" y="715"/>
                  </a:lnTo>
                  <a:lnTo>
                    <a:pt x="3861" y="712"/>
                  </a:lnTo>
                  <a:lnTo>
                    <a:pt x="3859" y="709"/>
                  </a:lnTo>
                  <a:lnTo>
                    <a:pt x="3857" y="704"/>
                  </a:lnTo>
                  <a:lnTo>
                    <a:pt x="3853" y="701"/>
                  </a:lnTo>
                  <a:lnTo>
                    <a:pt x="3850" y="699"/>
                  </a:lnTo>
                  <a:lnTo>
                    <a:pt x="3846" y="696"/>
                  </a:lnTo>
                  <a:lnTo>
                    <a:pt x="3843" y="694"/>
                  </a:lnTo>
                  <a:lnTo>
                    <a:pt x="3840" y="691"/>
                  </a:lnTo>
                  <a:lnTo>
                    <a:pt x="3843" y="690"/>
                  </a:lnTo>
                  <a:lnTo>
                    <a:pt x="3846" y="691"/>
                  </a:lnTo>
                  <a:lnTo>
                    <a:pt x="3851" y="693"/>
                  </a:lnTo>
                  <a:lnTo>
                    <a:pt x="3854" y="693"/>
                  </a:lnTo>
                  <a:lnTo>
                    <a:pt x="3857" y="690"/>
                  </a:lnTo>
                  <a:lnTo>
                    <a:pt x="3856" y="687"/>
                  </a:lnTo>
                  <a:lnTo>
                    <a:pt x="3857" y="683"/>
                  </a:lnTo>
                  <a:lnTo>
                    <a:pt x="3861" y="685"/>
                  </a:lnTo>
                  <a:lnTo>
                    <a:pt x="3864" y="685"/>
                  </a:lnTo>
                  <a:lnTo>
                    <a:pt x="3867" y="683"/>
                  </a:lnTo>
                  <a:lnTo>
                    <a:pt x="3872" y="683"/>
                  </a:lnTo>
                  <a:lnTo>
                    <a:pt x="3875" y="683"/>
                  </a:lnTo>
                  <a:lnTo>
                    <a:pt x="3872" y="682"/>
                  </a:lnTo>
                  <a:lnTo>
                    <a:pt x="3872" y="679"/>
                  </a:lnTo>
                  <a:lnTo>
                    <a:pt x="3873" y="675"/>
                  </a:lnTo>
                  <a:lnTo>
                    <a:pt x="3876" y="671"/>
                  </a:lnTo>
                  <a:lnTo>
                    <a:pt x="3880" y="668"/>
                  </a:lnTo>
                  <a:lnTo>
                    <a:pt x="3880" y="664"/>
                  </a:lnTo>
                  <a:lnTo>
                    <a:pt x="3883" y="666"/>
                  </a:lnTo>
                  <a:lnTo>
                    <a:pt x="3880" y="661"/>
                  </a:lnTo>
                  <a:lnTo>
                    <a:pt x="3880" y="658"/>
                  </a:lnTo>
                  <a:lnTo>
                    <a:pt x="3881" y="655"/>
                  </a:lnTo>
                  <a:lnTo>
                    <a:pt x="3881" y="652"/>
                  </a:lnTo>
                  <a:lnTo>
                    <a:pt x="3880" y="649"/>
                  </a:lnTo>
                  <a:lnTo>
                    <a:pt x="3875" y="645"/>
                  </a:lnTo>
                  <a:lnTo>
                    <a:pt x="3875" y="642"/>
                  </a:lnTo>
                  <a:lnTo>
                    <a:pt x="3875" y="637"/>
                  </a:lnTo>
                  <a:lnTo>
                    <a:pt x="3876" y="636"/>
                  </a:lnTo>
                  <a:lnTo>
                    <a:pt x="3880" y="633"/>
                  </a:lnTo>
                  <a:lnTo>
                    <a:pt x="3878" y="628"/>
                  </a:lnTo>
                  <a:lnTo>
                    <a:pt x="3876" y="625"/>
                  </a:lnTo>
                  <a:lnTo>
                    <a:pt x="3880" y="623"/>
                  </a:lnTo>
                  <a:lnTo>
                    <a:pt x="3884" y="623"/>
                  </a:lnTo>
                  <a:lnTo>
                    <a:pt x="3884" y="618"/>
                  </a:lnTo>
                  <a:lnTo>
                    <a:pt x="3884" y="615"/>
                  </a:lnTo>
                  <a:lnTo>
                    <a:pt x="3884" y="612"/>
                  </a:lnTo>
                  <a:lnTo>
                    <a:pt x="3884" y="609"/>
                  </a:lnTo>
                  <a:lnTo>
                    <a:pt x="3884" y="609"/>
                  </a:lnTo>
                  <a:lnTo>
                    <a:pt x="3886" y="604"/>
                  </a:lnTo>
                  <a:lnTo>
                    <a:pt x="3889" y="601"/>
                  </a:lnTo>
                  <a:lnTo>
                    <a:pt x="3888" y="598"/>
                  </a:lnTo>
                  <a:lnTo>
                    <a:pt x="3884" y="596"/>
                  </a:lnTo>
                  <a:lnTo>
                    <a:pt x="3881" y="593"/>
                  </a:lnTo>
                  <a:lnTo>
                    <a:pt x="3884" y="590"/>
                  </a:lnTo>
                  <a:lnTo>
                    <a:pt x="3888" y="588"/>
                  </a:lnTo>
                  <a:lnTo>
                    <a:pt x="3892" y="585"/>
                  </a:lnTo>
                  <a:lnTo>
                    <a:pt x="3896" y="582"/>
                  </a:lnTo>
                  <a:lnTo>
                    <a:pt x="3896" y="579"/>
                  </a:lnTo>
                  <a:lnTo>
                    <a:pt x="3899" y="579"/>
                  </a:lnTo>
                  <a:lnTo>
                    <a:pt x="3903" y="577"/>
                  </a:lnTo>
                  <a:lnTo>
                    <a:pt x="3907" y="580"/>
                  </a:lnTo>
                  <a:lnTo>
                    <a:pt x="3908" y="576"/>
                  </a:lnTo>
                  <a:lnTo>
                    <a:pt x="3913" y="574"/>
                  </a:lnTo>
                  <a:lnTo>
                    <a:pt x="3908" y="572"/>
                  </a:lnTo>
                  <a:lnTo>
                    <a:pt x="3905" y="571"/>
                  </a:lnTo>
                  <a:lnTo>
                    <a:pt x="3902" y="568"/>
                  </a:lnTo>
                  <a:lnTo>
                    <a:pt x="3902" y="564"/>
                  </a:lnTo>
                  <a:lnTo>
                    <a:pt x="3905" y="563"/>
                  </a:lnTo>
                  <a:lnTo>
                    <a:pt x="3903" y="560"/>
                  </a:lnTo>
                  <a:lnTo>
                    <a:pt x="3899" y="557"/>
                  </a:lnTo>
                  <a:lnTo>
                    <a:pt x="3896" y="555"/>
                  </a:lnTo>
                  <a:lnTo>
                    <a:pt x="3892" y="555"/>
                  </a:lnTo>
                  <a:lnTo>
                    <a:pt x="3889" y="552"/>
                  </a:lnTo>
                  <a:lnTo>
                    <a:pt x="3886" y="549"/>
                  </a:lnTo>
                  <a:lnTo>
                    <a:pt x="3888" y="545"/>
                  </a:lnTo>
                  <a:lnTo>
                    <a:pt x="3884" y="541"/>
                  </a:lnTo>
                  <a:lnTo>
                    <a:pt x="3881" y="539"/>
                  </a:lnTo>
                  <a:lnTo>
                    <a:pt x="3878" y="536"/>
                  </a:lnTo>
                  <a:lnTo>
                    <a:pt x="3870" y="530"/>
                  </a:lnTo>
                  <a:lnTo>
                    <a:pt x="3867" y="526"/>
                  </a:lnTo>
                  <a:lnTo>
                    <a:pt x="3865" y="522"/>
                  </a:lnTo>
                  <a:lnTo>
                    <a:pt x="3869" y="518"/>
                  </a:lnTo>
                  <a:lnTo>
                    <a:pt x="3872" y="517"/>
                  </a:lnTo>
                  <a:lnTo>
                    <a:pt x="3875" y="517"/>
                  </a:lnTo>
                  <a:lnTo>
                    <a:pt x="3878" y="518"/>
                  </a:lnTo>
                  <a:lnTo>
                    <a:pt x="3883" y="518"/>
                  </a:lnTo>
                  <a:lnTo>
                    <a:pt x="3886" y="518"/>
                  </a:lnTo>
                  <a:lnTo>
                    <a:pt x="3889" y="520"/>
                  </a:lnTo>
                  <a:lnTo>
                    <a:pt x="3892" y="520"/>
                  </a:lnTo>
                  <a:lnTo>
                    <a:pt x="3897" y="522"/>
                  </a:lnTo>
                  <a:lnTo>
                    <a:pt x="3892" y="520"/>
                  </a:lnTo>
                  <a:lnTo>
                    <a:pt x="3889" y="518"/>
                  </a:lnTo>
                  <a:lnTo>
                    <a:pt x="3886" y="517"/>
                  </a:lnTo>
                  <a:lnTo>
                    <a:pt x="3894" y="517"/>
                  </a:lnTo>
                  <a:lnTo>
                    <a:pt x="3897" y="517"/>
                  </a:lnTo>
                  <a:lnTo>
                    <a:pt x="3900" y="517"/>
                  </a:lnTo>
                  <a:lnTo>
                    <a:pt x="3883" y="515"/>
                  </a:lnTo>
                  <a:lnTo>
                    <a:pt x="3865" y="511"/>
                  </a:lnTo>
                  <a:lnTo>
                    <a:pt x="3861" y="509"/>
                  </a:lnTo>
                  <a:lnTo>
                    <a:pt x="3856" y="507"/>
                  </a:lnTo>
                  <a:lnTo>
                    <a:pt x="3853" y="509"/>
                  </a:lnTo>
                  <a:lnTo>
                    <a:pt x="3846" y="511"/>
                  </a:lnTo>
                  <a:lnTo>
                    <a:pt x="3843" y="512"/>
                  </a:lnTo>
                  <a:lnTo>
                    <a:pt x="3840" y="511"/>
                  </a:lnTo>
                  <a:lnTo>
                    <a:pt x="3837" y="512"/>
                  </a:lnTo>
                  <a:lnTo>
                    <a:pt x="3834" y="514"/>
                  </a:lnTo>
                  <a:lnTo>
                    <a:pt x="3829" y="514"/>
                  </a:lnTo>
                  <a:lnTo>
                    <a:pt x="3832" y="518"/>
                  </a:lnTo>
                  <a:lnTo>
                    <a:pt x="3835" y="520"/>
                  </a:lnTo>
                  <a:lnTo>
                    <a:pt x="3838" y="520"/>
                  </a:lnTo>
                  <a:lnTo>
                    <a:pt x="3837" y="523"/>
                  </a:lnTo>
                  <a:lnTo>
                    <a:pt x="3840" y="526"/>
                  </a:lnTo>
                  <a:lnTo>
                    <a:pt x="3843" y="530"/>
                  </a:lnTo>
                  <a:lnTo>
                    <a:pt x="3846" y="531"/>
                  </a:lnTo>
                  <a:lnTo>
                    <a:pt x="3850" y="537"/>
                  </a:lnTo>
                  <a:lnTo>
                    <a:pt x="3851" y="541"/>
                  </a:lnTo>
                  <a:lnTo>
                    <a:pt x="3854" y="542"/>
                  </a:lnTo>
                  <a:lnTo>
                    <a:pt x="3856" y="542"/>
                  </a:lnTo>
                  <a:lnTo>
                    <a:pt x="3861" y="542"/>
                  </a:lnTo>
                  <a:lnTo>
                    <a:pt x="3867" y="547"/>
                  </a:lnTo>
                  <a:lnTo>
                    <a:pt x="3864" y="549"/>
                  </a:lnTo>
                  <a:lnTo>
                    <a:pt x="3867" y="552"/>
                  </a:lnTo>
                  <a:lnTo>
                    <a:pt x="3862" y="550"/>
                  </a:lnTo>
                  <a:lnTo>
                    <a:pt x="3859" y="549"/>
                  </a:lnTo>
                  <a:lnTo>
                    <a:pt x="3856" y="545"/>
                  </a:lnTo>
                  <a:lnTo>
                    <a:pt x="3853" y="544"/>
                  </a:lnTo>
                  <a:lnTo>
                    <a:pt x="3850" y="545"/>
                  </a:lnTo>
                  <a:lnTo>
                    <a:pt x="3853" y="549"/>
                  </a:lnTo>
                  <a:lnTo>
                    <a:pt x="3845" y="545"/>
                  </a:lnTo>
                  <a:lnTo>
                    <a:pt x="3843" y="549"/>
                  </a:lnTo>
                  <a:lnTo>
                    <a:pt x="3842" y="553"/>
                  </a:lnTo>
                  <a:lnTo>
                    <a:pt x="3838" y="557"/>
                  </a:lnTo>
                  <a:lnTo>
                    <a:pt x="3838" y="560"/>
                  </a:lnTo>
                  <a:lnTo>
                    <a:pt x="3838" y="563"/>
                  </a:lnTo>
                  <a:lnTo>
                    <a:pt x="3837" y="566"/>
                  </a:lnTo>
                  <a:lnTo>
                    <a:pt x="3835" y="569"/>
                  </a:lnTo>
                  <a:lnTo>
                    <a:pt x="3834" y="574"/>
                  </a:lnTo>
                  <a:lnTo>
                    <a:pt x="3834" y="577"/>
                  </a:lnTo>
                  <a:lnTo>
                    <a:pt x="3835" y="580"/>
                  </a:lnTo>
                  <a:lnTo>
                    <a:pt x="3832" y="580"/>
                  </a:lnTo>
                  <a:lnTo>
                    <a:pt x="3829" y="580"/>
                  </a:lnTo>
                  <a:lnTo>
                    <a:pt x="3824" y="583"/>
                  </a:lnTo>
                  <a:lnTo>
                    <a:pt x="3823" y="587"/>
                  </a:lnTo>
                  <a:lnTo>
                    <a:pt x="3819" y="583"/>
                  </a:lnTo>
                  <a:lnTo>
                    <a:pt x="3818" y="580"/>
                  </a:lnTo>
                  <a:lnTo>
                    <a:pt x="3815" y="577"/>
                  </a:lnTo>
                  <a:lnTo>
                    <a:pt x="3815" y="574"/>
                  </a:lnTo>
                  <a:lnTo>
                    <a:pt x="3813" y="571"/>
                  </a:lnTo>
                  <a:lnTo>
                    <a:pt x="3810" y="569"/>
                  </a:lnTo>
                  <a:lnTo>
                    <a:pt x="3805" y="569"/>
                  </a:lnTo>
                  <a:lnTo>
                    <a:pt x="3802" y="571"/>
                  </a:lnTo>
                  <a:lnTo>
                    <a:pt x="3799" y="572"/>
                  </a:lnTo>
                  <a:lnTo>
                    <a:pt x="3797" y="569"/>
                  </a:lnTo>
                  <a:lnTo>
                    <a:pt x="3796" y="566"/>
                  </a:lnTo>
                  <a:lnTo>
                    <a:pt x="3792" y="564"/>
                  </a:lnTo>
                  <a:lnTo>
                    <a:pt x="3788" y="561"/>
                  </a:lnTo>
                  <a:lnTo>
                    <a:pt x="3785" y="560"/>
                  </a:lnTo>
                  <a:lnTo>
                    <a:pt x="3789" y="560"/>
                  </a:lnTo>
                  <a:lnTo>
                    <a:pt x="3786" y="557"/>
                  </a:lnTo>
                  <a:lnTo>
                    <a:pt x="3786" y="557"/>
                  </a:lnTo>
                  <a:lnTo>
                    <a:pt x="3783" y="553"/>
                  </a:lnTo>
                  <a:lnTo>
                    <a:pt x="3785" y="550"/>
                  </a:lnTo>
                  <a:lnTo>
                    <a:pt x="3783" y="547"/>
                  </a:lnTo>
                  <a:lnTo>
                    <a:pt x="3780" y="542"/>
                  </a:lnTo>
                  <a:lnTo>
                    <a:pt x="3777" y="539"/>
                  </a:lnTo>
                  <a:lnTo>
                    <a:pt x="3770" y="536"/>
                  </a:lnTo>
                  <a:lnTo>
                    <a:pt x="3767" y="541"/>
                  </a:lnTo>
                  <a:lnTo>
                    <a:pt x="3767" y="541"/>
                  </a:lnTo>
                  <a:lnTo>
                    <a:pt x="3765" y="545"/>
                  </a:lnTo>
                  <a:lnTo>
                    <a:pt x="3761" y="545"/>
                  </a:lnTo>
                  <a:lnTo>
                    <a:pt x="3758" y="544"/>
                  </a:lnTo>
                  <a:lnTo>
                    <a:pt x="3754" y="541"/>
                  </a:lnTo>
                  <a:lnTo>
                    <a:pt x="3751" y="541"/>
                  </a:lnTo>
                  <a:lnTo>
                    <a:pt x="3748" y="539"/>
                  </a:lnTo>
                  <a:lnTo>
                    <a:pt x="3743" y="537"/>
                  </a:lnTo>
                  <a:lnTo>
                    <a:pt x="3740" y="536"/>
                  </a:lnTo>
                  <a:lnTo>
                    <a:pt x="3737" y="537"/>
                  </a:lnTo>
                  <a:lnTo>
                    <a:pt x="3734" y="541"/>
                  </a:lnTo>
                  <a:lnTo>
                    <a:pt x="3731" y="541"/>
                  </a:lnTo>
                  <a:lnTo>
                    <a:pt x="3726" y="541"/>
                  </a:lnTo>
                  <a:lnTo>
                    <a:pt x="3723" y="541"/>
                  </a:lnTo>
                  <a:lnTo>
                    <a:pt x="3719" y="542"/>
                  </a:lnTo>
                  <a:lnTo>
                    <a:pt x="3716" y="544"/>
                  </a:lnTo>
                  <a:lnTo>
                    <a:pt x="3707" y="541"/>
                  </a:lnTo>
                  <a:lnTo>
                    <a:pt x="3697" y="541"/>
                  </a:lnTo>
                  <a:lnTo>
                    <a:pt x="3697" y="545"/>
                  </a:lnTo>
                  <a:lnTo>
                    <a:pt x="3694" y="544"/>
                  </a:lnTo>
                  <a:lnTo>
                    <a:pt x="3691" y="547"/>
                  </a:lnTo>
                  <a:lnTo>
                    <a:pt x="3691" y="550"/>
                  </a:lnTo>
                  <a:lnTo>
                    <a:pt x="3688" y="553"/>
                  </a:lnTo>
                  <a:lnTo>
                    <a:pt x="3689" y="557"/>
                  </a:lnTo>
                  <a:lnTo>
                    <a:pt x="3694" y="560"/>
                  </a:lnTo>
                  <a:lnTo>
                    <a:pt x="3694" y="563"/>
                  </a:lnTo>
                  <a:lnTo>
                    <a:pt x="3691" y="564"/>
                  </a:lnTo>
                  <a:lnTo>
                    <a:pt x="3691" y="569"/>
                  </a:lnTo>
                  <a:lnTo>
                    <a:pt x="3689" y="572"/>
                  </a:lnTo>
                  <a:lnTo>
                    <a:pt x="3691" y="576"/>
                  </a:lnTo>
                  <a:lnTo>
                    <a:pt x="3694" y="579"/>
                  </a:lnTo>
                  <a:lnTo>
                    <a:pt x="3694" y="582"/>
                  </a:lnTo>
                  <a:lnTo>
                    <a:pt x="3689" y="585"/>
                  </a:lnTo>
                  <a:lnTo>
                    <a:pt x="3689" y="588"/>
                  </a:lnTo>
                  <a:lnTo>
                    <a:pt x="3686" y="591"/>
                  </a:lnTo>
                  <a:lnTo>
                    <a:pt x="3683" y="595"/>
                  </a:lnTo>
                  <a:lnTo>
                    <a:pt x="3683" y="598"/>
                  </a:lnTo>
                  <a:lnTo>
                    <a:pt x="3683" y="601"/>
                  </a:lnTo>
                  <a:lnTo>
                    <a:pt x="3683" y="604"/>
                  </a:lnTo>
                  <a:lnTo>
                    <a:pt x="3685" y="609"/>
                  </a:lnTo>
                  <a:lnTo>
                    <a:pt x="3688" y="612"/>
                  </a:lnTo>
                  <a:lnTo>
                    <a:pt x="3683" y="612"/>
                  </a:lnTo>
                  <a:lnTo>
                    <a:pt x="3685" y="615"/>
                  </a:lnTo>
                  <a:lnTo>
                    <a:pt x="3688" y="618"/>
                  </a:lnTo>
                  <a:lnTo>
                    <a:pt x="3693" y="622"/>
                  </a:lnTo>
                  <a:lnTo>
                    <a:pt x="3696" y="623"/>
                  </a:lnTo>
                  <a:lnTo>
                    <a:pt x="3693" y="622"/>
                  </a:lnTo>
                  <a:lnTo>
                    <a:pt x="3693" y="626"/>
                  </a:lnTo>
                  <a:lnTo>
                    <a:pt x="3696" y="629"/>
                  </a:lnTo>
                  <a:lnTo>
                    <a:pt x="3699" y="629"/>
                  </a:lnTo>
                  <a:lnTo>
                    <a:pt x="3704" y="629"/>
                  </a:lnTo>
                  <a:lnTo>
                    <a:pt x="3707" y="629"/>
                  </a:lnTo>
                  <a:lnTo>
                    <a:pt x="3702" y="628"/>
                  </a:lnTo>
                  <a:lnTo>
                    <a:pt x="3707" y="625"/>
                  </a:lnTo>
                  <a:lnTo>
                    <a:pt x="3710" y="626"/>
                  </a:lnTo>
                  <a:lnTo>
                    <a:pt x="3713" y="628"/>
                  </a:lnTo>
                  <a:lnTo>
                    <a:pt x="3716" y="628"/>
                  </a:lnTo>
                  <a:lnTo>
                    <a:pt x="3721" y="629"/>
                  </a:lnTo>
                  <a:lnTo>
                    <a:pt x="3724" y="631"/>
                  </a:lnTo>
                  <a:lnTo>
                    <a:pt x="3727" y="631"/>
                  </a:lnTo>
                  <a:lnTo>
                    <a:pt x="3731" y="634"/>
                  </a:lnTo>
                  <a:lnTo>
                    <a:pt x="3734" y="637"/>
                  </a:lnTo>
                  <a:lnTo>
                    <a:pt x="3731" y="639"/>
                  </a:lnTo>
                  <a:lnTo>
                    <a:pt x="3727" y="639"/>
                  </a:lnTo>
                  <a:lnTo>
                    <a:pt x="3724" y="641"/>
                  </a:lnTo>
                  <a:lnTo>
                    <a:pt x="3716" y="637"/>
                  </a:lnTo>
                  <a:lnTo>
                    <a:pt x="3712" y="639"/>
                  </a:lnTo>
                  <a:lnTo>
                    <a:pt x="3713" y="642"/>
                  </a:lnTo>
                  <a:lnTo>
                    <a:pt x="3710" y="642"/>
                  </a:lnTo>
                  <a:lnTo>
                    <a:pt x="3707" y="644"/>
                  </a:lnTo>
                  <a:lnTo>
                    <a:pt x="3702" y="642"/>
                  </a:lnTo>
                  <a:lnTo>
                    <a:pt x="3699" y="641"/>
                  </a:lnTo>
                  <a:lnTo>
                    <a:pt x="3696" y="639"/>
                  </a:lnTo>
                  <a:lnTo>
                    <a:pt x="3693" y="639"/>
                  </a:lnTo>
                  <a:lnTo>
                    <a:pt x="3688" y="637"/>
                  </a:lnTo>
                  <a:lnTo>
                    <a:pt x="3685" y="637"/>
                  </a:lnTo>
                  <a:lnTo>
                    <a:pt x="3683" y="641"/>
                  </a:lnTo>
                  <a:lnTo>
                    <a:pt x="3678" y="642"/>
                  </a:lnTo>
                  <a:lnTo>
                    <a:pt x="3678" y="647"/>
                  </a:lnTo>
                  <a:lnTo>
                    <a:pt x="3681" y="650"/>
                  </a:lnTo>
                  <a:lnTo>
                    <a:pt x="3678" y="649"/>
                  </a:lnTo>
                  <a:lnTo>
                    <a:pt x="3673" y="649"/>
                  </a:lnTo>
                  <a:lnTo>
                    <a:pt x="3670" y="647"/>
                  </a:lnTo>
                  <a:lnTo>
                    <a:pt x="3666" y="647"/>
                  </a:lnTo>
                  <a:lnTo>
                    <a:pt x="3662" y="645"/>
                  </a:lnTo>
                  <a:lnTo>
                    <a:pt x="3659" y="645"/>
                  </a:lnTo>
                  <a:lnTo>
                    <a:pt x="3654" y="647"/>
                  </a:lnTo>
                  <a:lnTo>
                    <a:pt x="3658" y="650"/>
                  </a:lnTo>
                  <a:lnTo>
                    <a:pt x="3647" y="652"/>
                  </a:lnTo>
                  <a:lnTo>
                    <a:pt x="3639" y="650"/>
                  </a:lnTo>
                  <a:lnTo>
                    <a:pt x="3631" y="649"/>
                  </a:lnTo>
                  <a:lnTo>
                    <a:pt x="3621" y="642"/>
                  </a:lnTo>
                  <a:lnTo>
                    <a:pt x="3624" y="642"/>
                  </a:lnTo>
                  <a:lnTo>
                    <a:pt x="3629" y="639"/>
                  </a:lnTo>
                  <a:lnTo>
                    <a:pt x="3632" y="639"/>
                  </a:lnTo>
                  <a:lnTo>
                    <a:pt x="3635" y="641"/>
                  </a:lnTo>
                  <a:lnTo>
                    <a:pt x="3647" y="641"/>
                  </a:lnTo>
                  <a:lnTo>
                    <a:pt x="3650" y="637"/>
                  </a:lnTo>
                  <a:lnTo>
                    <a:pt x="3647" y="636"/>
                  </a:lnTo>
                  <a:lnTo>
                    <a:pt x="3643" y="634"/>
                  </a:lnTo>
                  <a:lnTo>
                    <a:pt x="3639" y="636"/>
                  </a:lnTo>
                  <a:lnTo>
                    <a:pt x="3635" y="634"/>
                  </a:lnTo>
                  <a:lnTo>
                    <a:pt x="3632" y="634"/>
                  </a:lnTo>
                  <a:lnTo>
                    <a:pt x="3627" y="633"/>
                  </a:lnTo>
                  <a:lnTo>
                    <a:pt x="3624" y="629"/>
                  </a:lnTo>
                  <a:lnTo>
                    <a:pt x="3621" y="628"/>
                  </a:lnTo>
                  <a:lnTo>
                    <a:pt x="3618" y="626"/>
                  </a:lnTo>
                  <a:lnTo>
                    <a:pt x="3615" y="625"/>
                  </a:lnTo>
                  <a:lnTo>
                    <a:pt x="3610" y="623"/>
                  </a:lnTo>
                  <a:lnTo>
                    <a:pt x="3607" y="625"/>
                  </a:lnTo>
                  <a:lnTo>
                    <a:pt x="3604" y="623"/>
                  </a:lnTo>
                  <a:lnTo>
                    <a:pt x="3601" y="625"/>
                  </a:lnTo>
                  <a:lnTo>
                    <a:pt x="3601" y="628"/>
                  </a:lnTo>
                  <a:lnTo>
                    <a:pt x="3597" y="629"/>
                  </a:lnTo>
                  <a:lnTo>
                    <a:pt x="3594" y="626"/>
                  </a:lnTo>
                  <a:lnTo>
                    <a:pt x="3589" y="626"/>
                  </a:lnTo>
                  <a:lnTo>
                    <a:pt x="3586" y="625"/>
                  </a:lnTo>
                  <a:lnTo>
                    <a:pt x="3583" y="623"/>
                  </a:lnTo>
                  <a:lnTo>
                    <a:pt x="3580" y="623"/>
                  </a:lnTo>
                  <a:lnTo>
                    <a:pt x="3575" y="622"/>
                  </a:lnTo>
                  <a:lnTo>
                    <a:pt x="3572" y="622"/>
                  </a:lnTo>
                  <a:lnTo>
                    <a:pt x="3569" y="620"/>
                  </a:lnTo>
                  <a:lnTo>
                    <a:pt x="3566" y="620"/>
                  </a:lnTo>
                  <a:lnTo>
                    <a:pt x="3566" y="620"/>
                  </a:lnTo>
                  <a:lnTo>
                    <a:pt x="3562" y="618"/>
                  </a:lnTo>
                  <a:lnTo>
                    <a:pt x="3558" y="618"/>
                  </a:lnTo>
                  <a:lnTo>
                    <a:pt x="3553" y="617"/>
                  </a:lnTo>
                  <a:lnTo>
                    <a:pt x="3550" y="617"/>
                  </a:lnTo>
                  <a:lnTo>
                    <a:pt x="3545" y="618"/>
                  </a:lnTo>
                  <a:lnTo>
                    <a:pt x="3542" y="623"/>
                  </a:lnTo>
                  <a:lnTo>
                    <a:pt x="3545" y="625"/>
                  </a:lnTo>
                  <a:lnTo>
                    <a:pt x="3548" y="626"/>
                  </a:lnTo>
                  <a:lnTo>
                    <a:pt x="3553" y="628"/>
                  </a:lnTo>
                  <a:lnTo>
                    <a:pt x="3548" y="628"/>
                  </a:lnTo>
                  <a:lnTo>
                    <a:pt x="3545" y="628"/>
                  </a:lnTo>
                  <a:lnTo>
                    <a:pt x="3542" y="628"/>
                  </a:lnTo>
                  <a:lnTo>
                    <a:pt x="3539" y="626"/>
                  </a:lnTo>
                  <a:lnTo>
                    <a:pt x="3539" y="629"/>
                  </a:lnTo>
                  <a:lnTo>
                    <a:pt x="3542" y="633"/>
                  </a:lnTo>
                  <a:lnTo>
                    <a:pt x="3545" y="631"/>
                  </a:lnTo>
                  <a:lnTo>
                    <a:pt x="3548" y="633"/>
                  </a:lnTo>
                  <a:lnTo>
                    <a:pt x="3551" y="637"/>
                  </a:lnTo>
                  <a:lnTo>
                    <a:pt x="3548" y="636"/>
                  </a:lnTo>
                  <a:lnTo>
                    <a:pt x="3543" y="636"/>
                  </a:lnTo>
                  <a:lnTo>
                    <a:pt x="3540" y="636"/>
                  </a:lnTo>
                  <a:lnTo>
                    <a:pt x="3537" y="636"/>
                  </a:lnTo>
                  <a:lnTo>
                    <a:pt x="3532" y="633"/>
                  </a:lnTo>
                  <a:lnTo>
                    <a:pt x="3529" y="631"/>
                  </a:lnTo>
                  <a:lnTo>
                    <a:pt x="3524" y="629"/>
                  </a:lnTo>
                  <a:lnTo>
                    <a:pt x="3520" y="631"/>
                  </a:lnTo>
                  <a:lnTo>
                    <a:pt x="3515" y="633"/>
                  </a:lnTo>
                  <a:lnTo>
                    <a:pt x="3518" y="636"/>
                  </a:lnTo>
                  <a:lnTo>
                    <a:pt x="3513" y="634"/>
                  </a:lnTo>
                  <a:lnTo>
                    <a:pt x="3510" y="637"/>
                  </a:lnTo>
                  <a:lnTo>
                    <a:pt x="3502" y="634"/>
                  </a:lnTo>
                  <a:lnTo>
                    <a:pt x="3493" y="633"/>
                  </a:lnTo>
                  <a:lnTo>
                    <a:pt x="3483" y="631"/>
                  </a:lnTo>
                  <a:lnTo>
                    <a:pt x="3474" y="628"/>
                  </a:lnTo>
                  <a:lnTo>
                    <a:pt x="3472" y="633"/>
                  </a:lnTo>
                  <a:lnTo>
                    <a:pt x="3478" y="639"/>
                  </a:lnTo>
                  <a:lnTo>
                    <a:pt x="3475" y="639"/>
                  </a:lnTo>
                  <a:lnTo>
                    <a:pt x="3470" y="641"/>
                  </a:lnTo>
                  <a:lnTo>
                    <a:pt x="3467" y="639"/>
                  </a:lnTo>
                  <a:lnTo>
                    <a:pt x="3464" y="637"/>
                  </a:lnTo>
                  <a:lnTo>
                    <a:pt x="3461" y="636"/>
                  </a:lnTo>
                  <a:lnTo>
                    <a:pt x="3461" y="633"/>
                  </a:lnTo>
                  <a:lnTo>
                    <a:pt x="3456" y="631"/>
                  </a:lnTo>
                  <a:lnTo>
                    <a:pt x="3453" y="631"/>
                  </a:lnTo>
                  <a:lnTo>
                    <a:pt x="3450" y="629"/>
                  </a:lnTo>
                  <a:lnTo>
                    <a:pt x="3445" y="631"/>
                  </a:lnTo>
                  <a:lnTo>
                    <a:pt x="3442" y="631"/>
                  </a:lnTo>
                  <a:lnTo>
                    <a:pt x="3439" y="629"/>
                  </a:lnTo>
                  <a:lnTo>
                    <a:pt x="3436" y="631"/>
                  </a:lnTo>
                  <a:lnTo>
                    <a:pt x="3431" y="631"/>
                  </a:lnTo>
                  <a:lnTo>
                    <a:pt x="3428" y="631"/>
                  </a:lnTo>
                  <a:lnTo>
                    <a:pt x="3424" y="633"/>
                  </a:lnTo>
                  <a:lnTo>
                    <a:pt x="3417" y="631"/>
                  </a:lnTo>
                  <a:lnTo>
                    <a:pt x="3407" y="631"/>
                  </a:lnTo>
                  <a:lnTo>
                    <a:pt x="3394" y="633"/>
                  </a:lnTo>
                  <a:lnTo>
                    <a:pt x="3385" y="633"/>
                  </a:lnTo>
                  <a:lnTo>
                    <a:pt x="3382" y="631"/>
                  </a:lnTo>
                  <a:lnTo>
                    <a:pt x="3378" y="634"/>
                  </a:lnTo>
                  <a:lnTo>
                    <a:pt x="3375" y="634"/>
                  </a:lnTo>
                  <a:lnTo>
                    <a:pt x="3372" y="636"/>
                  </a:lnTo>
                  <a:lnTo>
                    <a:pt x="3367" y="637"/>
                  </a:lnTo>
                  <a:lnTo>
                    <a:pt x="3364" y="642"/>
                  </a:lnTo>
                  <a:lnTo>
                    <a:pt x="3361" y="645"/>
                  </a:lnTo>
                  <a:lnTo>
                    <a:pt x="3361" y="649"/>
                  </a:lnTo>
                  <a:lnTo>
                    <a:pt x="3361" y="653"/>
                  </a:lnTo>
                  <a:lnTo>
                    <a:pt x="3361" y="660"/>
                  </a:lnTo>
                  <a:lnTo>
                    <a:pt x="3359" y="663"/>
                  </a:lnTo>
                  <a:lnTo>
                    <a:pt x="3356" y="666"/>
                  </a:lnTo>
                  <a:lnTo>
                    <a:pt x="3352" y="668"/>
                  </a:lnTo>
                  <a:lnTo>
                    <a:pt x="3350" y="671"/>
                  </a:lnTo>
                  <a:lnTo>
                    <a:pt x="3348" y="674"/>
                  </a:lnTo>
                  <a:lnTo>
                    <a:pt x="3352" y="680"/>
                  </a:lnTo>
                  <a:lnTo>
                    <a:pt x="3356" y="690"/>
                  </a:lnTo>
                  <a:lnTo>
                    <a:pt x="3355" y="693"/>
                  </a:lnTo>
                  <a:lnTo>
                    <a:pt x="3350" y="693"/>
                  </a:lnTo>
                  <a:lnTo>
                    <a:pt x="3347" y="696"/>
                  </a:lnTo>
                  <a:lnTo>
                    <a:pt x="3347" y="696"/>
                  </a:lnTo>
                  <a:lnTo>
                    <a:pt x="3347" y="699"/>
                  </a:lnTo>
                  <a:lnTo>
                    <a:pt x="3348" y="702"/>
                  </a:lnTo>
                  <a:lnTo>
                    <a:pt x="3344" y="706"/>
                  </a:lnTo>
                  <a:lnTo>
                    <a:pt x="3344" y="709"/>
                  </a:lnTo>
                  <a:lnTo>
                    <a:pt x="3340" y="710"/>
                  </a:lnTo>
                  <a:lnTo>
                    <a:pt x="3337" y="714"/>
                  </a:lnTo>
                  <a:lnTo>
                    <a:pt x="3336" y="717"/>
                  </a:lnTo>
                  <a:lnTo>
                    <a:pt x="3336" y="721"/>
                  </a:lnTo>
                  <a:lnTo>
                    <a:pt x="3331" y="725"/>
                  </a:lnTo>
                  <a:lnTo>
                    <a:pt x="3331" y="728"/>
                  </a:lnTo>
                  <a:lnTo>
                    <a:pt x="3332" y="731"/>
                  </a:lnTo>
                  <a:lnTo>
                    <a:pt x="3331" y="734"/>
                  </a:lnTo>
                  <a:lnTo>
                    <a:pt x="3329" y="739"/>
                  </a:lnTo>
                  <a:lnTo>
                    <a:pt x="3332" y="740"/>
                  </a:lnTo>
                  <a:lnTo>
                    <a:pt x="3336" y="744"/>
                  </a:lnTo>
                  <a:lnTo>
                    <a:pt x="3332" y="744"/>
                  </a:lnTo>
                  <a:lnTo>
                    <a:pt x="3331" y="748"/>
                  </a:lnTo>
                  <a:lnTo>
                    <a:pt x="3329" y="752"/>
                  </a:lnTo>
                  <a:lnTo>
                    <a:pt x="3331" y="755"/>
                  </a:lnTo>
                  <a:lnTo>
                    <a:pt x="3328" y="758"/>
                  </a:lnTo>
                  <a:lnTo>
                    <a:pt x="3328" y="761"/>
                  </a:lnTo>
                  <a:lnTo>
                    <a:pt x="3323" y="764"/>
                  </a:lnTo>
                  <a:lnTo>
                    <a:pt x="3323" y="767"/>
                  </a:lnTo>
                  <a:lnTo>
                    <a:pt x="3320" y="771"/>
                  </a:lnTo>
                  <a:lnTo>
                    <a:pt x="3318" y="774"/>
                  </a:lnTo>
                  <a:lnTo>
                    <a:pt x="3315" y="774"/>
                  </a:lnTo>
                  <a:lnTo>
                    <a:pt x="3310" y="777"/>
                  </a:lnTo>
                  <a:lnTo>
                    <a:pt x="3310" y="780"/>
                  </a:lnTo>
                  <a:lnTo>
                    <a:pt x="3312" y="783"/>
                  </a:lnTo>
                  <a:lnTo>
                    <a:pt x="3309" y="788"/>
                  </a:lnTo>
                  <a:lnTo>
                    <a:pt x="3306" y="791"/>
                  </a:lnTo>
                  <a:lnTo>
                    <a:pt x="3302" y="793"/>
                  </a:lnTo>
                  <a:lnTo>
                    <a:pt x="3298" y="794"/>
                  </a:lnTo>
                  <a:lnTo>
                    <a:pt x="3296" y="799"/>
                  </a:lnTo>
                  <a:lnTo>
                    <a:pt x="3296" y="801"/>
                  </a:lnTo>
                  <a:lnTo>
                    <a:pt x="3296" y="804"/>
                  </a:lnTo>
                  <a:lnTo>
                    <a:pt x="3299" y="807"/>
                  </a:lnTo>
                  <a:lnTo>
                    <a:pt x="3302" y="810"/>
                  </a:lnTo>
                  <a:lnTo>
                    <a:pt x="3307" y="810"/>
                  </a:lnTo>
                  <a:lnTo>
                    <a:pt x="3310" y="810"/>
                  </a:lnTo>
                  <a:lnTo>
                    <a:pt x="3313" y="810"/>
                  </a:lnTo>
                  <a:lnTo>
                    <a:pt x="3317" y="812"/>
                  </a:lnTo>
                  <a:lnTo>
                    <a:pt x="3321" y="815"/>
                  </a:lnTo>
                  <a:lnTo>
                    <a:pt x="3325" y="815"/>
                  </a:lnTo>
                  <a:lnTo>
                    <a:pt x="3328" y="815"/>
                  </a:lnTo>
                  <a:lnTo>
                    <a:pt x="3331" y="813"/>
                  </a:lnTo>
                  <a:lnTo>
                    <a:pt x="3334" y="813"/>
                  </a:lnTo>
                  <a:lnTo>
                    <a:pt x="3344" y="813"/>
                  </a:lnTo>
                  <a:lnTo>
                    <a:pt x="3353" y="813"/>
                  </a:lnTo>
                  <a:lnTo>
                    <a:pt x="3356" y="817"/>
                  </a:lnTo>
                  <a:lnTo>
                    <a:pt x="3359" y="820"/>
                  </a:lnTo>
                  <a:lnTo>
                    <a:pt x="3359" y="823"/>
                  </a:lnTo>
                  <a:lnTo>
                    <a:pt x="3363" y="826"/>
                  </a:lnTo>
                  <a:lnTo>
                    <a:pt x="3364" y="829"/>
                  </a:lnTo>
                  <a:lnTo>
                    <a:pt x="3367" y="832"/>
                  </a:lnTo>
                  <a:lnTo>
                    <a:pt x="3371" y="836"/>
                  </a:lnTo>
                  <a:lnTo>
                    <a:pt x="3371" y="839"/>
                  </a:lnTo>
                  <a:lnTo>
                    <a:pt x="3372" y="842"/>
                  </a:lnTo>
                  <a:lnTo>
                    <a:pt x="3375" y="845"/>
                  </a:lnTo>
                  <a:lnTo>
                    <a:pt x="3380" y="847"/>
                  </a:lnTo>
                  <a:lnTo>
                    <a:pt x="3382" y="844"/>
                  </a:lnTo>
                  <a:lnTo>
                    <a:pt x="3385" y="844"/>
                  </a:lnTo>
                  <a:lnTo>
                    <a:pt x="3388" y="844"/>
                  </a:lnTo>
                  <a:lnTo>
                    <a:pt x="3388" y="839"/>
                  </a:lnTo>
                  <a:lnTo>
                    <a:pt x="3386" y="836"/>
                  </a:lnTo>
                  <a:lnTo>
                    <a:pt x="3382" y="836"/>
                  </a:lnTo>
                  <a:lnTo>
                    <a:pt x="3378" y="834"/>
                  </a:lnTo>
                  <a:lnTo>
                    <a:pt x="3377" y="829"/>
                  </a:lnTo>
                  <a:lnTo>
                    <a:pt x="3380" y="826"/>
                  </a:lnTo>
                  <a:lnTo>
                    <a:pt x="3383" y="825"/>
                  </a:lnTo>
                  <a:lnTo>
                    <a:pt x="3386" y="826"/>
                  </a:lnTo>
                  <a:lnTo>
                    <a:pt x="3391" y="825"/>
                  </a:lnTo>
                  <a:lnTo>
                    <a:pt x="3390" y="829"/>
                  </a:lnTo>
                  <a:lnTo>
                    <a:pt x="3388" y="832"/>
                  </a:lnTo>
                  <a:lnTo>
                    <a:pt x="3385" y="832"/>
                  </a:lnTo>
                  <a:lnTo>
                    <a:pt x="3388" y="836"/>
                  </a:lnTo>
                  <a:lnTo>
                    <a:pt x="3391" y="836"/>
                  </a:lnTo>
                  <a:lnTo>
                    <a:pt x="3394" y="837"/>
                  </a:lnTo>
                  <a:lnTo>
                    <a:pt x="3399" y="839"/>
                  </a:lnTo>
                  <a:lnTo>
                    <a:pt x="3402" y="839"/>
                  </a:lnTo>
                  <a:lnTo>
                    <a:pt x="3405" y="840"/>
                  </a:lnTo>
                  <a:lnTo>
                    <a:pt x="3402" y="844"/>
                  </a:lnTo>
                  <a:lnTo>
                    <a:pt x="3404" y="847"/>
                  </a:lnTo>
                  <a:lnTo>
                    <a:pt x="3402" y="850"/>
                  </a:lnTo>
                  <a:lnTo>
                    <a:pt x="3399" y="851"/>
                  </a:lnTo>
                  <a:lnTo>
                    <a:pt x="3399" y="855"/>
                  </a:lnTo>
                  <a:lnTo>
                    <a:pt x="3402" y="856"/>
                  </a:lnTo>
                  <a:lnTo>
                    <a:pt x="3405" y="856"/>
                  </a:lnTo>
                  <a:lnTo>
                    <a:pt x="3409" y="855"/>
                  </a:lnTo>
                  <a:lnTo>
                    <a:pt x="3413" y="855"/>
                  </a:lnTo>
                  <a:lnTo>
                    <a:pt x="3417" y="855"/>
                  </a:lnTo>
                  <a:lnTo>
                    <a:pt x="3420" y="853"/>
                  </a:lnTo>
                  <a:lnTo>
                    <a:pt x="3423" y="850"/>
                  </a:lnTo>
                  <a:lnTo>
                    <a:pt x="3426" y="847"/>
                  </a:lnTo>
                  <a:lnTo>
                    <a:pt x="3424" y="844"/>
                  </a:lnTo>
                  <a:lnTo>
                    <a:pt x="3424" y="840"/>
                  </a:lnTo>
                  <a:lnTo>
                    <a:pt x="3428" y="839"/>
                  </a:lnTo>
                  <a:lnTo>
                    <a:pt x="3431" y="842"/>
                  </a:lnTo>
                  <a:lnTo>
                    <a:pt x="3432" y="847"/>
                  </a:lnTo>
                  <a:lnTo>
                    <a:pt x="3431" y="850"/>
                  </a:lnTo>
                  <a:lnTo>
                    <a:pt x="3431" y="853"/>
                  </a:lnTo>
                  <a:lnTo>
                    <a:pt x="3431" y="856"/>
                  </a:lnTo>
                  <a:lnTo>
                    <a:pt x="3436" y="856"/>
                  </a:lnTo>
                  <a:lnTo>
                    <a:pt x="3439" y="856"/>
                  </a:lnTo>
                  <a:lnTo>
                    <a:pt x="3439" y="853"/>
                  </a:lnTo>
                  <a:lnTo>
                    <a:pt x="3437" y="848"/>
                  </a:lnTo>
                  <a:lnTo>
                    <a:pt x="3436" y="845"/>
                  </a:lnTo>
                  <a:lnTo>
                    <a:pt x="3434" y="842"/>
                  </a:lnTo>
                  <a:lnTo>
                    <a:pt x="3432" y="839"/>
                  </a:lnTo>
                  <a:lnTo>
                    <a:pt x="3431" y="834"/>
                  </a:lnTo>
                  <a:lnTo>
                    <a:pt x="3426" y="834"/>
                  </a:lnTo>
                  <a:lnTo>
                    <a:pt x="3426" y="831"/>
                  </a:lnTo>
                  <a:lnTo>
                    <a:pt x="3423" y="828"/>
                  </a:lnTo>
                  <a:lnTo>
                    <a:pt x="3420" y="826"/>
                  </a:lnTo>
                  <a:lnTo>
                    <a:pt x="3423" y="826"/>
                  </a:lnTo>
                  <a:lnTo>
                    <a:pt x="3426" y="828"/>
                  </a:lnTo>
                  <a:lnTo>
                    <a:pt x="3431" y="828"/>
                  </a:lnTo>
                  <a:lnTo>
                    <a:pt x="3437" y="829"/>
                  </a:lnTo>
                  <a:lnTo>
                    <a:pt x="3440" y="829"/>
                  </a:lnTo>
                  <a:lnTo>
                    <a:pt x="3444" y="829"/>
                  </a:lnTo>
                  <a:lnTo>
                    <a:pt x="3447" y="828"/>
                  </a:lnTo>
                  <a:lnTo>
                    <a:pt x="3451" y="826"/>
                  </a:lnTo>
                  <a:lnTo>
                    <a:pt x="3455" y="826"/>
                  </a:lnTo>
                  <a:lnTo>
                    <a:pt x="3458" y="829"/>
                  </a:lnTo>
                  <a:lnTo>
                    <a:pt x="3463" y="831"/>
                  </a:lnTo>
                  <a:lnTo>
                    <a:pt x="3466" y="832"/>
                  </a:lnTo>
                  <a:lnTo>
                    <a:pt x="3467" y="832"/>
                  </a:lnTo>
                  <a:lnTo>
                    <a:pt x="3470" y="834"/>
                  </a:lnTo>
                  <a:lnTo>
                    <a:pt x="3474" y="836"/>
                  </a:lnTo>
                  <a:lnTo>
                    <a:pt x="3478" y="837"/>
                  </a:lnTo>
                  <a:lnTo>
                    <a:pt x="3480" y="842"/>
                  </a:lnTo>
                  <a:lnTo>
                    <a:pt x="3485" y="844"/>
                  </a:lnTo>
                  <a:lnTo>
                    <a:pt x="3488" y="847"/>
                  </a:lnTo>
                  <a:lnTo>
                    <a:pt x="3491" y="847"/>
                  </a:lnTo>
                  <a:lnTo>
                    <a:pt x="3496" y="848"/>
                  </a:lnTo>
                  <a:lnTo>
                    <a:pt x="3499" y="851"/>
                  </a:lnTo>
                  <a:lnTo>
                    <a:pt x="3502" y="853"/>
                  </a:lnTo>
                  <a:lnTo>
                    <a:pt x="3505" y="855"/>
                  </a:lnTo>
                  <a:lnTo>
                    <a:pt x="3510" y="855"/>
                  </a:lnTo>
                  <a:lnTo>
                    <a:pt x="3513" y="856"/>
                  </a:lnTo>
                  <a:lnTo>
                    <a:pt x="3516" y="859"/>
                  </a:lnTo>
                  <a:lnTo>
                    <a:pt x="3526" y="863"/>
                  </a:lnTo>
                  <a:lnTo>
                    <a:pt x="3536" y="864"/>
                  </a:lnTo>
                  <a:lnTo>
                    <a:pt x="3537" y="867"/>
                  </a:lnTo>
                  <a:lnTo>
                    <a:pt x="3540" y="871"/>
                  </a:lnTo>
                  <a:lnTo>
                    <a:pt x="3540" y="874"/>
                  </a:lnTo>
                  <a:lnTo>
                    <a:pt x="3537" y="874"/>
                  </a:lnTo>
                  <a:lnTo>
                    <a:pt x="3537" y="877"/>
                  </a:lnTo>
                  <a:lnTo>
                    <a:pt x="3529" y="874"/>
                  </a:lnTo>
                  <a:lnTo>
                    <a:pt x="3520" y="872"/>
                  </a:lnTo>
                  <a:lnTo>
                    <a:pt x="3520" y="872"/>
                  </a:lnTo>
                  <a:lnTo>
                    <a:pt x="3520" y="872"/>
                  </a:lnTo>
                  <a:lnTo>
                    <a:pt x="3524" y="874"/>
                  </a:lnTo>
                  <a:lnTo>
                    <a:pt x="3528" y="875"/>
                  </a:lnTo>
                  <a:lnTo>
                    <a:pt x="3531" y="877"/>
                  </a:lnTo>
                  <a:lnTo>
                    <a:pt x="3534" y="880"/>
                  </a:lnTo>
                  <a:lnTo>
                    <a:pt x="3539" y="880"/>
                  </a:lnTo>
                  <a:lnTo>
                    <a:pt x="3542" y="882"/>
                  </a:lnTo>
                  <a:lnTo>
                    <a:pt x="3545" y="883"/>
                  </a:lnTo>
                  <a:lnTo>
                    <a:pt x="3548" y="886"/>
                  </a:lnTo>
                  <a:lnTo>
                    <a:pt x="3551" y="890"/>
                  </a:lnTo>
                  <a:lnTo>
                    <a:pt x="3555" y="893"/>
                  </a:lnTo>
                  <a:lnTo>
                    <a:pt x="3553" y="896"/>
                  </a:lnTo>
                  <a:lnTo>
                    <a:pt x="3555" y="899"/>
                  </a:lnTo>
                  <a:lnTo>
                    <a:pt x="3562" y="904"/>
                  </a:lnTo>
                  <a:lnTo>
                    <a:pt x="3566" y="905"/>
                  </a:lnTo>
                  <a:lnTo>
                    <a:pt x="3570" y="907"/>
                  </a:lnTo>
                  <a:lnTo>
                    <a:pt x="3574" y="907"/>
                  </a:lnTo>
                  <a:lnTo>
                    <a:pt x="3574" y="909"/>
                  </a:lnTo>
                  <a:lnTo>
                    <a:pt x="3572" y="913"/>
                  </a:lnTo>
                  <a:lnTo>
                    <a:pt x="3575" y="917"/>
                  </a:lnTo>
                  <a:lnTo>
                    <a:pt x="3578" y="918"/>
                  </a:lnTo>
                  <a:lnTo>
                    <a:pt x="3575" y="921"/>
                  </a:lnTo>
                  <a:lnTo>
                    <a:pt x="3577" y="924"/>
                  </a:lnTo>
                  <a:lnTo>
                    <a:pt x="3577" y="928"/>
                  </a:lnTo>
                  <a:lnTo>
                    <a:pt x="3572" y="931"/>
                  </a:lnTo>
                  <a:lnTo>
                    <a:pt x="3575" y="936"/>
                  </a:lnTo>
                  <a:lnTo>
                    <a:pt x="3575" y="939"/>
                  </a:lnTo>
                  <a:lnTo>
                    <a:pt x="3578" y="940"/>
                  </a:lnTo>
                  <a:lnTo>
                    <a:pt x="3575" y="943"/>
                  </a:lnTo>
                  <a:lnTo>
                    <a:pt x="3578" y="947"/>
                  </a:lnTo>
                  <a:lnTo>
                    <a:pt x="3581" y="950"/>
                  </a:lnTo>
                  <a:lnTo>
                    <a:pt x="3583" y="955"/>
                  </a:lnTo>
                  <a:lnTo>
                    <a:pt x="3583" y="958"/>
                  </a:lnTo>
                  <a:lnTo>
                    <a:pt x="3585" y="961"/>
                  </a:lnTo>
                  <a:lnTo>
                    <a:pt x="3585" y="964"/>
                  </a:lnTo>
                  <a:lnTo>
                    <a:pt x="3588" y="967"/>
                  </a:lnTo>
                  <a:lnTo>
                    <a:pt x="3589" y="970"/>
                  </a:lnTo>
                  <a:lnTo>
                    <a:pt x="3593" y="975"/>
                  </a:lnTo>
                  <a:lnTo>
                    <a:pt x="3596" y="978"/>
                  </a:lnTo>
                  <a:lnTo>
                    <a:pt x="3599" y="982"/>
                  </a:lnTo>
                  <a:lnTo>
                    <a:pt x="3602" y="985"/>
                  </a:lnTo>
                  <a:lnTo>
                    <a:pt x="3604" y="988"/>
                  </a:lnTo>
                  <a:lnTo>
                    <a:pt x="3607" y="991"/>
                  </a:lnTo>
                  <a:lnTo>
                    <a:pt x="3610" y="991"/>
                  </a:lnTo>
                  <a:lnTo>
                    <a:pt x="3608" y="994"/>
                  </a:lnTo>
                  <a:lnTo>
                    <a:pt x="3608" y="996"/>
                  </a:lnTo>
                  <a:lnTo>
                    <a:pt x="3608" y="1001"/>
                  </a:lnTo>
                  <a:lnTo>
                    <a:pt x="3613" y="1002"/>
                  </a:lnTo>
                  <a:lnTo>
                    <a:pt x="3616" y="1005"/>
                  </a:lnTo>
                  <a:lnTo>
                    <a:pt x="3618" y="1008"/>
                  </a:lnTo>
                  <a:lnTo>
                    <a:pt x="3621" y="1012"/>
                  </a:lnTo>
                  <a:lnTo>
                    <a:pt x="3621" y="1016"/>
                  </a:lnTo>
                  <a:lnTo>
                    <a:pt x="3623" y="1020"/>
                  </a:lnTo>
                  <a:lnTo>
                    <a:pt x="3623" y="1023"/>
                  </a:lnTo>
                  <a:lnTo>
                    <a:pt x="3624" y="1023"/>
                  </a:lnTo>
                  <a:lnTo>
                    <a:pt x="3626" y="1026"/>
                  </a:lnTo>
                  <a:lnTo>
                    <a:pt x="3627" y="1029"/>
                  </a:lnTo>
                  <a:lnTo>
                    <a:pt x="3629" y="1032"/>
                  </a:lnTo>
                  <a:lnTo>
                    <a:pt x="3627" y="1034"/>
                  </a:lnTo>
                  <a:lnTo>
                    <a:pt x="3631" y="1034"/>
                  </a:lnTo>
                  <a:lnTo>
                    <a:pt x="3632" y="1037"/>
                  </a:lnTo>
                  <a:lnTo>
                    <a:pt x="3631" y="1040"/>
                  </a:lnTo>
                  <a:lnTo>
                    <a:pt x="3632" y="1043"/>
                  </a:lnTo>
                  <a:lnTo>
                    <a:pt x="3634" y="1048"/>
                  </a:lnTo>
                  <a:lnTo>
                    <a:pt x="3637" y="1051"/>
                  </a:lnTo>
                  <a:lnTo>
                    <a:pt x="3639" y="1053"/>
                  </a:lnTo>
                  <a:lnTo>
                    <a:pt x="3639" y="1058"/>
                  </a:lnTo>
                  <a:lnTo>
                    <a:pt x="3637" y="1061"/>
                  </a:lnTo>
                  <a:lnTo>
                    <a:pt x="3635" y="1062"/>
                  </a:lnTo>
                  <a:lnTo>
                    <a:pt x="3634" y="1067"/>
                  </a:lnTo>
                  <a:lnTo>
                    <a:pt x="3634" y="1070"/>
                  </a:lnTo>
                  <a:lnTo>
                    <a:pt x="3632" y="1073"/>
                  </a:lnTo>
                  <a:lnTo>
                    <a:pt x="3629" y="1077"/>
                  </a:lnTo>
                  <a:lnTo>
                    <a:pt x="3629" y="1080"/>
                  </a:lnTo>
                  <a:lnTo>
                    <a:pt x="3629" y="1085"/>
                  </a:lnTo>
                  <a:lnTo>
                    <a:pt x="3631" y="1088"/>
                  </a:lnTo>
                  <a:lnTo>
                    <a:pt x="3629" y="1091"/>
                  </a:lnTo>
                  <a:lnTo>
                    <a:pt x="3629" y="1094"/>
                  </a:lnTo>
                  <a:lnTo>
                    <a:pt x="3632" y="1097"/>
                  </a:lnTo>
                  <a:lnTo>
                    <a:pt x="3631" y="1099"/>
                  </a:lnTo>
                  <a:lnTo>
                    <a:pt x="3629" y="1104"/>
                  </a:lnTo>
                  <a:lnTo>
                    <a:pt x="3629" y="1107"/>
                  </a:lnTo>
                  <a:lnTo>
                    <a:pt x="3626" y="1110"/>
                  </a:lnTo>
                  <a:lnTo>
                    <a:pt x="3626" y="1113"/>
                  </a:lnTo>
                  <a:lnTo>
                    <a:pt x="3627" y="1116"/>
                  </a:lnTo>
                  <a:lnTo>
                    <a:pt x="3627" y="1121"/>
                  </a:lnTo>
                  <a:lnTo>
                    <a:pt x="3627" y="1124"/>
                  </a:lnTo>
                  <a:lnTo>
                    <a:pt x="3629" y="1127"/>
                  </a:lnTo>
                  <a:lnTo>
                    <a:pt x="3632" y="1131"/>
                  </a:lnTo>
                  <a:lnTo>
                    <a:pt x="3629" y="1134"/>
                  </a:lnTo>
                  <a:lnTo>
                    <a:pt x="3629" y="1139"/>
                  </a:lnTo>
                  <a:lnTo>
                    <a:pt x="3631" y="1142"/>
                  </a:lnTo>
                  <a:lnTo>
                    <a:pt x="3632" y="1145"/>
                  </a:lnTo>
                  <a:lnTo>
                    <a:pt x="3631" y="1148"/>
                  </a:lnTo>
                  <a:lnTo>
                    <a:pt x="3631" y="1151"/>
                  </a:lnTo>
                  <a:lnTo>
                    <a:pt x="3629" y="1156"/>
                  </a:lnTo>
                  <a:lnTo>
                    <a:pt x="3629" y="1159"/>
                  </a:lnTo>
                  <a:lnTo>
                    <a:pt x="3629" y="1162"/>
                  </a:lnTo>
                  <a:lnTo>
                    <a:pt x="3627" y="1165"/>
                  </a:lnTo>
                  <a:lnTo>
                    <a:pt x="3624" y="1169"/>
                  </a:lnTo>
                  <a:lnTo>
                    <a:pt x="3624" y="1173"/>
                  </a:lnTo>
                  <a:lnTo>
                    <a:pt x="3623" y="1177"/>
                  </a:lnTo>
                  <a:lnTo>
                    <a:pt x="3621" y="1180"/>
                  </a:lnTo>
                  <a:lnTo>
                    <a:pt x="3620" y="1183"/>
                  </a:lnTo>
                  <a:lnTo>
                    <a:pt x="3616" y="1186"/>
                  </a:lnTo>
                  <a:lnTo>
                    <a:pt x="3618" y="1189"/>
                  </a:lnTo>
                  <a:lnTo>
                    <a:pt x="3615" y="1194"/>
                  </a:lnTo>
                  <a:lnTo>
                    <a:pt x="3615" y="1196"/>
                  </a:lnTo>
                  <a:lnTo>
                    <a:pt x="3615" y="1199"/>
                  </a:lnTo>
                  <a:lnTo>
                    <a:pt x="3615" y="1204"/>
                  </a:lnTo>
                  <a:lnTo>
                    <a:pt x="3612" y="1204"/>
                  </a:lnTo>
                  <a:lnTo>
                    <a:pt x="3612" y="1208"/>
                  </a:lnTo>
                  <a:lnTo>
                    <a:pt x="3613" y="1211"/>
                  </a:lnTo>
                  <a:lnTo>
                    <a:pt x="3612" y="1215"/>
                  </a:lnTo>
                  <a:lnTo>
                    <a:pt x="3608" y="1216"/>
                  </a:lnTo>
                  <a:lnTo>
                    <a:pt x="3605" y="1219"/>
                  </a:lnTo>
                  <a:lnTo>
                    <a:pt x="3607" y="1223"/>
                  </a:lnTo>
                  <a:lnTo>
                    <a:pt x="3605" y="1226"/>
                  </a:lnTo>
                  <a:lnTo>
                    <a:pt x="3605" y="1229"/>
                  </a:lnTo>
                  <a:lnTo>
                    <a:pt x="3607" y="1234"/>
                  </a:lnTo>
                  <a:lnTo>
                    <a:pt x="3604" y="1237"/>
                  </a:lnTo>
                  <a:lnTo>
                    <a:pt x="3607" y="1240"/>
                  </a:lnTo>
                  <a:lnTo>
                    <a:pt x="3607" y="1243"/>
                  </a:lnTo>
                  <a:lnTo>
                    <a:pt x="3605" y="1245"/>
                  </a:lnTo>
                  <a:lnTo>
                    <a:pt x="3602" y="1248"/>
                  </a:lnTo>
                  <a:lnTo>
                    <a:pt x="3604" y="1251"/>
                  </a:lnTo>
                  <a:lnTo>
                    <a:pt x="3602" y="1254"/>
                  </a:lnTo>
                  <a:lnTo>
                    <a:pt x="3599" y="1257"/>
                  </a:lnTo>
                  <a:lnTo>
                    <a:pt x="3596" y="1261"/>
                  </a:lnTo>
                  <a:lnTo>
                    <a:pt x="3593" y="1264"/>
                  </a:lnTo>
                  <a:lnTo>
                    <a:pt x="3585" y="1270"/>
                  </a:lnTo>
                  <a:lnTo>
                    <a:pt x="3577" y="1278"/>
                  </a:lnTo>
                  <a:lnTo>
                    <a:pt x="3574" y="1280"/>
                  </a:lnTo>
                  <a:lnTo>
                    <a:pt x="3570" y="1280"/>
                  </a:lnTo>
                  <a:lnTo>
                    <a:pt x="3567" y="1281"/>
                  </a:lnTo>
                  <a:lnTo>
                    <a:pt x="3562" y="1284"/>
                  </a:lnTo>
                  <a:lnTo>
                    <a:pt x="3559" y="1284"/>
                  </a:lnTo>
                  <a:lnTo>
                    <a:pt x="3556" y="1288"/>
                  </a:lnTo>
                  <a:lnTo>
                    <a:pt x="3553" y="1286"/>
                  </a:lnTo>
                  <a:lnTo>
                    <a:pt x="3551" y="1283"/>
                  </a:lnTo>
                  <a:lnTo>
                    <a:pt x="3548" y="1281"/>
                  </a:lnTo>
                  <a:lnTo>
                    <a:pt x="3543" y="1283"/>
                  </a:lnTo>
                  <a:lnTo>
                    <a:pt x="3540" y="1280"/>
                  </a:lnTo>
                  <a:lnTo>
                    <a:pt x="3539" y="1280"/>
                  </a:lnTo>
                  <a:lnTo>
                    <a:pt x="3536" y="1281"/>
                  </a:lnTo>
                  <a:lnTo>
                    <a:pt x="3531" y="1278"/>
                  </a:lnTo>
                  <a:lnTo>
                    <a:pt x="3528" y="1276"/>
                  </a:lnTo>
                  <a:lnTo>
                    <a:pt x="3524" y="1278"/>
                  </a:lnTo>
                  <a:lnTo>
                    <a:pt x="3521" y="1270"/>
                  </a:lnTo>
                  <a:lnTo>
                    <a:pt x="3515" y="1262"/>
                  </a:lnTo>
                  <a:lnTo>
                    <a:pt x="3515" y="1265"/>
                  </a:lnTo>
                  <a:lnTo>
                    <a:pt x="3512" y="1269"/>
                  </a:lnTo>
                  <a:lnTo>
                    <a:pt x="3509" y="1272"/>
                  </a:lnTo>
                  <a:lnTo>
                    <a:pt x="3505" y="1270"/>
                  </a:lnTo>
                  <a:lnTo>
                    <a:pt x="3505" y="1267"/>
                  </a:lnTo>
                  <a:lnTo>
                    <a:pt x="3505" y="1262"/>
                  </a:lnTo>
                  <a:lnTo>
                    <a:pt x="3502" y="1262"/>
                  </a:lnTo>
                  <a:lnTo>
                    <a:pt x="3497" y="1262"/>
                  </a:lnTo>
                  <a:lnTo>
                    <a:pt x="3497" y="1269"/>
                  </a:lnTo>
                  <a:lnTo>
                    <a:pt x="3497" y="1276"/>
                  </a:lnTo>
                  <a:lnTo>
                    <a:pt x="3494" y="1276"/>
                  </a:lnTo>
                  <a:lnTo>
                    <a:pt x="3497" y="1280"/>
                  </a:lnTo>
                  <a:lnTo>
                    <a:pt x="3494" y="1284"/>
                  </a:lnTo>
                  <a:lnTo>
                    <a:pt x="3496" y="1288"/>
                  </a:lnTo>
                  <a:lnTo>
                    <a:pt x="3496" y="1291"/>
                  </a:lnTo>
                  <a:lnTo>
                    <a:pt x="3491" y="1289"/>
                  </a:lnTo>
                  <a:lnTo>
                    <a:pt x="3488" y="1289"/>
                  </a:lnTo>
                  <a:lnTo>
                    <a:pt x="3485" y="1289"/>
                  </a:lnTo>
                  <a:lnTo>
                    <a:pt x="3482" y="1288"/>
                  </a:lnTo>
                  <a:lnTo>
                    <a:pt x="3478" y="1289"/>
                  </a:lnTo>
                  <a:lnTo>
                    <a:pt x="3483" y="1292"/>
                  </a:lnTo>
                  <a:lnTo>
                    <a:pt x="3486" y="1294"/>
                  </a:lnTo>
                  <a:lnTo>
                    <a:pt x="3486" y="1297"/>
                  </a:lnTo>
                  <a:lnTo>
                    <a:pt x="3486" y="1303"/>
                  </a:lnTo>
                  <a:lnTo>
                    <a:pt x="3483" y="1300"/>
                  </a:lnTo>
                  <a:lnTo>
                    <a:pt x="3480" y="1297"/>
                  </a:lnTo>
                  <a:lnTo>
                    <a:pt x="3478" y="1296"/>
                  </a:lnTo>
                  <a:lnTo>
                    <a:pt x="3477" y="1292"/>
                  </a:lnTo>
                  <a:lnTo>
                    <a:pt x="3474" y="1288"/>
                  </a:lnTo>
                  <a:lnTo>
                    <a:pt x="3470" y="1288"/>
                  </a:lnTo>
                  <a:lnTo>
                    <a:pt x="3467" y="1286"/>
                  </a:lnTo>
                  <a:lnTo>
                    <a:pt x="3469" y="1283"/>
                  </a:lnTo>
                  <a:lnTo>
                    <a:pt x="3474" y="1281"/>
                  </a:lnTo>
                  <a:lnTo>
                    <a:pt x="3477" y="1280"/>
                  </a:lnTo>
                  <a:lnTo>
                    <a:pt x="3480" y="1280"/>
                  </a:lnTo>
                  <a:lnTo>
                    <a:pt x="3483" y="1280"/>
                  </a:lnTo>
                  <a:lnTo>
                    <a:pt x="3485" y="1276"/>
                  </a:lnTo>
                  <a:lnTo>
                    <a:pt x="3483" y="1273"/>
                  </a:lnTo>
                  <a:lnTo>
                    <a:pt x="3483" y="1269"/>
                  </a:lnTo>
                  <a:lnTo>
                    <a:pt x="3482" y="1265"/>
                  </a:lnTo>
                  <a:lnTo>
                    <a:pt x="3482" y="1262"/>
                  </a:lnTo>
                  <a:lnTo>
                    <a:pt x="3482" y="1259"/>
                  </a:lnTo>
                  <a:lnTo>
                    <a:pt x="3478" y="1254"/>
                  </a:lnTo>
                  <a:lnTo>
                    <a:pt x="3475" y="1254"/>
                  </a:lnTo>
                  <a:lnTo>
                    <a:pt x="3469" y="1243"/>
                  </a:lnTo>
                  <a:lnTo>
                    <a:pt x="3464" y="1234"/>
                  </a:lnTo>
                  <a:lnTo>
                    <a:pt x="3464" y="1232"/>
                  </a:lnTo>
                  <a:lnTo>
                    <a:pt x="3463" y="1229"/>
                  </a:lnTo>
                  <a:lnTo>
                    <a:pt x="3459" y="1226"/>
                  </a:lnTo>
                  <a:lnTo>
                    <a:pt x="3456" y="1221"/>
                  </a:lnTo>
                  <a:lnTo>
                    <a:pt x="3455" y="1218"/>
                  </a:lnTo>
                  <a:lnTo>
                    <a:pt x="3445" y="1208"/>
                  </a:lnTo>
                  <a:lnTo>
                    <a:pt x="3436" y="1199"/>
                  </a:lnTo>
                  <a:lnTo>
                    <a:pt x="3439" y="1197"/>
                  </a:lnTo>
                  <a:lnTo>
                    <a:pt x="3442" y="1197"/>
                  </a:lnTo>
                  <a:lnTo>
                    <a:pt x="3445" y="1194"/>
                  </a:lnTo>
                  <a:lnTo>
                    <a:pt x="3450" y="1194"/>
                  </a:lnTo>
                  <a:lnTo>
                    <a:pt x="3450" y="1191"/>
                  </a:lnTo>
                  <a:lnTo>
                    <a:pt x="3451" y="1188"/>
                  </a:lnTo>
                  <a:lnTo>
                    <a:pt x="3453" y="1184"/>
                  </a:lnTo>
                  <a:lnTo>
                    <a:pt x="3451" y="1183"/>
                  </a:lnTo>
                  <a:lnTo>
                    <a:pt x="3456" y="1181"/>
                  </a:lnTo>
                  <a:lnTo>
                    <a:pt x="3459" y="1184"/>
                  </a:lnTo>
                  <a:lnTo>
                    <a:pt x="3459" y="1184"/>
                  </a:lnTo>
                  <a:lnTo>
                    <a:pt x="3464" y="1184"/>
                  </a:lnTo>
                  <a:lnTo>
                    <a:pt x="3470" y="1186"/>
                  </a:lnTo>
                  <a:lnTo>
                    <a:pt x="3474" y="1188"/>
                  </a:lnTo>
                  <a:lnTo>
                    <a:pt x="3477" y="1188"/>
                  </a:lnTo>
                  <a:lnTo>
                    <a:pt x="3480" y="1189"/>
                  </a:lnTo>
                  <a:lnTo>
                    <a:pt x="3488" y="1191"/>
                  </a:lnTo>
                  <a:lnTo>
                    <a:pt x="3491" y="1191"/>
                  </a:lnTo>
                  <a:lnTo>
                    <a:pt x="3494" y="1192"/>
                  </a:lnTo>
                  <a:lnTo>
                    <a:pt x="3497" y="1191"/>
                  </a:lnTo>
                  <a:lnTo>
                    <a:pt x="3497" y="1188"/>
                  </a:lnTo>
                  <a:lnTo>
                    <a:pt x="3496" y="1184"/>
                  </a:lnTo>
                  <a:lnTo>
                    <a:pt x="3493" y="1180"/>
                  </a:lnTo>
                  <a:lnTo>
                    <a:pt x="3493" y="1177"/>
                  </a:lnTo>
                  <a:lnTo>
                    <a:pt x="3493" y="1175"/>
                  </a:lnTo>
                  <a:lnTo>
                    <a:pt x="3494" y="1172"/>
                  </a:lnTo>
                  <a:lnTo>
                    <a:pt x="3497" y="1170"/>
                  </a:lnTo>
                  <a:lnTo>
                    <a:pt x="3497" y="1167"/>
                  </a:lnTo>
                  <a:lnTo>
                    <a:pt x="3496" y="1164"/>
                  </a:lnTo>
                  <a:lnTo>
                    <a:pt x="3493" y="1161"/>
                  </a:lnTo>
                  <a:lnTo>
                    <a:pt x="3493" y="1159"/>
                  </a:lnTo>
                  <a:lnTo>
                    <a:pt x="3496" y="1156"/>
                  </a:lnTo>
                  <a:lnTo>
                    <a:pt x="3496" y="1154"/>
                  </a:lnTo>
                  <a:lnTo>
                    <a:pt x="3496" y="1151"/>
                  </a:lnTo>
                  <a:lnTo>
                    <a:pt x="3493" y="1148"/>
                  </a:lnTo>
                  <a:lnTo>
                    <a:pt x="3496" y="1145"/>
                  </a:lnTo>
                  <a:lnTo>
                    <a:pt x="3496" y="1142"/>
                  </a:lnTo>
                  <a:lnTo>
                    <a:pt x="3494" y="1139"/>
                  </a:lnTo>
                  <a:lnTo>
                    <a:pt x="3491" y="1135"/>
                  </a:lnTo>
                  <a:lnTo>
                    <a:pt x="3490" y="1132"/>
                  </a:lnTo>
                  <a:lnTo>
                    <a:pt x="3490" y="1132"/>
                  </a:lnTo>
                  <a:lnTo>
                    <a:pt x="3490" y="1129"/>
                  </a:lnTo>
                  <a:lnTo>
                    <a:pt x="3490" y="1127"/>
                  </a:lnTo>
                  <a:lnTo>
                    <a:pt x="3490" y="1124"/>
                  </a:lnTo>
                  <a:lnTo>
                    <a:pt x="3486" y="1121"/>
                  </a:lnTo>
                  <a:lnTo>
                    <a:pt x="3486" y="1119"/>
                  </a:lnTo>
                  <a:lnTo>
                    <a:pt x="3485" y="1116"/>
                  </a:lnTo>
                  <a:lnTo>
                    <a:pt x="3483" y="1113"/>
                  </a:lnTo>
                  <a:lnTo>
                    <a:pt x="3485" y="1110"/>
                  </a:lnTo>
                  <a:lnTo>
                    <a:pt x="3482" y="1105"/>
                  </a:lnTo>
                  <a:lnTo>
                    <a:pt x="3480" y="1102"/>
                  </a:lnTo>
                  <a:lnTo>
                    <a:pt x="3480" y="1100"/>
                  </a:lnTo>
                  <a:lnTo>
                    <a:pt x="3480" y="1099"/>
                  </a:lnTo>
                  <a:lnTo>
                    <a:pt x="3483" y="1097"/>
                  </a:lnTo>
                  <a:lnTo>
                    <a:pt x="3486" y="1096"/>
                  </a:lnTo>
                  <a:lnTo>
                    <a:pt x="3488" y="1091"/>
                  </a:lnTo>
                  <a:lnTo>
                    <a:pt x="3486" y="1088"/>
                  </a:lnTo>
                  <a:lnTo>
                    <a:pt x="3488" y="1085"/>
                  </a:lnTo>
                  <a:lnTo>
                    <a:pt x="3483" y="1081"/>
                  </a:lnTo>
                  <a:lnTo>
                    <a:pt x="3482" y="1081"/>
                  </a:lnTo>
                  <a:lnTo>
                    <a:pt x="3478" y="1078"/>
                  </a:lnTo>
                  <a:lnTo>
                    <a:pt x="3475" y="1075"/>
                  </a:lnTo>
                  <a:lnTo>
                    <a:pt x="3472" y="1072"/>
                  </a:lnTo>
                  <a:lnTo>
                    <a:pt x="3474" y="1067"/>
                  </a:lnTo>
                  <a:lnTo>
                    <a:pt x="3472" y="1064"/>
                  </a:lnTo>
                  <a:lnTo>
                    <a:pt x="3472" y="1062"/>
                  </a:lnTo>
                  <a:lnTo>
                    <a:pt x="3469" y="1062"/>
                  </a:lnTo>
                  <a:lnTo>
                    <a:pt x="3466" y="1059"/>
                  </a:lnTo>
                  <a:lnTo>
                    <a:pt x="3464" y="1059"/>
                  </a:lnTo>
                  <a:lnTo>
                    <a:pt x="3461" y="1059"/>
                  </a:lnTo>
                  <a:lnTo>
                    <a:pt x="3459" y="1059"/>
                  </a:lnTo>
                  <a:lnTo>
                    <a:pt x="3459" y="1058"/>
                  </a:lnTo>
                  <a:lnTo>
                    <a:pt x="3455" y="1059"/>
                  </a:lnTo>
                  <a:lnTo>
                    <a:pt x="3453" y="1059"/>
                  </a:lnTo>
                  <a:lnTo>
                    <a:pt x="3450" y="1061"/>
                  </a:lnTo>
                  <a:lnTo>
                    <a:pt x="3450" y="1061"/>
                  </a:lnTo>
                  <a:lnTo>
                    <a:pt x="3445" y="1062"/>
                  </a:lnTo>
                  <a:lnTo>
                    <a:pt x="3442" y="1064"/>
                  </a:lnTo>
                  <a:lnTo>
                    <a:pt x="3439" y="1067"/>
                  </a:lnTo>
                  <a:lnTo>
                    <a:pt x="3439" y="1070"/>
                  </a:lnTo>
                  <a:lnTo>
                    <a:pt x="3437" y="1070"/>
                  </a:lnTo>
                  <a:lnTo>
                    <a:pt x="3434" y="1070"/>
                  </a:lnTo>
                  <a:lnTo>
                    <a:pt x="3431" y="1070"/>
                  </a:lnTo>
                  <a:lnTo>
                    <a:pt x="3428" y="1069"/>
                  </a:lnTo>
                  <a:lnTo>
                    <a:pt x="3424" y="1070"/>
                  </a:lnTo>
                  <a:lnTo>
                    <a:pt x="3421" y="1073"/>
                  </a:lnTo>
                  <a:lnTo>
                    <a:pt x="3417" y="1075"/>
                  </a:lnTo>
                  <a:lnTo>
                    <a:pt x="3417" y="1080"/>
                  </a:lnTo>
                  <a:lnTo>
                    <a:pt x="3417" y="1083"/>
                  </a:lnTo>
                  <a:lnTo>
                    <a:pt x="3417" y="1085"/>
                  </a:lnTo>
                  <a:lnTo>
                    <a:pt x="3412" y="1085"/>
                  </a:lnTo>
                  <a:lnTo>
                    <a:pt x="3409" y="1085"/>
                  </a:lnTo>
                  <a:lnTo>
                    <a:pt x="3405" y="1086"/>
                  </a:lnTo>
                  <a:lnTo>
                    <a:pt x="3402" y="1086"/>
                  </a:lnTo>
                  <a:lnTo>
                    <a:pt x="3398" y="1086"/>
                  </a:lnTo>
                  <a:lnTo>
                    <a:pt x="3394" y="1086"/>
                  </a:lnTo>
                  <a:lnTo>
                    <a:pt x="3391" y="1086"/>
                  </a:lnTo>
                  <a:lnTo>
                    <a:pt x="3388" y="1088"/>
                  </a:lnTo>
                  <a:lnTo>
                    <a:pt x="3385" y="1085"/>
                  </a:lnTo>
                  <a:lnTo>
                    <a:pt x="3383" y="1085"/>
                  </a:lnTo>
                  <a:lnTo>
                    <a:pt x="3375" y="1085"/>
                  </a:lnTo>
                  <a:lnTo>
                    <a:pt x="3372" y="1086"/>
                  </a:lnTo>
                  <a:lnTo>
                    <a:pt x="3372" y="1086"/>
                  </a:lnTo>
                  <a:lnTo>
                    <a:pt x="3367" y="1086"/>
                  </a:lnTo>
                  <a:lnTo>
                    <a:pt x="3364" y="1085"/>
                  </a:lnTo>
                  <a:lnTo>
                    <a:pt x="3363" y="1080"/>
                  </a:lnTo>
                  <a:lnTo>
                    <a:pt x="3359" y="1077"/>
                  </a:lnTo>
                  <a:lnTo>
                    <a:pt x="3355" y="1075"/>
                  </a:lnTo>
                  <a:lnTo>
                    <a:pt x="3352" y="1073"/>
                  </a:lnTo>
                  <a:lnTo>
                    <a:pt x="3352" y="1072"/>
                  </a:lnTo>
                  <a:lnTo>
                    <a:pt x="3347" y="1070"/>
                  </a:lnTo>
                  <a:lnTo>
                    <a:pt x="3348" y="1066"/>
                  </a:lnTo>
                  <a:lnTo>
                    <a:pt x="3348" y="1062"/>
                  </a:lnTo>
                  <a:lnTo>
                    <a:pt x="3347" y="1061"/>
                  </a:lnTo>
                  <a:lnTo>
                    <a:pt x="3344" y="1058"/>
                  </a:lnTo>
                  <a:lnTo>
                    <a:pt x="3342" y="1054"/>
                  </a:lnTo>
                  <a:lnTo>
                    <a:pt x="3337" y="1054"/>
                  </a:lnTo>
                  <a:lnTo>
                    <a:pt x="3334" y="1051"/>
                  </a:lnTo>
                  <a:lnTo>
                    <a:pt x="3331" y="1050"/>
                  </a:lnTo>
                  <a:lnTo>
                    <a:pt x="3329" y="1047"/>
                  </a:lnTo>
                  <a:lnTo>
                    <a:pt x="3329" y="1043"/>
                  </a:lnTo>
                  <a:lnTo>
                    <a:pt x="3328" y="1039"/>
                  </a:lnTo>
                  <a:lnTo>
                    <a:pt x="3326" y="1039"/>
                  </a:lnTo>
                  <a:lnTo>
                    <a:pt x="3323" y="1040"/>
                  </a:lnTo>
                  <a:lnTo>
                    <a:pt x="3320" y="1039"/>
                  </a:lnTo>
                  <a:lnTo>
                    <a:pt x="3317" y="1039"/>
                  </a:lnTo>
                  <a:lnTo>
                    <a:pt x="3312" y="1039"/>
                  </a:lnTo>
                  <a:lnTo>
                    <a:pt x="3306" y="1035"/>
                  </a:lnTo>
                  <a:lnTo>
                    <a:pt x="3299" y="1032"/>
                  </a:lnTo>
                  <a:lnTo>
                    <a:pt x="3298" y="1031"/>
                  </a:lnTo>
                  <a:lnTo>
                    <a:pt x="3293" y="1028"/>
                  </a:lnTo>
                  <a:lnTo>
                    <a:pt x="3293" y="1028"/>
                  </a:lnTo>
                  <a:lnTo>
                    <a:pt x="3291" y="1026"/>
                  </a:lnTo>
                  <a:lnTo>
                    <a:pt x="3288" y="1023"/>
                  </a:lnTo>
                  <a:lnTo>
                    <a:pt x="3285" y="1023"/>
                  </a:lnTo>
                  <a:lnTo>
                    <a:pt x="3282" y="1021"/>
                  </a:lnTo>
                  <a:lnTo>
                    <a:pt x="3279" y="1018"/>
                  </a:lnTo>
                  <a:lnTo>
                    <a:pt x="3277" y="1018"/>
                  </a:lnTo>
                  <a:lnTo>
                    <a:pt x="3274" y="1016"/>
                  </a:lnTo>
                  <a:lnTo>
                    <a:pt x="3274" y="1020"/>
                  </a:lnTo>
                  <a:lnTo>
                    <a:pt x="3271" y="1020"/>
                  </a:lnTo>
                  <a:lnTo>
                    <a:pt x="3264" y="1020"/>
                  </a:lnTo>
                  <a:lnTo>
                    <a:pt x="3261" y="1016"/>
                  </a:lnTo>
                  <a:lnTo>
                    <a:pt x="3258" y="1016"/>
                  </a:lnTo>
                  <a:lnTo>
                    <a:pt x="3255" y="1015"/>
                  </a:lnTo>
                  <a:lnTo>
                    <a:pt x="3252" y="1012"/>
                  </a:lnTo>
                  <a:lnTo>
                    <a:pt x="3248" y="1010"/>
                  </a:lnTo>
                  <a:lnTo>
                    <a:pt x="3247" y="1010"/>
                  </a:lnTo>
                  <a:lnTo>
                    <a:pt x="3245" y="1010"/>
                  </a:lnTo>
                  <a:lnTo>
                    <a:pt x="3245" y="1012"/>
                  </a:lnTo>
                  <a:lnTo>
                    <a:pt x="3242" y="1010"/>
                  </a:lnTo>
                  <a:lnTo>
                    <a:pt x="3239" y="1010"/>
                  </a:lnTo>
                  <a:lnTo>
                    <a:pt x="3237" y="1012"/>
                  </a:lnTo>
                  <a:lnTo>
                    <a:pt x="3231" y="1012"/>
                  </a:lnTo>
                  <a:lnTo>
                    <a:pt x="3226" y="1012"/>
                  </a:lnTo>
                  <a:lnTo>
                    <a:pt x="3223" y="1010"/>
                  </a:lnTo>
                  <a:lnTo>
                    <a:pt x="3220" y="1010"/>
                  </a:lnTo>
                  <a:lnTo>
                    <a:pt x="3217" y="1008"/>
                  </a:lnTo>
                  <a:lnTo>
                    <a:pt x="3214" y="1007"/>
                  </a:lnTo>
                  <a:lnTo>
                    <a:pt x="3209" y="1004"/>
                  </a:lnTo>
                  <a:lnTo>
                    <a:pt x="3206" y="1002"/>
                  </a:lnTo>
                  <a:lnTo>
                    <a:pt x="3204" y="999"/>
                  </a:lnTo>
                  <a:lnTo>
                    <a:pt x="3201" y="996"/>
                  </a:lnTo>
                  <a:lnTo>
                    <a:pt x="3199" y="994"/>
                  </a:lnTo>
                  <a:lnTo>
                    <a:pt x="3198" y="991"/>
                  </a:lnTo>
                  <a:lnTo>
                    <a:pt x="3198" y="988"/>
                  </a:lnTo>
                  <a:lnTo>
                    <a:pt x="3198" y="986"/>
                  </a:lnTo>
                  <a:lnTo>
                    <a:pt x="3193" y="985"/>
                  </a:lnTo>
                  <a:lnTo>
                    <a:pt x="3193" y="985"/>
                  </a:lnTo>
                  <a:lnTo>
                    <a:pt x="3188" y="983"/>
                  </a:lnTo>
                  <a:lnTo>
                    <a:pt x="3185" y="980"/>
                  </a:lnTo>
                  <a:lnTo>
                    <a:pt x="3182" y="977"/>
                  </a:lnTo>
                  <a:lnTo>
                    <a:pt x="3180" y="974"/>
                  </a:lnTo>
                  <a:lnTo>
                    <a:pt x="3179" y="970"/>
                  </a:lnTo>
                  <a:lnTo>
                    <a:pt x="3175" y="967"/>
                  </a:lnTo>
                  <a:lnTo>
                    <a:pt x="3172" y="964"/>
                  </a:lnTo>
                  <a:lnTo>
                    <a:pt x="3169" y="961"/>
                  </a:lnTo>
                  <a:lnTo>
                    <a:pt x="3164" y="959"/>
                  </a:lnTo>
                  <a:lnTo>
                    <a:pt x="3161" y="956"/>
                  </a:lnTo>
                  <a:lnTo>
                    <a:pt x="3160" y="956"/>
                  </a:lnTo>
                  <a:lnTo>
                    <a:pt x="3156" y="955"/>
                  </a:lnTo>
                  <a:lnTo>
                    <a:pt x="3153" y="951"/>
                  </a:lnTo>
                  <a:lnTo>
                    <a:pt x="3150" y="947"/>
                  </a:lnTo>
                  <a:lnTo>
                    <a:pt x="3149" y="943"/>
                  </a:lnTo>
                  <a:lnTo>
                    <a:pt x="3145" y="942"/>
                  </a:lnTo>
                  <a:lnTo>
                    <a:pt x="3144" y="939"/>
                  </a:lnTo>
                  <a:lnTo>
                    <a:pt x="3139" y="937"/>
                  </a:lnTo>
                  <a:lnTo>
                    <a:pt x="3139" y="934"/>
                  </a:lnTo>
                  <a:lnTo>
                    <a:pt x="3134" y="932"/>
                  </a:lnTo>
                  <a:lnTo>
                    <a:pt x="3133" y="929"/>
                  </a:lnTo>
                  <a:lnTo>
                    <a:pt x="3123" y="923"/>
                  </a:lnTo>
                  <a:lnTo>
                    <a:pt x="3114" y="915"/>
                  </a:lnTo>
                  <a:lnTo>
                    <a:pt x="3114" y="912"/>
                  </a:lnTo>
                  <a:lnTo>
                    <a:pt x="3110" y="909"/>
                  </a:lnTo>
                  <a:lnTo>
                    <a:pt x="3107" y="909"/>
                  </a:lnTo>
                  <a:lnTo>
                    <a:pt x="3106" y="905"/>
                  </a:lnTo>
                  <a:lnTo>
                    <a:pt x="3101" y="904"/>
                  </a:lnTo>
                  <a:lnTo>
                    <a:pt x="3099" y="901"/>
                  </a:lnTo>
                  <a:lnTo>
                    <a:pt x="3096" y="897"/>
                  </a:lnTo>
                  <a:lnTo>
                    <a:pt x="3093" y="896"/>
                  </a:lnTo>
                  <a:lnTo>
                    <a:pt x="3090" y="894"/>
                  </a:lnTo>
                  <a:lnTo>
                    <a:pt x="3085" y="893"/>
                  </a:lnTo>
                  <a:lnTo>
                    <a:pt x="3082" y="891"/>
                  </a:lnTo>
                  <a:lnTo>
                    <a:pt x="3082" y="888"/>
                  </a:lnTo>
                  <a:lnTo>
                    <a:pt x="3077" y="885"/>
                  </a:lnTo>
                  <a:lnTo>
                    <a:pt x="3074" y="883"/>
                  </a:lnTo>
                  <a:lnTo>
                    <a:pt x="3071" y="880"/>
                  </a:lnTo>
                  <a:lnTo>
                    <a:pt x="3068" y="880"/>
                  </a:lnTo>
                  <a:lnTo>
                    <a:pt x="3064" y="880"/>
                  </a:lnTo>
                  <a:lnTo>
                    <a:pt x="3063" y="877"/>
                  </a:lnTo>
                  <a:lnTo>
                    <a:pt x="3060" y="874"/>
                  </a:lnTo>
                  <a:lnTo>
                    <a:pt x="3055" y="875"/>
                  </a:lnTo>
                  <a:lnTo>
                    <a:pt x="3052" y="872"/>
                  </a:lnTo>
                  <a:lnTo>
                    <a:pt x="3049" y="872"/>
                  </a:lnTo>
                  <a:lnTo>
                    <a:pt x="3045" y="871"/>
                  </a:lnTo>
                  <a:lnTo>
                    <a:pt x="3041" y="869"/>
                  </a:lnTo>
                  <a:lnTo>
                    <a:pt x="3036" y="869"/>
                  </a:lnTo>
                  <a:lnTo>
                    <a:pt x="3036" y="872"/>
                  </a:lnTo>
                  <a:lnTo>
                    <a:pt x="3031" y="871"/>
                  </a:lnTo>
                  <a:lnTo>
                    <a:pt x="3028" y="871"/>
                  </a:lnTo>
                  <a:lnTo>
                    <a:pt x="3025" y="869"/>
                  </a:lnTo>
                  <a:lnTo>
                    <a:pt x="3022" y="869"/>
                  </a:lnTo>
                  <a:lnTo>
                    <a:pt x="3017" y="867"/>
                  </a:lnTo>
                  <a:lnTo>
                    <a:pt x="3014" y="866"/>
                  </a:lnTo>
                  <a:lnTo>
                    <a:pt x="3011" y="864"/>
                  </a:lnTo>
                  <a:lnTo>
                    <a:pt x="3007" y="863"/>
                  </a:lnTo>
                  <a:lnTo>
                    <a:pt x="3004" y="863"/>
                  </a:lnTo>
                  <a:lnTo>
                    <a:pt x="3001" y="861"/>
                  </a:lnTo>
                  <a:lnTo>
                    <a:pt x="2996" y="859"/>
                  </a:lnTo>
                  <a:lnTo>
                    <a:pt x="2993" y="858"/>
                  </a:lnTo>
                  <a:lnTo>
                    <a:pt x="2990" y="858"/>
                  </a:lnTo>
                  <a:lnTo>
                    <a:pt x="2988" y="856"/>
                  </a:lnTo>
                  <a:lnTo>
                    <a:pt x="2987" y="856"/>
                  </a:lnTo>
                  <a:lnTo>
                    <a:pt x="2984" y="855"/>
                  </a:lnTo>
                  <a:lnTo>
                    <a:pt x="2982" y="856"/>
                  </a:lnTo>
                  <a:lnTo>
                    <a:pt x="2979" y="856"/>
                  </a:lnTo>
                  <a:lnTo>
                    <a:pt x="2976" y="855"/>
                  </a:lnTo>
                  <a:lnTo>
                    <a:pt x="2972" y="856"/>
                  </a:lnTo>
                  <a:lnTo>
                    <a:pt x="2971" y="856"/>
                  </a:lnTo>
                  <a:lnTo>
                    <a:pt x="2960" y="858"/>
                  </a:lnTo>
                  <a:lnTo>
                    <a:pt x="2950" y="859"/>
                  </a:lnTo>
                  <a:lnTo>
                    <a:pt x="2946" y="858"/>
                  </a:lnTo>
                  <a:lnTo>
                    <a:pt x="2942" y="858"/>
                  </a:lnTo>
                  <a:lnTo>
                    <a:pt x="2939" y="861"/>
                  </a:lnTo>
                  <a:lnTo>
                    <a:pt x="2936" y="859"/>
                  </a:lnTo>
                  <a:lnTo>
                    <a:pt x="2933" y="861"/>
                  </a:lnTo>
                  <a:lnTo>
                    <a:pt x="2928" y="861"/>
                  </a:lnTo>
                  <a:lnTo>
                    <a:pt x="2925" y="863"/>
                  </a:lnTo>
                  <a:lnTo>
                    <a:pt x="2915" y="866"/>
                  </a:lnTo>
                  <a:lnTo>
                    <a:pt x="2909" y="866"/>
                  </a:lnTo>
                  <a:lnTo>
                    <a:pt x="2906" y="869"/>
                  </a:lnTo>
                  <a:lnTo>
                    <a:pt x="2904" y="872"/>
                  </a:lnTo>
                  <a:lnTo>
                    <a:pt x="2903" y="875"/>
                  </a:lnTo>
                  <a:lnTo>
                    <a:pt x="2901" y="878"/>
                  </a:lnTo>
                  <a:lnTo>
                    <a:pt x="2901" y="880"/>
                  </a:lnTo>
                  <a:lnTo>
                    <a:pt x="2900" y="883"/>
                  </a:lnTo>
                  <a:lnTo>
                    <a:pt x="2895" y="885"/>
                  </a:lnTo>
                  <a:lnTo>
                    <a:pt x="2898" y="890"/>
                  </a:lnTo>
                  <a:lnTo>
                    <a:pt x="2901" y="893"/>
                  </a:lnTo>
                  <a:lnTo>
                    <a:pt x="2904" y="893"/>
                  </a:lnTo>
                  <a:lnTo>
                    <a:pt x="2909" y="891"/>
                  </a:lnTo>
                  <a:lnTo>
                    <a:pt x="2912" y="891"/>
                  </a:lnTo>
                  <a:lnTo>
                    <a:pt x="2915" y="891"/>
                  </a:lnTo>
                  <a:lnTo>
                    <a:pt x="2919" y="893"/>
                  </a:lnTo>
                  <a:lnTo>
                    <a:pt x="2923" y="896"/>
                  </a:lnTo>
                  <a:lnTo>
                    <a:pt x="2925" y="899"/>
                  </a:lnTo>
                  <a:lnTo>
                    <a:pt x="2925" y="902"/>
                  </a:lnTo>
                  <a:lnTo>
                    <a:pt x="2928" y="904"/>
                  </a:lnTo>
                  <a:lnTo>
                    <a:pt x="2933" y="907"/>
                  </a:lnTo>
                  <a:lnTo>
                    <a:pt x="2936" y="910"/>
                  </a:lnTo>
                  <a:lnTo>
                    <a:pt x="2934" y="913"/>
                  </a:lnTo>
                  <a:lnTo>
                    <a:pt x="2936" y="917"/>
                  </a:lnTo>
                  <a:lnTo>
                    <a:pt x="2936" y="920"/>
                  </a:lnTo>
                  <a:lnTo>
                    <a:pt x="2933" y="921"/>
                  </a:lnTo>
                  <a:lnTo>
                    <a:pt x="2930" y="924"/>
                  </a:lnTo>
                  <a:lnTo>
                    <a:pt x="2928" y="928"/>
                  </a:lnTo>
                  <a:lnTo>
                    <a:pt x="2926" y="931"/>
                  </a:lnTo>
                  <a:lnTo>
                    <a:pt x="2928" y="940"/>
                  </a:lnTo>
                  <a:lnTo>
                    <a:pt x="2928" y="947"/>
                  </a:lnTo>
                  <a:lnTo>
                    <a:pt x="2930" y="951"/>
                  </a:lnTo>
                  <a:lnTo>
                    <a:pt x="2930" y="955"/>
                  </a:lnTo>
                  <a:lnTo>
                    <a:pt x="2928" y="958"/>
                  </a:lnTo>
                  <a:lnTo>
                    <a:pt x="2928" y="961"/>
                  </a:lnTo>
                  <a:lnTo>
                    <a:pt x="2930" y="962"/>
                  </a:lnTo>
                  <a:lnTo>
                    <a:pt x="2931" y="966"/>
                  </a:lnTo>
                  <a:lnTo>
                    <a:pt x="2928" y="969"/>
                  </a:lnTo>
                  <a:lnTo>
                    <a:pt x="2928" y="974"/>
                  </a:lnTo>
                  <a:lnTo>
                    <a:pt x="2930" y="977"/>
                  </a:lnTo>
                  <a:lnTo>
                    <a:pt x="2930" y="980"/>
                  </a:lnTo>
                  <a:lnTo>
                    <a:pt x="2933" y="980"/>
                  </a:lnTo>
                  <a:lnTo>
                    <a:pt x="2938" y="982"/>
                  </a:lnTo>
                  <a:lnTo>
                    <a:pt x="2936" y="983"/>
                  </a:lnTo>
                  <a:lnTo>
                    <a:pt x="2939" y="986"/>
                  </a:lnTo>
                  <a:lnTo>
                    <a:pt x="2941" y="988"/>
                  </a:lnTo>
                  <a:lnTo>
                    <a:pt x="2941" y="991"/>
                  </a:lnTo>
                  <a:lnTo>
                    <a:pt x="2938" y="994"/>
                  </a:lnTo>
                  <a:lnTo>
                    <a:pt x="2936" y="994"/>
                  </a:lnTo>
                  <a:lnTo>
                    <a:pt x="2934" y="996"/>
                  </a:lnTo>
                  <a:lnTo>
                    <a:pt x="2930" y="996"/>
                  </a:lnTo>
                  <a:lnTo>
                    <a:pt x="2926" y="996"/>
                  </a:lnTo>
                  <a:lnTo>
                    <a:pt x="2923" y="996"/>
                  </a:lnTo>
                  <a:lnTo>
                    <a:pt x="2920" y="999"/>
                  </a:lnTo>
                  <a:lnTo>
                    <a:pt x="2919" y="1002"/>
                  </a:lnTo>
                  <a:lnTo>
                    <a:pt x="2915" y="1005"/>
                  </a:lnTo>
                  <a:lnTo>
                    <a:pt x="2912" y="1010"/>
                  </a:lnTo>
                  <a:lnTo>
                    <a:pt x="2912" y="1010"/>
                  </a:lnTo>
                  <a:lnTo>
                    <a:pt x="2909" y="1013"/>
                  </a:lnTo>
                  <a:lnTo>
                    <a:pt x="2907" y="1013"/>
                  </a:lnTo>
                  <a:lnTo>
                    <a:pt x="2904" y="1013"/>
                  </a:lnTo>
                  <a:lnTo>
                    <a:pt x="2901" y="1012"/>
                  </a:lnTo>
                  <a:lnTo>
                    <a:pt x="2898" y="1010"/>
                  </a:lnTo>
                  <a:lnTo>
                    <a:pt x="2895" y="1008"/>
                  </a:lnTo>
                  <a:lnTo>
                    <a:pt x="2890" y="1008"/>
                  </a:lnTo>
                  <a:lnTo>
                    <a:pt x="2876" y="1005"/>
                  </a:lnTo>
                  <a:lnTo>
                    <a:pt x="2863" y="999"/>
                  </a:lnTo>
                  <a:lnTo>
                    <a:pt x="2860" y="997"/>
                  </a:lnTo>
                  <a:lnTo>
                    <a:pt x="2857" y="996"/>
                  </a:lnTo>
                  <a:lnTo>
                    <a:pt x="2854" y="996"/>
                  </a:lnTo>
                  <a:lnTo>
                    <a:pt x="2849" y="994"/>
                  </a:lnTo>
                  <a:lnTo>
                    <a:pt x="2849" y="994"/>
                  </a:lnTo>
                  <a:lnTo>
                    <a:pt x="2844" y="993"/>
                  </a:lnTo>
                  <a:lnTo>
                    <a:pt x="2841" y="994"/>
                  </a:lnTo>
                  <a:lnTo>
                    <a:pt x="2841" y="994"/>
                  </a:lnTo>
                  <a:lnTo>
                    <a:pt x="2833" y="999"/>
                  </a:lnTo>
                  <a:lnTo>
                    <a:pt x="2831" y="999"/>
                  </a:lnTo>
                  <a:lnTo>
                    <a:pt x="2828" y="997"/>
                  </a:lnTo>
                  <a:lnTo>
                    <a:pt x="2825" y="997"/>
                  </a:lnTo>
                  <a:lnTo>
                    <a:pt x="2820" y="997"/>
                  </a:lnTo>
                  <a:lnTo>
                    <a:pt x="2817" y="996"/>
                  </a:lnTo>
                  <a:lnTo>
                    <a:pt x="2814" y="994"/>
                  </a:lnTo>
                  <a:lnTo>
                    <a:pt x="2808" y="989"/>
                  </a:lnTo>
                  <a:lnTo>
                    <a:pt x="2801" y="986"/>
                  </a:lnTo>
                  <a:lnTo>
                    <a:pt x="2795" y="985"/>
                  </a:lnTo>
                  <a:lnTo>
                    <a:pt x="2787" y="985"/>
                  </a:lnTo>
                  <a:lnTo>
                    <a:pt x="2782" y="983"/>
                  </a:lnTo>
                  <a:lnTo>
                    <a:pt x="2779" y="983"/>
                  </a:lnTo>
                  <a:lnTo>
                    <a:pt x="2776" y="985"/>
                  </a:lnTo>
                  <a:lnTo>
                    <a:pt x="2773" y="988"/>
                  </a:lnTo>
                  <a:lnTo>
                    <a:pt x="2769" y="991"/>
                  </a:lnTo>
                  <a:lnTo>
                    <a:pt x="2765" y="993"/>
                  </a:lnTo>
                  <a:lnTo>
                    <a:pt x="2762" y="994"/>
                  </a:lnTo>
                  <a:lnTo>
                    <a:pt x="2760" y="997"/>
                  </a:lnTo>
                  <a:lnTo>
                    <a:pt x="2757" y="1001"/>
                  </a:lnTo>
                  <a:lnTo>
                    <a:pt x="2755" y="1004"/>
                  </a:lnTo>
                  <a:lnTo>
                    <a:pt x="2755" y="1007"/>
                  </a:lnTo>
                  <a:lnTo>
                    <a:pt x="2752" y="1012"/>
                  </a:lnTo>
                  <a:lnTo>
                    <a:pt x="2749" y="1013"/>
                  </a:lnTo>
                  <a:lnTo>
                    <a:pt x="2746" y="1013"/>
                  </a:lnTo>
                  <a:lnTo>
                    <a:pt x="2743" y="1013"/>
                  </a:lnTo>
                  <a:lnTo>
                    <a:pt x="2743" y="1013"/>
                  </a:lnTo>
                  <a:lnTo>
                    <a:pt x="2739" y="1012"/>
                  </a:lnTo>
                  <a:lnTo>
                    <a:pt x="2735" y="1015"/>
                  </a:lnTo>
                  <a:lnTo>
                    <a:pt x="2731" y="1016"/>
                  </a:lnTo>
                  <a:lnTo>
                    <a:pt x="2728" y="1016"/>
                  </a:lnTo>
                  <a:lnTo>
                    <a:pt x="2725" y="1018"/>
                  </a:lnTo>
                  <a:lnTo>
                    <a:pt x="2722" y="1018"/>
                  </a:lnTo>
                  <a:lnTo>
                    <a:pt x="2717" y="1018"/>
                  </a:lnTo>
                  <a:lnTo>
                    <a:pt x="2714" y="1020"/>
                  </a:lnTo>
                  <a:lnTo>
                    <a:pt x="2711" y="1020"/>
                  </a:lnTo>
                  <a:lnTo>
                    <a:pt x="2708" y="1020"/>
                  </a:lnTo>
                  <a:lnTo>
                    <a:pt x="2700" y="1024"/>
                  </a:lnTo>
                  <a:lnTo>
                    <a:pt x="2697" y="1028"/>
                  </a:lnTo>
                  <a:lnTo>
                    <a:pt x="2693" y="1028"/>
                  </a:lnTo>
                  <a:lnTo>
                    <a:pt x="2690" y="1028"/>
                  </a:lnTo>
                  <a:lnTo>
                    <a:pt x="2685" y="1026"/>
                  </a:lnTo>
                  <a:lnTo>
                    <a:pt x="2682" y="1026"/>
                  </a:lnTo>
                  <a:lnTo>
                    <a:pt x="2679" y="1024"/>
                  </a:lnTo>
                  <a:lnTo>
                    <a:pt x="2676" y="1028"/>
                  </a:lnTo>
                  <a:lnTo>
                    <a:pt x="2671" y="1026"/>
                  </a:lnTo>
                  <a:lnTo>
                    <a:pt x="2668" y="1026"/>
                  </a:lnTo>
                  <a:lnTo>
                    <a:pt x="2665" y="1026"/>
                  </a:lnTo>
                  <a:lnTo>
                    <a:pt x="2662" y="1024"/>
                  </a:lnTo>
                  <a:lnTo>
                    <a:pt x="2657" y="1024"/>
                  </a:lnTo>
                  <a:lnTo>
                    <a:pt x="2654" y="1024"/>
                  </a:lnTo>
                  <a:lnTo>
                    <a:pt x="2651" y="1023"/>
                  </a:lnTo>
                  <a:lnTo>
                    <a:pt x="2647" y="1021"/>
                  </a:lnTo>
                  <a:lnTo>
                    <a:pt x="2643" y="1020"/>
                  </a:lnTo>
                  <a:lnTo>
                    <a:pt x="2639" y="1020"/>
                  </a:lnTo>
                  <a:lnTo>
                    <a:pt x="2636" y="1021"/>
                  </a:lnTo>
                  <a:lnTo>
                    <a:pt x="2633" y="1020"/>
                  </a:lnTo>
                  <a:lnTo>
                    <a:pt x="2630" y="1020"/>
                  </a:lnTo>
                  <a:lnTo>
                    <a:pt x="2625" y="1020"/>
                  </a:lnTo>
                  <a:lnTo>
                    <a:pt x="2622" y="1021"/>
                  </a:lnTo>
                  <a:lnTo>
                    <a:pt x="2619" y="1020"/>
                  </a:lnTo>
                  <a:lnTo>
                    <a:pt x="2616" y="1018"/>
                  </a:lnTo>
                  <a:lnTo>
                    <a:pt x="2611" y="1016"/>
                  </a:lnTo>
                  <a:lnTo>
                    <a:pt x="2608" y="1015"/>
                  </a:lnTo>
                  <a:lnTo>
                    <a:pt x="2605" y="1012"/>
                  </a:lnTo>
                  <a:lnTo>
                    <a:pt x="2601" y="1012"/>
                  </a:lnTo>
                  <a:lnTo>
                    <a:pt x="2593" y="1007"/>
                  </a:lnTo>
                  <a:lnTo>
                    <a:pt x="2593" y="1004"/>
                  </a:lnTo>
                  <a:lnTo>
                    <a:pt x="2590" y="1001"/>
                  </a:lnTo>
                  <a:lnTo>
                    <a:pt x="2589" y="997"/>
                  </a:lnTo>
                  <a:lnTo>
                    <a:pt x="2589" y="996"/>
                  </a:lnTo>
                  <a:lnTo>
                    <a:pt x="2585" y="996"/>
                  </a:lnTo>
                  <a:lnTo>
                    <a:pt x="2584" y="996"/>
                  </a:lnTo>
                  <a:lnTo>
                    <a:pt x="2581" y="996"/>
                  </a:lnTo>
                  <a:lnTo>
                    <a:pt x="2570" y="996"/>
                  </a:lnTo>
                  <a:lnTo>
                    <a:pt x="2568" y="994"/>
                  </a:lnTo>
                  <a:lnTo>
                    <a:pt x="2565" y="994"/>
                  </a:lnTo>
                  <a:lnTo>
                    <a:pt x="2562" y="993"/>
                  </a:lnTo>
                  <a:lnTo>
                    <a:pt x="2555" y="988"/>
                  </a:lnTo>
                  <a:lnTo>
                    <a:pt x="2549" y="985"/>
                  </a:lnTo>
                  <a:lnTo>
                    <a:pt x="2543" y="982"/>
                  </a:lnTo>
                  <a:lnTo>
                    <a:pt x="2535" y="980"/>
                  </a:lnTo>
                  <a:lnTo>
                    <a:pt x="2533" y="980"/>
                  </a:lnTo>
                  <a:lnTo>
                    <a:pt x="2533" y="980"/>
                  </a:lnTo>
                  <a:lnTo>
                    <a:pt x="2528" y="982"/>
                  </a:lnTo>
                  <a:lnTo>
                    <a:pt x="2525" y="982"/>
                  </a:lnTo>
                  <a:lnTo>
                    <a:pt x="2522" y="980"/>
                  </a:lnTo>
                  <a:lnTo>
                    <a:pt x="2520" y="980"/>
                  </a:lnTo>
                  <a:lnTo>
                    <a:pt x="2519" y="980"/>
                  </a:lnTo>
                  <a:lnTo>
                    <a:pt x="2519" y="978"/>
                  </a:lnTo>
                  <a:lnTo>
                    <a:pt x="2516" y="978"/>
                  </a:lnTo>
                  <a:lnTo>
                    <a:pt x="2509" y="977"/>
                  </a:lnTo>
                  <a:lnTo>
                    <a:pt x="2505" y="977"/>
                  </a:lnTo>
                  <a:lnTo>
                    <a:pt x="2501" y="977"/>
                  </a:lnTo>
                  <a:lnTo>
                    <a:pt x="2495" y="975"/>
                  </a:lnTo>
                  <a:lnTo>
                    <a:pt x="2490" y="978"/>
                  </a:lnTo>
                  <a:lnTo>
                    <a:pt x="2482" y="978"/>
                  </a:lnTo>
                  <a:lnTo>
                    <a:pt x="2474" y="982"/>
                  </a:lnTo>
                  <a:lnTo>
                    <a:pt x="2471" y="982"/>
                  </a:lnTo>
                  <a:lnTo>
                    <a:pt x="2468" y="985"/>
                  </a:lnTo>
                  <a:lnTo>
                    <a:pt x="2465" y="988"/>
                  </a:lnTo>
                  <a:lnTo>
                    <a:pt x="2462" y="988"/>
                  </a:lnTo>
                  <a:lnTo>
                    <a:pt x="2457" y="988"/>
                  </a:lnTo>
                  <a:lnTo>
                    <a:pt x="2454" y="986"/>
                  </a:lnTo>
                  <a:lnTo>
                    <a:pt x="2451" y="988"/>
                  </a:lnTo>
                  <a:lnTo>
                    <a:pt x="2448" y="988"/>
                  </a:lnTo>
                  <a:lnTo>
                    <a:pt x="2443" y="986"/>
                  </a:lnTo>
                  <a:lnTo>
                    <a:pt x="2440" y="986"/>
                  </a:lnTo>
                  <a:lnTo>
                    <a:pt x="2436" y="986"/>
                  </a:lnTo>
                  <a:lnTo>
                    <a:pt x="2433" y="983"/>
                  </a:lnTo>
                  <a:lnTo>
                    <a:pt x="2430" y="982"/>
                  </a:lnTo>
                  <a:lnTo>
                    <a:pt x="2425" y="982"/>
                  </a:lnTo>
                  <a:lnTo>
                    <a:pt x="2422" y="982"/>
                  </a:lnTo>
                  <a:lnTo>
                    <a:pt x="2419" y="980"/>
                  </a:lnTo>
                  <a:lnTo>
                    <a:pt x="2416" y="978"/>
                  </a:lnTo>
                  <a:lnTo>
                    <a:pt x="2411" y="978"/>
                  </a:lnTo>
                  <a:lnTo>
                    <a:pt x="2405" y="974"/>
                  </a:lnTo>
                  <a:lnTo>
                    <a:pt x="2402" y="972"/>
                  </a:lnTo>
                  <a:lnTo>
                    <a:pt x="2398" y="970"/>
                  </a:lnTo>
                  <a:lnTo>
                    <a:pt x="2397" y="967"/>
                  </a:lnTo>
                  <a:lnTo>
                    <a:pt x="2394" y="964"/>
                  </a:lnTo>
                  <a:lnTo>
                    <a:pt x="2390" y="961"/>
                  </a:lnTo>
                  <a:lnTo>
                    <a:pt x="2389" y="958"/>
                  </a:lnTo>
                  <a:lnTo>
                    <a:pt x="2387" y="955"/>
                  </a:lnTo>
                  <a:lnTo>
                    <a:pt x="2384" y="951"/>
                  </a:lnTo>
                  <a:lnTo>
                    <a:pt x="2379" y="943"/>
                  </a:lnTo>
                  <a:lnTo>
                    <a:pt x="2375" y="939"/>
                  </a:lnTo>
                  <a:lnTo>
                    <a:pt x="2368" y="939"/>
                  </a:lnTo>
                  <a:lnTo>
                    <a:pt x="2359" y="937"/>
                  </a:lnTo>
                  <a:lnTo>
                    <a:pt x="2356" y="936"/>
                  </a:lnTo>
                  <a:lnTo>
                    <a:pt x="2352" y="937"/>
                  </a:lnTo>
                  <a:lnTo>
                    <a:pt x="2349" y="936"/>
                  </a:lnTo>
                  <a:lnTo>
                    <a:pt x="2344" y="934"/>
                  </a:lnTo>
                  <a:lnTo>
                    <a:pt x="2341" y="934"/>
                  </a:lnTo>
                  <a:lnTo>
                    <a:pt x="2338" y="932"/>
                  </a:lnTo>
                  <a:lnTo>
                    <a:pt x="2335" y="931"/>
                  </a:lnTo>
                  <a:lnTo>
                    <a:pt x="2327" y="929"/>
                  </a:lnTo>
                  <a:lnTo>
                    <a:pt x="2322" y="926"/>
                  </a:lnTo>
                  <a:lnTo>
                    <a:pt x="2316" y="926"/>
                  </a:lnTo>
                  <a:lnTo>
                    <a:pt x="2310" y="926"/>
                  </a:lnTo>
                  <a:lnTo>
                    <a:pt x="2305" y="926"/>
                  </a:lnTo>
                  <a:lnTo>
                    <a:pt x="2302" y="926"/>
                  </a:lnTo>
                  <a:lnTo>
                    <a:pt x="2300" y="924"/>
                  </a:lnTo>
                  <a:lnTo>
                    <a:pt x="2295" y="923"/>
                  </a:lnTo>
                  <a:lnTo>
                    <a:pt x="2292" y="921"/>
                  </a:lnTo>
                  <a:lnTo>
                    <a:pt x="2289" y="920"/>
                  </a:lnTo>
                  <a:lnTo>
                    <a:pt x="2286" y="920"/>
                  </a:lnTo>
                  <a:lnTo>
                    <a:pt x="2281" y="918"/>
                  </a:lnTo>
                  <a:lnTo>
                    <a:pt x="2278" y="918"/>
                  </a:lnTo>
                  <a:lnTo>
                    <a:pt x="2275" y="917"/>
                  </a:lnTo>
                  <a:lnTo>
                    <a:pt x="2271" y="915"/>
                  </a:lnTo>
                  <a:lnTo>
                    <a:pt x="2265" y="913"/>
                  </a:lnTo>
                  <a:lnTo>
                    <a:pt x="2260" y="910"/>
                  </a:lnTo>
                  <a:lnTo>
                    <a:pt x="2260" y="910"/>
                  </a:lnTo>
                  <a:lnTo>
                    <a:pt x="2260" y="917"/>
                  </a:lnTo>
                  <a:lnTo>
                    <a:pt x="2260" y="921"/>
                  </a:lnTo>
                  <a:lnTo>
                    <a:pt x="2257" y="924"/>
                  </a:lnTo>
                  <a:lnTo>
                    <a:pt x="2251" y="926"/>
                  </a:lnTo>
                  <a:lnTo>
                    <a:pt x="2251" y="929"/>
                  </a:lnTo>
                  <a:lnTo>
                    <a:pt x="2251" y="932"/>
                  </a:lnTo>
                  <a:lnTo>
                    <a:pt x="2252" y="937"/>
                  </a:lnTo>
                  <a:lnTo>
                    <a:pt x="2251" y="936"/>
                  </a:lnTo>
                  <a:lnTo>
                    <a:pt x="2248" y="937"/>
                  </a:lnTo>
                  <a:lnTo>
                    <a:pt x="2248" y="939"/>
                  </a:lnTo>
                  <a:lnTo>
                    <a:pt x="2246" y="942"/>
                  </a:lnTo>
                  <a:lnTo>
                    <a:pt x="2249" y="945"/>
                  </a:lnTo>
                  <a:lnTo>
                    <a:pt x="2249" y="948"/>
                  </a:lnTo>
                  <a:lnTo>
                    <a:pt x="2249" y="953"/>
                  </a:lnTo>
                  <a:lnTo>
                    <a:pt x="2251" y="956"/>
                  </a:lnTo>
                  <a:lnTo>
                    <a:pt x="2254" y="958"/>
                  </a:lnTo>
                  <a:lnTo>
                    <a:pt x="2257" y="959"/>
                  </a:lnTo>
                  <a:lnTo>
                    <a:pt x="2259" y="964"/>
                  </a:lnTo>
                  <a:lnTo>
                    <a:pt x="2262" y="966"/>
                  </a:lnTo>
                  <a:lnTo>
                    <a:pt x="2265" y="970"/>
                  </a:lnTo>
                  <a:lnTo>
                    <a:pt x="2268" y="972"/>
                  </a:lnTo>
                  <a:lnTo>
                    <a:pt x="2271" y="972"/>
                  </a:lnTo>
                  <a:lnTo>
                    <a:pt x="2276" y="975"/>
                  </a:lnTo>
                  <a:lnTo>
                    <a:pt x="2276" y="977"/>
                  </a:lnTo>
                  <a:lnTo>
                    <a:pt x="2278" y="983"/>
                  </a:lnTo>
                  <a:lnTo>
                    <a:pt x="2278" y="988"/>
                  </a:lnTo>
                  <a:lnTo>
                    <a:pt x="2276" y="993"/>
                  </a:lnTo>
                  <a:lnTo>
                    <a:pt x="2271" y="997"/>
                  </a:lnTo>
                  <a:lnTo>
                    <a:pt x="2267" y="996"/>
                  </a:lnTo>
                  <a:lnTo>
                    <a:pt x="2264" y="1002"/>
                  </a:lnTo>
                  <a:lnTo>
                    <a:pt x="2259" y="1004"/>
                  </a:lnTo>
                  <a:lnTo>
                    <a:pt x="2256" y="1004"/>
                  </a:lnTo>
                  <a:lnTo>
                    <a:pt x="2251" y="1002"/>
                  </a:lnTo>
                  <a:lnTo>
                    <a:pt x="2248" y="1001"/>
                  </a:lnTo>
                  <a:lnTo>
                    <a:pt x="2243" y="997"/>
                  </a:lnTo>
                  <a:lnTo>
                    <a:pt x="2238" y="997"/>
                  </a:lnTo>
                  <a:lnTo>
                    <a:pt x="2233" y="999"/>
                  </a:lnTo>
                  <a:lnTo>
                    <a:pt x="2230" y="997"/>
                  </a:lnTo>
                  <a:lnTo>
                    <a:pt x="2225" y="999"/>
                  </a:lnTo>
                  <a:lnTo>
                    <a:pt x="2222" y="996"/>
                  </a:lnTo>
                  <a:lnTo>
                    <a:pt x="2219" y="996"/>
                  </a:lnTo>
                  <a:lnTo>
                    <a:pt x="2216" y="994"/>
                  </a:lnTo>
                  <a:lnTo>
                    <a:pt x="2214" y="994"/>
                  </a:lnTo>
                  <a:lnTo>
                    <a:pt x="2213" y="996"/>
                  </a:lnTo>
                  <a:lnTo>
                    <a:pt x="2210" y="994"/>
                  </a:lnTo>
                  <a:lnTo>
                    <a:pt x="2208" y="994"/>
                  </a:lnTo>
                  <a:lnTo>
                    <a:pt x="2205" y="994"/>
                  </a:lnTo>
                  <a:lnTo>
                    <a:pt x="2202" y="996"/>
                  </a:lnTo>
                  <a:lnTo>
                    <a:pt x="2199" y="999"/>
                  </a:lnTo>
                  <a:lnTo>
                    <a:pt x="2197" y="997"/>
                  </a:lnTo>
                  <a:lnTo>
                    <a:pt x="2195" y="996"/>
                  </a:lnTo>
                  <a:lnTo>
                    <a:pt x="2192" y="996"/>
                  </a:lnTo>
                  <a:lnTo>
                    <a:pt x="2186" y="996"/>
                  </a:lnTo>
                  <a:lnTo>
                    <a:pt x="2181" y="994"/>
                  </a:lnTo>
                  <a:lnTo>
                    <a:pt x="2181" y="993"/>
                  </a:lnTo>
                  <a:lnTo>
                    <a:pt x="2179" y="993"/>
                  </a:lnTo>
                  <a:lnTo>
                    <a:pt x="2179" y="993"/>
                  </a:lnTo>
                  <a:lnTo>
                    <a:pt x="2176" y="993"/>
                  </a:lnTo>
                  <a:lnTo>
                    <a:pt x="2173" y="991"/>
                  </a:lnTo>
                  <a:lnTo>
                    <a:pt x="2170" y="993"/>
                  </a:lnTo>
                  <a:lnTo>
                    <a:pt x="2167" y="991"/>
                  </a:lnTo>
                  <a:lnTo>
                    <a:pt x="2164" y="988"/>
                  </a:lnTo>
                  <a:lnTo>
                    <a:pt x="2159" y="986"/>
                  </a:lnTo>
                  <a:lnTo>
                    <a:pt x="2156" y="985"/>
                  </a:lnTo>
                  <a:lnTo>
                    <a:pt x="2154" y="980"/>
                  </a:lnTo>
                  <a:lnTo>
                    <a:pt x="2151" y="977"/>
                  </a:lnTo>
                  <a:lnTo>
                    <a:pt x="2149" y="974"/>
                  </a:lnTo>
                  <a:lnTo>
                    <a:pt x="2146" y="972"/>
                  </a:lnTo>
                  <a:lnTo>
                    <a:pt x="2143" y="970"/>
                  </a:lnTo>
                  <a:lnTo>
                    <a:pt x="2137" y="970"/>
                  </a:lnTo>
                  <a:lnTo>
                    <a:pt x="2127" y="970"/>
                  </a:lnTo>
                  <a:lnTo>
                    <a:pt x="2124" y="970"/>
                  </a:lnTo>
                  <a:lnTo>
                    <a:pt x="2121" y="969"/>
                  </a:lnTo>
                  <a:lnTo>
                    <a:pt x="2118" y="970"/>
                  </a:lnTo>
                  <a:lnTo>
                    <a:pt x="2113" y="970"/>
                  </a:lnTo>
                  <a:lnTo>
                    <a:pt x="2110" y="970"/>
                  </a:lnTo>
                  <a:lnTo>
                    <a:pt x="2107" y="969"/>
                  </a:lnTo>
                  <a:lnTo>
                    <a:pt x="2105" y="967"/>
                  </a:lnTo>
                  <a:lnTo>
                    <a:pt x="2103" y="966"/>
                  </a:lnTo>
                  <a:lnTo>
                    <a:pt x="2100" y="962"/>
                  </a:lnTo>
                  <a:lnTo>
                    <a:pt x="2097" y="966"/>
                  </a:lnTo>
                  <a:lnTo>
                    <a:pt x="2094" y="967"/>
                  </a:lnTo>
                  <a:lnTo>
                    <a:pt x="2091" y="964"/>
                  </a:lnTo>
                  <a:lnTo>
                    <a:pt x="2087" y="962"/>
                  </a:lnTo>
                  <a:lnTo>
                    <a:pt x="2084" y="961"/>
                  </a:lnTo>
                  <a:lnTo>
                    <a:pt x="2081" y="961"/>
                  </a:lnTo>
                  <a:lnTo>
                    <a:pt x="2081" y="964"/>
                  </a:lnTo>
                  <a:lnTo>
                    <a:pt x="2080" y="967"/>
                  </a:lnTo>
                  <a:lnTo>
                    <a:pt x="2075" y="967"/>
                  </a:lnTo>
                  <a:lnTo>
                    <a:pt x="2075" y="966"/>
                  </a:lnTo>
                  <a:lnTo>
                    <a:pt x="2070" y="966"/>
                  </a:lnTo>
                  <a:lnTo>
                    <a:pt x="2065" y="967"/>
                  </a:lnTo>
                  <a:lnTo>
                    <a:pt x="2062" y="970"/>
                  </a:lnTo>
                  <a:lnTo>
                    <a:pt x="2061" y="975"/>
                  </a:lnTo>
                  <a:lnTo>
                    <a:pt x="2057" y="975"/>
                  </a:lnTo>
                  <a:lnTo>
                    <a:pt x="2053" y="977"/>
                  </a:lnTo>
                  <a:lnTo>
                    <a:pt x="2049" y="977"/>
                  </a:lnTo>
                  <a:lnTo>
                    <a:pt x="2046" y="980"/>
                  </a:lnTo>
                  <a:lnTo>
                    <a:pt x="2043" y="982"/>
                  </a:lnTo>
                  <a:lnTo>
                    <a:pt x="2041" y="986"/>
                  </a:lnTo>
                  <a:lnTo>
                    <a:pt x="2032" y="988"/>
                  </a:lnTo>
                  <a:lnTo>
                    <a:pt x="2024" y="991"/>
                  </a:lnTo>
                  <a:lnTo>
                    <a:pt x="2024" y="994"/>
                  </a:lnTo>
                  <a:lnTo>
                    <a:pt x="2024" y="994"/>
                  </a:lnTo>
                  <a:lnTo>
                    <a:pt x="2024" y="996"/>
                  </a:lnTo>
                  <a:lnTo>
                    <a:pt x="2021" y="996"/>
                  </a:lnTo>
                  <a:lnTo>
                    <a:pt x="2018" y="996"/>
                  </a:lnTo>
                  <a:lnTo>
                    <a:pt x="2015" y="997"/>
                  </a:lnTo>
                  <a:lnTo>
                    <a:pt x="2015" y="999"/>
                  </a:lnTo>
                  <a:lnTo>
                    <a:pt x="2016" y="1002"/>
                  </a:lnTo>
                  <a:lnTo>
                    <a:pt x="2019" y="1005"/>
                  </a:lnTo>
                  <a:lnTo>
                    <a:pt x="2016" y="1007"/>
                  </a:lnTo>
                  <a:lnTo>
                    <a:pt x="2013" y="1008"/>
                  </a:lnTo>
                  <a:lnTo>
                    <a:pt x="2013" y="1010"/>
                  </a:lnTo>
                  <a:lnTo>
                    <a:pt x="2008" y="1010"/>
                  </a:lnTo>
                  <a:lnTo>
                    <a:pt x="2005" y="1010"/>
                  </a:lnTo>
                  <a:lnTo>
                    <a:pt x="2007" y="1013"/>
                  </a:lnTo>
                  <a:lnTo>
                    <a:pt x="2003" y="1015"/>
                  </a:lnTo>
                  <a:lnTo>
                    <a:pt x="2000" y="1015"/>
                  </a:lnTo>
                  <a:lnTo>
                    <a:pt x="1997" y="1013"/>
                  </a:lnTo>
                  <a:lnTo>
                    <a:pt x="1997" y="1016"/>
                  </a:lnTo>
                  <a:lnTo>
                    <a:pt x="1994" y="1016"/>
                  </a:lnTo>
                  <a:lnTo>
                    <a:pt x="1989" y="1013"/>
                  </a:lnTo>
                  <a:lnTo>
                    <a:pt x="1986" y="1015"/>
                  </a:lnTo>
                  <a:lnTo>
                    <a:pt x="1983" y="1015"/>
                  </a:lnTo>
                  <a:lnTo>
                    <a:pt x="1980" y="1015"/>
                  </a:lnTo>
                  <a:lnTo>
                    <a:pt x="1976" y="1016"/>
                  </a:lnTo>
                  <a:lnTo>
                    <a:pt x="1976" y="1021"/>
                  </a:lnTo>
                  <a:lnTo>
                    <a:pt x="1976" y="1024"/>
                  </a:lnTo>
                  <a:lnTo>
                    <a:pt x="1973" y="1026"/>
                  </a:lnTo>
                  <a:lnTo>
                    <a:pt x="1970" y="1028"/>
                  </a:lnTo>
                  <a:lnTo>
                    <a:pt x="1967" y="1028"/>
                  </a:lnTo>
                  <a:lnTo>
                    <a:pt x="1962" y="1029"/>
                  </a:lnTo>
                  <a:lnTo>
                    <a:pt x="1959" y="1031"/>
                  </a:lnTo>
                  <a:lnTo>
                    <a:pt x="1956" y="1031"/>
                  </a:lnTo>
                  <a:lnTo>
                    <a:pt x="1953" y="1026"/>
                  </a:lnTo>
                  <a:lnTo>
                    <a:pt x="1951" y="1024"/>
                  </a:lnTo>
                  <a:lnTo>
                    <a:pt x="1948" y="1024"/>
                  </a:lnTo>
                  <a:lnTo>
                    <a:pt x="1945" y="1024"/>
                  </a:lnTo>
                  <a:lnTo>
                    <a:pt x="1943" y="1024"/>
                  </a:lnTo>
                  <a:lnTo>
                    <a:pt x="1940" y="1021"/>
                  </a:lnTo>
                  <a:lnTo>
                    <a:pt x="1938" y="1018"/>
                  </a:lnTo>
                  <a:lnTo>
                    <a:pt x="1934" y="1016"/>
                  </a:lnTo>
                  <a:lnTo>
                    <a:pt x="1932" y="1013"/>
                  </a:lnTo>
                  <a:lnTo>
                    <a:pt x="1929" y="1012"/>
                  </a:lnTo>
                  <a:lnTo>
                    <a:pt x="1924" y="1010"/>
                  </a:lnTo>
                  <a:lnTo>
                    <a:pt x="1926" y="1007"/>
                  </a:lnTo>
                  <a:lnTo>
                    <a:pt x="1926" y="1004"/>
                  </a:lnTo>
                  <a:lnTo>
                    <a:pt x="1923" y="1002"/>
                  </a:lnTo>
                  <a:lnTo>
                    <a:pt x="1921" y="1004"/>
                  </a:lnTo>
                  <a:lnTo>
                    <a:pt x="1919" y="1005"/>
                  </a:lnTo>
                  <a:lnTo>
                    <a:pt x="1919" y="1005"/>
                  </a:lnTo>
                  <a:lnTo>
                    <a:pt x="1919" y="1007"/>
                  </a:lnTo>
                  <a:lnTo>
                    <a:pt x="1916" y="1010"/>
                  </a:lnTo>
                  <a:lnTo>
                    <a:pt x="1915" y="1010"/>
                  </a:lnTo>
                  <a:lnTo>
                    <a:pt x="1915" y="1013"/>
                  </a:lnTo>
                  <a:lnTo>
                    <a:pt x="1907" y="1013"/>
                  </a:lnTo>
                  <a:lnTo>
                    <a:pt x="1904" y="1012"/>
                  </a:lnTo>
                  <a:lnTo>
                    <a:pt x="1900" y="1012"/>
                  </a:lnTo>
                  <a:lnTo>
                    <a:pt x="1897" y="1012"/>
                  </a:lnTo>
                  <a:lnTo>
                    <a:pt x="1892" y="1008"/>
                  </a:lnTo>
                  <a:lnTo>
                    <a:pt x="1889" y="1010"/>
                  </a:lnTo>
                  <a:lnTo>
                    <a:pt x="1886" y="1008"/>
                  </a:lnTo>
                  <a:lnTo>
                    <a:pt x="1883" y="1010"/>
                  </a:lnTo>
                  <a:lnTo>
                    <a:pt x="1880" y="1008"/>
                  </a:lnTo>
                  <a:lnTo>
                    <a:pt x="1877" y="1004"/>
                  </a:lnTo>
                  <a:lnTo>
                    <a:pt x="1873" y="1002"/>
                  </a:lnTo>
                  <a:lnTo>
                    <a:pt x="1870" y="999"/>
                  </a:lnTo>
                  <a:lnTo>
                    <a:pt x="1869" y="997"/>
                  </a:lnTo>
                  <a:lnTo>
                    <a:pt x="1869" y="997"/>
                  </a:lnTo>
                  <a:lnTo>
                    <a:pt x="1867" y="994"/>
                  </a:lnTo>
                  <a:lnTo>
                    <a:pt x="1867" y="994"/>
                  </a:lnTo>
                  <a:lnTo>
                    <a:pt x="1867" y="994"/>
                  </a:lnTo>
                  <a:lnTo>
                    <a:pt x="1865" y="991"/>
                  </a:lnTo>
                  <a:lnTo>
                    <a:pt x="1862" y="989"/>
                  </a:lnTo>
                  <a:lnTo>
                    <a:pt x="1859" y="988"/>
                  </a:lnTo>
                  <a:lnTo>
                    <a:pt x="1856" y="988"/>
                  </a:lnTo>
                  <a:lnTo>
                    <a:pt x="1851" y="986"/>
                  </a:lnTo>
                  <a:lnTo>
                    <a:pt x="1848" y="985"/>
                  </a:lnTo>
                  <a:lnTo>
                    <a:pt x="1845" y="986"/>
                  </a:lnTo>
                  <a:lnTo>
                    <a:pt x="1840" y="983"/>
                  </a:lnTo>
                  <a:lnTo>
                    <a:pt x="1838" y="980"/>
                  </a:lnTo>
                  <a:lnTo>
                    <a:pt x="1835" y="977"/>
                  </a:lnTo>
                  <a:lnTo>
                    <a:pt x="1834" y="974"/>
                  </a:lnTo>
                  <a:lnTo>
                    <a:pt x="1831" y="970"/>
                  </a:lnTo>
                  <a:lnTo>
                    <a:pt x="1829" y="969"/>
                  </a:lnTo>
                  <a:lnTo>
                    <a:pt x="1824" y="967"/>
                  </a:lnTo>
                  <a:lnTo>
                    <a:pt x="1824" y="967"/>
                  </a:lnTo>
                  <a:lnTo>
                    <a:pt x="1824" y="967"/>
                  </a:lnTo>
                  <a:lnTo>
                    <a:pt x="1823" y="964"/>
                  </a:lnTo>
                  <a:lnTo>
                    <a:pt x="1818" y="961"/>
                  </a:lnTo>
                  <a:lnTo>
                    <a:pt x="1815" y="959"/>
                  </a:lnTo>
                  <a:lnTo>
                    <a:pt x="1812" y="958"/>
                  </a:lnTo>
                  <a:lnTo>
                    <a:pt x="1808" y="956"/>
                  </a:lnTo>
                  <a:lnTo>
                    <a:pt x="1800" y="955"/>
                  </a:lnTo>
                  <a:lnTo>
                    <a:pt x="1792" y="955"/>
                  </a:lnTo>
                  <a:lnTo>
                    <a:pt x="1791" y="958"/>
                  </a:lnTo>
                  <a:lnTo>
                    <a:pt x="1788" y="959"/>
                  </a:lnTo>
                  <a:lnTo>
                    <a:pt x="1785" y="958"/>
                  </a:lnTo>
                  <a:lnTo>
                    <a:pt x="1781" y="962"/>
                  </a:lnTo>
                  <a:lnTo>
                    <a:pt x="1778" y="964"/>
                  </a:lnTo>
                  <a:lnTo>
                    <a:pt x="1775" y="964"/>
                  </a:lnTo>
                  <a:lnTo>
                    <a:pt x="1772" y="964"/>
                  </a:lnTo>
                  <a:lnTo>
                    <a:pt x="1769" y="966"/>
                  </a:lnTo>
                  <a:lnTo>
                    <a:pt x="1766" y="966"/>
                  </a:lnTo>
                  <a:lnTo>
                    <a:pt x="1761" y="964"/>
                  </a:lnTo>
                  <a:lnTo>
                    <a:pt x="1759" y="964"/>
                  </a:lnTo>
                  <a:lnTo>
                    <a:pt x="1756" y="964"/>
                  </a:lnTo>
                  <a:lnTo>
                    <a:pt x="1751" y="964"/>
                  </a:lnTo>
                  <a:lnTo>
                    <a:pt x="1748" y="966"/>
                  </a:lnTo>
                  <a:lnTo>
                    <a:pt x="1745" y="964"/>
                  </a:lnTo>
                  <a:lnTo>
                    <a:pt x="1743" y="961"/>
                  </a:lnTo>
                  <a:lnTo>
                    <a:pt x="1740" y="958"/>
                  </a:lnTo>
                  <a:lnTo>
                    <a:pt x="1737" y="956"/>
                  </a:lnTo>
                  <a:lnTo>
                    <a:pt x="1734" y="956"/>
                  </a:lnTo>
                  <a:lnTo>
                    <a:pt x="1731" y="956"/>
                  </a:lnTo>
                  <a:lnTo>
                    <a:pt x="1727" y="953"/>
                  </a:lnTo>
                  <a:lnTo>
                    <a:pt x="1729" y="950"/>
                  </a:lnTo>
                  <a:lnTo>
                    <a:pt x="1729" y="950"/>
                  </a:lnTo>
                  <a:lnTo>
                    <a:pt x="1729" y="947"/>
                  </a:lnTo>
                  <a:lnTo>
                    <a:pt x="1727" y="947"/>
                  </a:lnTo>
                  <a:lnTo>
                    <a:pt x="1726" y="947"/>
                  </a:lnTo>
                  <a:lnTo>
                    <a:pt x="1723" y="947"/>
                  </a:lnTo>
                  <a:lnTo>
                    <a:pt x="1720" y="943"/>
                  </a:lnTo>
                  <a:lnTo>
                    <a:pt x="1715" y="943"/>
                  </a:lnTo>
                  <a:lnTo>
                    <a:pt x="1712" y="942"/>
                  </a:lnTo>
                  <a:lnTo>
                    <a:pt x="1712" y="947"/>
                  </a:lnTo>
                  <a:lnTo>
                    <a:pt x="1707" y="947"/>
                  </a:lnTo>
                  <a:lnTo>
                    <a:pt x="1705" y="950"/>
                  </a:lnTo>
                  <a:lnTo>
                    <a:pt x="1708" y="953"/>
                  </a:lnTo>
                  <a:lnTo>
                    <a:pt x="1708" y="956"/>
                  </a:lnTo>
                  <a:lnTo>
                    <a:pt x="1705" y="958"/>
                  </a:lnTo>
                  <a:lnTo>
                    <a:pt x="1702" y="961"/>
                  </a:lnTo>
                  <a:lnTo>
                    <a:pt x="1699" y="961"/>
                  </a:lnTo>
                  <a:lnTo>
                    <a:pt x="1702" y="964"/>
                  </a:lnTo>
                  <a:lnTo>
                    <a:pt x="1697" y="962"/>
                  </a:lnTo>
                  <a:lnTo>
                    <a:pt x="1697" y="962"/>
                  </a:lnTo>
                  <a:lnTo>
                    <a:pt x="1696" y="959"/>
                  </a:lnTo>
                  <a:lnTo>
                    <a:pt x="1693" y="956"/>
                  </a:lnTo>
                  <a:lnTo>
                    <a:pt x="1685" y="950"/>
                  </a:lnTo>
                  <a:lnTo>
                    <a:pt x="1675" y="939"/>
                  </a:lnTo>
                  <a:lnTo>
                    <a:pt x="1662" y="928"/>
                  </a:lnTo>
                  <a:lnTo>
                    <a:pt x="1642" y="909"/>
                  </a:lnTo>
                  <a:lnTo>
                    <a:pt x="1620" y="888"/>
                  </a:lnTo>
                  <a:lnTo>
                    <a:pt x="1609" y="878"/>
                  </a:lnTo>
                  <a:lnTo>
                    <a:pt x="1599" y="871"/>
                  </a:lnTo>
                  <a:lnTo>
                    <a:pt x="1589" y="863"/>
                  </a:lnTo>
                  <a:lnTo>
                    <a:pt x="1577" y="856"/>
                  </a:lnTo>
                  <a:lnTo>
                    <a:pt x="1555" y="845"/>
                  </a:lnTo>
                  <a:lnTo>
                    <a:pt x="1534" y="832"/>
                  </a:lnTo>
                  <a:lnTo>
                    <a:pt x="1537" y="831"/>
                  </a:lnTo>
                  <a:lnTo>
                    <a:pt x="1540" y="832"/>
                  </a:lnTo>
                  <a:lnTo>
                    <a:pt x="1543" y="829"/>
                  </a:lnTo>
                  <a:lnTo>
                    <a:pt x="1543" y="825"/>
                  </a:lnTo>
                  <a:lnTo>
                    <a:pt x="1540" y="823"/>
                  </a:lnTo>
                  <a:lnTo>
                    <a:pt x="1543" y="820"/>
                  </a:lnTo>
                  <a:lnTo>
                    <a:pt x="1540" y="820"/>
                  </a:lnTo>
                  <a:lnTo>
                    <a:pt x="1537" y="820"/>
                  </a:lnTo>
                  <a:lnTo>
                    <a:pt x="1532" y="825"/>
                  </a:lnTo>
                  <a:lnTo>
                    <a:pt x="1529" y="825"/>
                  </a:lnTo>
                  <a:lnTo>
                    <a:pt x="1526" y="825"/>
                  </a:lnTo>
                  <a:lnTo>
                    <a:pt x="1524" y="828"/>
                  </a:lnTo>
                  <a:lnTo>
                    <a:pt x="1521" y="829"/>
                  </a:lnTo>
                  <a:lnTo>
                    <a:pt x="1518" y="831"/>
                  </a:lnTo>
                  <a:lnTo>
                    <a:pt x="1513" y="832"/>
                  </a:lnTo>
                  <a:lnTo>
                    <a:pt x="1512" y="832"/>
                  </a:lnTo>
                  <a:lnTo>
                    <a:pt x="1509" y="834"/>
                  </a:lnTo>
                  <a:lnTo>
                    <a:pt x="1504" y="834"/>
                  </a:lnTo>
                  <a:lnTo>
                    <a:pt x="1505" y="837"/>
                  </a:lnTo>
                  <a:lnTo>
                    <a:pt x="1502" y="840"/>
                  </a:lnTo>
                  <a:lnTo>
                    <a:pt x="1499" y="842"/>
                  </a:lnTo>
                  <a:lnTo>
                    <a:pt x="1497" y="844"/>
                  </a:lnTo>
                  <a:lnTo>
                    <a:pt x="1497" y="845"/>
                  </a:lnTo>
                  <a:lnTo>
                    <a:pt x="1496" y="844"/>
                  </a:lnTo>
                  <a:lnTo>
                    <a:pt x="1491" y="844"/>
                  </a:lnTo>
                  <a:lnTo>
                    <a:pt x="1488" y="847"/>
                  </a:lnTo>
                  <a:lnTo>
                    <a:pt x="1483" y="850"/>
                  </a:lnTo>
                  <a:lnTo>
                    <a:pt x="1483" y="853"/>
                  </a:lnTo>
                  <a:lnTo>
                    <a:pt x="1483" y="858"/>
                  </a:lnTo>
                  <a:lnTo>
                    <a:pt x="1480" y="856"/>
                  </a:lnTo>
                  <a:lnTo>
                    <a:pt x="1475" y="853"/>
                  </a:lnTo>
                  <a:lnTo>
                    <a:pt x="1472" y="853"/>
                  </a:lnTo>
                  <a:lnTo>
                    <a:pt x="1472" y="853"/>
                  </a:lnTo>
                  <a:lnTo>
                    <a:pt x="1467" y="851"/>
                  </a:lnTo>
                  <a:lnTo>
                    <a:pt x="1464" y="851"/>
                  </a:lnTo>
                  <a:lnTo>
                    <a:pt x="1461" y="851"/>
                  </a:lnTo>
                  <a:lnTo>
                    <a:pt x="1458" y="855"/>
                  </a:lnTo>
                  <a:lnTo>
                    <a:pt x="1455" y="858"/>
                  </a:lnTo>
                  <a:lnTo>
                    <a:pt x="1453" y="859"/>
                  </a:lnTo>
                  <a:lnTo>
                    <a:pt x="1451" y="856"/>
                  </a:lnTo>
                  <a:lnTo>
                    <a:pt x="1448" y="855"/>
                  </a:lnTo>
                  <a:lnTo>
                    <a:pt x="1445" y="851"/>
                  </a:lnTo>
                  <a:lnTo>
                    <a:pt x="1445" y="851"/>
                  </a:lnTo>
                  <a:lnTo>
                    <a:pt x="1447" y="847"/>
                  </a:lnTo>
                  <a:lnTo>
                    <a:pt x="1447" y="844"/>
                  </a:lnTo>
                  <a:lnTo>
                    <a:pt x="1450" y="842"/>
                  </a:lnTo>
                  <a:lnTo>
                    <a:pt x="1455" y="842"/>
                  </a:lnTo>
                  <a:lnTo>
                    <a:pt x="1455" y="839"/>
                  </a:lnTo>
                  <a:lnTo>
                    <a:pt x="1455" y="837"/>
                  </a:lnTo>
                  <a:lnTo>
                    <a:pt x="1451" y="836"/>
                  </a:lnTo>
                  <a:lnTo>
                    <a:pt x="1451" y="834"/>
                  </a:lnTo>
                  <a:lnTo>
                    <a:pt x="1451" y="834"/>
                  </a:lnTo>
                  <a:lnTo>
                    <a:pt x="1448" y="837"/>
                  </a:lnTo>
                  <a:lnTo>
                    <a:pt x="1445" y="839"/>
                  </a:lnTo>
                  <a:lnTo>
                    <a:pt x="1440" y="839"/>
                  </a:lnTo>
                  <a:lnTo>
                    <a:pt x="1437" y="839"/>
                  </a:lnTo>
                  <a:lnTo>
                    <a:pt x="1432" y="836"/>
                  </a:lnTo>
                  <a:lnTo>
                    <a:pt x="1431" y="834"/>
                  </a:lnTo>
                  <a:lnTo>
                    <a:pt x="1428" y="832"/>
                  </a:lnTo>
                  <a:lnTo>
                    <a:pt x="1418" y="832"/>
                  </a:lnTo>
                  <a:lnTo>
                    <a:pt x="1417" y="836"/>
                  </a:lnTo>
                  <a:lnTo>
                    <a:pt x="1420" y="834"/>
                  </a:lnTo>
                  <a:lnTo>
                    <a:pt x="1423" y="837"/>
                  </a:lnTo>
                  <a:lnTo>
                    <a:pt x="1420" y="839"/>
                  </a:lnTo>
                  <a:lnTo>
                    <a:pt x="1417" y="840"/>
                  </a:lnTo>
                  <a:lnTo>
                    <a:pt x="1413" y="837"/>
                  </a:lnTo>
                  <a:lnTo>
                    <a:pt x="1412" y="834"/>
                  </a:lnTo>
                  <a:lnTo>
                    <a:pt x="1413" y="832"/>
                  </a:lnTo>
                  <a:lnTo>
                    <a:pt x="1410" y="831"/>
                  </a:lnTo>
                  <a:lnTo>
                    <a:pt x="1407" y="828"/>
                  </a:lnTo>
                  <a:lnTo>
                    <a:pt x="1404" y="825"/>
                  </a:lnTo>
                  <a:lnTo>
                    <a:pt x="1399" y="823"/>
                  </a:lnTo>
                  <a:lnTo>
                    <a:pt x="1399" y="826"/>
                  </a:lnTo>
                  <a:lnTo>
                    <a:pt x="1404" y="829"/>
                  </a:lnTo>
                  <a:lnTo>
                    <a:pt x="1399" y="829"/>
                  </a:lnTo>
                  <a:lnTo>
                    <a:pt x="1396" y="828"/>
                  </a:lnTo>
                  <a:lnTo>
                    <a:pt x="1393" y="828"/>
                  </a:lnTo>
                  <a:lnTo>
                    <a:pt x="1391" y="831"/>
                  </a:lnTo>
                  <a:lnTo>
                    <a:pt x="1388" y="832"/>
                  </a:lnTo>
                  <a:lnTo>
                    <a:pt x="1385" y="832"/>
                  </a:lnTo>
                  <a:lnTo>
                    <a:pt x="1380" y="829"/>
                  </a:lnTo>
                  <a:lnTo>
                    <a:pt x="1377" y="832"/>
                  </a:lnTo>
                  <a:lnTo>
                    <a:pt x="1374" y="831"/>
                  </a:lnTo>
                  <a:lnTo>
                    <a:pt x="1371" y="829"/>
                  </a:lnTo>
                  <a:lnTo>
                    <a:pt x="1366" y="826"/>
                  </a:lnTo>
                  <a:lnTo>
                    <a:pt x="1371" y="825"/>
                  </a:lnTo>
                  <a:lnTo>
                    <a:pt x="1371" y="821"/>
                  </a:lnTo>
                  <a:lnTo>
                    <a:pt x="1369" y="818"/>
                  </a:lnTo>
                  <a:lnTo>
                    <a:pt x="1366" y="815"/>
                  </a:lnTo>
                  <a:lnTo>
                    <a:pt x="1369" y="810"/>
                  </a:lnTo>
                  <a:lnTo>
                    <a:pt x="1364" y="809"/>
                  </a:lnTo>
                  <a:lnTo>
                    <a:pt x="1361" y="807"/>
                  </a:lnTo>
                  <a:lnTo>
                    <a:pt x="1360" y="804"/>
                  </a:lnTo>
                  <a:lnTo>
                    <a:pt x="1356" y="802"/>
                  </a:lnTo>
                  <a:lnTo>
                    <a:pt x="1356" y="801"/>
                  </a:lnTo>
                  <a:lnTo>
                    <a:pt x="1355" y="799"/>
                  </a:lnTo>
                  <a:lnTo>
                    <a:pt x="1355" y="794"/>
                  </a:lnTo>
                  <a:lnTo>
                    <a:pt x="1350" y="793"/>
                  </a:lnTo>
                  <a:lnTo>
                    <a:pt x="1347" y="790"/>
                  </a:lnTo>
                  <a:lnTo>
                    <a:pt x="1345" y="786"/>
                  </a:lnTo>
                  <a:lnTo>
                    <a:pt x="1342" y="786"/>
                  </a:lnTo>
                  <a:lnTo>
                    <a:pt x="1337" y="788"/>
                  </a:lnTo>
                  <a:lnTo>
                    <a:pt x="1334" y="786"/>
                  </a:lnTo>
                  <a:lnTo>
                    <a:pt x="1334" y="791"/>
                  </a:lnTo>
                  <a:lnTo>
                    <a:pt x="1331" y="793"/>
                  </a:lnTo>
                  <a:lnTo>
                    <a:pt x="1328" y="791"/>
                  </a:lnTo>
                  <a:lnTo>
                    <a:pt x="1323" y="791"/>
                  </a:lnTo>
                  <a:lnTo>
                    <a:pt x="1323" y="791"/>
                  </a:lnTo>
                  <a:lnTo>
                    <a:pt x="1314" y="786"/>
                  </a:lnTo>
                  <a:lnTo>
                    <a:pt x="1310" y="785"/>
                  </a:lnTo>
                  <a:lnTo>
                    <a:pt x="1307" y="785"/>
                  </a:lnTo>
                  <a:lnTo>
                    <a:pt x="1299" y="783"/>
                  </a:lnTo>
                  <a:lnTo>
                    <a:pt x="1298" y="785"/>
                  </a:lnTo>
                  <a:lnTo>
                    <a:pt x="1294" y="783"/>
                  </a:lnTo>
                  <a:lnTo>
                    <a:pt x="1290" y="782"/>
                  </a:lnTo>
                  <a:lnTo>
                    <a:pt x="1287" y="782"/>
                  </a:lnTo>
                  <a:lnTo>
                    <a:pt x="1290" y="785"/>
                  </a:lnTo>
                  <a:lnTo>
                    <a:pt x="1287" y="785"/>
                  </a:lnTo>
                  <a:lnTo>
                    <a:pt x="1283" y="785"/>
                  </a:lnTo>
                  <a:lnTo>
                    <a:pt x="1282" y="785"/>
                  </a:lnTo>
                  <a:lnTo>
                    <a:pt x="1282" y="788"/>
                  </a:lnTo>
                  <a:lnTo>
                    <a:pt x="1279" y="791"/>
                  </a:lnTo>
                  <a:lnTo>
                    <a:pt x="1275" y="791"/>
                  </a:lnTo>
                  <a:lnTo>
                    <a:pt x="1271" y="791"/>
                  </a:lnTo>
                  <a:lnTo>
                    <a:pt x="1271" y="794"/>
                  </a:lnTo>
                  <a:lnTo>
                    <a:pt x="1274" y="796"/>
                  </a:lnTo>
                  <a:lnTo>
                    <a:pt x="1272" y="798"/>
                  </a:lnTo>
                  <a:lnTo>
                    <a:pt x="1272" y="798"/>
                  </a:lnTo>
                  <a:lnTo>
                    <a:pt x="1271" y="799"/>
                  </a:lnTo>
                  <a:lnTo>
                    <a:pt x="1269" y="801"/>
                  </a:lnTo>
                  <a:lnTo>
                    <a:pt x="1266" y="801"/>
                  </a:lnTo>
                  <a:lnTo>
                    <a:pt x="1263" y="799"/>
                  </a:lnTo>
                  <a:lnTo>
                    <a:pt x="1260" y="802"/>
                  </a:lnTo>
                  <a:lnTo>
                    <a:pt x="1255" y="804"/>
                  </a:lnTo>
                  <a:lnTo>
                    <a:pt x="1252" y="804"/>
                  </a:lnTo>
                  <a:lnTo>
                    <a:pt x="1248" y="804"/>
                  </a:lnTo>
                  <a:lnTo>
                    <a:pt x="1245" y="805"/>
                  </a:lnTo>
                  <a:lnTo>
                    <a:pt x="1241" y="805"/>
                  </a:lnTo>
                  <a:lnTo>
                    <a:pt x="1237" y="807"/>
                  </a:lnTo>
                  <a:lnTo>
                    <a:pt x="1225" y="810"/>
                  </a:lnTo>
                  <a:lnTo>
                    <a:pt x="1210" y="813"/>
                  </a:lnTo>
                  <a:lnTo>
                    <a:pt x="1207" y="810"/>
                  </a:lnTo>
                  <a:lnTo>
                    <a:pt x="1204" y="812"/>
                  </a:lnTo>
                  <a:lnTo>
                    <a:pt x="1201" y="813"/>
                  </a:lnTo>
                  <a:lnTo>
                    <a:pt x="1198" y="812"/>
                  </a:lnTo>
                  <a:lnTo>
                    <a:pt x="1195" y="813"/>
                  </a:lnTo>
                  <a:lnTo>
                    <a:pt x="1190" y="815"/>
                  </a:lnTo>
                  <a:lnTo>
                    <a:pt x="1188" y="820"/>
                  </a:lnTo>
                  <a:lnTo>
                    <a:pt x="1190" y="823"/>
                  </a:lnTo>
                  <a:lnTo>
                    <a:pt x="1187" y="825"/>
                  </a:lnTo>
                  <a:lnTo>
                    <a:pt x="1183" y="823"/>
                  </a:lnTo>
                  <a:lnTo>
                    <a:pt x="1183" y="823"/>
                  </a:lnTo>
                  <a:lnTo>
                    <a:pt x="1179" y="821"/>
                  </a:lnTo>
                  <a:lnTo>
                    <a:pt x="1177" y="825"/>
                  </a:lnTo>
                  <a:lnTo>
                    <a:pt x="1172" y="823"/>
                  </a:lnTo>
                  <a:lnTo>
                    <a:pt x="1171" y="823"/>
                  </a:lnTo>
                  <a:lnTo>
                    <a:pt x="1168" y="823"/>
                  </a:lnTo>
                  <a:lnTo>
                    <a:pt x="1164" y="825"/>
                  </a:lnTo>
                  <a:lnTo>
                    <a:pt x="1160" y="825"/>
                  </a:lnTo>
                  <a:lnTo>
                    <a:pt x="1157" y="825"/>
                  </a:lnTo>
                  <a:lnTo>
                    <a:pt x="1155" y="828"/>
                  </a:lnTo>
                  <a:lnTo>
                    <a:pt x="1152" y="829"/>
                  </a:lnTo>
                  <a:lnTo>
                    <a:pt x="1152" y="829"/>
                  </a:lnTo>
                  <a:lnTo>
                    <a:pt x="1147" y="828"/>
                  </a:lnTo>
                  <a:lnTo>
                    <a:pt x="1144" y="828"/>
                  </a:lnTo>
                  <a:lnTo>
                    <a:pt x="1141" y="829"/>
                  </a:lnTo>
                  <a:lnTo>
                    <a:pt x="1137" y="831"/>
                  </a:lnTo>
                  <a:lnTo>
                    <a:pt x="1134" y="831"/>
                  </a:lnTo>
                  <a:lnTo>
                    <a:pt x="1131" y="829"/>
                  </a:lnTo>
                  <a:lnTo>
                    <a:pt x="1130" y="834"/>
                  </a:lnTo>
                  <a:lnTo>
                    <a:pt x="1126" y="834"/>
                  </a:lnTo>
                  <a:lnTo>
                    <a:pt x="1123" y="834"/>
                  </a:lnTo>
                  <a:lnTo>
                    <a:pt x="1120" y="834"/>
                  </a:lnTo>
                  <a:lnTo>
                    <a:pt x="1115" y="834"/>
                  </a:lnTo>
                  <a:lnTo>
                    <a:pt x="1115" y="837"/>
                  </a:lnTo>
                  <a:lnTo>
                    <a:pt x="1115" y="842"/>
                  </a:lnTo>
                  <a:lnTo>
                    <a:pt x="1112" y="840"/>
                  </a:lnTo>
                  <a:lnTo>
                    <a:pt x="1111" y="837"/>
                  </a:lnTo>
                  <a:lnTo>
                    <a:pt x="1107" y="837"/>
                  </a:lnTo>
                  <a:lnTo>
                    <a:pt x="1104" y="837"/>
                  </a:lnTo>
                  <a:lnTo>
                    <a:pt x="1101" y="836"/>
                  </a:lnTo>
                  <a:lnTo>
                    <a:pt x="1099" y="839"/>
                  </a:lnTo>
                  <a:lnTo>
                    <a:pt x="1095" y="839"/>
                  </a:lnTo>
                  <a:lnTo>
                    <a:pt x="1091" y="837"/>
                  </a:lnTo>
                  <a:lnTo>
                    <a:pt x="1087" y="837"/>
                  </a:lnTo>
                  <a:lnTo>
                    <a:pt x="1087" y="837"/>
                  </a:lnTo>
                  <a:lnTo>
                    <a:pt x="1082" y="837"/>
                  </a:lnTo>
                  <a:lnTo>
                    <a:pt x="1082" y="837"/>
                  </a:lnTo>
                  <a:lnTo>
                    <a:pt x="1079" y="834"/>
                  </a:lnTo>
                  <a:lnTo>
                    <a:pt x="1076" y="836"/>
                  </a:lnTo>
                  <a:lnTo>
                    <a:pt x="1076" y="839"/>
                  </a:lnTo>
                  <a:lnTo>
                    <a:pt x="1071" y="839"/>
                  </a:lnTo>
                  <a:lnTo>
                    <a:pt x="1068" y="839"/>
                  </a:lnTo>
                  <a:lnTo>
                    <a:pt x="1072" y="842"/>
                  </a:lnTo>
                  <a:lnTo>
                    <a:pt x="1076" y="844"/>
                  </a:lnTo>
                  <a:lnTo>
                    <a:pt x="1076" y="847"/>
                  </a:lnTo>
                  <a:lnTo>
                    <a:pt x="1072" y="850"/>
                  </a:lnTo>
                  <a:lnTo>
                    <a:pt x="1069" y="850"/>
                  </a:lnTo>
                  <a:lnTo>
                    <a:pt x="1072" y="851"/>
                  </a:lnTo>
                  <a:lnTo>
                    <a:pt x="1076" y="853"/>
                  </a:lnTo>
                  <a:lnTo>
                    <a:pt x="1080" y="855"/>
                  </a:lnTo>
                  <a:lnTo>
                    <a:pt x="1084" y="853"/>
                  </a:lnTo>
                  <a:lnTo>
                    <a:pt x="1087" y="853"/>
                  </a:lnTo>
                  <a:lnTo>
                    <a:pt x="1090" y="856"/>
                  </a:lnTo>
                  <a:lnTo>
                    <a:pt x="1087" y="859"/>
                  </a:lnTo>
                  <a:lnTo>
                    <a:pt x="1084" y="858"/>
                  </a:lnTo>
                  <a:lnTo>
                    <a:pt x="1080" y="859"/>
                  </a:lnTo>
                  <a:lnTo>
                    <a:pt x="1080" y="863"/>
                  </a:lnTo>
                  <a:lnTo>
                    <a:pt x="1084" y="866"/>
                  </a:lnTo>
                  <a:lnTo>
                    <a:pt x="1087" y="866"/>
                  </a:lnTo>
                  <a:lnTo>
                    <a:pt x="1090" y="867"/>
                  </a:lnTo>
                  <a:lnTo>
                    <a:pt x="1095" y="867"/>
                  </a:lnTo>
                  <a:lnTo>
                    <a:pt x="1098" y="867"/>
                  </a:lnTo>
                  <a:lnTo>
                    <a:pt x="1101" y="869"/>
                  </a:lnTo>
                  <a:lnTo>
                    <a:pt x="1104" y="871"/>
                  </a:lnTo>
                  <a:lnTo>
                    <a:pt x="1109" y="871"/>
                  </a:lnTo>
                  <a:lnTo>
                    <a:pt x="1112" y="872"/>
                  </a:lnTo>
                  <a:lnTo>
                    <a:pt x="1114" y="875"/>
                  </a:lnTo>
                  <a:lnTo>
                    <a:pt x="1111" y="878"/>
                  </a:lnTo>
                  <a:lnTo>
                    <a:pt x="1106" y="877"/>
                  </a:lnTo>
                  <a:lnTo>
                    <a:pt x="1103" y="877"/>
                  </a:lnTo>
                  <a:lnTo>
                    <a:pt x="1099" y="878"/>
                  </a:lnTo>
                  <a:lnTo>
                    <a:pt x="1096" y="877"/>
                  </a:lnTo>
                  <a:lnTo>
                    <a:pt x="1091" y="875"/>
                  </a:lnTo>
                  <a:lnTo>
                    <a:pt x="1088" y="877"/>
                  </a:lnTo>
                  <a:lnTo>
                    <a:pt x="1085" y="875"/>
                  </a:lnTo>
                  <a:lnTo>
                    <a:pt x="1084" y="877"/>
                  </a:lnTo>
                  <a:lnTo>
                    <a:pt x="1079" y="877"/>
                  </a:lnTo>
                  <a:lnTo>
                    <a:pt x="1080" y="880"/>
                  </a:lnTo>
                  <a:lnTo>
                    <a:pt x="1077" y="883"/>
                  </a:lnTo>
                  <a:lnTo>
                    <a:pt x="1074" y="886"/>
                  </a:lnTo>
                  <a:lnTo>
                    <a:pt x="1074" y="890"/>
                  </a:lnTo>
                  <a:lnTo>
                    <a:pt x="1077" y="891"/>
                  </a:lnTo>
                  <a:lnTo>
                    <a:pt x="1080" y="894"/>
                  </a:lnTo>
                  <a:lnTo>
                    <a:pt x="1084" y="896"/>
                  </a:lnTo>
                  <a:lnTo>
                    <a:pt x="1085" y="899"/>
                  </a:lnTo>
                  <a:lnTo>
                    <a:pt x="1088" y="902"/>
                  </a:lnTo>
                  <a:lnTo>
                    <a:pt x="1087" y="902"/>
                  </a:lnTo>
                  <a:lnTo>
                    <a:pt x="1084" y="905"/>
                  </a:lnTo>
                  <a:lnTo>
                    <a:pt x="1080" y="909"/>
                  </a:lnTo>
                  <a:lnTo>
                    <a:pt x="1072" y="909"/>
                  </a:lnTo>
                  <a:lnTo>
                    <a:pt x="1069" y="913"/>
                  </a:lnTo>
                  <a:lnTo>
                    <a:pt x="1066" y="915"/>
                  </a:lnTo>
                  <a:lnTo>
                    <a:pt x="1061" y="915"/>
                  </a:lnTo>
                  <a:lnTo>
                    <a:pt x="1061" y="918"/>
                  </a:lnTo>
                  <a:lnTo>
                    <a:pt x="1065" y="921"/>
                  </a:lnTo>
                  <a:lnTo>
                    <a:pt x="1068" y="920"/>
                  </a:lnTo>
                  <a:lnTo>
                    <a:pt x="1071" y="921"/>
                  </a:lnTo>
                  <a:lnTo>
                    <a:pt x="1076" y="923"/>
                  </a:lnTo>
                  <a:lnTo>
                    <a:pt x="1077" y="926"/>
                  </a:lnTo>
                  <a:lnTo>
                    <a:pt x="1080" y="931"/>
                  </a:lnTo>
                  <a:lnTo>
                    <a:pt x="1088" y="931"/>
                  </a:lnTo>
                  <a:lnTo>
                    <a:pt x="1091" y="931"/>
                  </a:lnTo>
                  <a:lnTo>
                    <a:pt x="1095" y="931"/>
                  </a:lnTo>
                  <a:lnTo>
                    <a:pt x="1096" y="934"/>
                  </a:lnTo>
                  <a:lnTo>
                    <a:pt x="1099" y="936"/>
                  </a:lnTo>
                  <a:lnTo>
                    <a:pt x="1103" y="937"/>
                  </a:lnTo>
                  <a:lnTo>
                    <a:pt x="1106" y="937"/>
                  </a:lnTo>
                  <a:lnTo>
                    <a:pt x="1109" y="937"/>
                  </a:lnTo>
                  <a:lnTo>
                    <a:pt x="1114" y="937"/>
                  </a:lnTo>
                  <a:lnTo>
                    <a:pt x="1114" y="937"/>
                  </a:lnTo>
                  <a:lnTo>
                    <a:pt x="1117" y="942"/>
                  </a:lnTo>
                  <a:lnTo>
                    <a:pt x="1120" y="943"/>
                  </a:lnTo>
                  <a:lnTo>
                    <a:pt x="1122" y="945"/>
                  </a:lnTo>
                  <a:lnTo>
                    <a:pt x="1118" y="945"/>
                  </a:lnTo>
                  <a:lnTo>
                    <a:pt x="1118" y="953"/>
                  </a:lnTo>
                  <a:lnTo>
                    <a:pt x="1118" y="961"/>
                  </a:lnTo>
                  <a:lnTo>
                    <a:pt x="1109" y="966"/>
                  </a:lnTo>
                  <a:lnTo>
                    <a:pt x="1098" y="967"/>
                  </a:lnTo>
                  <a:lnTo>
                    <a:pt x="1091" y="967"/>
                  </a:lnTo>
                  <a:lnTo>
                    <a:pt x="1085" y="967"/>
                  </a:lnTo>
                  <a:lnTo>
                    <a:pt x="1082" y="964"/>
                  </a:lnTo>
                  <a:lnTo>
                    <a:pt x="1079" y="961"/>
                  </a:lnTo>
                  <a:lnTo>
                    <a:pt x="1076" y="959"/>
                  </a:lnTo>
                  <a:lnTo>
                    <a:pt x="1074" y="961"/>
                  </a:lnTo>
                  <a:lnTo>
                    <a:pt x="1072" y="961"/>
                  </a:lnTo>
                  <a:lnTo>
                    <a:pt x="1072" y="961"/>
                  </a:lnTo>
                  <a:lnTo>
                    <a:pt x="1072" y="966"/>
                  </a:lnTo>
                  <a:lnTo>
                    <a:pt x="1072" y="969"/>
                  </a:lnTo>
                  <a:lnTo>
                    <a:pt x="1072" y="969"/>
                  </a:lnTo>
                  <a:lnTo>
                    <a:pt x="1069" y="974"/>
                  </a:lnTo>
                  <a:lnTo>
                    <a:pt x="1066" y="974"/>
                  </a:lnTo>
                  <a:lnTo>
                    <a:pt x="1061" y="974"/>
                  </a:lnTo>
                  <a:lnTo>
                    <a:pt x="1063" y="970"/>
                  </a:lnTo>
                  <a:lnTo>
                    <a:pt x="1053" y="969"/>
                  </a:lnTo>
                  <a:lnTo>
                    <a:pt x="1044" y="967"/>
                  </a:lnTo>
                  <a:lnTo>
                    <a:pt x="1041" y="966"/>
                  </a:lnTo>
                  <a:lnTo>
                    <a:pt x="1036" y="962"/>
                  </a:lnTo>
                  <a:lnTo>
                    <a:pt x="1033" y="962"/>
                  </a:lnTo>
                  <a:lnTo>
                    <a:pt x="1030" y="959"/>
                  </a:lnTo>
                  <a:lnTo>
                    <a:pt x="1030" y="956"/>
                  </a:lnTo>
                  <a:lnTo>
                    <a:pt x="1028" y="953"/>
                  </a:lnTo>
                  <a:lnTo>
                    <a:pt x="1025" y="951"/>
                  </a:lnTo>
                  <a:lnTo>
                    <a:pt x="1022" y="951"/>
                  </a:lnTo>
                  <a:lnTo>
                    <a:pt x="1019" y="948"/>
                  </a:lnTo>
                  <a:lnTo>
                    <a:pt x="1015" y="950"/>
                  </a:lnTo>
                  <a:lnTo>
                    <a:pt x="1012" y="951"/>
                  </a:lnTo>
                  <a:lnTo>
                    <a:pt x="1003" y="950"/>
                  </a:lnTo>
                  <a:lnTo>
                    <a:pt x="1001" y="951"/>
                  </a:lnTo>
                  <a:lnTo>
                    <a:pt x="1003" y="955"/>
                  </a:lnTo>
                  <a:lnTo>
                    <a:pt x="1003" y="958"/>
                  </a:lnTo>
                  <a:lnTo>
                    <a:pt x="999" y="958"/>
                  </a:lnTo>
                  <a:lnTo>
                    <a:pt x="996" y="959"/>
                  </a:lnTo>
                  <a:lnTo>
                    <a:pt x="995" y="959"/>
                  </a:lnTo>
                  <a:lnTo>
                    <a:pt x="992" y="959"/>
                  </a:lnTo>
                  <a:lnTo>
                    <a:pt x="988" y="956"/>
                  </a:lnTo>
                  <a:lnTo>
                    <a:pt x="985" y="955"/>
                  </a:lnTo>
                  <a:lnTo>
                    <a:pt x="984" y="950"/>
                  </a:lnTo>
                  <a:lnTo>
                    <a:pt x="979" y="951"/>
                  </a:lnTo>
                  <a:lnTo>
                    <a:pt x="976" y="951"/>
                  </a:lnTo>
                  <a:lnTo>
                    <a:pt x="973" y="951"/>
                  </a:lnTo>
                  <a:lnTo>
                    <a:pt x="969" y="951"/>
                  </a:lnTo>
                  <a:lnTo>
                    <a:pt x="968" y="955"/>
                  </a:lnTo>
                  <a:lnTo>
                    <a:pt x="965" y="953"/>
                  </a:lnTo>
                  <a:lnTo>
                    <a:pt x="961" y="953"/>
                  </a:lnTo>
                  <a:lnTo>
                    <a:pt x="960" y="956"/>
                  </a:lnTo>
                  <a:lnTo>
                    <a:pt x="953" y="961"/>
                  </a:lnTo>
                  <a:lnTo>
                    <a:pt x="953" y="962"/>
                  </a:lnTo>
                  <a:lnTo>
                    <a:pt x="952" y="966"/>
                  </a:lnTo>
                  <a:lnTo>
                    <a:pt x="949" y="969"/>
                  </a:lnTo>
                  <a:lnTo>
                    <a:pt x="946" y="970"/>
                  </a:lnTo>
                  <a:lnTo>
                    <a:pt x="942" y="974"/>
                  </a:lnTo>
                  <a:lnTo>
                    <a:pt x="938" y="970"/>
                  </a:lnTo>
                  <a:lnTo>
                    <a:pt x="934" y="967"/>
                  </a:lnTo>
                  <a:lnTo>
                    <a:pt x="931" y="969"/>
                  </a:lnTo>
                  <a:lnTo>
                    <a:pt x="928" y="966"/>
                  </a:lnTo>
                  <a:lnTo>
                    <a:pt x="925" y="964"/>
                  </a:lnTo>
                  <a:lnTo>
                    <a:pt x="920" y="962"/>
                  </a:lnTo>
                  <a:lnTo>
                    <a:pt x="917" y="959"/>
                  </a:lnTo>
                  <a:lnTo>
                    <a:pt x="915" y="958"/>
                  </a:lnTo>
                  <a:lnTo>
                    <a:pt x="912" y="956"/>
                  </a:lnTo>
                  <a:lnTo>
                    <a:pt x="909" y="955"/>
                  </a:lnTo>
                  <a:lnTo>
                    <a:pt x="906" y="953"/>
                  </a:lnTo>
                  <a:lnTo>
                    <a:pt x="903" y="955"/>
                  </a:lnTo>
                  <a:lnTo>
                    <a:pt x="904" y="958"/>
                  </a:lnTo>
                  <a:lnTo>
                    <a:pt x="908" y="961"/>
                  </a:lnTo>
                  <a:lnTo>
                    <a:pt x="908" y="964"/>
                  </a:lnTo>
                  <a:lnTo>
                    <a:pt x="909" y="969"/>
                  </a:lnTo>
                  <a:lnTo>
                    <a:pt x="909" y="972"/>
                  </a:lnTo>
                  <a:lnTo>
                    <a:pt x="906" y="974"/>
                  </a:lnTo>
                  <a:lnTo>
                    <a:pt x="906" y="974"/>
                  </a:lnTo>
                  <a:lnTo>
                    <a:pt x="903" y="970"/>
                  </a:lnTo>
                  <a:lnTo>
                    <a:pt x="901" y="967"/>
                  </a:lnTo>
                  <a:lnTo>
                    <a:pt x="901" y="964"/>
                  </a:lnTo>
                  <a:lnTo>
                    <a:pt x="903" y="961"/>
                  </a:lnTo>
                  <a:lnTo>
                    <a:pt x="898" y="959"/>
                  </a:lnTo>
                  <a:lnTo>
                    <a:pt x="895" y="958"/>
                  </a:lnTo>
                  <a:lnTo>
                    <a:pt x="892" y="956"/>
                  </a:lnTo>
                  <a:lnTo>
                    <a:pt x="888" y="951"/>
                  </a:lnTo>
                  <a:lnTo>
                    <a:pt x="887" y="950"/>
                  </a:lnTo>
                  <a:lnTo>
                    <a:pt x="887" y="950"/>
                  </a:lnTo>
                  <a:lnTo>
                    <a:pt x="884" y="948"/>
                  </a:lnTo>
                  <a:lnTo>
                    <a:pt x="879" y="947"/>
                  </a:lnTo>
                  <a:lnTo>
                    <a:pt x="876" y="947"/>
                  </a:lnTo>
                  <a:lnTo>
                    <a:pt x="873" y="945"/>
                  </a:lnTo>
                  <a:lnTo>
                    <a:pt x="869" y="942"/>
                  </a:lnTo>
                  <a:lnTo>
                    <a:pt x="868" y="937"/>
                  </a:lnTo>
                  <a:lnTo>
                    <a:pt x="863" y="937"/>
                  </a:lnTo>
                  <a:lnTo>
                    <a:pt x="860" y="936"/>
                  </a:lnTo>
                  <a:lnTo>
                    <a:pt x="857" y="936"/>
                  </a:lnTo>
                  <a:lnTo>
                    <a:pt x="854" y="936"/>
                  </a:lnTo>
                  <a:lnTo>
                    <a:pt x="849" y="936"/>
                  </a:lnTo>
                  <a:lnTo>
                    <a:pt x="847" y="937"/>
                  </a:lnTo>
                  <a:lnTo>
                    <a:pt x="844" y="936"/>
                  </a:lnTo>
                  <a:lnTo>
                    <a:pt x="839" y="936"/>
                  </a:lnTo>
                  <a:lnTo>
                    <a:pt x="836" y="937"/>
                  </a:lnTo>
                  <a:lnTo>
                    <a:pt x="835" y="936"/>
                  </a:lnTo>
                  <a:lnTo>
                    <a:pt x="833" y="934"/>
                  </a:lnTo>
                  <a:lnTo>
                    <a:pt x="831" y="931"/>
                  </a:lnTo>
                  <a:lnTo>
                    <a:pt x="828" y="928"/>
                  </a:lnTo>
                  <a:lnTo>
                    <a:pt x="827" y="924"/>
                  </a:lnTo>
                  <a:lnTo>
                    <a:pt x="823" y="926"/>
                  </a:lnTo>
                  <a:lnTo>
                    <a:pt x="819" y="929"/>
                  </a:lnTo>
                  <a:lnTo>
                    <a:pt x="816" y="928"/>
                  </a:lnTo>
                  <a:lnTo>
                    <a:pt x="811" y="929"/>
                  </a:lnTo>
                  <a:lnTo>
                    <a:pt x="811" y="932"/>
                  </a:lnTo>
                  <a:lnTo>
                    <a:pt x="809" y="937"/>
                  </a:lnTo>
                  <a:lnTo>
                    <a:pt x="806" y="934"/>
                  </a:lnTo>
                  <a:lnTo>
                    <a:pt x="803" y="936"/>
                  </a:lnTo>
                  <a:lnTo>
                    <a:pt x="800" y="936"/>
                  </a:lnTo>
                  <a:lnTo>
                    <a:pt x="796" y="932"/>
                  </a:lnTo>
                  <a:lnTo>
                    <a:pt x="796" y="929"/>
                  </a:lnTo>
                  <a:lnTo>
                    <a:pt x="793" y="928"/>
                  </a:lnTo>
                  <a:lnTo>
                    <a:pt x="789" y="928"/>
                  </a:lnTo>
                  <a:lnTo>
                    <a:pt x="784" y="928"/>
                  </a:lnTo>
                  <a:lnTo>
                    <a:pt x="781" y="926"/>
                  </a:lnTo>
                  <a:lnTo>
                    <a:pt x="777" y="924"/>
                  </a:lnTo>
                  <a:lnTo>
                    <a:pt x="779" y="928"/>
                  </a:lnTo>
                  <a:lnTo>
                    <a:pt x="781" y="931"/>
                  </a:lnTo>
                  <a:lnTo>
                    <a:pt x="777" y="931"/>
                  </a:lnTo>
                  <a:lnTo>
                    <a:pt x="773" y="929"/>
                  </a:lnTo>
                  <a:lnTo>
                    <a:pt x="773" y="932"/>
                  </a:lnTo>
                  <a:lnTo>
                    <a:pt x="773" y="937"/>
                  </a:lnTo>
                  <a:lnTo>
                    <a:pt x="770" y="939"/>
                  </a:lnTo>
                  <a:lnTo>
                    <a:pt x="768" y="942"/>
                  </a:lnTo>
                  <a:lnTo>
                    <a:pt x="765" y="943"/>
                  </a:lnTo>
                  <a:lnTo>
                    <a:pt x="758" y="945"/>
                  </a:lnTo>
                  <a:lnTo>
                    <a:pt x="757" y="947"/>
                  </a:lnTo>
                  <a:lnTo>
                    <a:pt x="755" y="947"/>
                  </a:lnTo>
                  <a:lnTo>
                    <a:pt x="752" y="950"/>
                  </a:lnTo>
                  <a:lnTo>
                    <a:pt x="746" y="950"/>
                  </a:lnTo>
                  <a:lnTo>
                    <a:pt x="741" y="951"/>
                  </a:lnTo>
                  <a:lnTo>
                    <a:pt x="741" y="955"/>
                  </a:lnTo>
                  <a:lnTo>
                    <a:pt x="744" y="959"/>
                  </a:lnTo>
                  <a:lnTo>
                    <a:pt x="741" y="962"/>
                  </a:lnTo>
                  <a:lnTo>
                    <a:pt x="738" y="962"/>
                  </a:lnTo>
                  <a:lnTo>
                    <a:pt x="735" y="966"/>
                  </a:lnTo>
                  <a:lnTo>
                    <a:pt x="730" y="969"/>
                  </a:lnTo>
                  <a:lnTo>
                    <a:pt x="727" y="970"/>
                  </a:lnTo>
                  <a:lnTo>
                    <a:pt x="724" y="969"/>
                  </a:lnTo>
                  <a:lnTo>
                    <a:pt x="720" y="969"/>
                  </a:lnTo>
                  <a:lnTo>
                    <a:pt x="724" y="970"/>
                  </a:lnTo>
                  <a:lnTo>
                    <a:pt x="724" y="974"/>
                  </a:lnTo>
                  <a:lnTo>
                    <a:pt x="725" y="978"/>
                  </a:lnTo>
                  <a:lnTo>
                    <a:pt x="727" y="982"/>
                  </a:lnTo>
                  <a:lnTo>
                    <a:pt x="731" y="988"/>
                  </a:lnTo>
                  <a:lnTo>
                    <a:pt x="735" y="991"/>
                  </a:lnTo>
                  <a:lnTo>
                    <a:pt x="735" y="993"/>
                  </a:lnTo>
                  <a:lnTo>
                    <a:pt x="735" y="994"/>
                  </a:lnTo>
                  <a:lnTo>
                    <a:pt x="731" y="997"/>
                  </a:lnTo>
                  <a:lnTo>
                    <a:pt x="728" y="999"/>
                  </a:lnTo>
                  <a:lnTo>
                    <a:pt x="725" y="1001"/>
                  </a:lnTo>
                  <a:lnTo>
                    <a:pt x="720" y="1001"/>
                  </a:lnTo>
                  <a:lnTo>
                    <a:pt x="717" y="999"/>
                  </a:lnTo>
                  <a:lnTo>
                    <a:pt x="714" y="996"/>
                  </a:lnTo>
                  <a:lnTo>
                    <a:pt x="711" y="994"/>
                  </a:lnTo>
                  <a:lnTo>
                    <a:pt x="709" y="991"/>
                  </a:lnTo>
                  <a:lnTo>
                    <a:pt x="706" y="988"/>
                  </a:lnTo>
                  <a:lnTo>
                    <a:pt x="704" y="986"/>
                  </a:lnTo>
                  <a:lnTo>
                    <a:pt x="700" y="983"/>
                  </a:lnTo>
                  <a:lnTo>
                    <a:pt x="697" y="980"/>
                  </a:lnTo>
                  <a:lnTo>
                    <a:pt x="693" y="978"/>
                  </a:lnTo>
                  <a:lnTo>
                    <a:pt x="690" y="975"/>
                  </a:lnTo>
                  <a:lnTo>
                    <a:pt x="685" y="978"/>
                  </a:lnTo>
                  <a:lnTo>
                    <a:pt x="682" y="983"/>
                  </a:lnTo>
                  <a:lnTo>
                    <a:pt x="684" y="986"/>
                  </a:lnTo>
                  <a:lnTo>
                    <a:pt x="685" y="989"/>
                  </a:lnTo>
                  <a:lnTo>
                    <a:pt x="685" y="993"/>
                  </a:lnTo>
                  <a:lnTo>
                    <a:pt x="684" y="994"/>
                  </a:lnTo>
                  <a:lnTo>
                    <a:pt x="681" y="997"/>
                  </a:lnTo>
                  <a:lnTo>
                    <a:pt x="676" y="997"/>
                  </a:lnTo>
                  <a:lnTo>
                    <a:pt x="674" y="1002"/>
                  </a:lnTo>
                  <a:lnTo>
                    <a:pt x="674" y="1010"/>
                  </a:lnTo>
                  <a:lnTo>
                    <a:pt x="674" y="1018"/>
                  </a:lnTo>
                  <a:lnTo>
                    <a:pt x="676" y="1021"/>
                  </a:lnTo>
                  <a:lnTo>
                    <a:pt x="679" y="1023"/>
                  </a:lnTo>
                  <a:lnTo>
                    <a:pt x="684" y="1026"/>
                  </a:lnTo>
                  <a:lnTo>
                    <a:pt x="684" y="1029"/>
                  </a:lnTo>
                  <a:lnTo>
                    <a:pt x="682" y="1032"/>
                  </a:lnTo>
                  <a:lnTo>
                    <a:pt x="679" y="1035"/>
                  </a:lnTo>
                  <a:lnTo>
                    <a:pt x="679" y="1035"/>
                  </a:lnTo>
                  <a:lnTo>
                    <a:pt x="678" y="1035"/>
                  </a:lnTo>
                  <a:lnTo>
                    <a:pt x="676" y="1040"/>
                  </a:lnTo>
                  <a:lnTo>
                    <a:pt x="674" y="1047"/>
                  </a:lnTo>
                  <a:lnTo>
                    <a:pt x="673" y="1054"/>
                  </a:lnTo>
                  <a:lnTo>
                    <a:pt x="676" y="1058"/>
                  </a:lnTo>
                  <a:lnTo>
                    <a:pt x="679" y="1059"/>
                  </a:lnTo>
                  <a:lnTo>
                    <a:pt x="681" y="1059"/>
                  </a:lnTo>
                  <a:lnTo>
                    <a:pt x="681" y="1059"/>
                  </a:lnTo>
                  <a:lnTo>
                    <a:pt x="685" y="1061"/>
                  </a:lnTo>
                  <a:lnTo>
                    <a:pt x="689" y="1062"/>
                  </a:lnTo>
                  <a:lnTo>
                    <a:pt x="693" y="1062"/>
                  </a:lnTo>
                  <a:lnTo>
                    <a:pt x="693" y="1064"/>
                  </a:lnTo>
                  <a:lnTo>
                    <a:pt x="695" y="1067"/>
                  </a:lnTo>
                  <a:lnTo>
                    <a:pt x="698" y="1070"/>
                  </a:lnTo>
                  <a:lnTo>
                    <a:pt x="693" y="1073"/>
                  </a:lnTo>
                  <a:lnTo>
                    <a:pt x="697" y="1077"/>
                  </a:lnTo>
                  <a:lnTo>
                    <a:pt x="697" y="1080"/>
                  </a:lnTo>
                  <a:lnTo>
                    <a:pt x="700" y="1083"/>
                  </a:lnTo>
                  <a:lnTo>
                    <a:pt x="704" y="1085"/>
                  </a:lnTo>
                  <a:lnTo>
                    <a:pt x="706" y="1081"/>
                  </a:lnTo>
                  <a:lnTo>
                    <a:pt x="709" y="1081"/>
                  </a:lnTo>
                  <a:lnTo>
                    <a:pt x="712" y="1081"/>
                  </a:lnTo>
                  <a:lnTo>
                    <a:pt x="716" y="1083"/>
                  </a:lnTo>
                  <a:lnTo>
                    <a:pt x="719" y="1083"/>
                  </a:lnTo>
                  <a:lnTo>
                    <a:pt x="725" y="1081"/>
                  </a:lnTo>
                  <a:lnTo>
                    <a:pt x="730" y="1083"/>
                  </a:lnTo>
                  <a:lnTo>
                    <a:pt x="733" y="1086"/>
                  </a:lnTo>
                  <a:lnTo>
                    <a:pt x="736" y="1091"/>
                  </a:lnTo>
                  <a:lnTo>
                    <a:pt x="739" y="1094"/>
                  </a:lnTo>
                  <a:lnTo>
                    <a:pt x="744" y="1096"/>
                  </a:lnTo>
                  <a:lnTo>
                    <a:pt x="747" y="1100"/>
                  </a:lnTo>
                  <a:lnTo>
                    <a:pt x="749" y="1104"/>
                  </a:lnTo>
                  <a:lnTo>
                    <a:pt x="757" y="1113"/>
                  </a:lnTo>
                  <a:lnTo>
                    <a:pt x="765" y="1121"/>
                  </a:lnTo>
                  <a:lnTo>
                    <a:pt x="763" y="1126"/>
                  </a:lnTo>
                  <a:lnTo>
                    <a:pt x="758" y="1126"/>
                  </a:lnTo>
                  <a:lnTo>
                    <a:pt x="755" y="1124"/>
                  </a:lnTo>
                  <a:lnTo>
                    <a:pt x="752" y="1123"/>
                  </a:lnTo>
                  <a:lnTo>
                    <a:pt x="749" y="1126"/>
                  </a:lnTo>
                  <a:lnTo>
                    <a:pt x="749" y="1127"/>
                  </a:lnTo>
                  <a:lnTo>
                    <a:pt x="752" y="1129"/>
                  </a:lnTo>
                  <a:lnTo>
                    <a:pt x="752" y="1129"/>
                  </a:lnTo>
                  <a:lnTo>
                    <a:pt x="755" y="1131"/>
                  </a:lnTo>
                  <a:lnTo>
                    <a:pt x="758" y="1132"/>
                  </a:lnTo>
                  <a:lnTo>
                    <a:pt x="762" y="1134"/>
                  </a:lnTo>
                  <a:lnTo>
                    <a:pt x="763" y="1134"/>
                  </a:lnTo>
                  <a:lnTo>
                    <a:pt x="768" y="1137"/>
                  </a:lnTo>
                  <a:lnTo>
                    <a:pt x="771" y="1139"/>
                  </a:lnTo>
                  <a:lnTo>
                    <a:pt x="774" y="1140"/>
                  </a:lnTo>
                  <a:lnTo>
                    <a:pt x="776" y="1143"/>
                  </a:lnTo>
                  <a:lnTo>
                    <a:pt x="773" y="1140"/>
                  </a:lnTo>
                  <a:lnTo>
                    <a:pt x="773" y="1143"/>
                  </a:lnTo>
                  <a:lnTo>
                    <a:pt x="773" y="1148"/>
                  </a:lnTo>
                  <a:lnTo>
                    <a:pt x="770" y="1146"/>
                  </a:lnTo>
                  <a:lnTo>
                    <a:pt x="770" y="1146"/>
                  </a:lnTo>
                  <a:lnTo>
                    <a:pt x="765" y="1148"/>
                  </a:lnTo>
                  <a:lnTo>
                    <a:pt x="765" y="1151"/>
                  </a:lnTo>
                  <a:lnTo>
                    <a:pt x="762" y="1150"/>
                  </a:lnTo>
                  <a:lnTo>
                    <a:pt x="758" y="1150"/>
                  </a:lnTo>
                  <a:lnTo>
                    <a:pt x="760" y="1151"/>
                  </a:lnTo>
                  <a:lnTo>
                    <a:pt x="760" y="1156"/>
                  </a:lnTo>
                  <a:lnTo>
                    <a:pt x="763" y="1156"/>
                  </a:lnTo>
                  <a:lnTo>
                    <a:pt x="763" y="1159"/>
                  </a:lnTo>
                  <a:lnTo>
                    <a:pt x="760" y="1158"/>
                  </a:lnTo>
                  <a:lnTo>
                    <a:pt x="757" y="1154"/>
                  </a:lnTo>
                  <a:lnTo>
                    <a:pt x="754" y="1156"/>
                  </a:lnTo>
                  <a:lnTo>
                    <a:pt x="750" y="1159"/>
                  </a:lnTo>
                  <a:lnTo>
                    <a:pt x="752" y="1161"/>
                  </a:lnTo>
                  <a:lnTo>
                    <a:pt x="749" y="1161"/>
                  </a:lnTo>
                  <a:lnTo>
                    <a:pt x="746" y="1164"/>
                  </a:lnTo>
                  <a:lnTo>
                    <a:pt x="743" y="1164"/>
                  </a:lnTo>
                  <a:lnTo>
                    <a:pt x="739" y="1164"/>
                  </a:lnTo>
                  <a:lnTo>
                    <a:pt x="736" y="1165"/>
                  </a:lnTo>
                  <a:lnTo>
                    <a:pt x="736" y="1169"/>
                  </a:lnTo>
                  <a:lnTo>
                    <a:pt x="733" y="1165"/>
                  </a:lnTo>
                  <a:lnTo>
                    <a:pt x="730" y="1164"/>
                  </a:lnTo>
                  <a:lnTo>
                    <a:pt x="725" y="1162"/>
                  </a:lnTo>
                  <a:lnTo>
                    <a:pt x="727" y="1164"/>
                  </a:lnTo>
                  <a:lnTo>
                    <a:pt x="728" y="1169"/>
                  </a:lnTo>
                  <a:lnTo>
                    <a:pt x="730" y="1172"/>
                  </a:lnTo>
                  <a:lnTo>
                    <a:pt x="727" y="1169"/>
                  </a:lnTo>
                  <a:lnTo>
                    <a:pt x="724" y="1164"/>
                  </a:lnTo>
                  <a:lnTo>
                    <a:pt x="720" y="1164"/>
                  </a:lnTo>
                  <a:lnTo>
                    <a:pt x="724" y="1167"/>
                  </a:lnTo>
                  <a:lnTo>
                    <a:pt x="727" y="1170"/>
                  </a:lnTo>
                  <a:lnTo>
                    <a:pt x="727" y="1172"/>
                  </a:lnTo>
                  <a:lnTo>
                    <a:pt x="727" y="1175"/>
                  </a:lnTo>
                  <a:lnTo>
                    <a:pt x="725" y="1180"/>
                  </a:lnTo>
                  <a:lnTo>
                    <a:pt x="724" y="1183"/>
                  </a:lnTo>
                  <a:lnTo>
                    <a:pt x="722" y="1186"/>
                  </a:lnTo>
                  <a:lnTo>
                    <a:pt x="720" y="1189"/>
                  </a:lnTo>
                  <a:lnTo>
                    <a:pt x="720" y="1194"/>
                  </a:lnTo>
                  <a:lnTo>
                    <a:pt x="717" y="1197"/>
                  </a:lnTo>
                  <a:lnTo>
                    <a:pt x="716" y="1200"/>
                  </a:lnTo>
                  <a:lnTo>
                    <a:pt x="714" y="1197"/>
                  </a:lnTo>
                  <a:lnTo>
                    <a:pt x="714" y="1200"/>
                  </a:lnTo>
                  <a:lnTo>
                    <a:pt x="711" y="1204"/>
                  </a:lnTo>
                  <a:lnTo>
                    <a:pt x="709" y="1207"/>
                  </a:lnTo>
                  <a:lnTo>
                    <a:pt x="708" y="1210"/>
                  </a:lnTo>
                  <a:lnTo>
                    <a:pt x="708" y="1215"/>
                  </a:lnTo>
                  <a:lnTo>
                    <a:pt x="709" y="1218"/>
                  </a:lnTo>
                  <a:lnTo>
                    <a:pt x="712" y="1218"/>
                  </a:lnTo>
                  <a:lnTo>
                    <a:pt x="717" y="1219"/>
                  </a:lnTo>
                  <a:lnTo>
                    <a:pt x="720" y="1221"/>
                  </a:lnTo>
                  <a:lnTo>
                    <a:pt x="724" y="1226"/>
                  </a:lnTo>
                  <a:lnTo>
                    <a:pt x="727" y="1224"/>
                  </a:lnTo>
                  <a:lnTo>
                    <a:pt x="731" y="1234"/>
                  </a:lnTo>
                  <a:lnTo>
                    <a:pt x="738" y="1242"/>
                  </a:lnTo>
                  <a:lnTo>
                    <a:pt x="736" y="1245"/>
                  </a:lnTo>
                  <a:lnTo>
                    <a:pt x="736" y="1250"/>
                  </a:lnTo>
                  <a:lnTo>
                    <a:pt x="735" y="1251"/>
                  </a:lnTo>
                  <a:lnTo>
                    <a:pt x="739" y="1253"/>
                  </a:lnTo>
                  <a:lnTo>
                    <a:pt x="739" y="1248"/>
                  </a:lnTo>
                  <a:lnTo>
                    <a:pt x="739" y="1245"/>
                  </a:lnTo>
                  <a:lnTo>
                    <a:pt x="739" y="1242"/>
                  </a:lnTo>
                  <a:lnTo>
                    <a:pt x="741" y="1238"/>
                  </a:lnTo>
                  <a:lnTo>
                    <a:pt x="744" y="1238"/>
                  </a:lnTo>
                  <a:lnTo>
                    <a:pt x="743" y="1243"/>
                  </a:lnTo>
                  <a:lnTo>
                    <a:pt x="741" y="1246"/>
                  </a:lnTo>
                  <a:lnTo>
                    <a:pt x="741" y="1250"/>
                  </a:lnTo>
                  <a:lnTo>
                    <a:pt x="741" y="1253"/>
                  </a:lnTo>
                  <a:lnTo>
                    <a:pt x="741" y="1257"/>
                  </a:lnTo>
                  <a:lnTo>
                    <a:pt x="741" y="1261"/>
                  </a:lnTo>
                  <a:lnTo>
                    <a:pt x="744" y="1262"/>
                  </a:lnTo>
                  <a:lnTo>
                    <a:pt x="743" y="1265"/>
                  </a:lnTo>
                  <a:lnTo>
                    <a:pt x="743" y="1269"/>
                  </a:lnTo>
                  <a:lnTo>
                    <a:pt x="743" y="1272"/>
                  </a:lnTo>
                  <a:lnTo>
                    <a:pt x="744" y="1275"/>
                  </a:lnTo>
                  <a:lnTo>
                    <a:pt x="747" y="1276"/>
                  </a:lnTo>
                  <a:lnTo>
                    <a:pt x="750" y="1280"/>
                  </a:lnTo>
                  <a:lnTo>
                    <a:pt x="752" y="1283"/>
                  </a:lnTo>
                  <a:lnTo>
                    <a:pt x="754" y="1286"/>
                  </a:lnTo>
                  <a:lnTo>
                    <a:pt x="755" y="1289"/>
                  </a:lnTo>
                  <a:lnTo>
                    <a:pt x="758" y="1291"/>
                  </a:lnTo>
                  <a:lnTo>
                    <a:pt x="766" y="1299"/>
                  </a:lnTo>
                  <a:lnTo>
                    <a:pt x="773" y="1307"/>
                  </a:lnTo>
                  <a:lnTo>
                    <a:pt x="777" y="1311"/>
                  </a:lnTo>
                  <a:lnTo>
                    <a:pt x="779" y="1315"/>
                  </a:lnTo>
                  <a:lnTo>
                    <a:pt x="781" y="1318"/>
                  </a:lnTo>
                  <a:lnTo>
                    <a:pt x="784" y="1319"/>
                  </a:lnTo>
                  <a:lnTo>
                    <a:pt x="787" y="1321"/>
                  </a:lnTo>
                  <a:lnTo>
                    <a:pt x="785" y="1327"/>
                  </a:lnTo>
                  <a:lnTo>
                    <a:pt x="784" y="1330"/>
                  </a:lnTo>
                  <a:lnTo>
                    <a:pt x="781" y="1334"/>
                  </a:lnTo>
                  <a:lnTo>
                    <a:pt x="773" y="1337"/>
                  </a:lnTo>
                  <a:lnTo>
                    <a:pt x="773" y="1340"/>
                  </a:lnTo>
                  <a:lnTo>
                    <a:pt x="770" y="1343"/>
                  </a:lnTo>
                  <a:lnTo>
                    <a:pt x="768" y="1346"/>
                  </a:lnTo>
                  <a:lnTo>
                    <a:pt x="758" y="1346"/>
                  </a:lnTo>
                  <a:lnTo>
                    <a:pt x="752" y="1345"/>
                  </a:lnTo>
                  <a:lnTo>
                    <a:pt x="747" y="1340"/>
                  </a:lnTo>
                  <a:lnTo>
                    <a:pt x="743" y="1332"/>
                  </a:lnTo>
                  <a:lnTo>
                    <a:pt x="739" y="1332"/>
                  </a:lnTo>
                  <a:lnTo>
                    <a:pt x="736" y="1329"/>
                  </a:lnTo>
                  <a:lnTo>
                    <a:pt x="733" y="1326"/>
                  </a:lnTo>
                  <a:lnTo>
                    <a:pt x="730" y="1324"/>
                  </a:lnTo>
                  <a:lnTo>
                    <a:pt x="728" y="1321"/>
                  </a:lnTo>
                  <a:lnTo>
                    <a:pt x="725" y="1322"/>
                  </a:lnTo>
                  <a:lnTo>
                    <a:pt x="720" y="1319"/>
                  </a:lnTo>
                  <a:lnTo>
                    <a:pt x="717" y="1319"/>
                  </a:lnTo>
                  <a:lnTo>
                    <a:pt x="717" y="1319"/>
                  </a:lnTo>
                  <a:lnTo>
                    <a:pt x="714" y="1318"/>
                  </a:lnTo>
                  <a:lnTo>
                    <a:pt x="709" y="1315"/>
                  </a:lnTo>
                  <a:lnTo>
                    <a:pt x="700" y="1311"/>
                  </a:lnTo>
                  <a:lnTo>
                    <a:pt x="689" y="1307"/>
                  </a:lnTo>
                  <a:lnTo>
                    <a:pt x="689" y="1303"/>
                  </a:lnTo>
                  <a:lnTo>
                    <a:pt x="690" y="1300"/>
                  </a:lnTo>
                  <a:lnTo>
                    <a:pt x="690" y="1296"/>
                  </a:lnTo>
                  <a:lnTo>
                    <a:pt x="690" y="1296"/>
                  </a:lnTo>
                  <a:lnTo>
                    <a:pt x="687" y="1294"/>
                  </a:lnTo>
                  <a:lnTo>
                    <a:pt x="684" y="1292"/>
                  </a:lnTo>
                  <a:lnTo>
                    <a:pt x="681" y="1292"/>
                  </a:lnTo>
                  <a:lnTo>
                    <a:pt x="676" y="1292"/>
                  </a:lnTo>
                  <a:lnTo>
                    <a:pt x="673" y="1289"/>
                  </a:lnTo>
                  <a:lnTo>
                    <a:pt x="670" y="1286"/>
                  </a:lnTo>
                  <a:lnTo>
                    <a:pt x="666" y="1286"/>
                  </a:lnTo>
                  <a:lnTo>
                    <a:pt x="663" y="1286"/>
                  </a:lnTo>
                  <a:lnTo>
                    <a:pt x="662" y="1284"/>
                  </a:lnTo>
                  <a:lnTo>
                    <a:pt x="659" y="1286"/>
                  </a:lnTo>
                  <a:lnTo>
                    <a:pt x="657" y="1289"/>
                  </a:lnTo>
                  <a:lnTo>
                    <a:pt x="655" y="1286"/>
                  </a:lnTo>
                  <a:lnTo>
                    <a:pt x="652" y="1284"/>
                  </a:lnTo>
                  <a:lnTo>
                    <a:pt x="651" y="1284"/>
                  </a:lnTo>
                  <a:lnTo>
                    <a:pt x="647" y="1284"/>
                  </a:lnTo>
                  <a:lnTo>
                    <a:pt x="643" y="1286"/>
                  </a:lnTo>
                  <a:lnTo>
                    <a:pt x="639" y="1288"/>
                  </a:lnTo>
                  <a:lnTo>
                    <a:pt x="638" y="1289"/>
                  </a:lnTo>
                  <a:lnTo>
                    <a:pt x="636" y="1289"/>
                  </a:lnTo>
                  <a:lnTo>
                    <a:pt x="633" y="1289"/>
                  </a:lnTo>
                  <a:lnTo>
                    <a:pt x="630" y="1291"/>
                  </a:lnTo>
                  <a:lnTo>
                    <a:pt x="627" y="1291"/>
                  </a:lnTo>
                  <a:lnTo>
                    <a:pt x="624" y="1288"/>
                  </a:lnTo>
                  <a:lnTo>
                    <a:pt x="625" y="1286"/>
                  </a:lnTo>
                  <a:lnTo>
                    <a:pt x="624" y="1284"/>
                  </a:lnTo>
                  <a:lnTo>
                    <a:pt x="617" y="1281"/>
                  </a:lnTo>
                  <a:lnTo>
                    <a:pt x="608" y="1278"/>
                  </a:lnTo>
                  <a:lnTo>
                    <a:pt x="598" y="1273"/>
                  </a:lnTo>
                  <a:lnTo>
                    <a:pt x="592" y="1269"/>
                  </a:lnTo>
                  <a:lnTo>
                    <a:pt x="589" y="1267"/>
                  </a:lnTo>
                  <a:lnTo>
                    <a:pt x="586" y="1269"/>
                  </a:lnTo>
                  <a:lnTo>
                    <a:pt x="581" y="1267"/>
                  </a:lnTo>
                  <a:lnTo>
                    <a:pt x="578" y="1265"/>
                  </a:lnTo>
                  <a:lnTo>
                    <a:pt x="574" y="1264"/>
                  </a:lnTo>
                  <a:lnTo>
                    <a:pt x="573" y="1265"/>
                  </a:lnTo>
                  <a:lnTo>
                    <a:pt x="570" y="1265"/>
                  </a:lnTo>
                  <a:lnTo>
                    <a:pt x="567" y="1267"/>
                  </a:lnTo>
                  <a:lnTo>
                    <a:pt x="567" y="1267"/>
                  </a:lnTo>
                  <a:lnTo>
                    <a:pt x="562" y="1267"/>
                  </a:lnTo>
                  <a:lnTo>
                    <a:pt x="559" y="1265"/>
                  </a:lnTo>
                  <a:lnTo>
                    <a:pt x="554" y="1265"/>
                  </a:lnTo>
                  <a:lnTo>
                    <a:pt x="551" y="1265"/>
                  </a:lnTo>
                  <a:lnTo>
                    <a:pt x="546" y="1264"/>
                  </a:lnTo>
                  <a:lnTo>
                    <a:pt x="543" y="1261"/>
                  </a:lnTo>
                  <a:lnTo>
                    <a:pt x="540" y="1261"/>
                  </a:lnTo>
                  <a:lnTo>
                    <a:pt x="535" y="1259"/>
                  </a:lnTo>
                  <a:lnTo>
                    <a:pt x="532" y="1259"/>
                  </a:lnTo>
                  <a:lnTo>
                    <a:pt x="528" y="1257"/>
                  </a:lnTo>
                  <a:lnTo>
                    <a:pt x="525" y="1256"/>
                  </a:lnTo>
                  <a:lnTo>
                    <a:pt x="522" y="1254"/>
                  </a:lnTo>
                  <a:lnTo>
                    <a:pt x="517" y="1253"/>
                  </a:lnTo>
                  <a:lnTo>
                    <a:pt x="514" y="1254"/>
                  </a:lnTo>
                  <a:lnTo>
                    <a:pt x="511" y="1253"/>
                  </a:lnTo>
                  <a:lnTo>
                    <a:pt x="508" y="1253"/>
                  </a:lnTo>
                  <a:lnTo>
                    <a:pt x="503" y="1251"/>
                  </a:lnTo>
                  <a:lnTo>
                    <a:pt x="500" y="1251"/>
                  </a:lnTo>
                  <a:lnTo>
                    <a:pt x="497" y="1254"/>
                  </a:lnTo>
                  <a:lnTo>
                    <a:pt x="497" y="1259"/>
                  </a:lnTo>
                  <a:lnTo>
                    <a:pt x="497" y="1259"/>
                  </a:lnTo>
                  <a:lnTo>
                    <a:pt x="492" y="1257"/>
                  </a:lnTo>
                  <a:lnTo>
                    <a:pt x="490" y="1253"/>
                  </a:lnTo>
                  <a:lnTo>
                    <a:pt x="487" y="1251"/>
                  </a:lnTo>
                  <a:lnTo>
                    <a:pt x="482" y="1248"/>
                  </a:lnTo>
                  <a:lnTo>
                    <a:pt x="479" y="1245"/>
                  </a:lnTo>
                  <a:lnTo>
                    <a:pt x="470" y="1237"/>
                  </a:lnTo>
                  <a:lnTo>
                    <a:pt x="459" y="1229"/>
                  </a:lnTo>
                  <a:lnTo>
                    <a:pt x="454" y="1226"/>
                  </a:lnTo>
                  <a:lnTo>
                    <a:pt x="449" y="1223"/>
                  </a:lnTo>
                  <a:lnTo>
                    <a:pt x="446" y="1221"/>
                  </a:lnTo>
                  <a:lnTo>
                    <a:pt x="438" y="1219"/>
                  </a:lnTo>
                  <a:lnTo>
                    <a:pt x="435" y="1218"/>
                  </a:lnTo>
                  <a:lnTo>
                    <a:pt x="432" y="1218"/>
                  </a:lnTo>
                  <a:lnTo>
                    <a:pt x="429" y="1215"/>
                  </a:lnTo>
                  <a:lnTo>
                    <a:pt x="425" y="1211"/>
                  </a:lnTo>
                  <a:lnTo>
                    <a:pt x="422" y="1210"/>
                  </a:lnTo>
                  <a:lnTo>
                    <a:pt x="419" y="1207"/>
                  </a:lnTo>
                  <a:lnTo>
                    <a:pt x="416" y="1205"/>
                  </a:lnTo>
                  <a:lnTo>
                    <a:pt x="417" y="1208"/>
                  </a:lnTo>
                  <a:lnTo>
                    <a:pt x="409" y="1207"/>
                  </a:lnTo>
                  <a:lnTo>
                    <a:pt x="405" y="1205"/>
                  </a:lnTo>
                  <a:lnTo>
                    <a:pt x="403" y="1204"/>
                  </a:lnTo>
                  <a:lnTo>
                    <a:pt x="402" y="1200"/>
                  </a:lnTo>
                  <a:lnTo>
                    <a:pt x="398" y="1197"/>
                  </a:lnTo>
                  <a:lnTo>
                    <a:pt x="395" y="1194"/>
                  </a:lnTo>
                  <a:lnTo>
                    <a:pt x="387" y="1191"/>
                  </a:lnTo>
                  <a:lnTo>
                    <a:pt x="376" y="1189"/>
                  </a:lnTo>
                  <a:lnTo>
                    <a:pt x="379" y="1186"/>
                  </a:lnTo>
                  <a:lnTo>
                    <a:pt x="383" y="1184"/>
                  </a:lnTo>
                  <a:lnTo>
                    <a:pt x="386" y="1183"/>
                  </a:lnTo>
                  <a:lnTo>
                    <a:pt x="383" y="1181"/>
                  </a:lnTo>
                  <a:lnTo>
                    <a:pt x="381" y="1178"/>
                  </a:lnTo>
                  <a:lnTo>
                    <a:pt x="378" y="1180"/>
                  </a:lnTo>
                  <a:lnTo>
                    <a:pt x="379" y="1177"/>
                  </a:lnTo>
                  <a:lnTo>
                    <a:pt x="381" y="1177"/>
                  </a:lnTo>
                  <a:lnTo>
                    <a:pt x="384" y="1177"/>
                  </a:lnTo>
                  <a:lnTo>
                    <a:pt x="390" y="1180"/>
                  </a:lnTo>
                  <a:lnTo>
                    <a:pt x="392" y="1181"/>
                  </a:lnTo>
                  <a:lnTo>
                    <a:pt x="395" y="1183"/>
                  </a:lnTo>
                  <a:lnTo>
                    <a:pt x="392" y="1181"/>
                  </a:lnTo>
                  <a:lnTo>
                    <a:pt x="397" y="1180"/>
                  </a:lnTo>
                  <a:lnTo>
                    <a:pt x="400" y="1180"/>
                  </a:lnTo>
                  <a:lnTo>
                    <a:pt x="400" y="1181"/>
                  </a:lnTo>
                  <a:lnTo>
                    <a:pt x="403" y="1180"/>
                  </a:lnTo>
                  <a:lnTo>
                    <a:pt x="411" y="1181"/>
                  </a:lnTo>
                  <a:lnTo>
                    <a:pt x="411" y="1178"/>
                  </a:lnTo>
                  <a:lnTo>
                    <a:pt x="409" y="1175"/>
                  </a:lnTo>
                  <a:lnTo>
                    <a:pt x="409" y="1172"/>
                  </a:lnTo>
                  <a:lnTo>
                    <a:pt x="408" y="1175"/>
                  </a:lnTo>
                  <a:lnTo>
                    <a:pt x="405" y="1172"/>
                  </a:lnTo>
                  <a:lnTo>
                    <a:pt x="405" y="1169"/>
                  </a:lnTo>
                  <a:lnTo>
                    <a:pt x="409" y="1169"/>
                  </a:lnTo>
                  <a:lnTo>
                    <a:pt x="409" y="1165"/>
                  </a:lnTo>
                  <a:lnTo>
                    <a:pt x="413" y="1162"/>
                  </a:lnTo>
                  <a:lnTo>
                    <a:pt x="413" y="1159"/>
                  </a:lnTo>
                  <a:lnTo>
                    <a:pt x="414" y="1154"/>
                  </a:lnTo>
                  <a:lnTo>
                    <a:pt x="417" y="1151"/>
                  </a:lnTo>
                  <a:lnTo>
                    <a:pt x="417" y="1154"/>
                  </a:lnTo>
                  <a:lnTo>
                    <a:pt x="419" y="1159"/>
                  </a:lnTo>
                  <a:lnTo>
                    <a:pt x="421" y="1154"/>
                  </a:lnTo>
                  <a:lnTo>
                    <a:pt x="421" y="1151"/>
                  </a:lnTo>
                  <a:lnTo>
                    <a:pt x="422" y="1148"/>
                  </a:lnTo>
                  <a:lnTo>
                    <a:pt x="427" y="1150"/>
                  </a:lnTo>
                  <a:lnTo>
                    <a:pt x="430" y="1151"/>
                  </a:lnTo>
                  <a:lnTo>
                    <a:pt x="433" y="1153"/>
                  </a:lnTo>
                  <a:lnTo>
                    <a:pt x="433" y="1150"/>
                  </a:lnTo>
                  <a:lnTo>
                    <a:pt x="429" y="1146"/>
                  </a:lnTo>
                  <a:lnTo>
                    <a:pt x="425" y="1145"/>
                  </a:lnTo>
                  <a:lnTo>
                    <a:pt x="422" y="1142"/>
                  </a:lnTo>
                  <a:lnTo>
                    <a:pt x="419" y="1139"/>
                  </a:lnTo>
                  <a:lnTo>
                    <a:pt x="416" y="1137"/>
                  </a:lnTo>
                  <a:lnTo>
                    <a:pt x="413" y="1139"/>
                  </a:lnTo>
                  <a:lnTo>
                    <a:pt x="408" y="1134"/>
                  </a:lnTo>
                  <a:lnTo>
                    <a:pt x="406" y="1131"/>
                  </a:lnTo>
                  <a:lnTo>
                    <a:pt x="405" y="1127"/>
                  </a:lnTo>
                  <a:lnTo>
                    <a:pt x="409" y="1129"/>
                  </a:lnTo>
                  <a:lnTo>
                    <a:pt x="413" y="1127"/>
                  </a:lnTo>
                  <a:lnTo>
                    <a:pt x="417" y="1126"/>
                  </a:lnTo>
                  <a:lnTo>
                    <a:pt x="422" y="1124"/>
                  </a:lnTo>
                  <a:lnTo>
                    <a:pt x="425" y="1127"/>
                  </a:lnTo>
                  <a:lnTo>
                    <a:pt x="429" y="1127"/>
                  </a:lnTo>
                  <a:lnTo>
                    <a:pt x="429" y="1124"/>
                  </a:lnTo>
                  <a:lnTo>
                    <a:pt x="425" y="1124"/>
                  </a:lnTo>
                  <a:lnTo>
                    <a:pt x="425" y="1121"/>
                  </a:lnTo>
                  <a:lnTo>
                    <a:pt x="429" y="1119"/>
                  </a:lnTo>
                  <a:lnTo>
                    <a:pt x="432" y="1119"/>
                  </a:lnTo>
                  <a:lnTo>
                    <a:pt x="433" y="1119"/>
                  </a:lnTo>
                  <a:lnTo>
                    <a:pt x="436" y="1118"/>
                  </a:lnTo>
                  <a:lnTo>
                    <a:pt x="440" y="1116"/>
                  </a:lnTo>
                  <a:lnTo>
                    <a:pt x="444" y="1113"/>
                  </a:lnTo>
                  <a:lnTo>
                    <a:pt x="448" y="1113"/>
                  </a:lnTo>
                  <a:lnTo>
                    <a:pt x="451" y="1113"/>
                  </a:lnTo>
                  <a:lnTo>
                    <a:pt x="452" y="1110"/>
                  </a:lnTo>
                  <a:lnTo>
                    <a:pt x="454" y="1110"/>
                  </a:lnTo>
                  <a:lnTo>
                    <a:pt x="454" y="1108"/>
                  </a:lnTo>
                  <a:lnTo>
                    <a:pt x="451" y="1110"/>
                  </a:lnTo>
                  <a:lnTo>
                    <a:pt x="451" y="1108"/>
                  </a:lnTo>
                  <a:lnTo>
                    <a:pt x="451" y="1105"/>
                  </a:lnTo>
                  <a:lnTo>
                    <a:pt x="449" y="1104"/>
                  </a:lnTo>
                  <a:lnTo>
                    <a:pt x="446" y="1102"/>
                  </a:lnTo>
                  <a:lnTo>
                    <a:pt x="443" y="1104"/>
                  </a:lnTo>
                  <a:lnTo>
                    <a:pt x="440" y="1105"/>
                  </a:lnTo>
                  <a:lnTo>
                    <a:pt x="440" y="1107"/>
                  </a:lnTo>
                  <a:lnTo>
                    <a:pt x="436" y="1107"/>
                  </a:lnTo>
                  <a:lnTo>
                    <a:pt x="432" y="1107"/>
                  </a:lnTo>
                  <a:lnTo>
                    <a:pt x="429" y="1108"/>
                  </a:lnTo>
                  <a:lnTo>
                    <a:pt x="425" y="1108"/>
                  </a:lnTo>
                  <a:lnTo>
                    <a:pt x="427" y="1105"/>
                  </a:lnTo>
                  <a:lnTo>
                    <a:pt x="430" y="1104"/>
                  </a:lnTo>
                  <a:lnTo>
                    <a:pt x="433" y="1104"/>
                  </a:lnTo>
                  <a:lnTo>
                    <a:pt x="430" y="1104"/>
                  </a:lnTo>
                  <a:lnTo>
                    <a:pt x="427" y="1104"/>
                  </a:lnTo>
                  <a:lnTo>
                    <a:pt x="425" y="1105"/>
                  </a:lnTo>
                  <a:lnTo>
                    <a:pt x="422" y="1108"/>
                  </a:lnTo>
                  <a:lnTo>
                    <a:pt x="419" y="1108"/>
                  </a:lnTo>
                  <a:lnTo>
                    <a:pt x="419" y="1108"/>
                  </a:lnTo>
                  <a:lnTo>
                    <a:pt x="417" y="1108"/>
                  </a:lnTo>
                  <a:lnTo>
                    <a:pt x="417" y="1108"/>
                  </a:lnTo>
                  <a:lnTo>
                    <a:pt x="417" y="1105"/>
                  </a:lnTo>
                  <a:lnTo>
                    <a:pt x="419" y="1102"/>
                  </a:lnTo>
                  <a:lnTo>
                    <a:pt x="416" y="1100"/>
                  </a:lnTo>
                  <a:lnTo>
                    <a:pt x="417" y="1097"/>
                  </a:lnTo>
                  <a:lnTo>
                    <a:pt x="417" y="1094"/>
                  </a:lnTo>
                  <a:lnTo>
                    <a:pt x="417" y="1091"/>
                  </a:lnTo>
                  <a:lnTo>
                    <a:pt x="421" y="1089"/>
                  </a:lnTo>
                  <a:lnTo>
                    <a:pt x="424" y="1088"/>
                  </a:lnTo>
                  <a:lnTo>
                    <a:pt x="429" y="1086"/>
                  </a:lnTo>
                  <a:lnTo>
                    <a:pt x="430" y="1086"/>
                  </a:lnTo>
                  <a:lnTo>
                    <a:pt x="432" y="1085"/>
                  </a:lnTo>
                  <a:lnTo>
                    <a:pt x="432" y="1080"/>
                  </a:lnTo>
                  <a:lnTo>
                    <a:pt x="435" y="1078"/>
                  </a:lnTo>
                  <a:lnTo>
                    <a:pt x="438" y="1080"/>
                  </a:lnTo>
                  <a:lnTo>
                    <a:pt x="441" y="1080"/>
                  </a:lnTo>
                  <a:lnTo>
                    <a:pt x="444" y="1080"/>
                  </a:lnTo>
                  <a:lnTo>
                    <a:pt x="449" y="1080"/>
                  </a:lnTo>
                  <a:lnTo>
                    <a:pt x="452" y="1080"/>
                  </a:lnTo>
                  <a:lnTo>
                    <a:pt x="455" y="1080"/>
                  </a:lnTo>
                  <a:lnTo>
                    <a:pt x="459" y="1080"/>
                  </a:lnTo>
                  <a:lnTo>
                    <a:pt x="462" y="1080"/>
                  </a:lnTo>
                  <a:lnTo>
                    <a:pt x="462" y="1080"/>
                  </a:lnTo>
                  <a:lnTo>
                    <a:pt x="462" y="1077"/>
                  </a:lnTo>
                  <a:lnTo>
                    <a:pt x="462" y="1073"/>
                  </a:lnTo>
                  <a:lnTo>
                    <a:pt x="463" y="1072"/>
                  </a:lnTo>
                  <a:lnTo>
                    <a:pt x="463" y="1070"/>
                  </a:lnTo>
                  <a:lnTo>
                    <a:pt x="465" y="1067"/>
                  </a:lnTo>
                  <a:lnTo>
                    <a:pt x="467" y="1064"/>
                  </a:lnTo>
                  <a:lnTo>
                    <a:pt x="467" y="1064"/>
                  </a:lnTo>
                  <a:lnTo>
                    <a:pt x="467" y="1062"/>
                  </a:lnTo>
                  <a:lnTo>
                    <a:pt x="465" y="1062"/>
                  </a:lnTo>
                  <a:lnTo>
                    <a:pt x="463" y="1062"/>
                  </a:lnTo>
                  <a:lnTo>
                    <a:pt x="463" y="1062"/>
                  </a:lnTo>
                  <a:lnTo>
                    <a:pt x="462" y="1061"/>
                  </a:lnTo>
                  <a:lnTo>
                    <a:pt x="463" y="1059"/>
                  </a:lnTo>
                  <a:lnTo>
                    <a:pt x="463" y="1058"/>
                  </a:lnTo>
                  <a:lnTo>
                    <a:pt x="462" y="1054"/>
                  </a:lnTo>
                  <a:lnTo>
                    <a:pt x="459" y="1050"/>
                  </a:lnTo>
                  <a:lnTo>
                    <a:pt x="454" y="1050"/>
                  </a:lnTo>
                  <a:lnTo>
                    <a:pt x="454" y="1048"/>
                  </a:lnTo>
                  <a:lnTo>
                    <a:pt x="455" y="1045"/>
                  </a:lnTo>
                  <a:lnTo>
                    <a:pt x="457" y="1042"/>
                  </a:lnTo>
                  <a:lnTo>
                    <a:pt x="460" y="1042"/>
                  </a:lnTo>
                  <a:lnTo>
                    <a:pt x="463" y="1042"/>
                  </a:lnTo>
                  <a:lnTo>
                    <a:pt x="463" y="1039"/>
                  </a:lnTo>
                  <a:lnTo>
                    <a:pt x="462" y="1039"/>
                  </a:lnTo>
                  <a:lnTo>
                    <a:pt x="459" y="1039"/>
                  </a:lnTo>
                  <a:lnTo>
                    <a:pt x="455" y="1037"/>
                  </a:lnTo>
                  <a:lnTo>
                    <a:pt x="454" y="1035"/>
                  </a:lnTo>
                  <a:lnTo>
                    <a:pt x="454" y="1032"/>
                  </a:lnTo>
                  <a:lnTo>
                    <a:pt x="457" y="1031"/>
                  </a:lnTo>
                  <a:lnTo>
                    <a:pt x="460" y="1031"/>
                  </a:lnTo>
                  <a:lnTo>
                    <a:pt x="462" y="1028"/>
                  </a:lnTo>
                  <a:lnTo>
                    <a:pt x="463" y="1026"/>
                  </a:lnTo>
                  <a:lnTo>
                    <a:pt x="465" y="1021"/>
                  </a:lnTo>
                  <a:lnTo>
                    <a:pt x="463" y="1018"/>
                  </a:lnTo>
                  <a:lnTo>
                    <a:pt x="462" y="1016"/>
                  </a:lnTo>
                  <a:lnTo>
                    <a:pt x="460" y="1013"/>
                  </a:lnTo>
                  <a:lnTo>
                    <a:pt x="463" y="1010"/>
                  </a:lnTo>
                  <a:lnTo>
                    <a:pt x="462" y="1010"/>
                  </a:lnTo>
                  <a:lnTo>
                    <a:pt x="459" y="1010"/>
                  </a:lnTo>
                  <a:lnTo>
                    <a:pt x="457" y="1010"/>
                  </a:lnTo>
                  <a:lnTo>
                    <a:pt x="455" y="1012"/>
                  </a:lnTo>
                  <a:lnTo>
                    <a:pt x="452" y="1012"/>
                  </a:lnTo>
                  <a:lnTo>
                    <a:pt x="449" y="1010"/>
                  </a:lnTo>
                  <a:lnTo>
                    <a:pt x="446" y="1008"/>
                  </a:lnTo>
                  <a:lnTo>
                    <a:pt x="444" y="1005"/>
                  </a:lnTo>
                  <a:lnTo>
                    <a:pt x="441" y="1004"/>
                  </a:lnTo>
                  <a:lnTo>
                    <a:pt x="436" y="1005"/>
                  </a:lnTo>
                  <a:lnTo>
                    <a:pt x="433" y="1002"/>
                  </a:lnTo>
                  <a:lnTo>
                    <a:pt x="432" y="999"/>
                  </a:lnTo>
                  <a:lnTo>
                    <a:pt x="427" y="1002"/>
                  </a:lnTo>
                  <a:lnTo>
                    <a:pt x="424" y="1002"/>
                  </a:lnTo>
                  <a:lnTo>
                    <a:pt x="421" y="999"/>
                  </a:lnTo>
                  <a:lnTo>
                    <a:pt x="417" y="997"/>
                  </a:lnTo>
                  <a:lnTo>
                    <a:pt x="414" y="996"/>
                  </a:lnTo>
                  <a:lnTo>
                    <a:pt x="409" y="996"/>
                  </a:lnTo>
                  <a:lnTo>
                    <a:pt x="406" y="994"/>
                  </a:lnTo>
                  <a:lnTo>
                    <a:pt x="405" y="994"/>
                  </a:lnTo>
                  <a:lnTo>
                    <a:pt x="402" y="991"/>
                  </a:lnTo>
                  <a:lnTo>
                    <a:pt x="398" y="993"/>
                  </a:lnTo>
                  <a:lnTo>
                    <a:pt x="400" y="994"/>
                  </a:lnTo>
                  <a:lnTo>
                    <a:pt x="395" y="997"/>
                  </a:lnTo>
                  <a:lnTo>
                    <a:pt x="395" y="997"/>
                  </a:lnTo>
                  <a:lnTo>
                    <a:pt x="392" y="994"/>
                  </a:lnTo>
                  <a:lnTo>
                    <a:pt x="392" y="994"/>
                  </a:lnTo>
                  <a:lnTo>
                    <a:pt x="390" y="993"/>
                  </a:lnTo>
                  <a:lnTo>
                    <a:pt x="384" y="989"/>
                  </a:lnTo>
                  <a:lnTo>
                    <a:pt x="381" y="986"/>
                  </a:lnTo>
                  <a:lnTo>
                    <a:pt x="379" y="983"/>
                  </a:lnTo>
                  <a:lnTo>
                    <a:pt x="376" y="982"/>
                  </a:lnTo>
                  <a:lnTo>
                    <a:pt x="373" y="977"/>
                  </a:lnTo>
                  <a:lnTo>
                    <a:pt x="370" y="977"/>
                  </a:lnTo>
                  <a:lnTo>
                    <a:pt x="367" y="980"/>
                  </a:lnTo>
                  <a:lnTo>
                    <a:pt x="364" y="980"/>
                  </a:lnTo>
                  <a:lnTo>
                    <a:pt x="360" y="980"/>
                  </a:lnTo>
                  <a:lnTo>
                    <a:pt x="354" y="982"/>
                  </a:lnTo>
                  <a:lnTo>
                    <a:pt x="348" y="986"/>
                  </a:lnTo>
                  <a:lnTo>
                    <a:pt x="344" y="982"/>
                  </a:lnTo>
                  <a:lnTo>
                    <a:pt x="340" y="983"/>
                  </a:lnTo>
                  <a:lnTo>
                    <a:pt x="338" y="983"/>
                  </a:lnTo>
                  <a:lnTo>
                    <a:pt x="335" y="980"/>
                  </a:lnTo>
                  <a:lnTo>
                    <a:pt x="332" y="977"/>
                  </a:lnTo>
                  <a:lnTo>
                    <a:pt x="329" y="977"/>
                  </a:lnTo>
                  <a:lnTo>
                    <a:pt x="325" y="977"/>
                  </a:lnTo>
                  <a:lnTo>
                    <a:pt x="324" y="977"/>
                  </a:lnTo>
                  <a:lnTo>
                    <a:pt x="321" y="980"/>
                  </a:lnTo>
                  <a:lnTo>
                    <a:pt x="319" y="980"/>
                  </a:lnTo>
                  <a:lnTo>
                    <a:pt x="316" y="978"/>
                  </a:lnTo>
                  <a:lnTo>
                    <a:pt x="314" y="977"/>
                  </a:lnTo>
                  <a:lnTo>
                    <a:pt x="311" y="975"/>
                  </a:lnTo>
                  <a:lnTo>
                    <a:pt x="310" y="972"/>
                  </a:lnTo>
                  <a:lnTo>
                    <a:pt x="308" y="969"/>
                  </a:lnTo>
                  <a:lnTo>
                    <a:pt x="310" y="966"/>
                  </a:lnTo>
                  <a:lnTo>
                    <a:pt x="306" y="961"/>
                  </a:lnTo>
                  <a:lnTo>
                    <a:pt x="305" y="958"/>
                  </a:lnTo>
                  <a:lnTo>
                    <a:pt x="303" y="956"/>
                  </a:lnTo>
                  <a:lnTo>
                    <a:pt x="305" y="953"/>
                  </a:lnTo>
                  <a:lnTo>
                    <a:pt x="302" y="953"/>
                  </a:lnTo>
                  <a:lnTo>
                    <a:pt x="297" y="950"/>
                  </a:lnTo>
                  <a:lnTo>
                    <a:pt x="297" y="948"/>
                  </a:lnTo>
                  <a:lnTo>
                    <a:pt x="294" y="947"/>
                  </a:lnTo>
                  <a:lnTo>
                    <a:pt x="292" y="947"/>
                  </a:lnTo>
                  <a:lnTo>
                    <a:pt x="291" y="947"/>
                  </a:lnTo>
                  <a:lnTo>
                    <a:pt x="287" y="948"/>
                  </a:lnTo>
                  <a:lnTo>
                    <a:pt x="284" y="948"/>
                  </a:lnTo>
                  <a:lnTo>
                    <a:pt x="279" y="945"/>
                  </a:lnTo>
                  <a:lnTo>
                    <a:pt x="276" y="945"/>
                  </a:lnTo>
                  <a:lnTo>
                    <a:pt x="275" y="945"/>
                  </a:lnTo>
                  <a:lnTo>
                    <a:pt x="272" y="945"/>
                  </a:lnTo>
                  <a:lnTo>
                    <a:pt x="268" y="945"/>
                  </a:lnTo>
                  <a:lnTo>
                    <a:pt x="268" y="945"/>
                  </a:lnTo>
                  <a:lnTo>
                    <a:pt x="268" y="943"/>
                  </a:lnTo>
                  <a:lnTo>
                    <a:pt x="270" y="943"/>
                  </a:lnTo>
                  <a:lnTo>
                    <a:pt x="270" y="940"/>
                  </a:lnTo>
                  <a:lnTo>
                    <a:pt x="268" y="940"/>
                  </a:lnTo>
                  <a:lnTo>
                    <a:pt x="267" y="939"/>
                  </a:lnTo>
                  <a:lnTo>
                    <a:pt x="267" y="936"/>
                  </a:lnTo>
                  <a:lnTo>
                    <a:pt x="265" y="932"/>
                  </a:lnTo>
                  <a:lnTo>
                    <a:pt x="262" y="929"/>
                  </a:lnTo>
                  <a:lnTo>
                    <a:pt x="262" y="928"/>
                  </a:lnTo>
                  <a:lnTo>
                    <a:pt x="264" y="928"/>
                  </a:lnTo>
                  <a:lnTo>
                    <a:pt x="265" y="928"/>
                  </a:lnTo>
                  <a:lnTo>
                    <a:pt x="268" y="926"/>
                  </a:lnTo>
                  <a:lnTo>
                    <a:pt x="272" y="924"/>
                  </a:lnTo>
                  <a:lnTo>
                    <a:pt x="270" y="921"/>
                  </a:lnTo>
                  <a:lnTo>
                    <a:pt x="268" y="921"/>
                  </a:lnTo>
                  <a:lnTo>
                    <a:pt x="267" y="920"/>
                  </a:lnTo>
                  <a:lnTo>
                    <a:pt x="264" y="917"/>
                  </a:lnTo>
                  <a:lnTo>
                    <a:pt x="259" y="913"/>
                  </a:lnTo>
                  <a:lnTo>
                    <a:pt x="259" y="910"/>
                  </a:lnTo>
                  <a:lnTo>
                    <a:pt x="257" y="907"/>
                  </a:lnTo>
                  <a:lnTo>
                    <a:pt x="256" y="907"/>
                  </a:lnTo>
                  <a:lnTo>
                    <a:pt x="251" y="904"/>
                  </a:lnTo>
                  <a:lnTo>
                    <a:pt x="248" y="901"/>
                  </a:lnTo>
                  <a:lnTo>
                    <a:pt x="245" y="902"/>
                  </a:lnTo>
                  <a:lnTo>
                    <a:pt x="241" y="904"/>
                  </a:lnTo>
                  <a:lnTo>
                    <a:pt x="240" y="902"/>
                  </a:lnTo>
                  <a:lnTo>
                    <a:pt x="240" y="901"/>
                  </a:lnTo>
                  <a:lnTo>
                    <a:pt x="238" y="902"/>
                  </a:lnTo>
                  <a:lnTo>
                    <a:pt x="237" y="902"/>
                  </a:lnTo>
                  <a:lnTo>
                    <a:pt x="235" y="901"/>
                  </a:lnTo>
                  <a:lnTo>
                    <a:pt x="232" y="901"/>
                  </a:lnTo>
                  <a:lnTo>
                    <a:pt x="229" y="902"/>
                  </a:lnTo>
                  <a:lnTo>
                    <a:pt x="226" y="904"/>
                  </a:lnTo>
                  <a:lnTo>
                    <a:pt x="222" y="905"/>
                  </a:lnTo>
                  <a:lnTo>
                    <a:pt x="219" y="905"/>
                  </a:lnTo>
                  <a:lnTo>
                    <a:pt x="214" y="905"/>
                  </a:lnTo>
                  <a:lnTo>
                    <a:pt x="211" y="904"/>
                  </a:lnTo>
                  <a:lnTo>
                    <a:pt x="208" y="902"/>
                  </a:lnTo>
                  <a:lnTo>
                    <a:pt x="205" y="902"/>
                  </a:lnTo>
                  <a:lnTo>
                    <a:pt x="205" y="905"/>
                  </a:lnTo>
                  <a:lnTo>
                    <a:pt x="205" y="907"/>
                  </a:lnTo>
                  <a:lnTo>
                    <a:pt x="205" y="909"/>
                  </a:lnTo>
                  <a:lnTo>
                    <a:pt x="202" y="912"/>
                  </a:lnTo>
                  <a:lnTo>
                    <a:pt x="199" y="913"/>
                  </a:lnTo>
                  <a:lnTo>
                    <a:pt x="195" y="913"/>
                  </a:lnTo>
                  <a:lnTo>
                    <a:pt x="191" y="912"/>
                  </a:lnTo>
                  <a:lnTo>
                    <a:pt x="187" y="912"/>
                  </a:lnTo>
                  <a:lnTo>
                    <a:pt x="186" y="909"/>
                  </a:lnTo>
                  <a:lnTo>
                    <a:pt x="183" y="904"/>
                  </a:lnTo>
                  <a:lnTo>
                    <a:pt x="181" y="901"/>
                  </a:lnTo>
                  <a:lnTo>
                    <a:pt x="181" y="897"/>
                  </a:lnTo>
                  <a:lnTo>
                    <a:pt x="180" y="891"/>
                  </a:lnTo>
                  <a:lnTo>
                    <a:pt x="178" y="883"/>
                  </a:lnTo>
                  <a:lnTo>
                    <a:pt x="175" y="882"/>
                  </a:lnTo>
                  <a:lnTo>
                    <a:pt x="172" y="878"/>
                  </a:lnTo>
                  <a:lnTo>
                    <a:pt x="168" y="875"/>
                  </a:lnTo>
                  <a:lnTo>
                    <a:pt x="170" y="872"/>
                  </a:lnTo>
                  <a:lnTo>
                    <a:pt x="170" y="869"/>
                  </a:lnTo>
                  <a:lnTo>
                    <a:pt x="183" y="869"/>
                  </a:lnTo>
                  <a:lnTo>
                    <a:pt x="192" y="872"/>
                  </a:lnTo>
                  <a:lnTo>
                    <a:pt x="195" y="872"/>
                  </a:lnTo>
                  <a:lnTo>
                    <a:pt x="199" y="871"/>
                  </a:lnTo>
                  <a:lnTo>
                    <a:pt x="199" y="871"/>
                  </a:lnTo>
                  <a:lnTo>
                    <a:pt x="203" y="867"/>
                  </a:lnTo>
                  <a:lnTo>
                    <a:pt x="203" y="864"/>
                  </a:lnTo>
                  <a:lnTo>
                    <a:pt x="208" y="863"/>
                  </a:lnTo>
                  <a:lnTo>
                    <a:pt x="210" y="863"/>
                  </a:lnTo>
                  <a:lnTo>
                    <a:pt x="210" y="859"/>
                  </a:lnTo>
                  <a:lnTo>
                    <a:pt x="208" y="856"/>
                  </a:lnTo>
                  <a:lnTo>
                    <a:pt x="203" y="856"/>
                  </a:lnTo>
                  <a:lnTo>
                    <a:pt x="202" y="855"/>
                  </a:lnTo>
                  <a:lnTo>
                    <a:pt x="199" y="851"/>
                  </a:lnTo>
                  <a:lnTo>
                    <a:pt x="200" y="848"/>
                  </a:lnTo>
                  <a:lnTo>
                    <a:pt x="195" y="847"/>
                  </a:lnTo>
                  <a:lnTo>
                    <a:pt x="194" y="847"/>
                  </a:lnTo>
                  <a:lnTo>
                    <a:pt x="192" y="847"/>
                  </a:lnTo>
                  <a:lnTo>
                    <a:pt x="189" y="844"/>
                  </a:lnTo>
                  <a:lnTo>
                    <a:pt x="186" y="845"/>
                  </a:lnTo>
                  <a:lnTo>
                    <a:pt x="181" y="847"/>
                  </a:lnTo>
                  <a:lnTo>
                    <a:pt x="178" y="845"/>
                  </a:lnTo>
                  <a:lnTo>
                    <a:pt x="178" y="845"/>
                  </a:lnTo>
                  <a:lnTo>
                    <a:pt x="180" y="842"/>
                  </a:lnTo>
                  <a:lnTo>
                    <a:pt x="180" y="837"/>
                  </a:lnTo>
                  <a:lnTo>
                    <a:pt x="181" y="837"/>
                  </a:lnTo>
                  <a:lnTo>
                    <a:pt x="181" y="837"/>
                  </a:lnTo>
                  <a:lnTo>
                    <a:pt x="176" y="834"/>
                  </a:lnTo>
                  <a:lnTo>
                    <a:pt x="176" y="832"/>
                  </a:lnTo>
                  <a:lnTo>
                    <a:pt x="172" y="832"/>
                  </a:lnTo>
                  <a:lnTo>
                    <a:pt x="168" y="831"/>
                  </a:lnTo>
                  <a:lnTo>
                    <a:pt x="165" y="829"/>
                  </a:lnTo>
                  <a:lnTo>
                    <a:pt x="162" y="826"/>
                  </a:lnTo>
                  <a:lnTo>
                    <a:pt x="160" y="823"/>
                  </a:lnTo>
                  <a:lnTo>
                    <a:pt x="157" y="820"/>
                  </a:lnTo>
                  <a:lnTo>
                    <a:pt x="157" y="820"/>
                  </a:lnTo>
                  <a:lnTo>
                    <a:pt x="154" y="815"/>
                  </a:lnTo>
                  <a:lnTo>
                    <a:pt x="154" y="812"/>
                  </a:lnTo>
                  <a:lnTo>
                    <a:pt x="151" y="812"/>
                  </a:lnTo>
                  <a:lnTo>
                    <a:pt x="151" y="810"/>
                  </a:lnTo>
                  <a:lnTo>
                    <a:pt x="149" y="809"/>
                  </a:lnTo>
                  <a:lnTo>
                    <a:pt x="146" y="807"/>
                  </a:lnTo>
                  <a:lnTo>
                    <a:pt x="143" y="804"/>
                  </a:lnTo>
                  <a:lnTo>
                    <a:pt x="145" y="801"/>
                  </a:lnTo>
                  <a:lnTo>
                    <a:pt x="148" y="799"/>
                  </a:lnTo>
                  <a:lnTo>
                    <a:pt x="148" y="799"/>
                  </a:lnTo>
                  <a:lnTo>
                    <a:pt x="148" y="799"/>
                  </a:lnTo>
                  <a:lnTo>
                    <a:pt x="148" y="798"/>
                  </a:lnTo>
                  <a:lnTo>
                    <a:pt x="148" y="794"/>
                  </a:lnTo>
                  <a:lnTo>
                    <a:pt x="146" y="791"/>
                  </a:lnTo>
                  <a:lnTo>
                    <a:pt x="143" y="788"/>
                  </a:lnTo>
                  <a:lnTo>
                    <a:pt x="143" y="785"/>
                  </a:lnTo>
                  <a:lnTo>
                    <a:pt x="143" y="782"/>
                  </a:lnTo>
                  <a:lnTo>
                    <a:pt x="143" y="780"/>
                  </a:lnTo>
                  <a:lnTo>
                    <a:pt x="143" y="779"/>
                  </a:lnTo>
                  <a:lnTo>
                    <a:pt x="143" y="775"/>
                  </a:lnTo>
                  <a:lnTo>
                    <a:pt x="132" y="771"/>
                  </a:lnTo>
                  <a:lnTo>
                    <a:pt x="121" y="766"/>
                  </a:lnTo>
                  <a:lnTo>
                    <a:pt x="116" y="766"/>
                  </a:lnTo>
                  <a:lnTo>
                    <a:pt x="115" y="766"/>
                  </a:lnTo>
                  <a:lnTo>
                    <a:pt x="113" y="766"/>
                  </a:lnTo>
                  <a:lnTo>
                    <a:pt x="110" y="769"/>
                  </a:lnTo>
                  <a:lnTo>
                    <a:pt x="107" y="769"/>
                  </a:lnTo>
                  <a:lnTo>
                    <a:pt x="102" y="771"/>
                  </a:lnTo>
                  <a:lnTo>
                    <a:pt x="99" y="772"/>
                  </a:lnTo>
                  <a:lnTo>
                    <a:pt x="97" y="769"/>
                  </a:lnTo>
                  <a:lnTo>
                    <a:pt x="95" y="766"/>
                  </a:lnTo>
                  <a:lnTo>
                    <a:pt x="97" y="763"/>
                  </a:lnTo>
                  <a:lnTo>
                    <a:pt x="94" y="761"/>
                  </a:lnTo>
                  <a:lnTo>
                    <a:pt x="91" y="760"/>
                  </a:lnTo>
                  <a:lnTo>
                    <a:pt x="86" y="760"/>
                  </a:lnTo>
                  <a:lnTo>
                    <a:pt x="83" y="760"/>
                  </a:lnTo>
                  <a:lnTo>
                    <a:pt x="80" y="761"/>
                  </a:lnTo>
                  <a:lnTo>
                    <a:pt x="76" y="763"/>
                  </a:lnTo>
                  <a:lnTo>
                    <a:pt x="75" y="761"/>
                  </a:lnTo>
                  <a:lnTo>
                    <a:pt x="75" y="761"/>
                  </a:lnTo>
                  <a:lnTo>
                    <a:pt x="73" y="758"/>
                  </a:lnTo>
                  <a:lnTo>
                    <a:pt x="73" y="756"/>
                  </a:lnTo>
                  <a:lnTo>
                    <a:pt x="70" y="756"/>
                  </a:lnTo>
                  <a:lnTo>
                    <a:pt x="65" y="756"/>
                  </a:lnTo>
                  <a:lnTo>
                    <a:pt x="64" y="758"/>
                  </a:lnTo>
                  <a:lnTo>
                    <a:pt x="62" y="758"/>
                  </a:lnTo>
                  <a:lnTo>
                    <a:pt x="59" y="755"/>
                  </a:lnTo>
                  <a:lnTo>
                    <a:pt x="57" y="755"/>
                  </a:lnTo>
                  <a:lnTo>
                    <a:pt x="59" y="752"/>
                  </a:lnTo>
                  <a:lnTo>
                    <a:pt x="59" y="748"/>
                  </a:lnTo>
                  <a:lnTo>
                    <a:pt x="57" y="745"/>
                  </a:lnTo>
                  <a:lnTo>
                    <a:pt x="56" y="742"/>
                  </a:lnTo>
                  <a:lnTo>
                    <a:pt x="56" y="739"/>
                  </a:lnTo>
                  <a:lnTo>
                    <a:pt x="51" y="737"/>
                  </a:lnTo>
                  <a:lnTo>
                    <a:pt x="51" y="737"/>
                  </a:lnTo>
                  <a:lnTo>
                    <a:pt x="51" y="734"/>
                  </a:lnTo>
                  <a:lnTo>
                    <a:pt x="48" y="733"/>
                  </a:lnTo>
                  <a:lnTo>
                    <a:pt x="48" y="728"/>
                  </a:lnTo>
                  <a:lnTo>
                    <a:pt x="45" y="726"/>
                  </a:lnTo>
                  <a:lnTo>
                    <a:pt x="42" y="726"/>
                  </a:lnTo>
                  <a:lnTo>
                    <a:pt x="40" y="726"/>
                  </a:lnTo>
                  <a:lnTo>
                    <a:pt x="42" y="723"/>
                  </a:lnTo>
                  <a:lnTo>
                    <a:pt x="42" y="720"/>
                  </a:lnTo>
                  <a:lnTo>
                    <a:pt x="42" y="717"/>
                  </a:lnTo>
                  <a:lnTo>
                    <a:pt x="43" y="717"/>
                  </a:lnTo>
                  <a:lnTo>
                    <a:pt x="43" y="714"/>
                  </a:lnTo>
                  <a:lnTo>
                    <a:pt x="43" y="710"/>
                  </a:lnTo>
                  <a:lnTo>
                    <a:pt x="40" y="709"/>
                  </a:lnTo>
                  <a:lnTo>
                    <a:pt x="37" y="707"/>
                  </a:lnTo>
                  <a:lnTo>
                    <a:pt x="34" y="706"/>
                  </a:lnTo>
                  <a:lnTo>
                    <a:pt x="30" y="702"/>
                  </a:lnTo>
                  <a:lnTo>
                    <a:pt x="27" y="701"/>
                  </a:lnTo>
                  <a:lnTo>
                    <a:pt x="27" y="701"/>
                  </a:lnTo>
                  <a:lnTo>
                    <a:pt x="29" y="698"/>
                  </a:lnTo>
                  <a:lnTo>
                    <a:pt x="29" y="696"/>
                  </a:lnTo>
                  <a:lnTo>
                    <a:pt x="32" y="694"/>
                  </a:lnTo>
                  <a:lnTo>
                    <a:pt x="34" y="690"/>
                  </a:lnTo>
                  <a:lnTo>
                    <a:pt x="35" y="690"/>
                  </a:lnTo>
                  <a:lnTo>
                    <a:pt x="35" y="690"/>
                  </a:lnTo>
                  <a:lnTo>
                    <a:pt x="40" y="688"/>
                  </a:lnTo>
                  <a:lnTo>
                    <a:pt x="35" y="687"/>
                  </a:lnTo>
                  <a:lnTo>
                    <a:pt x="35" y="683"/>
                  </a:lnTo>
                  <a:lnTo>
                    <a:pt x="35" y="682"/>
                  </a:lnTo>
                  <a:lnTo>
                    <a:pt x="32" y="679"/>
                  </a:lnTo>
                  <a:lnTo>
                    <a:pt x="27" y="675"/>
                  </a:lnTo>
                  <a:lnTo>
                    <a:pt x="27" y="672"/>
                  </a:lnTo>
                  <a:lnTo>
                    <a:pt x="29" y="669"/>
                  </a:lnTo>
                  <a:lnTo>
                    <a:pt x="27" y="664"/>
                  </a:lnTo>
                  <a:lnTo>
                    <a:pt x="27" y="661"/>
                  </a:lnTo>
                  <a:lnTo>
                    <a:pt x="26" y="658"/>
                  </a:lnTo>
                  <a:lnTo>
                    <a:pt x="24" y="655"/>
                  </a:lnTo>
                  <a:lnTo>
                    <a:pt x="24" y="652"/>
                  </a:lnTo>
                  <a:lnTo>
                    <a:pt x="27" y="649"/>
                  </a:lnTo>
                  <a:lnTo>
                    <a:pt x="32" y="647"/>
                  </a:lnTo>
                  <a:lnTo>
                    <a:pt x="34" y="642"/>
                  </a:lnTo>
                  <a:lnTo>
                    <a:pt x="34" y="639"/>
                  </a:lnTo>
                  <a:lnTo>
                    <a:pt x="34" y="639"/>
                  </a:lnTo>
                  <a:lnTo>
                    <a:pt x="35" y="636"/>
                  </a:lnTo>
                  <a:lnTo>
                    <a:pt x="37" y="634"/>
                  </a:lnTo>
                  <a:lnTo>
                    <a:pt x="40" y="633"/>
                  </a:lnTo>
                  <a:lnTo>
                    <a:pt x="43" y="633"/>
                  </a:lnTo>
                  <a:lnTo>
                    <a:pt x="43" y="631"/>
                  </a:lnTo>
                  <a:lnTo>
                    <a:pt x="43" y="631"/>
                  </a:lnTo>
                  <a:lnTo>
                    <a:pt x="40" y="628"/>
                  </a:lnTo>
                  <a:lnTo>
                    <a:pt x="37" y="628"/>
                  </a:lnTo>
                  <a:lnTo>
                    <a:pt x="38" y="625"/>
                  </a:lnTo>
                  <a:lnTo>
                    <a:pt x="37" y="622"/>
                  </a:lnTo>
                  <a:lnTo>
                    <a:pt x="37" y="617"/>
                  </a:lnTo>
                  <a:lnTo>
                    <a:pt x="40" y="617"/>
                  </a:lnTo>
                  <a:lnTo>
                    <a:pt x="43" y="620"/>
                  </a:lnTo>
                  <a:lnTo>
                    <a:pt x="46" y="620"/>
                  </a:lnTo>
                  <a:lnTo>
                    <a:pt x="48" y="617"/>
                  </a:lnTo>
                  <a:lnTo>
                    <a:pt x="49" y="614"/>
                  </a:lnTo>
                  <a:lnTo>
                    <a:pt x="53" y="615"/>
                  </a:lnTo>
                  <a:lnTo>
                    <a:pt x="57" y="617"/>
                  </a:lnTo>
                  <a:lnTo>
                    <a:pt x="61" y="615"/>
                  </a:lnTo>
                  <a:lnTo>
                    <a:pt x="64" y="614"/>
                  </a:lnTo>
                  <a:lnTo>
                    <a:pt x="65" y="612"/>
                  </a:lnTo>
                  <a:lnTo>
                    <a:pt x="69" y="609"/>
                  </a:lnTo>
                  <a:lnTo>
                    <a:pt x="70" y="609"/>
                  </a:lnTo>
                  <a:lnTo>
                    <a:pt x="75" y="609"/>
                  </a:lnTo>
                  <a:lnTo>
                    <a:pt x="78" y="609"/>
                  </a:lnTo>
                  <a:lnTo>
                    <a:pt x="81" y="610"/>
                  </a:lnTo>
                  <a:lnTo>
                    <a:pt x="84" y="610"/>
                  </a:lnTo>
                  <a:lnTo>
                    <a:pt x="89" y="610"/>
                  </a:lnTo>
                  <a:lnTo>
                    <a:pt x="92" y="612"/>
                  </a:lnTo>
                  <a:lnTo>
                    <a:pt x="92" y="612"/>
                  </a:lnTo>
                  <a:lnTo>
                    <a:pt x="97" y="614"/>
                  </a:lnTo>
                  <a:lnTo>
                    <a:pt x="97" y="614"/>
                  </a:lnTo>
                  <a:lnTo>
                    <a:pt x="99" y="612"/>
                  </a:lnTo>
                  <a:lnTo>
                    <a:pt x="97" y="609"/>
                  </a:lnTo>
                  <a:lnTo>
                    <a:pt x="92" y="607"/>
                  </a:lnTo>
                  <a:lnTo>
                    <a:pt x="92" y="607"/>
                  </a:lnTo>
                  <a:lnTo>
                    <a:pt x="89" y="606"/>
                  </a:lnTo>
                  <a:lnTo>
                    <a:pt x="84" y="601"/>
                  </a:lnTo>
                  <a:lnTo>
                    <a:pt x="81" y="601"/>
                  </a:lnTo>
                  <a:lnTo>
                    <a:pt x="78" y="601"/>
                  </a:lnTo>
                  <a:lnTo>
                    <a:pt x="73" y="603"/>
                  </a:lnTo>
                  <a:lnTo>
                    <a:pt x="70" y="601"/>
                  </a:lnTo>
                  <a:lnTo>
                    <a:pt x="67" y="603"/>
                  </a:lnTo>
                  <a:lnTo>
                    <a:pt x="64" y="601"/>
                  </a:lnTo>
                  <a:lnTo>
                    <a:pt x="56" y="595"/>
                  </a:lnTo>
                  <a:lnTo>
                    <a:pt x="53" y="595"/>
                  </a:lnTo>
                  <a:lnTo>
                    <a:pt x="51" y="595"/>
                  </a:lnTo>
                  <a:lnTo>
                    <a:pt x="45" y="587"/>
                  </a:lnTo>
                  <a:lnTo>
                    <a:pt x="48" y="590"/>
                  </a:lnTo>
                  <a:lnTo>
                    <a:pt x="51" y="591"/>
                  </a:lnTo>
                  <a:lnTo>
                    <a:pt x="51" y="588"/>
                  </a:lnTo>
                  <a:lnTo>
                    <a:pt x="49" y="583"/>
                  </a:lnTo>
                  <a:lnTo>
                    <a:pt x="53" y="582"/>
                  </a:lnTo>
                  <a:lnTo>
                    <a:pt x="51" y="580"/>
                  </a:lnTo>
                  <a:lnTo>
                    <a:pt x="49" y="580"/>
                  </a:lnTo>
                  <a:lnTo>
                    <a:pt x="46" y="583"/>
                  </a:lnTo>
                  <a:lnTo>
                    <a:pt x="43" y="583"/>
                  </a:lnTo>
                  <a:lnTo>
                    <a:pt x="38" y="587"/>
                  </a:lnTo>
                  <a:lnTo>
                    <a:pt x="35" y="588"/>
                  </a:lnTo>
                  <a:lnTo>
                    <a:pt x="32" y="588"/>
                  </a:lnTo>
                  <a:lnTo>
                    <a:pt x="26" y="588"/>
                  </a:lnTo>
                  <a:lnTo>
                    <a:pt x="34" y="582"/>
                  </a:lnTo>
                  <a:lnTo>
                    <a:pt x="40" y="576"/>
                  </a:lnTo>
                  <a:lnTo>
                    <a:pt x="42" y="576"/>
                  </a:lnTo>
                  <a:lnTo>
                    <a:pt x="45" y="572"/>
                  </a:lnTo>
                  <a:lnTo>
                    <a:pt x="45" y="572"/>
                  </a:lnTo>
                  <a:lnTo>
                    <a:pt x="46" y="572"/>
                  </a:lnTo>
                  <a:lnTo>
                    <a:pt x="49" y="569"/>
                  </a:lnTo>
                  <a:lnTo>
                    <a:pt x="56" y="566"/>
                  </a:lnTo>
                  <a:lnTo>
                    <a:pt x="61" y="563"/>
                  </a:lnTo>
                  <a:lnTo>
                    <a:pt x="67" y="558"/>
                  </a:lnTo>
                  <a:lnTo>
                    <a:pt x="72" y="553"/>
                  </a:lnTo>
                  <a:lnTo>
                    <a:pt x="73" y="552"/>
                  </a:lnTo>
                  <a:lnTo>
                    <a:pt x="76" y="550"/>
                  </a:lnTo>
                  <a:lnTo>
                    <a:pt x="80" y="545"/>
                  </a:lnTo>
                  <a:lnTo>
                    <a:pt x="83" y="544"/>
                  </a:lnTo>
                  <a:lnTo>
                    <a:pt x="84" y="542"/>
                  </a:lnTo>
                  <a:lnTo>
                    <a:pt x="89" y="536"/>
                  </a:lnTo>
                  <a:lnTo>
                    <a:pt x="95" y="531"/>
                  </a:lnTo>
                  <a:lnTo>
                    <a:pt x="102" y="525"/>
                  </a:lnTo>
                  <a:lnTo>
                    <a:pt x="111" y="517"/>
                  </a:lnTo>
                  <a:lnTo>
                    <a:pt x="115" y="514"/>
                  </a:lnTo>
                  <a:lnTo>
                    <a:pt x="116" y="511"/>
                  </a:lnTo>
                  <a:lnTo>
                    <a:pt x="116" y="507"/>
                  </a:lnTo>
                  <a:lnTo>
                    <a:pt x="118" y="504"/>
                  </a:lnTo>
                  <a:lnTo>
                    <a:pt x="121" y="501"/>
                  </a:lnTo>
                  <a:lnTo>
                    <a:pt x="118" y="498"/>
                  </a:lnTo>
                  <a:lnTo>
                    <a:pt x="115" y="495"/>
                  </a:lnTo>
                  <a:lnTo>
                    <a:pt x="110" y="493"/>
                  </a:lnTo>
                  <a:lnTo>
                    <a:pt x="108" y="488"/>
                  </a:lnTo>
                  <a:lnTo>
                    <a:pt x="105" y="488"/>
                  </a:lnTo>
                  <a:lnTo>
                    <a:pt x="102" y="487"/>
                  </a:lnTo>
                  <a:lnTo>
                    <a:pt x="97" y="484"/>
                  </a:lnTo>
                  <a:lnTo>
                    <a:pt x="94" y="482"/>
                  </a:lnTo>
                  <a:lnTo>
                    <a:pt x="91" y="480"/>
                  </a:lnTo>
                  <a:lnTo>
                    <a:pt x="88" y="480"/>
                  </a:lnTo>
                  <a:lnTo>
                    <a:pt x="84" y="477"/>
                  </a:lnTo>
                  <a:lnTo>
                    <a:pt x="80" y="476"/>
                  </a:lnTo>
                  <a:lnTo>
                    <a:pt x="78" y="476"/>
                  </a:lnTo>
                  <a:lnTo>
                    <a:pt x="72" y="471"/>
                  </a:lnTo>
                  <a:lnTo>
                    <a:pt x="72" y="471"/>
                  </a:lnTo>
                  <a:lnTo>
                    <a:pt x="72" y="469"/>
                  </a:lnTo>
                  <a:lnTo>
                    <a:pt x="73" y="469"/>
                  </a:lnTo>
                  <a:lnTo>
                    <a:pt x="76" y="468"/>
                  </a:lnTo>
                  <a:lnTo>
                    <a:pt x="80" y="465"/>
                  </a:lnTo>
                  <a:lnTo>
                    <a:pt x="83" y="461"/>
                  </a:lnTo>
                  <a:lnTo>
                    <a:pt x="86" y="458"/>
                  </a:lnTo>
                  <a:lnTo>
                    <a:pt x="84" y="455"/>
                  </a:lnTo>
                  <a:lnTo>
                    <a:pt x="83" y="452"/>
                  </a:lnTo>
                  <a:lnTo>
                    <a:pt x="80" y="450"/>
                  </a:lnTo>
                  <a:lnTo>
                    <a:pt x="76" y="449"/>
                  </a:lnTo>
                  <a:lnTo>
                    <a:pt x="73" y="447"/>
                  </a:lnTo>
                  <a:lnTo>
                    <a:pt x="69" y="446"/>
                  </a:lnTo>
                  <a:lnTo>
                    <a:pt x="67" y="442"/>
                  </a:lnTo>
                  <a:lnTo>
                    <a:pt x="67" y="442"/>
                  </a:lnTo>
                  <a:lnTo>
                    <a:pt x="67" y="439"/>
                  </a:lnTo>
                  <a:lnTo>
                    <a:pt x="67" y="439"/>
                  </a:lnTo>
                  <a:lnTo>
                    <a:pt x="72" y="436"/>
                  </a:lnTo>
                  <a:lnTo>
                    <a:pt x="69" y="433"/>
                  </a:lnTo>
                  <a:lnTo>
                    <a:pt x="65" y="431"/>
                  </a:lnTo>
                  <a:lnTo>
                    <a:pt x="62" y="433"/>
                  </a:lnTo>
                  <a:lnTo>
                    <a:pt x="59" y="431"/>
                  </a:lnTo>
                  <a:lnTo>
                    <a:pt x="56" y="428"/>
                  </a:lnTo>
                  <a:lnTo>
                    <a:pt x="54" y="425"/>
                  </a:lnTo>
                  <a:lnTo>
                    <a:pt x="56" y="422"/>
                  </a:lnTo>
                  <a:lnTo>
                    <a:pt x="59" y="420"/>
                  </a:lnTo>
                  <a:lnTo>
                    <a:pt x="57" y="417"/>
                  </a:lnTo>
                  <a:lnTo>
                    <a:pt x="54" y="417"/>
                  </a:lnTo>
                  <a:lnTo>
                    <a:pt x="53" y="414"/>
                  </a:lnTo>
                  <a:lnTo>
                    <a:pt x="54" y="411"/>
                  </a:lnTo>
                  <a:lnTo>
                    <a:pt x="54" y="407"/>
                  </a:lnTo>
                  <a:lnTo>
                    <a:pt x="56" y="404"/>
                  </a:lnTo>
                  <a:lnTo>
                    <a:pt x="53" y="401"/>
                  </a:lnTo>
                  <a:lnTo>
                    <a:pt x="56" y="401"/>
                  </a:lnTo>
                  <a:lnTo>
                    <a:pt x="61" y="400"/>
                  </a:lnTo>
                  <a:lnTo>
                    <a:pt x="64" y="400"/>
                  </a:lnTo>
                  <a:lnTo>
                    <a:pt x="62" y="396"/>
                  </a:lnTo>
                  <a:lnTo>
                    <a:pt x="61" y="393"/>
                  </a:lnTo>
                  <a:lnTo>
                    <a:pt x="59" y="390"/>
                  </a:lnTo>
                  <a:lnTo>
                    <a:pt x="57" y="390"/>
                  </a:lnTo>
                  <a:lnTo>
                    <a:pt x="56" y="387"/>
                  </a:lnTo>
                  <a:lnTo>
                    <a:pt x="53" y="382"/>
                  </a:lnTo>
                  <a:lnTo>
                    <a:pt x="45" y="374"/>
                  </a:lnTo>
                  <a:lnTo>
                    <a:pt x="35" y="363"/>
                  </a:lnTo>
                  <a:lnTo>
                    <a:pt x="32" y="361"/>
                  </a:lnTo>
                  <a:lnTo>
                    <a:pt x="29" y="358"/>
                  </a:lnTo>
                  <a:lnTo>
                    <a:pt x="29" y="355"/>
                  </a:lnTo>
                  <a:lnTo>
                    <a:pt x="30" y="352"/>
                  </a:lnTo>
                  <a:lnTo>
                    <a:pt x="32" y="349"/>
                  </a:lnTo>
                  <a:lnTo>
                    <a:pt x="35" y="346"/>
                  </a:lnTo>
                  <a:lnTo>
                    <a:pt x="40" y="342"/>
                  </a:lnTo>
                  <a:lnTo>
                    <a:pt x="43" y="339"/>
                  </a:lnTo>
                  <a:lnTo>
                    <a:pt x="46" y="336"/>
                  </a:lnTo>
                  <a:lnTo>
                    <a:pt x="48" y="333"/>
                  </a:lnTo>
                  <a:lnTo>
                    <a:pt x="48" y="328"/>
                  </a:lnTo>
                  <a:lnTo>
                    <a:pt x="34" y="319"/>
                  </a:lnTo>
                  <a:lnTo>
                    <a:pt x="21" y="314"/>
                  </a:lnTo>
                  <a:lnTo>
                    <a:pt x="13" y="312"/>
                  </a:lnTo>
                  <a:lnTo>
                    <a:pt x="8" y="308"/>
                  </a:lnTo>
                  <a:lnTo>
                    <a:pt x="7" y="304"/>
                  </a:lnTo>
                  <a:lnTo>
                    <a:pt x="3" y="301"/>
                  </a:lnTo>
                  <a:lnTo>
                    <a:pt x="3" y="298"/>
                  </a:lnTo>
                  <a:lnTo>
                    <a:pt x="7" y="295"/>
                  </a:lnTo>
                  <a:lnTo>
                    <a:pt x="10" y="292"/>
                  </a:lnTo>
                  <a:lnTo>
                    <a:pt x="7" y="289"/>
                  </a:lnTo>
                  <a:lnTo>
                    <a:pt x="3" y="289"/>
                  </a:lnTo>
                  <a:lnTo>
                    <a:pt x="0" y="287"/>
                  </a:lnTo>
                  <a:close/>
                  <a:moveTo>
                    <a:pt x="2462" y="934"/>
                  </a:moveTo>
                  <a:lnTo>
                    <a:pt x="2462" y="932"/>
                  </a:lnTo>
                  <a:lnTo>
                    <a:pt x="2465" y="932"/>
                  </a:lnTo>
                  <a:lnTo>
                    <a:pt x="2471" y="931"/>
                  </a:lnTo>
                  <a:lnTo>
                    <a:pt x="2476" y="929"/>
                  </a:lnTo>
                  <a:lnTo>
                    <a:pt x="2481" y="928"/>
                  </a:lnTo>
                  <a:lnTo>
                    <a:pt x="2486" y="924"/>
                  </a:lnTo>
                  <a:lnTo>
                    <a:pt x="2487" y="920"/>
                  </a:lnTo>
                  <a:lnTo>
                    <a:pt x="2487" y="917"/>
                  </a:lnTo>
                  <a:lnTo>
                    <a:pt x="2487" y="913"/>
                  </a:lnTo>
                  <a:lnTo>
                    <a:pt x="2487" y="909"/>
                  </a:lnTo>
                  <a:lnTo>
                    <a:pt x="2484" y="907"/>
                  </a:lnTo>
                  <a:lnTo>
                    <a:pt x="2484" y="904"/>
                  </a:lnTo>
                  <a:lnTo>
                    <a:pt x="2486" y="902"/>
                  </a:lnTo>
                  <a:lnTo>
                    <a:pt x="2489" y="901"/>
                  </a:lnTo>
                  <a:lnTo>
                    <a:pt x="2492" y="901"/>
                  </a:lnTo>
                  <a:lnTo>
                    <a:pt x="2493" y="902"/>
                  </a:lnTo>
                  <a:lnTo>
                    <a:pt x="2498" y="904"/>
                  </a:lnTo>
                  <a:lnTo>
                    <a:pt x="2500" y="902"/>
                  </a:lnTo>
                  <a:lnTo>
                    <a:pt x="2500" y="899"/>
                  </a:lnTo>
                  <a:lnTo>
                    <a:pt x="2503" y="894"/>
                  </a:lnTo>
                  <a:lnTo>
                    <a:pt x="2506" y="893"/>
                  </a:lnTo>
                  <a:lnTo>
                    <a:pt x="2509" y="891"/>
                  </a:lnTo>
                  <a:lnTo>
                    <a:pt x="2513" y="888"/>
                  </a:lnTo>
                  <a:lnTo>
                    <a:pt x="2516" y="888"/>
                  </a:lnTo>
                  <a:lnTo>
                    <a:pt x="2519" y="888"/>
                  </a:lnTo>
                  <a:lnTo>
                    <a:pt x="2524" y="885"/>
                  </a:lnTo>
                  <a:lnTo>
                    <a:pt x="2525" y="882"/>
                  </a:lnTo>
                  <a:lnTo>
                    <a:pt x="2528" y="878"/>
                  </a:lnTo>
                  <a:lnTo>
                    <a:pt x="2530" y="875"/>
                  </a:lnTo>
                  <a:lnTo>
                    <a:pt x="2528" y="872"/>
                  </a:lnTo>
                  <a:lnTo>
                    <a:pt x="2530" y="867"/>
                  </a:lnTo>
                  <a:lnTo>
                    <a:pt x="2533" y="864"/>
                  </a:lnTo>
                  <a:lnTo>
                    <a:pt x="2536" y="866"/>
                  </a:lnTo>
                  <a:lnTo>
                    <a:pt x="2539" y="863"/>
                  </a:lnTo>
                  <a:lnTo>
                    <a:pt x="2541" y="859"/>
                  </a:lnTo>
                  <a:lnTo>
                    <a:pt x="2539" y="858"/>
                  </a:lnTo>
                  <a:lnTo>
                    <a:pt x="2536" y="855"/>
                  </a:lnTo>
                  <a:lnTo>
                    <a:pt x="2532" y="853"/>
                  </a:lnTo>
                  <a:lnTo>
                    <a:pt x="2528" y="855"/>
                  </a:lnTo>
                  <a:lnTo>
                    <a:pt x="2525" y="855"/>
                  </a:lnTo>
                  <a:lnTo>
                    <a:pt x="2525" y="851"/>
                  </a:lnTo>
                  <a:lnTo>
                    <a:pt x="2525" y="848"/>
                  </a:lnTo>
                  <a:lnTo>
                    <a:pt x="2527" y="845"/>
                  </a:lnTo>
                  <a:lnTo>
                    <a:pt x="2530" y="842"/>
                  </a:lnTo>
                  <a:lnTo>
                    <a:pt x="2533" y="845"/>
                  </a:lnTo>
                  <a:lnTo>
                    <a:pt x="2535" y="848"/>
                  </a:lnTo>
                  <a:lnTo>
                    <a:pt x="2538" y="851"/>
                  </a:lnTo>
                  <a:lnTo>
                    <a:pt x="2541" y="850"/>
                  </a:lnTo>
                  <a:lnTo>
                    <a:pt x="2539" y="839"/>
                  </a:lnTo>
                  <a:lnTo>
                    <a:pt x="2538" y="829"/>
                  </a:lnTo>
                  <a:lnTo>
                    <a:pt x="2535" y="826"/>
                  </a:lnTo>
                  <a:lnTo>
                    <a:pt x="2532" y="823"/>
                  </a:lnTo>
                  <a:lnTo>
                    <a:pt x="2530" y="820"/>
                  </a:lnTo>
                  <a:lnTo>
                    <a:pt x="2528" y="817"/>
                  </a:lnTo>
                  <a:lnTo>
                    <a:pt x="2527" y="812"/>
                  </a:lnTo>
                  <a:lnTo>
                    <a:pt x="2528" y="809"/>
                  </a:lnTo>
                  <a:lnTo>
                    <a:pt x="2527" y="805"/>
                  </a:lnTo>
                  <a:lnTo>
                    <a:pt x="2525" y="802"/>
                  </a:lnTo>
                  <a:lnTo>
                    <a:pt x="2524" y="799"/>
                  </a:lnTo>
                  <a:lnTo>
                    <a:pt x="2522" y="796"/>
                  </a:lnTo>
                  <a:lnTo>
                    <a:pt x="2519" y="793"/>
                  </a:lnTo>
                  <a:lnTo>
                    <a:pt x="2519" y="788"/>
                  </a:lnTo>
                  <a:lnTo>
                    <a:pt x="2517" y="785"/>
                  </a:lnTo>
                  <a:lnTo>
                    <a:pt x="2516" y="779"/>
                  </a:lnTo>
                  <a:lnTo>
                    <a:pt x="2513" y="774"/>
                  </a:lnTo>
                  <a:lnTo>
                    <a:pt x="2511" y="771"/>
                  </a:lnTo>
                  <a:lnTo>
                    <a:pt x="2509" y="769"/>
                  </a:lnTo>
                  <a:lnTo>
                    <a:pt x="2506" y="769"/>
                  </a:lnTo>
                  <a:lnTo>
                    <a:pt x="2501" y="769"/>
                  </a:lnTo>
                  <a:lnTo>
                    <a:pt x="2505" y="769"/>
                  </a:lnTo>
                  <a:lnTo>
                    <a:pt x="2501" y="769"/>
                  </a:lnTo>
                  <a:lnTo>
                    <a:pt x="2498" y="771"/>
                  </a:lnTo>
                  <a:lnTo>
                    <a:pt x="2497" y="774"/>
                  </a:lnTo>
                  <a:lnTo>
                    <a:pt x="2493" y="777"/>
                  </a:lnTo>
                  <a:lnTo>
                    <a:pt x="2497" y="782"/>
                  </a:lnTo>
                  <a:lnTo>
                    <a:pt x="2500" y="785"/>
                  </a:lnTo>
                  <a:lnTo>
                    <a:pt x="2501" y="788"/>
                  </a:lnTo>
                  <a:lnTo>
                    <a:pt x="2503" y="791"/>
                  </a:lnTo>
                  <a:lnTo>
                    <a:pt x="2503" y="794"/>
                  </a:lnTo>
                  <a:lnTo>
                    <a:pt x="2501" y="799"/>
                  </a:lnTo>
                  <a:lnTo>
                    <a:pt x="2503" y="802"/>
                  </a:lnTo>
                  <a:lnTo>
                    <a:pt x="2501" y="805"/>
                  </a:lnTo>
                  <a:lnTo>
                    <a:pt x="2503" y="809"/>
                  </a:lnTo>
                  <a:lnTo>
                    <a:pt x="2503" y="812"/>
                  </a:lnTo>
                  <a:lnTo>
                    <a:pt x="2503" y="817"/>
                  </a:lnTo>
                  <a:lnTo>
                    <a:pt x="2501" y="818"/>
                  </a:lnTo>
                  <a:lnTo>
                    <a:pt x="2503" y="821"/>
                  </a:lnTo>
                  <a:lnTo>
                    <a:pt x="2505" y="825"/>
                  </a:lnTo>
                  <a:lnTo>
                    <a:pt x="2503" y="829"/>
                  </a:lnTo>
                  <a:lnTo>
                    <a:pt x="2503" y="832"/>
                  </a:lnTo>
                  <a:lnTo>
                    <a:pt x="2505" y="836"/>
                  </a:lnTo>
                  <a:lnTo>
                    <a:pt x="2505" y="839"/>
                  </a:lnTo>
                  <a:lnTo>
                    <a:pt x="2503" y="842"/>
                  </a:lnTo>
                  <a:lnTo>
                    <a:pt x="2500" y="847"/>
                  </a:lnTo>
                  <a:lnTo>
                    <a:pt x="2497" y="850"/>
                  </a:lnTo>
                  <a:lnTo>
                    <a:pt x="2495" y="853"/>
                  </a:lnTo>
                  <a:lnTo>
                    <a:pt x="2493" y="856"/>
                  </a:lnTo>
                  <a:lnTo>
                    <a:pt x="2495" y="861"/>
                  </a:lnTo>
                  <a:lnTo>
                    <a:pt x="2490" y="863"/>
                  </a:lnTo>
                  <a:lnTo>
                    <a:pt x="2487" y="866"/>
                  </a:lnTo>
                  <a:lnTo>
                    <a:pt x="2484" y="871"/>
                  </a:lnTo>
                  <a:lnTo>
                    <a:pt x="2484" y="875"/>
                  </a:lnTo>
                  <a:lnTo>
                    <a:pt x="2487" y="877"/>
                  </a:lnTo>
                  <a:lnTo>
                    <a:pt x="2486" y="880"/>
                  </a:lnTo>
                  <a:lnTo>
                    <a:pt x="2482" y="885"/>
                  </a:lnTo>
                  <a:lnTo>
                    <a:pt x="2482" y="888"/>
                  </a:lnTo>
                  <a:lnTo>
                    <a:pt x="2479" y="891"/>
                  </a:lnTo>
                  <a:lnTo>
                    <a:pt x="2476" y="893"/>
                  </a:lnTo>
                  <a:lnTo>
                    <a:pt x="2471" y="894"/>
                  </a:lnTo>
                  <a:lnTo>
                    <a:pt x="2470" y="896"/>
                  </a:lnTo>
                  <a:lnTo>
                    <a:pt x="2468" y="901"/>
                  </a:lnTo>
                  <a:lnTo>
                    <a:pt x="2468" y="904"/>
                  </a:lnTo>
                  <a:lnTo>
                    <a:pt x="2467" y="907"/>
                  </a:lnTo>
                  <a:lnTo>
                    <a:pt x="2467" y="910"/>
                  </a:lnTo>
                  <a:lnTo>
                    <a:pt x="2463" y="913"/>
                  </a:lnTo>
                  <a:lnTo>
                    <a:pt x="2460" y="917"/>
                  </a:lnTo>
                  <a:lnTo>
                    <a:pt x="2457" y="920"/>
                  </a:lnTo>
                  <a:lnTo>
                    <a:pt x="2454" y="921"/>
                  </a:lnTo>
                  <a:lnTo>
                    <a:pt x="2454" y="921"/>
                  </a:lnTo>
                  <a:lnTo>
                    <a:pt x="2449" y="921"/>
                  </a:lnTo>
                  <a:lnTo>
                    <a:pt x="2448" y="921"/>
                  </a:lnTo>
                  <a:lnTo>
                    <a:pt x="2443" y="924"/>
                  </a:lnTo>
                  <a:lnTo>
                    <a:pt x="2440" y="923"/>
                  </a:lnTo>
                  <a:lnTo>
                    <a:pt x="2436" y="924"/>
                  </a:lnTo>
                  <a:lnTo>
                    <a:pt x="2433" y="924"/>
                  </a:lnTo>
                  <a:lnTo>
                    <a:pt x="2428" y="924"/>
                  </a:lnTo>
                  <a:lnTo>
                    <a:pt x="2425" y="926"/>
                  </a:lnTo>
                  <a:lnTo>
                    <a:pt x="2422" y="926"/>
                  </a:lnTo>
                  <a:lnTo>
                    <a:pt x="2419" y="928"/>
                  </a:lnTo>
                  <a:lnTo>
                    <a:pt x="2428" y="932"/>
                  </a:lnTo>
                  <a:lnTo>
                    <a:pt x="2440" y="936"/>
                  </a:lnTo>
                  <a:lnTo>
                    <a:pt x="2446" y="936"/>
                  </a:lnTo>
                  <a:lnTo>
                    <a:pt x="2451" y="936"/>
                  </a:lnTo>
                  <a:lnTo>
                    <a:pt x="2455" y="936"/>
                  </a:lnTo>
                  <a:lnTo>
                    <a:pt x="2462" y="934"/>
                  </a:lnTo>
                  <a:close/>
                </a:path>
              </a:pathLst>
            </a:custGeom>
            <a:solidFill>
              <a:schemeClr val="tx2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44" name="Freeform 178"/>
            <p:cNvSpPr>
              <a:spLocks/>
            </p:cNvSpPr>
            <p:nvPr/>
          </p:nvSpPr>
          <p:spPr bwMode="auto">
            <a:xfrm>
              <a:off x="6133977" y="2627086"/>
              <a:ext cx="2941" cy="1692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45" name="Rectangle 179"/>
            <p:cNvSpPr>
              <a:spLocks noChangeArrowheads="1"/>
            </p:cNvSpPr>
            <p:nvPr/>
          </p:nvSpPr>
          <p:spPr bwMode="auto">
            <a:xfrm>
              <a:off x="6216318" y="2632162"/>
              <a:ext cx="1471" cy="3385"/>
            </a:xfrm>
            <a:prstGeom prst="rect">
              <a:avLst/>
            </a:prstGeom>
            <a:solidFill>
              <a:srgbClr val="A6A6A6"/>
            </a:solidFill>
            <a:ln w="1270" algn="ctr">
              <a:solidFill>
                <a:srgbClr val="D9DCEB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46" name="Freeform 180"/>
            <p:cNvSpPr>
              <a:spLocks/>
            </p:cNvSpPr>
            <p:nvPr/>
          </p:nvSpPr>
          <p:spPr bwMode="auto">
            <a:xfrm>
              <a:off x="6260428" y="2209055"/>
              <a:ext cx="5881" cy="1692"/>
            </a:xfrm>
            <a:custGeom>
              <a:avLst/>
              <a:gdLst>
                <a:gd name="T0" fmla="*/ 0 w 2"/>
                <a:gd name="T1" fmla="*/ 1 w 2"/>
                <a:gd name="T2" fmla="*/ 2 w 2"/>
                <a:gd name="T3" fmla="*/ 1 w 2"/>
                <a:gd name="T4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47" name="Freeform 181"/>
            <p:cNvSpPr>
              <a:spLocks/>
            </p:cNvSpPr>
            <p:nvPr/>
          </p:nvSpPr>
          <p:spPr bwMode="auto">
            <a:xfrm>
              <a:off x="6325124" y="2180284"/>
              <a:ext cx="5881" cy="1692"/>
            </a:xfrm>
            <a:custGeom>
              <a:avLst/>
              <a:gdLst>
                <a:gd name="T0" fmla="*/ 1 w 2"/>
                <a:gd name="T1" fmla="*/ 1 w 2"/>
                <a:gd name="T2" fmla="*/ 2 w 2"/>
                <a:gd name="T3" fmla="*/ 1 w 2"/>
                <a:gd name="T4" fmla="*/ 0 w 2"/>
                <a:gd name="T5" fmla="*/ 1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2">
                  <a:moveTo>
                    <a:pt x="1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48" name="Freeform 182"/>
            <p:cNvSpPr>
              <a:spLocks/>
            </p:cNvSpPr>
            <p:nvPr/>
          </p:nvSpPr>
          <p:spPr bwMode="auto">
            <a:xfrm>
              <a:off x="6338358" y="2198902"/>
              <a:ext cx="8822" cy="1692"/>
            </a:xfrm>
            <a:custGeom>
              <a:avLst/>
              <a:gdLst>
                <a:gd name="T0" fmla="*/ 1 w 3"/>
                <a:gd name="T1" fmla="*/ 0 w 3"/>
                <a:gd name="T2" fmla="*/ 2 w 3"/>
                <a:gd name="T3" fmla="*/ 3 w 3"/>
                <a:gd name="T4" fmla="*/ 2 w 3"/>
                <a:gd name="T5" fmla="*/ 1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3">
                  <a:moveTo>
                    <a:pt x="1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49" name="Freeform 183"/>
            <p:cNvSpPr>
              <a:spLocks/>
            </p:cNvSpPr>
            <p:nvPr/>
          </p:nvSpPr>
          <p:spPr bwMode="auto">
            <a:xfrm>
              <a:off x="6350120" y="2202286"/>
              <a:ext cx="7352" cy="1692"/>
            </a:xfrm>
            <a:custGeom>
              <a:avLst/>
              <a:gdLst>
                <a:gd name="T0" fmla="*/ 0 w 3"/>
                <a:gd name="T1" fmla="*/ 0 w 3"/>
                <a:gd name="T2" fmla="*/ 1 w 3"/>
                <a:gd name="T3" fmla="*/ 2 w 3"/>
                <a:gd name="T4" fmla="*/ 3 w 3"/>
                <a:gd name="T5" fmla="*/ 2 w 3"/>
                <a:gd name="T6" fmla="*/ 1 w 3"/>
                <a:gd name="T7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50" name="Freeform 184"/>
            <p:cNvSpPr>
              <a:spLocks/>
            </p:cNvSpPr>
            <p:nvPr/>
          </p:nvSpPr>
          <p:spPr bwMode="auto">
            <a:xfrm>
              <a:off x="6350120" y="2198902"/>
              <a:ext cx="2941" cy="1692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51" name="Freeform 185"/>
            <p:cNvSpPr>
              <a:spLocks/>
            </p:cNvSpPr>
            <p:nvPr/>
          </p:nvSpPr>
          <p:spPr bwMode="auto">
            <a:xfrm>
              <a:off x="6363354" y="2198902"/>
              <a:ext cx="8822" cy="1692"/>
            </a:xfrm>
            <a:custGeom>
              <a:avLst/>
              <a:gdLst>
                <a:gd name="T0" fmla="*/ 0 w 3"/>
                <a:gd name="T1" fmla="*/ 0 w 3"/>
                <a:gd name="T2" fmla="*/ 2 w 3"/>
                <a:gd name="T3" fmla="*/ 3 w 3"/>
                <a:gd name="T4" fmla="*/ 2 w 3"/>
                <a:gd name="T5" fmla="*/ 1 w 3"/>
                <a:gd name="T6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52" name="Freeform 186"/>
            <p:cNvSpPr>
              <a:spLocks/>
            </p:cNvSpPr>
            <p:nvPr/>
          </p:nvSpPr>
          <p:spPr bwMode="auto">
            <a:xfrm>
              <a:off x="6394231" y="2183670"/>
              <a:ext cx="5881" cy="1692"/>
            </a:xfrm>
            <a:custGeom>
              <a:avLst/>
              <a:gdLst>
                <a:gd name="T0" fmla="*/ 0 w 2"/>
                <a:gd name="T1" fmla="*/ 0 w 2"/>
                <a:gd name="T2" fmla="*/ 1 w 2"/>
                <a:gd name="T3" fmla="*/ 2 w 2"/>
                <a:gd name="T4" fmla="*/ 1 w 2"/>
                <a:gd name="T5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53" name="Freeform 187"/>
            <p:cNvSpPr>
              <a:spLocks/>
            </p:cNvSpPr>
            <p:nvPr/>
          </p:nvSpPr>
          <p:spPr bwMode="auto">
            <a:xfrm>
              <a:off x="6416286" y="2180284"/>
              <a:ext cx="13233" cy="1692"/>
            </a:xfrm>
            <a:custGeom>
              <a:avLst/>
              <a:gdLst>
                <a:gd name="T0" fmla="*/ 0 w 5"/>
                <a:gd name="T1" fmla="*/ 0 w 5"/>
                <a:gd name="T2" fmla="*/ 1 w 5"/>
                <a:gd name="T3" fmla="*/ 2 w 5"/>
                <a:gd name="T4" fmla="*/ 3 w 5"/>
                <a:gd name="T5" fmla="*/ 5 w 5"/>
                <a:gd name="T6" fmla="*/ 4 w 5"/>
                <a:gd name="T7" fmla="*/ 3 w 5"/>
                <a:gd name="T8" fmla="*/ 1 w 5"/>
                <a:gd name="T9" fmla="*/ 0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</a:cxnLst>
              <a:rect l="0" t="0" r="r" b="b"/>
              <a:pathLst>
                <a:path w="5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5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54" name="Freeform 188"/>
            <p:cNvSpPr>
              <a:spLocks/>
            </p:cNvSpPr>
            <p:nvPr/>
          </p:nvSpPr>
          <p:spPr bwMode="auto">
            <a:xfrm>
              <a:off x="6432460" y="2205670"/>
              <a:ext cx="5881" cy="1692"/>
            </a:xfrm>
            <a:custGeom>
              <a:avLst/>
              <a:gdLst>
                <a:gd name="T0" fmla="*/ 0 w 2"/>
                <a:gd name="T1" fmla="*/ 1 w 2"/>
                <a:gd name="T2" fmla="*/ 2 w 2"/>
                <a:gd name="T3" fmla="*/ 1 w 2"/>
                <a:gd name="T4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55" name="Freeform 189"/>
            <p:cNvSpPr>
              <a:spLocks/>
            </p:cNvSpPr>
            <p:nvPr/>
          </p:nvSpPr>
          <p:spPr bwMode="auto">
            <a:xfrm>
              <a:off x="6444224" y="2173514"/>
              <a:ext cx="4411" cy="1692"/>
            </a:xfrm>
            <a:custGeom>
              <a:avLst/>
              <a:gdLst>
                <a:gd name="T0" fmla="*/ 0 w 2"/>
                <a:gd name="T1" fmla="*/ 0 w 2"/>
                <a:gd name="T2" fmla="*/ 1 w 2"/>
                <a:gd name="T3" fmla="*/ 2 w 2"/>
                <a:gd name="T4" fmla="*/ 1 w 2"/>
                <a:gd name="T5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56" name="Freeform 190"/>
            <p:cNvSpPr>
              <a:spLocks/>
            </p:cNvSpPr>
            <p:nvPr/>
          </p:nvSpPr>
          <p:spPr bwMode="auto">
            <a:xfrm>
              <a:off x="6466278" y="2527232"/>
              <a:ext cx="2941" cy="1692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57" name="Freeform 191"/>
            <p:cNvSpPr>
              <a:spLocks/>
            </p:cNvSpPr>
            <p:nvPr/>
          </p:nvSpPr>
          <p:spPr bwMode="auto">
            <a:xfrm>
              <a:off x="6476572" y="2313986"/>
              <a:ext cx="2941" cy="1692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58" name="Freeform 192"/>
            <p:cNvSpPr>
              <a:spLocks/>
            </p:cNvSpPr>
            <p:nvPr/>
          </p:nvSpPr>
          <p:spPr bwMode="auto">
            <a:xfrm>
              <a:off x="6485394" y="2508615"/>
              <a:ext cx="5881" cy="1692"/>
            </a:xfrm>
            <a:custGeom>
              <a:avLst/>
              <a:gdLst>
                <a:gd name="T0" fmla="*/ 0 w 2"/>
                <a:gd name="T1" fmla="*/ 0 w 2"/>
                <a:gd name="T2" fmla="*/ 1 w 2"/>
                <a:gd name="T3" fmla="*/ 2 w 2"/>
                <a:gd name="T4" fmla="*/ 1 w 2"/>
                <a:gd name="T5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59" name="Freeform 193"/>
            <p:cNvSpPr>
              <a:spLocks/>
            </p:cNvSpPr>
            <p:nvPr/>
          </p:nvSpPr>
          <p:spPr bwMode="auto">
            <a:xfrm>
              <a:off x="6495686" y="2356297"/>
              <a:ext cx="1471" cy="1692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60" name="Freeform 194"/>
            <p:cNvSpPr>
              <a:spLocks/>
            </p:cNvSpPr>
            <p:nvPr/>
          </p:nvSpPr>
          <p:spPr bwMode="auto">
            <a:xfrm>
              <a:off x="6855924" y="2273368"/>
              <a:ext cx="5881" cy="1692"/>
            </a:xfrm>
            <a:custGeom>
              <a:avLst/>
              <a:gdLst>
                <a:gd name="T0" fmla="*/ 0 w 2"/>
                <a:gd name="T1" fmla="*/ 1 w 2"/>
                <a:gd name="T2" fmla="*/ 2 w 2"/>
                <a:gd name="T3" fmla="*/ 1 w 2"/>
                <a:gd name="T4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61" name="Freeform 195"/>
            <p:cNvSpPr>
              <a:spLocks/>
            </p:cNvSpPr>
            <p:nvPr/>
          </p:nvSpPr>
          <p:spPr bwMode="auto">
            <a:xfrm>
              <a:off x="6877981" y="2313986"/>
              <a:ext cx="8822" cy="1692"/>
            </a:xfrm>
            <a:custGeom>
              <a:avLst/>
              <a:gdLst>
                <a:gd name="T0" fmla="*/ 0 w 3"/>
                <a:gd name="T1" fmla="*/ 1 w 3"/>
                <a:gd name="T2" fmla="*/ 1 w 3"/>
                <a:gd name="T3" fmla="*/ 3 w 3"/>
                <a:gd name="T4" fmla="*/ 3 w 3"/>
                <a:gd name="T5" fmla="*/ 2 w 3"/>
                <a:gd name="T6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62" name="Freeform 196"/>
            <p:cNvSpPr>
              <a:spLocks/>
            </p:cNvSpPr>
            <p:nvPr/>
          </p:nvSpPr>
          <p:spPr bwMode="auto">
            <a:xfrm>
              <a:off x="6892684" y="2378298"/>
              <a:ext cx="4411" cy="1692"/>
            </a:xfrm>
            <a:custGeom>
              <a:avLst/>
              <a:gdLst>
                <a:gd name="T0" fmla="*/ 2 w 2"/>
                <a:gd name="T1" fmla="*/ 1 w 2"/>
                <a:gd name="T2" fmla="*/ 0 w 2"/>
                <a:gd name="T3" fmla="*/ 1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63" name="Freeform 197"/>
            <p:cNvSpPr>
              <a:spLocks/>
            </p:cNvSpPr>
            <p:nvPr/>
          </p:nvSpPr>
          <p:spPr bwMode="auto">
            <a:xfrm>
              <a:off x="6955909" y="2364760"/>
              <a:ext cx="7352" cy="1692"/>
            </a:xfrm>
            <a:custGeom>
              <a:avLst/>
              <a:gdLst>
                <a:gd name="T0" fmla="*/ 0 w 3"/>
                <a:gd name="T1" fmla="*/ 1 w 3"/>
                <a:gd name="T2" fmla="*/ 2 w 3"/>
                <a:gd name="T3" fmla="*/ 3 w 3"/>
                <a:gd name="T4" fmla="*/ 2 w 3"/>
                <a:gd name="T5" fmla="*/ 1 w 3"/>
                <a:gd name="T6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64" name="Rectangle 198"/>
            <p:cNvSpPr>
              <a:spLocks noChangeArrowheads="1"/>
            </p:cNvSpPr>
            <p:nvPr/>
          </p:nvSpPr>
          <p:spPr bwMode="auto">
            <a:xfrm>
              <a:off x="6986787" y="2342757"/>
              <a:ext cx="1471" cy="1692"/>
            </a:xfrm>
            <a:prstGeom prst="rect">
              <a:avLst/>
            </a:prstGeom>
            <a:solidFill>
              <a:srgbClr val="A6A6A6"/>
            </a:solidFill>
            <a:ln w="1270" algn="ctr">
              <a:solidFill>
                <a:srgbClr val="D9DCEB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65" name="Freeform 199"/>
            <p:cNvSpPr>
              <a:spLocks/>
            </p:cNvSpPr>
            <p:nvPr/>
          </p:nvSpPr>
          <p:spPr bwMode="auto">
            <a:xfrm>
              <a:off x="6997079" y="2281830"/>
              <a:ext cx="5881" cy="1692"/>
            </a:xfrm>
            <a:custGeom>
              <a:avLst/>
              <a:gdLst>
                <a:gd name="T0" fmla="*/ 1 w 2"/>
                <a:gd name="T1" fmla="*/ 0 w 2"/>
                <a:gd name="T2" fmla="*/ 1 w 2"/>
                <a:gd name="T3" fmla="*/ 2 w 2"/>
                <a:gd name="T4" fmla="*/ 1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1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66" name="Rectangle 200"/>
            <p:cNvSpPr>
              <a:spLocks noChangeArrowheads="1"/>
            </p:cNvSpPr>
            <p:nvPr/>
          </p:nvSpPr>
          <p:spPr bwMode="auto">
            <a:xfrm>
              <a:off x="7000020" y="2209055"/>
              <a:ext cx="2941" cy="1692"/>
            </a:xfrm>
            <a:prstGeom prst="rect">
              <a:avLst/>
            </a:prstGeom>
            <a:solidFill>
              <a:srgbClr val="A6A6A6"/>
            </a:solidFill>
            <a:ln w="1270" algn="ctr">
              <a:solidFill>
                <a:srgbClr val="D9DCEB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67" name="Freeform 201"/>
            <p:cNvSpPr>
              <a:spLocks/>
            </p:cNvSpPr>
            <p:nvPr/>
          </p:nvSpPr>
          <p:spPr bwMode="auto">
            <a:xfrm>
              <a:off x="7075008" y="2313986"/>
              <a:ext cx="2941" cy="1692"/>
            </a:xfrm>
            <a:custGeom>
              <a:avLst/>
              <a:gdLst>
                <a:gd name="T0" fmla="*/ 1 w 1"/>
                <a:gd name="T1" fmla="*/ 0 w 1"/>
                <a:gd name="T2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68" name="Freeform 202"/>
            <p:cNvSpPr>
              <a:spLocks/>
            </p:cNvSpPr>
            <p:nvPr/>
          </p:nvSpPr>
          <p:spPr bwMode="auto">
            <a:xfrm>
              <a:off x="7132353" y="2291985"/>
              <a:ext cx="5881" cy="1692"/>
            </a:xfrm>
            <a:custGeom>
              <a:avLst/>
              <a:gdLst>
                <a:gd name="T0" fmla="*/ 2 w 2"/>
                <a:gd name="T1" fmla="*/ 1 w 2"/>
                <a:gd name="T2" fmla="*/ 0 w 2"/>
                <a:gd name="T3" fmla="*/ 1 w 2"/>
                <a:gd name="T4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69" name="Freeform 203"/>
            <p:cNvSpPr>
              <a:spLocks/>
            </p:cNvSpPr>
            <p:nvPr/>
          </p:nvSpPr>
          <p:spPr bwMode="auto">
            <a:xfrm>
              <a:off x="7149997" y="2234442"/>
              <a:ext cx="1471" cy="1692"/>
            </a:xfrm>
            <a:custGeom>
              <a:avLst/>
              <a:gdLst>
                <a:gd name="T0" fmla="*/ 0 w 1"/>
                <a:gd name="T1" fmla="*/ 0 w 1"/>
                <a:gd name="T2" fmla="*/ 1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70" name="Freeform 204"/>
            <p:cNvSpPr>
              <a:spLocks/>
            </p:cNvSpPr>
            <p:nvPr/>
          </p:nvSpPr>
          <p:spPr bwMode="auto">
            <a:xfrm>
              <a:off x="9451113" y="3046808"/>
              <a:ext cx="2941" cy="1692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71" name="Freeform 205"/>
            <p:cNvSpPr>
              <a:spLocks/>
            </p:cNvSpPr>
            <p:nvPr/>
          </p:nvSpPr>
          <p:spPr bwMode="auto">
            <a:xfrm>
              <a:off x="9579035" y="3050193"/>
              <a:ext cx="2941" cy="1692"/>
            </a:xfrm>
            <a:custGeom>
              <a:avLst/>
              <a:gdLst>
                <a:gd name="T0" fmla="*/ 1 w 1"/>
                <a:gd name="T1" fmla="*/ 0 w 1"/>
                <a:gd name="T2" fmla="*/ 1 w 1"/>
                <a:gd name="T3" fmla="*/ 0 w 1"/>
                <a:gd name="T4" fmla="*/ 0 w 1"/>
                <a:gd name="T5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72" name="Freeform 206"/>
            <p:cNvSpPr>
              <a:spLocks/>
            </p:cNvSpPr>
            <p:nvPr/>
          </p:nvSpPr>
          <p:spPr bwMode="auto">
            <a:xfrm>
              <a:off x="9573154" y="3050193"/>
              <a:ext cx="2941" cy="3385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1 w 1"/>
                <a:gd name="T5" fmla="*/ 0 h 1"/>
                <a:gd name="T6" fmla="*/ 1 w 1"/>
                <a:gd name="T7" fmla="*/ 1 h 1"/>
                <a:gd name="T8" fmla="*/ 0 w 1"/>
                <a:gd name="T9" fmla="*/ 1 h 1"/>
                <a:gd name="T10" fmla="*/ 0 w 1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73" name="Freeform 207"/>
            <p:cNvSpPr>
              <a:spLocks/>
            </p:cNvSpPr>
            <p:nvPr/>
          </p:nvSpPr>
          <p:spPr bwMode="auto">
            <a:xfrm>
              <a:off x="6147211" y="2620315"/>
              <a:ext cx="8822" cy="5077"/>
            </a:xfrm>
            <a:custGeom>
              <a:avLst/>
              <a:gdLst>
                <a:gd name="T0" fmla="*/ 7 w 12"/>
                <a:gd name="T1" fmla="*/ 6 h 6"/>
                <a:gd name="T2" fmla="*/ 8 w 12"/>
                <a:gd name="T3" fmla="*/ 6 h 6"/>
                <a:gd name="T4" fmla="*/ 12 w 12"/>
                <a:gd name="T5" fmla="*/ 6 h 6"/>
                <a:gd name="T6" fmla="*/ 10 w 12"/>
                <a:gd name="T7" fmla="*/ 3 h 6"/>
                <a:gd name="T8" fmla="*/ 8 w 12"/>
                <a:gd name="T9" fmla="*/ 0 h 6"/>
                <a:gd name="T10" fmla="*/ 4 w 12"/>
                <a:gd name="T11" fmla="*/ 0 h 6"/>
                <a:gd name="T12" fmla="*/ 0 w 12"/>
                <a:gd name="T13" fmla="*/ 0 h 6"/>
                <a:gd name="T14" fmla="*/ 4 w 12"/>
                <a:gd name="T15" fmla="*/ 3 h 6"/>
                <a:gd name="T16" fmla="*/ 7 w 12"/>
                <a:gd name="T1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6">
                  <a:moveTo>
                    <a:pt x="7" y="6"/>
                  </a:moveTo>
                  <a:lnTo>
                    <a:pt x="8" y="6"/>
                  </a:lnTo>
                  <a:lnTo>
                    <a:pt x="12" y="6"/>
                  </a:lnTo>
                  <a:lnTo>
                    <a:pt x="10" y="3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3"/>
                  </a:lnTo>
                  <a:lnTo>
                    <a:pt x="7" y="6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74" name="Freeform 208"/>
            <p:cNvSpPr>
              <a:spLocks/>
            </p:cNvSpPr>
            <p:nvPr/>
          </p:nvSpPr>
          <p:spPr bwMode="auto">
            <a:xfrm>
              <a:off x="6156033" y="2622008"/>
              <a:ext cx="1471" cy="1692"/>
            </a:xfrm>
            <a:custGeom>
              <a:avLst/>
              <a:gdLst>
                <a:gd name="T0" fmla="*/ 3 w 3"/>
                <a:gd name="T1" fmla="*/ 1 h 1"/>
                <a:gd name="T2" fmla="*/ 3 w 3"/>
                <a:gd name="T3" fmla="*/ 0 h 1"/>
                <a:gd name="T4" fmla="*/ 0 w 3"/>
                <a:gd name="T5" fmla="*/ 1 h 1"/>
                <a:gd name="T6" fmla="*/ 3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3" y="1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3" y="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75" name="Freeform 209"/>
            <p:cNvSpPr>
              <a:spLocks/>
            </p:cNvSpPr>
            <p:nvPr/>
          </p:nvSpPr>
          <p:spPr bwMode="auto">
            <a:xfrm>
              <a:off x="6157503" y="2618623"/>
              <a:ext cx="5881" cy="1692"/>
            </a:xfrm>
            <a:custGeom>
              <a:avLst/>
              <a:gdLst>
                <a:gd name="T0" fmla="*/ 8 w 8"/>
                <a:gd name="T1" fmla="*/ 2 h 2"/>
                <a:gd name="T2" fmla="*/ 6 w 8"/>
                <a:gd name="T3" fmla="*/ 0 h 2"/>
                <a:gd name="T4" fmla="*/ 3 w 8"/>
                <a:gd name="T5" fmla="*/ 0 h 2"/>
                <a:gd name="T6" fmla="*/ 0 w 8"/>
                <a:gd name="T7" fmla="*/ 2 h 2"/>
                <a:gd name="T8" fmla="*/ 3 w 8"/>
                <a:gd name="T9" fmla="*/ 2 h 2"/>
                <a:gd name="T10" fmla="*/ 8 w 8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2">
                  <a:moveTo>
                    <a:pt x="8" y="2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8" y="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76" name="Freeform 210"/>
            <p:cNvSpPr>
              <a:spLocks/>
            </p:cNvSpPr>
            <p:nvPr/>
          </p:nvSpPr>
          <p:spPr bwMode="auto">
            <a:xfrm>
              <a:off x="6203084" y="2188746"/>
              <a:ext cx="63225" cy="10155"/>
            </a:xfrm>
            <a:custGeom>
              <a:avLst/>
              <a:gdLst>
                <a:gd name="T0" fmla="*/ 1 w 85"/>
                <a:gd name="T1" fmla="*/ 6 h 11"/>
                <a:gd name="T2" fmla="*/ 0 w 85"/>
                <a:gd name="T3" fmla="*/ 6 h 11"/>
                <a:gd name="T4" fmla="*/ 4 w 85"/>
                <a:gd name="T5" fmla="*/ 7 h 11"/>
                <a:gd name="T6" fmla="*/ 7 w 85"/>
                <a:gd name="T7" fmla="*/ 7 h 11"/>
                <a:gd name="T8" fmla="*/ 12 w 85"/>
                <a:gd name="T9" fmla="*/ 7 h 11"/>
                <a:gd name="T10" fmla="*/ 15 w 85"/>
                <a:gd name="T11" fmla="*/ 9 h 11"/>
                <a:gd name="T12" fmla="*/ 19 w 85"/>
                <a:gd name="T13" fmla="*/ 7 h 11"/>
                <a:gd name="T14" fmla="*/ 23 w 85"/>
                <a:gd name="T15" fmla="*/ 7 h 11"/>
                <a:gd name="T16" fmla="*/ 27 w 85"/>
                <a:gd name="T17" fmla="*/ 9 h 11"/>
                <a:gd name="T18" fmla="*/ 30 w 85"/>
                <a:gd name="T19" fmla="*/ 11 h 11"/>
                <a:gd name="T20" fmla="*/ 33 w 85"/>
                <a:gd name="T21" fmla="*/ 11 h 11"/>
                <a:gd name="T22" fmla="*/ 38 w 85"/>
                <a:gd name="T23" fmla="*/ 9 h 11"/>
                <a:gd name="T24" fmla="*/ 41 w 85"/>
                <a:gd name="T25" fmla="*/ 7 h 11"/>
                <a:gd name="T26" fmla="*/ 44 w 85"/>
                <a:gd name="T27" fmla="*/ 7 h 11"/>
                <a:gd name="T28" fmla="*/ 47 w 85"/>
                <a:gd name="T29" fmla="*/ 7 h 11"/>
                <a:gd name="T30" fmla="*/ 52 w 85"/>
                <a:gd name="T31" fmla="*/ 6 h 11"/>
                <a:gd name="T32" fmla="*/ 55 w 85"/>
                <a:gd name="T33" fmla="*/ 4 h 11"/>
                <a:gd name="T34" fmla="*/ 58 w 85"/>
                <a:gd name="T35" fmla="*/ 3 h 11"/>
                <a:gd name="T36" fmla="*/ 61 w 85"/>
                <a:gd name="T37" fmla="*/ 3 h 11"/>
                <a:gd name="T38" fmla="*/ 73 w 85"/>
                <a:gd name="T39" fmla="*/ 6 h 11"/>
                <a:gd name="T40" fmla="*/ 85 w 85"/>
                <a:gd name="T41" fmla="*/ 6 h 11"/>
                <a:gd name="T42" fmla="*/ 80 w 85"/>
                <a:gd name="T43" fmla="*/ 4 h 11"/>
                <a:gd name="T44" fmla="*/ 77 w 85"/>
                <a:gd name="T45" fmla="*/ 4 h 11"/>
                <a:gd name="T46" fmla="*/ 80 w 85"/>
                <a:gd name="T47" fmla="*/ 3 h 11"/>
                <a:gd name="T48" fmla="*/ 71 w 85"/>
                <a:gd name="T49" fmla="*/ 1 h 11"/>
                <a:gd name="T50" fmla="*/ 61 w 85"/>
                <a:gd name="T51" fmla="*/ 1 h 11"/>
                <a:gd name="T52" fmla="*/ 57 w 85"/>
                <a:gd name="T53" fmla="*/ 0 h 11"/>
                <a:gd name="T54" fmla="*/ 52 w 85"/>
                <a:gd name="T55" fmla="*/ 0 h 11"/>
                <a:gd name="T56" fmla="*/ 49 w 85"/>
                <a:gd name="T57" fmla="*/ 1 h 11"/>
                <a:gd name="T58" fmla="*/ 42 w 85"/>
                <a:gd name="T59" fmla="*/ 3 h 11"/>
                <a:gd name="T60" fmla="*/ 33 w 85"/>
                <a:gd name="T61" fmla="*/ 4 h 11"/>
                <a:gd name="T62" fmla="*/ 23 w 85"/>
                <a:gd name="T63" fmla="*/ 4 h 11"/>
                <a:gd name="T64" fmla="*/ 12 w 85"/>
                <a:gd name="T65" fmla="*/ 4 h 11"/>
                <a:gd name="T66" fmla="*/ 1 w 85"/>
                <a:gd name="T67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5" h="11">
                  <a:moveTo>
                    <a:pt x="1" y="6"/>
                  </a:moveTo>
                  <a:lnTo>
                    <a:pt x="0" y="6"/>
                  </a:lnTo>
                  <a:lnTo>
                    <a:pt x="4" y="7"/>
                  </a:lnTo>
                  <a:lnTo>
                    <a:pt x="7" y="7"/>
                  </a:lnTo>
                  <a:lnTo>
                    <a:pt x="12" y="7"/>
                  </a:lnTo>
                  <a:lnTo>
                    <a:pt x="15" y="9"/>
                  </a:lnTo>
                  <a:lnTo>
                    <a:pt x="19" y="7"/>
                  </a:lnTo>
                  <a:lnTo>
                    <a:pt x="23" y="7"/>
                  </a:lnTo>
                  <a:lnTo>
                    <a:pt x="27" y="9"/>
                  </a:lnTo>
                  <a:lnTo>
                    <a:pt x="30" y="11"/>
                  </a:lnTo>
                  <a:lnTo>
                    <a:pt x="33" y="11"/>
                  </a:lnTo>
                  <a:lnTo>
                    <a:pt x="38" y="9"/>
                  </a:lnTo>
                  <a:lnTo>
                    <a:pt x="41" y="7"/>
                  </a:lnTo>
                  <a:lnTo>
                    <a:pt x="44" y="7"/>
                  </a:lnTo>
                  <a:lnTo>
                    <a:pt x="47" y="7"/>
                  </a:lnTo>
                  <a:lnTo>
                    <a:pt x="52" y="6"/>
                  </a:lnTo>
                  <a:lnTo>
                    <a:pt x="55" y="4"/>
                  </a:lnTo>
                  <a:lnTo>
                    <a:pt x="58" y="3"/>
                  </a:lnTo>
                  <a:lnTo>
                    <a:pt x="61" y="3"/>
                  </a:lnTo>
                  <a:lnTo>
                    <a:pt x="73" y="6"/>
                  </a:lnTo>
                  <a:lnTo>
                    <a:pt x="85" y="6"/>
                  </a:lnTo>
                  <a:lnTo>
                    <a:pt x="80" y="4"/>
                  </a:lnTo>
                  <a:lnTo>
                    <a:pt x="77" y="4"/>
                  </a:lnTo>
                  <a:lnTo>
                    <a:pt x="80" y="3"/>
                  </a:lnTo>
                  <a:lnTo>
                    <a:pt x="71" y="1"/>
                  </a:lnTo>
                  <a:lnTo>
                    <a:pt x="61" y="1"/>
                  </a:lnTo>
                  <a:lnTo>
                    <a:pt x="57" y="0"/>
                  </a:lnTo>
                  <a:lnTo>
                    <a:pt x="52" y="0"/>
                  </a:lnTo>
                  <a:lnTo>
                    <a:pt x="49" y="1"/>
                  </a:lnTo>
                  <a:lnTo>
                    <a:pt x="42" y="3"/>
                  </a:lnTo>
                  <a:lnTo>
                    <a:pt x="33" y="4"/>
                  </a:lnTo>
                  <a:lnTo>
                    <a:pt x="23" y="4"/>
                  </a:lnTo>
                  <a:lnTo>
                    <a:pt x="12" y="4"/>
                  </a:lnTo>
                  <a:lnTo>
                    <a:pt x="1" y="6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77" name="Freeform 211"/>
            <p:cNvSpPr>
              <a:spLocks/>
            </p:cNvSpPr>
            <p:nvPr/>
          </p:nvSpPr>
          <p:spPr bwMode="auto">
            <a:xfrm>
              <a:off x="6235432" y="2188746"/>
              <a:ext cx="76460" cy="18617"/>
            </a:xfrm>
            <a:custGeom>
              <a:avLst/>
              <a:gdLst>
                <a:gd name="T0" fmla="*/ 27 w 103"/>
                <a:gd name="T1" fmla="*/ 22 h 22"/>
                <a:gd name="T2" fmla="*/ 35 w 103"/>
                <a:gd name="T3" fmla="*/ 19 h 22"/>
                <a:gd name="T4" fmla="*/ 43 w 103"/>
                <a:gd name="T5" fmla="*/ 20 h 22"/>
                <a:gd name="T6" fmla="*/ 49 w 103"/>
                <a:gd name="T7" fmla="*/ 19 h 22"/>
                <a:gd name="T8" fmla="*/ 51 w 103"/>
                <a:gd name="T9" fmla="*/ 15 h 22"/>
                <a:gd name="T10" fmla="*/ 43 w 103"/>
                <a:gd name="T11" fmla="*/ 15 h 22"/>
                <a:gd name="T12" fmla="*/ 51 w 103"/>
                <a:gd name="T13" fmla="*/ 12 h 22"/>
                <a:gd name="T14" fmla="*/ 62 w 103"/>
                <a:gd name="T15" fmla="*/ 14 h 22"/>
                <a:gd name="T16" fmla="*/ 70 w 103"/>
                <a:gd name="T17" fmla="*/ 9 h 22"/>
                <a:gd name="T18" fmla="*/ 76 w 103"/>
                <a:gd name="T19" fmla="*/ 9 h 22"/>
                <a:gd name="T20" fmla="*/ 92 w 103"/>
                <a:gd name="T21" fmla="*/ 9 h 22"/>
                <a:gd name="T22" fmla="*/ 100 w 103"/>
                <a:gd name="T23" fmla="*/ 6 h 22"/>
                <a:gd name="T24" fmla="*/ 97 w 103"/>
                <a:gd name="T25" fmla="*/ 3 h 22"/>
                <a:gd name="T26" fmla="*/ 81 w 103"/>
                <a:gd name="T27" fmla="*/ 3 h 22"/>
                <a:gd name="T28" fmla="*/ 78 w 103"/>
                <a:gd name="T29" fmla="*/ 3 h 22"/>
                <a:gd name="T30" fmla="*/ 86 w 103"/>
                <a:gd name="T31" fmla="*/ 1 h 22"/>
                <a:gd name="T32" fmla="*/ 78 w 103"/>
                <a:gd name="T33" fmla="*/ 0 h 22"/>
                <a:gd name="T34" fmla="*/ 71 w 103"/>
                <a:gd name="T35" fmla="*/ 0 h 22"/>
                <a:gd name="T36" fmla="*/ 70 w 103"/>
                <a:gd name="T37" fmla="*/ 0 h 22"/>
                <a:gd name="T38" fmla="*/ 62 w 103"/>
                <a:gd name="T39" fmla="*/ 0 h 22"/>
                <a:gd name="T40" fmla="*/ 51 w 103"/>
                <a:gd name="T41" fmla="*/ 3 h 22"/>
                <a:gd name="T42" fmla="*/ 59 w 103"/>
                <a:gd name="T43" fmla="*/ 4 h 22"/>
                <a:gd name="T44" fmla="*/ 51 w 103"/>
                <a:gd name="T45" fmla="*/ 9 h 22"/>
                <a:gd name="T46" fmla="*/ 43 w 103"/>
                <a:gd name="T47" fmla="*/ 9 h 22"/>
                <a:gd name="T48" fmla="*/ 36 w 103"/>
                <a:gd name="T49" fmla="*/ 7 h 22"/>
                <a:gd name="T50" fmla="*/ 13 w 103"/>
                <a:gd name="T51" fmla="*/ 11 h 22"/>
                <a:gd name="T52" fmla="*/ 33 w 103"/>
                <a:gd name="T53" fmla="*/ 12 h 22"/>
                <a:gd name="T54" fmla="*/ 22 w 103"/>
                <a:gd name="T55" fmla="*/ 12 h 22"/>
                <a:gd name="T56" fmla="*/ 30 w 103"/>
                <a:gd name="T57" fmla="*/ 14 h 22"/>
                <a:gd name="T58" fmla="*/ 22 w 103"/>
                <a:gd name="T59" fmla="*/ 14 h 22"/>
                <a:gd name="T60" fmla="*/ 11 w 103"/>
                <a:gd name="T61" fmla="*/ 14 h 22"/>
                <a:gd name="T62" fmla="*/ 3 w 103"/>
                <a:gd name="T63" fmla="*/ 14 h 22"/>
                <a:gd name="T64" fmla="*/ 3 w 103"/>
                <a:gd name="T65" fmla="*/ 17 h 22"/>
                <a:gd name="T66" fmla="*/ 11 w 103"/>
                <a:gd name="T67" fmla="*/ 19 h 22"/>
                <a:gd name="T68" fmla="*/ 21 w 103"/>
                <a:gd name="T69" fmla="*/ 17 h 22"/>
                <a:gd name="T70" fmla="*/ 25 w 103"/>
                <a:gd name="T71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3" h="22">
                  <a:moveTo>
                    <a:pt x="24" y="20"/>
                  </a:moveTo>
                  <a:lnTo>
                    <a:pt x="27" y="22"/>
                  </a:lnTo>
                  <a:lnTo>
                    <a:pt x="32" y="20"/>
                  </a:lnTo>
                  <a:lnTo>
                    <a:pt x="35" y="19"/>
                  </a:lnTo>
                  <a:lnTo>
                    <a:pt x="38" y="20"/>
                  </a:lnTo>
                  <a:lnTo>
                    <a:pt x="43" y="20"/>
                  </a:lnTo>
                  <a:lnTo>
                    <a:pt x="46" y="19"/>
                  </a:lnTo>
                  <a:lnTo>
                    <a:pt x="49" y="19"/>
                  </a:lnTo>
                  <a:lnTo>
                    <a:pt x="52" y="19"/>
                  </a:lnTo>
                  <a:lnTo>
                    <a:pt x="51" y="15"/>
                  </a:lnTo>
                  <a:lnTo>
                    <a:pt x="48" y="15"/>
                  </a:lnTo>
                  <a:lnTo>
                    <a:pt x="43" y="15"/>
                  </a:lnTo>
                  <a:lnTo>
                    <a:pt x="48" y="12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62" y="14"/>
                  </a:lnTo>
                  <a:lnTo>
                    <a:pt x="65" y="12"/>
                  </a:lnTo>
                  <a:lnTo>
                    <a:pt x="70" y="9"/>
                  </a:lnTo>
                  <a:lnTo>
                    <a:pt x="73" y="9"/>
                  </a:lnTo>
                  <a:lnTo>
                    <a:pt x="76" y="9"/>
                  </a:lnTo>
                  <a:lnTo>
                    <a:pt x="89" y="9"/>
                  </a:lnTo>
                  <a:lnTo>
                    <a:pt x="92" y="9"/>
                  </a:lnTo>
                  <a:lnTo>
                    <a:pt x="97" y="6"/>
                  </a:lnTo>
                  <a:lnTo>
                    <a:pt x="100" y="6"/>
                  </a:lnTo>
                  <a:lnTo>
                    <a:pt x="103" y="6"/>
                  </a:lnTo>
                  <a:lnTo>
                    <a:pt x="97" y="3"/>
                  </a:lnTo>
                  <a:lnTo>
                    <a:pt x="89" y="3"/>
                  </a:lnTo>
                  <a:lnTo>
                    <a:pt x="81" y="3"/>
                  </a:lnTo>
                  <a:lnTo>
                    <a:pt x="74" y="3"/>
                  </a:lnTo>
                  <a:lnTo>
                    <a:pt x="78" y="3"/>
                  </a:lnTo>
                  <a:lnTo>
                    <a:pt x="82" y="1"/>
                  </a:lnTo>
                  <a:lnTo>
                    <a:pt x="86" y="1"/>
                  </a:lnTo>
                  <a:lnTo>
                    <a:pt x="82" y="0"/>
                  </a:lnTo>
                  <a:lnTo>
                    <a:pt x="78" y="0"/>
                  </a:lnTo>
                  <a:lnTo>
                    <a:pt x="74" y="0"/>
                  </a:lnTo>
                  <a:lnTo>
                    <a:pt x="71" y="0"/>
                  </a:lnTo>
                  <a:lnTo>
                    <a:pt x="67" y="0"/>
                  </a:lnTo>
                  <a:lnTo>
                    <a:pt x="70" y="0"/>
                  </a:lnTo>
                  <a:lnTo>
                    <a:pt x="74" y="0"/>
                  </a:lnTo>
                  <a:lnTo>
                    <a:pt x="62" y="0"/>
                  </a:lnTo>
                  <a:lnTo>
                    <a:pt x="48" y="1"/>
                  </a:lnTo>
                  <a:lnTo>
                    <a:pt x="51" y="3"/>
                  </a:lnTo>
                  <a:lnTo>
                    <a:pt x="54" y="4"/>
                  </a:lnTo>
                  <a:lnTo>
                    <a:pt x="59" y="4"/>
                  </a:lnTo>
                  <a:lnTo>
                    <a:pt x="54" y="6"/>
                  </a:lnTo>
                  <a:lnTo>
                    <a:pt x="51" y="9"/>
                  </a:lnTo>
                  <a:lnTo>
                    <a:pt x="46" y="9"/>
                  </a:lnTo>
                  <a:lnTo>
                    <a:pt x="43" y="9"/>
                  </a:lnTo>
                  <a:lnTo>
                    <a:pt x="40" y="9"/>
                  </a:lnTo>
                  <a:lnTo>
                    <a:pt x="36" y="7"/>
                  </a:lnTo>
                  <a:lnTo>
                    <a:pt x="25" y="9"/>
                  </a:lnTo>
                  <a:lnTo>
                    <a:pt x="13" y="11"/>
                  </a:lnTo>
                  <a:lnTo>
                    <a:pt x="24" y="11"/>
                  </a:lnTo>
                  <a:lnTo>
                    <a:pt x="33" y="12"/>
                  </a:lnTo>
                  <a:lnTo>
                    <a:pt x="29" y="12"/>
                  </a:lnTo>
                  <a:lnTo>
                    <a:pt x="22" y="12"/>
                  </a:lnTo>
                  <a:lnTo>
                    <a:pt x="25" y="14"/>
                  </a:lnTo>
                  <a:lnTo>
                    <a:pt x="30" y="14"/>
                  </a:lnTo>
                  <a:lnTo>
                    <a:pt x="25" y="15"/>
                  </a:lnTo>
                  <a:lnTo>
                    <a:pt x="22" y="14"/>
                  </a:lnTo>
                  <a:lnTo>
                    <a:pt x="14" y="14"/>
                  </a:lnTo>
                  <a:lnTo>
                    <a:pt x="11" y="14"/>
                  </a:lnTo>
                  <a:lnTo>
                    <a:pt x="6" y="12"/>
                  </a:lnTo>
                  <a:lnTo>
                    <a:pt x="3" y="14"/>
                  </a:lnTo>
                  <a:lnTo>
                    <a:pt x="0" y="14"/>
                  </a:lnTo>
                  <a:lnTo>
                    <a:pt x="3" y="17"/>
                  </a:lnTo>
                  <a:lnTo>
                    <a:pt x="8" y="19"/>
                  </a:lnTo>
                  <a:lnTo>
                    <a:pt x="11" y="19"/>
                  </a:lnTo>
                  <a:lnTo>
                    <a:pt x="14" y="17"/>
                  </a:lnTo>
                  <a:lnTo>
                    <a:pt x="21" y="17"/>
                  </a:lnTo>
                  <a:lnTo>
                    <a:pt x="29" y="17"/>
                  </a:lnTo>
                  <a:lnTo>
                    <a:pt x="25" y="19"/>
                  </a:lnTo>
                  <a:lnTo>
                    <a:pt x="24" y="2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78" name="Rectangle 212"/>
            <p:cNvSpPr>
              <a:spLocks noChangeArrowheads="1"/>
            </p:cNvSpPr>
            <p:nvPr/>
          </p:nvSpPr>
          <p:spPr bwMode="auto">
            <a:xfrm>
              <a:off x="6239844" y="2632162"/>
              <a:ext cx="1471" cy="1692"/>
            </a:xfrm>
            <a:prstGeom prst="rect">
              <a:avLst/>
            </a:prstGeom>
            <a:solidFill>
              <a:srgbClr val="A6A6A6"/>
            </a:solidFill>
            <a:ln w="1270" algn="ctr">
              <a:solidFill>
                <a:srgbClr val="D9DCEB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79" name="Freeform 213"/>
            <p:cNvSpPr>
              <a:spLocks/>
            </p:cNvSpPr>
            <p:nvPr/>
          </p:nvSpPr>
          <p:spPr bwMode="auto">
            <a:xfrm>
              <a:off x="6241313" y="2632162"/>
              <a:ext cx="10293" cy="6770"/>
            </a:xfrm>
            <a:custGeom>
              <a:avLst/>
              <a:gdLst>
                <a:gd name="T0" fmla="*/ 0 w 15"/>
                <a:gd name="T1" fmla="*/ 3 h 8"/>
                <a:gd name="T2" fmla="*/ 3 w 15"/>
                <a:gd name="T3" fmla="*/ 5 h 8"/>
                <a:gd name="T4" fmla="*/ 7 w 15"/>
                <a:gd name="T5" fmla="*/ 6 h 8"/>
                <a:gd name="T6" fmla="*/ 11 w 15"/>
                <a:gd name="T7" fmla="*/ 6 h 8"/>
                <a:gd name="T8" fmla="*/ 15 w 15"/>
                <a:gd name="T9" fmla="*/ 8 h 8"/>
                <a:gd name="T10" fmla="*/ 11 w 15"/>
                <a:gd name="T11" fmla="*/ 5 h 8"/>
                <a:gd name="T12" fmla="*/ 10 w 15"/>
                <a:gd name="T13" fmla="*/ 0 h 8"/>
                <a:gd name="T14" fmla="*/ 5 w 15"/>
                <a:gd name="T15" fmla="*/ 1 h 8"/>
                <a:gd name="T16" fmla="*/ 8 w 15"/>
                <a:gd name="T17" fmla="*/ 5 h 8"/>
                <a:gd name="T18" fmla="*/ 3 w 15"/>
                <a:gd name="T19" fmla="*/ 3 h 8"/>
                <a:gd name="T20" fmla="*/ 0 w 15"/>
                <a:gd name="T21" fmla="*/ 3 h 8"/>
                <a:gd name="T22" fmla="*/ 0 w 15"/>
                <a:gd name="T23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" h="8">
                  <a:moveTo>
                    <a:pt x="0" y="3"/>
                  </a:moveTo>
                  <a:lnTo>
                    <a:pt x="3" y="5"/>
                  </a:lnTo>
                  <a:lnTo>
                    <a:pt x="7" y="6"/>
                  </a:lnTo>
                  <a:lnTo>
                    <a:pt x="11" y="6"/>
                  </a:lnTo>
                  <a:lnTo>
                    <a:pt x="15" y="8"/>
                  </a:lnTo>
                  <a:lnTo>
                    <a:pt x="11" y="5"/>
                  </a:lnTo>
                  <a:lnTo>
                    <a:pt x="10" y="0"/>
                  </a:lnTo>
                  <a:lnTo>
                    <a:pt x="5" y="1"/>
                  </a:lnTo>
                  <a:lnTo>
                    <a:pt x="8" y="5"/>
                  </a:lnTo>
                  <a:lnTo>
                    <a:pt x="3" y="3"/>
                  </a:lnTo>
                  <a:lnTo>
                    <a:pt x="0" y="3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80" name="Freeform 214"/>
            <p:cNvSpPr>
              <a:spLocks/>
            </p:cNvSpPr>
            <p:nvPr/>
          </p:nvSpPr>
          <p:spPr bwMode="auto">
            <a:xfrm>
              <a:off x="6242784" y="2625394"/>
              <a:ext cx="2941" cy="3385"/>
            </a:xfrm>
            <a:custGeom>
              <a:avLst/>
              <a:gdLst>
                <a:gd name="T0" fmla="*/ 0 w 4"/>
                <a:gd name="T1" fmla="*/ 0 h 5"/>
                <a:gd name="T2" fmla="*/ 0 w 4"/>
                <a:gd name="T3" fmla="*/ 1 h 5"/>
                <a:gd name="T4" fmla="*/ 4 w 4"/>
                <a:gd name="T5" fmla="*/ 5 h 5"/>
                <a:gd name="T6" fmla="*/ 0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0" y="0"/>
                  </a:moveTo>
                  <a:lnTo>
                    <a:pt x="0" y="1"/>
                  </a:lnTo>
                  <a:lnTo>
                    <a:pt x="4" y="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81" name="Freeform 215"/>
            <p:cNvSpPr>
              <a:spLocks/>
            </p:cNvSpPr>
            <p:nvPr/>
          </p:nvSpPr>
          <p:spPr bwMode="auto">
            <a:xfrm>
              <a:off x="6276602" y="2571236"/>
              <a:ext cx="4411" cy="1692"/>
            </a:xfrm>
            <a:custGeom>
              <a:avLst/>
              <a:gdLst>
                <a:gd name="T0" fmla="*/ 2 w 5"/>
                <a:gd name="T1" fmla="*/ 0 h 2"/>
                <a:gd name="T2" fmla="*/ 0 w 5"/>
                <a:gd name="T3" fmla="*/ 2 h 2"/>
                <a:gd name="T4" fmla="*/ 5 w 5"/>
                <a:gd name="T5" fmla="*/ 0 h 2"/>
                <a:gd name="T6" fmla="*/ 2 w 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2" y="0"/>
                  </a:moveTo>
                  <a:lnTo>
                    <a:pt x="0" y="2"/>
                  </a:lnTo>
                  <a:lnTo>
                    <a:pt x="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82" name="Freeform 216"/>
            <p:cNvSpPr>
              <a:spLocks/>
            </p:cNvSpPr>
            <p:nvPr/>
          </p:nvSpPr>
          <p:spPr bwMode="auto">
            <a:xfrm>
              <a:off x="6282483" y="2207363"/>
              <a:ext cx="4411" cy="1692"/>
            </a:xfrm>
            <a:custGeom>
              <a:avLst/>
              <a:gdLst>
                <a:gd name="T0" fmla="*/ 0 w 7"/>
                <a:gd name="T1" fmla="*/ 2 h 2"/>
                <a:gd name="T2" fmla="*/ 4 w 7"/>
                <a:gd name="T3" fmla="*/ 2 h 2"/>
                <a:gd name="T4" fmla="*/ 7 w 7"/>
                <a:gd name="T5" fmla="*/ 2 h 2"/>
                <a:gd name="T6" fmla="*/ 4 w 7"/>
                <a:gd name="T7" fmla="*/ 0 h 2"/>
                <a:gd name="T8" fmla="*/ 0 w 7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2">
                  <a:moveTo>
                    <a:pt x="0" y="2"/>
                  </a:moveTo>
                  <a:lnTo>
                    <a:pt x="4" y="2"/>
                  </a:lnTo>
                  <a:lnTo>
                    <a:pt x="7" y="2"/>
                  </a:lnTo>
                  <a:lnTo>
                    <a:pt x="4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83" name="Freeform 217"/>
            <p:cNvSpPr>
              <a:spLocks/>
            </p:cNvSpPr>
            <p:nvPr/>
          </p:nvSpPr>
          <p:spPr bwMode="auto">
            <a:xfrm>
              <a:off x="6285424" y="2203978"/>
              <a:ext cx="11763" cy="3385"/>
            </a:xfrm>
            <a:custGeom>
              <a:avLst/>
              <a:gdLst>
                <a:gd name="T0" fmla="*/ 7 w 15"/>
                <a:gd name="T1" fmla="*/ 5 h 5"/>
                <a:gd name="T2" fmla="*/ 11 w 15"/>
                <a:gd name="T3" fmla="*/ 3 h 5"/>
                <a:gd name="T4" fmla="*/ 15 w 15"/>
                <a:gd name="T5" fmla="*/ 0 h 5"/>
                <a:gd name="T6" fmla="*/ 11 w 15"/>
                <a:gd name="T7" fmla="*/ 0 h 5"/>
                <a:gd name="T8" fmla="*/ 7 w 15"/>
                <a:gd name="T9" fmla="*/ 0 h 5"/>
                <a:gd name="T10" fmla="*/ 3 w 15"/>
                <a:gd name="T11" fmla="*/ 0 h 5"/>
                <a:gd name="T12" fmla="*/ 0 w 15"/>
                <a:gd name="T13" fmla="*/ 2 h 5"/>
                <a:gd name="T14" fmla="*/ 4 w 15"/>
                <a:gd name="T15" fmla="*/ 3 h 5"/>
                <a:gd name="T16" fmla="*/ 7 w 15"/>
                <a:gd name="T1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5">
                  <a:moveTo>
                    <a:pt x="7" y="5"/>
                  </a:moveTo>
                  <a:lnTo>
                    <a:pt x="11" y="3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7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4" y="3"/>
                  </a:lnTo>
                  <a:lnTo>
                    <a:pt x="7" y="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84" name="Freeform 218"/>
            <p:cNvSpPr>
              <a:spLocks/>
            </p:cNvSpPr>
            <p:nvPr/>
          </p:nvSpPr>
          <p:spPr bwMode="auto">
            <a:xfrm>
              <a:off x="6288366" y="2181977"/>
              <a:ext cx="8822" cy="5077"/>
            </a:xfrm>
            <a:custGeom>
              <a:avLst/>
              <a:gdLst>
                <a:gd name="T0" fmla="*/ 2 w 11"/>
                <a:gd name="T1" fmla="*/ 3 h 4"/>
                <a:gd name="T2" fmla="*/ 0 w 11"/>
                <a:gd name="T3" fmla="*/ 4 h 4"/>
                <a:gd name="T4" fmla="*/ 3 w 11"/>
                <a:gd name="T5" fmla="*/ 3 h 4"/>
                <a:gd name="T6" fmla="*/ 8 w 11"/>
                <a:gd name="T7" fmla="*/ 3 h 4"/>
                <a:gd name="T8" fmla="*/ 11 w 11"/>
                <a:gd name="T9" fmla="*/ 1 h 4"/>
                <a:gd name="T10" fmla="*/ 8 w 11"/>
                <a:gd name="T11" fmla="*/ 0 h 4"/>
                <a:gd name="T12" fmla="*/ 5 w 11"/>
                <a:gd name="T13" fmla="*/ 0 h 4"/>
                <a:gd name="T14" fmla="*/ 2 w 11"/>
                <a:gd name="T15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2" y="3"/>
                  </a:moveTo>
                  <a:lnTo>
                    <a:pt x="0" y="4"/>
                  </a:lnTo>
                  <a:lnTo>
                    <a:pt x="3" y="3"/>
                  </a:lnTo>
                  <a:lnTo>
                    <a:pt x="8" y="3"/>
                  </a:lnTo>
                  <a:lnTo>
                    <a:pt x="11" y="1"/>
                  </a:lnTo>
                  <a:lnTo>
                    <a:pt x="8" y="0"/>
                  </a:lnTo>
                  <a:lnTo>
                    <a:pt x="5" y="0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85" name="Freeform 219"/>
            <p:cNvSpPr>
              <a:spLocks/>
            </p:cNvSpPr>
            <p:nvPr/>
          </p:nvSpPr>
          <p:spPr bwMode="auto">
            <a:xfrm>
              <a:off x="6294247" y="2207363"/>
              <a:ext cx="24997" cy="3385"/>
            </a:xfrm>
            <a:custGeom>
              <a:avLst/>
              <a:gdLst>
                <a:gd name="T0" fmla="*/ 13 w 34"/>
                <a:gd name="T1" fmla="*/ 3 h 5"/>
                <a:gd name="T2" fmla="*/ 11 w 34"/>
                <a:gd name="T3" fmla="*/ 3 h 5"/>
                <a:gd name="T4" fmla="*/ 8 w 34"/>
                <a:gd name="T5" fmla="*/ 3 h 5"/>
                <a:gd name="T6" fmla="*/ 5 w 34"/>
                <a:gd name="T7" fmla="*/ 3 h 5"/>
                <a:gd name="T8" fmla="*/ 0 w 34"/>
                <a:gd name="T9" fmla="*/ 3 h 5"/>
                <a:gd name="T10" fmla="*/ 18 w 34"/>
                <a:gd name="T11" fmla="*/ 5 h 5"/>
                <a:gd name="T12" fmla="*/ 34 w 34"/>
                <a:gd name="T13" fmla="*/ 5 h 5"/>
                <a:gd name="T14" fmla="*/ 29 w 34"/>
                <a:gd name="T15" fmla="*/ 3 h 5"/>
                <a:gd name="T16" fmla="*/ 26 w 34"/>
                <a:gd name="T17" fmla="*/ 3 h 5"/>
                <a:gd name="T18" fmla="*/ 24 w 34"/>
                <a:gd name="T19" fmla="*/ 2 h 5"/>
                <a:gd name="T20" fmla="*/ 21 w 34"/>
                <a:gd name="T21" fmla="*/ 0 h 5"/>
                <a:gd name="T22" fmla="*/ 16 w 34"/>
                <a:gd name="T23" fmla="*/ 2 h 5"/>
                <a:gd name="T24" fmla="*/ 13 w 34"/>
                <a:gd name="T2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5">
                  <a:moveTo>
                    <a:pt x="13" y="3"/>
                  </a:moveTo>
                  <a:lnTo>
                    <a:pt x="11" y="3"/>
                  </a:lnTo>
                  <a:lnTo>
                    <a:pt x="8" y="3"/>
                  </a:lnTo>
                  <a:lnTo>
                    <a:pt x="5" y="3"/>
                  </a:lnTo>
                  <a:lnTo>
                    <a:pt x="0" y="3"/>
                  </a:lnTo>
                  <a:lnTo>
                    <a:pt x="18" y="5"/>
                  </a:lnTo>
                  <a:lnTo>
                    <a:pt x="34" y="5"/>
                  </a:lnTo>
                  <a:lnTo>
                    <a:pt x="29" y="3"/>
                  </a:lnTo>
                  <a:lnTo>
                    <a:pt x="26" y="3"/>
                  </a:lnTo>
                  <a:lnTo>
                    <a:pt x="24" y="2"/>
                  </a:lnTo>
                  <a:lnTo>
                    <a:pt x="21" y="0"/>
                  </a:lnTo>
                  <a:lnTo>
                    <a:pt x="16" y="2"/>
                  </a:lnTo>
                  <a:lnTo>
                    <a:pt x="13" y="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86" name="Freeform 220"/>
            <p:cNvSpPr>
              <a:spLocks/>
            </p:cNvSpPr>
            <p:nvPr/>
          </p:nvSpPr>
          <p:spPr bwMode="auto">
            <a:xfrm>
              <a:off x="6326595" y="2200593"/>
              <a:ext cx="5881" cy="1692"/>
            </a:xfrm>
            <a:custGeom>
              <a:avLst/>
              <a:gdLst>
                <a:gd name="T0" fmla="*/ 0 w 8"/>
                <a:gd name="T1" fmla="*/ 0 w 8"/>
                <a:gd name="T2" fmla="*/ 3 w 8"/>
                <a:gd name="T3" fmla="*/ 8 w 8"/>
                <a:gd name="T4" fmla="*/ 3 w 8"/>
                <a:gd name="T5" fmla="*/ 0 w 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</a:cxnLst>
              <a:rect l="0" t="0" r="r" b="b"/>
              <a:pathLst>
                <a:path w="8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8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87" name="Freeform 221"/>
            <p:cNvSpPr>
              <a:spLocks/>
            </p:cNvSpPr>
            <p:nvPr/>
          </p:nvSpPr>
          <p:spPr bwMode="auto">
            <a:xfrm>
              <a:off x="6326595" y="2200593"/>
              <a:ext cx="27938" cy="5077"/>
            </a:xfrm>
            <a:custGeom>
              <a:avLst/>
              <a:gdLst>
                <a:gd name="T0" fmla="*/ 3 w 36"/>
                <a:gd name="T1" fmla="*/ 5 h 7"/>
                <a:gd name="T2" fmla="*/ 3 w 36"/>
                <a:gd name="T3" fmla="*/ 5 h 7"/>
                <a:gd name="T4" fmla="*/ 11 w 36"/>
                <a:gd name="T5" fmla="*/ 7 h 7"/>
                <a:gd name="T6" fmla="*/ 20 w 36"/>
                <a:gd name="T7" fmla="*/ 7 h 7"/>
                <a:gd name="T8" fmla="*/ 28 w 36"/>
                <a:gd name="T9" fmla="*/ 5 h 7"/>
                <a:gd name="T10" fmla="*/ 36 w 36"/>
                <a:gd name="T11" fmla="*/ 3 h 7"/>
                <a:gd name="T12" fmla="*/ 33 w 36"/>
                <a:gd name="T13" fmla="*/ 3 h 7"/>
                <a:gd name="T14" fmla="*/ 30 w 36"/>
                <a:gd name="T15" fmla="*/ 2 h 7"/>
                <a:gd name="T16" fmla="*/ 25 w 36"/>
                <a:gd name="T17" fmla="*/ 2 h 7"/>
                <a:gd name="T18" fmla="*/ 22 w 36"/>
                <a:gd name="T19" fmla="*/ 0 h 7"/>
                <a:gd name="T20" fmla="*/ 14 w 36"/>
                <a:gd name="T21" fmla="*/ 0 h 7"/>
                <a:gd name="T22" fmla="*/ 11 w 36"/>
                <a:gd name="T23" fmla="*/ 2 h 7"/>
                <a:gd name="T24" fmla="*/ 8 w 36"/>
                <a:gd name="T25" fmla="*/ 3 h 7"/>
                <a:gd name="T26" fmla="*/ 3 w 36"/>
                <a:gd name="T27" fmla="*/ 3 h 7"/>
                <a:gd name="T28" fmla="*/ 0 w 36"/>
                <a:gd name="T29" fmla="*/ 3 h 7"/>
                <a:gd name="T30" fmla="*/ 3 w 36"/>
                <a:gd name="T31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6" h="7">
                  <a:moveTo>
                    <a:pt x="3" y="5"/>
                  </a:moveTo>
                  <a:lnTo>
                    <a:pt x="3" y="5"/>
                  </a:lnTo>
                  <a:lnTo>
                    <a:pt x="11" y="7"/>
                  </a:lnTo>
                  <a:lnTo>
                    <a:pt x="20" y="7"/>
                  </a:lnTo>
                  <a:lnTo>
                    <a:pt x="28" y="5"/>
                  </a:lnTo>
                  <a:lnTo>
                    <a:pt x="36" y="3"/>
                  </a:lnTo>
                  <a:lnTo>
                    <a:pt x="33" y="3"/>
                  </a:lnTo>
                  <a:lnTo>
                    <a:pt x="30" y="2"/>
                  </a:lnTo>
                  <a:lnTo>
                    <a:pt x="25" y="2"/>
                  </a:lnTo>
                  <a:lnTo>
                    <a:pt x="22" y="0"/>
                  </a:lnTo>
                  <a:lnTo>
                    <a:pt x="14" y="0"/>
                  </a:lnTo>
                  <a:lnTo>
                    <a:pt x="11" y="2"/>
                  </a:lnTo>
                  <a:lnTo>
                    <a:pt x="8" y="3"/>
                  </a:lnTo>
                  <a:lnTo>
                    <a:pt x="3" y="3"/>
                  </a:lnTo>
                  <a:lnTo>
                    <a:pt x="0" y="3"/>
                  </a:lnTo>
                  <a:lnTo>
                    <a:pt x="3" y="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88" name="Freeform 222"/>
            <p:cNvSpPr>
              <a:spLocks/>
            </p:cNvSpPr>
            <p:nvPr/>
          </p:nvSpPr>
          <p:spPr bwMode="auto">
            <a:xfrm>
              <a:off x="6336887" y="2193823"/>
              <a:ext cx="8822" cy="3385"/>
            </a:xfrm>
            <a:custGeom>
              <a:avLst/>
              <a:gdLst>
                <a:gd name="T0" fmla="*/ 5 w 11"/>
                <a:gd name="T1" fmla="*/ 3 h 3"/>
                <a:gd name="T2" fmla="*/ 8 w 11"/>
                <a:gd name="T3" fmla="*/ 3 h 3"/>
                <a:gd name="T4" fmla="*/ 11 w 11"/>
                <a:gd name="T5" fmla="*/ 3 h 3"/>
                <a:gd name="T6" fmla="*/ 8 w 11"/>
                <a:gd name="T7" fmla="*/ 1 h 3"/>
                <a:gd name="T8" fmla="*/ 5 w 11"/>
                <a:gd name="T9" fmla="*/ 0 h 3"/>
                <a:gd name="T10" fmla="*/ 0 w 11"/>
                <a:gd name="T11" fmla="*/ 0 h 3"/>
                <a:gd name="T12" fmla="*/ 5 w 11"/>
                <a:gd name="T1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3">
                  <a:moveTo>
                    <a:pt x="5" y="3"/>
                  </a:moveTo>
                  <a:lnTo>
                    <a:pt x="8" y="3"/>
                  </a:lnTo>
                  <a:lnTo>
                    <a:pt x="11" y="3"/>
                  </a:lnTo>
                  <a:lnTo>
                    <a:pt x="8" y="1"/>
                  </a:lnTo>
                  <a:lnTo>
                    <a:pt x="5" y="0"/>
                  </a:lnTo>
                  <a:lnTo>
                    <a:pt x="0" y="0"/>
                  </a:lnTo>
                  <a:lnTo>
                    <a:pt x="5" y="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89" name="Freeform 223"/>
            <p:cNvSpPr>
              <a:spLocks/>
            </p:cNvSpPr>
            <p:nvPr/>
          </p:nvSpPr>
          <p:spPr bwMode="auto">
            <a:xfrm>
              <a:off x="6345709" y="2178591"/>
              <a:ext cx="5881" cy="1692"/>
            </a:xfrm>
            <a:custGeom>
              <a:avLst/>
              <a:gdLst>
                <a:gd name="T0" fmla="*/ 5 w 8"/>
                <a:gd name="T1" fmla="*/ 1 h 1"/>
                <a:gd name="T2" fmla="*/ 5 w 8"/>
                <a:gd name="T3" fmla="*/ 1 h 1"/>
                <a:gd name="T4" fmla="*/ 8 w 8"/>
                <a:gd name="T5" fmla="*/ 1 h 1"/>
                <a:gd name="T6" fmla="*/ 5 w 8"/>
                <a:gd name="T7" fmla="*/ 0 h 1"/>
                <a:gd name="T8" fmla="*/ 0 w 8"/>
                <a:gd name="T9" fmla="*/ 0 h 1"/>
                <a:gd name="T10" fmla="*/ 5 w 8"/>
                <a:gd name="T1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">
                  <a:moveTo>
                    <a:pt x="5" y="1"/>
                  </a:moveTo>
                  <a:lnTo>
                    <a:pt x="5" y="1"/>
                  </a:lnTo>
                  <a:lnTo>
                    <a:pt x="8" y="1"/>
                  </a:lnTo>
                  <a:lnTo>
                    <a:pt x="5" y="0"/>
                  </a:lnTo>
                  <a:lnTo>
                    <a:pt x="0" y="0"/>
                  </a:lnTo>
                  <a:lnTo>
                    <a:pt x="5" y="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90" name="Freeform 224"/>
            <p:cNvSpPr>
              <a:spLocks/>
            </p:cNvSpPr>
            <p:nvPr/>
          </p:nvSpPr>
          <p:spPr bwMode="auto">
            <a:xfrm>
              <a:off x="6348650" y="2188746"/>
              <a:ext cx="33819" cy="5077"/>
            </a:xfrm>
            <a:custGeom>
              <a:avLst/>
              <a:gdLst>
                <a:gd name="T0" fmla="*/ 1 w 46"/>
                <a:gd name="T1" fmla="*/ 1 h 4"/>
                <a:gd name="T2" fmla="*/ 0 w 46"/>
                <a:gd name="T3" fmla="*/ 1 h 4"/>
                <a:gd name="T4" fmla="*/ 5 w 46"/>
                <a:gd name="T5" fmla="*/ 3 h 4"/>
                <a:gd name="T6" fmla="*/ 11 w 46"/>
                <a:gd name="T7" fmla="*/ 3 h 4"/>
                <a:gd name="T8" fmla="*/ 14 w 46"/>
                <a:gd name="T9" fmla="*/ 1 h 4"/>
                <a:gd name="T10" fmla="*/ 19 w 46"/>
                <a:gd name="T11" fmla="*/ 3 h 4"/>
                <a:gd name="T12" fmla="*/ 22 w 46"/>
                <a:gd name="T13" fmla="*/ 4 h 4"/>
                <a:gd name="T14" fmla="*/ 33 w 46"/>
                <a:gd name="T15" fmla="*/ 3 h 4"/>
                <a:gd name="T16" fmla="*/ 46 w 46"/>
                <a:gd name="T17" fmla="*/ 1 h 4"/>
                <a:gd name="T18" fmla="*/ 33 w 46"/>
                <a:gd name="T19" fmla="*/ 1 h 4"/>
                <a:gd name="T20" fmla="*/ 24 w 46"/>
                <a:gd name="T21" fmla="*/ 0 h 4"/>
                <a:gd name="T22" fmla="*/ 12 w 46"/>
                <a:gd name="T23" fmla="*/ 0 h 4"/>
                <a:gd name="T24" fmla="*/ 1 w 46"/>
                <a:gd name="T2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" h="4">
                  <a:moveTo>
                    <a:pt x="1" y="1"/>
                  </a:moveTo>
                  <a:lnTo>
                    <a:pt x="0" y="1"/>
                  </a:lnTo>
                  <a:lnTo>
                    <a:pt x="5" y="3"/>
                  </a:lnTo>
                  <a:lnTo>
                    <a:pt x="11" y="3"/>
                  </a:lnTo>
                  <a:lnTo>
                    <a:pt x="14" y="1"/>
                  </a:lnTo>
                  <a:lnTo>
                    <a:pt x="19" y="3"/>
                  </a:lnTo>
                  <a:lnTo>
                    <a:pt x="22" y="4"/>
                  </a:lnTo>
                  <a:lnTo>
                    <a:pt x="33" y="3"/>
                  </a:lnTo>
                  <a:lnTo>
                    <a:pt x="46" y="1"/>
                  </a:lnTo>
                  <a:lnTo>
                    <a:pt x="33" y="1"/>
                  </a:lnTo>
                  <a:lnTo>
                    <a:pt x="24" y="0"/>
                  </a:lnTo>
                  <a:lnTo>
                    <a:pt x="12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91" name="Freeform 225"/>
            <p:cNvSpPr>
              <a:spLocks/>
            </p:cNvSpPr>
            <p:nvPr/>
          </p:nvSpPr>
          <p:spPr bwMode="auto">
            <a:xfrm>
              <a:off x="6351590" y="2195516"/>
              <a:ext cx="8822" cy="3385"/>
            </a:xfrm>
            <a:custGeom>
              <a:avLst/>
              <a:gdLst>
                <a:gd name="T0" fmla="*/ 0 w 11"/>
                <a:gd name="T1" fmla="*/ 2 h 4"/>
                <a:gd name="T2" fmla="*/ 0 w 11"/>
                <a:gd name="T3" fmla="*/ 4 h 4"/>
                <a:gd name="T4" fmla="*/ 6 w 11"/>
                <a:gd name="T5" fmla="*/ 4 h 4"/>
                <a:gd name="T6" fmla="*/ 11 w 11"/>
                <a:gd name="T7" fmla="*/ 2 h 4"/>
                <a:gd name="T8" fmla="*/ 6 w 11"/>
                <a:gd name="T9" fmla="*/ 0 h 4"/>
                <a:gd name="T10" fmla="*/ 3 w 11"/>
                <a:gd name="T11" fmla="*/ 0 h 4"/>
                <a:gd name="T12" fmla="*/ 0 w 11"/>
                <a:gd name="T13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4">
                  <a:moveTo>
                    <a:pt x="0" y="2"/>
                  </a:moveTo>
                  <a:lnTo>
                    <a:pt x="0" y="4"/>
                  </a:lnTo>
                  <a:lnTo>
                    <a:pt x="6" y="4"/>
                  </a:lnTo>
                  <a:lnTo>
                    <a:pt x="11" y="2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92" name="Freeform 226"/>
            <p:cNvSpPr>
              <a:spLocks/>
            </p:cNvSpPr>
            <p:nvPr/>
          </p:nvSpPr>
          <p:spPr bwMode="auto">
            <a:xfrm>
              <a:off x="6354531" y="2183670"/>
              <a:ext cx="55873" cy="10155"/>
            </a:xfrm>
            <a:custGeom>
              <a:avLst/>
              <a:gdLst>
                <a:gd name="T0" fmla="*/ 0 w 74"/>
                <a:gd name="T1" fmla="*/ 3 h 11"/>
                <a:gd name="T2" fmla="*/ 17 w 74"/>
                <a:gd name="T3" fmla="*/ 5 h 11"/>
                <a:gd name="T4" fmla="*/ 36 w 74"/>
                <a:gd name="T5" fmla="*/ 8 h 11"/>
                <a:gd name="T6" fmla="*/ 39 w 74"/>
                <a:gd name="T7" fmla="*/ 8 h 11"/>
                <a:gd name="T8" fmla="*/ 44 w 74"/>
                <a:gd name="T9" fmla="*/ 8 h 11"/>
                <a:gd name="T10" fmla="*/ 47 w 74"/>
                <a:gd name="T11" fmla="*/ 8 h 11"/>
                <a:gd name="T12" fmla="*/ 52 w 74"/>
                <a:gd name="T13" fmla="*/ 8 h 11"/>
                <a:gd name="T14" fmla="*/ 55 w 74"/>
                <a:gd name="T15" fmla="*/ 10 h 11"/>
                <a:gd name="T16" fmla="*/ 60 w 74"/>
                <a:gd name="T17" fmla="*/ 10 h 11"/>
                <a:gd name="T18" fmla="*/ 65 w 74"/>
                <a:gd name="T19" fmla="*/ 11 h 11"/>
                <a:gd name="T20" fmla="*/ 70 w 74"/>
                <a:gd name="T21" fmla="*/ 10 h 11"/>
                <a:gd name="T22" fmla="*/ 74 w 74"/>
                <a:gd name="T23" fmla="*/ 8 h 11"/>
                <a:gd name="T24" fmla="*/ 65 w 74"/>
                <a:gd name="T25" fmla="*/ 7 h 11"/>
                <a:gd name="T26" fmla="*/ 55 w 74"/>
                <a:gd name="T27" fmla="*/ 7 h 11"/>
                <a:gd name="T28" fmla="*/ 46 w 74"/>
                <a:gd name="T29" fmla="*/ 3 h 11"/>
                <a:gd name="T30" fmla="*/ 36 w 74"/>
                <a:gd name="T31" fmla="*/ 2 h 11"/>
                <a:gd name="T32" fmla="*/ 27 w 74"/>
                <a:gd name="T33" fmla="*/ 3 h 11"/>
                <a:gd name="T34" fmla="*/ 19 w 74"/>
                <a:gd name="T35" fmla="*/ 2 h 11"/>
                <a:gd name="T36" fmla="*/ 14 w 74"/>
                <a:gd name="T37" fmla="*/ 2 h 11"/>
                <a:gd name="T38" fmla="*/ 11 w 74"/>
                <a:gd name="T39" fmla="*/ 2 h 11"/>
                <a:gd name="T40" fmla="*/ 6 w 74"/>
                <a:gd name="T41" fmla="*/ 2 h 11"/>
                <a:gd name="T42" fmla="*/ 3 w 74"/>
                <a:gd name="T43" fmla="*/ 0 h 11"/>
                <a:gd name="T44" fmla="*/ 0 w 74"/>
                <a:gd name="T45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4" h="11">
                  <a:moveTo>
                    <a:pt x="0" y="3"/>
                  </a:moveTo>
                  <a:lnTo>
                    <a:pt x="17" y="5"/>
                  </a:lnTo>
                  <a:lnTo>
                    <a:pt x="36" y="8"/>
                  </a:lnTo>
                  <a:lnTo>
                    <a:pt x="39" y="8"/>
                  </a:lnTo>
                  <a:lnTo>
                    <a:pt x="44" y="8"/>
                  </a:lnTo>
                  <a:lnTo>
                    <a:pt x="47" y="8"/>
                  </a:lnTo>
                  <a:lnTo>
                    <a:pt x="52" y="8"/>
                  </a:lnTo>
                  <a:lnTo>
                    <a:pt x="55" y="10"/>
                  </a:lnTo>
                  <a:lnTo>
                    <a:pt x="60" y="10"/>
                  </a:lnTo>
                  <a:lnTo>
                    <a:pt x="65" y="11"/>
                  </a:lnTo>
                  <a:lnTo>
                    <a:pt x="70" y="10"/>
                  </a:lnTo>
                  <a:lnTo>
                    <a:pt x="74" y="8"/>
                  </a:lnTo>
                  <a:lnTo>
                    <a:pt x="65" y="7"/>
                  </a:lnTo>
                  <a:lnTo>
                    <a:pt x="55" y="7"/>
                  </a:lnTo>
                  <a:lnTo>
                    <a:pt x="46" y="3"/>
                  </a:lnTo>
                  <a:lnTo>
                    <a:pt x="36" y="2"/>
                  </a:lnTo>
                  <a:lnTo>
                    <a:pt x="27" y="3"/>
                  </a:lnTo>
                  <a:lnTo>
                    <a:pt x="19" y="2"/>
                  </a:lnTo>
                  <a:lnTo>
                    <a:pt x="14" y="2"/>
                  </a:lnTo>
                  <a:lnTo>
                    <a:pt x="11" y="2"/>
                  </a:lnTo>
                  <a:lnTo>
                    <a:pt x="6" y="2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93" name="Freeform 227"/>
            <p:cNvSpPr>
              <a:spLocks/>
            </p:cNvSpPr>
            <p:nvPr/>
          </p:nvSpPr>
          <p:spPr bwMode="auto">
            <a:xfrm>
              <a:off x="6361883" y="2197209"/>
              <a:ext cx="5881" cy="3385"/>
            </a:xfrm>
            <a:custGeom>
              <a:avLst/>
              <a:gdLst>
                <a:gd name="T0" fmla="*/ 0 w 8"/>
                <a:gd name="T1" fmla="*/ 3 h 3"/>
                <a:gd name="T2" fmla="*/ 0 w 8"/>
                <a:gd name="T3" fmla="*/ 3 h 3"/>
                <a:gd name="T4" fmla="*/ 3 w 8"/>
                <a:gd name="T5" fmla="*/ 3 h 3"/>
                <a:gd name="T6" fmla="*/ 8 w 8"/>
                <a:gd name="T7" fmla="*/ 2 h 3"/>
                <a:gd name="T8" fmla="*/ 3 w 8"/>
                <a:gd name="T9" fmla="*/ 0 h 3"/>
                <a:gd name="T10" fmla="*/ 0 w 8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3">
                  <a:moveTo>
                    <a:pt x="0" y="3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8" y="2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94" name="Freeform 228"/>
            <p:cNvSpPr>
              <a:spLocks/>
            </p:cNvSpPr>
            <p:nvPr/>
          </p:nvSpPr>
          <p:spPr bwMode="auto">
            <a:xfrm>
              <a:off x="6370706" y="2491692"/>
              <a:ext cx="39700" cy="22001"/>
            </a:xfrm>
            <a:custGeom>
              <a:avLst/>
              <a:gdLst>
                <a:gd name="T0" fmla="*/ 45 w 56"/>
                <a:gd name="T1" fmla="*/ 7 h 27"/>
                <a:gd name="T2" fmla="*/ 30 w 56"/>
                <a:gd name="T3" fmla="*/ 2 h 27"/>
                <a:gd name="T4" fmla="*/ 16 w 56"/>
                <a:gd name="T5" fmla="*/ 0 h 27"/>
                <a:gd name="T6" fmla="*/ 13 w 56"/>
                <a:gd name="T7" fmla="*/ 0 h 27"/>
                <a:gd name="T8" fmla="*/ 8 w 56"/>
                <a:gd name="T9" fmla="*/ 2 h 27"/>
                <a:gd name="T10" fmla="*/ 5 w 56"/>
                <a:gd name="T11" fmla="*/ 4 h 27"/>
                <a:gd name="T12" fmla="*/ 2 w 56"/>
                <a:gd name="T13" fmla="*/ 7 h 27"/>
                <a:gd name="T14" fmla="*/ 0 w 56"/>
                <a:gd name="T15" fmla="*/ 11 h 27"/>
                <a:gd name="T16" fmla="*/ 2 w 56"/>
                <a:gd name="T17" fmla="*/ 15 h 27"/>
                <a:gd name="T18" fmla="*/ 4 w 56"/>
                <a:gd name="T19" fmla="*/ 18 h 27"/>
                <a:gd name="T20" fmla="*/ 4 w 56"/>
                <a:gd name="T21" fmla="*/ 21 h 27"/>
                <a:gd name="T22" fmla="*/ 11 w 56"/>
                <a:gd name="T23" fmla="*/ 24 h 27"/>
                <a:gd name="T24" fmla="*/ 15 w 56"/>
                <a:gd name="T25" fmla="*/ 27 h 27"/>
                <a:gd name="T26" fmla="*/ 19 w 56"/>
                <a:gd name="T27" fmla="*/ 27 h 27"/>
                <a:gd name="T28" fmla="*/ 29 w 56"/>
                <a:gd name="T29" fmla="*/ 26 h 27"/>
                <a:gd name="T30" fmla="*/ 32 w 56"/>
                <a:gd name="T31" fmla="*/ 26 h 27"/>
                <a:gd name="T32" fmla="*/ 35 w 56"/>
                <a:gd name="T33" fmla="*/ 24 h 27"/>
                <a:gd name="T34" fmla="*/ 38 w 56"/>
                <a:gd name="T35" fmla="*/ 23 h 27"/>
                <a:gd name="T36" fmla="*/ 43 w 56"/>
                <a:gd name="T37" fmla="*/ 21 h 27"/>
                <a:gd name="T38" fmla="*/ 46 w 56"/>
                <a:gd name="T39" fmla="*/ 18 h 27"/>
                <a:gd name="T40" fmla="*/ 48 w 56"/>
                <a:gd name="T41" fmla="*/ 15 h 27"/>
                <a:gd name="T42" fmla="*/ 50 w 56"/>
                <a:gd name="T43" fmla="*/ 15 h 27"/>
                <a:gd name="T44" fmla="*/ 53 w 56"/>
                <a:gd name="T45" fmla="*/ 13 h 27"/>
                <a:gd name="T46" fmla="*/ 54 w 56"/>
                <a:gd name="T47" fmla="*/ 16 h 27"/>
                <a:gd name="T48" fmla="*/ 56 w 56"/>
                <a:gd name="T49" fmla="*/ 13 h 27"/>
                <a:gd name="T50" fmla="*/ 53 w 56"/>
                <a:gd name="T51" fmla="*/ 10 h 27"/>
                <a:gd name="T52" fmla="*/ 50 w 56"/>
                <a:gd name="T53" fmla="*/ 8 h 27"/>
                <a:gd name="T54" fmla="*/ 45 w 56"/>
                <a:gd name="T55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6" h="27">
                  <a:moveTo>
                    <a:pt x="45" y="7"/>
                  </a:moveTo>
                  <a:lnTo>
                    <a:pt x="30" y="2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8" y="2"/>
                  </a:lnTo>
                  <a:lnTo>
                    <a:pt x="5" y="4"/>
                  </a:lnTo>
                  <a:lnTo>
                    <a:pt x="2" y="7"/>
                  </a:lnTo>
                  <a:lnTo>
                    <a:pt x="0" y="11"/>
                  </a:lnTo>
                  <a:lnTo>
                    <a:pt x="2" y="15"/>
                  </a:lnTo>
                  <a:lnTo>
                    <a:pt x="4" y="18"/>
                  </a:lnTo>
                  <a:lnTo>
                    <a:pt x="4" y="21"/>
                  </a:lnTo>
                  <a:lnTo>
                    <a:pt x="11" y="24"/>
                  </a:lnTo>
                  <a:lnTo>
                    <a:pt x="15" y="27"/>
                  </a:lnTo>
                  <a:lnTo>
                    <a:pt x="19" y="27"/>
                  </a:lnTo>
                  <a:lnTo>
                    <a:pt x="29" y="26"/>
                  </a:lnTo>
                  <a:lnTo>
                    <a:pt x="32" y="26"/>
                  </a:lnTo>
                  <a:lnTo>
                    <a:pt x="35" y="24"/>
                  </a:lnTo>
                  <a:lnTo>
                    <a:pt x="38" y="23"/>
                  </a:lnTo>
                  <a:lnTo>
                    <a:pt x="43" y="21"/>
                  </a:lnTo>
                  <a:lnTo>
                    <a:pt x="46" y="18"/>
                  </a:lnTo>
                  <a:lnTo>
                    <a:pt x="48" y="15"/>
                  </a:lnTo>
                  <a:lnTo>
                    <a:pt x="50" y="15"/>
                  </a:lnTo>
                  <a:lnTo>
                    <a:pt x="53" y="13"/>
                  </a:lnTo>
                  <a:lnTo>
                    <a:pt x="54" y="16"/>
                  </a:lnTo>
                  <a:lnTo>
                    <a:pt x="56" y="13"/>
                  </a:lnTo>
                  <a:lnTo>
                    <a:pt x="53" y="10"/>
                  </a:lnTo>
                  <a:lnTo>
                    <a:pt x="50" y="8"/>
                  </a:lnTo>
                  <a:lnTo>
                    <a:pt x="45" y="7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95" name="Freeform 229"/>
            <p:cNvSpPr>
              <a:spLocks/>
            </p:cNvSpPr>
            <p:nvPr/>
          </p:nvSpPr>
          <p:spPr bwMode="auto">
            <a:xfrm>
              <a:off x="6370706" y="2200593"/>
              <a:ext cx="8822" cy="3385"/>
            </a:xfrm>
            <a:custGeom>
              <a:avLst/>
              <a:gdLst>
                <a:gd name="T0" fmla="*/ 0 w 11"/>
                <a:gd name="T1" fmla="*/ 1 h 3"/>
                <a:gd name="T2" fmla="*/ 0 w 11"/>
                <a:gd name="T3" fmla="*/ 3 h 3"/>
                <a:gd name="T4" fmla="*/ 3 w 11"/>
                <a:gd name="T5" fmla="*/ 3 h 3"/>
                <a:gd name="T6" fmla="*/ 8 w 11"/>
                <a:gd name="T7" fmla="*/ 3 h 3"/>
                <a:gd name="T8" fmla="*/ 11 w 11"/>
                <a:gd name="T9" fmla="*/ 0 h 3"/>
                <a:gd name="T10" fmla="*/ 6 w 11"/>
                <a:gd name="T11" fmla="*/ 0 h 3"/>
                <a:gd name="T12" fmla="*/ 3 w 11"/>
                <a:gd name="T13" fmla="*/ 1 h 3"/>
                <a:gd name="T14" fmla="*/ 0 w 11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3">
                  <a:moveTo>
                    <a:pt x="0" y="1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8" y="3"/>
                  </a:lnTo>
                  <a:lnTo>
                    <a:pt x="11" y="0"/>
                  </a:lnTo>
                  <a:lnTo>
                    <a:pt x="6" y="0"/>
                  </a:lnTo>
                  <a:lnTo>
                    <a:pt x="3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96" name="Freeform 230"/>
            <p:cNvSpPr>
              <a:spLocks/>
            </p:cNvSpPr>
            <p:nvPr/>
          </p:nvSpPr>
          <p:spPr bwMode="auto">
            <a:xfrm>
              <a:off x="6372176" y="2198902"/>
              <a:ext cx="2941" cy="1692"/>
            </a:xfrm>
            <a:custGeom>
              <a:avLst/>
              <a:gdLst>
                <a:gd name="T0" fmla="*/ 0 w 3"/>
                <a:gd name="T1" fmla="*/ 1 h 1"/>
                <a:gd name="T2" fmla="*/ 0 w 3"/>
                <a:gd name="T3" fmla="*/ 1 h 1"/>
                <a:gd name="T4" fmla="*/ 3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lnTo>
                    <a:pt x="0" y="1"/>
                  </a:lnTo>
                  <a:lnTo>
                    <a:pt x="3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97" name="Freeform 231"/>
            <p:cNvSpPr>
              <a:spLocks/>
            </p:cNvSpPr>
            <p:nvPr/>
          </p:nvSpPr>
          <p:spPr bwMode="auto">
            <a:xfrm>
              <a:off x="6380998" y="2183670"/>
              <a:ext cx="35289" cy="5077"/>
            </a:xfrm>
            <a:custGeom>
              <a:avLst/>
              <a:gdLst>
                <a:gd name="T0" fmla="*/ 0 w 49"/>
                <a:gd name="T1" fmla="*/ 0 h 7"/>
                <a:gd name="T2" fmla="*/ 0 w 49"/>
                <a:gd name="T3" fmla="*/ 2 h 7"/>
                <a:gd name="T4" fmla="*/ 11 w 49"/>
                <a:gd name="T5" fmla="*/ 2 h 7"/>
                <a:gd name="T6" fmla="*/ 22 w 49"/>
                <a:gd name="T7" fmla="*/ 5 h 7"/>
                <a:gd name="T8" fmla="*/ 27 w 49"/>
                <a:gd name="T9" fmla="*/ 5 h 7"/>
                <a:gd name="T10" fmla="*/ 30 w 49"/>
                <a:gd name="T11" fmla="*/ 7 h 7"/>
                <a:gd name="T12" fmla="*/ 35 w 49"/>
                <a:gd name="T13" fmla="*/ 7 h 7"/>
                <a:gd name="T14" fmla="*/ 38 w 49"/>
                <a:gd name="T15" fmla="*/ 7 h 7"/>
                <a:gd name="T16" fmla="*/ 41 w 49"/>
                <a:gd name="T17" fmla="*/ 7 h 7"/>
                <a:gd name="T18" fmla="*/ 46 w 49"/>
                <a:gd name="T19" fmla="*/ 7 h 7"/>
                <a:gd name="T20" fmla="*/ 49 w 49"/>
                <a:gd name="T21" fmla="*/ 5 h 7"/>
                <a:gd name="T22" fmla="*/ 36 w 49"/>
                <a:gd name="T23" fmla="*/ 3 h 7"/>
                <a:gd name="T24" fmla="*/ 25 w 49"/>
                <a:gd name="T25" fmla="*/ 2 h 7"/>
                <a:gd name="T26" fmla="*/ 12 w 49"/>
                <a:gd name="T27" fmla="*/ 0 h 7"/>
                <a:gd name="T28" fmla="*/ 0 w 49"/>
                <a:gd name="T2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" h="7">
                  <a:moveTo>
                    <a:pt x="0" y="0"/>
                  </a:moveTo>
                  <a:lnTo>
                    <a:pt x="0" y="2"/>
                  </a:lnTo>
                  <a:lnTo>
                    <a:pt x="11" y="2"/>
                  </a:lnTo>
                  <a:lnTo>
                    <a:pt x="22" y="5"/>
                  </a:lnTo>
                  <a:lnTo>
                    <a:pt x="27" y="5"/>
                  </a:lnTo>
                  <a:lnTo>
                    <a:pt x="30" y="7"/>
                  </a:lnTo>
                  <a:lnTo>
                    <a:pt x="35" y="7"/>
                  </a:lnTo>
                  <a:lnTo>
                    <a:pt x="38" y="7"/>
                  </a:lnTo>
                  <a:lnTo>
                    <a:pt x="41" y="7"/>
                  </a:lnTo>
                  <a:lnTo>
                    <a:pt x="46" y="7"/>
                  </a:lnTo>
                  <a:lnTo>
                    <a:pt x="49" y="5"/>
                  </a:lnTo>
                  <a:lnTo>
                    <a:pt x="36" y="3"/>
                  </a:lnTo>
                  <a:lnTo>
                    <a:pt x="25" y="2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98" name="Freeform 232"/>
            <p:cNvSpPr>
              <a:spLocks/>
            </p:cNvSpPr>
            <p:nvPr/>
          </p:nvSpPr>
          <p:spPr bwMode="auto">
            <a:xfrm>
              <a:off x="6383939" y="2200593"/>
              <a:ext cx="10293" cy="1692"/>
            </a:xfrm>
            <a:custGeom>
              <a:avLst/>
              <a:gdLst>
                <a:gd name="T0" fmla="*/ 0 w 13"/>
                <a:gd name="T1" fmla="*/ 0 w 13"/>
                <a:gd name="T2" fmla="*/ 8 w 13"/>
                <a:gd name="T3" fmla="*/ 13 w 13"/>
                <a:gd name="T4" fmla="*/ 8 w 13"/>
                <a:gd name="T5" fmla="*/ 5 w 13"/>
                <a:gd name="T6" fmla="*/ 0 w 1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</a:cxnLst>
              <a:rect l="0" t="0" r="r" b="b"/>
              <a:pathLst>
                <a:path w="13">
                  <a:moveTo>
                    <a:pt x="0" y="0"/>
                  </a:moveTo>
                  <a:lnTo>
                    <a:pt x="0" y="0"/>
                  </a:lnTo>
                  <a:lnTo>
                    <a:pt x="8" y="0"/>
                  </a:lnTo>
                  <a:lnTo>
                    <a:pt x="13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99" name="Freeform 233"/>
            <p:cNvSpPr>
              <a:spLocks/>
            </p:cNvSpPr>
            <p:nvPr/>
          </p:nvSpPr>
          <p:spPr bwMode="auto">
            <a:xfrm>
              <a:off x="6388350" y="2200593"/>
              <a:ext cx="22055" cy="6770"/>
            </a:xfrm>
            <a:custGeom>
              <a:avLst/>
              <a:gdLst>
                <a:gd name="T0" fmla="*/ 0 w 30"/>
                <a:gd name="T1" fmla="*/ 5 h 8"/>
                <a:gd name="T2" fmla="*/ 0 w 30"/>
                <a:gd name="T3" fmla="*/ 6 h 8"/>
                <a:gd name="T4" fmla="*/ 14 w 30"/>
                <a:gd name="T5" fmla="*/ 8 h 8"/>
                <a:gd name="T6" fmla="*/ 30 w 30"/>
                <a:gd name="T7" fmla="*/ 6 h 8"/>
                <a:gd name="T8" fmla="*/ 27 w 30"/>
                <a:gd name="T9" fmla="*/ 3 h 8"/>
                <a:gd name="T10" fmla="*/ 24 w 30"/>
                <a:gd name="T11" fmla="*/ 0 h 8"/>
                <a:gd name="T12" fmla="*/ 19 w 30"/>
                <a:gd name="T13" fmla="*/ 0 h 8"/>
                <a:gd name="T14" fmla="*/ 16 w 30"/>
                <a:gd name="T15" fmla="*/ 0 h 8"/>
                <a:gd name="T16" fmla="*/ 8 w 30"/>
                <a:gd name="T17" fmla="*/ 0 h 8"/>
                <a:gd name="T18" fmla="*/ 5 w 30"/>
                <a:gd name="T19" fmla="*/ 0 h 8"/>
                <a:gd name="T20" fmla="*/ 2 w 30"/>
                <a:gd name="T21" fmla="*/ 0 h 8"/>
                <a:gd name="T22" fmla="*/ 3 w 30"/>
                <a:gd name="T23" fmla="*/ 5 h 8"/>
                <a:gd name="T24" fmla="*/ 0 w 30"/>
                <a:gd name="T2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8">
                  <a:moveTo>
                    <a:pt x="0" y="5"/>
                  </a:moveTo>
                  <a:lnTo>
                    <a:pt x="0" y="6"/>
                  </a:lnTo>
                  <a:lnTo>
                    <a:pt x="14" y="8"/>
                  </a:lnTo>
                  <a:lnTo>
                    <a:pt x="30" y="6"/>
                  </a:lnTo>
                  <a:lnTo>
                    <a:pt x="27" y="3"/>
                  </a:lnTo>
                  <a:lnTo>
                    <a:pt x="24" y="0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3" y="5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00" name="Freeform 234"/>
            <p:cNvSpPr>
              <a:spLocks/>
            </p:cNvSpPr>
            <p:nvPr/>
          </p:nvSpPr>
          <p:spPr bwMode="auto">
            <a:xfrm>
              <a:off x="6388350" y="2175206"/>
              <a:ext cx="26467" cy="3385"/>
            </a:xfrm>
            <a:custGeom>
              <a:avLst/>
              <a:gdLst>
                <a:gd name="T0" fmla="*/ 30 w 37"/>
                <a:gd name="T1" fmla="*/ 5 h 5"/>
                <a:gd name="T2" fmla="*/ 33 w 37"/>
                <a:gd name="T3" fmla="*/ 5 h 5"/>
                <a:gd name="T4" fmla="*/ 37 w 37"/>
                <a:gd name="T5" fmla="*/ 3 h 5"/>
                <a:gd name="T6" fmla="*/ 29 w 37"/>
                <a:gd name="T7" fmla="*/ 2 h 5"/>
                <a:gd name="T8" fmla="*/ 18 w 37"/>
                <a:gd name="T9" fmla="*/ 0 h 5"/>
                <a:gd name="T10" fmla="*/ 10 w 37"/>
                <a:gd name="T11" fmla="*/ 0 h 5"/>
                <a:gd name="T12" fmla="*/ 0 w 37"/>
                <a:gd name="T13" fmla="*/ 3 h 5"/>
                <a:gd name="T14" fmla="*/ 14 w 37"/>
                <a:gd name="T15" fmla="*/ 3 h 5"/>
                <a:gd name="T16" fmla="*/ 30 w 37"/>
                <a:gd name="T1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5">
                  <a:moveTo>
                    <a:pt x="30" y="5"/>
                  </a:moveTo>
                  <a:lnTo>
                    <a:pt x="33" y="5"/>
                  </a:lnTo>
                  <a:lnTo>
                    <a:pt x="37" y="3"/>
                  </a:lnTo>
                  <a:lnTo>
                    <a:pt x="29" y="2"/>
                  </a:lnTo>
                  <a:lnTo>
                    <a:pt x="18" y="0"/>
                  </a:lnTo>
                  <a:lnTo>
                    <a:pt x="10" y="0"/>
                  </a:lnTo>
                  <a:lnTo>
                    <a:pt x="0" y="3"/>
                  </a:lnTo>
                  <a:lnTo>
                    <a:pt x="14" y="3"/>
                  </a:lnTo>
                  <a:lnTo>
                    <a:pt x="30" y="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01" name="Freeform 235"/>
            <p:cNvSpPr>
              <a:spLocks/>
            </p:cNvSpPr>
            <p:nvPr/>
          </p:nvSpPr>
          <p:spPr bwMode="auto">
            <a:xfrm>
              <a:off x="6394231" y="2197209"/>
              <a:ext cx="2941" cy="1692"/>
            </a:xfrm>
            <a:custGeom>
              <a:avLst/>
              <a:gdLst>
                <a:gd name="T0" fmla="*/ 0 w 3"/>
                <a:gd name="T1" fmla="*/ 0 w 3"/>
                <a:gd name="T2" fmla="*/ 3 w 3"/>
                <a:gd name="T3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02" name="Freeform 236"/>
            <p:cNvSpPr>
              <a:spLocks/>
            </p:cNvSpPr>
            <p:nvPr/>
          </p:nvSpPr>
          <p:spPr bwMode="auto">
            <a:xfrm>
              <a:off x="6405994" y="2193823"/>
              <a:ext cx="10293" cy="1692"/>
            </a:xfrm>
            <a:custGeom>
              <a:avLst/>
              <a:gdLst>
                <a:gd name="T0" fmla="*/ 0 w 14"/>
                <a:gd name="T1" fmla="*/ 0 h 1"/>
                <a:gd name="T2" fmla="*/ 0 w 14"/>
                <a:gd name="T3" fmla="*/ 1 h 1"/>
                <a:gd name="T4" fmla="*/ 3 w 14"/>
                <a:gd name="T5" fmla="*/ 1 h 1"/>
                <a:gd name="T6" fmla="*/ 6 w 14"/>
                <a:gd name="T7" fmla="*/ 1 h 1"/>
                <a:gd name="T8" fmla="*/ 11 w 14"/>
                <a:gd name="T9" fmla="*/ 1 h 1"/>
                <a:gd name="T10" fmla="*/ 14 w 14"/>
                <a:gd name="T11" fmla="*/ 0 h 1"/>
                <a:gd name="T12" fmla="*/ 3 w 14"/>
                <a:gd name="T13" fmla="*/ 0 h 1"/>
                <a:gd name="T14" fmla="*/ 0 w 14"/>
                <a:gd name="T1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1">
                  <a:moveTo>
                    <a:pt x="0" y="0"/>
                  </a:moveTo>
                  <a:lnTo>
                    <a:pt x="0" y="1"/>
                  </a:lnTo>
                  <a:lnTo>
                    <a:pt x="3" y="1"/>
                  </a:lnTo>
                  <a:lnTo>
                    <a:pt x="6" y="1"/>
                  </a:lnTo>
                  <a:lnTo>
                    <a:pt x="11" y="1"/>
                  </a:lnTo>
                  <a:lnTo>
                    <a:pt x="14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03" name="Freeform 237"/>
            <p:cNvSpPr>
              <a:spLocks/>
            </p:cNvSpPr>
            <p:nvPr/>
          </p:nvSpPr>
          <p:spPr bwMode="auto">
            <a:xfrm>
              <a:off x="6405994" y="2379992"/>
              <a:ext cx="127921" cy="81236"/>
            </a:xfrm>
            <a:custGeom>
              <a:avLst/>
              <a:gdLst>
                <a:gd name="T0" fmla="*/ 26 w 172"/>
                <a:gd name="T1" fmla="*/ 23 h 96"/>
                <a:gd name="T2" fmla="*/ 30 w 172"/>
                <a:gd name="T3" fmla="*/ 25 h 96"/>
                <a:gd name="T4" fmla="*/ 26 w 172"/>
                <a:gd name="T5" fmla="*/ 27 h 96"/>
                <a:gd name="T6" fmla="*/ 22 w 172"/>
                <a:gd name="T7" fmla="*/ 31 h 96"/>
                <a:gd name="T8" fmla="*/ 25 w 172"/>
                <a:gd name="T9" fmla="*/ 36 h 96"/>
                <a:gd name="T10" fmla="*/ 19 w 172"/>
                <a:gd name="T11" fmla="*/ 44 h 96"/>
                <a:gd name="T12" fmla="*/ 7 w 172"/>
                <a:gd name="T13" fmla="*/ 43 h 96"/>
                <a:gd name="T14" fmla="*/ 0 w 172"/>
                <a:gd name="T15" fmla="*/ 49 h 96"/>
                <a:gd name="T16" fmla="*/ 4 w 172"/>
                <a:gd name="T17" fmla="*/ 58 h 96"/>
                <a:gd name="T18" fmla="*/ 15 w 172"/>
                <a:gd name="T19" fmla="*/ 65 h 96"/>
                <a:gd name="T20" fmla="*/ 25 w 172"/>
                <a:gd name="T21" fmla="*/ 65 h 96"/>
                <a:gd name="T22" fmla="*/ 30 w 172"/>
                <a:gd name="T23" fmla="*/ 62 h 96"/>
                <a:gd name="T24" fmla="*/ 39 w 172"/>
                <a:gd name="T25" fmla="*/ 65 h 96"/>
                <a:gd name="T26" fmla="*/ 49 w 172"/>
                <a:gd name="T27" fmla="*/ 66 h 96"/>
                <a:gd name="T28" fmla="*/ 53 w 172"/>
                <a:gd name="T29" fmla="*/ 66 h 96"/>
                <a:gd name="T30" fmla="*/ 63 w 172"/>
                <a:gd name="T31" fmla="*/ 66 h 96"/>
                <a:gd name="T32" fmla="*/ 60 w 172"/>
                <a:gd name="T33" fmla="*/ 73 h 96"/>
                <a:gd name="T34" fmla="*/ 71 w 172"/>
                <a:gd name="T35" fmla="*/ 74 h 96"/>
                <a:gd name="T36" fmla="*/ 74 w 172"/>
                <a:gd name="T37" fmla="*/ 76 h 96"/>
                <a:gd name="T38" fmla="*/ 71 w 172"/>
                <a:gd name="T39" fmla="*/ 77 h 96"/>
                <a:gd name="T40" fmla="*/ 68 w 172"/>
                <a:gd name="T41" fmla="*/ 79 h 96"/>
                <a:gd name="T42" fmla="*/ 66 w 172"/>
                <a:gd name="T43" fmla="*/ 84 h 96"/>
                <a:gd name="T44" fmla="*/ 71 w 172"/>
                <a:gd name="T45" fmla="*/ 87 h 96"/>
                <a:gd name="T46" fmla="*/ 82 w 172"/>
                <a:gd name="T47" fmla="*/ 89 h 96"/>
                <a:gd name="T48" fmla="*/ 93 w 172"/>
                <a:gd name="T49" fmla="*/ 90 h 96"/>
                <a:gd name="T50" fmla="*/ 96 w 172"/>
                <a:gd name="T51" fmla="*/ 89 h 96"/>
                <a:gd name="T52" fmla="*/ 106 w 172"/>
                <a:gd name="T53" fmla="*/ 93 h 96"/>
                <a:gd name="T54" fmla="*/ 117 w 172"/>
                <a:gd name="T55" fmla="*/ 89 h 96"/>
                <a:gd name="T56" fmla="*/ 125 w 172"/>
                <a:gd name="T57" fmla="*/ 93 h 96"/>
                <a:gd name="T58" fmla="*/ 128 w 172"/>
                <a:gd name="T59" fmla="*/ 92 h 96"/>
                <a:gd name="T60" fmla="*/ 141 w 172"/>
                <a:gd name="T61" fmla="*/ 93 h 96"/>
                <a:gd name="T62" fmla="*/ 150 w 172"/>
                <a:gd name="T63" fmla="*/ 93 h 96"/>
                <a:gd name="T64" fmla="*/ 139 w 172"/>
                <a:gd name="T65" fmla="*/ 90 h 96"/>
                <a:gd name="T66" fmla="*/ 166 w 172"/>
                <a:gd name="T67" fmla="*/ 93 h 96"/>
                <a:gd name="T68" fmla="*/ 155 w 172"/>
                <a:gd name="T69" fmla="*/ 90 h 96"/>
                <a:gd name="T70" fmla="*/ 164 w 172"/>
                <a:gd name="T71" fmla="*/ 93 h 96"/>
                <a:gd name="T72" fmla="*/ 169 w 172"/>
                <a:gd name="T73" fmla="*/ 89 h 96"/>
                <a:gd name="T74" fmla="*/ 164 w 172"/>
                <a:gd name="T75" fmla="*/ 87 h 96"/>
                <a:gd name="T76" fmla="*/ 153 w 172"/>
                <a:gd name="T77" fmla="*/ 84 h 96"/>
                <a:gd name="T78" fmla="*/ 122 w 172"/>
                <a:gd name="T79" fmla="*/ 68 h 96"/>
                <a:gd name="T80" fmla="*/ 104 w 172"/>
                <a:gd name="T81" fmla="*/ 54 h 96"/>
                <a:gd name="T82" fmla="*/ 96 w 172"/>
                <a:gd name="T83" fmla="*/ 43 h 96"/>
                <a:gd name="T84" fmla="*/ 95 w 172"/>
                <a:gd name="T85" fmla="*/ 35 h 96"/>
                <a:gd name="T86" fmla="*/ 92 w 172"/>
                <a:gd name="T87" fmla="*/ 31 h 96"/>
                <a:gd name="T88" fmla="*/ 88 w 172"/>
                <a:gd name="T89" fmla="*/ 27 h 96"/>
                <a:gd name="T90" fmla="*/ 96 w 172"/>
                <a:gd name="T91" fmla="*/ 25 h 96"/>
                <a:gd name="T92" fmla="*/ 101 w 172"/>
                <a:gd name="T93" fmla="*/ 23 h 96"/>
                <a:gd name="T94" fmla="*/ 90 w 172"/>
                <a:gd name="T95" fmla="*/ 20 h 96"/>
                <a:gd name="T96" fmla="*/ 101 w 172"/>
                <a:gd name="T97" fmla="*/ 22 h 96"/>
                <a:gd name="T98" fmla="*/ 103 w 172"/>
                <a:gd name="T99" fmla="*/ 14 h 96"/>
                <a:gd name="T100" fmla="*/ 92 w 172"/>
                <a:gd name="T101" fmla="*/ 14 h 96"/>
                <a:gd name="T102" fmla="*/ 103 w 172"/>
                <a:gd name="T103" fmla="*/ 14 h 96"/>
                <a:gd name="T104" fmla="*/ 98 w 172"/>
                <a:gd name="T105" fmla="*/ 11 h 96"/>
                <a:gd name="T106" fmla="*/ 109 w 172"/>
                <a:gd name="T107" fmla="*/ 8 h 96"/>
                <a:gd name="T108" fmla="*/ 98 w 172"/>
                <a:gd name="T109" fmla="*/ 6 h 96"/>
                <a:gd name="T110" fmla="*/ 87 w 172"/>
                <a:gd name="T111" fmla="*/ 3 h 96"/>
                <a:gd name="T112" fmla="*/ 55 w 172"/>
                <a:gd name="T113" fmla="*/ 3 h 96"/>
                <a:gd name="T114" fmla="*/ 31 w 172"/>
                <a:gd name="T115" fmla="*/ 6 h 96"/>
                <a:gd name="T116" fmla="*/ 26 w 172"/>
                <a:gd name="T117" fmla="*/ 11 h 96"/>
                <a:gd name="T118" fmla="*/ 33 w 172"/>
                <a:gd name="T119" fmla="*/ 17 h 96"/>
                <a:gd name="T120" fmla="*/ 15 w 172"/>
                <a:gd name="T121" fmla="*/ 19 h 96"/>
                <a:gd name="T122" fmla="*/ 19 w 172"/>
                <a:gd name="T123" fmla="*/ 2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2" h="96">
                  <a:moveTo>
                    <a:pt x="19" y="25"/>
                  </a:moveTo>
                  <a:lnTo>
                    <a:pt x="22" y="23"/>
                  </a:lnTo>
                  <a:lnTo>
                    <a:pt x="26" y="23"/>
                  </a:lnTo>
                  <a:lnTo>
                    <a:pt x="30" y="25"/>
                  </a:lnTo>
                  <a:lnTo>
                    <a:pt x="33" y="25"/>
                  </a:lnTo>
                  <a:lnTo>
                    <a:pt x="30" y="25"/>
                  </a:lnTo>
                  <a:lnTo>
                    <a:pt x="25" y="25"/>
                  </a:lnTo>
                  <a:lnTo>
                    <a:pt x="23" y="28"/>
                  </a:lnTo>
                  <a:lnTo>
                    <a:pt x="26" y="27"/>
                  </a:lnTo>
                  <a:lnTo>
                    <a:pt x="30" y="27"/>
                  </a:lnTo>
                  <a:lnTo>
                    <a:pt x="26" y="30"/>
                  </a:lnTo>
                  <a:lnTo>
                    <a:pt x="22" y="31"/>
                  </a:lnTo>
                  <a:lnTo>
                    <a:pt x="25" y="35"/>
                  </a:lnTo>
                  <a:lnTo>
                    <a:pt x="28" y="36"/>
                  </a:lnTo>
                  <a:lnTo>
                    <a:pt x="25" y="36"/>
                  </a:lnTo>
                  <a:lnTo>
                    <a:pt x="20" y="39"/>
                  </a:lnTo>
                  <a:lnTo>
                    <a:pt x="22" y="43"/>
                  </a:lnTo>
                  <a:lnTo>
                    <a:pt x="19" y="44"/>
                  </a:lnTo>
                  <a:lnTo>
                    <a:pt x="14" y="43"/>
                  </a:lnTo>
                  <a:lnTo>
                    <a:pt x="11" y="44"/>
                  </a:lnTo>
                  <a:lnTo>
                    <a:pt x="7" y="43"/>
                  </a:lnTo>
                  <a:lnTo>
                    <a:pt x="4" y="43"/>
                  </a:lnTo>
                  <a:lnTo>
                    <a:pt x="0" y="46"/>
                  </a:lnTo>
                  <a:lnTo>
                    <a:pt x="0" y="49"/>
                  </a:lnTo>
                  <a:lnTo>
                    <a:pt x="0" y="52"/>
                  </a:lnTo>
                  <a:lnTo>
                    <a:pt x="1" y="55"/>
                  </a:lnTo>
                  <a:lnTo>
                    <a:pt x="4" y="58"/>
                  </a:lnTo>
                  <a:lnTo>
                    <a:pt x="7" y="62"/>
                  </a:lnTo>
                  <a:lnTo>
                    <a:pt x="11" y="63"/>
                  </a:lnTo>
                  <a:lnTo>
                    <a:pt x="15" y="65"/>
                  </a:lnTo>
                  <a:lnTo>
                    <a:pt x="19" y="65"/>
                  </a:lnTo>
                  <a:lnTo>
                    <a:pt x="22" y="65"/>
                  </a:lnTo>
                  <a:lnTo>
                    <a:pt x="25" y="65"/>
                  </a:lnTo>
                  <a:lnTo>
                    <a:pt x="22" y="62"/>
                  </a:lnTo>
                  <a:lnTo>
                    <a:pt x="25" y="63"/>
                  </a:lnTo>
                  <a:lnTo>
                    <a:pt x="30" y="62"/>
                  </a:lnTo>
                  <a:lnTo>
                    <a:pt x="33" y="62"/>
                  </a:lnTo>
                  <a:lnTo>
                    <a:pt x="36" y="65"/>
                  </a:lnTo>
                  <a:lnTo>
                    <a:pt x="39" y="65"/>
                  </a:lnTo>
                  <a:lnTo>
                    <a:pt x="44" y="66"/>
                  </a:lnTo>
                  <a:lnTo>
                    <a:pt x="46" y="63"/>
                  </a:lnTo>
                  <a:lnTo>
                    <a:pt x="49" y="66"/>
                  </a:lnTo>
                  <a:lnTo>
                    <a:pt x="50" y="63"/>
                  </a:lnTo>
                  <a:lnTo>
                    <a:pt x="53" y="63"/>
                  </a:lnTo>
                  <a:lnTo>
                    <a:pt x="53" y="66"/>
                  </a:lnTo>
                  <a:lnTo>
                    <a:pt x="57" y="69"/>
                  </a:lnTo>
                  <a:lnTo>
                    <a:pt x="60" y="69"/>
                  </a:lnTo>
                  <a:lnTo>
                    <a:pt x="63" y="66"/>
                  </a:lnTo>
                  <a:lnTo>
                    <a:pt x="66" y="66"/>
                  </a:lnTo>
                  <a:lnTo>
                    <a:pt x="63" y="68"/>
                  </a:lnTo>
                  <a:lnTo>
                    <a:pt x="60" y="73"/>
                  </a:lnTo>
                  <a:lnTo>
                    <a:pt x="63" y="74"/>
                  </a:lnTo>
                  <a:lnTo>
                    <a:pt x="68" y="74"/>
                  </a:lnTo>
                  <a:lnTo>
                    <a:pt x="71" y="74"/>
                  </a:lnTo>
                  <a:lnTo>
                    <a:pt x="74" y="76"/>
                  </a:lnTo>
                  <a:lnTo>
                    <a:pt x="79" y="77"/>
                  </a:lnTo>
                  <a:lnTo>
                    <a:pt x="74" y="76"/>
                  </a:lnTo>
                  <a:lnTo>
                    <a:pt x="71" y="76"/>
                  </a:lnTo>
                  <a:lnTo>
                    <a:pt x="74" y="79"/>
                  </a:lnTo>
                  <a:lnTo>
                    <a:pt x="71" y="77"/>
                  </a:lnTo>
                  <a:lnTo>
                    <a:pt x="68" y="77"/>
                  </a:lnTo>
                  <a:lnTo>
                    <a:pt x="65" y="79"/>
                  </a:lnTo>
                  <a:lnTo>
                    <a:pt x="68" y="79"/>
                  </a:lnTo>
                  <a:lnTo>
                    <a:pt x="71" y="82"/>
                  </a:lnTo>
                  <a:lnTo>
                    <a:pt x="71" y="85"/>
                  </a:lnTo>
                  <a:lnTo>
                    <a:pt x="66" y="84"/>
                  </a:lnTo>
                  <a:lnTo>
                    <a:pt x="63" y="85"/>
                  </a:lnTo>
                  <a:lnTo>
                    <a:pt x="68" y="85"/>
                  </a:lnTo>
                  <a:lnTo>
                    <a:pt x="71" y="87"/>
                  </a:lnTo>
                  <a:lnTo>
                    <a:pt x="74" y="87"/>
                  </a:lnTo>
                  <a:lnTo>
                    <a:pt x="79" y="87"/>
                  </a:lnTo>
                  <a:lnTo>
                    <a:pt x="82" y="89"/>
                  </a:lnTo>
                  <a:lnTo>
                    <a:pt x="85" y="89"/>
                  </a:lnTo>
                  <a:lnTo>
                    <a:pt x="88" y="89"/>
                  </a:lnTo>
                  <a:lnTo>
                    <a:pt x="93" y="90"/>
                  </a:lnTo>
                  <a:lnTo>
                    <a:pt x="96" y="92"/>
                  </a:lnTo>
                  <a:lnTo>
                    <a:pt x="99" y="92"/>
                  </a:lnTo>
                  <a:lnTo>
                    <a:pt x="96" y="89"/>
                  </a:lnTo>
                  <a:lnTo>
                    <a:pt x="99" y="90"/>
                  </a:lnTo>
                  <a:lnTo>
                    <a:pt x="103" y="92"/>
                  </a:lnTo>
                  <a:lnTo>
                    <a:pt x="106" y="93"/>
                  </a:lnTo>
                  <a:lnTo>
                    <a:pt x="111" y="93"/>
                  </a:lnTo>
                  <a:lnTo>
                    <a:pt x="114" y="92"/>
                  </a:lnTo>
                  <a:lnTo>
                    <a:pt x="117" y="89"/>
                  </a:lnTo>
                  <a:lnTo>
                    <a:pt x="120" y="90"/>
                  </a:lnTo>
                  <a:lnTo>
                    <a:pt x="123" y="90"/>
                  </a:lnTo>
                  <a:lnTo>
                    <a:pt x="125" y="93"/>
                  </a:lnTo>
                  <a:lnTo>
                    <a:pt x="128" y="93"/>
                  </a:lnTo>
                  <a:lnTo>
                    <a:pt x="133" y="93"/>
                  </a:lnTo>
                  <a:lnTo>
                    <a:pt x="128" y="92"/>
                  </a:lnTo>
                  <a:lnTo>
                    <a:pt x="133" y="92"/>
                  </a:lnTo>
                  <a:lnTo>
                    <a:pt x="136" y="92"/>
                  </a:lnTo>
                  <a:lnTo>
                    <a:pt x="141" y="93"/>
                  </a:lnTo>
                  <a:lnTo>
                    <a:pt x="144" y="93"/>
                  </a:lnTo>
                  <a:lnTo>
                    <a:pt x="147" y="96"/>
                  </a:lnTo>
                  <a:lnTo>
                    <a:pt x="150" y="93"/>
                  </a:lnTo>
                  <a:lnTo>
                    <a:pt x="147" y="92"/>
                  </a:lnTo>
                  <a:lnTo>
                    <a:pt x="142" y="92"/>
                  </a:lnTo>
                  <a:lnTo>
                    <a:pt x="139" y="90"/>
                  </a:lnTo>
                  <a:lnTo>
                    <a:pt x="153" y="93"/>
                  </a:lnTo>
                  <a:lnTo>
                    <a:pt x="169" y="95"/>
                  </a:lnTo>
                  <a:lnTo>
                    <a:pt x="166" y="93"/>
                  </a:lnTo>
                  <a:lnTo>
                    <a:pt x="161" y="93"/>
                  </a:lnTo>
                  <a:lnTo>
                    <a:pt x="158" y="93"/>
                  </a:lnTo>
                  <a:lnTo>
                    <a:pt x="155" y="90"/>
                  </a:lnTo>
                  <a:lnTo>
                    <a:pt x="158" y="92"/>
                  </a:lnTo>
                  <a:lnTo>
                    <a:pt x="161" y="92"/>
                  </a:lnTo>
                  <a:lnTo>
                    <a:pt x="164" y="93"/>
                  </a:lnTo>
                  <a:lnTo>
                    <a:pt x="169" y="93"/>
                  </a:lnTo>
                  <a:lnTo>
                    <a:pt x="172" y="90"/>
                  </a:lnTo>
                  <a:lnTo>
                    <a:pt x="169" y="89"/>
                  </a:lnTo>
                  <a:lnTo>
                    <a:pt x="172" y="89"/>
                  </a:lnTo>
                  <a:lnTo>
                    <a:pt x="168" y="87"/>
                  </a:lnTo>
                  <a:lnTo>
                    <a:pt x="164" y="87"/>
                  </a:lnTo>
                  <a:lnTo>
                    <a:pt x="161" y="85"/>
                  </a:lnTo>
                  <a:lnTo>
                    <a:pt x="157" y="85"/>
                  </a:lnTo>
                  <a:lnTo>
                    <a:pt x="153" y="84"/>
                  </a:lnTo>
                  <a:lnTo>
                    <a:pt x="142" y="79"/>
                  </a:lnTo>
                  <a:lnTo>
                    <a:pt x="133" y="74"/>
                  </a:lnTo>
                  <a:lnTo>
                    <a:pt x="122" y="68"/>
                  </a:lnTo>
                  <a:lnTo>
                    <a:pt x="111" y="60"/>
                  </a:lnTo>
                  <a:lnTo>
                    <a:pt x="107" y="57"/>
                  </a:lnTo>
                  <a:lnTo>
                    <a:pt x="104" y="54"/>
                  </a:lnTo>
                  <a:lnTo>
                    <a:pt x="101" y="50"/>
                  </a:lnTo>
                  <a:lnTo>
                    <a:pt x="98" y="47"/>
                  </a:lnTo>
                  <a:lnTo>
                    <a:pt x="96" y="43"/>
                  </a:lnTo>
                  <a:lnTo>
                    <a:pt x="98" y="39"/>
                  </a:lnTo>
                  <a:lnTo>
                    <a:pt x="95" y="38"/>
                  </a:lnTo>
                  <a:lnTo>
                    <a:pt x="95" y="35"/>
                  </a:lnTo>
                  <a:lnTo>
                    <a:pt x="92" y="33"/>
                  </a:lnTo>
                  <a:lnTo>
                    <a:pt x="88" y="31"/>
                  </a:lnTo>
                  <a:lnTo>
                    <a:pt x="92" y="31"/>
                  </a:lnTo>
                  <a:lnTo>
                    <a:pt x="95" y="31"/>
                  </a:lnTo>
                  <a:lnTo>
                    <a:pt x="92" y="28"/>
                  </a:lnTo>
                  <a:lnTo>
                    <a:pt x="88" y="27"/>
                  </a:lnTo>
                  <a:lnTo>
                    <a:pt x="92" y="28"/>
                  </a:lnTo>
                  <a:lnTo>
                    <a:pt x="95" y="28"/>
                  </a:lnTo>
                  <a:lnTo>
                    <a:pt x="96" y="25"/>
                  </a:lnTo>
                  <a:lnTo>
                    <a:pt x="93" y="23"/>
                  </a:lnTo>
                  <a:lnTo>
                    <a:pt x="96" y="23"/>
                  </a:lnTo>
                  <a:lnTo>
                    <a:pt x="101" y="23"/>
                  </a:lnTo>
                  <a:lnTo>
                    <a:pt x="98" y="22"/>
                  </a:lnTo>
                  <a:lnTo>
                    <a:pt x="93" y="22"/>
                  </a:lnTo>
                  <a:lnTo>
                    <a:pt x="90" y="20"/>
                  </a:lnTo>
                  <a:lnTo>
                    <a:pt x="93" y="22"/>
                  </a:lnTo>
                  <a:lnTo>
                    <a:pt x="98" y="20"/>
                  </a:lnTo>
                  <a:lnTo>
                    <a:pt x="101" y="22"/>
                  </a:lnTo>
                  <a:lnTo>
                    <a:pt x="104" y="20"/>
                  </a:lnTo>
                  <a:lnTo>
                    <a:pt x="106" y="17"/>
                  </a:lnTo>
                  <a:lnTo>
                    <a:pt x="103" y="14"/>
                  </a:lnTo>
                  <a:lnTo>
                    <a:pt x="98" y="16"/>
                  </a:lnTo>
                  <a:lnTo>
                    <a:pt x="95" y="16"/>
                  </a:lnTo>
                  <a:lnTo>
                    <a:pt x="92" y="14"/>
                  </a:lnTo>
                  <a:lnTo>
                    <a:pt x="95" y="14"/>
                  </a:lnTo>
                  <a:lnTo>
                    <a:pt x="98" y="14"/>
                  </a:lnTo>
                  <a:lnTo>
                    <a:pt x="103" y="14"/>
                  </a:lnTo>
                  <a:lnTo>
                    <a:pt x="106" y="12"/>
                  </a:lnTo>
                  <a:lnTo>
                    <a:pt x="95" y="12"/>
                  </a:lnTo>
                  <a:lnTo>
                    <a:pt x="98" y="11"/>
                  </a:lnTo>
                  <a:lnTo>
                    <a:pt x="101" y="11"/>
                  </a:lnTo>
                  <a:lnTo>
                    <a:pt x="106" y="11"/>
                  </a:lnTo>
                  <a:lnTo>
                    <a:pt x="109" y="8"/>
                  </a:lnTo>
                  <a:lnTo>
                    <a:pt x="106" y="6"/>
                  </a:lnTo>
                  <a:lnTo>
                    <a:pt x="103" y="6"/>
                  </a:lnTo>
                  <a:lnTo>
                    <a:pt x="98" y="6"/>
                  </a:lnTo>
                  <a:lnTo>
                    <a:pt x="95" y="4"/>
                  </a:lnTo>
                  <a:lnTo>
                    <a:pt x="92" y="4"/>
                  </a:lnTo>
                  <a:lnTo>
                    <a:pt x="87" y="3"/>
                  </a:lnTo>
                  <a:lnTo>
                    <a:pt x="76" y="3"/>
                  </a:lnTo>
                  <a:lnTo>
                    <a:pt x="65" y="0"/>
                  </a:lnTo>
                  <a:lnTo>
                    <a:pt x="55" y="3"/>
                  </a:lnTo>
                  <a:lnTo>
                    <a:pt x="44" y="4"/>
                  </a:lnTo>
                  <a:lnTo>
                    <a:pt x="39" y="4"/>
                  </a:lnTo>
                  <a:lnTo>
                    <a:pt x="31" y="6"/>
                  </a:lnTo>
                  <a:lnTo>
                    <a:pt x="28" y="6"/>
                  </a:lnTo>
                  <a:lnTo>
                    <a:pt x="26" y="8"/>
                  </a:lnTo>
                  <a:lnTo>
                    <a:pt x="26" y="11"/>
                  </a:lnTo>
                  <a:lnTo>
                    <a:pt x="30" y="12"/>
                  </a:lnTo>
                  <a:lnTo>
                    <a:pt x="30" y="16"/>
                  </a:lnTo>
                  <a:lnTo>
                    <a:pt x="33" y="17"/>
                  </a:lnTo>
                  <a:lnTo>
                    <a:pt x="28" y="17"/>
                  </a:lnTo>
                  <a:lnTo>
                    <a:pt x="22" y="17"/>
                  </a:lnTo>
                  <a:lnTo>
                    <a:pt x="15" y="19"/>
                  </a:lnTo>
                  <a:lnTo>
                    <a:pt x="12" y="23"/>
                  </a:lnTo>
                  <a:lnTo>
                    <a:pt x="15" y="23"/>
                  </a:lnTo>
                  <a:lnTo>
                    <a:pt x="19" y="2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04" name="Freeform 238"/>
            <p:cNvSpPr>
              <a:spLocks/>
            </p:cNvSpPr>
            <p:nvPr/>
          </p:nvSpPr>
          <p:spPr bwMode="auto">
            <a:xfrm>
              <a:off x="6410405" y="2183670"/>
              <a:ext cx="13233" cy="3385"/>
            </a:xfrm>
            <a:custGeom>
              <a:avLst/>
              <a:gdLst>
                <a:gd name="T0" fmla="*/ 0 w 19"/>
                <a:gd name="T1" fmla="*/ 2 h 5"/>
                <a:gd name="T2" fmla="*/ 0 w 19"/>
                <a:gd name="T3" fmla="*/ 2 h 5"/>
                <a:gd name="T4" fmla="*/ 8 w 19"/>
                <a:gd name="T5" fmla="*/ 3 h 5"/>
                <a:gd name="T6" fmla="*/ 11 w 19"/>
                <a:gd name="T7" fmla="*/ 5 h 5"/>
                <a:gd name="T8" fmla="*/ 16 w 19"/>
                <a:gd name="T9" fmla="*/ 5 h 5"/>
                <a:gd name="T10" fmla="*/ 19 w 19"/>
                <a:gd name="T11" fmla="*/ 2 h 5"/>
                <a:gd name="T12" fmla="*/ 16 w 19"/>
                <a:gd name="T13" fmla="*/ 2 h 5"/>
                <a:gd name="T14" fmla="*/ 11 w 19"/>
                <a:gd name="T15" fmla="*/ 2 h 5"/>
                <a:gd name="T16" fmla="*/ 8 w 19"/>
                <a:gd name="T17" fmla="*/ 0 h 5"/>
                <a:gd name="T18" fmla="*/ 5 w 19"/>
                <a:gd name="T19" fmla="*/ 0 h 5"/>
                <a:gd name="T20" fmla="*/ 0 w 19"/>
                <a:gd name="T2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5">
                  <a:moveTo>
                    <a:pt x="0" y="2"/>
                  </a:moveTo>
                  <a:lnTo>
                    <a:pt x="0" y="2"/>
                  </a:lnTo>
                  <a:lnTo>
                    <a:pt x="8" y="3"/>
                  </a:lnTo>
                  <a:lnTo>
                    <a:pt x="11" y="5"/>
                  </a:lnTo>
                  <a:lnTo>
                    <a:pt x="16" y="5"/>
                  </a:lnTo>
                  <a:lnTo>
                    <a:pt x="19" y="2"/>
                  </a:lnTo>
                  <a:lnTo>
                    <a:pt x="16" y="2"/>
                  </a:lnTo>
                  <a:lnTo>
                    <a:pt x="11" y="2"/>
                  </a:lnTo>
                  <a:lnTo>
                    <a:pt x="8" y="0"/>
                  </a:lnTo>
                  <a:lnTo>
                    <a:pt x="5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05" name="Freeform 239"/>
            <p:cNvSpPr>
              <a:spLocks/>
            </p:cNvSpPr>
            <p:nvPr/>
          </p:nvSpPr>
          <p:spPr bwMode="auto">
            <a:xfrm>
              <a:off x="6414816" y="2181977"/>
              <a:ext cx="5881" cy="1692"/>
            </a:xfrm>
            <a:custGeom>
              <a:avLst/>
              <a:gdLst>
                <a:gd name="T0" fmla="*/ 0 w 8"/>
                <a:gd name="T1" fmla="*/ 1 h 1"/>
                <a:gd name="T2" fmla="*/ 0 w 8"/>
                <a:gd name="T3" fmla="*/ 1 h 1"/>
                <a:gd name="T4" fmla="*/ 3 w 8"/>
                <a:gd name="T5" fmla="*/ 1 h 1"/>
                <a:gd name="T6" fmla="*/ 8 w 8"/>
                <a:gd name="T7" fmla="*/ 0 h 1"/>
                <a:gd name="T8" fmla="*/ 4 w 8"/>
                <a:gd name="T9" fmla="*/ 0 h 1"/>
                <a:gd name="T10" fmla="*/ 0 w 8"/>
                <a:gd name="T1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lnTo>
                    <a:pt x="0" y="1"/>
                  </a:lnTo>
                  <a:lnTo>
                    <a:pt x="3" y="1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06" name="Freeform 240"/>
            <p:cNvSpPr>
              <a:spLocks/>
            </p:cNvSpPr>
            <p:nvPr/>
          </p:nvSpPr>
          <p:spPr bwMode="auto">
            <a:xfrm>
              <a:off x="6416286" y="2176899"/>
              <a:ext cx="13233" cy="3385"/>
            </a:xfrm>
            <a:custGeom>
              <a:avLst/>
              <a:gdLst>
                <a:gd name="T0" fmla="*/ 0 w 19"/>
                <a:gd name="T1" fmla="*/ 2 h 3"/>
                <a:gd name="T2" fmla="*/ 3 w 19"/>
                <a:gd name="T3" fmla="*/ 3 h 3"/>
                <a:gd name="T4" fmla="*/ 8 w 19"/>
                <a:gd name="T5" fmla="*/ 3 h 3"/>
                <a:gd name="T6" fmla="*/ 11 w 19"/>
                <a:gd name="T7" fmla="*/ 3 h 3"/>
                <a:gd name="T8" fmla="*/ 16 w 19"/>
                <a:gd name="T9" fmla="*/ 3 h 3"/>
                <a:gd name="T10" fmla="*/ 19 w 19"/>
                <a:gd name="T11" fmla="*/ 2 h 3"/>
                <a:gd name="T12" fmla="*/ 14 w 19"/>
                <a:gd name="T13" fmla="*/ 2 h 3"/>
                <a:gd name="T14" fmla="*/ 10 w 19"/>
                <a:gd name="T15" fmla="*/ 0 h 3"/>
                <a:gd name="T16" fmla="*/ 7 w 19"/>
                <a:gd name="T17" fmla="*/ 2 h 3"/>
                <a:gd name="T18" fmla="*/ 0 w 19"/>
                <a:gd name="T1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3">
                  <a:moveTo>
                    <a:pt x="0" y="2"/>
                  </a:moveTo>
                  <a:lnTo>
                    <a:pt x="3" y="3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6" y="3"/>
                  </a:lnTo>
                  <a:lnTo>
                    <a:pt x="19" y="2"/>
                  </a:lnTo>
                  <a:lnTo>
                    <a:pt x="14" y="2"/>
                  </a:lnTo>
                  <a:lnTo>
                    <a:pt x="10" y="0"/>
                  </a:lnTo>
                  <a:lnTo>
                    <a:pt x="7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07" name="Freeform 241"/>
            <p:cNvSpPr>
              <a:spLocks/>
            </p:cNvSpPr>
            <p:nvPr/>
          </p:nvSpPr>
          <p:spPr bwMode="auto">
            <a:xfrm>
              <a:off x="6420697" y="2183670"/>
              <a:ext cx="2941" cy="1692"/>
            </a:xfrm>
            <a:custGeom>
              <a:avLst/>
              <a:gdLst>
                <a:gd name="T0" fmla="*/ 0 w 4"/>
                <a:gd name="T1" fmla="*/ 2 h 2"/>
                <a:gd name="T2" fmla="*/ 1 w 4"/>
                <a:gd name="T3" fmla="*/ 2 h 2"/>
                <a:gd name="T4" fmla="*/ 4 w 4"/>
                <a:gd name="T5" fmla="*/ 0 h 2"/>
                <a:gd name="T6" fmla="*/ 0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0" y="2"/>
                  </a:moveTo>
                  <a:lnTo>
                    <a:pt x="1" y="2"/>
                  </a:lnTo>
                  <a:lnTo>
                    <a:pt x="4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08" name="Freeform 242"/>
            <p:cNvSpPr>
              <a:spLocks/>
            </p:cNvSpPr>
            <p:nvPr/>
          </p:nvSpPr>
          <p:spPr bwMode="auto">
            <a:xfrm>
              <a:off x="6426579" y="2193823"/>
              <a:ext cx="2941" cy="1692"/>
            </a:xfrm>
            <a:custGeom>
              <a:avLst/>
              <a:gdLst>
                <a:gd name="T0" fmla="*/ 0 w 5"/>
                <a:gd name="T1" fmla="*/ 0 w 5"/>
                <a:gd name="T2" fmla="*/ 5 w 5"/>
                <a:gd name="T3" fmla="*/ 0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5">
                  <a:moveTo>
                    <a:pt x="0" y="0"/>
                  </a:moveTo>
                  <a:lnTo>
                    <a:pt x="0" y="0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09" name="Freeform 243"/>
            <p:cNvSpPr>
              <a:spLocks/>
            </p:cNvSpPr>
            <p:nvPr/>
          </p:nvSpPr>
          <p:spPr bwMode="auto">
            <a:xfrm>
              <a:off x="6428050" y="2520462"/>
              <a:ext cx="10293" cy="3385"/>
            </a:xfrm>
            <a:custGeom>
              <a:avLst/>
              <a:gdLst>
                <a:gd name="T0" fmla="*/ 0 w 16"/>
                <a:gd name="T1" fmla="*/ 3 h 3"/>
                <a:gd name="T2" fmla="*/ 2 w 16"/>
                <a:gd name="T3" fmla="*/ 3 h 3"/>
                <a:gd name="T4" fmla="*/ 5 w 16"/>
                <a:gd name="T5" fmla="*/ 2 h 3"/>
                <a:gd name="T6" fmla="*/ 8 w 16"/>
                <a:gd name="T7" fmla="*/ 2 h 3"/>
                <a:gd name="T8" fmla="*/ 11 w 16"/>
                <a:gd name="T9" fmla="*/ 2 h 3"/>
                <a:gd name="T10" fmla="*/ 16 w 16"/>
                <a:gd name="T11" fmla="*/ 0 h 3"/>
                <a:gd name="T12" fmla="*/ 11 w 16"/>
                <a:gd name="T13" fmla="*/ 0 h 3"/>
                <a:gd name="T14" fmla="*/ 8 w 16"/>
                <a:gd name="T15" fmla="*/ 0 h 3"/>
                <a:gd name="T16" fmla="*/ 3 w 16"/>
                <a:gd name="T17" fmla="*/ 2 h 3"/>
                <a:gd name="T18" fmla="*/ 0 w 16"/>
                <a:gd name="T1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3">
                  <a:moveTo>
                    <a:pt x="0" y="3"/>
                  </a:moveTo>
                  <a:lnTo>
                    <a:pt x="2" y="3"/>
                  </a:lnTo>
                  <a:lnTo>
                    <a:pt x="5" y="2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6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3" y="2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10" name="Freeform 244"/>
            <p:cNvSpPr>
              <a:spLocks/>
            </p:cNvSpPr>
            <p:nvPr/>
          </p:nvSpPr>
          <p:spPr bwMode="auto">
            <a:xfrm>
              <a:off x="6428050" y="2285214"/>
              <a:ext cx="235259" cy="99854"/>
            </a:xfrm>
            <a:custGeom>
              <a:avLst/>
              <a:gdLst>
                <a:gd name="T0" fmla="*/ 21 w 320"/>
                <a:gd name="T1" fmla="*/ 113 h 119"/>
                <a:gd name="T2" fmla="*/ 32 w 320"/>
                <a:gd name="T3" fmla="*/ 113 h 119"/>
                <a:gd name="T4" fmla="*/ 64 w 320"/>
                <a:gd name="T5" fmla="*/ 113 h 119"/>
                <a:gd name="T6" fmla="*/ 81 w 320"/>
                <a:gd name="T7" fmla="*/ 119 h 119"/>
                <a:gd name="T8" fmla="*/ 94 w 320"/>
                <a:gd name="T9" fmla="*/ 111 h 119"/>
                <a:gd name="T10" fmla="*/ 83 w 320"/>
                <a:gd name="T11" fmla="*/ 106 h 119"/>
                <a:gd name="T12" fmla="*/ 98 w 320"/>
                <a:gd name="T13" fmla="*/ 105 h 119"/>
                <a:gd name="T14" fmla="*/ 87 w 320"/>
                <a:gd name="T15" fmla="*/ 98 h 119"/>
                <a:gd name="T16" fmla="*/ 105 w 320"/>
                <a:gd name="T17" fmla="*/ 100 h 119"/>
                <a:gd name="T18" fmla="*/ 87 w 320"/>
                <a:gd name="T19" fmla="*/ 92 h 119"/>
                <a:gd name="T20" fmla="*/ 98 w 320"/>
                <a:gd name="T21" fmla="*/ 92 h 119"/>
                <a:gd name="T22" fmla="*/ 109 w 320"/>
                <a:gd name="T23" fmla="*/ 91 h 119"/>
                <a:gd name="T24" fmla="*/ 114 w 320"/>
                <a:gd name="T25" fmla="*/ 81 h 119"/>
                <a:gd name="T26" fmla="*/ 111 w 320"/>
                <a:gd name="T27" fmla="*/ 78 h 119"/>
                <a:gd name="T28" fmla="*/ 121 w 320"/>
                <a:gd name="T29" fmla="*/ 73 h 119"/>
                <a:gd name="T30" fmla="*/ 132 w 320"/>
                <a:gd name="T31" fmla="*/ 75 h 119"/>
                <a:gd name="T32" fmla="*/ 135 w 320"/>
                <a:gd name="T33" fmla="*/ 70 h 119"/>
                <a:gd name="T34" fmla="*/ 144 w 320"/>
                <a:gd name="T35" fmla="*/ 67 h 119"/>
                <a:gd name="T36" fmla="*/ 136 w 320"/>
                <a:gd name="T37" fmla="*/ 62 h 119"/>
                <a:gd name="T38" fmla="*/ 151 w 320"/>
                <a:gd name="T39" fmla="*/ 60 h 119"/>
                <a:gd name="T40" fmla="*/ 162 w 320"/>
                <a:gd name="T41" fmla="*/ 51 h 119"/>
                <a:gd name="T42" fmla="*/ 178 w 320"/>
                <a:gd name="T43" fmla="*/ 48 h 119"/>
                <a:gd name="T44" fmla="*/ 197 w 320"/>
                <a:gd name="T45" fmla="*/ 45 h 119"/>
                <a:gd name="T46" fmla="*/ 216 w 320"/>
                <a:gd name="T47" fmla="*/ 41 h 119"/>
                <a:gd name="T48" fmla="*/ 236 w 320"/>
                <a:gd name="T49" fmla="*/ 37 h 119"/>
                <a:gd name="T50" fmla="*/ 301 w 320"/>
                <a:gd name="T51" fmla="*/ 24 h 119"/>
                <a:gd name="T52" fmla="*/ 317 w 320"/>
                <a:gd name="T53" fmla="*/ 8 h 119"/>
                <a:gd name="T54" fmla="*/ 274 w 320"/>
                <a:gd name="T55" fmla="*/ 0 h 119"/>
                <a:gd name="T56" fmla="*/ 252 w 320"/>
                <a:gd name="T57" fmla="*/ 14 h 119"/>
                <a:gd name="T58" fmla="*/ 235 w 320"/>
                <a:gd name="T59" fmla="*/ 14 h 119"/>
                <a:gd name="T60" fmla="*/ 216 w 320"/>
                <a:gd name="T61" fmla="*/ 19 h 119"/>
                <a:gd name="T62" fmla="*/ 197 w 320"/>
                <a:gd name="T63" fmla="*/ 22 h 119"/>
                <a:gd name="T64" fmla="*/ 179 w 320"/>
                <a:gd name="T65" fmla="*/ 22 h 119"/>
                <a:gd name="T66" fmla="*/ 152 w 320"/>
                <a:gd name="T67" fmla="*/ 21 h 119"/>
                <a:gd name="T68" fmla="*/ 138 w 320"/>
                <a:gd name="T69" fmla="*/ 25 h 119"/>
                <a:gd name="T70" fmla="*/ 135 w 320"/>
                <a:gd name="T71" fmla="*/ 27 h 119"/>
                <a:gd name="T72" fmla="*/ 122 w 320"/>
                <a:gd name="T73" fmla="*/ 29 h 119"/>
                <a:gd name="T74" fmla="*/ 113 w 320"/>
                <a:gd name="T75" fmla="*/ 33 h 119"/>
                <a:gd name="T76" fmla="*/ 87 w 320"/>
                <a:gd name="T77" fmla="*/ 40 h 119"/>
                <a:gd name="T78" fmla="*/ 76 w 320"/>
                <a:gd name="T79" fmla="*/ 45 h 119"/>
                <a:gd name="T80" fmla="*/ 71 w 320"/>
                <a:gd name="T81" fmla="*/ 51 h 119"/>
                <a:gd name="T82" fmla="*/ 52 w 320"/>
                <a:gd name="T83" fmla="*/ 52 h 119"/>
                <a:gd name="T84" fmla="*/ 41 w 320"/>
                <a:gd name="T85" fmla="*/ 56 h 119"/>
                <a:gd name="T86" fmla="*/ 40 w 320"/>
                <a:gd name="T87" fmla="*/ 62 h 119"/>
                <a:gd name="T88" fmla="*/ 51 w 320"/>
                <a:gd name="T89" fmla="*/ 64 h 119"/>
                <a:gd name="T90" fmla="*/ 43 w 320"/>
                <a:gd name="T91" fmla="*/ 70 h 119"/>
                <a:gd name="T92" fmla="*/ 60 w 320"/>
                <a:gd name="T93" fmla="*/ 71 h 119"/>
                <a:gd name="T94" fmla="*/ 51 w 320"/>
                <a:gd name="T95" fmla="*/ 71 h 119"/>
                <a:gd name="T96" fmla="*/ 35 w 320"/>
                <a:gd name="T97" fmla="*/ 76 h 119"/>
                <a:gd name="T98" fmla="*/ 54 w 320"/>
                <a:gd name="T99" fmla="*/ 79 h 119"/>
                <a:gd name="T100" fmla="*/ 35 w 320"/>
                <a:gd name="T101" fmla="*/ 79 h 119"/>
                <a:gd name="T102" fmla="*/ 40 w 320"/>
                <a:gd name="T103" fmla="*/ 84 h 119"/>
                <a:gd name="T104" fmla="*/ 49 w 320"/>
                <a:gd name="T105" fmla="*/ 91 h 119"/>
                <a:gd name="T106" fmla="*/ 32 w 320"/>
                <a:gd name="T107" fmla="*/ 87 h 119"/>
                <a:gd name="T108" fmla="*/ 22 w 320"/>
                <a:gd name="T109" fmla="*/ 95 h 119"/>
                <a:gd name="T110" fmla="*/ 3 w 320"/>
                <a:gd name="T111" fmla="*/ 102 h 119"/>
                <a:gd name="T112" fmla="*/ 29 w 320"/>
                <a:gd name="T113" fmla="*/ 103 h 119"/>
                <a:gd name="T114" fmla="*/ 30 w 320"/>
                <a:gd name="T115" fmla="*/ 105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20" h="119">
                  <a:moveTo>
                    <a:pt x="30" y="105"/>
                  </a:moveTo>
                  <a:lnTo>
                    <a:pt x="25" y="106"/>
                  </a:lnTo>
                  <a:lnTo>
                    <a:pt x="22" y="108"/>
                  </a:lnTo>
                  <a:lnTo>
                    <a:pt x="19" y="110"/>
                  </a:lnTo>
                  <a:lnTo>
                    <a:pt x="21" y="113"/>
                  </a:lnTo>
                  <a:lnTo>
                    <a:pt x="16" y="116"/>
                  </a:lnTo>
                  <a:lnTo>
                    <a:pt x="21" y="116"/>
                  </a:lnTo>
                  <a:lnTo>
                    <a:pt x="24" y="116"/>
                  </a:lnTo>
                  <a:lnTo>
                    <a:pt x="29" y="113"/>
                  </a:lnTo>
                  <a:lnTo>
                    <a:pt x="32" y="113"/>
                  </a:lnTo>
                  <a:lnTo>
                    <a:pt x="35" y="113"/>
                  </a:lnTo>
                  <a:lnTo>
                    <a:pt x="38" y="113"/>
                  </a:lnTo>
                  <a:lnTo>
                    <a:pt x="52" y="116"/>
                  </a:lnTo>
                  <a:lnTo>
                    <a:pt x="65" y="116"/>
                  </a:lnTo>
                  <a:lnTo>
                    <a:pt x="64" y="113"/>
                  </a:lnTo>
                  <a:lnTo>
                    <a:pt x="67" y="116"/>
                  </a:lnTo>
                  <a:lnTo>
                    <a:pt x="70" y="117"/>
                  </a:lnTo>
                  <a:lnTo>
                    <a:pt x="73" y="117"/>
                  </a:lnTo>
                  <a:lnTo>
                    <a:pt x="76" y="117"/>
                  </a:lnTo>
                  <a:lnTo>
                    <a:pt x="81" y="119"/>
                  </a:lnTo>
                  <a:lnTo>
                    <a:pt x="84" y="117"/>
                  </a:lnTo>
                  <a:lnTo>
                    <a:pt x="84" y="114"/>
                  </a:lnTo>
                  <a:lnTo>
                    <a:pt x="87" y="116"/>
                  </a:lnTo>
                  <a:lnTo>
                    <a:pt x="90" y="114"/>
                  </a:lnTo>
                  <a:lnTo>
                    <a:pt x="94" y="111"/>
                  </a:lnTo>
                  <a:lnTo>
                    <a:pt x="90" y="110"/>
                  </a:lnTo>
                  <a:lnTo>
                    <a:pt x="86" y="108"/>
                  </a:lnTo>
                  <a:lnTo>
                    <a:pt x="83" y="108"/>
                  </a:lnTo>
                  <a:lnTo>
                    <a:pt x="79" y="105"/>
                  </a:lnTo>
                  <a:lnTo>
                    <a:pt x="83" y="106"/>
                  </a:lnTo>
                  <a:lnTo>
                    <a:pt x="86" y="108"/>
                  </a:lnTo>
                  <a:lnTo>
                    <a:pt x="90" y="108"/>
                  </a:lnTo>
                  <a:lnTo>
                    <a:pt x="94" y="108"/>
                  </a:lnTo>
                  <a:lnTo>
                    <a:pt x="98" y="108"/>
                  </a:lnTo>
                  <a:lnTo>
                    <a:pt x="98" y="105"/>
                  </a:lnTo>
                  <a:lnTo>
                    <a:pt x="86" y="100"/>
                  </a:lnTo>
                  <a:lnTo>
                    <a:pt x="73" y="98"/>
                  </a:lnTo>
                  <a:lnTo>
                    <a:pt x="76" y="98"/>
                  </a:lnTo>
                  <a:lnTo>
                    <a:pt x="84" y="98"/>
                  </a:lnTo>
                  <a:lnTo>
                    <a:pt x="87" y="98"/>
                  </a:lnTo>
                  <a:lnTo>
                    <a:pt x="92" y="100"/>
                  </a:lnTo>
                  <a:lnTo>
                    <a:pt x="95" y="100"/>
                  </a:lnTo>
                  <a:lnTo>
                    <a:pt x="98" y="103"/>
                  </a:lnTo>
                  <a:lnTo>
                    <a:pt x="103" y="103"/>
                  </a:lnTo>
                  <a:lnTo>
                    <a:pt x="105" y="100"/>
                  </a:lnTo>
                  <a:lnTo>
                    <a:pt x="102" y="97"/>
                  </a:lnTo>
                  <a:lnTo>
                    <a:pt x="98" y="95"/>
                  </a:lnTo>
                  <a:lnTo>
                    <a:pt x="94" y="94"/>
                  </a:lnTo>
                  <a:lnTo>
                    <a:pt x="90" y="92"/>
                  </a:lnTo>
                  <a:lnTo>
                    <a:pt x="87" y="92"/>
                  </a:lnTo>
                  <a:lnTo>
                    <a:pt x="90" y="91"/>
                  </a:lnTo>
                  <a:lnTo>
                    <a:pt x="87" y="89"/>
                  </a:lnTo>
                  <a:lnTo>
                    <a:pt x="90" y="89"/>
                  </a:lnTo>
                  <a:lnTo>
                    <a:pt x="94" y="91"/>
                  </a:lnTo>
                  <a:lnTo>
                    <a:pt x="98" y="92"/>
                  </a:lnTo>
                  <a:lnTo>
                    <a:pt x="102" y="94"/>
                  </a:lnTo>
                  <a:lnTo>
                    <a:pt x="105" y="94"/>
                  </a:lnTo>
                  <a:lnTo>
                    <a:pt x="108" y="94"/>
                  </a:lnTo>
                  <a:lnTo>
                    <a:pt x="106" y="89"/>
                  </a:lnTo>
                  <a:lnTo>
                    <a:pt x="109" y="91"/>
                  </a:lnTo>
                  <a:lnTo>
                    <a:pt x="113" y="89"/>
                  </a:lnTo>
                  <a:lnTo>
                    <a:pt x="109" y="89"/>
                  </a:lnTo>
                  <a:lnTo>
                    <a:pt x="113" y="87"/>
                  </a:lnTo>
                  <a:lnTo>
                    <a:pt x="117" y="87"/>
                  </a:lnTo>
                  <a:lnTo>
                    <a:pt x="114" y="81"/>
                  </a:lnTo>
                  <a:lnTo>
                    <a:pt x="109" y="79"/>
                  </a:lnTo>
                  <a:lnTo>
                    <a:pt x="106" y="78"/>
                  </a:lnTo>
                  <a:lnTo>
                    <a:pt x="100" y="75"/>
                  </a:lnTo>
                  <a:lnTo>
                    <a:pt x="103" y="76"/>
                  </a:lnTo>
                  <a:lnTo>
                    <a:pt x="111" y="78"/>
                  </a:lnTo>
                  <a:lnTo>
                    <a:pt x="114" y="79"/>
                  </a:lnTo>
                  <a:lnTo>
                    <a:pt x="119" y="79"/>
                  </a:lnTo>
                  <a:lnTo>
                    <a:pt x="122" y="78"/>
                  </a:lnTo>
                  <a:lnTo>
                    <a:pt x="124" y="75"/>
                  </a:lnTo>
                  <a:lnTo>
                    <a:pt x="121" y="73"/>
                  </a:lnTo>
                  <a:lnTo>
                    <a:pt x="124" y="73"/>
                  </a:lnTo>
                  <a:lnTo>
                    <a:pt x="121" y="70"/>
                  </a:lnTo>
                  <a:lnTo>
                    <a:pt x="124" y="71"/>
                  </a:lnTo>
                  <a:lnTo>
                    <a:pt x="127" y="73"/>
                  </a:lnTo>
                  <a:lnTo>
                    <a:pt x="132" y="75"/>
                  </a:lnTo>
                  <a:lnTo>
                    <a:pt x="135" y="75"/>
                  </a:lnTo>
                  <a:lnTo>
                    <a:pt x="138" y="71"/>
                  </a:lnTo>
                  <a:lnTo>
                    <a:pt x="135" y="71"/>
                  </a:lnTo>
                  <a:lnTo>
                    <a:pt x="130" y="68"/>
                  </a:lnTo>
                  <a:lnTo>
                    <a:pt x="135" y="70"/>
                  </a:lnTo>
                  <a:lnTo>
                    <a:pt x="138" y="70"/>
                  </a:lnTo>
                  <a:lnTo>
                    <a:pt x="141" y="71"/>
                  </a:lnTo>
                  <a:lnTo>
                    <a:pt x="144" y="70"/>
                  </a:lnTo>
                  <a:lnTo>
                    <a:pt x="149" y="68"/>
                  </a:lnTo>
                  <a:lnTo>
                    <a:pt x="144" y="67"/>
                  </a:lnTo>
                  <a:lnTo>
                    <a:pt x="152" y="67"/>
                  </a:lnTo>
                  <a:lnTo>
                    <a:pt x="151" y="64"/>
                  </a:lnTo>
                  <a:lnTo>
                    <a:pt x="140" y="64"/>
                  </a:lnTo>
                  <a:lnTo>
                    <a:pt x="136" y="62"/>
                  </a:lnTo>
                  <a:lnTo>
                    <a:pt x="136" y="62"/>
                  </a:lnTo>
                  <a:lnTo>
                    <a:pt x="138" y="62"/>
                  </a:lnTo>
                  <a:lnTo>
                    <a:pt x="141" y="62"/>
                  </a:lnTo>
                  <a:lnTo>
                    <a:pt x="144" y="62"/>
                  </a:lnTo>
                  <a:lnTo>
                    <a:pt x="146" y="59"/>
                  </a:lnTo>
                  <a:lnTo>
                    <a:pt x="151" y="60"/>
                  </a:lnTo>
                  <a:lnTo>
                    <a:pt x="154" y="60"/>
                  </a:lnTo>
                  <a:lnTo>
                    <a:pt x="154" y="57"/>
                  </a:lnTo>
                  <a:lnTo>
                    <a:pt x="157" y="56"/>
                  </a:lnTo>
                  <a:lnTo>
                    <a:pt x="160" y="56"/>
                  </a:lnTo>
                  <a:lnTo>
                    <a:pt x="162" y="51"/>
                  </a:lnTo>
                  <a:lnTo>
                    <a:pt x="165" y="54"/>
                  </a:lnTo>
                  <a:lnTo>
                    <a:pt x="170" y="54"/>
                  </a:lnTo>
                  <a:lnTo>
                    <a:pt x="171" y="51"/>
                  </a:lnTo>
                  <a:lnTo>
                    <a:pt x="175" y="49"/>
                  </a:lnTo>
                  <a:lnTo>
                    <a:pt x="178" y="48"/>
                  </a:lnTo>
                  <a:lnTo>
                    <a:pt x="182" y="48"/>
                  </a:lnTo>
                  <a:lnTo>
                    <a:pt x="186" y="48"/>
                  </a:lnTo>
                  <a:lnTo>
                    <a:pt x="189" y="46"/>
                  </a:lnTo>
                  <a:lnTo>
                    <a:pt x="194" y="46"/>
                  </a:lnTo>
                  <a:lnTo>
                    <a:pt x="197" y="45"/>
                  </a:lnTo>
                  <a:lnTo>
                    <a:pt x="200" y="43"/>
                  </a:lnTo>
                  <a:lnTo>
                    <a:pt x="205" y="43"/>
                  </a:lnTo>
                  <a:lnTo>
                    <a:pt x="208" y="43"/>
                  </a:lnTo>
                  <a:lnTo>
                    <a:pt x="211" y="40"/>
                  </a:lnTo>
                  <a:lnTo>
                    <a:pt x="216" y="41"/>
                  </a:lnTo>
                  <a:lnTo>
                    <a:pt x="222" y="40"/>
                  </a:lnTo>
                  <a:lnTo>
                    <a:pt x="227" y="40"/>
                  </a:lnTo>
                  <a:lnTo>
                    <a:pt x="230" y="38"/>
                  </a:lnTo>
                  <a:lnTo>
                    <a:pt x="233" y="38"/>
                  </a:lnTo>
                  <a:lnTo>
                    <a:pt x="236" y="37"/>
                  </a:lnTo>
                  <a:lnTo>
                    <a:pt x="252" y="35"/>
                  </a:lnTo>
                  <a:lnTo>
                    <a:pt x="267" y="32"/>
                  </a:lnTo>
                  <a:lnTo>
                    <a:pt x="281" y="29"/>
                  </a:lnTo>
                  <a:lnTo>
                    <a:pt x="292" y="25"/>
                  </a:lnTo>
                  <a:lnTo>
                    <a:pt x="301" y="24"/>
                  </a:lnTo>
                  <a:lnTo>
                    <a:pt x="308" y="21"/>
                  </a:lnTo>
                  <a:lnTo>
                    <a:pt x="313" y="18"/>
                  </a:lnTo>
                  <a:lnTo>
                    <a:pt x="320" y="13"/>
                  </a:lnTo>
                  <a:lnTo>
                    <a:pt x="317" y="11"/>
                  </a:lnTo>
                  <a:lnTo>
                    <a:pt x="317" y="8"/>
                  </a:lnTo>
                  <a:lnTo>
                    <a:pt x="309" y="3"/>
                  </a:lnTo>
                  <a:lnTo>
                    <a:pt x="301" y="2"/>
                  </a:lnTo>
                  <a:lnTo>
                    <a:pt x="292" y="0"/>
                  </a:lnTo>
                  <a:lnTo>
                    <a:pt x="284" y="0"/>
                  </a:lnTo>
                  <a:lnTo>
                    <a:pt x="274" y="0"/>
                  </a:lnTo>
                  <a:lnTo>
                    <a:pt x="263" y="2"/>
                  </a:lnTo>
                  <a:lnTo>
                    <a:pt x="254" y="6"/>
                  </a:lnTo>
                  <a:lnTo>
                    <a:pt x="246" y="10"/>
                  </a:lnTo>
                  <a:lnTo>
                    <a:pt x="249" y="13"/>
                  </a:lnTo>
                  <a:lnTo>
                    <a:pt x="252" y="14"/>
                  </a:lnTo>
                  <a:lnTo>
                    <a:pt x="249" y="14"/>
                  </a:lnTo>
                  <a:lnTo>
                    <a:pt x="244" y="13"/>
                  </a:lnTo>
                  <a:lnTo>
                    <a:pt x="241" y="13"/>
                  </a:lnTo>
                  <a:lnTo>
                    <a:pt x="238" y="13"/>
                  </a:lnTo>
                  <a:lnTo>
                    <a:pt x="235" y="14"/>
                  </a:lnTo>
                  <a:lnTo>
                    <a:pt x="230" y="16"/>
                  </a:lnTo>
                  <a:lnTo>
                    <a:pt x="227" y="16"/>
                  </a:lnTo>
                  <a:lnTo>
                    <a:pt x="224" y="19"/>
                  </a:lnTo>
                  <a:lnTo>
                    <a:pt x="219" y="18"/>
                  </a:lnTo>
                  <a:lnTo>
                    <a:pt x="216" y="19"/>
                  </a:lnTo>
                  <a:lnTo>
                    <a:pt x="211" y="21"/>
                  </a:lnTo>
                  <a:lnTo>
                    <a:pt x="208" y="21"/>
                  </a:lnTo>
                  <a:lnTo>
                    <a:pt x="205" y="21"/>
                  </a:lnTo>
                  <a:lnTo>
                    <a:pt x="200" y="19"/>
                  </a:lnTo>
                  <a:lnTo>
                    <a:pt x="197" y="22"/>
                  </a:lnTo>
                  <a:lnTo>
                    <a:pt x="194" y="22"/>
                  </a:lnTo>
                  <a:lnTo>
                    <a:pt x="189" y="24"/>
                  </a:lnTo>
                  <a:lnTo>
                    <a:pt x="186" y="24"/>
                  </a:lnTo>
                  <a:lnTo>
                    <a:pt x="182" y="22"/>
                  </a:lnTo>
                  <a:lnTo>
                    <a:pt x="179" y="22"/>
                  </a:lnTo>
                  <a:lnTo>
                    <a:pt x="175" y="25"/>
                  </a:lnTo>
                  <a:lnTo>
                    <a:pt x="171" y="22"/>
                  </a:lnTo>
                  <a:lnTo>
                    <a:pt x="163" y="22"/>
                  </a:lnTo>
                  <a:lnTo>
                    <a:pt x="157" y="22"/>
                  </a:lnTo>
                  <a:lnTo>
                    <a:pt x="152" y="21"/>
                  </a:lnTo>
                  <a:lnTo>
                    <a:pt x="149" y="22"/>
                  </a:lnTo>
                  <a:lnTo>
                    <a:pt x="146" y="22"/>
                  </a:lnTo>
                  <a:lnTo>
                    <a:pt x="141" y="22"/>
                  </a:lnTo>
                  <a:lnTo>
                    <a:pt x="138" y="22"/>
                  </a:lnTo>
                  <a:lnTo>
                    <a:pt x="138" y="25"/>
                  </a:lnTo>
                  <a:lnTo>
                    <a:pt x="141" y="29"/>
                  </a:lnTo>
                  <a:lnTo>
                    <a:pt x="138" y="29"/>
                  </a:lnTo>
                  <a:lnTo>
                    <a:pt x="133" y="30"/>
                  </a:lnTo>
                  <a:lnTo>
                    <a:pt x="130" y="29"/>
                  </a:lnTo>
                  <a:lnTo>
                    <a:pt x="135" y="27"/>
                  </a:lnTo>
                  <a:lnTo>
                    <a:pt x="130" y="27"/>
                  </a:lnTo>
                  <a:lnTo>
                    <a:pt x="127" y="27"/>
                  </a:lnTo>
                  <a:lnTo>
                    <a:pt x="122" y="27"/>
                  </a:lnTo>
                  <a:lnTo>
                    <a:pt x="119" y="29"/>
                  </a:lnTo>
                  <a:lnTo>
                    <a:pt x="122" y="29"/>
                  </a:lnTo>
                  <a:lnTo>
                    <a:pt x="127" y="30"/>
                  </a:lnTo>
                  <a:lnTo>
                    <a:pt x="122" y="30"/>
                  </a:lnTo>
                  <a:lnTo>
                    <a:pt x="119" y="32"/>
                  </a:lnTo>
                  <a:lnTo>
                    <a:pt x="116" y="32"/>
                  </a:lnTo>
                  <a:lnTo>
                    <a:pt x="113" y="33"/>
                  </a:lnTo>
                  <a:lnTo>
                    <a:pt x="109" y="32"/>
                  </a:lnTo>
                  <a:lnTo>
                    <a:pt x="105" y="33"/>
                  </a:lnTo>
                  <a:lnTo>
                    <a:pt x="102" y="35"/>
                  </a:lnTo>
                  <a:lnTo>
                    <a:pt x="94" y="35"/>
                  </a:lnTo>
                  <a:lnTo>
                    <a:pt x="87" y="40"/>
                  </a:lnTo>
                  <a:lnTo>
                    <a:pt x="83" y="40"/>
                  </a:lnTo>
                  <a:lnTo>
                    <a:pt x="79" y="41"/>
                  </a:lnTo>
                  <a:lnTo>
                    <a:pt x="76" y="43"/>
                  </a:lnTo>
                  <a:lnTo>
                    <a:pt x="79" y="43"/>
                  </a:lnTo>
                  <a:lnTo>
                    <a:pt x="76" y="45"/>
                  </a:lnTo>
                  <a:lnTo>
                    <a:pt x="71" y="45"/>
                  </a:lnTo>
                  <a:lnTo>
                    <a:pt x="68" y="46"/>
                  </a:lnTo>
                  <a:lnTo>
                    <a:pt x="71" y="48"/>
                  </a:lnTo>
                  <a:lnTo>
                    <a:pt x="75" y="51"/>
                  </a:lnTo>
                  <a:lnTo>
                    <a:pt x="71" y="51"/>
                  </a:lnTo>
                  <a:lnTo>
                    <a:pt x="67" y="51"/>
                  </a:lnTo>
                  <a:lnTo>
                    <a:pt x="64" y="51"/>
                  </a:lnTo>
                  <a:lnTo>
                    <a:pt x="60" y="49"/>
                  </a:lnTo>
                  <a:lnTo>
                    <a:pt x="56" y="51"/>
                  </a:lnTo>
                  <a:lnTo>
                    <a:pt x="52" y="52"/>
                  </a:lnTo>
                  <a:lnTo>
                    <a:pt x="56" y="56"/>
                  </a:lnTo>
                  <a:lnTo>
                    <a:pt x="52" y="59"/>
                  </a:lnTo>
                  <a:lnTo>
                    <a:pt x="49" y="59"/>
                  </a:lnTo>
                  <a:lnTo>
                    <a:pt x="44" y="56"/>
                  </a:lnTo>
                  <a:lnTo>
                    <a:pt x="41" y="56"/>
                  </a:lnTo>
                  <a:lnTo>
                    <a:pt x="38" y="56"/>
                  </a:lnTo>
                  <a:lnTo>
                    <a:pt x="35" y="56"/>
                  </a:lnTo>
                  <a:lnTo>
                    <a:pt x="33" y="59"/>
                  </a:lnTo>
                  <a:lnTo>
                    <a:pt x="37" y="62"/>
                  </a:lnTo>
                  <a:lnTo>
                    <a:pt x="40" y="62"/>
                  </a:lnTo>
                  <a:lnTo>
                    <a:pt x="43" y="62"/>
                  </a:lnTo>
                  <a:lnTo>
                    <a:pt x="48" y="60"/>
                  </a:lnTo>
                  <a:lnTo>
                    <a:pt x="51" y="62"/>
                  </a:lnTo>
                  <a:lnTo>
                    <a:pt x="48" y="64"/>
                  </a:lnTo>
                  <a:lnTo>
                    <a:pt x="51" y="64"/>
                  </a:lnTo>
                  <a:lnTo>
                    <a:pt x="54" y="64"/>
                  </a:lnTo>
                  <a:lnTo>
                    <a:pt x="48" y="65"/>
                  </a:lnTo>
                  <a:lnTo>
                    <a:pt x="43" y="67"/>
                  </a:lnTo>
                  <a:lnTo>
                    <a:pt x="40" y="68"/>
                  </a:lnTo>
                  <a:lnTo>
                    <a:pt x="43" y="70"/>
                  </a:lnTo>
                  <a:lnTo>
                    <a:pt x="46" y="68"/>
                  </a:lnTo>
                  <a:lnTo>
                    <a:pt x="51" y="68"/>
                  </a:lnTo>
                  <a:lnTo>
                    <a:pt x="54" y="70"/>
                  </a:lnTo>
                  <a:lnTo>
                    <a:pt x="57" y="71"/>
                  </a:lnTo>
                  <a:lnTo>
                    <a:pt x="60" y="71"/>
                  </a:lnTo>
                  <a:lnTo>
                    <a:pt x="65" y="71"/>
                  </a:lnTo>
                  <a:lnTo>
                    <a:pt x="62" y="73"/>
                  </a:lnTo>
                  <a:lnTo>
                    <a:pt x="57" y="71"/>
                  </a:lnTo>
                  <a:lnTo>
                    <a:pt x="54" y="71"/>
                  </a:lnTo>
                  <a:lnTo>
                    <a:pt x="51" y="71"/>
                  </a:lnTo>
                  <a:lnTo>
                    <a:pt x="46" y="71"/>
                  </a:lnTo>
                  <a:lnTo>
                    <a:pt x="43" y="73"/>
                  </a:lnTo>
                  <a:lnTo>
                    <a:pt x="40" y="71"/>
                  </a:lnTo>
                  <a:lnTo>
                    <a:pt x="35" y="73"/>
                  </a:lnTo>
                  <a:lnTo>
                    <a:pt x="35" y="76"/>
                  </a:lnTo>
                  <a:lnTo>
                    <a:pt x="38" y="78"/>
                  </a:lnTo>
                  <a:lnTo>
                    <a:pt x="43" y="76"/>
                  </a:lnTo>
                  <a:lnTo>
                    <a:pt x="46" y="76"/>
                  </a:lnTo>
                  <a:lnTo>
                    <a:pt x="51" y="78"/>
                  </a:lnTo>
                  <a:lnTo>
                    <a:pt x="54" y="79"/>
                  </a:lnTo>
                  <a:lnTo>
                    <a:pt x="49" y="79"/>
                  </a:lnTo>
                  <a:lnTo>
                    <a:pt x="46" y="79"/>
                  </a:lnTo>
                  <a:lnTo>
                    <a:pt x="43" y="79"/>
                  </a:lnTo>
                  <a:lnTo>
                    <a:pt x="40" y="79"/>
                  </a:lnTo>
                  <a:lnTo>
                    <a:pt x="35" y="79"/>
                  </a:lnTo>
                  <a:lnTo>
                    <a:pt x="32" y="83"/>
                  </a:lnTo>
                  <a:lnTo>
                    <a:pt x="35" y="83"/>
                  </a:lnTo>
                  <a:lnTo>
                    <a:pt x="40" y="84"/>
                  </a:lnTo>
                  <a:lnTo>
                    <a:pt x="43" y="86"/>
                  </a:lnTo>
                  <a:lnTo>
                    <a:pt x="40" y="84"/>
                  </a:lnTo>
                  <a:lnTo>
                    <a:pt x="35" y="86"/>
                  </a:lnTo>
                  <a:lnTo>
                    <a:pt x="32" y="84"/>
                  </a:lnTo>
                  <a:lnTo>
                    <a:pt x="29" y="86"/>
                  </a:lnTo>
                  <a:lnTo>
                    <a:pt x="40" y="87"/>
                  </a:lnTo>
                  <a:lnTo>
                    <a:pt x="49" y="91"/>
                  </a:lnTo>
                  <a:lnTo>
                    <a:pt x="46" y="91"/>
                  </a:lnTo>
                  <a:lnTo>
                    <a:pt x="43" y="91"/>
                  </a:lnTo>
                  <a:lnTo>
                    <a:pt x="38" y="89"/>
                  </a:lnTo>
                  <a:lnTo>
                    <a:pt x="35" y="89"/>
                  </a:lnTo>
                  <a:lnTo>
                    <a:pt x="32" y="87"/>
                  </a:lnTo>
                  <a:lnTo>
                    <a:pt x="27" y="89"/>
                  </a:lnTo>
                  <a:lnTo>
                    <a:pt x="24" y="91"/>
                  </a:lnTo>
                  <a:lnTo>
                    <a:pt x="22" y="94"/>
                  </a:lnTo>
                  <a:lnTo>
                    <a:pt x="25" y="95"/>
                  </a:lnTo>
                  <a:lnTo>
                    <a:pt x="22" y="95"/>
                  </a:lnTo>
                  <a:lnTo>
                    <a:pt x="18" y="95"/>
                  </a:lnTo>
                  <a:lnTo>
                    <a:pt x="14" y="97"/>
                  </a:lnTo>
                  <a:lnTo>
                    <a:pt x="11" y="98"/>
                  </a:lnTo>
                  <a:lnTo>
                    <a:pt x="8" y="102"/>
                  </a:lnTo>
                  <a:lnTo>
                    <a:pt x="3" y="102"/>
                  </a:lnTo>
                  <a:lnTo>
                    <a:pt x="0" y="103"/>
                  </a:lnTo>
                  <a:lnTo>
                    <a:pt x="8" y="105"/>
                  </a:lnTo>
                  <a:lnTo>
                    <a:pt x="19" y="106"/>
                  </a:lnTo>
                  <a:lnTo>
                    <a:pt x="22" y="103"/>
                  </a:lnTo>
                  <a:lnTo>
                    <a:pt x="29" y="103"/>
                  </a:lnTo>
                  <a:lnTo>
                    <a:pt x="33" y="103"/>
                  </a:lnTo>
                  <a:lnTo>
                    <a:pt x="40" y="103"/>
                  </a:lnTo>
                  <a:lnTo>
                    <a:pt x="37" y="103"/>
                  </a:lnTo>
                  <a:lnTo>
                    <a:pt x="33" y="105"/>
                  </a:lnTo>
                  <a:lnTo>
                    <a:pt x="30" y="10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11" name="Freeform 245"/>
            <p:cNvSpPr>
              <a:spLocks/>
            </p:cNvSpPr>
            <p:nvPr/>
          </p:nvSpPr>
          <p:spPr bwMode="auto">
            <a:xfrm>
              <a:off x="6428050" y="2437533"/>
              <a:ext cx="17644" cy="10155"/>
            </a:xfrm>
            <a:custGeom>
              <a:avLst/>
              <a:gdLst>
                <a:gd name="T0" fmla="*/ 22 w 23"/>
                <a:gd name="T1" fmla="*/ 13 h 13"/>
                <a:gd name="T2" fmla="*/ 22 w 23"/>
                <a:gd name="T3" fmla="*/ 11 h 13"/>
                <a:gd name="T4" fmla="*/ 23 w 23"/>
                <a:gd name="T5" fmla="*/ 8 h 13"/>
                <a:gd name="T6" fmla="*/ 22 w 23"/>
                <a:gd name="T7" fmla="*/ 5 h 13"/>
                <a:gd name="T8" fmla="*/ 17 w 23"/>
                <a:gd name="T9" fmla="*/ 3 h 13"/>
                <a:gd name="T10" fmla="*/ 14 w 23"/>
                <a:gd name="T11" fmla="*/ 3 h 13"/>
                <a:gd name="T12" fmla="*/ 11 w 23"/>
                <a:gd name="T13" fmla="*/ 0 h 13"/>
                <a:gd name="T14" fmla="*/ 14 w 23"/>
                <a:gd name="T15" fmla="*/ 1 h 13"/>
                <a:gd name="T16" fmla="*/ 17 w 23"/>
                <a:gd name="T17" fmla="*/ 3 h 13"/>
                <a:gd name="T18" fmla="*/ 14 w 23"/>
                <a:gd name="T19" fmla="*/ 0 h 13"/>
                <a:gd name="T20" fmla="*/ 11 w 23"/>
                <a:gd name="T21" fmla="*/ 0 h 13"/>
                <a:gd name="T22" fmla="*/ 8 w 23"/>
                <a:gd name="T23" fmla="*/ 0 h 13"/>
                <a:gd name="T24" fmla="*/ 4 w 23"/>
                <a:gd name="T25" fmla="*/ 0 h 13"/>
                <a:gd name="T26" fmla="*/ 0 w 23"/>
                <a:gd name="T27" fmla="*/ 0 h 13"/>
                <a:gd name="T28" fmla="*/ 0 w 23"/>
                <a:gd name="T29" fmla="*/ 3 h 13"/>
                <a:gd name="T30" fmla="*/ 6 w 23"/>
                <a:gd name="T31" fmla="*/ 5 h 13"/>
                <a:gd name="T32" fmla="*/ 11 w 23"/>
                <a:gd name="T33" fmla="*/ 6 h 13"/>
                <a:gd name="T34" fmla="*/ 16 w 23"/>
                <a:gd name="T35" fmla="*/ 9 h 13"/>
                <a:gd name="T36" fmla="*/ 22 w 23"/>
                <a:gd name="T3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3" h="13">
                  <a:moveTo>
                    <a:pt x="22" y="13"/>
                  </a:moveTo>
                  <a:lnTo>
                    <a:pt x="22" y="11"/>
                  </a:lnTo>
                  <a:lnTo>
                    <a:pt x="23" y="8"/>
                  </a:lnTo>
                  <a:lnTo>
                    <a:pt x="22" y="5"/>
                  </a:lnTo>
                  <a:lnTo>
                    <a:pt x="17" y="3"/>
                  </a:lnTo>
                  <a:lnTo>
                    <a:pt x="14" y="3"/>
                  </a:lnTo>
                  <a:lnTo>
                    <a:pt x="11" y="0"/>
                  </a:lnTo>
                  <a:lnTo>
                    <a:pt x="14" y="1"/>
                  </a:lnTo>
                  <a:lnTo>
                    <a:pt x="17" y="3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6" y="5"/>
                  </a:lnTo>
                  <a:lnTo>
                    <a:pt x="11" y="6"/>
                  </a:lnTo>
                  <a:lnTo>
                    <a:pt x="16" y="9"/>
                  </a:lnTo>
                  <a:lnTo>
                    <a:pt x="22" y="1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12" name="Freeform 246"/>
            <p:cNvSpPr>
              <a:spLocks/>
            </p:cNvSpPr>
            <p:nvPr/>
          </p:nvSpPr>
          <p:spPr bwMode="auto">
            <a:xfrm>
              <a:off x="6430990" y="2209055"/>
              <a:ext cx="11763" cy="3385"/>
            </a:xfrm>
            <a:custGeom>
              <a:avLst/>
              <a:gdLst>
                <a:gd name="T0" fmla="*/ 1 w 16"/>
                <a:gd name="T1" fmla="*/ 2 h 3"/>
                <a:gd name="T2" fmla="*/ 0 w 16"/>
                <a:gd name="T3" fmla="*/ 2 h 3"/>
                <a:gd name="T4" fmla="*/ 5 w 16"/>
                <a:gd name="T5" fmla="*/ 2 h 3"/>
                <a:gd name="T6" fmla="*/ 8 w 16"/>
                <a:gd name="T7" fmla="*/ 2 h 3"/>
                <a:gd name="T8" fmla="*/ 13 w 16"/>
                <a:gd name="T9" fmla="*/ 3 h 3"/>
                <a:gd name="T10" fmla="*/ 16 w 16"/>
                <a:gd name="T11" fmla="*/ 3 h 3"/>
                <a:gd name="T12" fmla="*/ 13 w 16"/>
                <a:gd name="T13" fmla="*/ 2 h 3"/>
                <a:gd name="T14" fmla="*/ 9 w 16"/>
                <a:gd name="T15" fmla="*/ 2 h 3"/>
                <a:gd name="T16" fmla="*/ 6 w 16"/>
                <a:gd name="T17" fmla="*/ 0 h 3"/>
                <a:gd name="T18" fmla="*/ 1 w 16"/>
                <a:gd name="T1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" h="3">
                  <a:moveTo>
                    <a:pt x="1" y="2"/>
                  </a:moveTo>
                  <a:lnTo>
                    <a:pt x="0" y="2"/>
                  </a:lnTo>
                  <a:lnTo>
                    <a:pt x="5" y="2"/>
                  </a:lnTo>
                  <a:lnTo>
                    <a:pt x="8" y="2"/>
                  </a:lnTo>
                  <a:lnTo>
                    <a:pt x="13" y="3"/>
                  </a:lnTo>
                  <a:lnTo>
                    <a:pt x="16" y="3"/>
                  </a:lnTo>
                  <a:lnTo>
                    <a:pt x="13" y="2"/>
                  </a:lnTo>
                  <a:lnTo>
                    <a:pt x="9" y="2"/>
                  </a:lnTo>
                  <a:lnTo>
                    <a:pt x="6" y="0"/>
                  </a:lnTo>
                  <a:lnTo>
                    <a:pt x="1" y="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13" name="Freeform 247"/>
            <p:cNvSpPr>
              <a:spLocks/>
            </p:cNvSpPr>
            <p:nvPr/>
          </p:nvSpPr>
          <p:spPr bwMode="auto">
            <a:xfrm>
              <a:off x="6436872" y="2180284"/>
              <a:ext cx="13233" cy="1692"/>
            </a:xfrm>
            <a:custGeom>
              <a:avLst/>
              <a:gdLst>
                <a:gd name="T0" fmla="*/ 3 w 19"/>
                <a:gd name="T1" fmla="*/ 0 h 2"/>
                <a:gd name="T2" fmla="*/ 0 w 19"/>
                <a:gd name="T3" fmla="*/ 0 h 2"/>
                <a:gd name="T4" fmla="*/ 3 w 19"/>
                <a:gd name="T5" fmla="*/ 2 h 2"/>
                <a:gd name="T6" fmla="*/ 8 w 19"/>
                <a:gd name="T7" fmla="*/ 2 h 2"/>
                <a:gd name="T8" fmla="*/ 14 w 19"/>
                <a:gd name="T9" fmla="*/ 2 h 2"/>
                <a:gd name="T10" fmla="*/ 19 w 19"/>
                <a:gd name="T11" fmla="*/ 0 h 2"/>
                <a:gd name="T12" fmla="*/ 14 w 19"/>
                <a:gd name="T13" fmla="*/ 0 h 2"/>
                <a:gd name="T14" fmla="*/ 11 w 19"/>
                <a:gd name="T15" fmla="*/ 0 h 2"/>
                <a:gd name="T16" fmla="*/ 6 w 19"/>
                <a:gd name="T17" fmla="*/ 0 h 2"/>
                <a:gd name="T18" fmla="*/ 3 w 19"/>
                <a:gd name="T1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" h="2">
                  <a:moveTo>
                    <a:pt x="3" y="0"/>
                  </a:moveTo>
                  <a:lnTo>
                    <a:pt x="0" y="0"/>
                  </a:lnTo>
                  <a:lnTo>
                    <a:pt x="3" y="2"/>
                  </a:lnTo>
                  <a:lnTo>
                    <a:pt x="8" y="2"/>
                  </a:lnTo>
                  <a:lnTo>
                    <a:pt x="14" y="2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14" name="Freeform 248"/>
            <p:cNvSpPr>
              <a:spLocks/>
            </p:cNvSpPr>
            <p:nvPr/>
          </p:nvSpPr>
          <p:spPr bwMode="auto">
            <a:xfrm>
              <a:off x="6438343" y="2188746"/>
              <a:ext cx="45581" cy="11847"/>
            </a:xfrm>
            <a:custGeom>
              <a:avLst/>
              <a:gdLst>
                <a:gd name="T0" fmla="*/ 4 w 64"/>
                <a:gd name="T1" fmla="*/ 9 h 12"/>
                <a:gd name="T2" fmla="*/ 4 w 64"/>
                <a:gd name="T3" fmla="*/ 9 h 12"/>
                <a:gd name="T4" fmla="*/ 7 w 64"/>
                <a:gd name="T5" fmla="*/ 9 h 12"/>
                <a:gd name="T6" fmla="*/ 11 w 64"/>
                <a:gd name="T7" fmla="*/ 11 h 12"/>
                <a:gd name="T8" fmla="*/ 15 w 64"/>
                <a:gd name="T9" fmla="*/ 12 h 12"/>
                <a:gd name="T10" fmla="*/ 18 w 64"/>
                <a:gd name="T11" fmla="*/ 11 h 12"/>
                <a:gd name="T12" fmla="*/ 21 w 64"/>
                <a:gd name="T13" fmla="*/ 11 h 12"/>
                <a:gd name="T14" fmla="*/ 26 w 64"/>
                <a:gd name="T15" fmla="*/ 9 h 12"/>
                <a:gd name="T16" fmla="*/ 29 w 64"/>
                <a:gd name="T17" fmla="*/ 11 h 12"/>
                <a:gd name="T18" fmla="*/ 32 w 64"/>
                <a:gd name="T19" fmla="*/ 11 h 12"/>
                <a:gd name="T20" fmla="*/ 37 w 64"/>
                <a:gd name="T21" fmla="*/ 11 h 12"/>
                <a:gd name="T22" fmla="*/ 40 w 64"/>
                <a:gd name="T23" fmla="*/ 12 h 12"/>
                <a:gd name="T24" fmla="*/ 43 w 64"/>
                <a:gd name="T25" fmla="*/ 12 h 12"/>
                <a:gd name="T26" fmla="*/ 48 w 64"/>
                <a:gd name="T27" fmla="*/ 11 h 12"/>
                <a:gd name="T28" fmla="*/ 51 w 64"/>
                <a:gd name="T29" fmla="*/ 9 h 12"/>
                <a:gd name="T30" fmla="*/ 56 w 64"/>
                <a:gd name="T31" fmla="*/ 7 h 12"/>
                <a:gd name="T32" fmla="*/ 59 w 64"/>
                <a:gd name="T33" fmla="*/ 7 h 12"/>
                <a:gd name="T34" fmla="*/ 62 w 64"/>
                <a:gd name="T35" fmla="*/ 6 h 12"/>
                <a:gd name="T36" fmla="*/ 64 w 64"/>
                <a:gd name="T37" fmla="*/ 1 h 12"/>
                <a:gd name="T38" fmla="*/ 59 w 64"/>
                <a:gd name="T39" fmla="*/ 0 h 12"/>
                <a:gd name="T40" fmla="*/ 54 w 64"/>
                <a:gd name="T41" fmla="*/ 0 h 12"/>
                <a:gd name="T42" fmla="*/ 48 w 64"/>
                <a:gd name="T43" fmla="*/ 0 h 12"/>
                <a:gd name="T44" fmla="*/ 40 w 64"/>
                <a:gd name="T45" fmla="*/ 0 h 12"/>
                <a:gd name="T46" fmla="*/ 27 w 64"/>
                <a:gd name="T47" fmla="*/ 1 h 12"/>
                <a:gd name="T48" fmla="*/ 15 w 64"/>
                <a:gd name="T49" fmla="*/ 1 h 12"/>
                <a:gd name="T50" fmla="*/ 18 w 64"/>
                <a:gd name="T51" fmla="*/ 1 h 12"/>
                <a:gd name="T52" fmla="*/ 13 w 64"/>
                <a:gd name="T53" fmla="*/ 0 h 12"/>
                <a:gd name="T54" fmla="*/ 8 w 64"/>
                <a:gd name="T55" fmla="*/ 1 h 12"/>
                <a:gd name="T56" fmla="*/ 5 w 64"/>
                <a:gd name="T57" fmla="*/ 3 h 12"/>
                <a:gd name="T58" fmla="*/ 0 w 64"/>
                <a:gd name="T59" fmla="*/ 6 h 12"/>
                <a:gd name="T60" fmla="*/ 4 w 64"/>
                <a:gd name="T61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" h="12">
                  <a:moveTo>
                    <a:pt x="4" y="9"/>
                  </a:moveTo>
                  <a:lnTo>
                    <a:pt x="4" y="9"/>
                  </a:lnTo>
                  <a:lnTo>
                    <a:pt x="7" y="9"/>
                  </a:lnTo>
                  <a:lnTo>
                    <a:pt x="11" y="11"/>
                  </a:lnTo>
                  <a:lnTo>
                    <a:pt x="15" y="12"/>
                  </a:lnTo>
                  <a:lnTo>
                    <a:pt x="18" y="11"/>
                  </a:lnTo>
                  <a:lnTo>
                    <a:pt x="21" y="11"/>
                  </a:lnTo>
                  <a:lnTo>
                    <a:pt x="26" y="9"/>
                  </a:lnTo>
                  <a:lnTo>
                    <a:pt x="29" y="11"/>
                  </a:lnTo>
                  <a:lnTo>
                    <a:pt x="32" y="11"/>
                  </a:lnTo>
                  <a:lnTo>
                    <a:pt x="37" y="11"/>
                  </a:lnTo>
                  <a:lnTo>
                    <a:pt x="40" y="12"/>
                  </a:lnTo>
                  <a:lnTo>
                    <a:pt x="43" y="12"/>
                  </a:lnTo>
                  <a:lnTo>
                    <a:pt x="48" y="11"/>
                  </a:lnTo>
                  <a:lnTo>
                    <a:pt x="51" y="9"/>
                  </a:lnTo>
                  <a:lnTo>
                    <a:pt x="56" y="7"/>
                  </a:lnTo>
                  <a:lnTo>
                    <a:pt x="59" y="7"/>
                  </a:lnTo>
                  <a:lnTo>
                    <a:pt x="62" y="6"/>
                  </a:lnTo>
                  <a:lnTo>
                    <a:pt x="64" y="1"/>
                  </a:lnTo>
                  <a:lnTo>
                    <a:pt x="59" y="0"/>
                  </a:lnTo>
                  <a:lnTo>
                    <a:pt x="54" y="0"/>
                  </a:lnTo>
                  <a:lnTo>
                    <a:pt x="48" y="0"/>
                  </a:lnTo>
                  <a:lnTo>
                    <a:pt x="40" y="0"/>
                  </a:lnTo>
                  <a:lnTo>
                    <a:pt x="27" y="1"/>
                  </a:lnTo>
                  <a:lnTo>
                    <a:pt x="15" y="1"/>
                  </a:lnTo>
                  <a:lnTo>
                    <a:pt x="18" y="1"/>
                  </a:lnTo>
                  <a:lnTo>
                    <a:pt x="13" y="0"/>
                  </a:lnTo>
                  <a:lnTo>
                    <a:pt x="8" y="1"/>
                  </a:lnTo>
                  <a:lnTo>
                    <a:pt x="5" y="3"/>
                  </a:lnTo>
                  <a:lnTo>
                    <a:pt x="0" y="6"/>
                  </a:lnTo>
                  <a:lnTo>
                    <a:pt x="4" y="9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15" name="Freeform 249"/>
            <p:cNvSpPr>
              <a:spLocks/>
            </p:cNvSpPr>
            <p:nvPr/>
          </p:nvSpPr>
          <p:spPr bwMode="auto">
            <a:xfrm>
              <a:off x="6438343" y="2207363"/>
              <a:ext cx="17644" cy="3385"/>
            </a:xfrm>
            <a:custGeom>
              <a:avLst/>
              <a:gdLst>
                <a:gd name="T0" fmla="*/ 0 w 24"/>
                <a:gd name="T1" fmla="*/ 3 h 5"/>
                <a:gd name="T2" fmla="*/ 8 w 24"/>
                <a:gd name="T3" fmla="*/ 3 h 5"/>
                <a:gd name="T4" fmla="*/ 13 w 24"/>
                <a:gd name="T5" fmla="*/ 5 h 5"/>
                <a:gd name="T6" fmla="*/ 19 w 24"/>
                <a:gd name="T7" fmla="*/ 5 h 5"/>
                <a:gd name="T8" fmla="*/ 24 w 24"/>
                <a:gd name="T9" fmla="*/ 3 h 5"/>
                <a:gd name="T10" fmla="*/ 24 w 24"/>
                <a:gd name="T11" fmla="*/ 3 h 5"/>
                <a:gd name="T12" fmla="*/ 19 w 24"/>
                <a:gd name="T13" fmla="*/ 0 h 5"/>
                <a:gd name="T14" fmla="*/ 16 w 24"/>
                <a:gd name="T15" fmla="*/ 0 h 5"/>
                <a:gd name="T16" fmla="*/ 11 w 24"/>
                <a:gd name="T17" fmla="*/ 0 h 5"/>
                <a:gd name="T18" fmla="*/ 8 w 24"/>
                <a:gd name="T19" fmla="*/ 0 h 5"/>
                <a:gd name="T20" fmla="*/ 5 w 24"/>
                <a:gd name="T21" fmla="*/ 0 h 5"/>
                <a:gd name="T22" fmla="*/ 0 w 24"/>
                <a:gd name="T23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" h="5">
                  <a:moveTo>
                    <a:pt x="0" y="3"/>
                  </a:moveTo>
                  <a:lnTo>
                    <a:pt x="8" y="3"/>
                  </a:lnTo>
                  <a:lnTo>
                    <a:pt x="13" y="5"/>
                  </a:lnTo>
                  <a:lnTo>
                    <a:pt x="19" y="5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19" y="0"/>
                  </a:lnTo>
                  <a:lnTo>
                    <a:pt x="16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16" name="Freeform 250"/>
            <p:cNvSpPr>
              <a:spLocks/>
            </p:cNvSpPr>
            <p:nvPr/>
          </p:nvSpPr>
          <p:spPr bwMode="auto">
            <a:xfrm>
              <a:off x="6455987" y="2203978"/>
              <a:ext cx="4411" cy="1692"/>
            </a:xfrm>
            <a:custGeom>
              <a:avLst/>
              <a:gdLst>
                <a:gd name="T0" fmla="*/ 0 w 6"/>
                <a:gd name="T1" fmla="*/ 2 h 2"/>
                <a:gd name="T2" fmla="*/ 3 w 6"/>
                <a:gd name="T3" fmla="*/ 2 h 2"/>
                <a:gd name="T4" fmla="*/ 6 w 6"/>
                <a:gd name="T5" fmla="*/ 2 h 2"/>
                <a:gd name="T6" fmla="*/ 3 w 6"/>
                <a:gd name="T7" fmla="*/ 0 h 2"/>
                <a:gd name="T8" fmla="*/ 0 w 6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0" y="2"/>
                  </a:moveTo>
                  <a:lnTo>
                    <a:pt x="3" y="2"/>
                  </a:lnTo>
                  <a:lnTo>
                    <a:pt x="6" y="2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17" name="Freeform 251"/>
            <p:cNvSpPr>
              <a:spLocks/>
            </p:cNvSpPr>
            <p:nvPr/>
          </p:nvSpPr>
          <p:spPr bwMode="auto">
            <a:xfrm>
              <a:off x="6466278" y="2173514"/>
              <a:ext cx="5881" cy="1692"/>
            </a:xfrm>
            <a:custGeom>
              <a:avLst/>
              <a:gdLst>
                <a:gd name="T0" fmla="*/ 0 w 8"/>
                <a:gd name="T1" fmla="*/ 0 h 1"/>
                <a:gd name="T2" fmla="*/ 0 w 8"/>
                <a:gd name="T3" fmla="*/ 1 h 1"/>
                <a:gd name="T4" fmla="*/ 5 w 8"/>
                <a:gd name="T5" fmla="*/ 1 h 1"/>
                <a:gd name="T6" fmla="*/ 8 w 8"/>
                <a:gd name="T7" fmla="*/ 0 h 1"/>
                <a:gd name="T8" fmla="*/ 5 w 8"/>
                <a:gd name="T9" fmla="*/ 0 h 1"/>
                <a:gd name="T10" fmla="*/ 0 w 8"/>
                <a:gd name="T1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">
                  <a:moveTo>
                    <a:pt x="0" y="0"/>
                  </a:moveTo>
                  <a:lnTo>
                    <a:pt x="0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18" name="Freeform 252"/>
            <p:cNvSpPr>
              <a:spLocks/>
            </p:cNvSpPr>
            <p:nvPr/>
          </p:nvSpPr>
          <p:spPr bwMode="auto">
            <a:xfrm>
              <a:off x="6486864" y="2523847"/>
              <a:ext cx="2941" cy="1692"/>
            </a:xfrm>
            <a:custGeom>
              <a:avLst/>
              <a:gdLst>
                <a:gd name="T0" fmla="*/ 0 w 3"/>
                <a:gd name="T1" fmla="*/ 2 h 2"/>
                <a:gd name="T2" fmla="*/ 0 w 3"/>
                <a:gd name="T3" fmla="*/ 2 h 2"/>
                <a:gd name="T4" fmla="*/ 3 w 3"/>
                <a:gd name="T5" fmla="*/ 0 h 2"/>
                <a:gd name="T6" fmla="*/ 0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0" y="2"/>
                  </a:moveTo>
                  <a:lnTo>
                    <a:pt x="0" y="2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19" name="Freeform 253"/>
            <p:cNvSpPr>
              <a:spLocks/>
            </p:cNvSpPr>
            <p:nvPr/>
          </p:nvSpPr>
          <p:spPr bwMode="auto">
            <a:xfrm>
              <a:off x="6489804" y="2181977"/>
              <a:ext cx="44111" cy="11847"/>
            </a:xfrm>
            <a:custGeom>
              <a:avLst/>
              <a:gdLst>
                <a:gd name="T0" fmla="*/ 0 w 62"/>
                <a:gd name="T1" fmla="*/ 8 h 12"/>
                <a:gd name="T2" fmla="*/ 6 w 62"/>
                <a:gd name="T3" fmla="*/ 11 h 12"/>
                <a:gd name="T4" fmla="*/ 14 w 62"/>
                <a:gd name="T5" fmla="*/ 12 h 12"/>
                <a:gd name="T6" fmla="*/ 21 w 62"/>
                <a:gd name="T7" fmla="*/ 12 h 12"/>
                <a:gd name="T8" fmla="*/ 29 w 62"/>
                <a:gd name="T9" fmla="*/ 12 h 12"/>
                <a:gd name="T10" fmla="*/ 45 w 62"/>
                <a:gd name="T11" fmla="*/ 11 h 12"/>
                <a:gd name="T12" fmla="*/ 62 w 62"/>
                <a:gd name="T13" fmla="*/ 8 h 12"/>
                <a:gd name="T14" fmla="*/ 60 w 62"/>
                <a:gd name="T15" fmla="*/ 3 h 12"/>
                <a:gd name="T16" fmla="*/ 56 w 62"/>
                <a:gd name="T17" fmla="*/ 3 h 12"/>
                <a:gd name="T18" fmla="*/ 52 w 62"/>
                <a:gd name="T19" fmla="*/ 1 h 12"/>
                <a:gd name="T20" fmla="*/ 48 w 62"/>
                <a:gd name="T21" fmla="*/ 0 h 12"/>
                <a:gd name="T22" fmla="*/ 38 w 62"/>
                <a:gd name="T23" fmla="*/ 0 h 12"/>
                <a:gd name="T24" fmla="*/ 35 w 62"/>
                <a:gd name="T25" fmla="*/ 0 h 12"/>
                <a:gd name="T26" fmla="*/ 30 w 62"/>
                <a:gd name="T27" fmla="*/ 1 h 12"/>
                <a:gd name="T28" fmla="*/ 30 w 62"/>
                <a:gd name="T29" fmla="*/ 4 h 12"/>
                <a:gd name="T30" fmla="*/ 22 w 62"/>
                <a:gd name="T31" fmla="*/ 4 h 12"/>
                <a:gd name="T32" fmla="*/ 16 w 62"/>
                <a:gd name="T33" fmla="*/ 4 h 12"/>
                <a:gd name="T34" fmla="*/ 10 w 62"/>
                <a:gd name="T35" fmla="*/ 6 h 12"/>
                <a:gd name="T36" fmla="*/ 0 w 62"/>
                <a:gd name="T37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2" h="12">
                  <a:moveTo>
                    <a:pt x="0" y="8"/>
                  </a:moveTo>
                  <a:lnTo>
                    <a:pt x="6" y="11"/>
                  </a:lnTo>
                  <a:lnTo>
                    <a:pt x="14" y="12"/>
                  </a:lnTo>
                  <a:lnTo>
                    <a:pt x="21" y="12"/>
                  </a:lnTo>
                  <a:lnTo>
                    <a:pt x="29" y="12"/>
                  </a:lnTo>
                  <a:lnTo>
                    <a:pt x="45" y="11"/>
                  </a:lnTo>
                  <a:lnTo>
                    <a:pt x="62" y="8"/>
                  </a:lnTo>
                  <a:lnTo>
                    <a:pt x="60" y="3"/>
                  </a:lnTo>
                  <a:lnTo>
                    <a:pt x="56" y="3"/>
                  </a:lnTo>
                  <a:lnTo>
                    <a:pt x="52" y="1"/>
                  </a:lnTo>
                  <a:lnTo>
                    <a:pt x="48" y="0"/>
                  </a:lnTo>
                  <a:lnTo>
                    <a:pt x="38" y="0"/>
                  </a:lnTo>
                  <a:lnTo>
                    <a:pt x="35" y="0"/>
                  </a:lnTo>
                  <a:lnTo>
                    <a:pt x="30" y="1"/>
                  </a:lnTo>
                  <a:lnTo>
                    <a:pt x="30" y="4"/>
                  </a:lnTo>
                  <a:lnTo>
                    <a:pt x="22" y="4"/>
                  </a:lnTo>
                  <a:lnTo>
                    <a:pt x="16" y="4"/>
                  </a:lnTo>
                  <a:lnTo>
                    <a:pt x="10" y="6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20" name="Freeform 254"/>
            <p:cNvSpPr>
              <a:spLocks/>
            </p:cNvSpPr>
            <p:nvPr/>
          </p:nvSpPr>
          <p:spPr bwMode="auto">
            <a:xfrm>
              <a:off x="6494216" y="2310602"/>
              <a:ext cx="5881" cy="1692"/>
            </a:xfrm>
            <a:custGeom>
              <a:avLst/>
              <a:gdLst>
                <a:gd name="T0" fmla="*/ 0 w 8"/>
                <a:gd name="T1" fmla="*/ 1 h 1"/>
                <a:gd name="T2" fmla="*/ 0 w 8"/>
                <a:gd name="T3" fmla="*/ 1 h 1"/>
                <a:gd name="T4" fmla="*/ 5 w 8"/>
                <a:gd name="T5" fmla="*/ 1 h 1"/>
                <a:gd name="T6" fmla="*/ 8 w 8"/>
                <a:gd name="T7" fmla="*/ 0 h 1"/>
                <a:gd name="T8" fmla="*/ 5 w 8"/>
                <a:gd name="T9" fmla="*/ 0 h 1"/>
                <a:gd name="T10" fmla="*/ 0 w 8"/>
                <a:gd name="T1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">
                  <a:moveTo>
                    <a:pt x="0" y="1"/>
                  </a:moveTo>
                  <a:lnTo>
                    <a:pt x="0" y="1"/>
                  </a:lnTo>
                  <a:lnTo>
                    <a:pt x="5" y="1"/>
                  </a:lnTo>
                  <a:lnTo>
                    <a:pt x="8" y="0"/>
                  </a:lnTo>
                  <a:lnTo>
                    <a:pt x="5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21" name="Freeform 255"/>
            <p:cNvSpPr>
              <a:spLocks/>
            </p:cNvSpPr>
            <p:nvPr/>
          </p:nvSpPr>
          <p:spPr bwMode="auto">
            <a:xfrm>
              <a:off x="6500097" y="2312293"/>
              <a:ext cx="1471" cy="1692"/>
            </a:xfrm>
            <a:custGeom>
              <a:avLst/>
              <a:gdLst>
                <a:gd name="T0" fmla="*/ 0 w 4"/>
                <a:gd name="T1" fmla="*/ 0 w 4"/>
                <a:gd name="T2" fmla="*/ 4 w 4"/>
                <a:gd name="T3" fmla="*/ 0 w 4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4">
                  <a:moveTo>
                    <a:pt x="0" y="0"/>
                  </a:move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22" name="Freeform 256"/>
            <p:cNvSpPr>
              <a:spLocks/>
            </p:cNvSpPr>
            <p:nvPr/>
          </p:nvSpPr>
          <p:spPr bwMode="auto">
            <a:xfrm>
              <a:off x="6505979" y="2308909"/>
              <a:ext cx="2941" cy="1692"/>
            </a:xfrm>
            <a:custGeom>
              <a:avLst/>
              <a:gdLst>
                <a:gd name="T0" fmla="*/ 0 w 5"/>
                <a:gd name="T1" fmla="*/ 0 w 5"/>
                <a:gd name="T2" fmla="*/ 5 w 5"/>
                <a:gd name="T3" fmla="*/ 0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5">
                  <a:moveTo>
                    <a:pt x="0" y="0"/>
                  </a:moveTo>
                  <a:lnTo>
                    <a:pt x="0" y="0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23" name="Freeform 257"/>
            <p:cNvSpPr>
              <a:spLocks/>
            </p:cNvSpPr>
            <p:nvPr/>
          </p:nvSpPr>
          <p:spPr bwMode="auto">
            <a:xfrm>
              <a:off x="6507448" y="2506923"/>
              <a:ext cx="5881" cy="1692"/>
            </a:xfrm>
            <a:custGeom>
              <a:avLst/>
              <a:gdLst>
                <a:gd name="T0" fmla="*/ 0 w 8"/>
                <a:gd name="T1" fmla="*/ 2 h 2"/>
                <a:gd name="T2" fmla="*/ 0 w 8"/>
                <a:gd name="T3" fmla="*/ 2 h 2"/>
                <a:gd name="T4" fmla="*/ 4 w 8"/>
                <a:gd name="T5" fmla="*/ 2 h 2"/>
                <a:gd name="T6" fmla="*/ 8 w 8"/>
                <a:gd name="T7" fmla="*/ 2 h 2"/>
                <a:gd name="T8" fmla="*/ 4 w 8"/>
                <a:gd name="T9" fmla="*/ 0 h 2"/>
                <a:gd name="T10" fmla="*/ 0 w 8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2">
                  <a:moveTo>
                    <a:pt x="0" y="2"/>
                  </a:moveTo>
                  <a:lnTo>
                    <a:pt x="0" y="2"/>
                  </a:lnTo>
                  <a:lnTo>
                    <a:pt x="4" y="2"/>
                  </a:lnTo>
                  <a:lnTo>
                    <a:pt x="8" y="2"/>
                  </a:lnTo>
                  <a:lnTo>
                    <a:pt x="4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24" name="Freeform 258"/>
            <p:cNvSpPr>
              <a:spLocks/>
            </p:cNvSpPr>
            <p:nvPr/>
          </p:nvSpPr>
          <p:spPr bwMode="auto">
            <a:xfrm>
              <a:off x="6511860" y="2303832"/>
              <a:ext cx="8822" cy="3385"/>
            </a:xfrm>
            <a:custGeom>
              <a:avLst/>
              <a:gdLst>
                <a:gd name="T0" fmla="*/ 0 w 11"/>
                <a:gd name="T1" fmla="*/ 1 h 3"/>
                <a:gd name="T2" fmla="*/ 0 w 11"/>
                <a:gd name="T3" fmla="*/ 3 h 3"/>
                <a:gd name="T4" fmla="*/ 3 w 11"/>
                <a:gd name="T5" fmla="*/ 3 h 3"/>
                <a:gd name="T6" fmla="*/ 6 w 11"/>
                <a:gd name="T7" fmla="*/ 1 h 3"/>
                <a:gd name="T8" fmla="*/ 11 w 11"/>
                <a:gd name="T9" fmla="*/ 0 h 3"/>
                <a:gd name="T10" fmla="*/ 8 w 11"/>
                <a:gd name="T11" fmla="*/ 1 h 3"/>
                <a:gd name="T12" fmla="*/ 3 w 11"/>
                <a:gd name="T13" fmla="*/ 1 h 3"/>
                <a:gd name="T14" fmla="*/ 0 w 11"/>
                <a:gd name="T15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3">
                  <a:moveTo>
                    <a:pt x="0" y="1"/>
                  </a:moveTo>
                  <a:lnTo>
                    <a:pt x="0" y="3"/>
                  </a:lnTo>
                  <a:lnTo>
                    <a:pt x="3" y="3"/>
                  </a:lnTo>
                  <a:lnTo>
                    <a:pt x="6" y="1"/>
                  </a:lnTo>
                  <a:lnTo>
                    <a:pt x="11" y="0"/>
                  </a:lnTo>
                  <a:lnTo>
                    <a:pt x="8" y="1"/>
                  </a:lnTo>
                  <a:lnTo>
                    <a:pt x="3" y="1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25" name="Freeform 259"/>
            <p:cNvSpPr>
              <a:spLocks/>
            </p:cNvSpPr>
            <p:nvPr/>
          </p:nvSpPr>
          <p:spPr bwMode="auto">
            <a:xfrm>
              <a:off x="6516271" y="2354604"/>
              <a:ext cx="1471" cy="1692"/>
            </a:xfrm>
            <a:custGeom>
              <a:avLst/>
              <a:gdLst>
                <a:gd name="T0" fmla="*/ 0 w 3"/>
                <a:gd name="T1" fmla="*/ 0 w 3"/>
                <a:gd name="T2" fmla="*/ 3 w 3"/>
                <a:gd name="T3" fmla="*/ 0 w 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3">
                  <a:moveTo>
                    <a:pt x="0" y="0"/>
                  </a:moveTo>
                  <a:lnTo>
                    <a:pt x="0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26" name="Freeform 260"/>
            <p:cNvSpPr>
              <a:spLocks/>
            </p:cNvSpPr>
            <p:nvPr/>
          </p:nvSpPr>
          <p:spPr bwMode="auto">
            <a:xfrm>
              <a:off x="6523623" y="2459536"/>
              <a:ext cx="5881" cy="1692"/>
            </a:xfrm>
            <a:custGeom>
              <a:avLst/>
              <a:gdLst>
                <a:gd name="T0" fmla="*/ 5 w 8"/>
                <a:gd name="T1" fmla="*/ 1 h 1"/>
                <a:gd name="T2" fmla="*/ 5 w 8"/>
                <a:gd name="T3" fmla="*/ 1 h 1"/>
                <a:gd name="T4" fmla="*/ 8 w 8"/>
                <a:gd name="T5" fmla="*/ 1 h 1"/>
                <a:gd name="T6" fmla="*/ 5 w 8"/>
                <a:gd name="T7" fmla="*/ 0 h 1"/>
                <a:gd name="T8" fmla="*/ 0 w 8"/>
                <a:gd name="T9" fmla="*/ 1 h 1"/>
                <a:gd name="T10" fmla="*/ 5 w 8"/>
                <a:gd name="T11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1">
                  <a:moveTo>
                    <a:pt x="5" y="1"/>
                  </a:moveTo>
                  <a:lnTo>
                    <a:pt x="5" y="1"/>
                  </a:lnTo>
                  <a:lnTo>
                    <a:pt x="8" y="1"/>
                  </a:lnTo>
                  <a:lnTo>
                    <a:pt x="5" y="0"/>
                  </a:lnTo>
                  <a:lnTo>
                    <a:pt x="0" y="1"/>
                  </a:lnTo>
                  <a:lnTo>
                    <a:pt x="5" y="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27" name="Freeform 261"/>
            <p:cNvSpPr>
              <a:spLocks/>
            </p:cNvSpPr>
            <p:nvPr/>
          </p:nvSpPr>
          <p:spPr bwMode="auto">
            <a:xfrm>
              <a:off x="6548619" y="2512000"/>
              <a:ext cx="10293" cy="1692"/>
            </a:xfrm>
            <a:custGeom>
              <a:avLst/>
              <a:gdLst>
                <a:gd name="T0" fmla="*/ 0 w 14"/>
                <a:gd name="T1" fmla="*/ 2 h 3"/>
                <a:gd name="T2" fmla="*/ 0 w 14"/>
                <a:gd name="T3" fmla="*/ 3 h 3"/>
                <a:gd name="T4" fmla="*/ 5 w 14"/>
                <a:gd name="T5" fmla="*/ 2 h 3"/>
                <a:gd name="T6" fmla="*/ 8 w 14"/>
                <a:gd name="T7" fmla="*/ 2 h 3"/>
                <a:gd name="T8" fmla="*/ 11 w 14"/>
                <a:gd name="T9" fmla="*/ 2 h 3"/>
                <a:gd name="T10" fmla="*/ 14 w 14"/>
                <a:gd name="T11" fmla="*/ 0 h 3"/>
                <a:gd name="T12" fmla="*/ 11 w 14"/>
                <a:gd name="T13" fmla="*/ 2 h 3"/>
                <a:gd name="T14" fmla="*/ 8 w 14"/>
                <a:gd name="T15" fmla="*/ 2 h 3"/>
                <a:gd name="T16" fmla="*/ 5 w 14"/>
                <a:gd name="T17" fmla="*/ 2 h 3"/>
                <a:gd name="T18" fmla="*/ 0 w 14"/>
                <a:gd name="T1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" h="3">
                  <a:moveTo>
                    <a:pt x="0" y="2"/>
                  </a:moveTo>
                  <a:lnTo>
                    <a:pt x="0" y="3"/>
                  </a:lnTo>
                  <a:lnTo>
                    <a:pt x="5" y="2"/>
                  </a:lnTo>
                  <a:lnTo>
                    <a:pt x="8" y="2"/>
                  </a:lnTo>
                  <a:lnTo>
                    <a:pt x="11" y="2"/>
                  </a:lnTo>
                  <a:lnTo>
                    <a:pt x="14" y="0"/>
                  </a:lnTo>
                  <a:lnTo>
                    <a:pt x="11" y="2"/>
                  </a:lnTo>
                  <a:lnTo>
                    <a:pt x="8" y="2"/>
                  </a:lnTo>
                  <a:lnTo>
                    <a:pt x="5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28" name="Freeform 262"/>
            <p:cNvSpPr>
              <a:spLocks/>
            </p:cNvSpPr>
            <p:nvPr/>
          </p:nvSpPr>
          <p:spPr bwMode="auto">
            <a:xfrm>
              <a:off x="6555971" y="2462920"/>
              <a:ext cx="44111" cy="22001"/>
            </a:xfrm>
            <a:custGeom>
              <a:avLst/>
              <a:gdLst>
                <a:gd name="T0" fmla="*/ 9 w 60"/>
                <a:gd name="T1" fmla="*/ 16 h 27"/>
                <a:gd name="T2" fmla="*/ 14 w 60"/>
                <a:gd name="T3" fmla="*/ 17 h 27"/>
                <a:gd name="T4" fmla="*/ 17 w 60"/>
                <a:gd name="T5" fmla="*/ 19 h 27"/>
                <a:gd name="T6" fmla="*/ 20 w 60"/>
                <a:gd name="T7" fmla="*/ 21 h 27"/>
                <a:gd name="T8" fmla="*/ 17 w 60"/>
                <a:gd name="T9" fmla="*/ 19 h 27"/>
                <a:gd name="T10" fmla="*/ 26 w 60"/>
                <a:gd name="T11" fmla="*/ 19 h 27"/>
                <a:gd name="T12" fmla="*/ 36 w 60"/>
                <a:gd name="T13" fmla="*/ 22 h 27"/>
                <a:gd name="T14" fmla="*/ 36 w 60"/>
                <a:gd name="T15" fmla="*/ 25 h 27"/>
                <a:gd name="T16" fmla="*/ 41 w 60"/>
                <a:gd name="T17" fmla="*/ 27 h 27"/>
                <a:gd name="T18" fmla="*/ 44 w 60"/>
                <a:gd name="T19" fmla="*/ 27 h 27"/>
                <a:gd name="T20" fmla="*/ 47 w 60"/>
                <a:gd name="T21" fmla="*/ 25 h 27"/>
                <a:gd name="T22" fmla="*/ 47 w 60"/>
                <a:gd name="T23" fmla="*/ 25 h 27"/>
                <a:gd name="T24" fmla="*/ 50 w 60"/>
                <a:gd name="T25" fmla="*/ 27 h 27"/>
                <a:gd name="T26" fmla="*/ 55 w 60"/>
                <a:gd name="T27" fmla="*/ 27 h 27"/>
                <a:gd name="T28" fmla="*/ 58 w 60"/>
                <a:gd name="T29" fmla="*/ 25 h 27"/>
                <a:gd name="T30" fmla="*/ 60 w 60"/>
                <a:gd name="T31" fmla="*/ 22 h 27"/>
                <a:gd name="T32" fmla="*/ 57 w 60"/>
                <a:gd name="T33" fmla="*/ 19 h 27"/>
                <a:gd name="T34" fmla="*/ 53 w 60"/>
                <a:gd name="T35" fmla="*/ 17 h 27"/>
                <a:gd name="T36" fmla="*/ 50 w 60"/>
                <a:gd name="T37" fmla="*/ 16 h 27"/>
                <a:gd name="T38" fmla="*/ 46 w 60"/>
                <a:gd name="T39" fmla="*/ 14 h 27"/>
                <a:gd name="T40" fmla="*/ 42 w 60"/>
                <a:gd name="T41" fmla="*/ 13 h 27"/>
                <a:gd name="T42" fmla="*/ 42 w 60"/>
                <a:gd name="T43" fmla="*/ 13 h 27"/>
                <a:gd name="T44" fmla="*/ 39 w 60"/>
                <a:gd name="T45" fmla="*/ 13 h 27"/>
                <a:gd name="T46" fmla="*/ 34 w 60"/>
                <a:gd name="T47" fmla="*/ 10 h 27"/>
                <a:gd name="T48" fmla="*/ 31 w 60"/>
                <a:gd name="T49" fmla="*/ 10 h 27"/>
                <a:gd name="T50" fmla="*/ 28 w 60"/>
                <a:gd name="T51" fmla="*/ 8 h 27"/>
                <a:gd name="T52" fmla="*/ 23 w 60"/>
                <a:gd name="T53" fmla="*/ 6 h 27"/>
                <a:gd name="T54" fmla="*/ 20 w 60"/>
                <a:gd name="T55" fmla="*/ 3 h 27"/>
                <a:gd name="T56" fmla="*/ 17 w 60"/>
                <a:gd name="T57" fmla="*/ 3 h 27"/>
                <a:gd name="T58" fmla="*/ 14 w 60"/>
                <a:gd name="T59" fmla="*/ 2 h 27"/>
                <a:gd name="T60" fmla="*/ 9 w 60"/>
                <a:gd name="T61" fmla="*/ 0 h 27"/>
                <a:gd name="T62" fmla="*/ 6 w 60"/>
                <a:gd name="T63" fmla="*/ 2 h 27"/>
                <a:gd name="T64" fmla="*/ 3 w 60"/>
                <a:gd name="T65" fmla="*/ 5 h 27"/>
                <a:gd name="T66" fmla="*/ 0 w 60"/>
                <a:gd name="T67" fmla="*/ 5 h 27"/>
                <a:gd name="T68" fmla="*/ 3 w 60"/>
                <a:gd name="T69" fmla="*/ 6 h 27"/>
                <a:gd name="T70" fmla="*/ 7 w 60"/>
                <a:gd name="T71" fmla="*/ 8 h 27"/>
                <a:gd name="T72" fmla="*/ 3 w 60"/>
                <a:gd name="T73" fmla="*/ 8 h 27"/>
                <a:gd name="T74" fmla="*/ 0 w 60"/>
                <a:gd name="T75" fmla="*/ 6 h 27"/>
                <a:gd name="T76" fmla="*/ 3 w 60"/>
                <a:gd name="T77" fmla="*/ 10 h 27"/>
                <a:gd name="T78" fmla="*/ 6 w 60"/>
                <a:gd name="T79" fmla="*/ 14 h 27"/>
                <a:gd name="T80" fmla="*/ 9 w 60"/>
                <a:gd name="T81" fmla="*/ 16 h 27"/>
                <a:gd name="T82" fmla="*/ 9 w 60"/>
                <a:gd name="T83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0" h="27">
                  <a:moveTo>
                    <a:pt x="9" y="16"/>
                  </a:moveTo>
                  <a:lnTo>
                    <a:pt x="14" y="17"/>
                  </a:lnTo>
                  <a:lnTo>
                    <a:pt x="17" y="19"/>
                  </a:lnTo>
                  <a:lnTo>
                    <a:pt x="20" y="21"/>
                  </a:lnTo>
                  <a:lnTo>
                    <a:pt x="17" y="19"/>
                  </a:lnTo>
                  <a:lnTo>
                    <a:pt x="26" y="19"/>
                  </a:lnTo>
                  <a:lnTo>
                    <a:pt x="36" y="22"/>
                  </a:lnTo>
                  <a:lnTo>
                    <a:pt x="36" y="25"/>
                  </a:lnTo>
                  <a:lnTo>
                    <a:pt x="41" y="27"/>
                  </a:lnTo>
                  <a:lnTo>
                    <a:pt x="44" y="27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50" y="27"/>
                  </a:lnTo>
                  <a:lnTo>
                    <a:pt x="55" y="27"/>
                  </a:lnTo>
                  <a:lnTo>
                    <a:pt x="58" y="25"/>
                  </a:lnTo>
                  <a:lnTo>
                    <a:pt x="60" y="22"/>
                  </a:lnTo>
                  <a:lnTo>
                    <a:pt x="57" y="19"/>
                  </a:lnTo>
                  <a:lnTo>
                    <a:pt x="53" y="17"/>
                  </a:lnTo>
                  <a:lnTo>
                    <a:pt x="50" y="16"/>
                  </a:lnTo>
                  <a:lnTo>
                    <a:pt x="46" y="14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39" y="13"/>
                  </a:lnTo>
                  <a:lnTo>
                    <a:pt x="34" y="10"/>
                  </a:lnTo>
                  <a:lnTo>
                    <a:pt x="31" y="10"/>
                  </a:lnTo>
                  <a:lnTo>
                    <a:pt x="28" y="8"/>
                  </a:lnTo>
                  <a:lnTo>
                    <a:pt x="23" y="6"/>
                  </a:lnTo>
                  <a:lnTo>
                    <a:pt x="20" y="3"/>
                  </a:lnTo>
                  <a:lnTo>
                    <a:pt x="17" y="3"/>
                  </a:lnTo>
                  <a:lnTo>
                    <a:pt x="14" y="2"/>
                  </a:lnTo>
                  <a:lnTo>
                    <a:pt x="9" y="0"/>
                  </a:lnTo>
                  <a:lnTo>
                    <a:pt x="6" y="2"/>
                  </a:lnTo>
                  <a:lnTo>
                    <a:pt x="3" y="5"/>
                  </a:lnTo>
                  <a:lnTo>
                    <a:pt x="0" y="5"/>
                  </a:lnTo>
                  <a:lnTo>
                    <a:pt x="3" y="6"/>
                  </a:lnTo>
                  <a:lnTo>
                    <a:pt x="7" y="8"/>
                  </a:lnTo>
                  <a:lnTo>
                    <a:pt x="3" y="8"/>
                  </a:lnTo>
                  <a:lnTo>
                    <a:pt x="0" y="6"/>
                  </a:lnTo>
                  <a:lnTo>
                    <a:pt x="3" y="10"/>
                  </a:lnTo>
                  <a:lnTo>
                    <a:pt x="6" y="14"/>
                  </a:lnTo>
                  <a:lnTo>
                    <a:pt x="9" y="16"/>
                  </a:lnTo>
                  <a:lnTo>
                    <a:pt x="9" y="16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29" name="Freeform 263"/>
            <p:cNvSpPr>
              <a:spLocks/>
            </p:cNvSpPr>
            <p:nvPr/>
          </p:nvSpPr>
          <p:spPr bwMode="auto">
            <a:xfrm>
              <a:off x="6572145" y="2496768"/>
              <a:ext cx="10293" cy="5077"/>
            </a:xfrm>
            <a:custGeom>
              <a:avLst/>
              <a:gdLst>
                <a:gd name="T0" fmla="*/ 14 w 14"/>
                <a:gd name="T1" fmla="*/ 6 h 6"/>
                <a:gd name="T2" fmla="*/ 11 w 14"/>
                <a:gd name="T3" fmla="*/ 3 h 6"/>
                <a:gd name="T4" fmla="*/ 8 w 14"/>
                <a:gd name="T5" fmla="*/ 1 h 6"/>
                <a:gd name="T6" fmla="*/ 4 w 14"/>
                <a:gd name="T7" fmla="*/ 0 h 6"/>
                <a:gd name="T8" fmla="*/ 0 w 14"/>
                <a:gd name="T9" fmla="*/ 0 h 6"/>
                <a:gd name="T10" fmla="*/ 4 w 14"/>
                <a:gd name="T11" fmla="*/ 1 h 6"/>
                <a:gd name="T12" fmla="*/ 8 w 14"/>
                <a:gd name="T13" fmla="*/ 1 h 6"/>
                <a:gd name="T14" fmla="*/ 11 w 14"/>
                <a:gd name="T15" fmla="*/ 4 h 6"/>
                <a:gd name="T16" fmla="*/ 14 w 14"/>
                <a:gd name="T1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" h="6">
                  <a:moveTo>
                    <a:pt x="14" y="6"/>
                  </a:moveTo>
                  <a:lnTo>
                    <a:pt x="11" y="3"/>
                  </a:lnTo>
                  <a:lnTo>
                    <a:pt x="8" y="1"/>
                  </a:lnTo>
                  <a:lnTo>
                    <a:pt x="4" y="0"/>
                  </a:lnTo>
                  <a:lnTo>
                    <a:pt x="0" y="0"/>
                  </a:lnTo>
                  <a:lnTo>
                    <a:pt x="4" y="1"/>
                  </a:lnTo>
                  <a:lnTo>
                    <a:pt x="8" y="1"/>
                  </a:lnTo>
                  <a:lnTo>
                    <a:pt x="11" y="4"/>
                  </a:lnTo>
                  <a:lnTo>
                    <a:pt x="14" y="6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30" name="Freeform 264"/>
            <p:cNvSpPr>
              <a:spLocks/>
            </p:cNvSpPr>
            <p:nvPr/>
          </p:nvSpPr>
          <p:spPr bwMode="auto">
            <a:xfrm>
              <a:off x="6713300" y="2503539"/>
              <a:ext cx="13233" cy="3385"/>
            </a:xfrm>
            <a:custGeom>
              <a:avLst/>
              <a:gdLst>
                <a:gd name="T0" fmla="*/ 0 w 17"/>
                <a:gd name="T1" fmla="*/ 0 h 4"/>
                <a:gd name="T2" fmla="*/ 0 w 17"/>
                <a:gd name="T3" fmla="*/ 0 h 4"/>
                <a:gd name="T4" fmla="*/ 9 w 17"/>
                <a:gd name="T5" fmla="*/ 1 h 4"/>
                <a:gd name="T6" fmla="*/ 17 w 17"/>
                <a:gd name="T7" fmla="*/ 4 h 4"/>
                <a:gd name="T8" fmla="*/ 9 w 17"/>
                <a:gd name="T9" fmla="*/ 1 h 4"/>
                <a:gd name="T10" fmla="*/ 0 w 17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4">
                  <a:moveTo>
                    <a:pt x="0" y="0"/>
                  </a:moveTo>
                  <a:lnTo>
                    <a:pt x="0" y="0"/>
                  </a:lnTo>
                  <a:lnTo>
                    <a:pt x="9" y="1"/>
                  </a:lnTo>
                  <a:lnTo>
                    <a:pt x="17" y="4"/>
                  </a:lnTo>
                  <a:lnTo>
                    <a:pt x="9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31" name="Freeform 265"/>
            <p:cNvSpPr>
              <a:spLocks/>
            </p:cNvSpPr>
            <p:nvPr/>
          </p:nvSpPr>
          <p:spPr bwMode="auto">
            <a:xfrm>
              <a:off x="6728004" y="2488307"/>
              <a:ext cx="5881" cy="3385"/>
            </a:xfrm>
            <a:custGeom>
              <a:avLst/>
              <a:gdLst>
                <a:gd name="T0" fmla="*/ 0 w 8"/>
                <a:gd name="T1" fmla="*/ 3 h 5"/>
                <a:gd name="T2" fmla="*/ 0 w 8"/>
                <a:gd name="T3" fmla="*/ 5 h 5"/>
                <a:gd name="T4" fmla="*/ 5 w 8"/>
                <a:gd name="T5" fmla="*/ 5 h 5"/>
                <a:gd name="T6" fmla="*/ 8 w 8"/>
                <a:gd name="T7" fmla="*/ 5 h 5"/>
                <a:gd name="T8" fmla="*/ 8 w 8"/>
                <a:gd name="T9" fmla="*/ 0 h 5"/>
                <a:gd name="T10" fmla="*/ 3 w 8"/>
                <a:gd name="T11" fmla="*/ 0 h 5"/>
                <a:gd name="T12" fmla="*/ 0 w 8"/>
                <a:gd name="T13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5">
                  <a:moveTo>
                    <a:pt x="0" y="3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8" y="5"/>
                  </a:lnTo>
                  <a:lnTo>
                    <a:pt x="8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32" name="Freeform 266"/>
            <p:cNvSpPr>
              <a:spLocks/>
            </p:cNvSpPr>
            <p:nvPr/>
          </p:nvSpPr>
          <p:spPr bwMode="auto">
            <a:xfrm>
              <a:off x="6730944" y="2376606"/>
              <a:ext cx="33819" cy="13540"/>
            </a:xfrm>
            <a:custGeom>
              <a:avLst/>
              <a:gdLst>
                <a:gd name="T0" fmla="*/ 0 w 46"/>
                <a:gd name="T1" fmla="*/ 3 h 15"/>
                <a:gd name="T2" fmla="*/ 2 w 46"/>
                <a:gd name="T3" fmla="*/ 6 h 15"/>
                <a:gd name="T4" fmla="*/ 4 w 46"/>
                <a:gd name="T5" fmla="*/ 7 h 15"/>
                <a:gd name="T6" fmla="*/ 5 w 46"/>
                <a:gd name="T7" fmla="*/ 11 h 15"/>
                <a:gd name="T8" fmla="*/ 4 w 46"/>
                <a:gd name="T9" fmla="*/ 12 h 15"/>
                <a:gd name="T10" fmla="*/ 4 w 46"/>
                <a:gd name="T11" fmla="*/ 15 h 15"/>
                <a:gd name="T12" fmla="*/ 8 w 46"/>
                <a:gd name="T13" fmla="*/ 15 h 15"/>
                <a:gd name="T14" fmla="*/ 8 w 46"/>
                <a:gd name="T15" fmla="*/ 14 h 15"/>
                <a:gd name="T16" fmla="*/ 15 w 46"/>
                <a:gd name="T17" fmla="*/ 15 h 15"/>
                <a:gd name="T18" fmla="*/ 18 w 46"/>
                <a:gd name="T19" fmla="*/ 15 h 15"/>
                <a:gd name="T20" fmla="*/ 23 w 46"/>
                <a:gd name="T21" fmla="*/ 14 h 15"/>
                <a:gd name="T22" fmla="*/ 27 w 46"/>
                <a:gd name="T23" fmla="*/ 12 h 15"/>
                <a:gd name="T24" fmla="*/ 32 w 46"/>
                <a:gd name="T25" fmla="*/ 12 h 15"/>
                <a:gd name="T26" fmla="*/ 35 w 46"/>
                <a:gd name="T27" fmla="*/ 12 h 15"/>
                <a:gd name="T28" fmla="*/ 38 w 46"/>
                <a:gd name="T29" fmla="*/ 11 h 15"/>
                <a:gd name="T30" fmla="*/ 42 w 46"/>
                <a:gd name="T31" fmla="*/ 11 h 15"/>
                <a:gd name="T32" fmla="*/ 46 w 46"/>
                <a:gd name="T33" fmla="*/ 11 h 15"/>
                <a:gd name="T34" fmla="*/ 42 w 46"/>
                <a:gd name="T35" fmla="*/ 7 h 15"/>
                <a:gd name="T36" fmla="*/ 38 w 46"/>
                <a:gd name="T37" fmla="*/ 6 h 15"/>
                <a:gd name="T38" fmla="*/ 35 w 46"/>
                <a:gd name="T39" fmla="*/ 9 h 15"/>
                <a:gd name="T40" fmla="*/ 32 w 46"/>
                <a:gd name="T41" fmla="*/ 7 h 15"/>
                <a:gd name="T42" fmla="*/ 27 w 46"/>
                <a:gd name="T43" fmla="*/ 6 h 15"/>
                <a:gd name="T44" fmla="*/ 31 w 46"/>
                <a:gd name="T45" fmla="*/ 1 h 15"/>
                <a:gd name="T46" fmla="*/ 23 w 46"/>
                <a:gd name="T47" fmla="*/ 1 h 15"/>
                <a:gd name="T48" fmla="*/ 15 w 46"/>
                <a:gd name="T49" fmla="*/ 0 h 15"/>
                <a:gd name="T50" fmla="*/ 7 w 46"/>
                <a:gd name="T51" fmla="*/ 1 h 15"/>
                <a:gd name="T52" fmla="*/ 0 w 46"/>
                <a:gd name="T53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6" h="15">
                  <a:moveTo>
                    <a:pt x="0" y="3"/>
                  </a:moveTo>
                  <a:lnTo>
                    <a:pt x="2" y="6"/>
                  </a:lnTo>
                  <a:lnTo>
                    <a:pt x="4" y="7"/>
                  </a:lnTo>
                  <a:lnTo>
                    <a:pt x="5" y="11"/>
                  </a:lnTo>
                  <a:lnTo>
                    <a:pt x="4" y="12"/>
                  </a:lnTo>
                  <a:lnTo>
                    <a:pt x="4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15" y="15"/>
                  </a:lnTo>
                  <a:lnTo>
                    <a:pt x="18" y="15"/>
                  </a:lnTo>
                  <a:lnTo>
                    <a:pt x="23" y="14"/>
                  </a:lnTo>
                  <a:lnTo>
                    <a:pt x="27" y="12"/>
                  </a:lnTo>
                  <a:lnTo>
                    <a:pt x="32" y="12"/>
                  </a:lnTo>
                  <a:lnTo>
                    <a:pt x="35" y="12"/>
                  </a:lnTo>
                  <a:lnTo>
                    <a:pt x="38" y="11"/>
                  </a:lnTo>
                  <a:lnTo>
                    <a:pt x="42" y="11"/>
                  </a:lnTo>
                  <a:lnTo>
                    <a:pt x="46" y="11"/>
                  </a:lnTo>
                  <a:lnTo>
                    <a:pt x="42" y="7"/>
                  </a:lnTo>
                  <a:lnTo>
                    <a:pt x="38" y="6"/>
                  </a:lnTo>
                  <a:lnTo>
                    <a:pt x="35" y="9"/>
                  </a:lnTo>
                  <a:lnTo>
                    <a:pt x="32" y="7"/>
                  </a:lnTo>
                  <a:lnTo>
                    <a:pt x="27" y="6"/>
                  </a:lnTo>
                  <a:lnTo>
                    <a:pt x="31" y="1"/>
                  </a:lnTo>
                  <a:lnTo>
                    <a:pt x="23" y="1"/>
                  </a:lnTo>
                  <a:lnTo>
                    <a:pt x="15" y="0"/>
                  </a:lnTo>
                  <a:lnTo>
                    <a:pt x="7" y="1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33" name="Freeform 267"/>
            <p:cNvSpPr>
              <a:spLocks/>
            </p:cNvSpPr>
            <p:nvPr/>
          </p:nvSpPr>
          <p:spPr bwMode="auto">
            <a:xfrm>
              <a:off x="6732415" y="2217517"/>
              <a:ext cx="24997" cy="3385"/>
            </a:xfrm>
            <a:custGeom>
              <a:avLst/>
              <a:gdLst>
                <a:gd name="T0" fmla="*/ 14 w 35"/>
                <a:gd name="T1" fmla="*/ 3 h 5"/>
                <a:gd name="T2" fmla="*/ 17 w 35"/>
                <a:gd name="T3" fmla="*/ 5 h 5"/>
                <a:gd name="T4" fmla="*/ 22 w 35"/>
                <a:gd name="T5" fmla="*/ 5 h 5"/>
                <a:gd name="T6" fmla="*/ 35 w 35"/>
                <a:gd name="T7" fmla="*/ 5 h 5"/>
                <a:gd name="T8" fmla="*/ 32 w 35"/>
                <a:gd name="T9" fmla="*/ 3 h 5"/>
                <a:gd name="T10" fmla="*/ 29 w 35"/>
                <a:gd name="T11" fmla="*/ 3 h 5"/>
                <a:gd name="T12" fmla="*/ 24 w 35"/>
                <a:gd name="T13" fmla="*/ 3 h 5"/>
                <a:gd name="T14" fmla="*/ 21 w 35"/>
                <a:gd name="T15" fmla="*/ 1 h 5"/>
                <a:gd name="T16" fmla="*/ 16 w 35"/>
                <a:gd name="T17" fmla="*/ 1 h 5"/>
                <a:gd name="T18" fmla="*/ 13 w 35"/>
                <a:gd name="T19" fmla="*/ 1 h 5"/>
                <a:gd name="T20" fmla="*/ 8 w 35"/>
                <a:gd name="T21" fmla="*/ 0 h 5"/>
                <a:gd name="T22" fmla="*/ 5 w 35"/>
                <a:gd name="T23" fmla="*/ 1 h 5"/>
                <a:gd name="T24" fmla="*/ 0 w 35"/>
                <a:gd name="T25" fmla="*/ 0 h 5"/>
                <a:gd name="T26" fmla="*/ 5 w 35"/>
                <a:gd name="T27" fmla="*/ 3 h 5"/>
                <a:gd name="T28" fmla="*/ 8 w 35"/>
                <a:gd name="T29" fmla="*/ 3 h 5"/>
                <a:gd name="T30" fmla="*/ 11 w 35"/>
                <a:gd name="T31" fmla="*/ 3 h 5"/>
                <a:gd name="T32" fmla="*/ 14 w 35"/>
                <a:gd name="T33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5" h="5">
                  <a:moveTo>
                    <a:pt x="14" y="3"/>
                  </a:moveTo>
                  <a:lnTo>
                    <a:pt x="17" y="5"/>
                  </a:lnTo>
                  <a:lnTo>
                    <a:pt x="22" y="5"/>
                  </a:lnTo>
                  <a:lnTo>
                    <a:pt x="35" y="5"/>
                  </a:lnTo>
                  <a:lnTo>
                    <a:pt x="32" y="3"/>
                  </a:lnTo>
                  <a:lnTo>
                    <a:pt x="29" y="3"/>
                  </a:lnTo>
                  <a:lnTo>
                    <a:pt x="24" y="3"/>
                  </a:lnTo>
                  <a:lnTo>
                    <a:pt x="21" y="1"/>
                  </a:lnTo>
                  <a:lnTo>
                    <a:pt x="16" y="1"/>
                  </a:lnTo>
                  <a:lnTo>
                    <a:pt x="13" y="1"/>
                  </a:lnTo>
                  <a:lnTo>
                    <a:pt x="8" y="0"/>
                  </a:lnTo>
                  <a:lnTo>
                    <a:pt x="5" y="1"/>
                  </a:lnTo>
                  <a:lnTo>
                    <a:pt x="0" y="0"/>
                  </a:lnTo>
                  <a:lnTo>
                    <a:pt x="5" y="3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4" y="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34" name="Freeform 268"/>
            <p:cNvSpPr>
              <a:spLocks/>
            </p:cNvSpPr>
            <p:nvPr/>
          </p:nvSpPr>
          <p:spPr bwMode="auto">
            <a:xfrm>
              <a:off x="6757410" y="2187054"/>
              <a:ext cx="20585" cy="3385"/>
            </a:xfrm>
            <a:custGeom>
              <a:avLst/>
              <a:gdLst>
                <a:gd name="T0" fmla="*/ 1 w 28"/>
                <a:gd name="T1" fmla="*/ 2 h 5"/>
                <a:gd name="T2" fmla="*/ 0 w 28"/>
                <a:gd name="T3" fmla="*/ 5 h 5"/>
                <a:gd name="T4" fmla="*/ 14 w 28"/>
                <a:gd name="T5" fmla="*/ 5 h 5"/>
                <a:gd name="T6" fmla="*/ 28 w 28"/>
                <a:gd name="T7" fmla="*/ 4 h 5"/>
                <a:gd name="T8" fmla="*/ 25 w 28"/>
                <a:gd name="T9" fmla="*/ 2 h 5"/>
                <a:gd name="T10" fmla="*/ 21 w 28"/>
                <a:gd name="T11" fmla="*/ 2 h 5"/>
                <a:gd name="T12" fmla="*/ 17 w 28"/>
                <a:gd name="T13" fmla="*/ 2 h 5"/>
                <a:gd name="T14" fmla="*/ 14 w 28"/>
                <a:gd name="T15" fmla="*/ 0 h 5"/>
                <a:gd name="T16" fmla="*/ 9 w 28"/>
                <a:gd name="T17" fmla="*/ 0 h 5"/>
                <a:gd name="T18" fmla="*/ 6 w 28"/>
                <a:gd name="T19" fmla="*/ 2 h 5"/>
                <a:gd name="T20" fmla="*/ 1 w 28"/>
                <a:gd name="T21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5">
                  <a:moveTo>
                    <a:pt x="1" y="2"/>
                  </a:moveTo>
                  <a:lnTo>
                    <a:pt x="0" y="5"/>
                  </a:lnTo>
                  <a:lnTo>
                    <a:pt x="14" y="5"/>
                  </a:lnTo>
                  <a:lnTo>
                    <a:pt x="28" y="4"/>
                  </a:lnTo>
                  <a:lnTo>
                    <a:pt x="25" y="2"/>
                  </a:lnTo>
                  <a:lnTo>
                    <a:pt x="21" y="2"/>
                  </a:lnTo>
                  <a:lnTo>
                    <a:pt x="17" y="2"/>
                  </a:lnTo>
                  <a:lnTo>
                    <a:pt x="14" y="0"/>
                  </a:lnTo>
                  <a:lnTo>
                    <a:pt x="9" y="0"/>
                  </a:lnTo>
                  <a:lnTo>
                    <a:pt x="6" y="2"/>
                  </a:lnTo>
                  <a:lnTo>
                    <a:pt x="1" y="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35" name="Freeform 269"/>
            <p:cNvSpPr>
              <a:spLocks/>
            </p:cNvSpPr>
            <p:nvPr/>
          </p:nvSpPr>
          <p:spPr bwMode="auto">
            <a:xfrm>
              <a:off x="6810344" y="2388453"/>
              <a:ext cx="13233" cy="6770"/>
            </a:xfrm>
            <a:custGeom>
              <a:avLst/>
              <a:gdLst>
                <a:gd name="T0" fmla="*/ 0 w 17"/>
                <a:gd name="T1" fmla="*/ 3 h 10"/>
                <a:gd name="T2" fmla="*/ 0 w 17"/>
                <a:gd name="T3" fmla="*/ 3 h 10"/>
                <a:gd name="T4" fmla="*/ 9 w 17"/>
                <a:gd name="T5" fmla="*/ 7 h 10"/>
                <a:gd name="T6" fmla="*/ 17 w 17"/>
                <a:gd name="T7" fmla="*/ 10 h 10"/>
                <a:gd name="T8" fmla="*/ 16 w 17"/>
                <a:gd name="T9" fmla="*/ 5 h 10"/>
                <a:gd name="T10" fmla="*/ 14 w 17"/>
                <a:gd name="T11" fmla="*/ 2 h 10"/>
                <a:gd name="T12" fmla="*/ 17 w 17"/>
                <a:gd name="T13" fmla="*/ 2 h 10"/>
                <a:gd name="T14" fmla="*/ 14 w 17"/>
                <a:gd name="T15" fmla="*/ 2 h 10"/>
                <a:gd name="T16" fmla="*/ 11 w 17"/>
                <a:gd name="T17" fmla="*/ 0 h 10"/>
                <a:gd name="T18" fmla="*/ 6 w 17"/>
                <a:gd name="T19" fmla="*/ 0 h 10"/>
                <a:gd name="T20" fmla="*/ 3 w 17"/>
                <a:gd name="T21" fmla="*/ 0 h 10"/>
                <a:gd name="T22" fmla="*/ 0 w 17"/>
                <a:gd name="T23" fmla="*/ 3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10">
                  <a:moveTo>
                    <a:pt x="0" y="3"/>
                  </a:moveTo>
                  <a:lnTo>
                    <a:pt x="0" y="3"/>
                  </a:lnTo>
                  <a:lnTo>
                    <a:pt x="9" y="7"/>
                  </a:lnTo>
                  <a:lnTo>
                    <a:pt x="17" y="10"/>
                  </a:lnTo>
                  <a:lnTo>
                    <a:pt x="16" y="5"/>
                  </a:lnTo>
                  <a:lnTo>
                    <a:pt x="14" y="2"/>
                  </a:lnTo>
                  <a:lnTo>
                    <a:pt x="17" y="2"/>
                  </a:lnTo>
                  <a:lnTo>
                    <a:pt x="14" y="2"/>
                  </a:lnTo>
                  <a:lnTo>
                    <a:pt x="11" y="0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36" name="Freeform 270"/>
            <p:cNvSpPr>
              <a:spLocks/>
            </p:cNvSpPr>
            <p:nvPr/>
          </p:nvSpPr>
          <p:spPr bwMode="auto">
            <a:xfrm>
              <a:off x="6827989" y="2374913"/>
              <a:ext cx="8822" cy="5077"/>
            </a:xfrm>
            <a:custGeom>
              <a:avLst/>
              <a:gdLst>
                <a:gd name="T0" fmla="*/ 0 w 13"/>
                <a:gd name="T1" fmla="*/ 5 h 5"/>
                <a:gd name="T2" fmla="*/ 2 w 13"/>
                <a:gd name="T3" fmla="*/ 3 h 5"/>
                <a:gd name="T4" fmla="*/ 6 w 13"/>
                <a:gd name="T5" fmla="*/ 5 h 5"/>
                <a:gd name="T6" fmla="*/ 10 w 13"/>
                <a:gd name="T7" fmla="*/ 5 h 5"/>
                <a:gd name="T8" fmla="*/ 13 w 13"/>
                <a:gd name="T9" fmla="*/ 3 h 5"/>
                <a:gd name="T10" fmla="*/ 13 w 13"/>
                <a:gd name="T11" fmla="*/ 0 h 5"/>
                <a:gd name="T12" fmla="*/ 10 w 13"/>
                <a:gd name="T13" fmla="*/ 0 h 5"/>
                <a:gd name="T14" fmla="*/ 6 w 13"/>
                <a:gd name="T15" fmla="*/ 0 h 5"/>
                <a:gd name="T16" fmla="*/ 3 w 13"/>
                <a:gd name="T17" fmla="*/ 2 h 5"/>
                <a:gd name="T18" fmla="*/ 0 w 13"/>
                <a:gd name="T1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" h="5">
                  <a:moveTo>
                    <a:pt x="0" y="5"/>
                  </a:moveTo>
                  <a:lnTo>
                    <a:pt x="2" y="3"/>
                  </a:lnTo>
                  <a:lnTo>
                    <a:pt x="6" y="5"/>
                  </a:lnTo>
                  <a:lnTo>
                    <a:pt x="10" y="5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10" y="0"/>
                  </a:lnTo>
                  <a:lnTo>
                    <a:pt x="6" y="0"/>
                  </a:lnTo>
                  <a:lnTo>
                    <a:pt x="3" y="2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37" name="Freeform 271"/>
            <p:cNvSpPr>
              <a:spLocks/>
            </p:cNvSpPr>
            <p:nvPr/>
          </p:nvSpPr>
          <p:spPr bwMode="auto">
            <a:xfrm>
              <a:off x="6829458" y="2574620"/>
              <a:ext cx="13233" cy="5077"/>
            </a:xfrm>
            <a:custGeom>
              <a:avLst/>
              <a:gdLst>
                <a:gd name="T0" fmla="*/ 7 w 18"/>
                <a:gd name="T1" fmla="*/ 0 h 6"/>
                <a:gd name="T2" fmla="*/ 3 w 18"/>
                <a:gd name="T3" fmla="*/ 0 h 6"/>
                <a:gd name="T4" fmla="*/ 0 w 18"/>
                <a:gd name="T5" fmla="*/ 1 h 6"/>
                <a:gd name="T6" fmla="*/ 3 w 18"/>
                <a:gd name="T7" fmla="*/ 3 h 6"/>
                <a:gd name="T8" fmla="*/ 7 w 18"/>
                <a:gd name="T9" fmla="*/ 4 h 6"/>
                <a:gd name="T10" fmla="*/ 10 w 18"/>
                <a:gd name="T11" fmla="*/ 6 h 6"/>
                <a:gd name="T12" fmla="*/ 15 w 18"/>
                <a:gd name="T13" fmla="*/ 6 h 6"/>
                <a:gd name="T14" fmla="*/ 18 w 18"/>
                <a:gd name="T15" fmla="*/ 4 h 6"/>
                <a:gd name="T16" fmla="*/ 15 w 18"/>
                <a:gd name="T17" fmla="*/ 3 h 6"/>
                <a:gd name="T18" fmla="*/ 10 w 18"/>
                <a:gd name="T19" fmla="*/ 1 h 6"/>
                <a:gd name="T20" fmla="*/ 7 w 18"/>
                <a:gd name="T2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8" h="6">
                  <a:moveTo>
                    <a:pt x="7" y="0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  <a:lnTo>
                    <a:pt x="7" y="4"/>
                  </a:lnTo>
                  <a:lnTo>
                    <a:pt x="10" y="6"/>
                  </a:lnTo>
                  <a:lnTo>
                    <a:pt x="15" y="6"/>
                  </a:lnTo>
                  <a:lnTo>
                    <a:pt x="18" y="4"/>
                  </a:lnTo>
                  <a:lnTo>
                    <a:pt x="15" y="3"/>
                  </a:lnTo>
                  <a:lnTo>
                    <a:pt x="10" y="1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38" name="Freeform 272"/>
            <p:cNvSpPr>
              <a:spLocks/>
            </p:cNvSpPr>
            <p:nvPr/>
          </p:nvSpPr>
          <p:spPr bwMode="auto">
            <a:xfrm>
              <a:off x="6838280" y="2376606"/>
              <a:ext cx="14703" cy="3385"/>
            </a:xfrm>
            <a:custGeom>
              <a:avLst/>
              <a:gdLst>
                <a:gd name="T0" fmla="*/ 0 w 19"/>
                <a:gd name="T1" fmla="*/ 0 h 3"/>
                <a:gd name="T2" fmla="*/ 0 w 19"/>
                <a:gd name="T3" fmla="*/ 0 h 3"/>
                <a:gd name="T4" fmla="*/ 9 w 19"/>
                <a:gd name="T5" fmla="*/ 1 h 3"/>
                <a:gd name="T6" fmla="*/ 19 w 19"/>
                <a:gd name="T7" fmla="*/ 3 h 3"/>
                <a:gd name="T8" fmla="*/ 16 w 19"/>
                <a:gd name="T9" fmla="*/ 1 h 3"/>
                <a:gd name="T10" fmla="*/ 8 w 19"/>
                <a:gd name="T11" fmla="*/ 0 h 3"/>
                <a:gd name="T12" fmla="*/ 5 w 19"/>
                <a:gd name="T13" fmla="*/ 0 h 3"/>
                <a:gd name="T14" fmla="*/ 0 w 19"/>
                <a:gd name="T1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3">
                  <a:moveTo>
                    <a:pt x="0" y="0"/>
                  </a:moveTo>
                  <a:lnTo>
                    <a:pt x="0" y="0"/>
                  </a:lnTo>
                  <a:lnTo>
                    <a:pt x="9" y="1"/>
                  </a:lnTo>
                  <a:lnTo>
                    <a:pt x="19" y="3"/>
                  </a:lnTo>
                  <a:lnTo>
                    <a:pt x="16" y="1"/>
                  </a:lnTo>
                  <a:lnTo>
                    <a:pt x="8" y="0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39" name="Freeform 273"/>
            <p:cNvSpPr>
              <a:spLocks/>
            </p:cNvSpPr>
            <p:nvPr/>
          </p:nvSpPr>
          <p:spPr bwMode="auto">
            <a:xfrm>
              <a:off x="6847102" y="2386761"/>
              <a:ext cx="8822" cy="1692"/>
            </a:xfrm>
            <a:custGeom>
              <a:avLst/>
              <a:gdLst>
                <a:gd name="T0" fmla="*/ 0 w 11"/>
                <a:gd name="T1" fmla="*/ 0 h 1"/>
                <a:gd name="T2" fmla="*/ 3 w 11"/>
                <a:gd name="T3" fmla="*/ 1 h 1"/>
                <a:gd name="T4" fmla="*/ 8 w 11"/>
                <a:gd name="T5" fmla="*/ 1 h 1"/>
                <a:gd name="T6" fmla="*/ 11 w 11"/>
                <a:gd name="T7" fmla="*/ 0 h 1"/>
                <a:gd name="T8" fmla="*/ 8 w 11"/>
                <a:gd name="T9" fmla="*/ 0 h 1"/>
                <a:gd name="T10" fmla="*/ 3 w 11"/>
                <a:gd name="T11" fmla="*/ 0 h 1"/>
                <a:gd name="T12" fmla="*/ 0 w 11"/>
                <a:gd name="T1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" h="1">
                  <a:moveTo>
                    <a:pt x="0" y="0"/>
                  </a:moveTo>
                  <a:lnTo>
                    <a:pt x="3" y="1"/>
                  </a:lnTo>
                  <a:lnTo>
                    <a:pt x="8" y="1"/>
                  </a:lnTo>
                  <a:lnTo>
                    <a:pt x="11" y="0"/>
                  </a:lnTo>
                  <a:lnTo>
                    <a:pt x="8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40" name="Freeform 274"/>
            <p:cNvSpPr>
              <a:spLocks/>
            </p:cNvSpPr>
            <p:nvPr/>
          </p:nvSpPr>
          <p:spPr bwMode="auto">
            <a:xfrm>
              <a:off x="6872098" y="2401993"/>
              <a:ext cx="26467" cy="10155"/>
            </a:xfrm>
            <a:custGeom>
              <a:avLst/>
              <a:gdLst>
                <a:gd name="T0" fmla="*/ 0 w 35"/>
                <a:gd name="T1" fmla="*/ 9 h 11"/>
                <a:gd name="T2" fmla="*/ 3 w 35"/>
                <a:gd name="T3" fmla="*/ 11 h 11"/>
                <a:gd name="T4" fmla="*/ 6 w 35"/>
                <a:gd name="T5" fmla="*/ 11 h 11"/>
                <a:gd name="T6" fmla="*/ 9 w 35"/>
                <a:gd name="T7" fmla="*/ 11 h 11"/>
                <a:gd name="T8" fmla="*/ 17 w 35"/>
                <a:gd name="T9" fmla="*/ 11 h 11"/>
                <a:gd name="T10" fmla="*/ 21 w 35"/>
                <a:gd name="T11" fmla="*/ 9 h 11"/>
                <a:gd name="T12" fmla="*/ 25 w 35"/>
                <a:gd name="T13" fmla="*/ 9 h 11"/>
                <a:gd name="T14" fmla="*/ 28 w 35"/>
                <a:gd name="T15" fmla="*/ 8 h 11"/>
                <a:gd name="T16" fmla="*/ 32 w 35"/>
                <a:gd name="T17" fmla="*/ 6 h 11"/>
                <a:gd name="T18" fmla="*/ 35 w 35"/>
                <a:gd name="T19" fmla="*/ 3 h 11"/>
                <a:gd name="T20" fmla="*/ 27 w 35"/>
                <a:gd name="T21" fmla="*/ 1 h 11"/>
                <a:gd name="T22" fmla="*/ 17 w 35"/>
                <a:gd name="T23" fmla="*/ 0 h 11"/>
                <a:gd name="T24" fmla="*/ 13 w 35"/>
                <a:gd name="T25" fmla="*/ 0 h 11"/>
                <a:gd name="T26" fmla="*/ 9 w 35"/>
                <a:gd name="T27" fmla="*/ 1 h 11"/>
                <a:gd name="T28" fmla="*/ 6 w 35"/>
                <a:gd name="T29" fmla="*/ 4 h 11"/>
                <a:gd name="T30" fmla="*/ 0 w 35"/>
                <a:gd name="T31" fmla="*/ 9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5" h="11">
                  <a:moveTo>
                    <a:pt x="0" y="9"/>
                  </a:moveTo>
                  <a:lnTo>
                    <a:pt x="3" y="11"/>
                  </a:lnTo>
                  <a:lnTo>
                    <a:pt x="6" y="11"/>
                  </a:lnTo>
                  <a:lnTo>
                    <a:pt x="9" y="11"/>
                  </a:lnTo>
                  <a:lnTo>
                    <a:pt x="17" y="11"/>
                  </a:lnTo>
                  <a:lnTo>
                    <a:pt x="21" y="9"/>
                  </a:lnTo>
                  <a:lnTo>
                    <a:pt x="25" y="9"/>
                  </a:lnTo>
                  <a:lnTo>
                    <a:pt x="28" y="8"/>
                  </a:lnTo>
                  <a:lnTo>
                    <a:pt x="32" y="6"/>
                  </a:lnTo>
                  <a:lnTo>
                    <a:pt x="35" y="3"/>
                  </a:lnTo>
                  <a:lnTo>
                    <a:pt x="27" y="1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6" y="4"/>
                  </a:lnTo>
                  <a:lnTo>
                    <a:pt x="0" y="9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41" name="Freeform 275"/>
            <p:cNvSpPr>
              <a:spLocks/>
            </p:cNvSpPr>
            <p:nvPr/>
          </p:nvSpPr>
          <p:spPr bwMode="auto">
            <a:xfrm>
              <a:off x="6876509" y="2271675"/>
              <a:ext cx="4411" cy="1692"/>
            </a:xfrm>
            <a:custGeom>
              <a:avLst/>
              <a:gdLst>
                <a:gd name="T0" fmla="*/ 0 w 6"/>
                <a:gd name="T1" fmla="*/ 0 h 2"/>
                <a:gd name="T2" fmla="*/ 3 w 6"/>
                <a:gd name="T3" fmla="*/ 2 h 2"/>
                <a:gd name="T4" fmla="*/ 6 w 6"/>
                <a:gd name="T5" fmla="*/ 2 h 2"/>
                <a:gd name="T6" fmla="*/ 3 w 6"/>
                <a:gd name="T7" fmla="*/ 0 h 2"/>
                <a:gd name="T8" fmla="*/ 0 w 6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3" y="2"/>
                  </a:lnTo>
                  <a:lnTo>
                    <a:pt x="6" y="2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42" name="Freeform 276"/>
            <p:cNvSpPr>
              <a:spLocks/>
            </p:cNvSpPr>
            <p:nvPr/>
          </p:nvSpPr>
          <p:spPr bwMode="auto">
            <a:xfrm>
              <a:off x="6877981" y="2346142"/>
              <a:ext cx="7352" cy="3385"/>
            </a:xfrm>
            <a:custGeom>
              <a:avLst/>
              <a:gdLst>
                <a:gd name="T0" fmla="*/ 0 w 11"/>
                <a:gd name="T1" fmla="*/ 2 h 5"/>
                <a:gd name="T2" fmla="*/ 3 w 11"/>
                <a:gd name="T3" fmla="*/ 3 h 5"/>
                <a:gd name="T4" fmla="*/ 7 w 11"/>
                <a:gd name="T5" fmla="*/ 5 h 5"/>
                <a:gd name="T6" fmla="*/ 11 w 11"/>
                <a:gd name="T7" fmla="*/ 5 h 5"/>
                <a:gd name="T8" fmla="*/ 7 w 11"/>
                <a:gd name="T9" fmla="*/ 2 h 5"/>
                <a:gd name="T10" fmla="*/ 3 w 11"/>
                <a:gd name="T11" fmla="*/ 2 h 5"/>
                <a:gd name="T12" fmla="*/ 0 w 11"/>
                <a:gd name="T13" fmla="*/ 0 h 5"/>
                <a:gd name="T14" fmla="*/ 3 w 11"/>
                <a:gd name="T15" fmla="*/ 2 h 5"/>
                <a:gd name="T16" fmla="*/ 0 w 11"/>
                <a:gd name="T17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5">
                  <a:moveTo>
                    <a:pt x="0" y="2"/>
                  </a:moveTo>
                  <a:lnTo>
                    <a:pt x="3" y="3"/>
                  </a:lnTo>
                  <a:lnTo>
                    <a:pt x="7" y="5"/>
                  </a:lnTo>
                  <a:lnTo>
                    <a:pt x="11" y="5"/>
                  </a:lnTo>
                  <a:lnTo>
                    <a:pt x="7" y="2"/>
                  </a:lnTo>
                  <a:lnTo>
                    <a:pt x="3" y="2"/>
                  </a:lnTo>
                  <a:lnTo>
                    <a:pt x="0" y="0"/>
                  </a:lnTo>
                  <a:lnTo>
                    <a:pt x="3" y="2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43" name="Freeform 277"/>
            <p:cNvSpPr>
              <a:spLocks/>
            </p:cNvSpPr>
            <p:nvPr/>
          </p:nvSpPr>
          <p:spPr bwMode="auto">
            <a:xfrm>
              <a:off x="6897095" y="2312293"/>
              <a:ext cx="10293" cy="1692"/>
            </a:xfrm>
            <a:custGeom>
              <a:avLst/>
              <a:gdLst>
                <a:gd name="T0" fmla="*/ 0 w 14"/>
                <a:gd name="T1" fmla="*/ 0 h 2"/>
                <a:gd name="T2" fmla="*/ 3 w 14"/>
                <a:gd name="T3" fmla="*/ 0 h 2"/>
                <a:gd name="T4" fmla="*/ 7 w 14"/>
                <a:gd name="T5" fmla="*/ 0 h 2"/>
                <a:gd name="T6" fmla="*/ 11 w 14"/>
                <a:gd name="T7" fmla="*/ 2 h 2"/>
                <a:gd name="T8" fmla="*/ 14 w 14"/>
                <a:gd name="T9" fmla="*/ 2 h 2"/>
                <a:gd name="T10" fmla="*/ 11 w 14"/>
                <a:gd name="T11" fmla="*/ 0 h 2"/>
                <a:gd name="T12" fmla="*/ 2 w 14"/>
                <a:gd name="T13" fmla="*/ 0 h 2"/>
                <a:gd name="T14" fmla="*/ 0 w 14"/>
                <a:gd name="T1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2">
                  <a:moveTo>
                    <a:pt x="0" y="0"/>
                  </a:moveTo>
                  <a:lnTo>
                    <a:pt x="3" y="0"/>
                  </a:lnTo>
                  <a:lnTo>
                    <a:pt x="7" y="0"/>
                  </a:lnTo>
                  <a:lnTo>
                    <a:pt x="11" y="2"/>
                  </a:lnTo>
                  <a:lnTo>
                    <a:pt x="14" y="2"/>
                  </a:lnTo>
                  <a:lnTo>
                    <a:pt x="11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44" name="Freeform 278"/>
            <p:cNvSpPr>
              <a:spLocks/>
            </p:cNvSpPr>
            <p:nvPr/>
          </p:nvSpPr>
          <p:spPr bwMode="auto">
            <a:xfrm>
              <a:off x="6897095" y="2388453"/>
              <a:ext cx="17644" cy="11847"/>
            </a:xfrm>
            <a:custGeom>
              <a:avLst/>
              <a:gdLst>
                <a:gd name="T0" fmla="*/ 0 w 24"/>
                <a:gd name="T1" fmla="*/ 6 h 12"/>
                <a:gd name="T2" fmla="*/ 2 w 24"/>
                <a:gd name="T3" fmla="*/ 9 h 12"/>
                <a:gd name="T4" fmla="*/ 5 w 24"/>
                <a:gd name="T5" fmla="*/ 9 h 12"/>
                <a:gd name="T6" fmla="*/ 10 w 24"/>
                <a:gd name="T7" fmla="*/ 11 h 12"/>
                <a:gd name="T8" fmla="*/ 13 w 24"/>
                <a:gd name="T9" fmla="*/ 11 h 12"/>
                <a:gd name="T10" fmla="*/ 16 w 24"/>
                <a:gd name="T11" fmla="*/ 12 h 12"/>
                <a:gd name="T12" fmla="*/ 19 w 24"/>
                <a:gd name="T13" fmla="*/ 12 h 12"/>
                <a:gd name="T14" fmla="*/ 24 w 24"/>
                <a:gd name="T15" fmla="*/ 12 h 12"/>
                <a:gd name="T16" fmla="*/ 24 w 24"/>
                <a:gd name="T17" fmla="*/ 9 h 12"/>
                <a:gd name="T18" fmla="*/ 21 w 24"/>
                <a:gd name="T19" fmla="*/ 6 h 12"/>
                <a:gd name="T20" fmla="*/ 18 w 24"/>
                <a:gd name="T21" fmla="*/ 3 h 12"/>
                <a:gd name="T22" fmla="*/ 14 w 24"/>
                <a:gd name="T23" fmla="*/ 1 h 12"/>
                <a:gd name="T24" fmla="*/ 10 w 24"/>
                <a:gd name="T25" fmla="*/ 0 h 12"/>
                <a:gd name="T26" fmla="*/ 7 w 24"/>
                <a:gd name="T27" fmla="*/ 0 h 12"/>
                <a:gd name="T28" fmla="*/ 3 w 24"/>
                <a:gd name="T29" fmla="*/ 3 h 12"/>
                <a:gd name="T30" fmla="*/ 0 w 24"/>
                <a:gd name="T31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" h="12">
                  <a:moveTo>
                    <a:pt x="0" y="6"/>
                  </a:moveTo>
                  <a:lnTo>
                    <a:pt x="2" y="9"/>
                  </a:lnTo>
                  <a:lnTo>
                    <a:pt x="5" y="9"/>
                  </a:lnTo>
                  <a:lnTo>
                    <a:pt x="10" y="11"/>
                  </a:lnTo>
                  <a:lnTo>
                    <a:pt x="13" y="11"/>
                  </a:lnTo>
                  <a:lnTo>
                    <a:pt x="16" y="12"/>
                  </a:lnTo>
                  <a:lnTo>
                    <a:pt x="19" y="12"/>
                  </a:lnTo>
                  <a:lnTo>
                    <a:pt x="24" y="12"/>
                  </a:lnTo>
                  <a:lnTo>
                    <a:pt x="24" y="9"/>
                  </a:lnTo>
                  <a:lnTo>
                    <a:pt x="21" y="6"/>
                  </a:lnTo>
                  <a:lnTo>
                    <a:pt x="18" y="3"/>
                  </a:lnTo>
                  <a:lnTo>
                    <a:pt x="14" y="1"/>
                  </a:lnTo>
                  <a:lnTo>
                    <a:pt x="10" y="0"/>
                  </a:lnTo>
                  <a:lnTo>
                    <a:pt x="7" y="0"/>
                  </a:lnTo>
                  <a:lnTo>
                    <a:pt x="3" y="3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45" name="Freeform 279"/>
            <p:cNvSpPr>
              <a:spLocks/>
            </p:cNvSpPr>
            <p:nvPr/>
          </p:nvSpPr>
          <p:spPr bwMode="auto">
            <a:xfrm>
              <a:off x="6907387" y="2324141"/>
              <a:ext cx="11763" cy="6770"/>
            </a:xfrm>
            <a:custGeom>
              <a:avLst/>
              <a:gdLst>
                <a:gd name="T0" fmla="*/ 10 w 16"/>
                <a:gd name="T1" fmla="*/ 0 h 10"/>
                <a:gd name="T2" fmla="*/ 5 w 16"/>
                <a:gd name="T3" fmla="*/ 0 h 10"/>
                <a:gd name="T4" fmla="*/ 7 w 16"/>
                <a:gd name="T5" fmla="*/ 3 h 10"/>
                <a:gd name="T6" fmla="*/ 4 w 16"/>
                <a:gd name="T7" fmla="*/ 3 h 10"/>
                <a:gd name="T8" fmla="*/ 0 w 16"/>
                <a:gd name="T9" fmla="*/ 2 h 10"/>
                <a:gd name="T10" fmla="*/ 0 w 16"/>
                <a:gd name="T11" fmla="*/ 5 h 10"/>
                <a:gd name="T12" fmla="*/ 4 w 16"/>
                <a:gd name="T13" fmla="*/ 6 h 10"/>
                <a:gd name="T14" fmla="*/ 7 w 16"/>
                <a:gd name="T15" fmla="*/ 6 h 10"/>
                <a:gd name="T16" fmla="*/ 10 w 16"/>
                <a:gd name="T17" fmla="*/ 10 h 10"/>
                <a:gd name="T18" fmla="*/ 15 w 16"/>
                <a:gd name="T19" fmla="*/ 10 h 10"/>
                <a:gd name="T20" fmla="*/ 12 w 16"/>
                <a:gd name="T21" fmla="*/ 6 h 10"/>
                <a:gd name="T22" fmla="*/ 16 w 16"/>
                <a:gd name="T23" fmla="*/ 5 h 10"/>
                <a:gd name="T24" fmla="*/ 12 w 16"/>
                <a:gd name="T25" fmla="*/ 3 h 10"/>
                <a:gd name="T26" fmla="*/ 8 w 16"/>
                <a:gd name="T27" fmla="*/ 2 h 10"/>
                <a:gd name="T28" fmla="*/ 10 w 16"/>
                <a:gd name="T2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10">
                  <a:moveTo>
                    <a:pt x="10" y="0"/>
                  </a:moveTo>
                  <a:lnTo>
                    <a:pt x="5" y="0"/>
                  </a:lnTo>
                  <a:lnTo>
                    <a:pt x="7" y="3"/>
                  </a:lnTo>
                  <a:lnTo>
                    <a:pt x="4" y="3"/>
                  </a:lnTo>
                  <a:lnTo>
                    <a:pt x="0" y="2"/>
                  </a:lnTo>
                  <a:lnTo>
                    <a:pt x="0" y="5"/>
                  </a:lnTo>
                  <a:lnTo>
                    <a:pt x="4" y="6"/>
                  </a:lnTo>
                  <a:lnTo>
                    <a:pt x="7" y="6"/>
                  </a:lnTo>
                  <a:lnTo>
                    <a:pt x="10" y="10"/>
                  </a:lnTo>
                  <a:lnTo>
                    <a:pt x="15" y="10"/>
                  </a:lnTo>
                  <a:lnTo>
                    <a:pt x="12" y="6"/>
                  </a:lnTo>
                  <a:lnTo>
                    <a:pt x="16" y="5"/>
                  </a:lnTo>
                  <a:lnTo>
                    <a:pt x="12" y="3"/>
                  </a:lnTo>
                  <a:lnTo>
                    <a:pt x="8" y="2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46" name="Freeform 280"/>
            <p:cNvSpPr>
              <a:spLocks/>
            </p:cNvSpPr>
            <p:nvPr/>
          </p:nvSpPr>
          <p:spPr bwMode="auto">
            <a:xfrm>
              <a:off x="6908858" y="2310602"/>
              <a:ext cx="16174" cy="1692"/>
            </a:xfrm>
            <a:custGeom>
              <a:avLst/>
              <a:gdLst>
                <a:gd name="T0" fmla="*/ 14 w 22"/>
                <a:gd name="T1" fmla="*/ 3 h 3"/>
                <a:gd name="T2" fmla="*/ 18 w 22"/>
                <a:gd name="T3" fmla="*/ 3 h 3"/>
                <a:gd name="T4" fmla="*/ 22 w 22"/>
                <a:gd name="T5" fmla="*/ 3 h 3"/>
                <a:gd name="T6" fmla="*/ 18 w 22"/>
                <a:gd name="T7" fmla="*/ 2 h 3"/>
                <a:gd name="T8" fmla="*/ 14 w 22"/>
                <a:gd name="T9" fmla="*/ 2 h 3"/>
                <a:gd name="T10" fmla="*/ 8 w 22"/>
                <a:gd name="T11" fmla="*/ 0 h 3"/>
                <a:gd name="T12" fmla="*/ 3 w 22"/>
                <a:gd name="T13" fmla="*/ 0 h 3"/>
                <a:gd name="T14" fmla="*/ 0 w 22"/>
                <a:gd name="T15" fmla="*/ 2 h 3"/>
                <a:gd name="T16" fmla="*/ 3 w 22"/>
                <a:gd name="T17" fmla="*/ 2 h 3"/>
                <a:gd name="T18" fmla="*/ 11 w 22"/>
                <a:gd name="T19" fmla="*/ 2 h 3"/>
                <a:gd name="T20" fmla="*/ 14 w 22"/>
                <a:gd name="T2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" h="3">
                  <a:moveTo>
                    <a:pt x="14" y="3"/>
                  </a:moveTo>
                  <a:lnTo>
                    <a:pt x="18" y="3"/>
                  </a:lnTo>
                  <a:lnTo>
                    <a:pt x="22" y="3"/>
                  </a:lnTo>
                  <a:lnTo>
                    <a:pt x="18" y="2"/>
                  </a:lnTo>
                  <a:lnTo>
                    <a:pt x="14" y="2"/>
                  </a:lnTo>
                  <a:lnTo>
                    <a:pt x="8" y="0"/>
                  </a:lnTo>
                  <a:lnTo>
                    <a:pt x="3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11" y="2"/>
                  </a:lnTo>
                  <a:lnTo>
                    <a:pt x="14" y="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47" name="Freeform 281"/>
            <p:cNvSpPr>
              <a:spLocks/>
            </p:cNvSpPr>
            <p:nvPr/>
          </p:nvSpPr>
          <p:spPr bwMode="auto">
            <a:xfrm>
              <a:off x="6929443" y="2181977"/>
              <a:ext cx="23525" cy="3385"/>
            </a:xfrm>
            <a:custGeom>
              <a:avLst/>
              <a:gdLst>
                <a:gd name="T0" fmla="*/ 0 w 33"/>
                <a:gd name="T1" fmla="*/ 2 h 5"/>
                <a:gd name="T2" fmla="*/ 3 w 33"/>
                <a:gd name="T3" fmla="*/ 3 h 5"/>
                <a:gd name="T4" fmla="*/ 8 w 33"/>
                <a:gd name="T5" fmla="*/ 5 h 5"/>
                <a:gd name="T6" fmla="*/ 11 w 33"/>
                <a:gd name="T7" fmla="*/ 5 h 5"/>
                <a:gd name="T8" fmla="*/ 16 w 33"/>
                <a:gd name="T9" fmla="*/ 5 h 5"/>
                <a:gd name="T10" fmla="*/ 19 w 33"/>
                <a:gd name="T11" fmla="*/ 5 h 5"/>
                <a:gd name="T12" fmla="*/ 30 w 33"/>
                <a:gd name="T13" fmla="*/ 5 h 5"/>
                <a:gd name="T14" fmla="*/ 33 w 33"/>
                <a:gd name="T15" fmla="*/ 3 h 5"/>
                <a:gd name="T16" fmla="*/ 30 w 33"/>
                <a:gd name="T17" fmla="*/ 2 h 5"/>
                <a:gd name="T18" fmla="*/ 27 w 33"/>
                <a:gd name="T19" fmla="*/ 0 h 5"/>
                <a:gd name="T20" fmla="*/ 24 w 33"/>
                <a:gd name="T21" fmla="*/ 0 h 5"/>
                <a:gd name="T22" fmla="*/ 19 w 33"/>
                <a:gd name="T23" fmla="*/ 0 h 5"/>
                <a:gd name="T24" fmla="*/ 10 w 33"/>
                <a:gd name="T25" fmla="*/ 0 h 5"/>
                <a:gd name="T26" fmla="*/ 0 w 33"/>
                <a:gd name="T27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5">
                  <a:moveTo>
                    <a:pt x="0" y="2"/>
                  </a:moveTo>
                  <a:lnTo>
                    <a:pt x="3" y="3"/>
                  </a:lnTo>
                  <a:lnTo>
                    <a:pt x="8" y="5"/>
                  </a:lnTo>
                  <a:lnTo>
                    <a:pt x="11" y="5"/>
                  </a:lnTo>
                  <a:lnTo>
                    <a:pt x="16" y="5"/>
                  </a:lnTo>
                  <a:lnTo>
                    <a:pt x="19" y="5"/>
                  </a:lnTo>
                  <a:lnTo>
                    <a:pt x="30" y="5"/>
                  </a:lnTo>
                  <a:lnTo>
                    <a:pt x="33" y="3"/>
                  </a:lnTo>
                  <a:lnTo>
                    <a:pt x="30" y="2"/>
                  </a:lnTo>
                  <a:lnTo>
                    <a:pt x="27" y="0"/>
                  </a:lnTo>
                  <a:lnTo>
                    <a:pt x="24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48" name="Freeform 282"/>
            <p:cNvSpPr>
              <a:spLocks/>
            </p:cNvSpPr>
            <p:nvPr/>
          </p:nvSpPr>
          <p:spPr bwMode="auto">
            <a:xfrm>
              <a:off x="6944147" y="2359681"/>
              <a:ext cx="5881" cy="3385"/>
            </a:xfrm>
            <a:custGeom>
              <a:avLst/>
              <a:gdLst>
                <a:gd name="T0" fmla="*/ 3 w 8"/>
                <a:gd name="T1" fmla="*/ 0 h 3"/>
                <a:gd name="T2" fmla="*/ 0 w 8"/>
                <a:gd name="T3" fmla="*/ 0 h 3"/>
                <a:gd name="T4" fmla="*/ 3 w 8"/>
                <a:gd name="T5" fmla="*/ 3 h 3"/>
                <a:gd name="T6" fmla="*/ 8 w 8"/>
                <a:gd name="T7" fmla="*/ 3 h 3"/>
                <a:gd name="T8" fmla="*/ 3 w 8"/>
                <a:gd name="T9" fmla="*/ 0 h 3"/>
                <a:gd name="T10" fmla="*/ 3 w 8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3">
                  <a:moveTo>
                    <a:pt x="3" y="0"/>
                  </a:moveTo>
                  <a:lnTo>
                    <a:pt x="0" y="0"/>
                  </a:lnTo>
                  <a:lnTo>
                    <a:pt x="3" y="3"/>
                  </a:lnTo>
                  <a:lnTo>
                    <a:pt x="8" y="3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49" name="Freeform 283"/>
            <p:cNvSpPr>
              <a:spLocks/>
            </p:cNvSpPr>
            <p:nvPr/>
          </p:nvSpPr>
          <p:spPr bwMode="auto">
            <a:xfrm>
              <a:off x="6951498" y="2359681"/>
              <a:ext cx="14703" cy="3385"/>
            </a:xfrm>
            <a:custGeom>
              <a:avLst/>
              <a:gdLst>
                <a:gd name="T0" fmla="*/ 0 w 19"/>
                <a:gd name="T1" fmla="*/ 3 h 3"/>
                <a:gd name="T2" fmla="*/ 5 w 19"/>
                <a:gd name="T3" fmla="*/ 3 h 3"/>
                <a:gd name="T4" fmla="*/ 8 w 19"/>
                <a:gd name="T5" fmla="*/ 3 h 3"/>
                <a:gd name="T6" fmla="*/ 11 w 19"/>
                <a:gd name="T7" fmla="*/ 3 h 3"/>
                <a:gd name="T8" fmla="*/ 14 w 19"/>
                <a:gd name="T9" fmla="*/ 3 h 3"/>
                <a:gd name="T10" fmla="*/ 19 w 19"/>
                <a:gd name="T11" fmla="*/ 3 h 3"/>
                <a:gd name="T12" fmla="*/ 14 w 19"/>
                <a:gd name="T13" fmla="*/ 2 h 3"/>
                <a:gd name="T14" fmla="*/ 11 w 19"/>
                <a:gd name="T15" fmla="*/ 0 h 3"/>
                <a:gd name="T16" fmla="*/ 8 w 19"/>
                <a:gd name="T17" fmla="*/ 0 h 3"/>
                <a:gd name="T18" fmla="*/ 3 w 19"/>
                <a:gd name="T19" fmla="*/ 2 h 3"/>
                <a:gd name="T20" fmla="*/ 0 w 19"/>
                <a:gd name="T21" fmla="*/ 2 h 3"/>
                <a:gd name="T22" fmla="*/ 0 w 19"/>
                <a:gd name="T23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" h="3">
                  <a:moveTo>
                    <a:pt x="0" y="3"/>
                  </a:moveTo>
                  <a:lnTo>
                    <a:pt x="5" y="3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4" y="3"/>
                  </a:lnTo>
                  <a:lnTo>
                    <a:pt x="19" y="3"/>
                  </a:lnTo>
                  <a:lnTo>
                    <a:pt x="14" y="2"/>
                  </a:lnTo>
                  <a:lnTo>
                    <a:pt x="11" y="0"/>
                  </a:lnTo>
                  <a:lnTo>
                    <a:pt x="8" y="0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50" name="Freeform 284"/>
            <p:cNvSpPr>
              <a:spLocks/>
            </p:cNvSpPr>
            <p:nvPr/>
          </p:nvSpPr>
          <p:spPr bwMode="auto">
            <a:xfrm>
              <a:off x="6967672" y="2207363"/>
              <a:ext cx="49992" cy="10155"/>
            </a:xfrm>
            <a:custGeom>
              <a:avLst/>
              <a:gdLst>
                <a:gd name="T0" fmla="*/ 6 w 67"/>
                <a:gd name="T1" fmla="*/ 1 h 11"/>
                <a:gd name="T2" fmla="*/ 11 w 67"/>
                <a:gd name="T3" fmla="*/ 3 h 11"/>
                <a:gd name="T4" fmla="*/ 14 w 67"/>
                <a:gd name="T5" fmla="*/ 6 h 11"/>
                <a:gd name="T6" fmla="*/ 17 w 67"/>
                <a:gd name="T7" fmla="*/ 6 h 11"/>
                <a:gd name="T8" fmla="*/ 22 w 67"/>
                <a:gd name="T9" fmla="*/ 6 h 11"/>
                <a:gd name="T10" fmla="*/ 32 w 67"/>
                <a:gd name="T11" fmla="*/ 6 h 11"/>
                <a:gd name="T12" fmla="*/ 40 w 67"/>
                <a:gd name="T13" fmla="*/ 8 h 11"/>
                <a:gd name="T14" fmla="*/ 36 w 67"/>
                <a:gd name="T15" fmla="*/ 9 h 11"/>
                <a:gd name="T16" fmla="*/ 33 w 67"/>
                <a:gd name="T17" fmla="*/ 9 h 11"/>
                <a:gd name="T18" fmla="*/ 41 w 67"/>
                <a:gd name="T19" fmla="*/ 11 h 11"/>
                <a:gd name="T20" fmla="*/ 51 w 67"/>
                <a:gd name="T21" fmla="*/ 11 h 11"/>
                <a:gd name="T22" fmla="*/ 59 w 67"/>
                <a:gd name="T23" fmla="*/ 9 h 11"/>
                <a:gd name="T24" fmla="*/ 67 w 67"/>
                <a:gd name="T25" fmla="*/ 6 h 11"/>
                <a:gd name="T26" fmla="*/ 63 w 67"/>
                <a:gd name="T27" fmla="*/ 3 h 11"/>
                <a:gd name="T28" fmla="*/ 60 w 67"/>
                <a:gd name="T29" fmla="*/ 1 h 11"/>
                <a:gd name="T30" fmla="*/ 55 w 67"/>
                <a:gd name="T31" fmla="*/ 1 h 11"/>
                <a:gd name="T32" fmla="*/ 52 w 67"/>
                <a:gd name="T33" fmla="*/ 1 h 11"/>
                <a:gd name="T34" fmla="*/ 43 w 67"/>
                <a:gd name="T35" fmla="*/ 0 h 11"/>
                <a:gd name="T36" fmla="*/ 35 w 67"/>
                <a:gd name="T37" fmla="*/ 0 h 11"/>
                <a:gd name="T38" fmla="*/ 17 w 67"/>
                <a:gd name="T39" fmla="*/ 0 h 11"/>
                <a:gd name="T40" fmla="*/ 0 w 67"/>
                <a:gd name="T41" fmla="*/ 0 h 11"/>
                <a:gd name="T42" fmla="*/ 5 w 67"/>
                <a:gd name="T43" fmla="*/ 0 h 11"/>
                <a:gd name="T44" fmla="*/ 6 w 67"/>
                <a:gd name="T45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7" h="11">
                  <a:moveTo>
                    <a:pt x="6" y="1"/>
                  </a:moveTo>
                  <a:lnTo>
                    <a:pt x="11" y="3"/>
                  </a:lnTo>
                  <a:lnTo>
                    <a:pt x="14" y="6"/>
                  </a:lnTo>
                  <a:lnTo>
                    <a:pt x="17" y="6"/>
                  </a:lnTo>
                  <a:lnTo>
                    <a:pt x="22" y="6"/>
                  </a:lnTo>
                  <a:lnTo>
                    <a:pt x="32" y="6"/>
                  </a:lnTo>
                  <a:lnTo>
                    <a:pt x="40" y="8"/>
                  </a:lnTo>
                  <a:lnTo>
                    <a:pt x="36" y="9"/>
                  </a:lnTo>
                  <a:lnTo>
                    <a:pt x="33" y="9"/>
                  </a:lnTo>
                  <a:lnTo>
                    <a:pt x="41" y="11"/>
                  </a:lnTo>
                  <a:lnTo>
                    <a:pt x="51" y="11"/>
                  </a:lnTo>
                  <a:lnTo>
                    <a:pt x="59" y="9"/>
                  </a:lnTo>
                  <a:lnTo>
                    <a:pt x="67" y="6"/>
                  </a:lnTo>
                  <a:lnTo>
                    <a:pt x="63" y="3"/>
                  </a:lnTo>
                  <a:lnTo>
                    <a:pt x="60" y="1"/>
                  </a:lnTo>
                  <a:lnTo>
                    <a:pt x="55" y="1"/>
                  </a:lnTo>
                  <a:lnTo>
                    <a:pt x="52" y="1"/>
                  </a:lnTo>
                  <a:lnTo>
                    <a:pt x="43" y="0"/>
                  </a:lnTo>
                  <a:lnTo>
                    <a:pt x="35" y="0"/>
                  </a:lnTo>
                  <a:lnTo>
                    <a:pt x="17" y="0"/>
                  </a:lnTo>
                  <a:lnTo>
                    <a:pt x="0" y="0"/>
                  </a:lnTo>
                  <a:lnTo>
                    <a:pt x="5" y="0"/>
                  </a:lnTo>
                  <a:lnTo>
                    <a:pt x="6" y="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51" name="Freeform 285"/>
            <p:cNvSpPr>
              <a:spLocks/>
            </p:cNvSpPr>
            <p:nvPr/>
          </p:nvSpPr>
          <p:spPr bwMode="auto">
            <a:xfrm>
              <a:off x="6970613" y="2180284"/>
              <a:ext cx="97044" cy="28772"/>
            </a:xfrm>
            <a:custGeom>
              <a:avLst/>
              <a:gdLst>
                <a:gd name="T0" fmla="*/ 24 w 132"/>
                <a:gd name="T1" fmla="*/ 26 h 35"/>
                <a:gd name="T2" fmla="*/ 30 w 132"/>
                <a:gd name="T3" fmla="*/ 27 h 35"/>
                <a:gd name="T4" fmla="*/ 26 w 132"/>
                <a:gd name="T5" fmla="*/ 29 h 35"/>
                <a:gd name="T6" fmla="*/ 32 w 132"/>
                <a:gd name="T7" fmla="*/ 31 h 35"/>
                <a:gd name="T8" fmla="*/ 24 w 132"/>
                <a:gd name="T9" fmla="*/ 31 h 35"/>
                <a:gd name="T10" fmla="*/ 41 w 132"/>
                <a:gd name="T11" fmla="*/ 32 h 35"/>
                <a:gd name="T12" fmla="*/ 62 w 132"/>
                <a:gd name="T13" fmla="*/ 35 h 35"/>
                <a:gd name="T14" fmla="*/ 70 w 132"/>
                <a:gd name="T15" fmla="*/ 34 h 35"/>
                <a:gd name="T16" fmla="*/ 76 w 132"/>
                <a:gd name="T17" fmla="*/ 32 h 35"/>
                <a:gd name="T18" fmla="*/ 97 w 132"/>
                <a:gd name="T19" fmla="*/ 29 h 35"/>
                <a:gd name="T20" fmla="*/ 108 w 132"/>
                <a:gd name="T21" fmla="*/ 29 h 35"/>
                <a:gd name="T22" fmla="*/ 124 w 132"/>
                <a:gd name="T23" fmla="*/ 29 h 35"/>
                <a:gd name="T24" fmla="*/ 132 w 132"/>
                <a:gd name="T25" fmla="*/ 26 h 35"/>
                <a:gd name="T26" fmla="*/ 125 w 132"/>
                <a:gd name="T27" fmla="*/ 23 h 35"/>
                <a:gd name="T28" fmla="*/ 117 w 132"/>
                <a:gd name="T29" fmla="*/ 21 h 35"/>
                <a:gd name="T30" fmla="*/ 121 w 132"/>
                <a:gd name="T31" fmla="*/ 18 h 35"/>
                <a:gd name="T32" fmla="*/ 129 w 132"/>
                <a:gd name="T33" fmla="*/ 16 h 35"/>
                <a:gd name="T34" fmla="*/ 113 w 132"/>
                <a:gd name="T35" fmla="*/ 12 h 35"/>
                <a:gd name="T36" fmla="*/ 83 w 132"/>
                <a:gd name="T37" fmla="*/ 4 h 35"/>
                <a:gd name="T38" fmla="*/ 60 w 132"/>
                <a:gd name="T39" fmla="*/ 0 h 35"/>
                <a:gd name="T40" fmla="*/ 56 w 132"/>
                <a:gd name="T41" fmla="*/ 2 h 35"/>
                <a:gd name="T42" fmla="*/ 64 w 132"/>
                <a:gd name="T43" fmla="*/ 2 h 35"/>
                <a:gd name="T44" fmla="*/ 52 w 132"/>
                <a:gd name="T45" fmla="*/ 4 h 35"/>
                <a:gd name="T46" fmla="*/ 45 w 132"/>
                <a:gd name="T47" fmla="*/ 5 h 35"/>
                <a:gd name="T48" fmla="*/ 37 w 132"/>
                <a:gd name="T49" fmla="*/ 7 h 35"/>
                <a:gd name="T50" fmla="*/ 30 w 132"/>
                <a:gd name="T51" fmla="*/ 7 h 35"/>
                <a:gd name="T52" fmla="*/ 22 w 132"/>
                <a:gd name="T53" fmla="*/ 7 h 35"/>
                <a:gd name="T54" fmla="*/ 11 w 132"/>
                <a:gd name="T55" fmla="*/ 12 h 35"/>
                <a:gd name="T56" fmla="*/ 18 w 132"/>
                <a:gd name="T57" fmla="*/ 15 h 35"/>
                <a:gd name="T58" fmla="*/ 24 w 132"/>
                <a:gd name="T59" fmla="*/ 15 h 35"/>
                <a:gd name="T60" fmla="*/ 22 w 132"/>
                <a:gd name="T61" fmla="*/ 21 h 35"/>
                <a:gd name="T62" fmla="*/ 13 w 132"/>
                <a:gd name="T63" fmla="*/ 21 h 35"/>
                <a:gd name="T64" fmla="*/ 13 w 132"/>
                <a:gd name="T65" fmla="*/ 24 h 35"/>
                <a:gd name="T66" fmla="*/ 21 w 132"/>
                <a:gd name="T67" fmla="*/ 24 h 35"/>
                <a:gd name="T68" fmla="*/ 13 w 132"/>
                <a:gd name="T69" fmla="*/ 24 h 35"/>
                <a:gd name="T70" fmla="*/ 5 w 132"/>
                <a:gd name="T71" fmla="*/ 24 h 35"/>
                <a:gd name="T72" fmla="*/ 5 w 132"/>
                <a:gd name="T73" fmla="*/ 27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2" h="35">
                  <a:moveTo>
                    <a:pt x="5" y="27"/>
                  </a:moveTo>
                  <a:lnTo>
                    <a:pt x="24" y="26"/>
                  </a:lnTo>
                  <a:lnTo>
                    <a:pt x="43" y="27"/>
                  </a:lnTo>
                  <a:lnTo>
                    <a:pt x="30" y="27"/>
                  </a:lnTo>
                  <a:lnTo>
                    <a:pt x="16" y="27"/>
                  </a:lnTo>
                  <a:lnTo>
                    <a:pt x="26" y="29"/>
                  </a:lnTo>
                  <a:lnTo>
                    <a:pt x="35" y="31"/>
                  </a:lnTo>
                  <a:lnTo>
                    <a:pt x="32" y="31"/>
                  </a:lnTo>
                  <a:lnTo>
                    <a:pt x="27" y="31"/>
                  </a:lnTo>
                  <a:lnTo>
                    <a:pt x="24" y="31"/>
                  </a:lnTo>
                  <a:lnTo>
                    <a:pt x="21" y="31"/>
                  </a:lnTo>
                  <a:lnTo>
                    <a:pt x="41" y="32"/>
                  </a:lnTo>
                  <a:lnTo>
                    <a:pt x="62" y="35"/>
                  </a:lnTo>
                  <a:lnTo>
                    <a:pt x="62" y="35"/>
                  </a:lnTo>
                  <a:lnTo>
                    <a:pt x="65" y="34"/>
                  </a:lnTo>
                  <a:lnTo>
                    <a:pt x="70" y="34"/>
                  </a:lnTo>
                  <a:lnTo>
                    <a:pt x="73" y="34"/>
                  </a:lnTo>
                  <a:lnTo>
                    <a:pt x="76" y="32"/>
                  </a:lnTo>
                  <a:lnTo>
                    <a:pt x="87" y="31"/>
                  </a:lnTo>
                  <a:lnTo>
                    <a:pt x="97" y="29"/>
                  </a:lnTo>
                  <a:lnTo>
                    <a:pt x="100" y="29"/>
                  </a:lnTo>
                  <a:lnTo>
                    <a:pt x="108" y="29"/>
                  </a:lnTo>
                  <a:lnTo>
                    <a:pt x="113" y="29"/>
                  </a:lnTo>
                  <a:lnTo>
                    <a:pt x="124" y="29"/>
                  </a:lnTo>
                  <a:lnTo>
                    <a:pt x="129" y="29"/>
                  </a:lnTo>
                  <a:lnTo>
                    <a:pt x="132" y="26"/>
                  </a:lnTo>
                  <a:lnTo>
                    <a:pt x="129" y="26"/>
                  </a:lnTo>
                  <a:lnTo>
                    <a:pt x="125" y="23"/>
                  </a:lnTo>
                  <a:lnTo>
                    <a:pt x="121" y="21"/>
                  </a:lnTo>
                  <a:lnTo>
                    <a:pt x="117" y="21"/>
                  </a:lnTo>
                  <a:lnTo>
                    <a:pt x="116" y="16"/>
                  </a:lnTo>
                  <a:lnTo>
                    <a:pt x="121" y="18"/>
                  </a:lnTo>
                  <a:lnTo>
                    <a:pt x="124" y="16"/>
                  </a:lnTo>
                  <a:lnTo>
                    <a:pt x="129" y="16"/>
                  </a:lnTo>
                  <a:lnTo>
                    <a:pt x="132" y="15"/>
                  </a:lnTo>
                  <a:lnTo>
                    <a:pt x="113" y="12"/>
                  </a:lnTo>
                  <a:lnTo>
                    <a:pt x="92" y="7"/>
                  </a:lnTo>
                  <a:lnTo>
                    <a:pt x="83" y="4"/>
                  </a:lnTo>
                  <a:lnTo>
                    <a:pt x="72" y="2"/>
                  </a:lnTo>
                  <a:lnTo>
                    <a:pt x="60" y="0"/>
                  </a:lnTo>
                  <a:lnTo>
                    <a:pt x="51" y="2"/>
                  </a:lnTo>
                  <a:lnTo>
                    <a:pt x="56" y="2"/>
                  </a:lnTo>
                  <a:lnTo>
                    <a:pt x="59" y="2"/>
                  </a:lnTo>
                  <a:lnTo>
                    <a:pt x="64" y="2"/>
                  </a:lnTo>
                  <a:lnTo>
                    <a:pt x="56" y="2"/>
                  </a:lnTo>
                  <a:lnTo>
                    <a:pt x="52" y="4"/>
                  </a:lnTo>
                  <a:lnTo>
                    <a:pt x="49" y="5"/>
                  </a:lnTo>
                  <a:lnTo>
                    <a:pt x="45" y="5"/>
                  </a:lnTo>
                  <a:lnTo>
                    <a:pt x="41" y="5"/>
                  </a:lnTo>
                  <a:lnTo>
                    <a:pt x="37" y="7"/>
                  </a:lnTo>
                  <a:lnTo>
                    <a:pt x="33" y="7"/>
                  </a:lnTo>
                  <a:lnTo>
                    <a:pt x="30" y="7"/>
                  </a:lnTo>
                  <a:lnTo>
                    <a:pt x="26" y="7"/>
                  </a:lnTo>
                  <a:lnTo>
                    <a:pt x="22" y="7"/>
                  </a:lnTo>
                  <a:lnTo>
                    <a:pt x="18" y="10"/>
                  </a:lnTo>
                  <a:lnTo>
                    <a:pt x="11" y="12"/>
                  </a:lnTo>
                  <a:lnTo>
                    <a:pt x="13" y="15"/>
                  </a:lnTo>
                  <a:lnTo>
                    <a:pt x="18" y="15"/>
                  </a:lnTo>
                  <a:lnTo>
                    <a:pt x="21" y="15"/>
                  </a:lnTo>
                  <a:lnTo>
                    <a:pt x="24" y="15"/>
                  </a:lnTo>
                  <a:lnTo>
                    <a:pt x="21" y="18"/>
                  </a:lnTo>
                  <a:lnTo>
                    <a:pt x="22" y="21"/>
                  </a:lnTo>
                  <a:lnTo>
                    <a:pt x="16" y="21"/>
                  </a:lnTo>
                  <a:lnTo>
                    <a:pt x="13" y="21"/>
                  </a:lnTo>
                  <a:lnTo>
                    <a:pt x="8" y="23"/>
                  </a:lnTo>
                  <a:lnTo>
                    <a:pt x="13" y="24"/>
                  </a:lnTo>
                  <a:lnTo>
                    <a:pt x="16" y="24"/>
                  </a:lnTo>
                  <a:lnTo>
                    <a:pt x="21" y="24"/>
                  </a:lnTo>
                  <a:lnTo>
                    <a:pt x="24" y="24"/>
                  </a:lnTo>
                  <a:lnTo>
                    <a:pt x="13" y="24"/>
                  </a:lnTo>
                  <a:lnTo>
                    <a:pt x="8" y="24"/>
                  </a:lnTo>
                  <a:lnTo>
                    <a:pt x="5" y="24"/>
                  </a:lnTo>
                  <a:lnTo>
                    <a:pt x="0" y="27"/>
                  </a:lnTo>
                  <a:lnTo>
                    <a:pt x="5" y="27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52" name="Freeform 286"/>
            <p:cNvSpPr>
              <a:spLocks/>
            </p:cNvSpPr>
            <p:nvPr/>
          </p:nvSpPr>
          <p:spPr bwMode="auto">
            <a:xfrm>
              <a:off x="6973553" y="2363066"/>
              <a:ext cx="10293" cy="1692"/>
            </a:xfrm>
            <a:custGeom>
              <a:avLst/>
              <a:gdLst>
                <a:gd name="T0" fmla="*/ 0 w 13"/>
                <a:gd name="T1" fmla="*/ 0 h 1"/>
                <a:gd name="T2" fmla="*/ 5 w 13"/>
                <a:gd name="T3" fmla="*/ 1 h 1"/>
                <a:gd name="T4" fmla="*/ 8 w 13"/>
                <a:gd name="T5" fmla="*/ 1 h 1"/>
                <a:gd name="T6" fmla="*/ 13 w 13"/>
                <a:gd name="T7" fmla="*/ 1 h 1"/>
                <a:gd name="T8" fmla="*/ 8 w 13"/>
                <a:gd name="T9" fmla="*/ 0 h 1"/>
                <a:gd name="T10" fmla="*/ 5 w 13"/>
                <a:gd name="T11" fmla="*/ 0 h 1"/>
                <a:gd name="T12" fmla="*/ 1 w 13"/>
                <a:gd name="T13" fmla="*/ 0 h 1"/>
                <a:gd name="T14" fmla="*/ 0 w 13"/>
                <a:gd name="T1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">
                  <a:moveTo>
                    <a:pt x="0" y="0"/>
                  </a:moveTo>
                  <a:lnTo>
                    <a:pt x="5" y="1"/>
                  </a:lnTo>
                  <a:lnTo>
                    <a:pt x="8" y="1"/>
                  </a:lnTo>
                  <a:lnTo>
                    <a:pt x="13" y="1"/>
                  </a:lnTo>
                  <a:lnTo>
                    <a:pt x="8" y="0"/>
                  </a:lnTo>
                  <a:lnTo>
                    <a:pt x="5" y="0"/>
                  </a:lnTo>
                  <a:lnTo>
                    <a:pt x="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53" name="Freeform 287"/>
            <p:cNvSpPr>
              <a:spLocks/>
            </p:cNvSpPr>
            <p:nvPr/>
          </p:nvSpPr>
          <p:spPr bwMode="auto">
            <a:xfrm>
              <a:off x="6975024" y="2349528"/>
              <a:ext cx="5881" cy="3385"/>
            </a:xfrm>
            <a:custGeom>
              <a:avLst/>
              <a:gdLst>
                <a:gd name="T0" fmla="*/ 5 w 8"/>
                <a:gd name="T1" fmla="*/ 0 h 3"/>
                <a:gd name="T2" fmla="*/ 0 w 8"/>
                <a:gd name="T3" fmla="*/ 1 h 3"/>
                <a:gd name="T4" fmla="*/ 4 w 8"/>
                <a:gd name="T5" fmla="*/ 3 h 3"/>
                <a:gd name="T6" fmla="*/ 8 w 8"/>
                <a:gd name="T7" fmla="*/ 3 h 3"/>
                <a:gd name="T8" fmla="*/ 5 w 8"/>
                <a:gd name="T9" fmla="*/ 1 h 3"/>
                <a:gd name="T10" fmla="*/ 8 w 8"/>
                <a:gd name="T11" fmla="*/ 1 h 3"/>
                <a:gd name="T12" fmla="*/ 5 w 8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3">
                  <a:moveTo>
                    <a:pt x="5" y="0"/>
                  </a:moveTo>
                  <a:lnTo>
                    <a:pt x="0" y="1"/>
                  </a:lnTo>
                  <a:lnTo>
                    <a:pt x="4" y="3"/>
                  </a:lnTo>
                  <a:lnTo>
                    <a:pt x="8" y="3"/>
                  </a:lnTo>
                  <a:lnTo>
                    <a:pt x="5" y="1"/>
                  </a:lnTo>
                  <a:lnTo>
                    <a:pt x="8" y="1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54" name="Freeform 288"/>
            <p:cNvSpPr>
              <a:spLocks/>
            </p:cNvSpPr>
            <p:nvPr/>
          </p:nvSpPr>
          <p:spPr bwMode="auto">
            <a:xfrm>
              <a:off x="6979435" y="2347834"/>
              <a:ext cx="2941" cy="1692"/>
            </a:xfrm>
            <a:custGeom>
              <a:avLst/>
              <a:gdLst>
                <a:gd name="T0" fmla="*/ 3 w 3"/>
                <a:gd name="T1" fmla="*/ 0 h 1"/>
                <a:gd name="T2" fmla="*/ 0 w 3"/>
                <a:gd name="T3" fmla="*/ 1 h 1"/>
                <a:gd name="T4" fmla="*/ 3 w 3"/>
                <a:gd name="T5" fmla="*/ 1 h 1"/>
                <a:gd name="T6" fmla="*/ 3 w 3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lnTo>
                    <a:pt x="0" y="1"/>
                  </a:lnTo>
                  <a:lnTo>
                    <a:pt x="3" y="1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55" name="Freeform 289"/>
            <p:cNvSpPr>
              <a:spLocks/>
            </p:cNvSpPr>
            <p:nvPr/>
          </p:nvSpPr>
          <p:spPr bwMode="auto">
            <a:xfrm>
              <a:off x="6979435" y="2215825"/>
              <a:ext cx="11763" cy="1692"/>
            </a:xfrm>
            <a:custGeom>
              <a:avLst/>
              <a:gdLst>
                <a:gd name="T0" fmla="*/ 13 w 16"/>
                <a:gd name="T1" fmla="*/ 2 h 2"/>
                <a:gd name="T2" fmla="*/ 16 w 16"/>
                <a:gd name="T3" fmla="*/ 2 h 2"/>
                <a:gd name="T4" fmla="*/ 13 w 16"/>
                <a:gd name="T5" fmla="*/ 0 h 2"/>
                <a:gd name="T6" fmla="*/ 8 w 16"/>
                <a:gd name="T7" fmla="*/ 0 h 2"/>
                <a:gd name="T8" fmla="*/ 5 w 16"/>
                <a:gd name="T9" fmla="*/ 0 h 2"/>
                <a:gd name="T10" fmla="*/ 0 w 16"/>
                <a:gd name="T11" fmla="*/ 0 h 2"/>
                <a:gd name="T12" fmla="*/ 5 w 16"/>
                <a:gd name="T13" fmla="*/ 2 h 2"/>
                <a:gd name="T14" fmla="*/ 8 w 16"/>
                <a:gd name="T15" fmla="*/ 2 h 2"/>
                <a:gd name="T16" fmla="*/ 13 w 16"/>
                <a:gd name="T1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" h="2">
                  <a:moveTo>
                    <a:pt x="13" y="2"/>
                  </a:moveTo>
                  <a:lnTo>
                    <a:pt x="16" y="2"/>
                  </a:lnTo>
                  <a:lnTo>
                    <a:pt x="13" y="0"/>
                  </a:lnTo>
                  <a:lnTo>
                    <a:pt x="8" y="0"/>
                  </a:lnTo>
                  <a:lnTo>
                    <a:pt x="5" y="0"/>
                  </a:lnTo>
                  <a:lnTo>
                    <a:pt x="0" y="0"/>
                  </a:lnTo>
                  <a:lnTo>
                    <a:pt x="5" y="2"/>
                  </a:lnTo>
                  <a:lnTo>
                    <a:pt x="8" y="2"/>
                  </a:lnTo>
                  <a:lnTo>
                    <a:pt x="13" y="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56" name="Freeform 290"/>
            <p:cNvSpPr>
              <a:spLocks/>
            </p:cNvSpPr>
            <p:nvPr/>
          </p:nvSpPr>
          <p:spPr bwMode="auto">
            <a:xfrm>
              <a:off x="6986787" y="2347834"/>
              <a:ext cx="8822" cy="3385"/>
            </a:xfrm>
            <a:custGeom>
              <a:avLst/>
              <a:gdLst>
                <a:gd name="T0" fmla="*/ 11 w 11"/>
                <a:gd name="T1" fmla="*/ 1 h 4"/>
                <a:gd name="T2" fmla="*/ 8 w 11"/>
                <a:gd name="T3" fmla="*/ 1 h 4"/>
                <a:gd name="T4" fmla="*/ 4 w 11"/>
                <a:gd name="T5" fmla="*/ 0 h 4"/>
                <a:gd name="T6" fmla="*/ 0 w 11"/>
                <a:gd name="T7" fmla="*/ 1 h 4"/>
                <a:gd name="T8" fmla="*/ 4 w 11"/>
                <a:gd name="T9" fmla="*/ 4 h 4"/>
                <a:gd name="T10" fmla="*/ 8 w 11"/>
                <a:gd name="T11" fmla="*/ 4 h 4"/>
                <a:gd name="T12" fmla="*/ 11 w 11"/>
                <a:gd name="T13" fmla="*/ 3 h 4"/>
                <a:gd name="T14" fmla="*/ 11 w 11"/>
                <a:gd name="T15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11" y="1"/>
                  </a:moveTo>
                  <a:lnTo>
                    <a:pt x="8" y="1"/>
                  </a:lnTo>
                  <a:lnTo>
                    <a:pt x="4" y="0"/>
                  </a:lnTo>
                  <a:lnTo>
                    <a:pt x="0" y="1"/>
                  </a:lnTo>
                  <a:lnTo>
                    <a:pt x="4" y="4"/>
                  </a:lnTo>
                  <a:lnTo>
                    <a:pt x="8" y="4"/>
                  </a:lnTo>
                  <a:lnTo>
                    <a:pt x="11" y="3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57" name="Freeform 291"/>
            <p:cNvSpPr>
              <a:spLocks/>
            </p:cNvSpPr>
            <p:nvPr/>
          </p:nvSpPr>
          <p:spPr bwMode="auto">
            <a:xfrm>
              <a:off x="6989728" y="2351220"/>
              <a:ext cx="4411" cy="1692"/>
            </a:xfrm>
            <a:custGeom>
              <a:avLst/>
              <a:gdLst>
                <a:gd name="T0" fmla="*/ 0 w 6"/>
                <a:gd name="T1" fmla="*/ 2 h 2"/>
                <a:gd name="T2" fmla="*/ 3 w 6"/>
                <a:gd name="T3" fmla="*/ 2 h 2"/>
                <a:gd name="T4" fmla="*/ 6 w 6"/>
                <a:gd name="T5" fmla="*/ 2 h 2"/>
                <a:gd name="T6" fmla="*/ 3 w 6"/>
                <a:gd name="T7" fmla="*/ 0 h 2"/>
                <a:gd name="T8" fmla="*/ 0 w 6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2">
                  <a:moveTo>
                    <a:pt x="0" y="2"/>
                  </a:moveTo>
                  <a:lnTo>
                    <a:pt x="3" y="2"/>
                  </a:lnTo>
                  <a:lnTo>
                    <a:pt x="6" y="2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58" name="Freeform 292"/>
            <p:cNvSpPr>
              <a:spLocks/>
            </p:cNvSpPr>
            <p:nvPr/>
          </p:nvSpPr>
          <p:spPr bwMode="auto">
            <a:xfrm>
              <a:off x="6997079" y="2280138"/>
              <a:ext cx="4411" cy="3385"/>
            </a:xfrm>
            <a:custGeom>
              <a:avLst/>
              <a:gdLst>
                <a:gd name="T0" fmla="*/ 3 w 4"/>
                <a:gd name="T1" fmla="*/ 0 h 4"/>
                <a:gd name="T2" fmla="*/ 0 w 4"/>
                <a:gd name="T3" fmla="*/ 0 h 4"/>
                <a:gd name="T4" fmla="*/ 0 w 4"/>
                <a:gd name="T5" fmla="*/ 4 h 4"/>
                <a:gd name="T6" fmla="*/ 4 w 4"/>
                <a:gd name="T7" fmla="*/ 0 h 4"/>
                <a:gd name="T8" fmla="*/ 3 w 4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59" name="Freeform 293"/>
            <p:cNvSpPr>
              <a:spLocks/>
            </p:cNvSpPr>
            <p:nvPr/>
          </p:nvSpPr>
          <p:spPr bwMode="auto">
            <a:xfrm>
              <a:off x="6997079" y="2349528"/>
              <a:ext cx="5881" cy="1692"/>
            </a:xfrm>
            <a:custGeom>
              <a:avLst/>
              <a:gdLst>
                <a:gd name="T0" fmla="*/ 4 w 8"/>
                <a:gd name="T1" fmla="*/ 3 h 3"/>
                <a:gd name="T2" fmla="*/ 8 w 8"/>
                <a:gd name="T3" fmla="*/ 2 h 3"/>
                <a:gd name="T4" fmla="*/ 4 w 8"/>
                <a:gd name="T5" fmla="*/ 0 h 3"/>
                <a:gd name="T6" fmla="*/ 0 w 8"/>
                <a:gd name="T7" fmla="*/ 0 h 3"/>
                <a:gd name="T8" fmla="*/ 0 w 8"/>
                <a:gd name="T9" fmla="*/ 3 h 3"/>
                <a:gd name="T10" fmla="*/ 4 w 8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3">
                  <a:moveTo>
                    <a:pt x="4" y="3"/>
                  </a:moveTo>
                  <a:lnTo>
                    <a:pt x="8" y="2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60" name="Freeform 294"/>
            <p:cNvSpPr>
              <a:spLocks/>
            </p:cNvSpPr>
            <p:nvPr/>
          </p:nvSpPr>
          <p:spPr bwMode="auto">
            <a:xfrm>
              <a:off x="6997079" y="2222595"/>
              <a:ext cx="10293" cy="1692"/>
            </a:xfrm>
            <a:custGeom>
              <a:avLst/>
              <a:gdLst>
                <a:gd name="T0" fmla="*/ 0 w 12"/>
                <a:gd name="T1" fmla="*/ 2 h 2"/>
                <a:gd name="T2" fmla="*/ 4 w 12"/>
                <a:gd name="T3" fmla="*/ 2 h 2"/>
                <a:gd name="T4" fmla="*/ 9 w 12"/>
                <a:gd name="T5" fmla="*/ 2 h 2"/>
                <a:gd name="T6" fmla="*/ 12 w 12"/>
                <a:gd name="T7" fmla="*/ 0 h 2"/>
                <a:gd name="T8" fmla="*/ 8 w 12"/>
                <a:gd name="T9" fmla="*/ 0 h 2"/>
                <a:gd name="T10" fmla="*/ 4 w 12"/>
                <a:gd name="T11" fmla="*/ 2 h 2"/>
                <a:gd name="T12" fmla="*/ 1 w 12"/>
                <a:gd name="T13" fmla="*/ 0 h 2"/>
                <a:gd name="T14" fmla="*/ 0 w 12"/>
                <a:gd name="T1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2">
                  <a:moveTo>
                    <a:pt x="0" y="2"/>
                  </a:moveTo>
                  <a:lnTo>
                    <a:pt x="4" y="2"/>
                  </a:lnTo>
                  <a:lnTo>
                    <a:pt x="9" y="2"/>
                  </a:lnTo>
                  <a:lnTo>
                    <a:pt x="12" y="0"/>
                  </a:lnTo>
                  <a:lnTo>
                    <a:pt x="8" y="0"/>
                  </a:lnTo>
                  <a:lnTo>
                    <a:pt x="4" y="2"/>
                  </a:lnTo>
                  <a:lnTo>
                    <a:pt x="1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61" name="Freeform 295"/>
            <p:cNvSpPr>
              <a:spLocks/>
            </p:cNvSpPr>
            <p:nvPr/>
          </p:nvSpPr>
          <p:spPr bwMode="auto">
            <a:xfrm>
              <a:off x="7001491" y="2276753"/>
              <a:ext cx="8822" cy="3385"/>
            </a:xfrm>
            <a:custGeom>
              <a:avLst/>
              <a:gdLst>
                <a:gd name="T0" fmla="*/ 2 w 11"/>
                <a:gd name="T1" fmla="*/ 4 h 4"/>
                <a:gd name="T2" fmla="*/ 3 w 11"/>
                <a:gd name="T3" fmla="*/ 3 h 4"/>
                <a:gd name="T4" fmla="*/ 8 w 11"/>
                <a:gd name="T5" fmla="*/ 4 h 4"/>
                <a:gd name="T6" fmla="*/ 11 w 11"/>
                <a:gd name="T7" fmla="*/ 0 h 4"/>
                <a:gd name="T8" fmla="*/ 6 w 11"/>
                <a:gd name="T9" fmla="*/ 0 h 4"/>
                <a:gd name="T10" fmla="*/ 3 w 11"/>
                <a:gd name="T11" fmla="*/ 0 h 4"/>
                <a:gd name="T12" fmla="*/ 0 w 11"/>
                <a:gd name="T13" fmla="*/ 0 h 4"/>
                <a:gd name="T14" fmla="*/ 2 w 11"/>
                <a:gd name="T1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4">
                  <a:moveTo>
                    <a:pt x="2" y="4"/>
                  </a:moveTo>
                  <a:lnTo>
                    <a:pt x="3" y="3"/>
                  </a:lnTo>
                  <a:lnTo>
                    <a:pt x="8" y="4"/>
                  </a:lnTo>
                  <a:lnTo>
                    <a:pt x="11" y="0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62" name="Freeform 296"/>
            <p:cNvSpPr>
              <a:spLocks/>
            </p:cNvSpPr>
            <p:nvPr/>
          </p:nvSpPr>
          <p:spPr bwMode="auto">
            <a:xfrm>
              <a:off x="7010313" y="2222595"/>
              <a:ext cx="5881" cy="1692"/>
            </a:xfrm>
            <a:custGeom>
              <a:avLst/>
              <a:gdLst>
                <a:gd name="T0" fmla="*/ 2 w 8"/>
                <a:gd name="T1" fmla="*/ 2 h 2"/>
                <a:gd name="T2" fmla="*/ 5 w 8"/>
                <a:gd name="T3" fmla="*/ 2 h 2"/>
                <a:gd name="T4" fmla="*/ 8 w 8"/>
                <a:gd name="T5" fmla="*/ 2 h 2"/>
                <a:gd name="T6" fmla="*/ 5 w 8"/>
                <a:gd name="T7" fmla="*/ 0 h 2"/>
                <a:gd name="T8" fmla="*/ 0 w 8"/>
                <a:gd name="T9" fmla="*/ 0 h 2"/>
                <a:gd name="T10" fmla="*/ 2 w 8"/>
                <a:gd name="T11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2">
                  <a:moveTo>
                    <a:pt x="2" y="2"/>
                  </a:moveTo>
                  <a:lnTo>
                    <a:pt x="5" y="2"/>
                  </a:lnTo>
                  <a:lnTo>
                    <a:pt x="8" y="2"/>
                  </a:lnTo>
                  <a:lnTo>
                    <a:pt x="5" y="0"/>
                  </a:lnTo>
                  <a:lnTo>
                    <a:pt x="0" y="0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63" name="Freeform 297"/>
            <p:cNvSpPr>
              <a:spLocks/>
            </p:cNvSpPr>
            <p:nvPr/>
          </p:nvSpPr>
          <p:spPr bwMode="auto">
            <a:xfrm>
              <a:off x="7013253" y="2205670"/>
              <a:ext cx="130862" cy="33849"/>
            </a:xfrm>
            <a:custGeom>
              <a:avLst/>
              <a:gdLst>
                <a:gd name="T0" fmla="*/ 22 w 179"/>
                <a:gd name="T1" fmla="*/ 4 h 39"/>
                <a:gd name="T2" fmla="*/ 22 w 179"/>
                <a:gd name="T3" fmla="*/ 7 h 39"/>
                <a:gd name="T4" fmla="*/ 29 w 179"/>
                <a:gd name="T5" fmla="*/ 9 h 39"/>
                <a:gd name="T6" fmla="*/ 16 w 179"/>
                <a:gd name="T7" fmla="*/ 14 h 39"/>
                <a:gd name="T8" fmla="*/ 0 w 179"/>
                <a:gd name="T9" fmla="*/ 17 h 39"/>
                <a:gd name="T10" fmla="*/ 8 w 179"/>
                <a:gd name="T11" fmla="*/ 17 h 39"/>
                <a:gd name="T12" fmla="*/ 15 w 179"/>
                <a:gd name="T13" fmla="*/ 17 h 39"/>
                <a:gd name="T14" fmla="*/ 22 w 179"/>
                <a:gd name="T15" fmla="*/ 19 h 39"/>
                <a:gd name="T16" fmla="*/ 22 w 179"/>
                <a:gd name="T17" fmla="*/ 20 h 39"/>
                <a:gd name="T18" fmla="*/ 30 w 179"/>
                <a:gd name="T19" fmla="*/ 19 h 39"/>
                <a:gd name="T20" fmla="*/ 37 w 179"/>
                <a:gd name="T21" fmla="*/ 22 h 39"/>
                <a:gd name="T22" fmla="*/ 45 w 179"/>
                <a:gd name="T23" fmla="*/ 27 h 39"/>
                <a:gd name="T24" fmla="*/ 54 w 179"/>
                <a:gd name="T25" fmla="*/ 30 h 39"/>
                <a:gd name="T26" fmla="*/ 67 w 179"/>
                <a:gd name="T27" fmla="*/ 31 h 39"/>
                <a:gd name="T28" fmla="*/ 78 w 179"/>
                <a:gd name="T29" fmla="*/ 31 h 39"/>
                <a:gd name="T30" fmla="*/ 89 w 179"/>
                <a:gd name="T31" fmla="*/ 33 h 39"/>
                <a:gd name="T32" fmla="*/ 95 w 179"/>
                <a:gd name="T33" fmla="*/ 33 h 39"/>
                <a:gd name="T34" fmla="*/ 114 w 179"/>
                <a:gd name="T35" fmla="*/ 36 h 39"/>
                <a:gd name="T36" fmla="*/ 127 w 179"/>
                <a:gd name="T37" fmla="*/ 38 h 39"/>
                <a:gd name="T38" fmla="*/ 154 w 179"/>
                <a:gd name="T39" fmla="*/ 39 h 39"/>
                <a:gd name="T40" fmla="*/ 165 w 179"/>
                <a:gd name="T41" fmla="*/ 38 h 39"/>
                <a:gd name="T42" fmla="*/ 172 w 179"/>
                <a:gd name="T43" fmla="*/ 38 h 39"/>
                <a:gd name="T44" fmla="*/ 179 w 179"/>
                <a:gd name="T45" fmla="*/ 33 h 39"/>
                <a:gd name="T46" fmla="*/ 149 w 179"/>
                <a:gd name="T47" fmla="*/ 23 h 39"/>
                <a:gd name="T48" fmla="*/ 157 w 179"/>
                <a:gd name="T49" fmla="*/ 25 h 39"/>
                <a:gd name="T50" fmla="*/ 159 w 179"/>
                <a:gd name="T51" fmla="*/ 22 h 39"/>
                <a:gd name="T52" fmla="*/ 152 w 179"/>
                <a:gd name="T53" fmla="*/ 15 h 39"/>
                <a:gd name="T54" fmla="*/ 152 w 179"/>
                <a:gd name="T55" fmla="*/ 11 h 39"/>
                <a:gd name="T56" fmla="*/ 145 w 179"/>
                <a:gd name="T57" fmla="*/ 7 h 39"/>
                <a:gd name="T58" fmla="*/ 121 w 179"/>
                <a:gd name="T59" fmla="*/ 3 h 39"/>
                <a:gd name="T60" fmla="*/ 113 w 179"/>
                <a:gd name="T61" fmla="*/ 4 h 39"/>
                <a:gd name="T62" fmla="*/ 108 w 179"/>
                <a:gd name="T63" fmla="*/ 7 h 39"/>
                <a:gd name="T64" fmla="*/ 100 w 179"/>
                <a:gd name="T65" fmla="*/ 7 h 39"/>
                <a:gd name="T66" fmla="*/ 97 w 179"/>
                <a:gd name="T67" fmla="*/ 12 h 39"/>
                <a:gd name="T68" fmla="*/ 97 w 179"/>
                <a:gd name="T69" fmla="*/ 11 h 39"/>
                <a:gd name="T70" fmla="*/ 99 w 179"/>
                <a:gd name="T71" fmla="*/ 4 h 39"/>
                <a:gd name="T72" fmla="*/ 91 w 179"/>
                <a:gd name="T73" fmla="*/ 0 h 39"/>
                <a:gd name="T74" fmla="*/ 72 w 179"/>
                <a:gd name="T75" fmla="*/ 0 h 39"/>
                <a:gd name="T76" fmla="*/ 53 w 179"/>
                <a:gd name="T77" fmla="*/ 1 h 39"/>
                <a:gd name="T78" fmla="*/ 40 w 179"/>
                <a:gd name="T79" fmla="*/ 1 h 39"/>
                <a:gd name="T80" fmla="*/ 32 w 179"/>
                <a:gd name="T81" fmla="*/ 3 h 39"/>
                <a:gd name="T82" fmla="*/ 26 w 179"/>
                <a:gd name="T83" fmla="*/ 4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79" h="39">
                  <a:moveTo>
                    <a:pt x="26" y="4"/>
                  </a:moveTo>
                  <a:lnTo>
                    <a:pt x="22" y="4"/>
                  </a:lnTo>
                  <a:lnTo>
                    <a:pt x="18" y="7"/>
                  </a:lnTo>
                  <a:lnTo>
                    <a:pt x="22" y="7"/>
                  </a:lnTo>
                  <a:lnTo>
                    <a:pt x="26" y="7"/>
                  </a:lnTo>
                  <a:lnTo>
                    <a:pt x="29" y="9"/>
                  </a:lnTo>
                  <a:lnTo>
                    <a:pt x="19" y="11"/>
                  </a:lnTo>
                  <a:lnTo>
                    <a:pt x="16" y="14"/>
                  </a:lnTo>
                  <a:lnTo>
                    <a:pt x="11" y="17"/>
                  </a:lnTo>
                  <a:lnTo>
                    <a:pt x="0" y="17"/>
                  </a:lnTo>
                  <a:lnTo>
                    <a:pt x="3" y="17"/>
                  </a:lnTo>
                  <a:lnTo>
                    <a:pt x="8" y="17"/>
                  </a:lnTo>
                  <a:lnTo>
                    <a:pt x="11" y="20"/>
                  </a:lnTo>
                  <a:lnTo>
                    <a:pt x="15" y="17"/>
                  </a:lnTo>
                  <a:lnTo>
                    <a:pt x="18" y="17"/>
                  </a:lnTo>
                  <a:lnTo>
                    <a:pt x="22" y="19"/>
                  </a:lnTo>
                  <a:lnTo>
                    <a:pt x="26" y="19"/>
                  </a:lnTo>
                  <a:lnTo>
                    <a:pt x="22" y="20"/>
                  </a:lnTo>
                  <a:lnTo>
                    <a:pt x="26" y="20"/>
                  </a:lnTo>
                  <a:lnTo>
                    <a:pt x="30" y="19"/>
                  </a:lnTo>
                  <a:lnTo>
                    <a:pt x="34" y="19"/>
                  </a:lnTo>
                  <a:lnTo>
                    <a:pt x="37" y="22"/>
                  </a:lnTo>
                  <a:lnTo>
                    <a:pt x="41" y="25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54" y="30"/>
                  </a:lnTo>
                  <a:lnTo>
                    <a:pt x="60" y="31"/>
                  </a:lnTo>
                  <a:lnTo>
                    <a:pt x="67" y="31"/>
                  </a:lnTo>
                  <a:lnTo>
                    <a:pt x="73" y="30"/>
                  </a:lnTo>
                  <a:lnTo>
                    <a:pt x="78" y="31"/>
                  </a:lnTo>
                  <a:lnTo>
                    <a:pt x="81" y="33"/>
                  </a:lnTo>
                  <a:lnTo>
                    <a:pt x="89" y="33"/>
                  </a:lnTo>
                  <a:lnTo>
                    <a:pt x="92" y="33"/>
                  </a:lnTo>
                  <a:lnTo>
                    <a:pt x="95" y="33"/>
                  </a:lnTo>
                  <a:lnTo>
                    <a:pt x="100" y="33"/>
                  </a:lnTo>
                  <a:lnTo>
                    <a:pt x="114" y="36"/>
                  </a:lnTo>
                  <a:lnTo>
                    <a:pt x="130" y="38"/>
                  </a:lnTo>
                  <a:lnTo>
                    <a:pt x="127" y="38"/>
                  </a:lnTo>
                  <a:lnTo>
                    <a:pt x="141" y="39"/>
                  </a:lnTo>
                  <a:lnTo>
                    <a:pt x="154" y="39"/>
                  </a:lnTo>
                  <a:lnTo>
                    <a:pt x="157" y="38"/>
                  </a:lnTo>
                  <a:lnTo>
                    <a:pt x="165" y="38"/>
                  </a:lnTo>
                  <a:lnTo>
                    <a:pt x="168" y="38"/>
                  </a:lnTo>
                  <a:lnTo>
                    <a:pt x="172" y="38"/>
                  </a:lnTo>
                  <a:lnTo>
                    <a:pt x="176" y="38"/>
                  </a:lnTo>
                  <a:lnTo>
                    <a:pt x="179" y="33"/>
                  </a:lnTo>
                  <a:lnTo>
                    <a:pt x="165" y="28"/>
                  </a:lnTo>
                  <a:lnTo>
                    <a:pt x="149" y="23"/>
                  </a:lnTo>
                  <a:lnTo>
                    <a:pt x="152" y="25"/>
                  </a:lnTo>
                  <a:lnTo>
                    <a:pt x="157" y="25"/>
                  </a:lnTo>
                  <a:lnTo>
                    <a:pt x="160" y="25"/>
                  </a:lnTo>
                  <a:lnTo>
                    <a:pt x="159" y="22"/>
                  </a:lnTo>
                  <a:lnTo>
                    <a:pt x="157" y="17"/>
                  </a:lnTo>
                  <a:lnTo>
                    <a:pt x="152" y="15"/>
                  </a:lnTo>
                  <a:lnTo>
                    <a:pt x="149" y="12"/>
                  </a:lnTo>
                  <a:lnTo>
                    <a:pt x="152" y="11"/>
                  </a:lnTo>
                  <a:lnTo>
                    <a:pt x="154" y="11"/>
                  </a:lnTo>
                  <a:lnTo>
                    <a:pt x="145" y="7"/>
                  </a:lnTo>
                  <a:lnTo>
                    <a:pt x="132" y="4"/>
                  </a:lnTo>
                  <a:lnTo>
                    <a:pt x="121" y="3"/>
                  </a:lnTo>
                  <a:lnTo>
                    <a:pt x="110" y="4"/>
                  </a:lnTo>
                  <a:lnTo>
                    <a:pt x="113" y="4"/>
                  </a:lnTo>
                  <a:lnTo>
                    <a:pt x="113" y="7"/>
                  </a:lnTo>
                  <a:lnTo>
                    <a:pt x="108" y="7"/>
                  </a:lnTo>
                  <a:lnTo>
                    <a:pt x="105" y="7"/>
                  </a:lnTo>
                  <a:lnTo>
                    <a:pt x="100" y="7"/>
                  </a:lnTo>
                  <a:lnTo>
                    <a:pt x="102" y="11"/>
                  </a:lnTo>
                  <a:lnTo>
                    <a:pt x="97" y="12"/>
                  </a:lnTo>
                  <a:lnTo>
                    <a:pt x="94" y="12"/>
                  </a:lnTo>
                  <a:lnTo>
                    <a:pt x="97" y="11"/>
                  </a:lnTo>
                  <a:lnTo>
                    <a:pt x="99" y="7"/>
                  </a:lnTo>
                  <a:lnTo>
                    <a:pt x="99" y="4"/>
                  </a:lnTo>
                  <a:lnTo>
                    <a:pt x="100" y="3"/>
                  </a:lnTo>
                  <a:lnTo>
                    <a:pt x="91" y="0"/>
                  </a:lnTo>
                  <a:lnTo>
                    <a:pt x="81" y="0"/>
                  </a:lnTo>
                  <a:lnTo>
                    <a:pt x="72" y="0"/>
                  </a:lnTo>
                  <a:lnTo>
                    <a:pt x="62" y="1"/>
                  </a:lnTo>
                  <a:lnTo>
                    <a:pt x="53" y="1"/>
                  </a:lnTo>
                  <a:lnTo>
                    <a:pt x="43" y="1"/>
                  </a:lnTo>
                  <a:lnTo>
                    <a:pt x="40" y="1"/>
                  </a:lnTo>
                  <a:lnTo>
                    <a:pt x="35" y="3"/>
                  </a:lnTo>
                  <a:lnTo>
                    <a:pt x="32" y="3"/>
                  </a:lnTo>
                  <a:lnTo>
                    <a:pt x="29" y="3"/>
                  </a:lnTo>
                  <a:lnTo>
                    <a:pt x="26" y="4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64" name="Freeform 298"/>
            <p:cNvSpPr>
              <a:spLocks/>
            </p:cNvSpPr>
            <p:nvPr/>
          </p:nvSpPr>
          <p:spPr bwMode="auto">
            <a:xfrm>
              <a:off x="7014723" y="2280138"/>
              <a:ext cx="7352" cy="1692"/>
            </a:xfrm>
            <a:custGeom>
              <a:avLst/>
              <a:gdLst>
                <a:gd name="T0" fmla="*/ 5 w 10"/>
                <a:gd name="T1" fmla="*/ 0 h 2"/>
                <a:gd name="T2" fmla="*/ 0 w 10"/>
                <a:gd name="T3" fmla="*/ 0 h 2"/>
                <a:gd name="T4" fmla="*/ 5 w 10"/>
                <a:gd name="T5" fmla="*/ 2 h 2"/>
                <a:gd name="T6" fmla="*/ 10 w 10"/>
                <a:gd name="T7" fmla="*/ 2 h 2"/>
                <a:gd name="T8" fmla="*/ 7 w 10"/>
                <a:gd name="T9" fmla="*/ 0 h 2"/>
                <a:gd name="T10" fmla="*/ 5 w 10"/>
                <a:gd name="T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" h="2">
                  <a:moveTo>
                    <a:pt x="5" y="0"/>
                  </a:moveTo>
                  <a:lnTo>
                    <a:pt x="0" y="0"/>
                  </a:lnTo>
                  <a:lnTo>
                    <a:pt x="5" y="2"/>
                  </a:lnTo>
                  <a:lnTo>
                    <a:pt x="10" y="2"/>
                  </a:lnTo>
                  <a:lnTo>
                    <a:pt x="7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65" name="Freeform 299"/>
            <p:cNvSpPr>
              <a:spLocks/>
            </p:cNvSpPr>
            <p:nvPr/>
          </p:nvSpPr>
          <p:spPr bwMode="auto">
            <a:xfrm>
              <a:off x="7019135" y="2209055"/>
              <a:ext cx="2941" cy="1692"/>
            </a:xfrm>
            <a:custGeom>
              <a:avLst/>
              <a:gdLst>
                <a:gd name="T0" fmla="*/ 0 w 5"/>
                <a:gd name="T1" fmla="*/ 5 w 5"/>
                <a:gd name="T2" fmla="*/ 5 w 5"/>
                <a:gd name="T3" fmla="*/ 2 w 5"/>
                <a:gd name="T4" fmla="*/ 0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5">
                  <a:moveTo>
                    <a:pt x="0" y="0"/>
                  </a:moveTo>
                  <a:lnTo>
                    <a:pt x="5" y="0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66" name="Freeform 300"/>
            <p:cNvSpPr>
              <a:spLocks/>
            </p:cNvSpPr>
            <p:nvPr/>
          </p:nvSpPr>
          <p:spPr bwMode="auto">
            <a:xfrm>
              <a:off x="7114708" y="2278445"/>
              <a:ext cx="17644" cy="6770"/>
            </a:xfrm>
            <a:custGeom>
              <a:avLst/>
              <a:gdLst>
                <a:gd name="T0" fmla="*/ 22 w 26"/>
                <a:gd name="T1" fmla="*/ 0 h 6"/>
                <a:gd name="T2" fmla="*/ 10 w 26"/>
                <a:gd name="T3" fmla="*/ 3 h 6"/>
                <a:gd name="T4" fmla="*/ 0 w 26"/>
                <a:gd name="T5" fmla="*/ 5 h 6"/>
                <a:gd name="T6" fmla="*/ 3 w 26"/>
                <a:gd name="T7" fmla="*/ 6 h 6"/>
                <a:gd name="T8" fmla="*/ 8 w 26"/>
                <a:gd name="T9" fmla="*/ 6 h 6"/>
                <a:gd name="T10" fmla="*/ 11 w 26"/>
                <a:gd name="T11" fmla="*/ 5 h 6"/>
                <a:gd name="T12" fmla="*/ 14 w 26"/>
                <a:gd name="T13" fmla="*/ 6 h 6"/>
                <a:gd name="T14" fmla="*/ 18 w 26"/>
                <a:gd name="T15" fmla="*/ 6 h 6"/>
                <a:gd name="T16" fmla="*/ 22 w 26"/>
                <a:gd name="T17" fmla="*/ 6 h 6"/>
                <a:gd name="T18" fmla="*/ 26 w 26"/>
                <a:gd name="T19" fmla="*/ 3 h 6"/>
                <a:gd name="T20" fmla="*/ 22 w 26"/>
                <a:gd name="T2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" h="6">
                  <a:moveTo>
                    <a:pt x="22" y="0"/>
                  </a:moveTo>
                  <a:lnTo>
                    <a:pt x="10" y="3"/>
                  </a:lnTo>
                  <a:lnTo>
                    <a:pt x="0" y="5"/>
                  </a:lnTo>
                  <a:lnTo>
                    <a:pt x="3" y="6"/>
                  </a:lnTo>
                  <a:lnTo>
                    <a:pt x="8" y="6"/>
                  </a:lnTo>
                  <a:lnTo>
                    <a:pt x="11" y="5"/>
                  </a:lnTo>
                  <a:lnTo>
                    <a:pt x="14" y="6"/>
                  </a:lnTo>
                  <a:lnTo>
                    <a:pt x="18" y="6"/>
                  </a:lnTo>
                  <a:lnTo>
                    <a:pt x="22" y="6"/>
                  </a:lnTo>
                  <a:lnTo>
                    <a:pt x="26" y="3"/>
                  </a:lnTo>
                  <a:lnTo>
                    <a:pt x="22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67" name="Freeform 301"/>
            <p:cNvSpPr>
              <a:spLocks/>
            </p:cNvSpPr>
            <p:nvPr/>
          </p:nvSpPr>
          <p:spPr bwMode="auto">
            <a:xfrm>
              <a:off x="7114708" y="2291985"/>
              <a:ext cx="5881" cy="1692"/>
            </a:xfrm>
            <a:custGeom>
              <a:avLst/>
              <a:gdLst>
                <a:gd name="T0" fmla="*/ 5 w 8"/>
                <a:gd name="T1" fmla="*/ 0 h 3"/>
                <a:gd name="T2" fmla="*/ 0 w 8"/>
                <a:gd name="T3" fmla="*/ 2 h 3"/>
                <a:gd name="T4" fmla="*/ 5 w 8"/>
                <a:gd name="T5" fmla="*/ 3 h 3"/>
                <a:gd name="T6" fmla="*/ 8 w 8"/>
                <a:gd name="T7" fmla="*/ 3 h 3"/>
                <a:gd name="T8" fmla="*/ 5 w 8"/>
                <a:gd name="T9" fmla="*/ 2 h 3"/>
                <a:gd name="T10" fmla="*/ 5 w 8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3">
                  <a:moveTo>
                    <a:pt x="5" y="0"/>
                  </a:moveTo>
                  <a:lnTo>
                    <a:pt x="0" y="2"/>
                  </a:lnTo>
                  <a:lnTo>
                    <a:pt x="5" y="3"/>
                  </a:lnTo>
                  <a:lnTo>
                    <a:pt x="8" y="3"/>
                  </a:lnTo>
                  <a:lnTo>
                    <a:pt x="5" y="2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68" name="Freeform 302"/>
            <p:cNvSpPr>
              <a:spLocks/>
            </p:cNvSpPr>
            <p:nvPr/>
          </p:nvSpPr>
          <p:spPr bwMode="auto">
            <a:xfrm>
              <a:off x="7125001" y="2291985"/>
              <a:ext cx="5881" cy="1692"/>
            </a:xfrm>
            <a:custGeom>
              <a:avLst/>
              <a:gdLst>
                <a:gd name="T0" fmla="*/ 4 w 8"/>
                <a:gd name="T1" fmla="*/ 2 h 3"/>
                <a:gd name="T2" fmla="*/ 0 w 8"/>
                <a:gd name="T3" fmla="*/ 0 h 3"/>
                <a:gd name="T4" fmla="*/ 4 w 8"/>
                <a:gd name="T5" fmla="*/ 3 h 3"/>
                <a:gd name="T6" fmla="*/ 8 w 8"/>
                <a:gd name="T7" fmla="*/ 2 h 3"/>
                <a:gd name="T8" fmla="*/ 4 w 8"/>
                <a:gd name="T9" fmla="*/ 2 h 3"/>
                <a:gd name="T10" fmla="*/ 4 w 8"/>
                <a:gd name="T11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3">
                  <a:moveTo>
                    <a:pt x="4" y="2"/>
                  </a:moveTo>
                  <a:lnTo>
                    <a:pt x="0" y="0"/>
                  </a:lnTo>
                  <a:lnTo>
                    <a:pt x="4" y="3"/>
                  </a:lnTo>
                  <a:lnTo>
                    <a:pt x="8" y="2"/>
                  </a:lnTo>
                  <a:lnTo>
                    <a:pt x="4" y="2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69" name="Freeform 303"/>
            <p:cNvSpPr>
              <a:spLocks/>
            </p:cNvSpPr>
            <p:nvPr/>
          </p:nvSpPr>
          <p:spPr bwMode="auto">
            <a:xfrm>
              <a:off x="7127942" y="2285214"/>
              <a:ext cx="5881" cy="1692"/>
            </a:xfrm>
            <a:custGeom>
              <a:avLst/>
              <a:gdLst>
                <a:gd name="T0" fmla="*/ 8 w 8"/>
                <a:gd name="T1" fmla="*/ 0 h 1"/>
                <a:gd name="T2" fmla="*/ 3 w 8"/>
                <a:gd name="T3" fmla="*/ 0 h 1"/>
                <a:gd name="T4" fmla="*/ 0 w 8"/>
                <a:gd name="T5" fmla="*/ 0 h 1"/>
                <a:gd name="T6" fmla="*/ 5 w 8"/>
                <a:gd name="T7" fmla="*/ 1 h 1"/>
                <a:gd name="T8" fmla="*/ 8 w 8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5" y="1"/>
                  </a:lnTo>
                  <a:lnTo>
                    <a:pt x="8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70" name="Freeform 304"/>
            <p:cNvSpPr>
              <a:spLocks/>
            </p:cNvSpPr>
            <p:nvPr/>
          </p:nvSpPr>
          <p:spPr bwMode="auto">
            <a:xfrm>
              <a:off x="7132353" y="2291985"/>
              <a:ext cx="8822" cy="1692"/>
            </a:xfrm>
            <a:custGeom>
              <a:avLst/>
              <a:gdLst>
                <a:gd name="T0" fmla="*/ 11 w 11"/>
                <a:gd name="T1" fmla="*/ 0 h 3"/>
                <a:gd name="T2" fmla="*/ 6 w 11"/>
                <a:gd name="T3" fmla="*/ 2 h 3"/>
                <a:gd name="T4" fmla="*/ 3 w 11"/>
                <a:gd name="T5" fmla="*/ 2 h 3"/>
                <a:gd name="T6" fmla="*/ 0 w 11"/>
                <a:gd name="T7" fmla="*/ 2 h 3"/>
                <a:gd name="T8" fmla="*/ 3 w 11"/>
                <a:gd name="T9" fmla="*/ 3 h 3"/>
                <a:gd name="T10" fmla="*/ 6 w 11"/>
                <a:gd name="T11" fmla="*/ 3 h 3"/>
                <a:gd name="T12" fmla="*/ 11 w 11"/>
                <a:gd name="T13" fmla="*/ 3 h 3"/>
                <a:gd name="T14" fmla="*/ 11 w 11"/>
                <a:gd name="T1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3">
                  <a:moveTo>
                    <a:pt x="11" y="0"/>
                  </a:moveTo>
                  <a:lnTo>
                    <a:pt x="6" y="2"/>
                  </a:lnTo>
                  <a:lnTo>
                    <a:pt x="3" y="2"/>
                  </a:lnTo>
                  <a:lnTo>
                    <a:pt x="0" y="2"/>
                  </a:lnTo>
                  <a:lnTo>
                    <a:pt x="3" y="3"/>
                  </a:lnTo>
                  <a:lnTo>
                    <a:pt x="6" y="3"/>
                  </a:lnTo>
                  <a:lnTo>
                    <a:pt x="11" y="3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71" name="Freeform 305"/>
            <p:cNvSpPr>
              <a:spLocks/>
            </p:cNvSpPr>
            <p:nvPr/>
          </p:nvSpPr>
          <p:spPr bwMode="auto">
            <a:xfrm>
              <a:off x="7148527" y="2302138"/>
              <a:ext cx="4411" cy="1692"/>
            </a:xfrm>
            <a:custGeom>
              <a:avLst/>
              <a:gdLst>
                <a:gd name="T0" fmla="*/ 7 w 7"/>
                <a:gd name="T1" fmla="*/ 3 w 7"/>
                <a:gd name="T2" fmla="*/ 0 w 7"/>
                <a:gd name="T3" fmla="*/ 3 w 7"/>
                <a:gd name="T4" fmla="*/ 7 w 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7">
                  <a:moveTo>
                    <a:pt x="7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72" name="Freeform 306"/>
            <p:cNvSpPr>
              <a:spLocks/>
            </p:cNvSpPr>
            <p:nvPr/>
          </p:nvSpPr>
          <p:spPr bwMode="auto">
            <a:xfrm>
              <a:off x="7157349" y="2222595"/>
              <a:ext cx="92633" cy="37233"/>
            </a:xfrm>
            <a:custGeom>
              <a:avLst/>
              <a:gdLst>
                <a:gd name="T0" fmla="*/ 5 w 127"/>
                <a:gd name="T1" fmla="*/ 32 h 45"/>
                <a:gd name="T2" fmla="*/ 5 w 127"/>
                <a:gd name="T3" fmla="*/ 35 h 45"/>
                <a:gd name="T4" fmla="*/ 0 w 127"/>
                <a:gd name="T5" fmla="*/ 41 h 45"/>
                <a:gd name="T6" fmla="*/ 17 w 127"/>
                <a:gd name="T7" fmla="*/ 45 h 45"/>
                <a:gd name="T8" fmla="*/ 33 w 127"/>
                <a:gd name="T9" fmla="*/ 40 h 45"/>
                <a:gd name="T10" fmla="*/ 41 w 127"/>
                <a:gd name="T11" fmla="*/ 37 h 45"/>
                <a:gd name="T12" fmla="*/ 49 w 127"/>
                <a:gd name="T13" fmla="*/ 37 h 45"/>
                <a:gd name="T14" fmla="*/ 55 w 127"/>
                <a:gd name="T15" fmla="*/ 37 h 45"/>
                <a:gd name="T16" fmla="*/ 67 w 127"/>
                <a:gd name="T17" fmla="*/ 37 h 45"/>
                <a:gd name="T18" fmla="*/ 74 w 127"/>
                <a:gd name="T19" fmla="*/ 38 h 45"/>
                <a:gd name="T20" fmla="*/ 82 w 127"/>
                <a:gd name="T21" fmla="*/ 35 h 45"/>
                <a:gd name="T22" fmla="*/ 90 w 127"/>
                <a:gd name="T23" fmla="*/ 35 h 45"/>
                <a:gd name="T24" fmla="*/ 98 w 127"/>
                <a:gd name="T25" fmla="*/ 35 h 45"/>
                <a:gd name="T26" fmla="*/ 105 w 127"/>
                <a:gd name="T27" fmla="*/ 33 h 45"/>
                <a:gd name="T28" fmla="*/ 113 w 127"/>
                <a:gd name="T29" fmla="*/ 32 h 45"/>
                <a:gd name="T30" fmla="*/ 120 w 127"/>
                <a:gd name="T31" fmla="*/ 32 h 45"/>
                <a:gd name="T32" fmla="*/ 127 w 127"/>
                <a:gd name="T33" fmla="*/ 27 h 45"/>
                <a:gd name="T34" fmla="*/ 119 w 127"/>
                <a:gd name="T35" fmla="*/ 22 h 45"/>
                <a:gd name="T36" fmla="*/ 113 w 127"/>
                <a:gd name="T37" fmla="*/ 19 h 45"/>
                <a:gd name="T38" fmla="*/ 105 w 127"/>
                <a:gd name="T39" fmla="*/ 18 h 45"/>
                <a:gd name="T40" fmla="*/ 98 w 127"/>
                <a:gd name="T41" fmla="*/ 18 h 45"/>
                <a:gd name="T42" fmla="*/ 90 w 127"/>
                <a:gd name="T43" fmla="*/ 14 h 45"/>
                <a:gd name="T44" fmla="*/ 82 w 127"/>
                <a:gd name="T45" fmla="*/ 13 h 45"/>
                <a:gd name="T46" fmla="*/ 76 w 127"/>
                <a:gd name="T47" fmla="*/ 11 h 45"/>
                <a:gd name="T48" fmla="*/ 65 w 127"/>
                <a:gd name="T49" fmla="*/ 8 h 45"/>
                <a:gd name="T50" fmla="*/ 57 w 127"/>
                <a:gd name="T51" fmla="*/ 10 h 45"/>
                <a:gd name="T52" fmla="*/ 49 w 127"/>
                <a:gd name="T53" fmla="*/ 14 h 45"/>
                <a:gd name="T54" fmla="*/ 43 w 127"/>
                <a:gd name="T55" fmla="*/ 18 h 45"/>
                <a:gd name="T56" fmla="*/ 41 w 127"/>
                <a:gd name="T57" fmla="*/ 10 h 45"/>
                <a:gd name="T58" fmla="*/ 43 w 127"/>
                <a:gd name="T59" fmla="*/ 3 h 45"/>
                <a:gd name="T60" fmla="*/ 35 w 127"/>
                <a:gd name="T61" fmla="*/ 2 h 45"/>
                <a:gd name="T62" fmla="*/ 28 w 127"/>
                <a:gd name="T63" fmla="*/ 2 h 45"/>
                <a:gd name="T64" fmla="*/ 21 w 127"/>
                <a:gd name="T65" fmla="*/ 3 h 45"/>
                <a:gd name="T66" fmla="*/ 21 w 127"/>
                <a:gd name="T67" fmla="*/ 5 h 45"/>
                <a:gd name="T68" fmla="*/ 14 w 127"/>
                <a:gd name="T69" fmla="*/ 3 h 45"/>
                <a:gd name="T70" fmla="*/ 6 w 127"/>
                <a:gd name="T71" fmla="*/ 2 h 45"/>
                <a:gd name="T72" fmla="*/ 3 w 127"/>
                <a:gd name="T73" fmla="*/ 8 h 45"/>
                <a:gd name="T74" fmla="*/ 9 w 127"/>
                <a:gd name="T75" fmla="*/ 11 h 45"/>
                <a:gd name="T76" fmla="*/ 9 w 127"/>
                <a:gd name="T77" fmla="*/ 13 h 45"/>
                <a:gd name="T78" fmla="*/ 5 w 127"/>
                <a:gd name="T79" fmla="*/ 16 h 45"/>
                <a:gd name="T80" fmla="*/ 11 w 127"/>
                <a:gd name="T81" fmla="*/ 19 h 45"/>
                <a:gd name="T82" fmla="*/ 11 w 127"/>
                <a:gd name="T83" fmla="*/ 19 h 45"/>
                <a:gd name="T84" fmla="*/ 5 w 127"/>
                <a:gd name="T85" fmla="*/ 19 h 45"/>
                <a:gd name="T86" fmla="*/ 1 w 127"/>
                <a:gd name="T87" fmla="*/ 24 h 45"/>
                <a:gd name="T88" fmla="*/ 5 w 127"/>
                <a:gd name="T89" fmla="*/ 3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7" h="45">
                  <a:moveTo>
                    <a:pt x="5" y="30"/>
                  </a:moveTo>
                  <a:lnTo>
                    <a:pt x="5" y="32"/>
                  </a:lnTo>
                  <a:lnTo>
                    <a:pt x="6" y="32"/>
                  </a:lnTo>
                  <a:lnTo>
                    <a:pt x="5" y="35"/>
                  </a:lnTo>
                  <a:lnTo>
                    <a:pt x="1" y="38"/>
                  </a:lnTo>
                  <a:lnTo>
                    <a:pt x="0" y="41"/>
                  </a:lnTo>
                  <a:lnTo>
                    <a:pt x="8" y="43"/>
                  </a:lnTo>
                  <a:lnTo>
                    <a:pt x="17" y="45"/>
                  </a:lnTo>
                  <a:lnTo>
                    <a:pt x="25" y="41"/>
                  </a:lnTo>
                  <a:lnTo>
                    <a:pt x="33" y="40"/>
                  </a:lnTo>
                  <a:lnTo>
                    <a:pt x="38" y="37"/>
                  </a:lnTo>
                  <a:lnTo>
                    <a:pt x="41" y="37"/>
                  </a:lnTo>
                  <a:lnTo>
                    <a:pt x="44" y="37"/>
                  </a:lnTo>
                  <a:lnTo>
                    <a:pt x="49" y="37"/>
                  </a:lnTo>
                  <a:lnTo>
                    <a:pt x="52" y="37"/>
                  </a:lnTo>
                  <a:lnTo>
                    <a:pt x="55" y="37"/>
                  </a:lnTo>
                  <a:lnTo>
                    <a:pt x="63" y="37"/>
                  </a:lnTo>
                  <a:lnTo>
                    <a:pt x="67" y="37"/>
                  </a:lnTo>
                  <a:lnTo>
                    <a:pt x="71" y="37"/>
                  </a:lnTo>
                  <a:lnTo>
                    <a:pt x="74" y="38"/>
                  </a:lnTo>
                  <a:lnTo>
                    <a:pt x="79" y="35"/>
                  </a:lnTo>
                  <a:lnTo>
                    <a:pt x="82" y="35"/>
                  </a:lnTo>
                  <a:lnTo>
                    <a:pt x="86" y="35"/>
                  </a:lnTo>
                  <a:lnTo>
                    <a:pt x="90" y="35"/>
                  </a:lnTo>
                  <a:lnTo>
                    <a:pt x="93" y="35"/>
                  </a:lnTo>
                  <a:lnTo>
                    <a:pt x="98" y="35"/>
                  </a:lnTo>
                  <a:lnTo>
                    <a:pt x="101" y="33"/>
                  </a:lnTo>
                  <a:lnTo>
                    <a:pt x="105" y="33"/>
                  </a:lnTo>
                  <a:lnTo>
                    <a:pt x="109" y="32"/>
                  </a:lnTo>
                  <a:lnTo>
                    <a:pt x="113" y="32"/>
                  </a:lnTo>
                  <a:lnTo>
                    <a:pt x="116" y="32"/>
                  </a:lnTo>
                  <a:lnTo>
                    <a:pt x="120" y="32"/>
                  </a:lnTo>
                  <a:lnTo>
                    <a:pt x="124" y="29"/>
                  </a:lnTo>
                  <a:lnTo>
                    <a:pt x="127" y="27"/>
                  </a:lnTo>
                  <a:lnTo>
                    <a:pt x="124" y="24"/>
                  </a:lnTo>
                  <a:lnTo>
                    <a:pt x="119" y="22"/>
                  </a:lnTo>
                  <a:lnTo>
                    <a:pt x="116" y="21"/>
                  </a:lnTo>
                  <a:lnTo>
                    <a:pt x="113" y="19"/>
                  </a:lnTo>
                  <a:lnTo>
                    <a:pt x="108" y="18"/>
                  </a:lnTo>
                  <a:lnTo>
                    <a:pt x="105" y="18"/>
                  </a:lnTo>
                  <a:lnTo>
                    <a:pt x="101" y="19"/>
                  </a:lnTo>
                  <a:lnTo>
                    <a:pt x="98" y="18"/>
                  </a:lnTo>
                  <a:lnTo>
                    <a:pt x="93" y="18"/>
                  </a:lnTo>
                  <a:lnTo>
                    <a:pt x="90" y="14"/>
                  </a:lnTo>
                  <a:lnTo>
                    <a:pt x="87" y="13"/>
                  </a:lnTo>
                  <a:lnTo>
                    <a:pt x="82" y="13"/>
                  </a:lnTo>
                  <a:lnTo>
                    <a:pt x="79" y="13"/>
                  </a:lnTo>
                  <a:lnTo>
                    <a:pt x="76" y="11"/>
                  </a:lnTo>
                  <a:lnTo>
                    <a:pt x="71" y="10"/>
                  </a:lnTo>
                  <a:lnTo>
                    <a:pt x="65" y="8"/>
                  </a:lnTo>
                  <a:lnTo>
                    <a:pt x="62" y="8"/>
                  </a:lnTo>
                  <a:lnTo>
                    <a:pt x="57" y="10"/>
                  </a:lnTo>
                  <a:lnTo>
                    <a:pt x="54" y="11"/>
                  </a:lnTo>
                  <a:lnTo>
                    <a:pt x="49" y="14"/>
                  </a:lnTo>
                  <a:lnTo>
                    <a:pt x="47" y="18"/>
                  </a:lnTo>
                  <a:lnTo>
                    <a:pt x="43" y="18"/>
                  </a:lnTo>
                  <a:lnTo>
                    <a:pt x="44" y="14"/>
                  </a:lnTo>
                  <a:lnTo>
                    <a:pt x="41" y="10"/>
                  </a:lnTo>
                  <a:lnTo>
                    <a:pt x="41" y="7"/>
                  </a:lnTo>
                  <a:lnTo>
                    <a:pt x="43" y="3"/>
                  </a:lnTo>
                  <a:lnTo>
                    <a:pt x="40" y="3"/>
                  </a:lnTo>
                  <a:lnTo>
                    <a:pt x="35" y="2"/>
                  </a:lnTo>
                  <a:lnTo>
                    <a:pt x="32" y="2"/>
                  </a:lnTo>
                  <a:lnTo>
                    <a:pt x="28" y="2"/>
                  </a:lnTo>
                  <a:lnTo>
                    <a:pt x="24" y="0"/>
                  </a:lnTo>
                  <a:lnTo>
                    <a:pt x="21" y="3"/>
                  </a:lnTo>
                  <a:lnTo>
                    <a:pt x="24" y="7"/>
                  </a:lnTo>
                  <a:lnTo>
                    <a:pt x="21" y="5"/>
                  </a:lnTo>
                  <a:lnTo>
                    <a:pt x="17" y="5"/>
                  </a:lnTo>
                  <a:lnTo>
                    <a:pt x="14" y="3"/>
                  </a:lnTo>
                  <a:lnTo>
                    <a:pt x="11" y="2"/>
                  </a:lnTo>
                  <a:lnTo>
                    <a:pt x="6" y="2"/>
                  </a:lnTo>
                  <a:lnTo>
                    <a:pt x="6" y="7"/>
                  </a:lnTo>
                  <a:lnTo>
                    <a:pt x="3" y="8"/>
                  </a:lnTo>
                  <a:lnTo>
                    <a:pt x="5" y="11"/>
                  </a:lnTo>
                  <a:lnTo>
                    <a:pt x="9" y="11"/>
                  </a:lnTo>
                  <a:lnTo>
                    <a:pt x="13" y="13"/>
                  </a:lnTo>
                  <a:lnTo>
                    <a:pt x="9" y="13"/>
                  </a:lnTo>
                  <a:lnTo>
                    <a:pt x="5" y="13"/>
                  </a:lnTo>
                  <a:lnTo>
                    <a:pt x="5" y="16"/>
                  </a:lnTo>
                  <a:lnTo>
                    <a:pt x="8" y="18"/>
                  </a:lnTo>
                  <a:lnTo>
                    <a:pt x="11" y="19"/>
                  </a:lnTo>
                  <a:lnTo>
                    <a:pt x="16" y="21"/>
                  </a:lnTo>
                  <a:lnTo>
                    <a:pt x="11" y="19"/>
                  </a:lnTo>
                  <a:lnTo>
                    <a:pt x="8" y="19"/>
                  </a:lnTo>
                  <a:lnTo>
                    <a:pt x="5" y="19"/>
                  </a:lnTo>
                  <a:lnTo>
                    <a:pt x="0" y="21"/>
                  </a:lnTo>
                  <a:lnTo>
                    <a:pt x="1" y="24"/>
                  </a:lnTo>
                  <a:lnTo>
                    <a:pt x="3" y="27"/>
                  </a:lnTo>
                  <a:lnTo>
                    <a:pt x="5" y="3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73" name="Freeform 307"/>
            <p:cNvSpPr>
              <a:spLocks/>
            </p:cNvSpPr>
            <p:nvPr/>
          </p:nvSpPr>
          <p:spPr bwMode="auto">
            <a:xfrm>
              <a:off x="7266156" y="2249674"/>
              <a:ext cx="8822" cy="3385"/>
            </a:xfrm>
            <a:custGeom>
              <a:avLst/>
              <a:gdLst>
                <a:gd name="T0" fmla="*/ 5 w 13"/>
                <a:gd name="T1" fmla="*/ 5 h 5"/>
                <a:gd name="T2" fmla="*/ 8 w 13"/>
                <a:gd name="T3" fmla="*/ 5 h 5"/>
                <a:gd name="T4" fmla="*/ 13 w 13"/>
                <a:gd name="T5" fmla="*/ 3 h 5"/>
                <a:gd name="T6" fmla="*/ 8 w 13"/>
                <a:gd name="T7" fmla="*/ 0 h 5"/>
                <a:gd name="T8" fmla="*/ 5 w 13"/>
                <a:gd name="T9" fmla="*/ 3 h 5"/>
                <a:gd name="T10" fmla="*/ 0 w 13"/>
                <a:gd name="T11" fmla="*/ 3 h 5"/>
                <a:gd name="T12" fmla="*/ 5 w 13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5">
                  <a:moveTo>
                    <a:pt x="5" y="5"/>
                  </a:moveTo>
                  <a:lnTo>
                    <a:pt x="8" y="5"/>
                  </a:lnTo>
                  <a:lnTo>
                    <a:pt x="13" y="3"/>
                  </a:lnTo>
                  <a:lnTo>
                    <a:pt x="8" y="0"/>
                  </a:lnTo>
                  <a:lnTo>
                    <a:pt x="5" y="3"/>
                  </a:lnTo>
                  <a:lnTo>
                    <a:pt x="0" y="3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74" name="Freeform 308"/>
            <p:cNvSpPr>
              <a:spLocks/>
            </p:cNvSpPr>
            <p:nvPr/>
          </p:nvSpPr>
          <p:spPr bwMode="auto">
            <a:xfrm>
              <a:off x="7274978" y="2253059"/>
              <a:ext cx="22055" cy="5077"/>
            </a:xfrm>
            <a:custGeom>
              <a:avLst/>
              <a:gdLst>
                <a:gd name="T0" fmla="*/ 27 w 30"/>
                <a:gd name="T1" fmla="*/ 4 h 4"/>
                <a:gd name="T2" fmla="*/ 30 w 30"/>
                <a:gd name="T3" fmla="*/ 3 h 4"/>
                <a:gd name="T4" fmla="*/ 27 w 30"/>
                <a:gd name="T5" fmla="*/ 0 h 4"/>
                <a:gd name="T6" fmla="*/ 22 w 30"/>
                <a:gd name="T7" fmla="*/ 0 h 4"/>
                <a:gd name="T8" fmla="*/ 19 w 30"/>
                <a:gd name="T9" fmla="*/ 0 h 4"/>
                <a:gd name="T10" fmla="*/ 16 w 30"/>
                <a:gd name="T11" fmla="*/ 1 h 4"/>
                <a:gd name="T12" fmla="*/ 11 w 30"/>
                <a:gd name="T13" fmla="*/ 1 h 4"/>
                <a:gd name="T14" fmla="*/ 8 w 30"/>
                <a:gd name="T15" fmla="*/ 0 h 4"/>
                <a:gd name="T16" fmla="*/ 5 w 30"/>
                <a:gd name="T17" fmla="*/ 1 h 4"/>
                <a:gd name="T18" fmla="*/ 0 w 30"/>
                <a:gd name="T19" fmla="*/ 1 h 4"/>
                <a:gd name="T20" fmla="*/ 5 w 30"/>
                <a:gd name="T21" fmla="*/ 3 h 4"/>
                <a:gd name="T22" fmla="*/ 8 w 30"/>
                <a:gd name="T23" fmla="*/ 3 h 4"/>
                <a:gd name="T24" fmla="*/ 13 w 30"/>
                <a:gd name="T25" fmla="*/ 3 h 4"/>
                <a:gd name="T26" fmla="*/ 18 w 30"/>
                <a:gd name="T27" fmla="*/ 3 h 4"/>
                <a:gd name="T28" fmla="*/ 21 w 30"/>
                <a:gd name="T29" fmla="*/ 3 h 4"/>
                <a:gd name="T30" fmla="*/ 24 w 30"/>
                <a:gd name="T31" fmla="*/ 3 h 4"/>
                <a:gd name="T32" fmla="*/ 27 w 30"/>
                <a:gd name="T3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" h="4">
                  <a:moveTo>
                    <a:pt x="27" y="4"/>
                  </a:moveTo>
                  <a:lnTo>
                    <a:pt x="30" y="3"/>
                  </a:lnTo>
                  <a:lnTo>
                    <a:pt x="27" y="0"/>
                  </a:lnTo>
                  <a:lnTo>
                    <a:pt x="22" y="0"/>
                  </a:lnTo>
                  <a:lnTo>
                    <a:pt x="19" y="0"/>
                  </a:lnTo>
                  <a:lnTo>
                    <a:pt x="16" y="1"/>
                  </a:lnTo>
                  <a:lnTo>
                    <a:pt x="11" y="1"/>
                  </a:lnTo>
                  <a:lnTo>
                    <a:pt x="8" y="0"/>
                  </a:lnTo>
                  <a:lnTo>
                    <a:pt x="5" y="1"/>
                  </a:lnTo>
                  <a:lnTo>
                    <a:pt x="0" y="1"/>
                  </a:lnTo>
                  <a:lnTo>
                    <a:pt x="5" y="3"/>
                  </a:lnTo>
                  <a:lnTo>
                    <a:pt x="8" y="3"/>
                  </a:lnTo>
                  <a:lnTo>
                    <a:pt x="13" y="3"/>
                  </a:lnTo>
                  <a:lnTo>
                    <a:pt x="18" y="3"/>
                  </a:lnTo>
                  <a:lnTo>
                    <a:pt x="21" y="3"/>
                  </a:lnTo>
                  <a:lnTo>
                    <a:pt x="24" y="3"/>
                  </a:lnTo>
                  <a:lnTo>
                    <a:pt x="27" y="4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75" name="Freeform 309"/>
            <p:cNvSpPr>
              <a:spLocks/>
            </p:cNvSpPr>
            <p:nvPr/>
          </p:nvSpPr>
          <p:spPr bwMode="auto">
            <a:xfrm>
              <a:off x="7295563" y="2271675"/>
              <a:ext cx="5881" cy="3385"/>
            </a:xfrm>
            <a:custGeom>
              <a:avLst/>
              <a:gdLst>
                <a:gd name="T0" fmla="*/ 0 w 8"/>
                <a:gd name="T1" fmla="*/ 3 h 3"/>
                <a:gd name="T2" fmla="*/ 4 w 8"/>
                <a:gd name="T3" fmla="*/ 3 h 3"/>
                <a:gd name="T4" fmla="*/ 8 w 8"/>
                <a:gd name="T5" fmla="*/ 1 h 3"/>
                <a:gd name="T6" fmla="*/ 3 w 8"/>
                <a:gd name="T7" fmla="*/ 0 h 3"/>
                <a:gd name="T8" fmla="*/ 0 w 8"/>
                <a:gd name="T9" fmla="*/ 0 h 3"/>
                <a:gd name="T10" fmla="*/ 0 w 8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3">
                  <a:moveTo>
                    <a:pt x="0" y="3"/>
                  </a:moveTo>
                  <a:lnTo>
                    <a:pt x="4" y="3"/>
                  </a:lnTo>
                  <a:lnTo>
                    <a:pt x="8" y="1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76" name="Freeform 310"/>
            <p:cNvSpPr>
              <a:spLocks/>
            </p:cNvSpPr>
            <p:nvPr/>
          </p:nvSpPr>
          <p:spPr bwMode="auto">
            <a:xfrm>
              <a:off x="7311737" y="2275060"/>
              <a:ext cx="8822" cy="3385"/>
            </a:xfrm>
            <a:custGeom>
              <a:avLst/>
              <a:gdLst>
                <a:gd name="T0" fmla="*/ 5 w 11"/>
                <a:gd name="T1" fmla="*/ 5 h 5"/>
                <a:gd name="T2" fmla="*/ 8 w 11"/>
                <a:gd name="T3" fmla="*/ 3 h 5"/>
                <a:gd name="T4" fmla="*/ 11 w 11"/>
                <a:gd name="T5" fmla="*/ 3 h 5"/>
                <a:gd name="T6" fmla="*/ 8 w 11"/>
                <a:gd name="T7" fmla="*/ 2 h 5"/>
                <a:gd name="T8" fmla="*/ 5 w 11"/>
                <a:gd name="T9" fmla="*/ 0 h 5"/>
                <a:gd name="T10" fmla="*/ 0 w 11"/>
                <a:gd name="T11" fmla="*/ 0 h 5"/>
                <a:gd name="T12" fmla="*/ 5 w 11"/>
                <a:gd name="T13" fmla="*/ 2 h 5"/>
                <a:gd name="T14" fmla="*/ 0 w 11"/>
                <a:gd name="T15" fmla="*/ 3 h 5"/>
                <a:gd name="T16" fmla="*/ 5 w 11"/>
                <a:gd name="T1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5">
                  <a:moveTo>
                    <a:pt x="5" y="5"/>
                  </a:moveTo>
                  <a:lnTo>
                    <a:pt x="8" y="3"/>
                  </a:lnTo>
                  <a:lnTo>
                    <a:pt x="11" y="3"/>
                  </a:lnTo>
                  <a:lnTo>
                    <a:pt x="8" y="2"/>
                  </a:lnTo>
                  <a:lnTo>
                    <a:pt x="5" y="0"/>
                  </a:lnTo>
                  <a:lnTo>
                    <a:pt x="0" y="0"/>
                  </a:lnTo>
                  <a:lnTo>
                    <a:pt x="5" y="2"/>
                  </a:lnTo>
                  <a:lnTo>
                    <a:pt x="0" y="3"/>
                  </a:lnTo>
                  <a:lnTo>
                    <a:pt x="5" y="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77" name="Freeform 311"/>
            <p:cNvSpPr>
              <a:spLocks/>
            </p:cNvSpPr>
            <p:nvPr/>
          </p:nvSpPr>
          <p:spPr bwMode="auto">
            <a:xfrm>
              <a:off x="7466125" y="2349528"/>
              <a:ext cx="32348" cy="11847"/>
            </a:xfrm>
            <a:custGeom>
              <a:avLst/>
              <a:gdLst>
                <a:gd name="T0" fmla="*/ 40 w 45"/>
                <a:gd name="T1" fmla="*/ 15 h 15"/>
                <a:gd name="T2" fmla="*/ 40 w 45"/>
                <a:gd name="T3" fmla="*/ 11 h 15"/>
                <a:gd name="T4" fmla="*/ 45 w 45"/>
                <a:gd name="T5" fmla="*/ 11 h 15"/>
                <a:gd name="T6" fmla="*/ 45 w 45"/>
                <a:gd name="T7" fmla="*/ 8 h 15"/>
                <a:gd name="T8" fmla="*/ 43 w 45"/>
                <a:gd name="T9" fmla="*/ 3 h 15"/>
                <a:gd name="T10" fmla="*/ 38 w 45"/>
                <a:gd name="T11" fmla="*/ 3 h 15"/>
                <a:gd name="T12" fmla="*/ 35 w 45"/>
                <a:gd name="T13" fmla="*/ 2 h 15"/>
                <a:gd name="T14" fmla="*/ 30 w 45"/>
                <a:gd name="T15" fmla="*/ 2 h 15"/>
                <a:gd name="T16" fmla="*/ 27 w 45"/>
                <a:gd name="T17" fmla="*/ 2 h 15"/>
                <a:gd name="T18" fmla="*/ 16 w 45"/>
                <a:gd name="T19" fmla="*/ 2 h 15"/>
                <a:gd name="T20" fmla="*/ 5 w 45"/>
                <a:gd name="T21" fmla="*/ 0 h 15"/>
                <a:gd name="T22" fmla="*/ 7 w 45"/>
                <a:gd name="T23" fmla="*/ 3 h 15"/>
                <a:gd name="T24" fmla="*/ 3 w 45"/>
                <a:gd name="T25" fmla="*/ 7 h 15"/>
                <a:gd name="T26" fmla="*/ 0 w 45"/>
                <a:gd name="T27" fmla="*/ 7 h 15"/>
                <a:gd name="T28" fmla="*/ 3 w 45"/>
                <a:gd name="T29" fmla="*/ 10 h 15"/>
                <a:gd name="T30" fmla="*/ 7 w 45"/>
                <a:gd name="T31" fmla="*/ 10 h 15"/>
                <a:gd name="T32" fmla="*/ 11 w 45"/>
                <a:gd name="T33" fmla="*/ 11 h 15"/>
                <a:gd name="T34" fmla="*/ 14 w 45"/>
                <a:gd name="T35" fmla="*/ 11 h 15"/>
                <a:gd name="T36" fmla="*/ 18 w 45"/>
                <a:gd name="T37" fmla="*/ 13 h 15"/>
                <a:gd name="T38" fmla="*/ 29 w 45"/>
                <a:gd name="T39" fmla="*/ 15 h 15"/>
                <a:gd name="T40" fmla="*/ 40 w 45"/>
                <a:gd name="T41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5" h="15">
                  <a:moveTo>
                    <a:pt x="40" y="15"/>
                  </a:moveTo>
                  <a:lnTo>
                    <a:pt x="40" y="11"/>
                  </a:lnTo>
                  <a:lnTo>
                    <a:pt x="45" y="11"/>
                  </a:lnTo>
                  <a:lnTo>
                    <a:pt x="45" y="8"/>
                  </a:lnTo>
                  <a:lnTo>
                    <a:pt x="43" y="3"/>
                  </a:lnTo>
                  <a:lnTo>
                    <a:pt x="38" y="3"/>
                  </a:lnTo>
                  <a:lnTo>
                    <a:pt x="35" y="2"/>
                  </a:lnTo>
                  <a:lnTo>
                    <a:pt x="30" y="2"/>
                  </a:lnTo>
                  <a:lnTo>
                    <a:pt x="27" y="2"/>
                  </a:lnTo>
                  <a:lnTo>
                    <a:pt x="16" y="2"/>
                  </a:lnTo>
                  <a:lnTo>
                    <a:pt x="5" y="0"/>
                  </a:lnTo>
                  <a:lnTo>
                    <a:pt x="7" y="3"/>
                  </a:lnTo>
                  <a:lnTo>
                    <a:pt x="3" y="7"/>
                  </a:lnTo>
                  <a:lnTo>
                    <a:pt x="0" y="7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18" y="13"/>
                  </a:lnTo>
                  <a:lnTo>
                    <a:pt x="29" y="15"/>
                  </a:lnTo>
                  <a:lnTo>
                    <a:pt x="40" y="1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78" name="Freeform 312"/>
            <p:cNvSpPr>
              <a:spLocks/>
            </p:cNvSpPr>
            <p:nvPr/>
          </p:nvSpPr>
          <p:spPr bwMode="auto">
            <a:xfrm>
              <a:off x="7645509" y="2386761"/>
              <a:ext cx="10293" cy="3385"/>
            </a:xfrm>
            <a:custGeom>
              <a:avLst/>
              <a:gdLst>
                <a:gd name="T0" fmla="*/ 7 w 15"/>
                <a:gd name="T1" fmla="*/ 0 h 4"/>
                <a:gd name="T2" fmla="*/ 4 w 15"/>
                <a:gd name="T3" fmla="*/ 0 h 4"/>
                <a:gd name="T4" fmla="*/ 0 w 15"/>
                <a:gd name="T5" fmla="*/ 3 h 4"/>
                <a:gd name="T6" fmla="*/ 4 w 15"/>
                <a:gd name="T7" fmla="*/ 4 h 4"/>
                <a:gd name="T8" fmla="*/ 8 w 15"/>
                <a:gd name="T9" fmla="*/ 4 h 4"/>
                <a:gd name="T10" fmla="*/ 12 w 15"/>
                <a:gd name="T11" fmla="*/ 4 h 4"/>
                <a:gd name="T12" fmla="*/ 15 w 15"/>
                <a:gd name="T13" fmla="*/ 1 h 4"/>
                <a:gd name="T14" fmla="*/ 12 w 15"/>
                <a:gd name="T15" fmla="*/ 1 h 4"/>
                <a:gd name="T16" fmla="*/ 7 w 15"/>
                <a:gd name="T1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4">
                  <a:moveTo>
                    <a:pt x="7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5" y="1"/>
                  </a:lnTo>
                  <a:lnTo>
                    <a:pt x="12" y="1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79" name="Freeform 313"/>
            <p:cNvSpPr>
              <a:spLocks/>
            </p:cNvSpPr>
            <p:nvPr/>
          </p:nvSpPr>
          <p:spPr bwMode="auto">
            <a:xfrm>
              <a:off x="7852830" y="2313986"/>
              <a:ext cx="19115" cy="13540"/>
            </a:xfrm>
            <a:custGeom>
              <a:avLst/>
              <a:gdLst>
                <a:gd name="T0" fmla="*/ 16 w 25"/>
                <a:gd name="T1" fmla="*/ 16 h 16"/>
                <a:gd name="T2" fmla="*/ 22 w 25"/>
                <a:gd name="T3" fmla="*/ 16 h 16"/>
                <a:gd name="T4" fmla="*/ 25 w 25"/>
                <a:gd name="T5" fmla="*/ 14 h 16"/>
                <a:gd name="T6" fmla="*/ 22 w 25"/>
                <a:gd name="T7" fmla="*/ 11 h 16"/>
                <a:gd name="T8" fmla="*/ 22 w 25"/>
                <a:gd name="T9" fmla="*/ 8 h 16"/>
                <a:gd name="T10" fmla="*/ 11 w 25"/>
                <a:gd name="T11" fmla="*/ 5 h 16"/>
                <a:gd name="T12" fmla="*/ 0 w 25"/>
                <a:gd name="T13" fmla="*/ 0 h 16"/>
                <a:gd name="T14" fmla="*/ 3 w 25"/>
                <a:gd name="T15" fmla="*/ 3 h 16"/>
                <a:gd name="T16" fmla="*/ 6 w 25"/>
                <a:gd name="T17" fmla="*/ 6 h 16"/>
                <a:gd name="T18" fmla="*/ 9 w 25"/>
                <a:gd name="T19" fmla="*/ 8 h 16"/>
                <a:gd name="T20" fmla="*/ 11 w 25"/>
                <a:gd name="T21" fmla="*/ 13 h 16"/>
                <a:gd name="T22" fmla="*/ 16 w 25"/>
                <a:gd name="T2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" h="16">
                  <a:moveTo>
                    <a:pt x="16" y="16"/>
                  </a:moveTo>
                  <a:lnTo>
                    <a:pt x="22" y="16"/>
                  </a:lnTo>
                  <a:lnTo>
                    <a:pt x="25" y="14"/>
                  </a:lnTo>
                  <a:lnTo>
                    <a:pt x="22" y="11"/>
                  </a:lnTo>
                  <a:lnTo>
                    <a:pt x="22" y="8"/>
                  </a:lnTo>
                  <a:lnTo>
                    <a:pt x="11" y="5"/>
                  </a:lnTo>
                  <a:lnTo>
                    <a:pt x="0" y="0"/>
                  </a:lnTo>
                  <a:lnTo>
                    <a:pt x="3" y="3"/>
                  </a:lnTo>
                  <a:lnTo>
                    <a:pt x="6" y="6"/>
                  </a:lnTo>
                  <a:lnTo>
                    <a:pt x="9" y="8"/>
                  </a:lnTo>
                  <a:lnTo>
                    <a:pt x="11" y="13"/>
                  </a:lnTo>
                  <a:lnTo>
                    <a:pt x="16" y="16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80" name="Freeform 314"/>
            <p:cNvSpPr>
              <a:spLocks/>
            </p:cNvSpPr>
            <p:nvPr/>
          </p:nvSpPr>
          <p:spPr bwMode="auto">
            <a:xfrm>
              <a:off x="7882237" y="2303832"/>
              <a:ext cx="154388" cy="42311"/>
            </a:xfrm>
            <a:custGeom>
              <a:avLst/>
              <a:gdLst>
                <a:gd name="T0" fmla="*/ 10 w 210"/>
                <a:gd name="T1" fmla="*/ 21 h 49"/>
                <a:gd name="T2" fmla="*/ 21 w 210"/>
                <a:gd name="T3" fmla="*/ 25 h 49"/>
                <a:gd name="T4" fmla="*/ 16 w 210"/>
                <a:gd name="T5" fmla="*/ 27 h 49"/>
                <a:gd name="T6" fmla="*/ 32 w 210"/>
                <a:gd name="T7" fmla="*/ 35 h 49"/>
                <a:gd name="T8" fmla="*/ 43 w 210"/>
                <a:gd name="T9" fmla="*/ 38 h 49"/>
                <a:gd name="T10" fmla="*/ 54 w 210"/>
                <a:gd name="T11" fmla="*/ 41 h 49"/>
                <a:gd name="T12" fmla="*/ 89 w 210"/>
                <a:gd name="T13" fmla="*/ 47 h 49"/>
                <a:gd name="T14" fmla="*/ 97 w 210"/>
                <a:gd name="T15" fmla="*/ 43 h 49"/>
                <a:gd name="T16" fmla="*/ 103 w 210"/>
                <a:gd name="T17" fmla="*/ 40 h 49"/>
                <a:gd name="T18" fmla="*/ 111 w 210"/>
                <a:gd name="T19" fmla="*/ 44 h 49"/>
                <a:gd name="T20" fmla="*/ 123 w 210"/>
                <a:gd name="T21" fmla="*/ 43 h 49"/>
                <a:gd name="T22" fmla="*/ 146 w 210"/>
                <a:gd name="T23" fmla="*/ 38 h 49"/>
                <a:gd name="T24" fmla="*/ 162 w 210"/>
                <a:gd name="T25" fmla="*/ 41 h 49"/>
                <a:gd name="T26" fmla="*/ 159 w 210"/>
                <a:gd name="T27" fmla="*/ 41 h 49"/>
                <a:gd name="T28" fmla="*/ 170 w 210"/>
                <a:gd name="T29" fmla="*/ 44 h 49"/>
                <a:gd name="T30" fmla="*/ 181 w 210"/>
                <a:gd name="T31" fmla="*/ 41 h 49"/>
                <a:gd name="T32" fmla="*/ 192 w 210"/>
                <a:gd name="T33" fmla="*/ 41 h 49"/>
                <a:gd name="T34" fmla="*/ 159 w 210"/>
                <a:gd name="T35" fmla="*/ 33 h 49"/>
                <a:gd name="T36" fmla="*/ 138 w 210"/>
                <a:gd name="T37" fmla="*/ 25 h 49"/>
                <a:gd name="T38" fmla="*/ 127 w 210"/>
                <a:gd name="T39" fmla="*/ 19 h 49"/>
                <a:gd name="T40" fmla="*/ 123 w 210"/>
                <a:gd name="T41" fmla="*/ 17 h 49"/>
                <a:gd name="T42" fmla="*/ 127 w 210"/>
                <a:gd name="T43" fmla="*/ 16 h 49"/>
                <a:gd name="T44" fmla="*/ 145 w 210"/>
                <a:gd name="T45" fmla="*/ 21 h 49"/>
                <a:gd name="T46" fmla="*/ 161 w 210"/>
                <a:gd name="T47" fmla="*/ 32 h 49"/>
                <a:gd name="T48" fmla="*/ 186 w 210"/>
                <a:gd name="T49" fmla="*/ 35 h 49"/>
                <a:gd name="T50" fmla="*/ 208 w 210"/>
                <a:gd name="T51" fmla="*/ 36 h 49"/>
                <a:gd name="T52" fmla="*/ 205 w 210"/>
                <a:gd name="T53" fmla="*/ 28 h 49"/>
                <a:gd name="T54" fmla="*/ 202 w 210"/>
                <a:gd name="T55" fmla="*/ 24 h 49"/>
                <a:gd name="T56" fmla="*/ 194 w 210"/>
                <a:gd name="T57" fmla="*/ 17 h 49"/>
                <a:gd name="T58" fmla="*/ 148 w 210"/>
                <a:gd name="T59" fmla="*/ 11 h 49"/>
                <a:gd name="T60" fmla="*/ 134 w 210"/>
                <a:gd name="T61" fmla="*/ 13 h 49"/>
                <a:gd name="T62" fmla="*/ 121 w 210"/>
                <a:gd name="T63" fmla="*/ 9 h 49"/>
                <a:gd name="T64" fmla="*/ 83 w 210"/>
                <a:gd name="T65" fmla="*/ 1 h 49"/>
                <a:gd name="T66" fmla="*/ 94 w 210"/>
                <a:gd name="T67" fmla="*/ 6 h 49"/>
                <a:gd name="T68" fmla="*/ 83 w 210"/>
                <a:gd name="T69" fmla="*/ 5 h 49"/>
                <a:gd name="T70" fmla="*/ 97 w 210"/>
                <a:gd name="T71" fmla="*/ 19 h 49"/>
                <a:gd name="T72" fmla="*/ 83 w 210"/>
                <a:gd name="T73" fmla="*/ 17 h 49"/>
                <a:gd name="T74" fmla="*/ 59 w 210"/>
                <a:gd name="T75" fmla="*/ 11 h 49"/>
                <a:gd name="T76" fmla="*/ 29 w 210"/>
                <a:gd name="T77" fmla="*/ 3 h 49"/>
                <a:gd name="T78" fmla="*/ 13 w 210"/>
                <a:gd name="T79" fmla="*/ 1 h 49"/>
                <a:gd name="T80" fmla="*/ 8 w 210"/>
                <a:gd name="T81" fmla="*/ 3 h 49"/>
                <a:gd name="T82" fmla="*/ 0 w 210"/>
                <a:gd name="T83" fmla="*/ 6 h 49"/>
                <a:gd name="T84" fmla="*/ 8 w 210"/>
                <a:gd name="T85" fmla="*/ 13 h 49"/>
                <a:gd name="T86" fmla="*/ 4 w 210"/>
                <a:gd name="T87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0" h="49">
                  <a:moveTo>
                    <a:pt x="2" y="19"/>
                  </a:moveTo>
                  <a:lnTo>
                    <a:pt x="5" y="17"/>
                  </a:lnTo>
                  <a:lnTo>
                    <a:pt x="10" y="21"/>
                  </a:lnTo>
                  <a:lnTo>
                    <a:pt x="13" y="24"/>
                  </a:lnTo>
                  <a:lnTo>
                    <a:pt x="18" y="25"/>
                  </a:lnTo>
                  <a:lnTo>
                    <a:pt x="21" y="25"/>
                  </a:lnTo>
                  <a:lnTo>
                    <a:pt x="24" y="27"/>
                  </a:lnTo>
                  <a:lnTo>
                    <a:pt x="19" y="27"/>
                  </a:lnTo>
                  <a:lnTo>
                    <a:pt x="16" y="27"/>
                  </a:lnTo>
                  <a:lnTo>
                    <a:pt x="13" y="27"/>
                  </a:lnTo>
                  <a:lnTo>
                    <a:pt x="23" y="32"/>
                  </a:lnTo>
                  <a:lnTo>
                    <a:pt x="32" y="35"/>
                  </a:lnTo>
                  <a:lnTo>
                    <a:pt x="35" y="36"/>
                  </a:lnTo>
                  <a:lnTo>
                    <a:pt x="40" y="36"/>
                  </a:lnTo>
                  <a:lnTo>
                    <a:pt x="43" y="38"/>
                  </a:lnTo>
                  <a:lnTo>
                    <a:pt x="46" y="38"/>
                  </a:lnTo>
                  <a:lnTo>
                    <a:pt x="51" y="40"/>
                  </a:lnTo>
                  <a:lnTo>
                    <a:pt x="54" y="41"/>
                  </a:lnTo>
                  <a:lnTo>
                    <a:pt x="65" y="44"/>
                  </a:lnTo>
                  <a:lnTo>
                    <a:pt x="77" y="46"/>
                  </a:lnTo>
                  <a:lnTo>
                    <a:pt x="89" y="47"/>
                  </a:lnTo>
                  <a:lnTo>
                    <a:pt x="99" y="49"/>
                  </a:lnTo>
                  <a:lnTo>
                    <a:pt x="102" y="46"/>
                  </a:lnTo>
                  <a:lnTo>
                    <a:pt x="97" y="43"/>
                  </a:lnTo>
                  <a:lnTo>
                    <a:pt x="94" y="40"/>
                  </a:lnTo>
                  <a:lnTo>
                    <a:pt x="99" y="40"/>
                  </a:lnTo>
                  <a:lnTo>
                    <a:pt x="103" y="40"/>
                  </a:lnTo>
                  <a:lnTo>
                    <a:pt x="108" y="41"/>
                  </a:lnTo>
                  <a:lnTo>
                    <a:pt x="111" y="44"/>
                  </a:lnTo>
                  <a:lnTo>
                    <a:pt x="111" y="44"/>
                  </a:lnTo>
                  <a:lnTo>
                    <a:pt x="116" y="43"/>
                  </a:lnTo>
                  <a:lnTo>
                    <a:pt x="119" y="43"/>
                  </a:lnTo>
                  <a:lnTo>
                    <a:pt x="123" y="43"/>
                  </a:lnTo>
                  <a:lnTo>
                    <a:pt x="132" y="41"/>
                  </a:lnTo>
                  <a:lnTo>
                    <a:pt x="140" y="40"/>
                  </a:lnTo>
                  <a:lnTo>
                    <a:pt x="146" y="38"/>
                  </a:lnTo>
                  <a:lnTo>
                    <a:pt x="151" y="38"/>
                  </a:lnTo>
                  <a:lnTo>
                    <a:pt x="157" y="38"/>
                  </a:lnTo>
                  <a:lnTo>
                    <a:pt x="162" y="41"/>
                  </a:lnTo>
                  <a:lnTo>
                    <a:pt x="159" y="40"/>
                  </a:lnTo>
                  <a:lnTo>
                    <a:pt x="154" y="40"/>
                  </a:lnTo>
                  <a:lnTo>
                    <a:pt x="159" y="41"/>
                  </a:lnTo>
                  <a:lnTo>
                    <a:pt x="162" y="43"/>
                  </a:lnTo>
                  <a:lnTo>
                    <a:pt x="165" y="43"/>
                  </a:lnTo>
                  <a:lnTo>
                    <a:pt x="170" y="44"/>
                  </a:lnTo>
                  <a:lnTo>
                    <a:pt x="173" y="41"/>
                  </a:lnTo>
                  <a:lnTo>
                    <a:pt x="178" y="41"/>
                  </a:lnTo>
                  <a:lnTo>
                    <a:pt x="181" y="41"/>
                  </a:lnTo>
                  <a:lnTo>
                    <a:pt x="184" y="41"/>
                  </a:lnTo>
                  <a:lnTo>
                    <a:pt x="189" y="41"/>
                  </a:lnTo>
                  <a:lnTo>
                    <a:pt x="192" y="41"/>
                  </a:lnTo>
                  <a:lnTo>
                    <a:pt x="195" y="40"/>
                  </a:lnTo>
                  <a:lnTo>
                    <a:pt x="178" y="36"/>
                  </a:lnTo>
                  <a:lnTo>
                    <a:pt x="159" y="33"/>
                  </a:lnTo>
                  <a:lnTo>
                    <a:pt x="149" y="30"/>
                  </a:lnTo>
                  <a:lnTo>
                    <a:pt x="142" y="27"/>
                  </a:lnTo>
                  <a:lnTo>
                    <a:pt x="138" y="25"/>
                  </a:lnTo>
                  <a:lnTo>
                    <a:pt x="134" y="24"/>
                  </a:lnTo>
                  <a:lnTo>
                    <a:pt x="130" y="22"/>
                  </a:lnTo>
                  <a:lnTo>
                    <a:pt x="127" y="19"/>
                  </a:lnTo>
                  <a:lnTo>
                    <a:pt x="123" y="19"/>
                  </a:lnTo>
                  <a:lnTo>
                    <a:pt x="127" y="17"/>
                  </a:lnTo>
                  <a:lnTo>
                    <a:pt x="123" y="17"/>
                  </a:lnTo>
                  <a:lnTo>
                    <a:pt x="127" y="17"/>
                  </a:lnTo>
                  <a:lnTo>
                    <a:pt x="130" y="17"/>
                  </a:lnTo>
                  <a:lnTo>
                    <a:pt x="127" y="16"/>
                  </a:lnTo>
                  <a:lnTo>
                    <a:pt x="137" y="16"/>
                  </a:lnTo>
                  <a:lnTo>
                    <a:pt x="145" y="17"/>
                  </a:lnTo>
                  <a:lnTo>
                    <a:pt x="145" y="21"/>
                  </a:lnTo>
                  <a:lnTo>
                    <a:pt x="143" y="24"/>
                  </a:lnTo>
                  <a:lnTo>
                    <a:pt x="151" y="27"/>
                  </a:lnTo>
                  <a:lnTo>
                    <a:pt x="161" y="32"/>
                  </a:lnTo>
                  <a:lnTo>
                    <a:pt x="169" y="33"/>
                  </a:lnTo>
                  <a:lnTo>
                    <a:pt x="178" y="35"/>
                  </a:lnTo>
                  <a:lnTo>
                    <a:pt x="186" y="35"/>
                  </a:lnTo>
                  <a:lnTo>
                    <a:pt x="197" y="36"/>
                  </a:lnTo>
                  <a:lnTo>
                    <a:pt x="200" y="36"/>
                  </a:lnTo>
                  <a:lnTo>
                    <a:pt x="208" y="36"/>
                  </a:lnTo>
                  <a:lnTo>
                    <a:pt x="210" y="32"/>
                  </a:lnTo>
                  <a:lnTo>
                    <a:pt x="208" y="28"/>
                  </a:lnTo>
                  <a:lnTo>
                    <a:pt x="205" y="28"/>
                  </a:lnTo>
                  <a:lnTo>
                    <a:pt x="200" y="27"/>
                  </a:lnTo>
                  <a:lnTo>
                    <a:pt x="199" y="24"/>
                  </a:lnTo>
                  <a:lnTo>
                    <a:pt x="202" y="24"/>
                  </a:lnTo>
                  <a:lnTo>
                    <a:pt x="205" y="22"/>
                  </a:lnTo>
                  <a:lnTo>
                    <a:pt x="208" y="21"/>
                  </a:lnTo>
                  <a:lnTo>
                    <a:pt x="194" y="17"/>
                  </a:lnTo>
                  <a:lnTo>
                    <a:pt x="178" y="16"/>
                  </a:lnTo>
                  <a:lnTo>
                    <a:pt x="164" y="13"/>
                  </a:lnTo>
                  <a:lnTo>
                    <a:pt x="148" y="11"/>
                  </a:lnTo>
                  <a:lnTo>
                    <a:pt x="145" y="13"/>
                  </a:lnTo>
                  <a:lnTo>
                    <a:pt x="140" y="13"/>
                  </a:lnTo>
                  <a:lnTo>
                    <a:pt x="134" y="13"/>
                  </a:lnTo>
                  <a:lnTo>
                    <a:pt x="129" y="11"/>
                  </a:lnTo>
                  <a:lnTo>
                    <a:pt x="126" y="11"/>
                  </a:lnTo>
                  <a:lnTo>
                    <a:pt x="121" y="9"/>
                  </a:lnTo>
                  <a:lnTo>
                    <a:pt x="118" y="9"/>
                  </a:lnTo>
                  <a:lnTo>
                    <a:pt x="100" y="5"/>
                  </a:lnTo>
                  <a:lnTo>
                    <a:pt x="83" y="1"/>
                  </a:lnTo>
                  <a:lnTo>
                    <a:pt x="86" y="3"/>
                  </a:lnTo>
                  <a:lnTo>
                    <a:pt x="91" y="5"/>
                  </a:lnTo>
                  <a:lnTo>
                    <a:pt x="94" y="6"/>
                  </a:lnTo>
                  <a:lnTo>
                    <a:pt x="91" y="6"/>
                  </a:lnTo>
                  <a:lnTo>
                    <a:pt x="88" y="5"/>
                  </a:lnTo>
                  <a:lnTo>
                    <a:pt x="83" y="5"/>
                  </a:lnTo>
                  <a:lnTo>
                    <a:pt x="80" y="8"/>
                  </a:lnTo>
                  <a:lnTo>
                    <a:pt x="89" y="13"/>
                  </a:lnTo>
                  <a:lnTo>
                    <a:pt x="97" y="19"/>
                  </a:lnTo>
                  <a:lnTo>
                    <a:pt x="89" y="19"/>
                  </a:lnTo>
                  <a:lnTo>
                    <a:pt x="86" y="17"/>
                  </a:lnTo>
                  <a:lnTo>
                    <a:pt x="83" y="17"/>
                  </a:lnTo>
                  <a:lnTo>
                    <a:pt x="80" y="13"/>
                  </a:lnTo>
                  <a:lnTo>
                    <a:pt x="70" y="13"/>
                  </a:lnTo>
                  <a:lnTo>
                    <a:pt x="59" y="11"/>
                  </a:lnTo>
                  <a:lnTo>
                    <a:pt x="48" y="6"/>
                  </a:lnTo>
                  <a:lnTo>
                    <a:pt x="37" y="5"/>
                  </a:lnTo>
                  <a:lnTo>
                    <a:pt x="29" y="3"/>
                  </a:lnTo>
                  <a:lnTo>
                    <a:pt x="24" y="1"/>
                  </a:lnTo>
                  <a:lnTo>
                    <a:pt x="19" y="0"/>
                  </a:lnTo>
                  <a:lnTo>
                    <a:pt x="13" y="1"/>
                  </a:lnTo>
                  <a:lnTo>
                    <a:pt x="15" y="5"/>
                  </a:lnTo>
                  <a:lnTo>
                    <a:pt x="11" y="3"/>
                  </a:lnTo>
                  <a:lnTo>
                    <a:pt x="8" y="3"/>
                  </a:lnTo>
                  <a:lnTo>
                    <a:pt x="8" y="6"/>
                  </a:lnTo>
                  <a:lnTo>
                    <a:pt x="4" y="6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11"/>
                  </a:lnTo>
                  <a:lnTo>
                    <a:pt x="8" y="13"/>
                  </a:lnTo>
                  <a:lnTo>
                    <a:pt x="11" y="14"/>
                  </a:lnTo>
                  <a:lnTo>
                    <a:pt x="8" y="14"/>
                  </a:lnTo>
                  <a:lnTo>
                    <a:pt x="4" y="14"/>
                  </a:lnTo>
                  <a:lnTo>
                    <a:pt x="0" y="16"/>
                  </a:lnTo>
                  <a:lnTo>
                    <a:pt x="2" y="19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81" name="Freeform 315"/>
            <p:cNvSpPr>
              <a:spLocks/>
            </p:cNvSpPr>
            <p:nvPr/>
          </p:nvSpPr>
          <p:spPr bwMode="auto">
            <a:xfrm>
              <a:off x="7899882" y="2356297"/>
              <a:ext cx="24997" cy="11847"/>
            </a:xfrm>
            <a:custGeom>
              <a:avLst/>
              <a:gdLst>
                <a:gd name="T0" fmla="*/ 0 w 33"/>
                <a:gd name="T1" fmla="*/ 0 h 12"/>
                <a:gd name="T2" fmla="*/ 16 w 33"/>
                <a:gd name="T3" fmla="*/ 6 h 12"/>
                <a:gd name="T4" fmla="*/ 33 w 33"/>
                <a:gd name="T5" fmla="*/ 12 h 12"/>
                <a:gd name="T6" fmla="*/ 32 w 33"/>
                <a:gd name="T7" fmla="*/ 8 h 12"/>
                <a:gd name="T8" fmla="*/ 16 w 33"/>
                <a:gd name="T9" fmla="*/ 3 h 12"/>
                <a:gd name="T10" fmla="*/ 0 w 33"/>
                <a:gd name="T1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16" y="6"/>
                  </a:lnTo>
                  <a:lnTo>
                    <a:pt x="33" y="12"/>
                  </a:lnTo>
                  <a:lnTo>
                    <a:pt x="32" y="8"/>
                  </a:lnTo>
                  <a:lnTo>
                    <a:pt x="16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82" name="Freeform 316"/>
            <p:cNvSpPr>
              <a:spLocks/>
            </p:cNvSpPr>
            <p:nvPr/>
          </p:nvSpPr>
          <p:spPr bwMode="auto">
            <a:xfrm>
              <a:off x="7942522" y="2317370"/>
              <a:ext cx="5881" cy="1692"/>
            </a:xfrm>
            <a:custGeom>
              <a:avLst/>
              <a:gdLst>
                <a:gd name="T0" fmla="*/ 8 w 8"/>
                <a:gd name="T1" fmla="*/ 1 h 1"/>
                <a:gd name="T2" fmla="*/ 5 w 8"/>
                <a:gd name="T3" fmla="*/ 0 h 1"/>
                <a:gd name="T4" fmla="*/ 0 w 8"/>
                <a:gd name="T5" fmla="*/ 0 h 1"/>
                <a:gd name="T6" fmla="*/ 3 w 8"/>
                <a:gd name="T7" fmla="*/ 1 h 1"/>
                <a:gd name="T8" fmla="*/ 8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3" y="1"/>
                  </a:lnTo>
                  <a:lnTo>
                    <a:pt x="8" y="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83" name="Freeform 317"/>
            <p:cNvSpPr>
              <a:spLocks/>
            </p:cNvSpPr>
            <p:nvPr/>
          </p:nvSpPr>
          <p:spPr bwMode="auto">
            <a:xfrm>
              <a:off x="7988103" y="2356297"/>
              <a:ext cx="20585" cy="10155"/>
            </a:xfrm>
            <a:custGeom>
              <a:avLst/>
              <a:gdLst>
                <a:gd name="T0" fmla="*/ 19 w 29"/>
                <a:gd name="T1" fmla="*/ 13 h 13"/>
                <a:gd name="T2" fmla="*/ 22 w 29"/>
                <a:gd name="T3" fmla="*/ 13 h 13"/>
                <a:gd name="T4" fmla="*/ 26 w 29"/>
                <a:gd name="T5" fmla="*/ 11 h 13"/>
                <a:gd name="T6" fmla="*/ 29 w 29"/>
                <a:gd name="T7" fmla="*/ 10 h 13"/>
                <a:gd name="T8" fmla="*/ 26 w 29"/>
                <a:gd name="T9" fmla="*/ 7 h 13"/>
                <a:gd name="T10" fmla="*/ 22 w 29"/>
                <a:gd name="T11" fmla="*/ 3 h 13"/>
                <a:gd name="T12" fmla="*/ 18 w 29"/>
                <a:gd name="T13" fmla="*/ 2 h 13"/>
                <a:gd name="T14" fmla="*/ 14 w 29"/>
                <a:gd name="T15" fmla="*/ 2 h 13"/>
                <a:gd name="T16" fmla="*/ 11 w 29"/>
                <a:gd name="T17" fmla="*/ 2 h 13"/>
                <a:gd name="T18" fmla="*/ 6 w 29"/>
                <a:gd name="T19" fmla="*/ 0 h 13"/>
                <a:gd name="T20" fmla="*/ 3 w 29"/>
                <a:gd name="T21" fmla="*/ 2 h 13"/>
                <a:gd name="T22" fmla="*/ 0 w 29"/>
                <a:gd name="T23" fmla="*/ 2 h 13"/>
                <a:gd name="T24" fmla="*/ 0 w 29"/>
                <a:gd name="T25" fmla="*/ 5 h 13"/>
                <a:gd name="T26" fmla="*/ 5 w 29"/>
                <a:gd name="T27" fmla="*/ 8 h 13"/>
                <a:gd name="T28" fmla="*/ 8 w 29"/>
                <a:gd name="T29" fmla="*/ 10 h 13"/>
                <a:gd name="T30" fmla="*/ 11 w 29"/>
                <a:gd name="T31" fmla="*/ 11 h 13"/>
                <a:gd name="T32" fmla="*/ 16 w 29"/>
                <a:gd name="T33" fmla="*/ 13 h 13"/>
                <a:gd name="T34" fmla="*/ 19 w 29"/>
                <a:gd name="T3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9" h="13">
                  <a:moveTo>
                    <a:pt x="19" y="13"/>
                  </a:moveTo>
                  <a:lnTo>
                    <a:pt x="22" y="13"/>
                  </a:lnTo>
                  <a:lnTo>
                    <a:pt x="26" y="11"/>
                  </a:lnTo>
                  <a:lnTo>
                    <a:pt x="29" y="10"/>
                  </a:lnTo>
                  <a:lnTo>
                    <a:pt x="26" y="7"/>
                  </a:lnTo>
                  <a:lnTo>
                    <a:pt x="22" y="3"/>
                  </a:lnTo>
                  <a:lnTo>
                    <a:pt x="18" y="2"/>
                  </a:lnTo>
                  <a:lnTo>
                    <a:pt x="14" y="2"/>
                  </a:lnTo>
                  <a:lnTo>
                    <a:pt x="11" y="2"/>
                  </a:lnTo>
                  <a:lnTo>
                    <a:pt x="6" y="0"/>
                  </a:lnTo>
                  <a:lnTo>
                    <a:pt x="3" y="2"/>
                  </a:lnTo>
                  <a:lnTo>
                    <a:pt x="0" y="2"/>
                  </a:lnTo>
                  <a:lnTo>
                    <a:pt x="0" y="5"/>
                  </a:lnTo>
                  <a:lnTo>
                    <a:pt x="5" y="8"/>
                  </a:lnTo>
                  <a:lnTo>
                    <a:pt x="8" y="10"/>
                  </a:lnTo>
                  <a:lnTo>
                    <a:pt x="11" y="11"/>
                  </a:lnTo>
                  <a:lnTo>
                    <a:pt x="16" y="13"/>
                  </a:lnTo>
                  <a:lnTo>
                    <a:pt x="19" y="1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84" name="Freeform 318"/>
            <p:cNvSpPr>
              <a:spLocks/>
            </p:cNvSpPr>
            <p:nvPr/>
          </p:nvSpPr>
          <p:spPr bwMode="auto">
            <a:xfrm>
              <a:off x="8002807" y="2366451"/>
              <a:ext cx="76460" cy="18617"/>
            </a:xfrm>
            <a:custGeom>
              <a:avLst/>
              <a:gdLst>
                <a:gd name="T0" fmla="*/ 8 w 104"/>
                <a:gd name="T1" fmla="*/ 16 h 22"/>
                <a:gd name="T2" fmla="*/ 3 w 104"/>
                <a:gd name="T3" fmla="*/ 16 h 22"/>
                <a:gd name="T4" fmla="*/ 0 w 104"/>
                <a:gd name="T5" fmla="*/ 16 h 22"/>
                <a:gd name="T6" fmla="*/ 3 w 104"/>
                <a:gd name="T7" fmla="*/ 17 h 22"/>
                <a:gd name="T8" fmla="*/ 8 w 104"/>
                <a:gd name="T9" fmla="*/ 19 h 22"/>
                <a:gd name="T10" fmla="*/ 11 w 104"/>
                <a:gd name="T11" fmla="*/ 19 h 22"/>
                <a:gd name="T12" fmla="*/ 12 w 104"/>
                <a:gd name="T13" fmla="*/ 19 h 22"/>
                <a:gd name="T14" fmla="*/ 19 w 104"/>
                <a:gd name="T15" fmla="*/ 16 h 22"/>
                <a:gd name="T16" fmla="*/ 22 w 104"/>
                <a:gd name="T17" fmla="*/ 16 h 22"/>
                <a:gd name="T18" fmla="*/ 36 w 104"/>
                <a:gd name="T19" fmla="*/ 16 h 22"/>
                <a:gd name="T20" fmla="*/ 49 w 104"/>
                <a:gd name="T21" fmla="*/ 19 h 22"/>
                <a:gd name="T22" fmla="*/ 62 w 104"/>
                <a:gd name="T23" fmla="*/ 20 h 22"/>
                <a:gd name="T24" fmla="*/ 74 w 104"/>
                <a:gd name="T25" fmla="*/ 22 h 22"/>
                <a:gd name="T26" fmla="*/ 90 w 104"/>
                <a:gd name="T27" fmla="*/ 22 h 22"/>
                <a:gd name="T28" fmla="*/ 104 w 104"/>
                <a:gd name="T29" fmla="*/ 22 h 22"/>
                <a:gd name="T30" fmla="*/ 95 w 104"/>
                <a:gd name="T31" fmla="*/ 16 h 22"/>
                <a:gd name="T32" fmla="*/ 82 w 104"/>
                <a:gd name="T33" fmla="*/ 11 h 22"/>
                <a:gd name="T34" fmla="*/ 71 w 104"/>
                <a:gd name="T35" fmla="*/ 8 h 22"/>
                <a:gd name="T36" fmla="*/ 60 w 104"/>
                <a:gd name="T37" fmla="*/ 5 h 22"/>
                <a:gd name="T38" fmla="*/ 49 w 104"/>
                <a:gd name="T39" fmla="*/ 1 h 22"/>
                <a:gd name="T40" fmla="*/ 38 w 104"/>
                <a:gd name="T41" fmla="*/ 0 h 22"/>
                <a:gd name="T42" fmla="*/ 27 w 104"/>
                <a:gd name="T43" fmla="*/ 0 h 22"/>
                <a:gd name="T44" fmla="*/ 16 w 104"/>
                <a:gd name="T45" fmla="*/ 1 h 22"/>
                <a:gd name="T46" fmla="*/ 14 w 104"/>
                <a:gd name="T47" fmla="*/ 5 h 22"/>
                <a:gd name="T48" fmla="*/ 17 w 104"/>
                <a:gd name="T49" fmla="*/ 9 h 22"/>
                <a:gd name="T50" fmla="*/ 17 w 104"/>
                <a:gd name="T51" fmla="*/ 13 h 22"/>
                <a:gd name="T52" fmla="*/ 14 w 104"/>
                <a:gd name="T53" fmla="*/ 16 h 22"/>
                <a:gd name="T54" fmla="*/ 11 w 104"/>
                <a:gd name="T55" fmla="*/ 14 h 22"/>
                <a:gd name="T56" fmla="*/ 8 w 104"/>
                <a:gd name="T57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4" h="22">
                  <a:moveTo>
                    <a:pt x="8" y="16"/>
                  </a:moveTo>
                  <a:lnTo>
                    <a:pt x="3" y="16"/>
                  </a:lnTo>
                  <a:lnTo>
                    <a:pt x="0" y="16"/>
                  </a:lnTo>
                  <a:lnTo>
                    <a:pt x="3" y="17"/>
                  </a:lnTo>
                  <a:lnTo>
                    <a:pt x="8" y="19"/>
                  </a:lnTo>
                  <a:lnTo>
                    <a:pt x="11" y="19"/>
                  </a:lnTo>
                  <a:lnTo>
                    <a:pt x="12" y="19"/>
                  </a:lnTo>
                  <a:lnTo>
                    <a:pt x="19" y="16"/>
                  </a:lnTo>
                  <a:lnTo>
                    <a:pt x="22" y="16"/>
                  </a:lnTo>
                  <a:lnTo>
                    <a:pt x="36" y="16"/>
                  </a:lnTo>
                  <a:lnTo>
                    <a:pt x="49" y="19"/>
                  </a:lnTo>
                  <a:lnTo>
                    <a:pt x="62" y="20"/>
                  </a:lnTo>
                  <a:lnTo>
                    <a:pt x="74" y="22"/>
                  </a:lnTo>
                  <a:lnTo>
                    <a:pt x="90" y="22"/>
                  </a:lnTo>
                  <a:lnTo>
                    <a:pt x="104" y="22"/>
                  </a:lnTo>
                  <a:lnTo>
                    <a:pt x="95" y="16"/>
                  </a:lnTo>
                  <a:lnTo>
                    <a:pt x="82" y="11"/>
                  </a:lnTo>
                  <a:lnTo>
                    <a:pt x="71" y="8"/>
                  </a:lnTo>
                  <a:lnTo>
                    <a:pt x="60" y="5"/>
                  </a:lnTo>
                  <a:lnTo>
                    <a:pt x="49" y="1"/>
                  </a:lnTo>
                  <a:lnTo>
                    <a:pt x="38" y="0"/>
                  </a:lnTo>
                  <a:lnTo>
                    <a:pt x="27" y="0"/>
                  </a:lnTo>
                  <a:lnTo>
                    <a:pt x="16" y="1"/>
                  </a:lnTo>
                  <a:lnTo>
                    <a:pt x="14" y="5"/>
                  </a:lnTo>
                  <a:lnTo>
                    <a:pt x="17" y="9"/>
                  </a:lnTo>
                  <a:lnTo>
                    <a:pt x="17" y="13"/>
                  </a:lnTo>
                  <a:lnTo>
                    <a:pt x="14" y="16"/>
                  </a:lnTo>
                  <a:lnTo>
                    <a:pt x="11" y="14"/>
                  </a:lnTo>
                  <a:lnTo>
                    <a:pt x="8" y="16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85" name="Freeform 319"/>
            <p:cNvSpPr>
              <a:spLocks/>
            </p:cNvSpPr>
            <p:nvPr/>
          </p:nvSpPr>
          <p:spPr bwMode="auto">
            <a:xfrm>
              <a:off x="8014570" y="2430764"/>
              <a:ext cx="16174" cy="5077"/>
            </a:xfrm>
            <a:custGeom>
              <a:avLst/>
              <a:gdLst>
                <a:gd name="T0" fmla="*/ 22 w 22"/>
                <a:gd name="T1" fmla="*/ 3 h 6"/>
                <a:gd name="T2" fmla="*/ 17 w 22"/>
                <a:gd name="T3" fmla="*/ 2 h 6"/>
                <a:gd name="T4" fmla="*/ 12 w 22"/>
                <a:gd name="T5" fmla="*/ 0 h 6"/>
                <a:gd name="T6" fmla="*/ 6 w 22"/>
                <a:gd name="T7" fmla="*/ 0 h 6"/>
                <a:gd name="T8" fmla="*/ 0 w 22"/>
                <a:gd name="T9" fmla="*/ 2 h 6"/>
                <a:gd name="T10" fmla="*/ 3 w 22"/>
                <a:gd name="T11" fmla="*/ 5 h 6"/>
                <a:gd name="T12" fmla="*/ 11 w 22"/>
                <a:gd name="T13" fmla="*/ 6 h 6"/>
                <a:gd name="T14" fmla="*/ 8 w 22"/>
                <a:gd name="T15" fmla="*/ 5 h 6"/>
                <a:gd name="T16" fmla="*/ 11 w 22"/>
                <a:gd name="T17" fmla="*/ 5 h 6"/>
                <a:gd name="T18" fmla="*/ 14 w 22"/>
                <a:gd name="T19" fmla="*/ 5 h 6"/>
                <a:gd name="T20" fmla="*/ 19 w 22"/>
                <a:gd name="T21" fmla="*/ 6 h 6"/>
                <a:gd name="T22" fmla="*/ 22 w 22"/>
                <a:gd name="T23" fmla="*/ 5 h 6"/>
                <a:gd name="T24" fmla="*/ 22 w 22"/>
                <a:gd name="T2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6">
                  <a:moveTo>
                    <a:pt x="22" y="3"/>
                  </a:moveTo>
                  <a:lnTo>
                    <a:pt x="17" y="2"/>
                  </a:lnTo>
                  <a:lnTo>
                    <a:pt x="12" y="0"/>
                  </a:lnTo>
                  <a:lnTo>
                    <a:pt x="6" y="0"/>
                  </a:lnTo>
                  <a:lnTo>
                    <a:pt x="0" y="2"/>
                  </a:lnTo>
                  <a:lnTo>
                    <a:pt x="3" y="5"/>
                  </a:lnTo>
                  <a:lnTo>
                    <a:pt x="11" y="6"/>
                  </a:lnTo>
                  <a:lnTo>
                    <a:pt x="8" y="5"/>
                  </a:lnTo>
                  <a:lnTo>
                    <a:pt x="11" y="5"/>
                  </a:lnTo>
                  <a:lnTo>
                    <a:pt x="14" y="5"/>
                  </a:lnTo>
                  <a:lnTo>
                    <a:pt x="19" y="6"/>
                  </a:lnTo>
                  <a:lnTo>
                    <a:pt x="22" y="5"/>
                  </a:lnTo>
                  <a:lnTo>
                    <a:pt x="22" y="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86" name="Freeform 320"/>
            <p:cNvSpPr>
              <a:spLocks/>
            </p:cNvSpPr>
            <p:nvPr/>
          </p:nvSpPr>
          <p:spPr bwMode="auto">
            <a:xfrm>
              <a:off x="8032214" y="2427379"/>
              <a:ext cx="5881" cy="1692"/>
            </a:xfrm>
            <a:custGeom>
              <a:avLst/>
              <a:gdLst>
                <a:gd name="T0" fmla="*/ 5 w 8"/>
                <a:gd name="T1" fmla="*/ 1 h 1"/>
                <a:gd name="T2" fmla="*/ 8 w 8"/>
                <a:gd name="T3" fmla="*/ 1 h 1"/>
                <a:gd name="T4" fmla="*/ 3 w 8"/>
                <a:gd name="T5" fmla="*/ 0 h 1"/>
                <a:gd name="T6" fmla="*/ 0 w 8"/>
                <a:gd name="T7" fmla="*/ 0 h 1"/>
                <a:gd name="T8" fmla="*/ 5 w 8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">
                  <a:moveTo>
                    <a:pt x="5" y="1"/>
                  </a:moveTo>
                  <a:lnTo>
                    <a:pt x="8" y="1"/>
                  </a:lnTo>
                  <a:lnTo>
                    <a:pt x="3" y="0"/>
                  </a:lnTo>
                  <a:lnTo>
                    <a:pt x="0" y="0"/>
                  </a:lnTo>
                  <a:lnTo>
                    <a:pt x="5" y="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87" name="Freeform 321"/>
            <p:cNvSpPr>
              <a:spLocks/>
            </p:cNvSpPr>
            <p:nvPr/>
          </p:nvSpPr>
          <p:spPr bwMode="auto">
            <a:xfrm>
              <a:off x="8052799" y="2322449"/>
              <a:ext cx="98514" cy="20309"/>
            </a:xfrm>
            <a:custGeom>
              <a:avLst/>
              <a:gdLst>
                <a:gd name="T0" fmla="*/ 106 w 133"/>
                <a:gd name="T1" fmla="*/ 25 h 25"/>
                <a:gd name="T2" fmla="*/ 114 w 133"/>
                <a:gd name="T3" fmla="*/ 25 h 25"/>
                <a:gd name="T4" fmla="*/ 119 w 133"/>
                <a:gd name="T5" fmla="*/ 23 h 25"/>
                <a:gd name="T6" fmla="*/ 122 w 133"/>
                <a:gd name="T7" fmla="*/ 22 h 25"/>
                <a:gd name="T8" fmla="*/ 130 w 133"/>
                <a:gd name="T9" fmla="*/ 20 h 25"/>
                <a:gd name="T10" fmla="*/ 133 w 133"/>
                <a:gd name="T11" fmla="*/ 19 h 25"/>
                <a:gd name="T12" fmla="*/ 130 w 133"/>
                <a:gd name="T13" fmla="*/ 15 h 25"/>
                <a:gd name="T14" fmla="*/ 130 w 133"/>
                <a:gd name="T15" fmla="*/ 12 h 25"/>
                <a:gd name="T16" fmla="*/ 127 w 133"/>
                <a:gd name="T17" fmla="*/ 12 h 25"/>
                <a:gd name="T18" fmla="*/ 124 w 133"/>
                <a:gd name="T19" fmla="*/ 14 h 25"/>
                <a:gd name="T20" fmla="*/ 116 w 133"/>
                <a:gd name="T21" fmla="*/ 12 h 25"/>
                <a:gd name="T22" fmla="*/ 113 w 133"/>
                <a:gd name="T23" fmla="*/ 12 h 25"/>
                <a:gd name="T24" fmla="*/ 108 w 133"/>
                <a:gd name="T25" fmla="*/ 11 h 25"/>
                <a:gd name="T26" fmla="*/ 105 w 133"/>
                <a:gd name="T27" fmla="*/ 9 h 25"/>
                <a:gd name="T28" fmla="*/ 101 w 133"/>
                <a:gd name="T29" fmla="*/ 9 h 25"/>
                <a:gd name="T30" fmla="*/ 97 w 133"/>
                <a:gd name="T31" fmla="*/ 9 h 25"/>
                <a:gd name="T32" fmla="*/ 94 w 133"/>
                <a:gd name="T33" fmla="*/ 9 h 25"/>
                <a:gd name="T34" fmla="*/ 89 w 133"/>
                <a:gd name="T35" fmla="*/ 9 h 25"/>
                <a:gd name="T36" fmla="*/ 86 w 133"/>
                <a:gd name="T37" fmla="*/ 7 h 25"/>
                <a:gd name="T38" fmla="*/ 76 w 133"/>
                <a:gd name="T39" fmla="*/ 9 h 25"/>
                <a:gd name="T40" fmla="*/ 67 w 133"/>
                <a:gd name="T41" fmla="*/ 9 h 25"/>
                <a:gd name="T42" fmla="*/ 63 w 133"/>
                <a:gd name="T43" fmla="*/ 7 h 25"/>
                <a:gd name="T44" fmla="*/ 60 w 133"/>
                <a:gd name="T45" fmla="*/ 4 h 25"/>
                <a:gd name="T46" fmla="*/ 55 w 133"/>
                <a:gd name="T47" fmla="*/ 4 h 25"/>
                <a:gd name="T48" fmla="*/ 52 w 133"/>
                <a:gd name="T49" fmla="*/ 4 h 25"/>
                <a:gd name="T50" fmla="*/ 43 w 133"/>
                <a:gd name="T51" fmla="*/ 4 h 25"/>
                <a:gd name="T52" fmla="*/ 33 w 133"/>
                <a:gd name="T53" fmla="*/ 3 h 25"/>
                <a:gd name="T54" fmla="*/ 30 w 133"/>
                <a:gd name="T55" fmla="*/ 6 h 25"/>
                <a:gd name="T56" fmla="*/ 27 w 133"/>
                <a:gd name="T57" fmla="*/ 6 h 25"/>
                <a:gd name="T58" fmla="*/ 22 w 133"/>
                <a:gd name="T59" fmla="*/ 6 h 25"/>
                <a:gd name="T60" fmla="*/ 19 w 133"/>
                <a:gd name="T61" fmla="*/ 6 h 25"/>
                <a:gd name="T62" fmla="*/ 14 w 133"/>
                <a:gd name="T63" fmla="*/ 4 h 25"/>
                <a:gd name="T64" fmla="*/ 11 w 133"/>
                <a:gd name="T65" fmla="*/ 1 h 25"/>
                <a:gd name="T66" fmla="*/ 6 w 133"/>
                <a:gd name="T67" fmla="*/ 0 h 25"/>
                <a:gd name="T68" fmla="*/ 3 w 133"/>
                <a:gd name="T69" fmla="*/ 0 h 25"/>
                <a:gd name="T70" fmla="*/ 0 w 133"/>
                <a:gd name="T71" fmla="*/ 0 h 25"/>
                <a:gd name="T72" fmla="*/ 3 w 133"/>
                <a:gd name="T73" fmla="*/ 1 h 25"/>
                <a:gd name="T74" fmla="*/ 3 w 133"/>
                <a:gd name="T75" fmla="*/ 6 h 25"/>
                <a:gd name="T76" fmla="*/ 8 w 133"/>
                <a:gd name="T77" fmla="*/ 7 h 25"/>
                <a:gd name="T78" fmla="*/ 11 w 133"/>
                <a:gd name="T79" fmla="*/ 11 h 25"/>
                <a:gd name="T80" fmla="*/ 14 w 133"/>
                <a:gd name="T81" fmla="*/ 11 h 25"/>
                <a:gd name="T82" fmla="*/ 19 w 133"/>
                <a:gd name="T83" fmla="*/ 12 h 25"/>
                <a:gd name="T84" fmla="*/ 22 w 133"/>
                <a:gd name="T85" fmla="*/ 12 h 25"/>
                <a:gd name="T86" fmla="*/ 27 w 133"/>
                <a:gd name="T87" fmla="*/ 12 h 25"/>
                <a:gd name="T88" fmla="*/ 40 w 133"/>
                <a:gd name="T89" fmla="*/ 15 h 25"/>
                <a:gd name="T90" fmla="*/ 52 w 133"/>
                <a:gd name="T91" fmla="*/ 19 h 25"/>
                <a:gd name="T92" fmla="*/ 67 w 133"/>
                <a:gd name="T93" fmla="*/ 20 h 25"/>
                <a:gd name="T94" fmla="*/ 79 w 133"/>
                <a:gd name="T95" fmla="*/ 23 h 25"/>
                <a:gd name="T96" fmla="*/ 92 w 133"/>
                <a:gd name="T97" fmla="*/ 25 h 25"/>
                <a:gd name="T98" fmla="*/ 106 w 133"/>
                <a:gd name="T9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3" h="25">
                  <a:moveTo>
                    <a:pt x="106" y="25"/>
                  </a:moveTo>
                  <a:lnTo>
                    <a:pt x="114" y="25"/>
                  </a:lnTo>
                  <a:lnTo>
                    <a:pt x="119" y="23"/>
                  </a:lnTo>
                  <a:lnTo>
                    <a:pt x="122" y="22"/>
                  </a:lnTo>
                  <a:lnTo>
                    <a:pt x="130" y="20"/>
                  </a:lnTo>
                  <a:lnTo>
                    <a:pt x="133" y="19"/>
                  </a:lnTo>
                  <a:lnTo>
                    <a:pt x="130" y="15"/>
                  </a:lnTo>
                  <a:lnTo>
                    <a:pt x="130" y="12"/>
                  </a:lnTo>
                  <a:lnTo>
                    <a:pt x="127" y="12"/>
                  </a:lnTo>
                  <a:lnTo>
                    <a:pt x="124" y="14"/>
                  </a:lnTo>
                  <a:lnTo>
                    <a:pt x="116" y="12"/>
                  </a:lnTo>
                  <a:lnTo>
                    <a:pt x="113" y="12"/>
                  </a:lnTo>
                  <a:lnTo>
                    <a:pt x="108" y="11"/>
                  </a:lnTo>
                  <a:lnTo>
                    <a:pt x="105" y="9"/>
                  </a:lnTo>
                  <a:lnTo>
                    <a:pt x="101" y="9"/>
                  </a:lnTo>
                  <a:lnTo>
                    <a:pt x="97" y="9"/>
                  </a:lnTo>
                  <a:lnTo>
                    <a:pt x="94" y="9"/>
                  </a:lnTo>
                  <a:lnTo>
                    <a:pt x="89" y="9"/>
                  </a:lnTo>
                  <a:lnTo>
                    <a:pt x="86" y="7"/>
                  </a:lnTo>
                  <a:lnTo>
                    <a:pt x="76" y="9"/>
                  </a:lnTo>
                  <a:lnTo>
                    <a:pt x="67" y="9"/>
                  </a:lnTo>
                  <a:lnTo>
                    <a:pt x="63" y="7"/>
                  </a:lnTo>
                  <a:lnTo>
                    <a:pt x="60" y="4"/>
                  </a:lnTo>
                  <a:lnTo>
                    <a:pt x="55" y="4"/>
                  </a:lnTo>
                  <a:lnTo>
                    <a:pt x="52" y="4"/>
                  </a:lnTo>
                  <a:lnTo>
                    <a:pt x="43" y="4"/>
                  </a:lnTo>
                  <a:lnTo>
                    <a:pt x="33" y="3"/>
                  </a:lnTo>
                  <a:lnTo>
                    <a:pt x="30" y="6"/>
                  </a:lnTo>
                  <a:lnTo>
                    <a:pt x="27" y="6"/>
                  </a:lnTo>
                  <a:lnTo>
                    <a:pt x="22" y="6"/>
                  </a:lnTo>
                  <a:lnTo>
                    <a:pt x="19" y="6"/>
                  </a:lnTo>
                  <a:lnTo>
                    <a:pt x="14" y="4"/>
                  </a:lnTo>
                  <a:lnTo>
                    <a:pt x="11" y="1"/>
                  </a:ln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1"/>
                  </a:lnTo>
                  <a:lnTo>
                    <a:pt x="3" y="6"/>
                  </a:lnTo>
                  <a:lnTo>
                    <a:pt x="8" y="7"/>
                  </a:lnTo>
                  <a:lnTo>
                    <a:pt x="11" y="11"/>
                  </a:lnTo>
                  <a:lnTo>
                    <a:pt x="14" y="11"/>
                  </a:lnTo>
                  <a:lnTo>
                    <a:pt x="19" y="12"/>
                  </a:lnTo>
                  <a:lnTo>
                    <a:pt x="22" y="12"/>
                  </a:lnTo>
                  <a:lnTo>
                    <a:pt x="27" y="12"/>
                  </a:lnTo>
                  <a:lnTo>
                    <a:pt x="40" y="15"/>
                  </a:lnTo>
                  <a:lnTo>
                    <a:pt x="52" y="19"/>
                  </a:lnTo>
                  <a:lnTo>
                    <a:pt x="67" y="20"/>
                  </a:lnTo>
                  <a:lnTo>
                    <a:pt x="79" y="23"/>
                  </a:lnTo>
                  <a:lnTo>
                    <a:pt x="92" y="25"/>
                  </a:lnTo>
                  <a:lnTo>
                    <a:pt x="106" y="2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88" name="Freeform 322"/>
            <p:cNvSpPr>
              <a:spLocks/>
            </p:cNvSpPr>
            <p:nvPr/>
          </p:nvSpPr>
          <p:spPr bwMode="auto">
            <a:xfrm>
              <a:off x="8138080" y="2303832"/>
              <a:ext cx="5881" cy="3385"/>
            </a:xfrm>
            <a:custGeom>
              <a:avLst/>
              <a:gdLst>
                <a:gd name="T0" fmla="*/ 3 w 8"/>
                <a:gd name="T1" fmla="*/ 3 h 3"/>
                <a:gd name="T2" fmla="*/ 8 w 8"/>
                <a:gd name="T3" fmla="*/ 3 h 3"/>
                <a:gd name="T4" fmla="*/ 3 w 8"/>
                <a:gd name="T5" fmla="*/ 0 h 3"/>
                <a:gd name="T6" fmla="*/ 0 w 8"/>
                <a:gd name="T7" fmla="*/ 0 h 3"/>
                <a:gd name="T8" fmla="*/ 3 w 8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">
                  <a:moveTo>
                    <a:pt x="3" y="3"/>
                  </a:moveTo>
                  <a:lnTo>
                    <a:pt x="8" y="3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89" name="Freeform 323"/>
            <p:cNvSpPr>
              <a:spLocks/>
            </p:cNvSpPr>
            <p:nvPr/>
          </p:nvSpPr>
          <p:spPr bwMode="auto">
            <a:xfrm>
              <a:off x="6836811" y="2567851"/>
              <a:ext cx="16174" cy="8462"/>
            </a:xfrm>
            <a:custGeom>
              <a:avLst/>
              <a:gdLst>
                <a:gd name="T0" fmla="*/ 0 w 22"/>
                <a:gd name="T1" fmla="*/ 4 h 11"/>
                <a:gd name="T2" fmla="*/ 0 w 22"/>
                <a:gd name="T3" fmla="*/ 4 h 11"/>
                <a:gd name="T4" fmla="*/ 5 w 22"/>
                <a:gd name="T5" fmla="*/ 3 h 11"/>
                <a:gd name="T6" fmla="*/ 8 w 22"/>
                <a:gd name="T7" fmla="*/ 3 h 11"/>
                <a:gd name="T8" fmla="*/ 11 w 22"/>
                <a:gd name="T9" fmla="*/ 1 h 11"/>
                <a:gd name="T10" fmla="*/ 14 w 22"/>
                <a:gd name="T11" fmla="*/ 0 h 11"/>
                <a:gd name="T12" fmla="*/ 14 w 22"/>
                <a:gd name="T13" fmla="*/ 0 h 11"/>
                <a:gd name="T14" fmla="*/ 17 w 22"/>
                <a:gd name="T15" fmla="*/ 3 h 11"/>
                <a:gd name="T16" fmla="*/ 22 w 22"/>
                <a:gd name="T17" fmla="*/ 6 h 11"/>
                <a:gd name="T18" fmla="*/ 22 w 22"/>
                <a:gd name="T19" fmla="*/ 9 h 11"/>
                <a:gd name="T20" fmla="*/ 19 w 22"/>
                <a:gd name="T21" fmla="*/ 9 h 11"/>
                <a:gd name="T22" fmla="*/ 16 w 22"/>
                <a:gd name="T23" fmla="*/ 9 h 11"/>
                <a:gd name="T24" fmla="*/ 12 w 22"/>
                <a:gd name="T25" fmla="*/ 11 h 11"/>
                <a:gd name="T26" fmla="*/ 8 w 22"/>
                <a:gd name="T27" fmla="*/ 11 h 11"/>
                <a:gd name="T28" fmla="*/ 5 w 22"/>
                <a:gd name="T29" fmla="*/ 11 h 11"/>
                <a:gd name="T30" fmla="*/ 1 w 22"/>
                <a:gd name="T31" fmla="*/ 9 h 11"/>
                <a:gd name="T32" fmla="*/ 0 w 22"/>
                <a:gd name="T33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2" h="11">
                  <a:moveTo>
                    <a:pt x="0" y="4"/>
                  </a:moveTo>
                  <a:lnTo>
                    <a:pt x="0" y="4"/>
                  </a:lnTo>
                  <a:lnTo>
                    <a:pt x="5" y="3"/>
                  </a:lnTo>
                  <a:lnTo>
                    <a:pt x="8" y="3"/>
                  </a:lnTo>
                  <a:lnTo>
                    <a:pt x="11" y="1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7" y="3"/>
                  </a:lnTo>
                  <a:lnTo>
                    <a:pt x="22" y="6"/>
                  </a:lnTo>
                  <a:lnTo>
                    <a:pt x="22" y="9"/>
                  </a:lnTo>
                  <a:lnTo>
                    <a:pt x="19" y="9"/>
                  </a:lnTo>
                  <a:lnTo>
                    <a:pt x="16" y="9"/>
                  </a:lnTo>
                  <a:lnTo>
                    <a:pt x="12" y="11"/>
                  </a:lnTo>
                  <a:lnTo>
                    <a:pt x="8" y="11"/>
                  </a:lnTo>
                  <a:lnTo>
                    <a:pt x="5" y="11"/>
                  </a:lnTo>
                  <a:lnTo>
                    <a:pt x="1" y="9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90" name="Freeform 324"/>
            <p:cNvSpPr>
              <a:spLocks/>
            </p:cNvSpPr>
            <p:nvPr/>
          </p:nvSpPr>
          <p:spPr bwMode="auto">
            <a:xfrm>
              <a:off x="7166171" y="2232749"/>
              <a:ext cx="5881" cy="1692"/>
            </a:xfrm>
            <a:custGeom>
              <a:avLst/>
              <a:gdLst>
                <a:gd name="T0" fmla="*/ 0 w 8"/>
                <a:gd name="T1" fmla="*/ 3 w 8"/>
                <a:gd name="T2" fmla="*/ 8 w 8"/>
                <a:gd name="T3" fmla="*/ 3 w 8"/>
                <a:gd name="T4" fmla="*/ 0 w 8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8">
                  <a:moveTo>
                    <a:pt x="0" y="0"/>
                  </a:moveTo>
                  <a:lnTo>
                    <a:pt x="3" y="0"/>
                  </a:lnTo>
                  <a:lnTo>
                    <a:pt x="8" y="0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91" name="Freeform 325"/>
            <p:cNvSpPr>
              <a:spLocks/>
            </p:cNvSpPr>
            <p:nvPr/>
          </p:nvSpPr>
          <p:spPr bwMode="auto">
            <a:xfrm>
              <a:off x="8443915" y="2938492"/>
              <a:ext cx="8822" cy="6770"/>
            </a:xfrm>
            <a:custGeom>
              <a:avLst/>
              <a:gdLst>
                <a:gd name="T0" fmla="*/ 1 w 11"/>
                <a:gd name="T1" fmla="*/ 5 h 8"/>
                <a:gd name="T2" fmla="*/ 0 w 11"/>
                <a:gd name="T3" fmla="*/ 8 h 8"/>
                <a:gd name="T4" fmla="*/ 5 w 11"/>
                <a:gd name="T5" fmla="*/ 7 h 8"/>
                <a:gd name="T6" fmla="*/ 8 w 11"/>
                <a:gd name="T7" fmla="*/ 7 h 8"/>
                <a:gd name="T8" fmla="*/ 11 w 11"/>
                <a:gd name="T9" fmla="*/ 8 h 8"/>
                <a:gd name="T10" fmla="*/ 9 w 11"/>
                <a:gd name="T11" fmla="*/ 5 h 8"/>
                <a:gd name="T12" fmla="*/ 9 w 11"/>
                <a:gd name="T13" fmla="*/ 0 h 8"/>
                <a:gd name="T14" fmla="*/ 6 w 11"/>
                <a:gd name="T15" fmla="*/ 0 h 8"/>
                <a:gd name="T16" fmla="*/ 1 w 11"/>
                <a:gd name="T17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8">
                  <a:moveTo>
                    <a:pt x="1" y="5"/>
                  </a:moveTo>
                  <a:lnTo>
                    <a:pt x="0" y="8"/>
                  </a:lnTo>
                  <a:lnTo>
                    <a:pt x="5" y="7"/>
                  </a:lnTo>
                  <a:lnTo>
                    <a:pt x="8" y="7"/>
                  </a:lnTo>
                  <a:lnTo>
                    <a:pt x="11" y="8"/>
                  </a:lnTo>
                  <a:lnTo>
                    <a:pt x="9" y="5"/>
                  </a:lnTo>
                  <a:lnTo>
                    <a:pt x="9" y="0"/>
                  </a:lnTo>
                  <a:lnTo>
                    <a:pt x="6" y="0"/>
                  </a:lnTo>
                  <a:lnTo>
                    <a:pt x="1" y="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92" name="Freeform 326"/>
            <p:cNvSpPr>
              <a:spLocks/>
            </p:cNvSpPr>
            <p:nvPr/>
          </p:nvSpPr>
          <p:spPr bwMode="auto">
            <a:xfrm>
              <a:off x="8458619" y="2935108"/>
              <a:ext cx="19115" cy="16924"/>
            </a:xfrm>
            <a:custGeom>
              <a:avLst/>
              <a:gdLst>
                <a:gd name="T0" fmla="*/ 0 w 25"/>
                <a:gd name="T1" fmla="*/ 8 h 21"/>
                <a:gd name="T2" fmla="*/ 0 w 25"/>
                <a:gd name="T3" fmla="*/ 11 h 21"/>
                <a:gd name="T4" fmla="*/ 1 w 25"/>
                <a:gd name="T5" fmla="*/ 14 h 21"/>
                <a:gd name="T6" fmla="*/ 6 w 25"/>
                <a:gd name="T7" fmla="*/ 13 h 21"/>
                <a:gd name="T8" fmla="*/ 9 w 25"/>
                <a:gd name="T9" fmla="*/ 14 h 21"/>
                <a:gd name="T10" fmla="*/ 13 w 25"/>
                <a:gd name="T11" fmla="*/ 16 h 21"/>
                <a:gd name="T12" fmla="*/ 16 w 25"/>
                <a:gd name="T13" fmla="*/ 19 h 21"/>
                <a:gd name="T14" fmla="*/ 19 w 25"/>
                <a:gd name="T15" fmla="*/ 21 h 21"/>
                <a:gd name="T16" fmla="*/ 24 w 25"/>
                <a:gd name="T17" fmla="*/ 19 h 21"/>
                <a:gd name="T18" fmla="*/ 25 w 25"/>
                <a:gd name="T19" fmla="*/ 16 h 21"/>
                <a:gd name="T20" fmla="*/ 22 w 25"/>
                <a:gd name="T21" fmla="*/ 11 h 21"/>
                <a:gd name="T22" fmla="*/ 22 w 25"/>
                <a:gd name="T23" fmla="*/ 8 h 21"/>
                <a:gd name="T24" fmla="*/ 22 w 25"/>
                <a:gd name="T25" fmla="*/ 8 h 21"/>
                <a:gd name="T26" fmla="*/ 19 w 25"/>
                <a:gd name="T27" fmla="*/ 5 h 21"/>
                <a:gd name="T28" fmla="*/ 16 w 25"/>
                <a:gd name="T29" fmla="*/ 8 h 21"/>
                <a:gd name="T30" fmla="*/ 16 w 25"/>
                <a:gd name="T31" fmla="*/ 8 h 21"/>
                <a:gd name="T32" fmla="*/ 16 w 25"/>
                <a:gd name="T33" fmla="*/ 3 h 21"/>
                <a:gd name="T34" fmla="*/ 13 w 25"/>
                <a:gd name="T35" fmla="*/ 2 h 21"/>
                <a:gd name="T36" fmla="*/ 8 w 25"/>
                <a:gd name="T37" fmla="*/ 2 h 21"/>
                <a:gd name="T38" fmla="*/ 5 w 25"/>
                <a:gd name="T39" fmla="*/ 2 h 21"/>
                <a:gd name="T40" fmla="*/ 1 w 25"/>
                <a:gd name="T41" fmla="*/ 0 h 21"/>
                <a:gd name="T42" fmla="*/ 0 w 25"/>
                <a:gd name="T43" fmla="*/ 3 h 21"/>
                <a:gd name="T44" fmla="*/ 1 w 25"/>
                <a:gd name="T45" fmla="*/ 7 h 21"/>
                <a:gd name="T46" fmla="*/ 0 w 25"/>
                <a:gd name="T47" fmla="*/ 8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5" h="21">
                  <a:moveTo>
                    <a:pt x="0" y="8"/>
                  </a:moveTo>
                  <a:lnTo>
                    <a:pt x="0" y="11"/>
                  </a:lnTo>
                  <a:lnTo>
                    <a:pt x="1" y="14"/>
                  </a:lnTo>
                  <a:lnTo>
                    <a:pt x="6" y="13"/>
                  </a:lnTo>
                  <a:lnTo>
                    <a:pt x="9" y="14"/>
                  </a:lnTo>
                  <a:lnTo>
                    <a:pt x="13" y="16"/>
                  </a:lnTo>
                  <a:lnTo>
                    <a:pt x="16" y="19"/>
                  </a:lnTo>
                  <a:lnTo>
                    <a:pt x="19" y="21"/>
                  </a:lnTo>
                  <a:lnTo>
                    <a:pt x="24" y="19"/>
                  </a:lnTo>
                  <a:lnTo>
                    <a:pt x="25" y="16"/>
                  </a:lnTo>
                  <a:lnTo>
                    <a:pt x="22" y="11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19" y="5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3"/>
                  </a:lnTo>
                  <a:lnTo>
                    <a:pt x="13" y="2"/>
                  </a:lnTo>
                  <a:lnTo>
                    <a:pt x="8" y="2"/>
                  </a:lnTo>
                  <a:lnTo>
                    <a:pt x="5" y="2"/>
                  </a:lnTo>
                  <a:lnTo>
                    <a:pt x="1" y="0"/>
                  </a:lnTo>
                  <a:lnTo>
                    <a:pt x="0" y="3"/>
                  </a:lnTo>
                  <a:lnTo>
                    <a:pt x="1" y="7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93" name="Freeform 327"/>
            <p:cNvSpPr>
              <a:spLocks/>
            </p:cNvSpPr>
            <p:nvPr/>
          </p:nvSpPr>
          <p:spPr bwMode="auto">
            <a:xfrm>
              <a:off x="8474793" y="2955417"/>
              <a:ext cx="2941" cy="6770"/>
            </a:xfrm>
            <a:custGeom>
              <a:avLst/>
              <a:gdLst>
                <a:gd name="T0" fmla="*/ 5 w 5"/>
                <a:gd name="T1" fmla="*/ 8 h 8"/>
                <a:gd name="T2" fmla="*/ 3 w 5"/>
                <a:gd name="T3" fmla="*/ 3 h 8"/>
                <a:gd name="T4" fmla="*/ 0 w 5"/>
                <a:gd name="T5" fmla="*/ 0 h 8"/>
                <a:gd name="T6" fmla="*/ 0 w 5"/>
                <a:gd name="T7" fmla="*/ 5 h 8"/>
                <a:gd name="T8" fmla="*/ 5 w 5"/>
                <a:gd name="T9" fmla="*/ 6 h 8"/>
                <a:gd name="T10" fmla="*/ 5 w 5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8">
                  <a:moveTo>
                    <a:pt x="5" y="8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5"/>
                  </a:lnTo>
                  <a:lnTo>
                    <a:pt x="5" y="6"/>
                  </a:lnTo>
                  <a:lnTo>
                    <a:pt x="5" y="8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94" name="Freeform 328"/>
            <p:cNvSpPr>
              <a:spLocks/>
            </p:cNvSpPr>
            <p:nvPr/>
          </p:nvSpPr>
          <p:spPr bwMode="auto">
            <a:xfrm>
              <a:off x="8480675" y="2958803"/>
              <a:ext cx="2941" cy="3385"/>
            </a:xfrm>
            <a:custGeom>
              <a:avLst/>
              <a:gdLst>
                <a:gd name="T0" fmla="*/ 0 w 3"/>
                <a:gd name="T1" fmla="*/ 5 h 5"/>
                <a:gd name="T2" fmla="*/ 3 w 3"/>
                <a:gd name="T3" fmla="*/ 2 h 5"/>
                <a:gd name="T4" fmla="*/ 0 w 3"/>
                <a:gd name="T5" fmla="*/ 0 h 5"/>
                <a:gd name="T6" fmla="*/ 2 w 3"/>
                <a:gd name="T7" fmla="*/ 3 h 5"/>
                <a:gd name="T8" fmla="*/ 0 w 3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5">
                  <a:moveTo>
                    <a:pt x="0" y="5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2" y="3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95" name="Freeform 329"/>
            <p:cNvSpPr>
              <a:spLocks/>
            </p:cNvSpPr>
            <p:nvPr/>
          </p:nvSpPr>
          <p:spPr bwMode="auto">
            <a:xfrm>
              <a:off x="8586541" y="2960495"/>
              <a:ext cx="201440" cy="284329"/>
            </a:xfrm>
            <a:custGeom>
              <a:avLst/>
              <a:gdLst>
                <a:gd name="T0" fmla="*/ 26 w 275"/>
                <a:gd name="T1" fmla="*/ 26 h 337"/>
                <a:gd name="T2" fmla="*/ 26 w 275"/>
                <a:gd name="T3" fmla="*/ 29 h 337"/>
                <a:gd name="T4" fmla="*/ 32 w 275"/>
                <a:gd name="T5" fmla="*/ 40 h 337"/>
                <a:gd name="T6" fmla="*/ 23 w 275"/>
                <a:gd name="T7" fmla="*/ 37 h 337"/>
                <a:gd name="T8" fmla="*/ 19 w 275"/>
                <a:gd name="T9" fmla="*/ 48 h 337"/>
                <a:gd name="T10" fmla="*/ 40 w 275"/>
                <a:gd name="T11" fmla="*/ 75 h 337"/>
                <a:gd name="T12" fmla="*/ 48 w 275"/>
                <a:gd name="T13" fmla="*/ 89 h 337"/>
                <a:gd name="T14" fmla="*/ 59 w 275"/>
                <a:gd name="T15" fmla="*/ 100 h 337"/>
                <a:gd name="T16" fmla="*/ 75 w 275"/>
                <a:gd name="T17" fmla="*/ 111 h 337"/>
                <a:gd name="T18" fmla="*/ 99 w 275"/>
                <a:gd name="T19" fmla="*/ 130 h 337"/>
                <a:gd name="T20" fmla="*/ 103 w 275"/>
                <a:gd name="T21" fmla="*/ 145 h 337"/>
                <a:gd name="T22" fmla="*/ 118 w 275"/>
                <a:gd name="T23" fmla="*/ 161 h 337"/>
                <a:gd name="T24" fmla="*/ 140 w 275"/>
                <a:gd name="T25" fmla="*/ 192 h 337"/>
                <a:gd name="T26" fmla="*/ 149 w 275"/>
                <a:gd name="T27" fmla="*/ 210 h 337"/>
                <a:gd name="T28" fmla="*/ 154 w 275"/>
                <a:gd name="T29" fmla="*/ 224 h 337"/>
                <a:gd name="T30" fmla="*/ 178 w 275"/>
                <a:gd name="T31" fmla="*/ 245 h 337"/>
                <a:gd name="T32" fmla="*/ 184 w 275"/>
                <a:gd name="T33" fmla="*/ 259 h 337"/>
                <a:gd name="T34" fmla="*/ 205 w 275"/>
                <a:gd name="T35" fmla="*/ 291 h 337"/>
                <a:gd name="T36" fmla="*/ 224 w 275"/>
                <a:gd name="T37" fmla="*/ 325 h 337"/>
                <a:gd name="T38" fmla="*/ 237 w 275"/>
                <a:gd name="T39" fmla="*/ 330 h 337"/>
                <a:gd name="T40" fmla="*/ 232 w 275"/>
                <a:gd name="T41" fmla="*/ 316 h 337"/>
                <a:gd name="T42" fmla="*/ 233 w 275"/>
                <a:gd name="T43" fmla="*/ 303 h 337"/>
                <a:gd name="T44" fmla="*/ 254 w 275"/>
                <a:gd name="T45" fmla="*/ 310 h 337"/>
                <a:gd name="T46" fmla="*/ 267 w 275"/>
                <a:gd name="T47" fmla="*/ 318 h 337"/>
                <a:gd name="T48" fmla="*/ 275 w 275"/>
                <a:gd name="T49" fmla="*/ 322 h 337"/>
                <a:gd name="T50" fmla="*/ 265 w 275"/>
                <a:gd name="T51" fmla="*/ 308 h 337"/>
                <a:gd name="T52" fmla="*/ 251 w 275"/>
                <a:gd name="T53" fmla="*/ 300 h 337"/>
                <a:gd name="T54" fmla="*/ 251 w 275"/>
                <a:gd name="T55" fmla="*/ 305 h 337"/>
                <a:gd name="T56" fmla="*/ 240 w 275"/>
                <a:gd name="T57" fmla="*/ 292 h 337"/>
                <a:gd name="T58" fmla="*/ 230 w 275"/>
                <a:gd name="T59" fmla="*/ 283 h 337"/>
                <a:gd name="T60" fmla="*/ 203 w 275"/>
                <a:gd name="T61" fmla="*/ 264 h 337"/>
                <a:gd name="T62" fmla="*/ 184 w 275"/>
                <a:gd name="T63" fmla="*/ 219 h 337"/>
                <a:gd name="T64" fmla="*/ 180 w 275"/>
                <a:gd name="T65" fmla="*/ 205 h 337"/>
                <a:gd name="T66" fmla="*/ 191 w 275"/>
                <a:gd name="T67" fmla="*/ 200 h 337"/>
                <a:gd name="T68" fmla="*/ 184 w 275"/>
                <a:gd name="T69" fmla="*/ 200 h 337"/>
                <a:gd name="T70" fmla="*/ 191 w 275"/>
                <a:gd name="T71" fmla="*/ 199 h 337"/>
                <a:gd name="T72" fmla="*/ 216 w 275"/>
                <a:gd name="T73" fmla="*/ 207 h 337"/>
                <a:gd name="T74" fmla="*/ 230 w 275"/>
                <a:gd name="T75" fmla="*/ 214 h 337"/>
                <a:gd name="T76" fmla="*/ 243 w 275"/>
                <a:gd name="T77" fmla="*/ 226 h 337"/>
                <a:gd name="T78" fmla="*/ 238 w 275"/>
                <a:gd name="T79" fmla="*/ 218 h 337"/>
                <a:gd name="T80" fmla="*/ 224 w 275"/>
                <a:gd name="T81" fmla="*/ 210 h 337"/>
                <a:gd name="T82" fmla="*/ 175 w 275"/>
                <a:gd name="T83" fmla="*/ 165 h 337"/>
                <a:gd name="T84" fmla="*/ 134 w 275"/>
                <a:gd name="T85" fmla="*/ 126 h 337"/>
                <a:gd name="T86" fmla="*/ 122 w 275"/>
                <a:gd name="T87" fmla="*/ 115 h 337"/>
                <a:gd name="T88" fmla="*/ 113 w 275"/>
                <a:gd name="T89" fmla="*/ 110 h 337"/>
                <a:gd name="T90" fmla="*/ 103 w 275"/>
                <a:gd name="T91" fmla="*/ 100 h 337"/>
                <a:gd name="T92" fmla="*/ 92 w 275"/>
                <a:gd name="T93" fmla="*/ 88 h 337"/>
                <a:gd name="T94" fmla="*/ 84 w 275"/>
                <a:gd name="T95" fmla="*/ 75 h 337"/>
                <a:gd name="T96" fmla="*/ 86 w 275"/>
                <a:gd name="T97" fmla="*/ 75 h 337"/>
                <a:gd name="T98" fmla="*/ 75 w 275"/>
                <a:gd name="T99" fmla="*/ 61 h 337"/>
                <a:gd name="T100" fmla="*/ 53 w 275"/>
                <a:gd name="T101" fmla="*/ 42 h 337"/>
                <a:gd name="T102" fmla="*/ 65 w 275"/>
                <a:gd name="T103" fmla="*/ 50 h 337"/>
                <a:gd name="T104" fmla="*/ 54 w 275"/>
                <a:gd name="T105" fmla="*/ 40 h 337"/>
                <a:gd name="T106" fmla="*/ 43 w 275"/>
                <a:gd name="T107" fmla="*/ 30 h 337"/>
                <a:gd name="T108" fmla="*/ 35 w 275"/>
                <a:gd name="T109" fmla="*/ 26 h 337"/>
                <a:gd name="T110" fmla="*/ 29 w 275"/>
                <a:gd name="T111" fmla="*/ 19 h 337"/>
                <a:gd name="T112" fmla="*/ 7 w 275"/>
                <a:gd name="T113" fmla="*/ 4 h 337"/>
                <a:gd name="T114" fmla="*/ 18 w 275"/>
                <a:gd name="T115" fmla="*/ 16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5" h="337">
                  <a:moveTo>
                    <a:pt x="18" y="16"/>
                  </a:moveTo>
                  <a:lnTo>
                    <a:pt x="21" y="18"/>
                  </a:lnTo>
                  <a:lnTo>
                    <a:pt x="24" y="23"/>
                  </a:lnTo>
                  <a:lnTo>
                    <a:pt x="26" y="26"/>
                  </a:lnTo>
                  <a:lnTo>
                    <a:pt x="29" y="24"/>
                  </a:lnTo>
                  <a:lnTo>
                    <a:pt x="34" y="27"/>
                  </a:lnTo>
                  <a:lnTo>
                    <a:pt x="29" y="29"/>
                  </a:lnTo>
                  <a:lnTo>
                    <a:pt x="26" y="29"/>
                  </a:lnTo>
                  <a:lnTo>
                    <a:pt x="27" y="32"/>
                  </a:lnTo>
                  <a:lnTo>
                    <a:pt x="30" y="34"/>
                  </a:lnTo>
                  <a:lnTo>
                    <a:pt x="35" y="35"/>
                  </a:lnTo>
                  <a:lnTo>
                    <a:pt x="32" y="40"/>
                  </a:lnTo>
                  <a:lnTo>
                    <a:pt x="29" y="42"/>
                  </a:lnTo>
                  <a:lnTo>
                    <a:pt x="27" y="42"/>
                  </a:lnTo>
                  <a:lnTo>
                    <a:pt x="26" y="38"/>
                  </a:lnTo>
                  <a:lnTo>
                    <a:pt x="23" y="37"/>
                  </a:lnTo>
                  <a:lnTo>
                    <a:pt x="21" y="35"/>
                  </a:lnTo>
                  <a:lnTo>
                    <a:pt x="18" y="37"/>
                  </a:lnTo>
                  <a:lnTo>
                    <a:pt x="13" y="40"/>
                  </a:lnTo>
                  <a:lnTo>
                    <a:pt x="19" y="48"/>
                  </a:lnTo>
                  <a:lnTo>
                    <a:pt x="27" y="54"/>
                  </a:lnTo>
                  <a:lnTo>
                    <a:pt x="34" y="64"/>
                  </a:lnTo>
                  <a:lnTo>
                    <a:pt x="40" y="72"/>
                  </a:lnTo>
                  <a:lnTo>
                    <a:pt x="40" y="75"/>
                  </a:lnTo>
                  <a:lnTo>
                    <a:pt x="40" y="80"/>
                  </a:lnTo>
                  <a:lnTo>
                    <a:pt x="42" y="83"/>
                  </a:lnTo>
                  <a:lnTo>
                    <a:pt x="45" y="86"/>
                  </a:lnTo>
                  <a:lnTo>
                    <a:pt x="48" y="89"/>
                  </a:lnTo>
                  <a:lnTo>
                    <a:pt x="49" y="92"/>
                  </a:lnTo>
                  <a:lnTo>
                    <a:pt x="54" y="96"/>
                  </a:lnTo>
                  <a:lnTo>
                    <a:pt x="56" y="100"/>
                  </a:lnTo>
                  <a:lnTo>
                    <a:pt x="59" y="100"/>
                  </a:lnTo>
                  <a:lnTo>
                    <a:pt x="64" y="102"/>
                  </a:lnTo>
                  <a:lnTo>
                    <a:pt x="64" y="107"/>
                  </a:lnTo>
                  <a:lnTo>
                    <a:pt x="67" y="108"/>
                  </a:lnTo>
                  <a:lnTo>
                    <a:pt x="75" y="111"/>
                  </a:lnTo>
                  <a:lnTo>
                    <a:pt x="84" y="118"/>
                  </a:lnTo>
                  <a:lnTo>
                    <a:pt x="92" y="124"/>
                  </a:lnTo>
                  <a:lnTo>
                    <a:pt x="95" y="127"/>
                  </a:lnTo>
                  <a:lnTo>
                    <a:pt x="99" y="130"/>
                  </a:lnTo>
                  <a:lnTo>
                    <a:pt x="100" y="134"/>
                  </a:lnTo>
                  <a:lnTo>
                    <a:pt x="100" y="138"/>
                  </a:lnTo>
                  <a:lnTo>
                    <a:pt x="102" y="141"/>
                  </a:lnTo>
                  <a:lnTo>
                    <a:pt x="103" y="145"/>
                  </a:lnTo>
                  <a:lnTo>
                    <a:pt x="105" y="148"/>
                  </a:lnTo>
                  <a:lnTo>
                    <a:pt x="108" y="153"/>
                  </a:lnTo>
                  <a:lnTo>
                    <a:pt x="111" y="154"/>
                  </a:lnTo>
                  <a:lnTo>
                    <a:pt x="118" y="161"/>
                  </a:lnTo>
                  <a:lnTo>
                    <a:pt x="124" y="168"/>
                  </a:lnTo>
                  <a:lnTo>
                    <a:pt x="129" y="176"/>
                  </a:lnTo>
                  <a:lnTo>
                    <a:pt x="135" y="184"/>
                  </a:lnTo>
                  <a:lnTo>
                    <a:pt x="140" y="192"/>
                  </a:lnTo>
                  <a:lnTo>
                    <a:pt x="145" y="200"/>
                  </a:lnTo>
                  <a:lnTo>
                    <a:pt x="148" y="205"/>
                  </a:lnTo>
                  <a:lnTo>
                    <a:pt x="148" y="207"/>
                  </a:lnTo>
                  <a:lnTo>
                    <a:pt x="149" y="210"/>
                  </a:lnTo>
                  <a:lnTo>
                    <a:pt x="151" y="213"/>
                  </a:lnTo>
                  <a:lnTo>
                    <a:pt x="153" y="218"/>
                  </a:lnTo>
                  <a:lnTo>
                    <a:pt x="153" y="221"/>
                  </a:lnTo>
                  <a:lnTo>
                    <a:pt x="154" y="224"/>
                  </a:lnTo>
                  <a:lnTo>
                    <a:pt x="157" y="227"/>
                  </a:lnTo>
                  <a:lnTo>
                    <a:pt x="161" y="230"/>
                  </a:lnTo>
                  <a:lnTo>
                    <a:pt x="170" y="237"/>
                  </a:lnTo>
                  <a:lnTo>
                    <a:pt x="178" y="245"/>
                  </a:lnTo>
                  <a:lnTo>
                    <a:pt x="180" y="248"/>
                  </a:lnTo>
                  <a:lnTo>
                    <a:pt x="183" y="251"/>
                  </a:lnTo>
                  <a:lnTo>
                    <a:pt x="186" y="256"/>
                  </a:lnTo>
                  <a:lnTo>
                    <a:pt x="184" y="259"/>
                  </a:lnTo>
                  <a:lnTo>
                    <a:pt x="187" y="267"/>
                  </a:lnTo>
                  <a:lnTo>
                    <a:pt x="192" y="276"/>
                  </a:lnTo>
                  <a:lnTo>
                    <a:pt x="200" y="284"/>
                  </a:lnTo>
                  <a:lnTo>
                    <a:pt x="205" y="291"/>
                  </a:lnTo>
                  <a:lnTo>
                    <a:pt x="207" y="297"/>
                  </a:lnTo>
                  <a:lnTo>
                    <a:pt x="210" y="308"/>
                  </a:lnTo>
                  <a:lnTo>
                    <a:pt x="216" y="316"/>
                  </a:lnTo>
                  <a:lnTo>
                    <a:pt x="224" y="325"/>
                  </a:lnTo>
                  <a:lnTo>
                    <a:pt x="230" y="332"/>
                  </a:lnTo>
                  <a:lnTo>
                    <a:pt x="237" y="337"/>
                  </a:lnTo>
                  <a:lnTo>
                    <a:pt x="235" y="333"/>
                  </a:lnTo>
                  <a:lnTo>
                    <a:pt x="237" y="330"/>
                  </a:lnTo>
                  <a:lnTo>
                    <a:pt x="235" y="327"/>
                  </a:lnTo>
                  <a:lnTo>
                    <a:pt x="233" y="322"/>
                  </a:lnTo>
                  <a:lnTo>
                    <a:pt x="232" y="319"/>
                  </a:lnTo>
                  <a:lnTo>
                    <a:pt x="232" y="316"/>
                  </a:lnTo>
                  <a:lnTo>
                    <a:pt x="230" y="313"/>
                  </a:lnTo>
                  <a:lnTo>
                    <a:pt x="230" y="308"/>
                  </a:lnTo>
                  <a:lnTo>
                    <a:pt x="230" y="305"/>
                  </a:lnTo>
                  <a:lnTo>
                    <a:pt x="233" y="303"/>
                  </a:lnTo>
                  <a:lnTo>
                    <a:pt x="237" y="305"/>
                  </a:lnTo>
                  <a:lnTo>
                    <a:pt x="241" y="308"/>
                  </a:lnTo>
                  <a:lnTo>
                    <a:pt x="245" y="308"/>
                  </a:lnTo>
                  <a:lnTo>
                    <a:pt x="254" y="310"/>
                  </a:lnTo>
                  <a:lnTo>
                    <a:pt x="259" y="311"/>
                  </a:lnTo>
                  <a:lnTo>
                    <a:pt x="262" y="311"/>
                  </a:lnTo>
                  <a:lnTo>
                    <a:pt x="264" y="314"/>
                  </a:lnTo>
                  <a:lnTo>
                    <a:pt x="267" y="318"/>
                  </a:lnTo>
                  <a:lnTo>
                    <a:pt x="270" y="322"/>
                  </a:lnTo>
                  <a:lnTo>
                    <a:pt x="273" y="325"/>
                  </a:lnTo>
                  <a:lnTo>
                    <a:pt x="275" y="329"/>
                  </a:lnTo>
                  <a:lnTo>
                    <a:pt x="275" y="322"/>
                  </a:lnTo>
                  <a:lnTo>
                    <a:pt x="273" y="319"/>
                  </a:lnTo>
                  <a:lnTo>
                    <a:pt x="272" y="316"/>
                  </a:lnTo>
                  <a:lnTo>
                    <a:pt x="267" y="311"/>
                  </a:lnTo>
                  <a:lnTo>
                    <a:pt x="265" y="308"/>
                  </a:lnTo>
                  <a:lnTo>
                    <a:pt x="262" y="305"/>
                  </a:lnTo>
                  <a:lnTo>
                    <a:pt x="259" y="302"/>
                  </a:lnTo>
                  <a:lnTo>
                    <a:pt x="256" y="298"/>
                  </a:lnTo>
                  <a:lnTo>
                    <a:pt x="251" y="300"/>
                  </a:lnTo>
                  <a:lnTo>
                    <a:pt x="248" y="298"/>
                  </a:lnTo>
                  <a:lnTo>
                    <a:pt x="251" y="302"/>
                  </a:lnTo>
                  <a:lnTo>
                    <a:pt x="256" y="303"/>
                  </a:lnTo>
                  <a:lnTo>
                    <a:pt x="251" y="305"/>
                  </a:lnTo>
                  <a:lnTo>
                    <a:pt x="248" y="302"/>
                  </a:lnTo>
                  <a:lnTo>
                    <a:pt x="245" y="300"/>
                  </a:lnTo>
                  <a:lnTo>
                    <a:pt x="243" y="297"/>
                  </a:lnTo>
                  <a:lnTo>
                    <a:pt x="240" y="292"/>
                  </a:lnTo>
                  <a:lnTo>
                    <a:pt x="237" y="289"/>
                  </a:lnTo>
                  <a:lnTo>
                    <a:pt x="233" y="286"/>
                  </a:lnTo>
                  <a:lnTo>
                    <a:pt x="230" y="283"/>
                  </a:lnTo>
                  <a:lnTo>
                    <a:pt x="230" y="283"/>
                  </a:lnTo>
                  <a:lnTo>
                    <a:pt x="226" y="279"/>
                  </a:lnTo>
                  <a:lnTo>
                    <a:pt x="218" y="275"/>
                  </a:lnTo>
                  <a:lnTo>
                    <a:pt x="210" y="270"/>
                  </a:lnTo>
                  <a:lnTo>
                    <a:pt x="203" y="264"/>
                  </a:lnTo>
                  <a:lnTo>
                    <a:pt x="197" y="256"/>
                  </a:lnTo>
                  <a:lnTo>
                    <a:pt x="191" y="240"/>
                  </a:lnTo>
                  <a:lnTo>
                    <a:pt x="186" y="224"/>
                  </a:lnTo>
                  <a:lnTo>
                    <a:pt x="184" y="219"/>
                  </a:lnTo>
                  <a:lnTo>
                    <a:pt x="184" y="216"/>
                  </a:lnTo>
                  <a:lnTo>
                    <a:pt x="181" y="213"/>
                  </a:lnTo>
                  <a:lnTo>
                    <a:pt x="180" y="210"/>
                  </a:lnTo>
                  <a:lnTo>
                    <a:pt x="180" y="205"/>
                  </a:lnTo>
                  <a:lnTo>
                    <a:pt x="180" y="203"/>
                  </a:lnTo>
                  <a:lnTo>
                    <a:pt x="184" y="202"/>
                  </a:lnTo>
                  <a:lnTo>
                    <a:pt x="187" y="200"/>
                  </a:lnTo>
                  <a:lnTo>
                    <a:pt x="191" y="200"/>
                  </a:lnTo>
                  <a:lnTo>
                    <a:pt x="194" y="200"/>
                  </a:lnTo>
                  <a:lnTo>
                    <a:pt x="191" y="200"/>
                  </a:lnTo>
                  <a:lnTo>
                    <a:pt x="187" y="200"/>
                  </a:lnTo>
                  <a:lnTo>
                    <a:pt x="184" y="200"/>
                  </a:lnTo>
                  <a:lnTo>
                    <a:pt x="181" y="199"/>
                  </a:lnTo>
                  <a:lnTo>
                    <a:pt x="184" y="197"/>
                  </a:lnTo>
                  <a:lnTo>
                    <a:pt x="187" y="199"/>
                  </a:lnTo>
                  <a:lnTo>
                    <a:pt x="191" y="199"/>
                  </a:lnTo>
                  <a:lnTo>
                    <a:pt x="194" y="200"/>
                  </a:lnTo>
                  <a:lnTo>
                    <a:pt x="199" y="200"/>
                  </a:lnTo>
                  <a:lnTo>
                    <a:pt x="207" y="202"/>
                  </a:lnTo>
                  <a:lnTo>
                    <a:pt x="216" y="207"/>
                  </a:lnTo>
                  <a:lnTo>
                    <a:pt x="219" y="210"/>
                  </a:lnTo>
                  <a:lnTo>
                    <a:pt x="222" y="211"/>
                  </a:lnTo>
                  <a:lnTo>
                    <a:pt x="226" y="213"/>
                  </a:lnTo>
                  <a:lnTo>
                    <a:pt x="230" y="214"/>
                  </a:lnTo>
                  <a:lnTo>
                    <a:pt x="233" y="216"/>
                  </a:lnTo>
                  <a:lnTo>
                    <a:pt x="237" y="219"/>
                  </a:lnTo>
                  <a:lnTo>
                    <a:pt x="240" y="222"/>
                  </a:lnTo>
                  <a:lnTo>
                    <a:pt x="243" y="226"/>
                  </a:lnTo>
                  <a:lnTo>
                    <a:pt x="248" y="227"/>
                  </a:lnTo>
                  <a:lnTo>
                    <a:pt x="243" y="224"/>
                  </a:lnTo>
                  <a:lnTo>
                    <a:pt x="241" y="221"/>
                  </a:lnTo>
                  <a:lnTo>
                    <a:pt x="238" y="218"/>
                  </a:lnTo>
                  <a:lnTo>
                    <a:pt x="235" y="216"/>
                  </a:lnTo>
                  <a:lnTo>
                    <a:pt x="230" y="214"/>
                  </a:lnTo>
                  <a:lnTo>
                    <a:pt x="227" y="213"/>
                  </a:lnTo>
                  <a:lnTo>
                    <a:pt x="224" y="210"/>
                  </a:lnTo>
                  <a:lnTo>
                    <a:pt x="221" y="207"/>
                  </a:lnTo>
                  <a:lnTo>
                    <a:pt x="205" y="192"/>
                  </a:lnTo>
                  <a:lnTo>
                    <a:pt x="189" y="178"/>
                  </a:lnTo>
                  <a:lnTo>
                    <a:pt x="175" y="165"/>
                  </a:lnTo>
                  <a:lnTo>
                    <a:pt x="161" y="153"/>
                  </a:lnTo>
                  <a:lnTo>
                    <a:pt x="146" y="137"/>
                  </a:lnTo>
                  <a:lnTo>
                    <a:pt x="130" y="122"/>
                  </a:lnTo>
                  <a:lnTo>
                    <a:pt x="134" y="126"/>
                  </a:lnTo>
                  <a:lnTo>
                    <a:pt x="130" y="122"/>
                  </a:lnTo>
                  <a:lnTo>
                    <a:pt x="126" y="121"/>
                  </a:lnTo>
                  <a:lnTo>
                    <a:pt x="126" y="118"/>
                  </a:lnTo>
                  <a:lnTo>
                    <a:pt x="122" y="115"/>
                  </a:lnTo>
                  <a:lnTo>
                    <a:pt x="115" y="110"/>
                  </a:lnTo>
                  <a:lnTo>
                    <a:pt x="118" y="113"/>
                  </a:lnTo>
                  <a:lnTo>
                    <a:pt x="115" y="113"/>
                  </a:lnTo>
                  <a:lnTo>
                    <a:pt x="113" y="110"/>
                  </a:lnTo>
                  <a:lnTo>
                    <a:pt x="111" y="105"/>
                  </a:lnTo>
                  <a:lnTo>
                    <a:pt x="108" y="102"/>
                  </a:lnTo>
                  <a:lnTo>
                    <a:pt x="105" y="100"/>
                  </a:lnTo>
                  <a:lnTo>
                    <a:pt x="103" y="100"/>
                  </a:lnTo>
                  <a:lnTo>
                    <a:pt x="100" y="97"/>
                  </a:lnTo>
                  <a:lnTo>
                    <a:pt x="97" y="94"/>
                  </a:lnTo>
                  <a:lnTo>
                    <a:pt x="94" y="91"/>
                  </a:lnTo>
                  <a:lnTo>
                    <a:pt x="92" y="88"/>
                  </a:lnTo>
                  <a:lnTo>
                    <a:pt x="89" y="84"/>
                  </a:lnTo>
                  <a:lnTo>
                    <a:pt x="86" y="81"/>
                  </a:lnTo>
                  <a:lnTo>
                    <a:pt x="84" y="78"/>
                  </a:lnTo>
                  <a:lnTo>
                    <a:pt x="84" y="75"/>
                  </a:lnTo>
                  <a:lnTo>
                    <a:pt x="86" y="78"/>
                  </a:lnTo>
                  <a:lnTo>
                    <a:pt x="89" y="81"/>
                  </a:lnTo>
                  <a:lnTo>
                    <a:pt x="88" y="78"/>
                  </a:lnTo>
                  <a:lnTo>
                    <a:pt x="86" y="75"/>
                  </a:lnTo>
                  <a:lnTo>
                    <a:pt x="84" y="70"/>
                  </a:lnTo>
                  <a:lnTo>
                    <a:pt x="81" y="67"/>
                  </a:lnTo>
                  <a:lnTo>
                    <a:pt x="78" y="64"/>
                  </a:lnTo>
                  <a:lnTo>
                    <a:pt x="75" y="61"/>
                  </a:lnTo>
                  <a:lnTo>
                    <a:pt x="69" y="57"/>
                  </a:lnTo>
                  <a:lnTo>
                    <a:pt x="62" y="53"/>
                  </a:lnTo>
                  <a:lnTo>
                    <a:pt x="57" y="46"/>
                  </a:lnTo>
                  <a:lnTo>
                    <a:pt x="53" y="42"/>
                  </a:lnTo>
                  <a:lnTo>
                    <a:pt x="57" y="42"/>
                  </a:lnTo>
                  <a:lnTo>
                    <a:pt x="59" y="46"/>
                  </a:lnTo>
                  <a:lnTo>
                    <a:pt x="62" y="48"/>
                  </a:lnTo>
                  <a:lnTo>
                    <a:pt x="65" y="50"/>
                  </a:lnTo>
                  <a:lnTo>
                    <a:pt x="70" y="56"/>
                  </a:lnTo>
                  <a:lnTo>
                    <a:pt x="76" y="61"/>
                  </a:lnTo>
                  <a:lnTo>
                    <a:pt x="67" y="50"/>
                  </a:lnTo>
                  <a:lnTo>
                    <a:pt x="54" y="40"/>
                  </a:lnTo>
                  <a:lnTo>
                    <a:pt x="51" y="40"/>
                  </a:lnTo>
                  <a:lnTo>
                    <a:pt x="49" y="35"/>
                  </a:lnTo>
                  <a:lnTo>
                    <a:pt x="46" y="34"/>
                  </a:lnTo>
                  <a:lnTo>
                    <a:pt x="43" y="30"/>
                  </a:lnTo>
                  <a:lnTo>
                    <a:pt x="38" y="29"/>
                  </a:lnTo>
                  <a:lnTo>
                    <a:pt x="35" y="26"/>
                  </a:lnTo>
                  <a:lnTo>
                    <a:pt x="32" y="24"/>
                  </a:lnTo>
                  <a:lnTo>
                    <a:pt x="35" y="26"/>
                  </a:lnTo>
                  <a:lnTo>
                    <a:pt x="38" y="27"/>
                  </a:lnTo>
                  <a:lnTo>
                    <a:pt x="32" y="23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27" y="13"/>
                  </a:lnTo>
                  <a:lnTo>
                    <a:pt x="18" y="7"/>
                  </a:lnTo>
                  <a:lnTo>
                    <a:pt x="8" y="0"/>
                  </a:lnTo>
                  <a:lnTo>
                    <a:pt x="7" y="4"/>
                  </a:lnTo>
                  <a:lnTo>
                    <a:pt x="4" y="7"/>
                  </a:lnTo>
                  <a:lnTo>
                    <a:pt x="0" y="5"/>
                  </a:lnTo>
                  <a:lnTo>
                    <a:pt x="8" y="11"/>
                  </a:lnTo>
                  <a:lnTo>
                    <a:pt x="18" y="16"/>
                  </a:lnTo>
                  <a:lnTo>
                    <a:pt x="18" y="16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96" name="Freeform 330"/>
            <p:cNvSpPr>
              <a:spLocks/>
            </p:cNvSpPr>
            <p:nvPr/>
          </p:nvSpPr>
          <p:spPr bwMode="auto">
            <a:xfrm>
              <a:off x="8820329" y="2730324"/>
              <a:ext cx="1471" cy="1692"/>
            </a:xfrm>
            <a:custGeom>
              <a:avLst/>
              <a:gdLst>
                <a:gd name="T0" fmla="*/ 0 w 3"/>
                <a:gd name="T1" fmla="*/ 1 h 1"/>
                <a:gd name="T2" fmla="*/ 3 w 3"/>
                <a:gd name="T3" fmla="*/ 1 h 1"/>
                <a:gd name="T4" fmla="*/ 0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lnTo>
                    <a:pt x="3" y="1"/>
                  </a:lnTo>
                  <a:lnTo>
                    <a:pt x="0" y="0"/>
                  </a:lnTo>
                  <a:lnTo>
                    <a:pt x="0" y="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97" name="Freeform 331"/>
            <p:cNvSpPr>
              <a:spLocks/>
            </p:cNvSpPr>
            <p:nvPr/>
          </p:nvSpPr>
          <p:spPr bwMode="auto">
            <a:xfrm>
              <a:off x="8879143" y="3292211"/>
              <a:ext cx="16174" cy="27079"/>
            </a:xfrm>
            <a:custGeom>
              <a:avLst/>
              <a:gdLst>
                <a:gd name="T0" fmla="*/ 7 w 23"/>
                <a:gd name="T1" fmla="*/ 0 h 32"/>
                <a:gd name="T2" fmla="*/ 7 w 23"/>
                <a:gd name="T3" fmla="*/ 5 h 32"/>
                <a:gd name="T4" fmla="*/ 7 w 23"/>
                <a:gd name="T5" fmla="*/ 8 h 32"/>
                <a:gd name="T6" fmla="*/ 5 w 23"/>
                <a:gd name="T7" fmla="*/ 11 h 32"/>
                <a:gd name="T8" fmla="*/ 5 w 23"/>
                <a:gd name="T9" fmla="*/ 14 h 32"/>
                <a:gd name="T10" fmla="*/ 5 w 23"/>
                <a:gd name="T11" fmla="*/ 17 h 32"/>
                <a:gd name="T12" fmla="*/ 5 w 23"/>
                <a:gd name="T13" fmla="*/ 21 h 32"/>
                <a:gd name="T14" fmla="*/ 2 w 23"/>
                <a:gd name="T15" fmla="*/ 25 h 32"/>
                <a:gd name="T16" fmla="*/ 0 w 23"/>
                <a:gd name="T17" fmla="*/ 29 h 32"/>
                <a:gd name="T18" fmla="*/ 4 w 23"/>
                <a:gd name="T19" fmla="*/ 32 h 32"/>
                <a:gd name="T20" fmla="*/ 7 w 23"/>
                <a:gd name="T21" fmla="*/ 32 h 32"/>
                <a:gd name="T22" fmla="*/ 7 w 23"/>
                <a:gd name="T23" fmla="*/ 29 h 32"/>
                <a:gd name="T24" fmla="*/ 7 w 23"/>
                <a:gd name="T25" fmla="*/ 25 h 32"/>
                <a:gd name="T26" fmla="*/ 10 w 23"/>
                <a:gd name="T27" fmla="*/ 22 h 32"/>
                <a:gd name="T28" fmla="*/ 10 w 23"/>
                <a:gd name="T29" fmla="*/ 17 h 32"/>
                <a:gd name="T30" fmla="*/ 12 w 23"/>
                <a:gd name="T31" fmla="*/ 14 h 32"/>
                <a:gd name="T32" fmla="*/ 12 w 23"/>
                <a:gd name="T33" fmla="*/ 11 h 32"/>
                <a:gd name="T34" fmla="*/ 16 w 23"/>
                <a:gd name="T35" fmla="*/ 10 h 32"/>
                <a:gd name="T36" fmla="*/ 19 w 23"/>
                <a:gd name="T37" fmla="*/ 6 h 32"/>
                <a:gd name="T38" fmla="*/ 23 w 23"/>
                <a:gd name="T39" fmla="*/ 6 h 32"/>
                <a:gd name="T40" fmla="*/ 23 w 23"/>
                <a:gd name="T41" fmla="*/ 3 h 32"/>
                <a:gd name="T42" fmla="*/ 19 w 23"/>
                <a:gd name="T43" fmla="*/ 3 h 32"/>
                <a:gd name="T44" fmla="*/ 15 w 23"/>
                <a:gd name="T45" fmla="*/ 3 h 32"/>
                <a:gd name="T46" fmla="*/ 12 w 23"/>
                <a:gd name="T47" fmla="*/ 3 h 32"/>
                <a:gd name="T48" fmla="*/ 8 w 23"/>
                <a:gd name="T49" fmla="*/ 0 h 32"/>
                <a:gd name="T50" fmla="*/ 7 w 23"/>
                <a:gd name="T5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3" h="32">
                  <a:moveTo>
                    <a:pt x="7" y="0"/>
                  </a:moveTo>
                  <a:lnTo>
                    <a:pt x="7" y="5"/>
                  </a:lnTo>
                  <a:lnTo>
                    <a:pt x="7" y="8"/>
                  </a:lnTo>
                  <a:lnTo>
                    <a:pt x="5" y="11"/>
                  </a:lnTo>
                  <a:lnTo>
                    <a:pt x="5" y="14"/>
                  </a:lnTo>
                  <a:lnTo>
                    <a:pt x="5" y="17"/>
                  </a:lnTo>
                  <a:lnTo>
                    <a:pt x="5" y="21"/>
                  </a:lnTo>
                  <a:lnTo>
                    <a:pt x="2" y="25"/>
                  </a:lnTo>
                  <a:lnTo>
                    <a:pt x="0" y="29"/>
                  </a:lnTo>
                  <a:lnTo>
                    <a:pt x="4" y="32"/>
                  </a:lnTo>
                  <a:lnTo>
                    <a:pt x="7" y="32"/>
                  </a:lnTo>
                  <a:lnTo>
                    <a:pt x="7" y="29"/>
                  </a:lnTo>
                  <a:lnTo>
                    <a:pt x="7" y="25"/>
                  </a:lnTo>
                  <a:lnTo>
                    <a:pt x="10" y="22"/>
                  </a:lnTo>
                  <a:lnTo>
                    <a:pt x="10" y="17"/>
                  </a:lnTo>
                  <a:lnTo>
                    <a:pt x="12" y="14"/>
                  </a:lnTo>
                  <a:lnTo>
                    <a:pt x="12" y="11"/>
                  </a:lnTo>
                  <a:lnTo>
                    <a:pt x="16" y="10"/>
                  </a:lnTo>
                  <a:lnTo>
                    <a:pt x="19" y="6"/>
                  </a:lnTo>
                  <a:lnTo>
                    <a:pt x="23" y="6"/>
                  </a:lnTo>
                  <a:lnTo>
                    <a:pt x="23" y="3"/>
                  </a:lnTo>
                  <a:lnTo>
                    <a:pt x="19" y="3"/>
                  </a:lnTo>
                  <a:lnTo>
                    <a:pt x="15" y="3"/>
                  </a:lnTo>
                  <a:lnTo>
                    <a:pt x="12" y="3"/>
                  </a:lnTo>
                  <a:lnTo>
                    <a:pt x="8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98" name="Freeform 332"/>
            <p:cNvSpPr>
              <a:spLocks/>
            </p:cNvSpPr>
            <p:nvPr/>
          </p:nvSpPr>
          <p:spPr bwMode="auto">
            <a:xfrm>
              <a:off x="8901198" y="3258362"/>
              <a:ext cx="27938" cy="37233"/>
            </a:xfrm>
            <a:custGeom>
              <a:avLst/>
              <a:gdLst>
                <a:gd name="T0" fmla="*/ 34 w 38"/>
                <a:gd name="T1" fmla="*/ 0 h 45"/>
                <a:gd name="T2" fmla="*/ 31 w 38"/>
                <a:gd name="T3" fmla="*/ 0 h 45"/>
                <a:gd name="T4" fmla="*/ 28 w 38"/>
                <a:gd name="T5" fmla="*/ 4 h 45"/>
                <a:gd name="T6" fmla="*/ 27 w 38"/>
                <a:gd name="T7" fmla="*/ 7 h 45"/>
                <a:gd name="T8" fmla="*/ 23 w 38"/>
                <a:gd name="T9" fmla="*/ 10 h 45"/>
                <a:gd name="T10" fmla="*/ 20 w 38"/>
                <a:gd name="T11" fmla="*/ 10 h 45"/>
                <a:gd name="T12" fmla="*/ 15 w 38"/>
                <a:gd name="T13" fmla="*/ 10 h 45"/>
                <a:gd name="T14" fmla="*/ 12 w 38"/>
                <a:gd name="T15" fmla="*/ 7 h 45"/>
                <a:gd name="T16" fmla="*/ 9 w 38"/>
                <a:gd name="T17" fmla="*/ 4 h 45"/>
                <a:gd name="T18" fmla="*/ 9 w 38"/>
                <a:gd name="T19" fmla="*/ 7 h 45"/>
                <a:gd name="T20" fmla="*/ 12 w 38"/>
                <a:gd name="T21" fmla="*/ 10 h 45"/>
                <a:gd name="T22" fmla="*/ 9 w 38"/>
                <a:gd name="T23" fmla="*/ 15 h 45"/>
                <a:gd name="T24" fmla="*/ 9 w 38"/>
                <a:gd name="T25" fmla="*/ 18 h 45"/>
                <a:gd name="T26" fmla="*/ 6 w 38"/>
                <a:gd name="T27" fmla="*/ 16 h 45"/>
                <a:gd name="T28" fmla="*/ 6 w 38"/>
                <a:gd name="T29" fmla="*/ 21 h 45"/>
                <a:gd name="T30" fmla="*/ 6 w 38"/>
                <a:gd name="T31" fmla="*/ 24 h 45"/>
                <a:gd name="T32" fmla="*/ 3 w 38"/>
                <a:gd name="T33" fmla="*/ 27 h 45"/>
                <a:gd name="T34" fmla="*/ 1 w 38"/>
                <a:gd name="T35" fmla="*/ 31 h 45"/>
                <a:gd name="T36" fmla="*/ 4 w 38"/>
                <a:gd name="T37" fmla="*/ 34 h 45"/>
                <a:gd name="T38" fmla="*/ 1 w 38"/>
                <a:gd name="T39" fmla="*/ 35 h 45"/>
                <a:gd name="T40" fmla="*/ 0 w 38"/>
                <a:gd name="T41" fmla="*/ 38 h 45"/>
                <a:gd name="T42" fmla="*/ 0 w 38"/>
                <a:gd name="T43" fmla="*/ 43 h 45"/>
                <a:gd name="T44" fmla="*/ 3 w 38"/>
                <a:gd name="T45" fmla="*/ 45 h 45"/>
                <a:gd name="T46" fmla="*/ 4 w 38"/>
                <a:gd name="T47" fmla="*/ 42 h 45"/>
                <a:gd name="T48" fmla="*/ 7 w 38"/>
                <a:gd name="T49" fmla="*/ 40 h 45"/>
                <a:gd name="T50" fmla="*/ 9 w 38"/>
                <a:gd name="T51" fmla="*/ 35 h 45"/>
                <a:gd name="T52" fmla="*/ 11 w 38"/>
                <a:gd name="T53" fmla="*/ 32 h 45"/>
                <a:gd name="T54" fmla="*/ 12 w 38"/>
                <a:gd name="T55" fmla="*/ 29 h 45"/>
                <a:gd name="T56" fmla="*/ 12 w 38"/>
                <a:gd name="T57" fmla="*/ 26 h 45"/>
                <a:gd name="T58" fmla="*/ 12 w 38"/>
                <a:gd name="T59" fmla="*/ 21 h 45"/>
                <a:gd name="T60" fmla="*/ 15 w 38"/>
                <a:gd name="T61" fmla="*/ 23 h 45"/>
                <a:gd name="T62" fmla="*/ 19 w 38"/>
                <a:gd name="T63" fmla="*/ 23 h 45"/>
                <a:gd name="T64" fmla="*/ 20 w 38"/>
                <a:gd name="T65" fmla="*/ 18 h 45"/>
                <a:gd name="T66" fmla="*/ 23 w 38"/>
                <a:gd name="T67" fmla="*/ 15 h 45"/>
                <a:gd name="T68" fmla="*/ 27 w 38"/>
                <a:gd name="T69" fmla="*/ 11 h 45"/>
                <a:gd name="T70" fmla="*/ 30 w 38"/>
                <a:gd name="T71" fmla="*/ 10 h 45"/>
                <a:gd name="T72" fmla="*/ 34 w 38"/>
                <a:gd name="T73" fmla="*/ 8 h 45"/>
                <a:gd name="T74" fmla="*/ 38 w 38"/>
                <a:gd name="T75" fmla="*/ 8 h 45"/>
                <a:gd name="T76" fmla="*/ 38 w 38"/>
                <a:gd name="T77" fmla="*/ 5 h 45"/>
                <a:gd name="T78" fmla="*/ 36 w 38"/>
                <a:gd name="T79" fmla="*/ 0 h 45"/>
                <a:gd name="T80" fmla="*/ 34 w 38"/>
                <a:gd name="T81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8" h="45">
                  <a:moveTo>
                    <a:pt x="34" y="0"/>
                  </a:moveTo>
                  <a:lnTo>
                    <a:pt x="31" y="0"/>
                  </a:lnTo>
                  <a:lnTo>
                    <a:pt x="28" y="4"/>
                  </a:lnTo>
                  <a:lnTo>
                    <a:pt x="27" y="7"/>
                  </a:lnTo>
                  <a:lnTo>
                    <a:pt x="23" y="10"/>
                  </a:lnTo>
                  <a:lnTo>
                    <a:pt x="20" y="10"/>
                  </a:lnTo>
                  <a:lnTo>
                    <a:pt x="15" y="10"/>
                  </a:lnTo>
                  <a:lnTo>
                    <a:pt x="12" y="7"/>
                  </a:lnTo>
                  <a:lnTo>
                    <a:pt x="9" y="4"/>
                  </a:lnTo>
                  <a:lnTo>
                    <a:pt x="9" y="7"/>
                  </a:lnTo>
                  <a:lnTo>
                    <a:pt x="12" y="10"/>
                  </a:lnTo>
                  <a:lnTo>
                    <a:pt x="9" y="15"/>
                  </a:lnTo>
                  <a:lnTo>
                    <a:pt x="9" y="18"/>
                  </a:lnTo>
                  <a:lnTo>
                    <a:pt x="6" y="16"/>
                  </a:lnTo>
                  <a:lnTo>
                    <a:pt x="6" y="21"/>
                  </a:lnTo>
                  <a:lnTo>
                    <a:pt x="6" y="24"/>
                  </a:lnTo>
                  <a:lnTo>
                    <a:pt x="3" y="27"/>
                  </a:lnTo>
                  <a:lnTo>
                    <a:pt x="1" y="31"/>
                  </a:lnTo>
                  <a:lnTo>
                    <a:pt x="4" y="34"/>
                  </a:lnTo>
                  <a:lnTo>
                    <a:pt x="1" y="35"/>
                  </a:lnTo>
                  <a:lnTo>
                    <a:pt x="0" y="38"/>
                  </a:lnTo>
                  <a:lnTo>
                    <a:pt x="0" y="43"/>
                  </a:lnTo>
                  <a:lnTo>
                    <a:pt x="3" y="45"/>
                  </a:lnTo>
                  <a:lnTo>
                    <a:pt x="4" y="42"/>
                  </a:lnTo>
                  <a:lnTo>
                    <a:pt x="7" y="40"/>
                  </a:lnTo>
                  <a:lnTo>
                    <a:pt x="9" y="35"/>
                  </a:lnTo>
                  <a:lnTo>
                    <a:pt x="11" y="32"/>
                  </a:lnTo>
                  <a:lnTo>
                    <a:pt x="12" y="29"/>
                  </a:lnTo>
                  <a:lnTo>
                    <a:pt x="12" y="26"/>
                  </a:lnTo>
                  <a:lnTo>
                    <a:pt x="12" y="21"/>
                  </a:lnTo>
                  <a:lnTo>
                    <a:pt x="15" y="23"/>
                  </a:lnTo>
                  <a:lnTo>
                    <a:pt x="19" y="23"/>
                  </a:lnTo>
                  <a:lnTo>
                    <a:pt x="20" y="18"/>
                  </a:lnTo>
                  <a:lnTo>
                    <a:pt x="23" y="15"/>
                  </a:lnTo>
                  <a:lnTo>
                    <a:pt x="27" y="11"/>
                  </a:lnTo>
                  <a:lnTo>
                    <a:pt x="30" y="10"/>
                  </a:lnTo>
                  <a:lnTo>
                    <a:pt x="34" y="8"/>
                  </a:lnTo>
                  <a:lnTo>
                    <a:pt x="38" y="8"/>
                  </a:lnTo>
                  <a:lnTo>
                    <a:pt x="38" y="5"/>
                  </a:lnTo>
                  <a:lnTo>
                    <a:pt x="36" y="0"/>
                  </a:lnTo>
                  <a:lnTo>
                    <a:pt x="34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199" name="Freeform 333"/>
            <p:cNvSpPr>
              <a:spLocks/>
            </p:cNvSpPr>
            <p:nvPr/>
          </p:nvSpPr>
          <p:spPr bwMode="auto">
            <a:xfrm>
              <a:off x="8940897" y="3234668"/>
              <a:ext cx="13233" cy="22001"/>
            </a:xfrm>
            <a:custGeom>
              <a:avLst/>
              <a:gdLst>
                <a:gd name="T0" fmla="*/ 5 w 18"/>
                <a:gd name="T1" fmla="*/ 6 h 25"/>
                <a:gd name="T2" fmla="*/ 5 w 18"/>
                <a:gd name="T3" fmla="*/ 11 h 25"/>
                <a:gd name="T4" fmla="*/ 4 w 18"/>
                <a:gd name="T5" fmla="*/ 14 h 25"/>
                <a:gd name="T6" fmla="*/ 0 w 18"/>
                <a:gd name="T7" fmla="*/ 14 h 25"/>
                <a:gd name="T8" fmla="*/ 0 w 18"/>
                <a:gd name="T9" fmla="*/ 19 h 25"/>
                <a:gd name="T10" fmla="*/ 0 w 18"/>
                <a:gd name="T11" fmla="*/ 22 h 25"/>
                <a:gd name="T12" fmla="*/ 0 w 18"/>
                <a:gd name="T13" fmla="*/ 25 h 25"/>
                <a:gd name="T14" fmla="*/ 4 w 18"/>
                <a:gd name="T15" fmla="*/ 25 h 25"/>
                <a:gd name="T16" fmla="*/ 7 w 18"/>
                <a:gd name="T17" fmla="*/ 22 h 25"/>
                <a:gd name="T18" fmla="*/ 8 w 18"/>
                <a:gd name="T19" fmla="*/ 19 h 25"/>
                <a:gd name="T20" fmla="*/ 12 w 18"/>
                <a:gd name="T21" fmla="*/ 16 h 25"/>
                <a:gd name="T22" fmla="*/ 15 w 18"/>
                <a:gd name="T23" fmla="*/ 11 h 25"/>
                <a:gd name="T24" fmla="*/ 15 w 18"/>
                <a:gd name="T25" fmla="*/ 8 h 25"/>
                <a:gd name="T26" fmla="*/ 16 w 18"/>
                <a:gd name="T27" fmla="*/ 5 h 25"/>
                <a:gd name="T28" fmla="*/ 18 w 18"/>
                <a:gd name="T29" fmla="*/ 1 h 25"/>
                <a:gd name="T30" fmla="*/ 15 w 18"/>
                <a:gd name="T31" fmla="*/ 0 h 25"/>
                <a:gd name="T32" fmla="*/ 12 w 18"/>
                <a:gd name="T33" fmla="*/ 1 h 25"/>
                <a:gd name="T34" fmla="*/ 10 w 18"/>
                <a:gd name="T35" fmla="*/ 5 h 25"/>
                <a:gd name="T36" fmla="*/ 7 w 18"/>
                <a:gd name="T37" fmla="*/ 6 h 25"/>
                <a:gd name="T38" fmla="*/ 5 w 18"/>
                <a:gd name="T39" fmla="*/ 6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8" h="25">
                  <a:moveTo>
                    <a:pt x="5" y="6"/>
                  </a:moveTo>
                  <a:lnTo>
                    <a:pt x="5" y="11"/>
                  </a:lnTo>
                  <a:lnTo>
                    <a:pt x="4" y="14"/>
                  </a:lnTo>
                  <a:lnTo>
                    <a:pt x="0" y="14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0" y="25"/>
                  </a:lnTo>
                  <a:lnTo>
                    <a:pt x="4" y="25"/>
                  </a:lnTo>
                  <a:lnTo>
                    <a:pt x="7" y="22"/>
                  </a:lnTo>
                  <a:lnTo>
                    <a:pt x="8" y="19"/>
                  </a:lnTo>
                  <a:lnTo>
                    <a:pt x="12" y="16"/>
                  </a:lnTo>
                  <a:lnTo>
                    <a:pt x="15" y="11"/>
                  </a:lnTo>
                  <a:lnTo>
                    <a:pt x="15" y="8"/>
                  </a:lnTo>
                  <a:lnTo>
                    <a:pt x="16" y="5"/>
                  </a:lnTo>
                  <a:lnTo>
                    <a:pt x="18" y="1"/>
                  </a:lnTo>
                  <a:lnTo>
                    <a:pt x="15" y="0"/>
                  </a:lnTo>
                  <a:lnTo>
                    <a:pt x="12" y="1"/>
                  </a:lnTo>
                  <a:lnTo>
                    <a:pt x="10" y="5"/>
                  </a:lnTo>
                  <a:lnTo>
                    <a:pt x="7" y="6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00" name="Freeform 334"/>
            <p:cNvSpPr>
              <a:spLocks/>
            </p:cNvSpPr>
            <p:nvPr/>
          </p:nvSpPr>
          <p:spPr bwMode="auto">
            <a:xfrm>
              <a:off x="8968835" y="3204205"/>
              <a:ext cx="7352" cy="11847"/>
            </a:xfrm>
            <a:custGeom>
              <a:avLst/>
              <a:gdLst>
                <a:gd name="T0" fmla="*/ 7 w 9"/>
                <a:gd name="T1" fmla="*/ 0 h 15"/>
                <a:gd name="T2" fmla="*/ 4 w 9"/>
                <a:gd name="T3" fmla="*/ 4 h 15"/>
                <a:gd name="T4" fmla="*/ 3 w 9"/>
                <a:gd name="T5" fmla="*/ 7 h 15"/>
                <a:gd name="T6" fmla="*/ 3 w 9"/>
                <a:gd name="T7" fmla="*/ 11 h 15"/>
                <a:gd name="T8" fmla="*/ 0 w 9"/>
                <a:gd name="T9" fmla="*/ 11 h 15"/>
                <a:gd name="T10" fmla="*/ 3 w 9"/>
                <a:gd name="T11" fmla="*/ 15 h 15"/>
                <a:gd name="T12" fmla="*/ 6 w 9"/>
                <a:gd name="T13" fmla="*/ 11 h 15"/>
                <a:gd name="T14" fmla="*/ 7 w 9"/>
                <a:gd name="T15" fmla="*/ 7 h 15"/>
                <a:gd name="T16" fmla="*/ 7 w 9"/>
                <a:gd name="T17" fmla="*/ 4 h 15"/>
                <a:gd name="T18" fmla="*/ 9 w 9"/>
                <a:gd name="T19" fmla="*/ 0 h 15"/>
                <a:gd name="T20" fmla="*/ 7 w 9"/>
                <a:gd name="T2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15">
                  <a:moveTo>
                    <a:pt x="7" y="0"/>
                  </a:moveTo>
                  <a:lnTo>
                    <a:pt x="4" y="4"/>
                  </a:lnTo>
                  <a:lnTo>
                    <a:pt x="3" y="7"/>
                  </a:lnTo>
                  <a:lnTo>
                    <a:pt x="3" y="11"/>
                  </a:lnTo>
                  <a:lnTo>
                    <a:pt x="0" y="11"/>
                  </a:lnTo>
                  <a:lnTo>
                    <a:pt x="3" y="15"/>
                  </a:lnTo>
                  <a:lnTo>
                    <a:pt x="6" y="11"/>
                  </a:lnTo>
                  <a:lnTo>
                    <a:pt x="7" y="7"/>
                  </a:lnTo>
                  <a:lnTo>
                    <a:pt x="7" y="4"/>
                  </a:lnTo>
                  <a:lnTo>
                    <a:pt x="9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01" name="Freeform 335"/>
            <p:cNvSpPr>
              <a:spLocks/>
            </p:cNvSpPr>
            <p:nvPr/>
          </p:nvSpPr>
          <p:spPr bwMode="auto">
            <a:xfrm>
              <a:off x="8979128" y="3119582"/>
              <a:ext cx="7352" cy="11847"/>
            </a:xfrm>
            <a:custGeom>
              <a:avLst/>
              <a:gdLst>
                <a:gd name="T0" fmla="*/ 5 w 9"/>
                <a:gd name="T1" fmla="*/ 15 h 15"/>
                <a:gd name="T2" fmla="*/ 8 w 9"/>
                <a:gd name="T3" fmla="*/ 15 h 15"/>
                <a:gd name="T4" fmla="*/ 9 w 9"/>
                <a:gd name="T5" fmla="*/ 12 h 15"/>
                <a:gd name="T6" fmla="*/ 6 w 9"/>
                <a:gd name="T7" fmla="*/ 8 h 15"/>
                <a:gd name="T8" fmla="*/ 5 w 9"/>
                <a:gd name="T9" fmla="*/ 5 h 15"/>
                <a:gd name="T10" fmla="*/ 5 w 9"/>
                <a:gd name="T11" fmla="*/ 2 h 15"/>
                <a:gd name="T12" fmla="*/ 0 w 9"/>
                <a:gd name="T13" fmla="*/ 0 h 15"/>
                <a:gd name="T14" fmla="*/ 1 w 9"/>
                <a:gd name="T15" fmla="*/ 4 h 15"/>
                <a:gd name="T16" fmla="*/ 3 w 9"/>
                <a:gd name="T17" fmla="*/ 7 h 15"/>
                <a:gd name="T18" fmla="*/ 1 w 9"/>
                <a:gd name="T19" fmla="*/ 10 h 15"/>
                <a:gd name="T20" fmla="*/ 5 w 9"/>
                <a:gd name="T21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15">
                  <a:moveTo>
                    <a:pt x="5" y="15"/>
                  </a:moveTo>
                  <a:lnTo>
                    <a:pt x="8" y="15"/>
                  </a:lnTo>
                  <a:lnTo>
                    <a:pt x="9" y="12"/>
                  </a:lnTo>
                  <a:lnTo>
                    <a:pt x="6" y="8"/>
                  </a:lnTo>
                  <a:lnTo>
                    <a:pt x="5" y="5"/>
                  </a:lnTo>
                  <a:lnTo>
                    <a:pt x="5" y="2"/>
                  </a:lnTo>
                  <a:lnTo>
                    <a:pt x="0" y="0"/>
                  </a:lnTo>
                  <a:lnTo>
                    <a:pt x="1" y="4"/>
                  </a:lnTo>
                  <a:lnTo>
                    <a:pt x="3" y="7"/>
                  </a:lnTo>
                  <a:lnTo>
                    <a:pt x="1" y="10"/>
                  </a:lnTo>
                  <a:lnTo>
                    <a:pt x="5" y="1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02" name="Freeform 336"/>
            <p:cNvSpPr>
              <a:spLocks/>
            </p:cNvSpPr>
            <p:nvPr/>
          </p:nvSpPr>
          <p:spPr bwMode="auto">
            <a:xfrm>
              <a:off x="8980597" y="3143278"/>
              <a:ext cx="2941" cy="6770"/>
            </a:xfrm>
            <a:custGeom>
              <a:avLst/>
              <a:gdLst>
                <a:gd name="T0" fmla="*/ 0 w 4"/>
                <a:gd name="T1" fmla="*/ 8 h 8"/>
                <a:gd name="T2" fmla="*/ 4 w 4"/>
                <a:gd name="T3" fmla="*/ 3 h 8"/>
                <a:gd name="T4" fmla="*/ 2 w 4"/>
                <a:gd name="T5" fmla="*/ 0 h 8"/>
                <a:gd name="T6" fmla="*/ 2 w 4"/>
                <a:gd name="T7" fmla="*/ 3 h 8"/>
                <a:gd name="T8" fmla="*/ 0 w 4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8">
                  <a:moveTo>
                    <a:pt x="0" y="8"/>
                  </a:moveTo>
                  <a:lnTo>
                    <a:pt x="4" y="3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03" name="Freeform 337"/>
            <p:cNvSpPr>
              <a:spLocks/>
            </p:cNvSpPr>
            <p:nvPr/>
          </p:nvSpPr>
          <p:spPr bwMode="auto">
            <a:xfrm>
              <a:off x="8985009" y="3077271"/>
              <a:ext cx="8822" cy="8462"/>
            </a:xfrm>
            <a:custGeom>
              <a:avLst/>
              <a:gdLst>
                <a:gd name="T0" fmla="*/ 4 w 11"/>
                <a:gd name="T1" fmla="*/ 0 h 10"/>
                <a:gd name="T2" fmla="*/ 1 w 11"/>
                <a:gd name="T3" fmla="*/ 2 h 10"/>
                <a:gd name="T4" fmla="*/ 0 w 11"/>
                <a:gd name="T5" fmla="*/ 5 h 10"/>
                <a:gd name="T6" fmla="*/ 1 w 11"/>
                <a:gd name="T7" fmla="*/ 8 h 10"/>
                <a:gd name="T8" fmla="*/ 6 w 11"/>
                <a:gd name="T9" fmla="*/ 10 h 10"/>
                <a:gd name="T10" fmla="*/ 9 w 11"/>
                <a:gd name="T11" fmla="*/ 10 h 10"/>
                <a:gd name="T12" fmla="*/ 11 w 11"/>
                <a:gd name="T13" fmla="*/ 10 h 10"/>
                <a:gd name="T14" fmla="*/ 9 w 11"/>
                <a:gd name="T15" fmla="*/ 7 h 10"/>
                <a:gd name="T16" fmla="*/ 8 w 11"/>
                <a:gd name="T17" fmla="*/ 3 h 10"/>
                <a:gd name="T18" fmla="*/ 4 w 11"/>
                <a:gd name="T1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0">
                  <a:moveTo>
                    <a:pt x="4" y="0"/>
                  </a:moveTo>
                  <a:lnTo>
                    <a:pt x="1" y="2"/>
                  </a:lnTo>
                  <a:lnTo>
                    <a:pt x="0" y="5"/>
                  </a:lnTo>
                  <a:lnTo>
                    <a:pt x="1" y="8"/>
                  </a:lnTo>
                  <a:lnTo>
                    <a:pt x="6" y="10"/>
                  </a:lnTo>
                  <a:lnTo>
                    <a:pt x="9" y="10"/>
                  </a:lnTo>
                  <a:lnTo>
                    <a:pt x="11" y="10"/>
                  </a:lnTo>
                  <a:lnTo>
                    <a:pt x="9" y="7"/>
                  </a:lnTo>
                  <a:lnTo>
                    <a:pt x="8" y="3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04" name="Freeform 338"/>
            <p:cNvSpPr>
              <a:spLocks/>
            </p:cNvSpPr>
            <p:nvPr/>
          </p:nvSpPr>
          <p:spPr bwMode="auto">
            <a:xfrm>
              <a:off x="8473323" y="2449381"/>
              <a:ext cx="8822" cy="3385"/>
            </a:xfrm>
            <a:custGeom>
              <a:avLst/>
              <a:gdLst>
                <a:gd name="T0" fmla="*/ 12 w 12"/>
                <a:gd name="T1" fmla="*/ 5 h 5"/>
                <a:gd name="T2" fmla="*/ 8 w 12"/>
                <a:gd name="T3" fmla="*/ 3 h 5"/>
                <a:gd name="T4" fmla="*/ 4 w 12"/>
                <a:gd name="T5" fmla="*/ 2 h 5"/>
                <a:gd name="T6" fmla="*/ 0 w 12"/>
                <a:gd name="T7" fmla="*/ 0 h 5"/>
                <a:gd name="T8" fmla="*/ 4 w 12"/>
                <a:gd name="T9" fmla="*/ 3 h 5"/>
                <a:gd name="T10" fmla="*/ 7 w 12"/>
                <a:gd name="T11" fmla="*/ 5 h 5"/>
                <a:gd name="T12" fmla="*/ 12 w 12"/>
                <a:gd name="T13" fmla="*/ 5 h 5"/>
                <a:gd name="T14" fmla="*/ 12 w 12"/>
                <a:gd name="T1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" h="5">
                  <a:moveTo>
                    <a:pt x="12" y="5"/>
                  </a:moveTo>
                  <a:lnTo>
                    <a:pt x="8" y="3"/>
                  </a:lnTo>
                  <a:lnTo>
                    <a:pt x="4" y="2"/>
                  </a:lnTo>
                  <a:lnTo>
                    <a:pt x="0" y="0"/>
                  </a:lnTo>
                  <a:lnTo>
                    <a:pt x="4" y="3"/>
                  </a:lnTo>
                  <a:lnTo>
                    <a:pt x="7" y="5"/>
                  </a:lnTo>
                  <a:lnTo>
                    <a:pt x="12" y="5"/>
                  </a:lnTo>
                  <a:lnTo>
                    <a:pt x="12" y="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05" name="Freeform 339"/>
            <p:cNvSpPr>
              <a:spLocks/>
            </p:cNvSpPr>
            <p:nvPr/>
          </p:nvSpPr>
          <p:spPr bwMode="auto">
            <a:xfrm>
              <a:off x="8649765" y="2476460"/>
              <a:ext cx="36759" cy="13540"/>
            </a:xfrm>
            <a:custGeom>
              <a:avLst/>
              <a:gdLst>
                <a:gd name="T0" fmla="*/ 3 w 51"/>
                <a:gd name="T1" fmla="*/ 0 h 16"/>
                <a:gd name="T2" fmla="*/ 0 w 51"/>
                <a:gd name="T3" fmla="*/ 3 h 16"/>
                <a:gd name="T4" fmla="*/ 5 w 51"/>
                <a:gd name="T5" fmla="*/ 6 h 16"/>
                <a:gd name="T6" fmla="*/ 8 w 51"/>
                <a:gd name="T7" fmla="*/ 8 h 16"/>
                <a:gd name="T8" fmla="*/ 13 w 51"/>
                <a:gd name="T9" fmla="*/ 8 h 16"/>
                <a:gd name="T10" fmla="*/ 16 w 51"/>
                <a:gd name="T11" fmla="*/ 9 h 16"/>
                <a:gd name="T12" fmla="*/ 21 w 51"/>
                <a:gd name="T13" fmla="*/ 11 h 16"/>
                <a:gd name="T14" fmla="*/ 24 w 51"/>
                <a:gd name="T15" fmla="*/ 11 h 16"/>
                <a:gd name="T16" fmla="*/ 36 w 51"/>
                <a:gd name="T17" fmla="*/ 14 h 16"/>
                <a:gd name="T18" fmla="*/ 51 w 51"/>
                <a:gd name="T19" fmla="*/ 16 h 16"/>
                <a:gd name="T20" fmla="*/ 49 w 51"/>
                <a:gd name="T21" fmla="*/ 11 h 16"/>
                <a:gd name="T22" fmla="*/ 46 w 51"/>
                <a:gd name="T23" fmla="*/ 9 h 16"/>
                <a:gd name="T24" fmla="*/ 44 w 51"/>
                <a:gd name="T25" fmla="*/ 6 h 16"/>
                <a:gd name="T26" fmla="*/ 41 w 51"/>
                <a:gd name="T27" fmla="*/ 5 h 16"/>
                <a:gd name="T28" fmla="*/ 36 w 51"/>
                <a:gd name="T29" fmla="*/ 5 h 16"/>
                <a:gd name="T30" fmla="*/ 33 w 51"/>
                <a:gd name="T31" fmla="*/ 3 h 16"/>
                <a:gd name="T32" fmla="*/ 30 w 51"/>
                <a:gd name="T33" fmla="*/ 3 h 16"/>
                <a:gd name="T34" fmla="*/ 25 w 51"/>
                <a:gd name="T35" fmla="*/ 3 h 16"/>
                <a:gd name="T36" fmla="*/ 22 w 51"/>
                <a:gd name="T37" fmla="*/ 1 h 16"/>
                <a:gd name="T38" fmla="*/ 19 w 51"/>
                <a:gd name="T39" fmla="*/ 1 h 16"/>
                <a:gd name="T40" fmla="*/ 14 w 51"/>
                <a:gd name="T41" fmla="*/ 0 h 16"/>
                <a:gd name="T42" fmla="*/ 11 w 51"/>
                <a:gd name="T43" fmla="*/ 0 h 16"/>
                <a:gd name="T44" fmla="*/ 6 w 51"/>
                <a:gd name="T45" fmla="*/ 0 h 16"/>
                <a:gd name="T46" fmla="*/ 3 w 51"/>
                <a:gd name="T4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1" h="16">
                  <a:moveTo>
                    <a:pt x="3" y="0"/>
                  </a:moveTo>
                  <a:lnTo>
                    <a:pt x="0" y="3"/>
                  </a:lnTo>
                  <a:lnTo>
                    <a:pt x="5" y="6"/>
                  </a:lnTo>
                  <a:lnTo>
                    <a:pt x="8" y="8"/>
                  </a:lnTo>
                  <a:lnTo>
                    <a:pt x="13" y="8"/>
                  </a:lnTo>
                  <a:lnTo>
                    <a:pt x="16" y="9"/>
                  </a:lnTo>
                  <a:lnTo>
                    <a:pt x="21" y="11"/>
                  </a:lnTo>
                  <a:lnTo>
                    <a:pt x="24" y="11"/>
                  </a:lnTo>
                  <a:lnTo>
                    <a:pt x="36" y="14"/>
                  </a:lnTo>
                  <a:lnTo>
                    <a:pt x="51" y="16"/>
                  </a:lnTo>
                  <a:lnTo>
                    <a:pt x="49" y="11"/>
                  </a:lnTo>
                  <a:lnTo>
                    <a:pt x="46" y="9"/>
                  </a:lnTo>
                  <a:lnTo>
                    <a:pt x="44" y="6"/>
                  </a:lnTo>
                  <a:lnTo>
                    <a:pt x="41" y="5"/>
                  </a:lnTo>
                  <a:lnTo>
                    <a:pt x="36" y="5"/>
                  </a:lnTo>
                  <a:lnTo>
                    <a:pt x="33" y="3"/>
                  </a:lnTo>
                  <a:lnTo>
                    <a:pt x="30" y="3"/>
                  </a:lnTo>
                  <a:lnTo>
                    <a:pt x="25" y="3"/>
                  </a:lnTo>
                  <a:lnTo>
                    <a:pt x="22" y="1"/>
                  </a:lnTo>
                  <a:lnTo>
                    <a:pt x="19" y="1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06" name="Freeform 340"/>
            <p:cNvSpPr>
              <a:spLocks/>
            </p:cNvSpPr>
            <p:nvPr/>
          </p:nvSpPr>
          <p:spPr bwMode="auto">
            <a:xfrm>
              <a:off x="8810036" y="2430764"/>
              <a:ext cx="69107" cy="22001"/>
            </a:xfrm>
            <a:custGeom>
              <a:avLst/>
              <a:gdLst>
                <a:gd name="T0" fmla="*/ 11 w 95"/>
                <a:gd name="T1" fmla="*/ 3 h 27"/>
                <a:gd name="T2" fmla="*/ 5 w 95"/>
                <a:gd name="T3" fmla="*/ 8 h 27"/>
                <a:gd name="T4" fmla="*/ 0 w 95"/>
                <a:gd name="T5" fmla="*/ 13 h 27"/>
                <a:gd name="T6" fmla="*/ 0 w 95"/>
                <a:gd name="T7" fmla="*/ 16 h 27"/>
                <a:gd name="T8" fmla="*/ 2 w 95"/>
                <a:gd name="T9" fmla="*/ 17 h 27"/>
                <a:gd name="T10" fmla="*/ 5 w 95"/>
                <a:gd name="T11" fmla="*/ 21 h 27"/>
                <a:gd name="T12" fmla="*/ 10 w 95"/>
                <a:gd name="T13" fmla="*/ 22 h 27"/>
                <a:gd name="T14" fmla="*/ 13 w 95"/>
                <a:gd name="T15" fmla="*/ 24 h 27"/>
                <a:gd name="T16" fmla="*/ 18 w 95"/>
                <a:gd name="T17" fmla="*/ 25 h 27"/>
                <a:gd name="T18" fmla="*/ 21 w 95"/>
                <a:gd name="T19" fmla="*/ 27 h 27"/>
                <a:gd name="T20" fmla="*/ 24 w 95"/>
                <a:gd name="T21" fmla="*/ 24 h 27"/>
                <a:gd name="T22" fmla="*/ 29 w 95"/>
                <a:gd name="T23" fmla="*/ 24 h 27"/>
                <a:gd name="T24" fmla="*/ 32 w 95"/>
                <a:gd name="T25" fmla="*/ 24 h 27"/>
                <a:gd name="T26" fmla="*/ 35 w 95"/>
                <a:gd name="T27" fmla="*/ 24 h 27"/>
                <a:gd name="T28" fmla="*/ 40 w 95"/>
                <a:gd name="T29" fmla="*/ 21 h 27"/>
                <a:gd name="T30" fmla="*/ 51 w 95"/>
                <a:gd name="T31" fmla="*/ 22 h 27"/>
                <a:gd name="T32" fmla="*/ 65 w 95"/>
                <a:gd name="T33" fmla="*/ 24 h 27"/>
                <a:gd name="T34" fmla="*/ 68 w 95"/>
                <a:gd name="T35" fmla="*/ 22 h 27"/>
                <a:gd name="T36" fmla="*/ 73 w 95"/>
                <a:gd name="T37" fmla="*/ 22 h 27"/>
                <a:gd name="T38" fmla="*/ 76 w 95"/>
                <a:gd name="T39" fmla="*/ 21 h 27"/>
                <a:gd name="T40" fmla="*/ 81 w 95"/>
                <a:gd name="T41" fmla="*/ 19 h 27"/>
                <a:gd name="T42" fmla="*/ 84 w 95"/>
                <a:gd name="T43" fmla="*/ 19 h 27"/>
                <a:gd name="T44" fmla="*/ 87 w 95"/>
                <a:gd name="T45" fmla="*/ 19 h 27"/>
                <a:gd name="T46" fmla="*/ 91 w 95"/>
                <a:gd name="T47" fmla="*/ 19 h 27"/>
                <a:gd name="T48" fmla="*/ 95 w 95"/>
                <a:gd name="T49" fmla="*/ 16 h 27"/>
                <a:gd name="T50" fmla="*/ 92 w 95"/>
                <a:gd name="T51" fmla="*/ 13 h 27"/>
                <a:gd name="T52" fmla="*/ 87 w 95"/>
                <a:gd name="T53" fmla="*/ 11 h 27"/>
                <a:gd name="T54" fmla="*/ 84 w 95"/>
                <a:gd name="T55" fmla="*/ 11 h 27"/>
                <a:gd name="T56" fmla="*/ 81 w 95"/>
                <a:gd name="T57" fmla="*/ 9 h 27"/>
                <a:gd name="T58" fmla="*/ 76 w 95"/>
                <a:gd name="T59" fmla="*/ 8 h 27"/>
                <a:gd name="T60" fmla="*/ 65 w 95"/>
                <a:gd name="T61" fmla="*/ 5 h 27"/>
                <a:gd name="T62" fmla="*/ 53 w 95"/>
                <a:gd name="T63" fmla="*/ 2 h 27"/>
                <a:gd name="T64" fmla="*/ 43 w 95"/>
                <a:gd name="T65" fmla="*/ 2 h 27"/>
                <a:gd name="T66" fmla="*/ 34 w 95"/>
                <a:gd name="T67" fmla="*/ 0 h 27"/>
                <a:gd name="T68" fmla="*/ 29 w 95"/>
                <a:gd name="T69" fmla="*/ 2 h 27"/>
                <a:gd name="T70" fmla="*/ 26 w 95"/>
                <a:gd name="T71" fmla="*/ 2 h 27"/>
                <a:gd name="T72" fmla="*/ 21 w 95"/>
                <a:gd name="T73" fmla="*/ 2 h 27"/>
                <a:gd name="T74" fmla="*/ 18 w 95"/>
                <a:gd name="T75" fmla="*/ 0 h 27"/>
                <a:gd name="T76" fmla="*/ 15 w 95"/>
                <a:gd name="T77" fmla="*/ 0 h 27"/>
                <a:gd name="T78" fmla="*/ 11 w 95"/>
                <a:gd name="T79" fmla="*/ 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95" h="27">
                  <a:moveTo>
                    <a:pt x="11" y="3"/>
                  </a:moveTo>
                  <a:lnTo>
                    <a:pt x="5" y="8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2" y="17"/>
                  </a:lnTo>
                  <a:lnTo>
                    <a:pt x="5" y="21"/>
                  </a:lnTo>
                  <a:lnTo>
                    <a:pt x="10" y="22"/>
                  </a:lnTo>
                  <a:lnTo>
                    <a:pt x="13" y="24"/>
                  </a:lnTo>
                  <a:lnTo>
                    <a:pt x="18" y="25"/>
                  </a:lnTo>
                  <a:lnTo>
                    <a:pt x="21" y="27"/>
                  </a:lnTo>
                  <a:lnTo>
                    <a:pt x="24" y="24"/>
                  </a:lnTo>
                  <a:lnTo>
                    <a:pt x="29" y="24"/>
                  </a:lnTo>
                  <a:lnTo>
                    <a:pt x="32" y="24"/>
                  </a:lnTo>
                  <a:lnTo>
                    <a:pt x="35" y="24"/>
                  </a:lnTo>
                  <a:lnTo>
                    <a:pt x="40" y="21"/>
                  </a:lnTo>
                  <a:lnTo>
                    <a:pt x="51" y="22"/>
                  </a:lnTo>
                  <a:lnTo>
                    <a:pt x="65" y="24"/>
                  </a:lnTo>
                  <a:lnTo>
                    <a:pt x="68" y="22"/>
                  </a:lnTo>
                  <a:lnTo>
                    <a:pt x="73" y="22"/>
                  </a:lnTo>
                  <a:lnTo>
                    <a:pt x="76" y="21"/>
                  </a:lnTo>
                  <a:lnTo>
                    <a:pt x="81" y="19"/>
                  </a:lnTo>
                  <a:lnTo>
                    <a:pt x="84" y="19"/>
                  </a:lnTo>
                  <a:lnTo>
                    <a:pt x="87" y="19"/>
                  </a:lnTo>
                  <a:lnTo>
                    <a:pt x="91" y="19"/>
                  </a:lnTo>
                  <a:lnTo>
                    <a:pt x="95" y="16"/>
                  </a:lnTo>
                  <a:lnTo>
                    <a:pt x="92" y="13"/>
                  </a:lnTo>
                  <a:lnTo>
                    <a:pt x="87" y="11"/>
                  </a:lnTo>
                  <a:lnTo>
                    <a:pt x="84" y="11"/>
                  </a:lnTo>
                  <a:lnTo>
                    <a:pt x="81" y="9"/>
                  </a:lnTo>
                  <a:lnTo>
                    <a:pt x="76" y="8"/>
                  </a:lnTo>
                  <a:lnTo>
                    <a:pt x="65" y="5"/>
                  </a:lnTo>
                  <a:lnTo>
                    <a:pt x="53" y="2"/>
                  </a:lnTo>
                  <a:lnTo>
                    <a:pt x="43" y="2"/>
                  </a:lnTo>
                  <a:lnTo>
                    <a:pt x="34" y="0"/>
                  </a:lnTo>
                  <a:lnTo>
                    <a:pt x="29" y="2"/>
                  </a:lnTo>
                  <a:lnTo>
                    <a:pt x="26" y="2"/>
                  </a:lnTo>
                  <a:lnTo>
                    <a:pt x="21" y="2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1" y="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07" name="Freeform 341"/>
            <p:cNvSpPr>
              <a:spLocks/>
            </p:cNvSpPr>
            <p:nvPr/>
          </p:nvSpPr>
          <p:spPr bwMode="auto">
            <a:xfrm>
              <a:off x="8926194" y="2804792"/>
              <a:ext cx="20585" cy="23694"/>
            </a:xfrm>
            <a:custGeom>
              <a:avLst/>
              <a:gdLst>
                <a:gd name="T0" fmla="*/ 6 w 28"/>
                <a:gd name="T1" fmla="*/ 26 h 27"/>
                <a:gd name="T2" fmla="*/ 11 w 28"/>
                <a:gd name="T3" fmla="*/ 27 h 27"/>
                <a:gd name="T4" fmla="*/ 13 w 28"/>
                <a:gd name="T5" fmla="*/ 23 h 27"/>
                <a:gd name="T6" fmla="*/ 17 w 28"/>
                <a:gd name="T7" fmla="*/ 18 h 27"/>
                <a:gd name="T8" fmla="*/ 22 w 28"/>
                <a:gd name="T9" fmla="*/ 15 h 27"/>
                <a:gd name="T10" fmla="*/ 28 w 28"/>
                <a:gd name="T11" fmla="*/ 13 h 27"/>
                <a:gd name="T12" fmla="*/ 27 w 28"/>
                <a:gd name="T13" fmla="*/ 10 h 27"/>
                <a:gd name="T14" fmla="*/ 24 w 28"/>
                <a:gd name="T15" fmla="*/ 7 h 27"/>
                <a:gd name="T16" fmla="*/ 20 w 28"/>
                <a:gd name="T17" fmla="*/ 5 h 27"/>
                <a:gd name="T18" fmla="*/ 17 w 28"/>
                <a:gd name="T19" fmla="*/ 2 h 27"/>
                <a:gd name="T20" fmla="*/ 14 w 28"/>
                <a:gd name="T21" fmla="*/ 0 h 27"/>
                <a:gd name="T22" fmla="*/ 11 w 28"/>
                <a:gd name="T23" fmla="*/ 4 h 27"/>
                <a:gd name="T24" fmla="*/ 6 w 28"/>
                <a:gd name="T25" fmla="*/ 5 h 27"/>
                <a:gd name="T26" fmla="*/ 3 w 28"/>
                <a:gd name="T27" fmla="*/ 7 h 27"/>
                <a:gd name="T28" fmla="*/ 0 w 28"/>
                <a:gd name="T29" fmla="*/ 8 h 27"/>
                <a:gd name="T30" fmla="*/ 3 w 28"/>
                <a:gd name="T31" fmla="*/ 8 h 27"/>
                <a:gd name="T32" fmla="*/ 3 w 28"/>
                <a:gd name="T33" fmla="*/ 12 h 27"/>
                <a:gd name="T34" fmla="*/ 6 w 28"/>
                <a:gd name="T35" fmla="*/ 15 h 27"/>
                <a:gd name="T36" fmla="*/ 8 w 28"/>
                <a:gd name="T37" fmla="*/ 19 h 27"/>
                <a:gd name="T38" fmla="*/ 9 w 28"/>
                <a:gd name="T39" fmla="*/ 23 h 27"/>
                <a:gd name="T40" fmla="*/ 6 w 28"/>
                <a:gd name="T41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" h="27">
                  <a:moveTo>
                    <a:pt x="6" y="26"/>
                  </a:moveTo>
                  <a:lnTo>
                    <a:pt x="11" y="27"/>
                  </a:lnTo>
                  <a:lnTo>
                    <a:pt x="13" y="23"/>
                  </a:lnTo>
                  <a:lnTo>
                    <a:pt x="17" y="18"/>
                  </a:lnTo>
                  <a:lnTo>
                    <a:pt x="22" y="15"/>
                  </a:lnTo>
                  <a:lnTo>
                    <a:pt x="28" y="13"/>
                  </a:lnTo>
                  <a:lnTo>
                    <a:pt x="27" y="10"/>
                  </a:lnTo>
                  <a:lnTo>
                    <a:pt x="24" y="7"/>
                  </a:lnTo>
                  <a:lnTo>
                    <a:pt x="20" y="5"/>
                  </a:lnTo>
                  <a:lnTo>
                    <a:pt x="17" y="2"/>
                  </a:lnTo>
                  <a:lnTo>
                    <a:pt x="14" y="0"/>
                  </a:lnTo>
                  <a:lnTo>
                    <a:pt x="11" y="4"/>
                  </a:lnTo>
                  <a:lnTo>
                    <a:pt x="6" y="5"/>
                  </a:lnTo>
                  <a:lnTo>
                    <a:pt x="3" y="7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12"/>
                  </a:lnTo>
                  <a:lnTo>
                    <a:pt x="6" y="15"/>
                  </a:lnTo>
                  <a:lnTo>
                    <a:pt x="8" y="19"/>
                  </a:lnTo>
                  <a:lnTo>
                    <a:pt x="9" y="23"/>
                  </a:lnTo>
                  <a:lnTo>
                    <a:pt x="6" y="26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08" name="Freeform 342"/>
            <p:cNvSpPr>
              <a:spLocks/>
            </p:cNvSpPr>
            <p:nvPr/>
          </p:nvSpPr>
          <p:spPr bwMode="auto">
            <a:xfrm>
              <a:off x="9080582" y="2930031"/>
              <a:ext cx="35289" cy="22001"/>
            </a:xfrm>
            <a:custGeom>
              <a:avLst/>
              <a:gdLst>
                <a:gd name="T0" fmla="*/ 11 w 47"/>
                <a:gd name="T1" fmla="*/ 1 h 25"/>
                <a:gd name="T2" fmla="*/ 8 w 47"/>
                <a:gd name="T3" fmla="*/ 1 h 25"/>
                <a:gd name="T4" fmla="*/ 3 w 47"/>
                <a:gd name="T5" fmla="*/ 0 h 25"/>
                <a:gd name="T6" fmla="*/ 0 w 47"/>
                <a:gd name="T7" fmla="*/ 1 h 25"/>
                <a:gd name="T8" fmla="*/ 11 w 47"/>
                <a:gd name="T9" fmla="*/ 8 h 25"/>
                <a:gd name="T10" fmla="*/ 22 w 47"/>
                <a:gd name="T11" fmla="*/ 14 h 25"/>
                <a:gd name="T12" fmla="*/ 35 w 47"/>
                <a:gd name="T13" fmla="*/ 20 h 25"/>
                <a:gd name="T14" fmla="*/ 47 w 47"/>
                <a:gd name="T15" fmla="*/ 25 h 25"/>
                <a:gd name="T16" fmla="*/ 43 w 47"/>
                <a:gd name="T17" fmla="*/ 20 h 25"/>
                <a:gd name="T18" fmla="*/ 39 w 47"/>
                <a:gd name="T19" fmla="*/ 17 h 25"/>
                <a:gd name="T20" fmla="*/ 35 w 47"/>
                <a:gd name="T21" fmla="*/ 16 h 25"/>
                <a:gd name="T22" fmla="*/ 30 w 47"/>
                <a:gd name="T23" fmla="*/ 14 h 25"/>
                <a:gd name="T24" fmla="*/ 27 w 47"/>
                <a:gd name="T25" fmla="*/ 13 h 25"/>
                <a:gd name="T26" fmla="*/ 24 w 47"/>
                <a:gd name="T27" fmla="*/ 11 h 25"/>
                <a:gd name="T28" fmla="*/ 19 w 47"/>
                <a:gd name="T29" fmla="*/ 8 h 25"/>
                <a:gd name="T30" fmla="*/ 16 w 47"/>
                <a:gd name="T31" fmla="*/ 6 h 25"/>
                <a:gd name="T32" fmla="*/ 14 w 47"/>
                <a:gd name="T33" fmla="*/ 1 h 25"/>
                <a:gd name="T34" fmla="*/ 11 w 47"/>
                <a:gd name="T35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7" h="25">
                  <a:moveTo>
                    <a:pt x="11" y="1"/>
                  </a:moveTo>
                  <a:lnTo>
                    <a:pt x="8" y="1"/>
                  </a:lnTo>
                  <a:lnTo>
                    <a:pt x="3" y="0"/>
                  </a:lnTo>
                  <a:lnTo>
                    <a:pt x="0" y="1"/>
                  </a:lnTo>
                  <a:lnTo>
                    <a:pt x="11" y="8"/>
                  </a:lnTo>
                  <a:lnTo>
                    <a:pt x="22" y="14"/>
                  </a:lnTo>
                  <a:lnTo>
                    <a:pt x="35" y="20"/>
                  </a:lnTo>
                  <a:lnTo>
                    <a:pt x="47" y="25"/>
                  </a:lnTo>
                  <a:lnTo>
                    <a:pt x="43" y="20"/>
                  </a:lnTo>
                  <a:lnTo>
                    <a:pt x="39" y="17"/>
                  </a:lnTo>
                  <a:lnTo>
                    <a:pt x="35" y="16"/>
                  </a:lnTo>
                  <a:lnTo>
                    <a:pt x="30" y="14"/>
                  </a:lnTo>
                  <a:lnTo>
                    <a:pt x="27" y="13"/>
                  </a:lnTo>
                  <a:lnTo>
                    <a:pt x="24" y="11"/>
                  </a:lnTo>
                  <a:lnTo>
                    <a:pt x="19" y="8"/>
                  </a:lnTo>
                  <a:lnTo>
                    <a:pt x="16" y="6"/>
                  </a:lnTo>
                  <a:lnTo>
                    <a:pt x="14" y="1"/>
                  </a:lnTo>
                  <a:lnTo>
                    <a:pt x="11" y="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09" name="Freeform 343"/>
            <p:cNvSpPr>
              <a:spLocks/>
            </p:cNvSpPr>
            <p:nvPr/>
          </p:nvSpPr>
          <p:spPr bwMode="auto">
            <a:xfrm>
              <a:off x="9129104" y="2945263"/>
              <a:ext cx="24997" cy="11847"/>
            </a:xfrm>
            <a:custGeom>
              <a:avLst/>
              <a:gdLst>
                <a:gd name="T0" fmla="*/ 0 w 33"/>
                <a:gd name="T1" fmla="*/ 0 h 13"/>
                <a:gd name="T2" fmla="*/ 16 w 33"/>
                <a:gd name="T3" fmla="*/ 6 h 13"/>
                <a:gd name="T4" fmla="*/ 33 w 33"/>
                <a:gd name="T5" fmla="*/ 13 h 13"/>
                <a:gd name="T6" fmla="*/ 24 w 33"/>
                <a:gd name="T7" fmla="*/ 9 h 13"/>
                <a:gd name="T8" fmla="*/ 14 w 33"/>
                <a:gd name="T9" fmla="*/ 5 h 13"/>
                <a:gd name="T10" fmla="*/ 6 w 33"/>
                <a:gd name="T11" fmla="*/ 1 h 13"/>
                <a:gd name="T12" fmla="*/ 0 w 33"/>
                <a:gd name="T1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16" y="6"/>
                  </a:lnTo>
                  <a:lnTo>
                    <a:pt x="33" y="13"/>
                  </a:lnTo>
                  <a:lnTo>
                    <a:pt x="24" y="9"/>
                  </a:lnTo>
                  <a:lnTo>
                    <a:pt x="14" y="5"/>
                  </a:lnTo>
                  <a:lnTo>
                    <a:pt x="6" y="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10" name="Freeform 344"/>
            <p:cNvSpPr>
              <a:spLocks/>
            </p:cNvSpPr>
            <p:nvPr/>
          </p:nvSpPr>
          <p:spPr bwMode="auto">
            <a:xfrm>
              <a:off x="9221737" y="2628779"/>
              <a:ext cx="8822" cy="6770"/>
            </a:xfrm>
            <a:custGeom>
              <a:avLst/>
              <a:gdLst>
                <a:gd name="T0" fmla="*/ 0 w 11"/>
                <a:gd name="T1" fmla="*/ 4 h 6"/>
                <a:gd name="T2" fmla="*/ 3 w 11"/>
                <a:gd name="T3" fmla="*/ 6 h 6"/>
                <a:gd name="T4" fmla="*/ 6 w 11"/>
                <a:gd name="T5" fmla="*/ 4 h 6"/>
                <a:gd name="T6" fmla="*/ 11 w 11"/>
                <a:gd name="T7" fmla="*/ 3 h 6"/>
                <a:gd name="T8" fmla="*/ 6 w 11"/>
                <a:gd name="T9" fmla="*/ 1 h 6"/>
                <a:gd name="T10" fmla="*/ 3 w 11"/>
                <a:gd name="T11" fmla="*/ 0 h 6"/>
                <a:gd name="T12" fmla="*/ 0 w 11"/>
                <a:gd name="T13" fmla="*/ 0 h 6"/>
                <a:gd name="T14" fmla="*/ 0 w 11"/>
                <a:gd name="T15" fmla="*/ 3 h 6"/>
                <a:gd name="T16" fmla="*/ 0 w 11"/>
                <a:gd name="T17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6">
                  <a:moveTo>
                    <a:pt x="0" y="4"/>
                  </a:moveTo>
                  <a:lnTo>
                    <a:pt x="3" y="6"/>
                  </a:lnTo>
                  <a:lnTo>
                    <a:pt x="6" y="4"/>
                  </a:lnTo>
                  <a:lnTo>
                    <a:pt x="11" y="3"/>
                  </a:lnTo>
                  <a:lnTo>
                    <a:pt x="6" y="1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11" name="Freeform 345"/>
            <p:cNvSpPr>
              <a:spLocks/>
            </p:cNvSpPr>
            <p:nvPr/>
          </p:nvSpPr>
          <p:spPr bwMode="auto">
            <a:xfrm>
              <a:off x="9221737" y="2635547"/>
              <a:ext cx="5881" cy="1692"/>
            </a:xfrm>
            <a:custGeom>
              <a:avLst/>
              <a:gdLst>
                <a:gd name="T0" fmla="*/ 0 w 8"/>
                <a:gd name="T1" fmla="*/ 0 h 3"/>
                <a:gd name="T2" fmla="*/ 4 w 8"/>
                <a:gd name="T3" fmla="*/ 2 h 3"/>
                <a:gd name="T4" fmla="*/ 8 w 8"/>
                <a:gd name="T5" fmla="*/ 3 h 3"/>
                <a:gd name="T6" fmla="*/ 3 w 8"/>
                <a:gd name="T7" fmla="*/ 0 h 3"/>
                <a:gd name="T8" fmla="*/ 0 w 8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">
                  <a:moveTo>
                    <a:pt x="0" y="0"/>
                  </a:moveTo>
                  <a:lnTo>
                    <a:pt x="4" y="2"/>
                  </a:lnTo>
                  <a:lnTo>
                    <a:pt x="8" y="3"/>
                  </a:lnTo>
                  <a:lnTo>
                    <a:pt x="3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12" name="Freeform 346"/>
            <p:cNvSpPr>
              <a:spLocks/>
            </p:cNvSpPr>
            <p:nvPr/>
          </p:nvSpPr>
          <p:spPr bwMode="auto">
            <a:xfrm>
              <a:off x="8904140" y="2782790"/>
              <a:ext cx="2941" cy="1692"/>
            </a:xfrm>
            <a:custGeom>
              <a:avLst/>
              <a:gdLst>
                <a:gd name="T0" fmla="*/ 0 w 4"/>
                <a:gd name="T1" fmla="*/ 0 h 4"/>
                <a:gd name="T2" fmla="*/ 4 w 4"/>
                <a:gd name="T3" fmla="*/ 4 h 4"/>
                <a:gd name="T4" fmla="*/ 0 w 4"/>
                <a:gd name="T5" fmla="*/ 2 h 4"/>
                <a:gd name="T6" fmla="*/ 0 w 4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4">
                  <a:moveTo>
                    <a:pt x="0" y="0"/>
                  </a:moveTo>
                  <a:lnTo>
                    <a:pt x="4" y="4"/>
                  </a:lnTo>
                  <a:lnTo>
                    <a:pt x="0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13" name="Freeform 347"/>
            <p:cNvSpPr>
              <a:spLocks/>
            </p:cNvSpPr>
            <p:nvPr/>
          </p:nvSpPr>
          <p:spPr bwMode="auto">
            <a:xfrm>
              <a:off x="9299666" y="3007882"/>
              <a:ext cx="23525" cy="8462"/>
            </a:xfrm>
            <a:custGeom>
              <a:avLst/>
              <a:gdLst>
                <a:gd name="T0" fmla="*/ 21 w 32"/>
                <a:gd name="T1" fmla="*/ 9 h 9"/>
                <a:gd name="T2" fmla="*/ 21 w 32"/>
                <a:gd name="T3" fmla="*/ 6 h 9"/>
                <a:gd name="T4" fmla="*/ 26 w 32"/>
                <a:gd name="T5" fmla="*/ 5 h 9"/>
                <a:gd name="T6" fmla="*/ 29 w 32"/>
                <a:gd name="T7" fmla="*/ 6 h 9"/>
                <a:gd name="T8" fmla="*/ 32 w 32"/>
                <a:gd name="T9" fmla="*/ 6 h 9"/>
                <a:gd name="T10" fmla="*/ 29 w 32"/>
                <a:gd name="T11" fmla="*/ 5 h 9"/>
                <a:gd name="T12" fmla="*/ 26 w 32"/>
                <a:gd name="T13" fmla="*/ 3 h 9"/>
                <a:gd name="T14" fmla="*/ 21 w 32"/>
                <a:gd name="T15" fmla="*/ 1 h 9"/>
                <a:gd name="T16" fmla="*/ 18 w 32"/>
                <a:gd name="T17" fmla="*/ 0 h 9"/>
                <a:gd name="T18" fmla="*/ 15 w 32"/>
                <a:gd name="T19" fmla="*/ 0 h 9"/>
                <a:gd name="T20" fmla="*/ 11 w 32"/>
                <a:gd name="T21" fmla="*/ 0 h 9"/>
                <a:gd name="T22" fmla="*/ 8 w 32"/>
                <a:gd name="T23" fmla="*/ 0 h 9"/>
                <a:gd name="T24" fmla="*/ 4 w 32"/>
                <a:gd name="T25" fmla="*/ 0 h 9"/>
                <a:gd name="T26" fmla="*/ 0 w 32"/>
                <a:gd name="T27" fmla="*/ 3 h 9"/>
                <a:gd name="T28" fmla="*/ 4 w 32"/>
                <a:gd name="T29" fmla="*/ 3 h 9"/>
                <a:gd name="T30" fmla="*/ 8 w 32"/>
                <a:gd name="T31" fmla="*/ 5 h 9"/>
                <a:gd name="T32" fmla="*/ 11 w 32"/>
                <a:gd name="T33" fmla="*/ 3 h 9"/>
                <a:gd name="T34" fmla="*/ 13 w 32"/>
                <a:gd name="T35" fmla="*/ 8 h 9"/>
                <a:gd name="T36" fmla="*/ 16 w 32"/>
                <a:gd name="T37" fmla="*/ 8 h 9"/>
                <a:gd name="T38" fmla="*/ 21 w 32"/>
                <a:gd name="T3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2" h="9">
                  <a:moveTo>
                    <a:pt x="21" y="9"/>
                  </a:moveTo>
                  <a:lnTo>
                    <a:pt x="21" y="6"/>
                  </a:lnTo>
                  <a:lnTo>
                    <a:pt x="26" y="5"/>
                  </a:lnTo>
                  <a:lnTo>
                    <a:pt x="29" y="6"/>
                  </a:lnTo>
                  <a:lnTo>
                    <a:pt x="32" y="6"/>
                  </a:lnTo>
                  <a:lnTo>
                    <a:pt x="29" y="5"/>
                  </a:lnTo>
                  <a:lnTo>
                    <a:pt x="26" y="3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1" y="0"/>
                  </a:lnTo>
                  <a:lnTo>
                    <a:pt x="8" y="0"/>
                  </a:lnTo>
                  <a:lnTo>
                    <a:pt x="4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8" y="5"/>
                  </a:lnTo>
                  <a:lnTo>
                    <a:pt x="11" y="3"/>
                  </a:lnTo>
                  <a:lnTo>
                    <a:pt x="13" y="8"/>
                  </a:lnTo>
                  <a:lnTo>
                    <a:pt x="16" y="8"/>
                  </a:lnTo>
                  <a:lnTo>
                    <a:pt x="21" y="9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14" name="Freeform 348"/>
            <p:cNvSpPr>
              <a:spLocks/>
            </p:cNvSpPr>
            <p:nvPr/>
          </p:nvSpPr>
          <p:spPr bwMode="auto">
            <a:xfrm>
              <a:off x="9333485" y="3023114"/>
              <a:ext cx="7352" cy="6770"/>
            </a:xfrm>
            <a:custGeom>
              <a:avLst/>
              <a:gdLst>
                <a:gd name="T0" fmla="*/ 9 w 9"/>
                <a:gd name="T1" fmla="*/ 6 h 6"/>
                <a:gd name="T2" fmla="*/ 9 w 9"/>
                <a:gd name="T3" fmla="*/ 3 h 6"/>
                <a:gd name="T4" fmla="*/ 6 w 9"/>
                <a:gd name="T5" fmla="*/ 0 h 6"/>
                <a:gd name="T6" fmla="*/ 3 w 9"/>
                <a:gd name="T7" fmla="*/ 1 h 6"/>
                <a:gd name="T8" fmla="*/ 0 w 9"/>
                <a:gd name="T9" fmla="*/ 3 h 6"/>
                <a:gd name="T10" fmla="*/ 3 w 9"/>
                <a:gd name="T11" fmla="*/ 5 h 6"/>
                <a:gd name="T12" fmla="*/ 6 w 9"/>
                <a:gd name="T13" fmla="*/ 5 h 6"/>
                <a:gd name="T14" fmla="*/ 9 w 9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6">
                  <a:moveTo>
                    <a:pt x="9" y="6"/>
                  </a:moveTo>
                  <a:lnTo>
                    <a:pt x="9" y="3"/>
                  </a:lnTo>
                  <a:lnTo>
                    <a:pt x="6" y="0"/>
                  </a:lnTo>
                  <a:lnTo>
                    <a:pt x="3" y="1"/>
                  </a:lnTo>
                  <a:lnTo>
                    <a:pt x="0" y="3"/>
                  </a:lnTo>
                  <a:lnTo>
                    <a:pt x="3" y="5"/>
                  </a:lnTo>
                  <a:lnTo>
                    <a:pt x="6" y="5"/>
                  </a:lnTo>
                  <a:lnTo>
                    <a:pt x="9" y="6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15" name="Freeform 349"/>
            <p:cNvSpPr>
              <a:spLocks/>
            </p:cNvSpPr>
            <p:nvPr/>
          </p:nvSpPr>
          <p:spPr bwMode="auto">
            <a:xfrm>
              <a:off x="9368774" y="2764173"/>
              <a:ext cx="23525" cy="6770"/>
            </a:xfrm>
            <a:custGeom>
              <a:avLst/>
              <a:gdLst>
                <a:gd name="T0" fmla="*/ 31 w 31"/>
                <a:gd name="T1" fmla="*/ 8 h 8"/>
                <a:gd name="T2" fmla="*/ 31 w 31"/>
                <a:gd name="T3" fmla="*/ 8 h 8"/>
                <a:gd name="T4" fmla="*/ 28 w 31"/>
                <a:gd name="T5" fmla="*/ 7 h 8"/>
                <a:gd name="T6" fmla="*/ 23 w 31"/>
                <a:gd name="T7" fmla="*/ 5 h 8"/>
                <a:gd name="T8" fmla="*/ 20 w 31"/>
                <a:gd name="T9" fmla="*/ 7 h 8"/>
                <a:gd name="T10" fmla="*/ 17 w 31"/>
                <a:gd name="T11" fmla="*/ 5 h 8"/>
                <a:gd name="T12" fmla="*/ 14 w 31"/>
                <a:gd name="T13" fmla="*/ 3 h 8"/>
                <a:gd name="T14" fmla="*/ 6 w 31"/>
                <a:gd name="T15" fmla="*/ 2 h 8"/>
                <a:gd name="T16" fmla="*/ 3 w 31"/>
                <a:gd name="T17" fmla="*/ 0 h 8"/>
                <a:gd name="T18" fmla="*/ 0 w 31"/>
                <a:gd name="T19" fmla="*/ 0 h 8"/>
                <a:gd name="T20" fmla="*/ 3 w 31"/>
                <a:gd name="T21" fmla="*/ 2 h 8"/>
                <a:gd name="T22" fmla="*/ 14 w 31"/>
                <a:gd name="T23" fmla="*/ 5 h 8"/>
                <a:gd name="T24" fmla="*/ 23 w 31"/>
                <a:gd name="T25" fmla="*/ 8 h 8"/>
                <a:gd name="T26" fmla="*/ 31 w 31"/>
                <a:gd name="T2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1" h="8">
                  <a:moveTo>
                    <a:pt x="31" y="8"/>
                  </a:moveTo>
                  <a:lnTo>
                    <a:pt x="31" y="8"/>
                  </a:lnTo>
                  <a:lnTo>
                    <a:pt x="28" y="7"/>
                  </a:lnTo>
                  <a:lnTo>
                    <a:pt x="23" y="5"/>
                  </a:lnTo>
                  <a:lnTo>
                    <a:pt x="20" y="7"/>
                  </a:lnTo>
                  <a:lnTo>
                    <a:pt x="17" y="5"/>
                  </a:lnTo>
                  <a:lnTo>
                    <a:pt x="14" y="3"/>
                  </a:lnTo>
                  <a:lnTo>
                    <a:pt x="6" y="2"/>
                  </a:ln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  <a:lnTo>
                    <a:pt x="14" y="5"/>
                  </a:lnTo>
                  <a:lnTo>
                    <a:pt x="23" y="8"/>
                  </a:lnTo>
                  <a:lnTo>
                    <a:pt x="31" y="8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16" name="Freeform 350"/>
            <p:cNvSpPr>
              <a:spLocks/>
            </p:cNvSpPr>
            <p:nvPr/>
          </p:nvSpPr>
          <p:spPr bwMode="auto">
            <a:xfrm>
              <a:off x="9436410" y="3036654"/>
              <a:ext cx="5881" cy="10155"/>
            </a:xfrm>
            <a:custGeom>
              <a:avLst/>
              <a:gdLst>
                <a:gd name="T0" fmla="*/ 3 w 7"/>
                <a:gd name="T1" fmla="*/ 11 h 11"/>
                <a:gd name="T2" fmla="*/ 4 w 7"/>
                <a:gd name="T3" fmla="*/ 9 h 11"/>
                <a:gd name="T4" fmla="*/ 4 w 7"/>
                <a:gd name="T5" fmla="*/ 6 h 11"/>
                <a:gd name="T6" fmla="*/ 7 w 7"/>
                <a:gd name="T7" fmla="*/ 6 h 11"/>
                <a:gd name="T8" fmla="*/ 4 w 7"/>
                <a:gd name="T9" fmla="*/ 3 h 11"/>
                <a:gd name="T10" fmla="*/ 4 w 7"/>
                <a:gd name="T11" fmla="*/ 0 h 11"/>
                <a:gd name="T12" fmla="*/ 1 w 7"/>
                <a:gd name="T13" fmla="*/ 1 h 11"/>
                <a:gd name="T14" fmla="*/ 3 w 7"/>
                <a:gd name="T15" fmla="*/ 5 h 11"/>
                <a:gd name="T16" fmla="*/ 0 w 7"/>
                <a:gd name="T17" fmla="*/ 5 h 11"/>
                <a:gd name="T18" fmla="*/ 0 w 7"/>
                <a:gd name="T19" fmla="*/ 9 h 11"/>
                <a:gd name="T20" fmla="*/ 3 w 7"/>
                <a:gd name="T2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" h="11">
                  <a:moveTo>
                    <a:pt x="3" y="11"/>
                  </a:moveTo>
                  <a:lnTo>
                    <a:pt x="4" y="9"/>
                  </a:lnTo>
                  <a:lnTo>
                    <a:pt x="4" y="6"/>
                  </a:lnTo>
                  <a:lnTo>
                    <a:pt x="7" y="6"/>
                  </a:lnTo>
                  <a:lnTo>
                    <a:pt x="4" y="3"/>
                  </a:lnTo>
                  <a:lnTo>
                    <a:pt x="4" y="0"/>
                  </a:lnTo>
                  <a:lnTo>
                    <a:pt x="1" y="1"/>
                  </a:lnTo>
                  <a:lnTo>
                    <a:pt x="3" y="5"/>
                  </a:lnTo>
                  <a:lnTo>
                    <a:pt x="0" y="5"/>
                  </a:lnTo>
                  <a:lnTo>
                    <a:pt x="0" y="9"/>
                  </a:lnTo>
                  <a:lnTo>
                    <a:pt x="3" y="1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17" name="Freeform 351"/>
            <p:cNvSpPr>
              <a:spLocks/>
            </p:cNvSpPr>
            <p:nvPr/>
          </p:nvSpPr>
          <p:spPr bwMode="auto">
            <a:xfrm>
              <a:off x="9459935" y="3046808"/>
              <a:ext cx="5881" cy="1692"/>
            </a:xfrm>
            <a:custGeom>
              <a:avLst/>
              <a:gdLst>
                <a:gd name="T0" fmla="*/ 8 w 8"/>
                <a:gd name="T1" fmla="*/ 1 h 1"/>
                <a:gd name="T2" fmla="*/ 5 w 8"/>
                <a:gd name="T3" fmla="*/ 0 h 1"/>
                <a:gd name="T4" fmla="*/ 0 w 8"/>
                <a:gd name="T5" fmla="*/ 0 h 1"/>
                <a:gd name="T6" fmla="*/ 8 w 8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8" y="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18" name="Freeform 352"/>
            <p:cNvSpPr>
              <a:spLocks/>
            </p:cNvSpPr>
            <p:nvPr/>
          </p:nvSpPr>
          <p:spPr bwMode="auto">
            <a:xfrm>
              <a:off x="9462875" y="3041731"/>
              <a:ext cx="1471" cy="1692"/>
            </a:xfrm>
            <a:custGeom>
              <a:avLst/>
              <a:gdLst>
                <a:gd name="T0" fmla="*/ 4 w 4"/>
                <a:gd name="T1" fmla="*/ 3 h 3"/>
                <a:gd name="T2" fmla="*/ 4 w 4"/>
                <a:gd name="T3" fmla="*/ 0 h 3"/>
                <a:gd name="T4" fmla="*/ 0 w 4"/>
                <a:gd name="T5" fmla="*/ 1 h 3"/>
                <a:gd name="T6" fmla="*/ 4 w 4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4" y="3"/>
                  </a:moveTo>
                  <a:lnTo>
                    <a:pt x="4" y="0"/>
                  </a:lnTo>
                  <a:lnTo>
                    <a:pt x="0" y="1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19" name="Freeform 353"/>
            <p:cNvSpPr>
              <a:spLocks/>
            </p:cNvSpPr>
            <p:nvPr/>
          </p:nvSpPr>
          <p:spPr bwMode="auto">
            <a:xfrm>
              <a:off x="9476110" y="3053578"/>
              <a:ext cx="24997" cy="8462"/>
            </a:xfrm>
            <a:custGeom>
              <a:avLst/>
              <a:gdLst>
                <a:gd name="T0" fmla="*/ 7 w 34"/>
                <a:gd name="T1" fmla="*/ 0 h 9"/>
                <a:gd name="T2" fmla="*/ 0 w 34"/>
                <a:gd name="T3" fmla="*/ 0 h 9"/>
                <a:gd name="T4" fmla="*/ 8 w 34"/>
                <a:gd name="T5" fmla="*/ 1 h 9"/>
                <a:gd name="T6" fmla="*/ 18 w 34"/>
                <a:gd name="T7" fmla="*/ 5 h 9"/>
                <a:gd name="T8" fmla="*/ 23 w 34"/>
                <a:gd name="T9" fmla="*/ 6 h 9"/>
                <a:gd name="T10" fmla="*/ 26 w 34"/>
                <a:gd name="T11" fmla="*/ 8 h 9"/>
                <a:gd name="T12" fmla="*/ 29 w 34"/>
                <a:gd name="T13" fmla="*/ 9 h 9"/>
                <a:gd name="T14" fmla="*/ 31 w 34"/>
                <a:gd name="T15" fmla="*/ 9 h 9"/>
                <a:gd name="T16" fmla="*/ 34 w 34"/>
                <a:gd name="T17" fmla="*/ 9 h 9"/>
                <a:gd name="T18" fmla="*/ 34 w 34"/>
                <a:gd name="T19" fmla="*/ 9 h 9"/>
                <a:gd name="T20" fmla="*/ 32 w 34"/>
                <a:gd name="T21" fmla="*/ 9 h 9"/>
                <a:gd name="T22" fmla="*/ 29 w 34"/>
                <a:gd name="T23" fmla="*/ 8 h 9"/>
                <a:gd name="T24" fmla="*/ 26 w 34"/>
                <a:gd name="T25" fmla="*/ 8 h 9"/>
                <a:gd name="T26" fmla="*/ 16 w 34"/>
                <a:gd name="T27" fmla="*/ 3 h 9"/>
                <a:gd name="T28" fmla="*/ 8 w 34"/>
                <a:gd name="T29" fmla="*/ 0 h 9"/>
                <a:gd name="T30" fmla="*/ 8 w 34"/>
                <a:gd name="T31" fmla="*/ 0 h 9"/>
                <a:gd name="T32" fmla="*/ 7 w 34"/>
                <a:gd name="T3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9">
                  <a:moveTo>
                    <a:pt x="7" y="0"/>
                  </a:moveTo>
                  <a:lnTo>
                    <a:pt x="0" y="0"/>
                  </a:lnTo>
                  <a:lnTo>
                    <a:pt x="8" y="1"/>
                  </a:lnTo>
                  <a:lnTo>
                    <a:pt x="18" y="5"/>
                  </a:lnTo>
                  <a:lnTo>
                    <a:pt x="23" y="6"/>
                  </a:lnTo>
                  <a:lnTo>
                    <a:pt x="26" y="8"/>
                  </a:lnTo>
                  <a:lnTo>
                    <a:pt x="29" y="9"/>
                  </a:lnTo>
                  <a:lnTo>
                    <a:pt x="31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2" y="9"/>
                  </a:lnTo>
                  <a:lnTo>
                    <a:pt x="29" y="8"/>
                  </a:lnTo>
                  <a:lnTo>
                    <a:pt x="26" y="8"/>
                  </a:lnTo>
                  <a:lnTo>
                    <a:pt x="16" y="3"/>
                  </a:lnTo>
                  <a:lnTo>
                    <a:pt x="8" y="0"/>
                  </a:lnTo>
                  <a:lnTo>
                    <a:pt x="8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20" name="Freeform 354"/>
            <p:cNvSpPr>
              <a:spLocks/>
            </p:cNvSpPr>
            <p:nvPr/>
          </p:nvSpPr>
          <p:spPr bwMode="auto">
            <a:xfrm>
              <a:off x="9486402" y="3040039"/>
              <a:ext cx="5881" cy="5077"/>
            </a:xfrm>
            <a:custGeom>
              <a:avLst/>
              <a:gdLst>
                <a:gd name="T0" fmla="*/ 8 w 8"/>
                <a:gd name="T1" fmla="*/ 6 h 6"/>
                <a:gd name="T2" fmla="*/ 8 w 8"/>
                <a:gd name="T3" fmla="*/ 6 h 6"/>
                <a:gd name="T4" fmla="*/ 8 w 8"/>
                <a:gd name="T5" fmla="*/ 2 h 6"/>
                <a:gd name="T6" fmla="*/ 5 w 8"/>
                <a:gd name="T7" fmla="*/ 2 h 6"/>
                <a:gd name="T8" fmla="*/ 2 w 8"/>
                <a:gd name="T9" fmla="*/ 0 h 6"/>
                <a:gd name="T10" fmla="*/ 0 w 8"/>
                <a:gd name="T11" fmla="*/ 3 h 6"/>
                <a:gd name="T12" fmla="*/ 5 w 8"/>
                <a:gd name="T13" fmla="*/ 5 h 6"/>
                <a:gd name="T14" fmla="*/ 8 w 8"/>
                <a:gd name="T1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8" y="6"/>
                  </a:moveTo>
                  <a:lnTo>
                    <a:pt x="8" y="6"/>
                  </a:lnTo>
                  <a:lnTo>
                    <a:pt x="8" y="2"/>
                  </a:lnTo>
                  <a:lnTo>
                    <a:pt x="5" y="2"/>
                  </a:lnTo>
                  <a:lnTo>
                    <a:pt x="2" y="0"/>
                  </a:lnTo>
                  <a:lnTo>
                    <a:pt x="0" y="3"/>
                  </a:lnTo>
                  <a:lnTo>
                    <a:pt x="5" y="5"/>
                  </a:lnTo>
                  <a:lnTo>
                    <a:pt x="8" y="6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21" name="Freeform 355"/>
            <p:cNvSpPr>
              <a:spLocks/>
            </p:cNvSpPr>
            <p:nvPr/>
          </p:nvSpPr>
          <p:spPr bwMode="auto">
            <a:xfrm>
              <a:off x="9542276" y="3043424"/>
              <a:ext cx="11763" cy="10155"/>
            </a:xfrm>
            <a:custGeom>
              <a:avLst/>
              <a:gdLst>
                <a:gd name="T0" fmla="*/ 18 w 18"/>
                <a:gd name="T1" fmla="*/ 13 h 13"/>
                <a:gd name="T2" fmla="*/ 18 w 18"/>
                <a:gd name="T3" fmla="*/ 13 h 13"/>
                <a:gd name="T4" fmla="*/ 18 w 18"/>
                <a:gd name="T5" fmla="*/ 10 h 13"/>
                <a:gd name="T6" fmla="*/ 15 w 18"/>
                <a:gd name="T7" fmla="*/ 5 h 13"/>
                <a:gd name="T8" fmla="*/ 18 w 18"/>
                <a:gd name="T9" fmla="*/ 3 h 13"/>
                <a:gd name="T10" fmla="*/ 15 w 18"/>
                <a:gd name="T11" fmla="*/ 3 h 13"/>
                <a:gd name="T12" fmla="*/ 11 w 18"/>
                <a:gd name="T13" fmla="*/ 3 h 13"/>
                <a:gd name="T14" fmla="*/ 7 w 18"/>
                <a:gd name="T15" fmla="*/ 2 h 13"/>
                <a:gd name="T16" fmla="*/ 3 w 18"/>
                <a:gd name="T17" fmla="*/ 0 h 13"/>
                <a:gd name="T18" fmla="*/ 0 w 18"/>
                <a:gd name="T19" fmla="*/ 3 h 13"/>
                <a:gd name="T20" fmla="*/ 3 w 18"/>
                <a:gd name="T21" fmla="*/ 5 h 13"/>
                <a:gd name="T22" fmla="*/ 7 w 18"/>
                <a:gd name="T23" fmla="*/ 6 h 13"/>
                <a:gd name="T24" fmla="*/ 10 w 18"/>
                <a:gd name="T25" fmla="*/ 6 h 13"/>
                <a:gd name="T26" fmla="*/ 11 w 18"/>
                <a:gd name="T27" fmla="*/ 11 h 13"/>
                <a:gd name="T28" fmla="*/ 15 w 18"/>
                <a:gd name="T29" fmla="*/ 11 h 13"/>
                <a:gd name="T30" fmla="*/ 18 w 18"/>
                <a:gd name="T3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" h="13">
                  <a:moveTo>
                    <a:pt x="18" y="13"/>
                  </a:moveTo>
                  <a:lnTo>
                    <a:pt x="18" y="13"/>
                  </a:lnTo>
                  <a:lnTo>
                    <a:pt x="18" y="10"/>
                  </a:lnTo>
                  <a:lnTo>
                    <a:pt x="15" y="5"/>
                  </a:lnTo>
                  <a:lnTo>
                    <a:pt x="18" y="3"/>
                  </a:lnTo>
                  <a:lnTo>
                    <a:pt x="15" y="3"/>
                  </a:lnTo>
                  <a:lnTo>
                    <a:pt x="11" y="3"/>
                  </a:lnTo>
                  <a:lnTo>
                    <a:pt x="7" y="2"/>
                  </a:lnTo>
                  <a:lnTo>
                    <a:pt x="3" y="0"/>
                  </a:lnTo>
                  <a:lnTo>
                    <a:pt x="0" y="3"/>
                  </a:lnTo>
                  <a:lnTo>
                    <a:pt x="3" y="5"/>
                  </a:lnTo>
                  <a:lnTo>
                    <a:pt x="7" y="6"/>
                  </a:lnTo>
                  <a:lnTo>
                    <a:pt x="10" y="6"/>
                  </a:lnTo>
                  <a:lnTo>
                    <a:pt x="11" y="11"/>
                  </a:lnTo>
                  <a:lnTo>
                    <a:pt x="15" y="11"/>
                  </a:lnTo>
                  <a:lnTo>
                    <a:pt x="18" y="1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22" name="Freeform 356"/>
            <p:cNvSpPr>
              <a:spLocks/>
            </p:cNvSpPr>
            <p:nvPr/>
          </p:nvSpPr>
          <p:spPr bwMode="auto">
            <a:xfrm>
              <a:off x="9542276" y="2869103"/>
              <a:ext cx="5881" cy="5077"/>
            </a:xfrm>
            <a:custGeom>
              <a:avLst/>
              <a:gdLst>
                <a:gd name="T0" fmla="*/ 8 w 8"/>
                <a:gd name="T1" fmla="*/ 4 h 4"/>
                <a:gd name="T2" fmla="*/ 8 w 8"/>
                <a:gd name="T3" fmla="*/ 1 h 4"/>
                <a:gd name="T4" fmla="*/ 3 w 8"/>
                <a:gd name="T5" fmla="*/ 0 h 4"/>
                <a:gd name="T6" fmla="*/ 0 w 8"/>
                <a:gd name="T7" fmla="*/ 1 h 4"/>
                <a:gd name="T8" fmla="*/ 3 w 8"/>
                <a:gd name="T9" fmla="*/ 3 h 4"/>
                <a:gd name="T10" fmla="*/ 8 w 8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4">
                  <a:moveTo>
                    <a:pt x="8" y="4"/>
                  </a:moveTo>
                  <a:lnTo>
                    <a:pt x="8" y="1"/>
                  </a:ln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  <a:lnTo>
                    <a:pt x="8" y="4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23" name="Freeform 357"/>
            <p:cNvSpPr>
              <a:spLocks/>
            </p:cNvSpPr>
            <p:nvPr/>
          </p:nvSpPr>
          <p:spPr bwMode="auto">
            <a:xfrm>
              <a:off x="9556979" y="3043424"/>
              <a:ext cx="11763" cy="8462"/>
            </a:xfrm>
            <a:custGeom>
              <a:avLst/>
              <a:gdLst>
                <a:gd name="T0" fmla="*/ 3 w 16"/>
                <a:gd name="T1" fmla="*/ 11 h 11"/>
                <a:gd name="T2" fmla="*/ 5 w 16"/>
                <a:gd name="T3" fmla="*/ 10 h 11"/>
                <a:gd name="T4" fmla="*/ 8 w 16"/>
                <a:gd name="T5" fmla="*/ 8 h 11"/>
                <a:gd name="T6" fmla="*/ 13 w 16"/>
                <a:gd name="T7" fmla="*/ 10 h 11"/>
                <a:gd name="T8" fmla="*/ 16 w 16"/>
                <a:gd name="T9" fmla="*/ 8 h 11"/>
                <a:gd name="T10" fmla="*/ 13 w 16"/>
                <a:gd name="T11" fmla="*/ 5 h 11"/>
                <a:gd name="T12" fmla="*/ 11 w 16"/>
                <a:gd name="T13" fmla="*/ 0 h 11"/>
                <a:gd name="T14" fmla="*/ 8 w 16"/>
                <a:gd name="T15" fmla="*/ 2 h 11"/>
                <a:gd name="T16" fmla="*/ 11 w 16"/>
                <a:gd name="T17" fmla="*/ 5 h 11"/>
                <a:gd name="T18" fmla="*/ 6 w 16"/>
                <a:gd name="T19" fmla="*/ 6 h 11"/>
                <a:gd name="T20" fmla="*/ 3 w 16"/>
                <a:gd name="T21" fmla="*/ 8 h 11"/>
                <a:gd name="T22" fmla="*/ 0 w 16"/>
                <a:gd name="T23" fmla="*/ 10 h 11"/>
                <a:gd name="T24" fmla="*/ 3 w 16"/>
                <a:gd name="T2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11">
                  <a:moveTo>
                    <a:pt x="3" y="11"/>
                  </a:moveTo>
                  <a:lnTo>
                    <a:pt x="5" y="10"/>
                  </a:lnTo>
                  <a:lnTo>
                    <a:pt x="8" y="8"/>
                  </a:lnTo>
                  <a:lnTo>
                    <a:pt x="13" y="10"/>
                  </a:lnTo>
                  <a:lnTo>
                    <a:pt x="16" y="8"/>
                  </a:lnTo>
                  <a:lnTo>
                    <a:pt x="13" y="5"/>
                  </a:lnTo>
                  <a:lnTo>
                    <a:pt x="11" y="0"/>
                  </a:lnTo>
                  <a:lnTo>
                    <a:pt x="8" y="2"/>
                  </a:lnTo>
                  <a:lnTo>
                    <a:pt x="11" y="5"/>
                  </a:lnTo>
                  <a:lnTo>
                    <a:pt x="6" y="6"/>
                  </a:lnTo>
                  <a:lnTo>
                    <a:pt x="3" y="8"/>
                  </a:lnTo>
                  <a:lnTo>
                    <a:pt x="0" y="10"/>
                  </a:lnTo>
                  <a:lnTo>
                    <a:pt x="3" y="1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24" name="Freeform 358"/>
            <p:cNvSpPr>
              <a:spLocks/>
            </p:cNvSpPr>
            <p:nvPr/>
          </p:nvSpPr>
          <p:spPr bwMode="auto">
            <a:xfrm>
              <a:off x="9571683" y="3041731"/>
              <a:ext cx="16174" cy="13540"/>
            </a:xfrm>
            <a:custGeom>
              <a:avLst/>
              <a:gdLst>
                <a:gd name="T0" fmla="*/ 7 w 21"/>
                <a:gd name="T1" fmla="*/ 15 h 15"/>
                <a:gd name="T2" fmla="*/ 8 w 21"/>
                <a:gd name="T3" fmla="*/ 12 h 15"/>
                <a:gd name="T4" fmla="*/ 12 w 21"/>
                <a:gd name="T5" fmla="*/ 14 h 15"/>
                <a:gd name="T6" fmla="*/ 13 w 21"/>
                <a:gd name="T7" fmla="*/ 11 h 15"/>
                <a:gd name="T8" fmla="*/ 16 w 21"/>
                <a:gd name="T9" fmla="*/ 9 h 15"/>
                <a:gd name="T10" fmla="*/ 13 w 21"/>
                <a:gd name="T11" fmla="*/ 4 h 15"/>
                <a:gd name="T12" fmla="*/ 16 w 21"/>
                <a:gd name="T13" fmla="*/ 7 h 15"/>
                <a:gd name="T14" fmla="*/ 21 w 21"/>
                <a:gd name="T15" fmla="*/ 9 h 15"/>
                <a:gd name="T16" fmla="*/ 21 w 21"/>
                <a:gd name="T17" fmla="*/ 7 h 15"/>
                <a:gd name="T18" fmla="*/ 16 w 21"/>
                <a:gd name="T19" fmla="*/ 4 h 15"/>
                <a:gd name="T20" fmla="*/ 13 w 21"/>
                <a:gd name="T21" fmla="*/ 4 h 15"/>
                <a:gd name="T22" fmla="*/ 10 w 21"/>
                <a:gd name="T23" fmla="*/ 4 h 15"/>
                <a:gd name="T24" fmla="*/ 7 w 21"/>
                <a:gd name="T25" fmla="*/ 1 h 15"/>
                <a:gd name="T26" fmla="*/ 4 w 21"/>
                <a:gd name="T27" fmla="*/ 0 h 15"/>
                <a:gd name="T28" fmla="*/ 0 w 21"/>
                <a:gd name="T29" fmla="*/ 3 h 15"/>
                <a:gd name="T30" fmla="*/ 4 w 21"/>
                <a:gd name="T31" fmla="*/ 6 h 15"/>
                <a:gd name="T32" fmla="*/ 7 w 21"/>
                <a:gd name="T33" fmla="*/ 7 h 15"/>
                <a:gd name="T34" fmla="*/ 4 w 21"/>
                <a:gd name="T35" fmla="*/ 7 h 15"/>
                <a:gd name="T36" fmla="*/ 0 w 21"/>
                <a:gd name="T37" fmla="*/ 6 h 15"/>
                <a:gd name="T38" fmla="*/ 4 w 21"/>
                <a:gd name="T39" fmla="*/ 9 h 15"/>
                <a:gd name="T40" fmla="*/ 4 w 21"/>
                <a:gd name="T41" fmla="*/ 12 h 15"/>
                <a:gd name="T42" fmla="*/ 7 w 21"/>
                <a:gd name="T4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" h="15">
                  <a:moveTo>
                    <a:pt x="7" y="15"/>
                  </a:moveTo>
                  <a:lnTo>
                    <a:pt x="8" y="12"/>
                  </a:lnTo>
                  <a:lnTo>
                    <a:pt x="12" y="14"/>
                  </a:lnTo>
                  <a:lnTo>
                    <a:pt x="13" y="11"/>
                  </a:lnTo>
                  <a:lnTo>
                    <a:pt x="16" y="9"/>
                  </a:lnTo>
                  <a:lnTo>
                    <a:pt x="13" y="4"/>
                  </a:lnTo>
                  <a:lnTo>
                    <a:pt x="16" y="7"/>
                  </a:lnTo>
                  <a:lnTo>
                    <a:pt x="21" y="9"/>
                  </a:lnTo>
                  <a:lnTo>
                    <a:pt x="21" y="7"/>
                  </a:lnTo>
                  <a:lnTo>
                    <a:pt x="16" y="4"/>
                  </a:lnTo>
                  <a:lnTo>
                    <a:pt x="13" y="4"/>
                  </a:lnTo>
                  <a:lnTo>
                    <a:pt x="10" y="4"/>
                  </a:lnTo>
                  <a:lnTo>
                    <a:pt x="7" y="1"/>
                  </a:ln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7" y="7"/>
                  </a:lnTo>
                  <a:lnTo>
                    <a:pt x="4" y="7"/>
                  </a:lnTo>
                  <a:lnTo>
                    <a:pt x="0" y="6"/>
                  </a:lnTo>
                  <a:lnTo>
                    <a:pt x="4" y="9"/>
                  </a:lnTo>
                  <a:lnTo>
                    <a:pt x="4" y="12"/>
                  </a:lnTo>
                  <a:lnTo>
                    <a:pt x="7" y="1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25" name="Freeform 359"/>
            <p:cNvSpPr>
              <a:spLocks/>
            </p:cNvSpPr>
            <p:nvPr/>
          </p:nvSpPr>
          <p:spPr bwMode="auto">
            <a:xfrm>
              <a:off x="9587857" y="3045116"/>
              <a:ext cx="4411" cy="3385"/>
            </a:xfrm>
            <a:custGeom>
              <a:avLst/>
              <a:gdLst>
                <a:gd name="T0" fmla="*/ 3 w 6"/>
                <a:gd name="T1" fmla="*/ 3 h 3"/>
                <a:gd name="T2" fmla="*/ 3 w 6"/>
                <a:gd name="T3" fmla="*/ 2 h 3"/>
                <a:gd name="T4" fmla="*/ 6 w 6"/>
                <a:gd name="T5" fmla="*/ 2 h 3"/>
                <a:gd name="T6" fmla="*/ 3 w 6"/>
                <a:gd name="T7" fmla="*/ 0 h 3"/>
                <a:gd name="T8" fmla="*/ 0 w 6"/>
                <a:gd name="T9" fmla="*/ 2 h 3"/>
                <a:gd name="T10" fmla="*/ 3 w 6"/>
                <a:gd name="T11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3">
                  <a:moveTo>
                    <a:pt x="3" y="3"/>
                  </a:moveTo>
                  <a:lnTo>
                    <a:pt x="3" y="2"/>
                  </a:lnTo>
                  <a:lnTo>
                    <a:pt x="6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26" name="Freeform 360"/>
            <p:cNvSpPr>
              <a:spLocks/>
            </p:cNvSpPr>
            <p:nvPr/>
          </p:nvSpPr>
          <p:spPr bwMode="auto">
            <a:xfrm>
              <a:off x="9602561" y="3026499"/>
              <a:ext cx="23525" cy="13540"/>
            </a:xfrm>
            <a:custGeom>
              <a:avLst/>
              <a:gdLst>
                <a:gd name="T0" fmla="*/ 17 w 31"/>
                <a:gd name="T1" fmla="*/ 11 h 16"/>
                <a:gd name="T2" fmla="*/ 17 w 31"/>
                <a:gd name="T3" fmla="*/ 13 h 16"/>
                <a:gd name="T4" fmla="*/ 14 w 31"/>
                <a:gd name="T5" fmla="*/ 13 h 16"/>
                <a:gd name="T6" fmla="*/ 11 w 31"/>
                <a:gd name="T7" fmla="*/ 13 h 16"/>
                <a:gd name="T8" fmla="*/ 8 w 31"/>
                <a:gd name="T9" fmla="*/ 16 h 16"/>
                <a:gd name="T10" fmla="*/ 4 w 31"/>
                <a:gd name="T11" fmla="*/ 14 h 16"/>
                <a:gd name="T12" fmla="*/ 0 w 31"/>
                <a:gd name="T13" fmla="*/ 16 h 16"/>
                <a:gd name="T14" fmla="*/ 8 w 31"/>
                <a:gd name="T15" fmla="*/ 16 h 16"/>
                <a:gd name="T16" fmla="*/ 11 w 31"/>
                <a:gd name="T17" fmla="*/ 14 h 16"/>
                <a:gd name="T18" fmla="*/ 14 w 31"/>
                <a:gd name="T19" fmla="*/ 16 h 16"/>
                <a:gd name="T20" fmla="*/ 19 w 31"/>
                <a:gd name="T21" fmla="*/ 14 h 16"/>
                <a:gd name="T22" fmla="*/ 22 w 31"/>
                <a:gd name="T23" fmla="*/ 14 h 16"/>
                <a:gd name="T24" fmla="*/ 25 w 31"/>
                <a:gd name="T25" fmla="*/ 11 h 16"/>
                <a:gd name="T26" fmla="*/ 31 w 31"/>
                <a:gd name="T27" fmla="*/ 11 h 16"/>
                <a:gd name="T28" fmla="*/ 28 w 31"/>
                <a:gd name="T29" fmla="*/ 10 h 16"/>
                <a:gd name="T30" fmla="*/ 25 w 31"/>
                <a:gd name="T31" fmla="*/ 8 h 16"/>
                <a:gd name="T32" fmla="*/ 28 w 31"/>
                <a:gd name="T33" fmla="*/ 6 h 16"/>
                <a:gd name="T34" fmla="*/ 27 w 31"/>
                <a:gd name="T35" fmla="*/ 3 h 16"/>
                <a:gd name="T36" fmla="*/ 22 w 31"/>
                <a:gd name="T37" fmla="*/ 2 h 16"/>
                <a:gd name="T38" fmla="*/ 19 w 31"/>
                <a:gd name="T39" fmla="*/ 0 h 16"/>
                <a:gd name="T40" fmla="*/ 16 w 31"/>
                <a:gd name="T41" fmla="*/ 2 h 16"/>
                <a:gd name="T42" fmla="*/ 16 w 31"/>
                <a:gd name="T43" fmla="*/ 5 h 16"/>
                <a:gd name="T44" fmla="*/ 19 w 31"/>
                <a:gd name="T45" fmla="*/ 5 h 16"/>
                <a:gd name="T46" fmla="*/ 20 w 31"/>
                <a:gd name="T47" fmla="*/ 8 h 16"/>
                <a:gd name="T48" fmla="*/ 17 w 31"/>
                <a:gd name="T4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1" h="16">
                  <a:moveTo>
                    <a:pt x="17" y="11"/>
                  </a:moveTo>
                  <a:lnTo>
                    <a:pt x="17" y="13"/>
                  </a:lnTo>
                  <a:lnTo>
                    <a:pt x="14" y="13"/>
                  </a:lnTo>
                  <a:lnTo>
                    <a:pt x="11" y="13"/>
                  </a:lnTo>
                  <a:lnTo>
                    <a:pt x="8" y="16"/>
                  </a:lnTo>
                  <a:lnTo>
                    <a:pt x="4" y="14"/>
                  </a:lnTo>
                  <a:lnTo>
                    <a:pt x="0" y="16"/>
                  </a:lnTo>
                  <a:lnTo>
                    <a:pt x="8" y="16"/>
                  </a:lnTo>
                  <a:lnTo>
                    <a:pt x="11" y="14"/>
                  </a:lnTo>
                  <a:lnTo>
                    <a:pt x="14" y="16"/>
                  </a:lnTo>
                  <a:lnTo>
                    <a:pt x="19" y="14"/>
                  </a:lnTo>
                  <a:lnTo>
                    <a:pt x="22" y="14"/>
                  </a:lnTo>
                  <a:lnTo>
                    <a:pt x="25" y="11"/>
                  </a:lnTo>
                  <a:lnTo>
                    <a:pt x="31" y="11"/>
                  </a:lnTo>
                  <a:lnTo>
                    <a:pt x="28" y="10"/>
                  </a:lnTo>
                  <a:lnTo>
                    <a:pt x="25" y="8"/>
                  </a:lnTo>
                  <a:lnTo>
                    <a:pt x="28" y="6"/>
                  </a:lnTo>
                  <a:lnTo>
                    <a:pt x="27" y="3"/>
                  </a:lnTo>
                  <a:lnTo>
                    <a:pt x="22" y="2"/>
                  </a:lnTo>
                  <a:lnTo>
                    <a:pt x="19" y="0"/>
                  </a:lnTo>
                  <a:lnTo>
                    <a:pt x="16" y="2"/>
                  </a:lnTo>
                  <a:lnTo>
                    <a:pt x="16" y="5"/>
                  </a:lnTo>
                  <a:lnTo>
                    <a:pt x="19" y="5"/>
                  </a:lnTo>
                  <a:lnTo>
                    <a:pt x="20" y="8"/>
                  </a:lnTo>
                  <a:lnTo>
                    <a:pt x="17" y="1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27" name="Freeform 361"/>
            <p:cNvSpPr>
              <a:spLocks/>
            </p:cNvSpPr>
            <p:nvPr/>
          </p:nvSpPr>
          <p:spPr bwMode="auto">
            <a:xfrm>
              <a:off x="9627557" y="3036654"/>
              <a:ext cx="24997" cy="3385"/>
            </a:xfrm>
            <a:custGeom>
              <a:avLst/>
              <a:gdLst>
                <a:gd name="T0" fmla="*/ 22 w 35"/>
                <a:gd name="T1" fmla="*/ 5 h 5"/>
                <a:gd name="T2" fmla="*/ 21 w 35"/>
                <a:gd name="T3" fmla="*/ 3 h 5"/>
                <a:gd name="T4" fmla="*/ 25 w 35"/>
                <a:gd name="T5" fmla="*/ 3 h 5"/>
                <a:gd name="T6" fmla="*/ 29 w 35"/>
                <a:gd name="T7" fmla="*/ 3 h 5"/>
                <a:gd name="T8" fmla="*/ 32 w 35"/>
                <a:gd name="T9" fmla="*/ 3 h 5"/>
                <a:gd name="T10" fmla="*/ 35 w 35"/>
                <a:gd name="T11" fmla="*/ 2 h 5"/>
                <a:gd name="T12" fmla="*/ 27 w 35"/>
                <a:gd name="T13" fmla="*/ 2 h 5"/>
                <a:gd name="T14" fmla="*/ 17 w 35"/>
                <a:gd name="T15" fmla="*/ 2 h 5"/>
                <a:gd name="T16" fmla="*/ 14 w 35"/>
                <a:gd name="T17" fmla="*/ 0 h 5"/>
                <a:gd name="T18" fmla="*/ 11 w 35"/>
                <a:gd name="T19" fmla="*/ 0 h 5"/>
                <a:gd name="T20" fmla="*/ 8 w 35"/>
                <a:gd name="T21" fmla="*/ 2 h 5"/>
                <a:gd name="T22" fmla="*/ 3 w 35"/>
                <a:gd name="T23" fmla="*/ 0 h 5"/>
                <a:gd name="T24" fmla="*/ 0 w 35"/>
                <a:gd name="T25" fmla="*/ 0 h 5"/>
                <a:gd name="T26" fmla="*/ 5 w 35"/>
                <a:gd name="T27" fmla="*/ 2 h 5"/>
                <a:gd name="T28" fmla="*/ 8 w 35"/>
                <a:gd name="T29" fmla="*/ 3 h 5"/>
                <a:gd name="T30" fmla="*/ 11 w 35"/>
                <a:gd name="T31" fmla="*/ 3 h 5"/>
                <a:gd name="T32" fmla="*/ 14 w 35"/>
                <a:gd name="T33" fmla="*/ 3 h 5"/>
                <a:gd name="T34" fmla="*/ 17 w 35"/>
                <a:gd name="T35" fmla="*/ 3 h 5"/>
                <a:gd name="T36" fmla="*/ 22 w 35"/>
                <a:gd name="T3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5">
                  <a:moveTo>
                    <a:pt x="22" y="5"/>
                  </a:moveTo>
                  <a:lnTo>
                    <a:pt x="21" y="3"/>
                  </a:lnTo>
                  <a:lnTo>
                    <a:pt x="25" y="3"/>
                  </a:lnTo>
                  <a:lnTo>
                    <a:pt x="29" y="3"/>
                  </a:lnTo>
                  <a:lnTo>
                    <a:pt x="32" y="3"/>
                  </a:lnTo>
                  <a:lnTo>
                    <a:pt x="35" y="2"/>
                  </a:lnTo>
                  <a:lnTo>
                    <a:pt x="27" y="2"/>
                  </a:lnTo>
                  <a:lnTo>
                    <a:pt x="17" y="2"/>
                  </a:lnTo>
                  <a:lnTo>
                    <a:pt x="14" y="0"/>
                  </a:lnTo>
                  <a:lnTo>
                    <a:pt x="11" y="0"/>
                  </a:lnTo>
                  <a:lnTo>
                    <a:pt x="8" y="2"/>
                  </a:lnTo>
                  <a:lnTo>
                    <a:pt x="3" y="0"/>
                  </a:lnTo>
                  <a:lnTo>
                    <a:pt x="0" y="0"/>
                  </a:lnTo>
                  <a:lnTo>
                    <a:pt x="5" y="2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4" y="3"/>
                  </a:lnTo>
                  <a:lnTo>
                    <a:pt x="17" y="3"/>
                  </a:lnTo>
                  <a:lnTo>
                    <a:pt x="22" y="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28" name="Freeform 362"/>
            <p:cNvSpPr>
              <a:spLocks/>
            </p:cNvSpPr>
            <p:nvPr/>
          </p:nvSpPr>
          <p:spPr bwMode="auto">
            <a:xfrm>
              <a:off x="9654023" y="3028192"/>
              <a:ext cx="5881" cy="3385"/>
            </a:xfrm>
            <a:custGeom>
              <a:avLst/>
              <a:gdLst>
                <a:gd name="T0" fmla="*/ 6 w 7"/>
                <a:gd name="T1" fmla="*/ 4 h 4"/>
                <a:gd name="T2" fmla="*/ 6 w 7"/>
                <a:gd name="T3" fmla="*/ 4 h 4"/>
                <a:gd name="T4" fmla="*/ 7 w 7"/>
                <a:gd name="T5" fmla="*/ 1 h 4"/>
                <a:gd name="T6" fmla="*/ 3 w 7"/>
                <a:gd name="T7" fmla="*/ 0 h 4"/>
                <a:gd name="T8" fmla="*/ 0 w 7"/>
                <a:gd name="T9" fmla="*/ 1 h 4"/>
                <a:gd name="T10" fmla="*/ 1 w 7"/>
                <a:gd name="T11" fmla="*/ 4 h 4"/>
                <a:gd name="T12" fmla="*/ 6 w 7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4">
                  <a:moveTo>
                    <a:pt x="6" y="4"/>
                  </a:moveTo>
                  <a:lnTo>
                    <a:pt x="6" y="4"/>
                  </a:lnTo>
                  <a:lnTo>
                    <a:pt x="7" y="1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29" name="Freeform 363"/>
            <p:cNvSpPr>
              <a:spLocks/>
            </p:cNvSpPr>
            <p:nvPr/>
          </p:nvSpPr>
          <p:spPr bwMode="auto">
            <a:xfrm>
              <a:off x="9684901" y="3016345"/>
              <a:ext cx="4411" cy="6770"/>
            </a:xfrm>
            <a:custGeom>
              <a:avLst/>
              <a:gdLst>
                <a:gd name="T0" fmla="*/ 5 w 7"/>
                <a:gd name="T1" fmla="*/ 6 h 6"/>
                <a:gd name="T2" fmla="*/ 4 w 7"/>
                <a:gd name="T3" fmla="*/ 6 h 6"/>
                <a:gd name="T4" fmla="*/ 7 w 7"/>
                <a:gd name="T5" fmla="*/ 2 h 6"/>
                <a:gd name="T6" fmla="*/ 4 w 7"/>
                <a:gd name="T7" fmla="*/ 0 h 6"/>
                <a:gd name="T8" fmla="*/ 0 w 7"/>
                <a:gd name="T9" fmla="*/ 2 h 6"/>
                <a:gd name="T10" fmla="*/ 0 w 7"/>
                <a:gd name="T11" fmla="*/ 5 h 6"/>
                <a:gd name="T12" fmla="*/ 5 w 7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" h="6">
                  <a:moveTo>
                    <a:pt x="5" y="6"/>
                  </a:moveTo>
                  <a:lnTo>
                    <a:pt x="4" y="6"/>
                  </a:lnTo>
                  <a:lnTo>
                    <a:pt x="7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5" y="6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30" name="Freeform 364"/>
            <p:cNvSpPr>
              <a:spLocks/>
            </p:cNvSpPr>
            <p:nvPr/>
          </p:nvSpPr>
          <p:spPr bwMode="auto">
            <a:xfrm>
              <a:off x="9277611" y="2662626"/>
              <a:ext cx="58814" cy="18617"/>
            </a:xfrm>
            <a:custGeom>
              <a:avLst/>
              <a:gdLst>
                <a:gd name="T0" fmla="*/ 39 w 79"/>
                <a:gd name="T1" fmla="*/ 13 h 23"/>
                <a:gd name="T2" fmla="*/ 35 w 79"/>
                <a:gd name="T3" fmla="*/ 13 h 23"/>
                <a:gd name="T4" fmla="*/ 32 w 79"/>
                <a:gd name="T5" fmla="*/ 13 h 23"/>
                <a:gd name="T6" fmla="*/ 28 w 79"/>
                <a:gd name="T7" fmla="*/ 16 h 23"/>
                <a:gd name="T8" fmla="*/ 24 w 79"/>
                <a:gd name="T9" fmla="*/ 16 h 23"/>
                <a:gd name="T10" fmla="*/ 20 w 79"/>
                <a:gd name="T11" fmla="*/ 15 h 23"/>
                <a:gd name="T12" fmla="*/ 17 w 79"/>
                <a:gd name="T13" fmla="*/ 15 h 23"/>
                <a:gd name="T14" fmla="*/ 13 w 79"/>
                <a:gd name="T15" fmla="*/ 13 h 23"/>
                <a:gd name="T16" fmla="*/ 6 w 79"/>
                <a:gd name="T17" fmla="*/ 8 h 23"/>
                <a:gd name="T18" fmla="*/ 3 w 79"/>
                <a:gd name="T19" fmla="*/ 3 h 23"/>
                <a:gd name="T20" fmla="*/ 0 w 79"/>
                <a:gd name="T21" fmla="*/ 0 h 23"/>
                <a:gd name="T22" fmla="*/ 3 w 79"/>
                <a:gd name="T23" fmla="*/ 2 h 23"/>
                <a:gd name="T24" fmla="*/ 8 w 79"/>
                <a:gd name="T25" fmla="*/ 3 h 23"/>
                <a:gd name="T26" fmla="*/ 11 w 79"/>
                <a:gd name="T27" fmla="*/ 3 h 23"/>
                <a:gd name="T28" fmla="*/ 14 w 79"/>
                <a:gd name="T29" fmla="*/ 7 h 23"/>
                <a:gd name="T30" fmla="*/ 24 w 79"/>
                <a:gd name="T31" fmla="*/ 7 h 23"/>
                <a:gd name="T32" fmla="*/ 32 w 79"/>
                <a:gd name="T33" fmla="*/ 7 h 23"/>
                <a:gd name="T34" fmla="*/ 36 w 79"/>
                <a:gd name="T35" fmla="*/ 3 h 23"/>
                <a:gd name="T36" fmla="*/ 39 w 79"/>
                <a:gd name="T37" fmla="*/ 3 h 23"/>
                <a:gd name="T38" fmla="*/ 43 w 79"/>
                <a:gd name="T39" fmla="*/ 3 h 23"/>
                <a:gd name="T40" fmla="*/ 46 w 79"/>
                <a:gd name="T41" fmla="*/ 5 h 23"/>
                <a:gd name="T42" fmla="*/ 55 w 79"/>
                <a:gd name="T43" fmla="*/ 7 h 23"/>
                <a:gd name="T44" fmla="*/ 63 w 79"/>
                <a:gd name="T45" fmla="*/ 11 h 23"/>
                <a:gd name="T46" fmla="*/ 71 w 79"/>
                <a:gd name="T47" fmla="*/ 18 h 23"/>
                <a:gd name="T48" fmla="*/ 79 w 79"/>
                <a:gd name="T49" fmla="*/ 23 h 23"/>
                <a:gd name="T50" fmla="*/ 74 w 79"/>
                <a:gd name="T51" fmla="*/ 21 h 23"/>
                <a:gd name="T52" fmla="*/ 70 w 79"/>
                <a:gd name="T53" fmla="*/ 21 h 23"/>
                <a:gd name="T54" fmla="*/ 66 w 79"/>
                <a:gd name="T55" fmla="*/ 19 h 23"/>
                <a:gd name="T56" fmla="*/ 63 w 79"/>
                <a:gd name="T57" fmla="*/ 18 h 23"/>
                <a:gd name="T58" fmla="*/ 60 w 79"/>
                <a:gd name="T59" fmla="*/ 16 h 23"/>
                <a:gd name="T60" fmla="*/ 55 w 79"/>
                <a:gd name="T61" fmla="*/ 16 h 23"/>
                <a:gd name="T62" fmla="*/ 46 w 79"/>
                <a:gd name="T63" fmla="*/ 13 h 23"/>
                <a:gd name="T64" fmla="*/ 35 w 79"/>
                <a:gd name="T65" fmla="*/ 11 h 23"/>
                <a:gd name="T66" fmla="*/ 39 w 79"/>
                <a:gd name="T67" fmla="*/ 1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9" h="23">
                  <a:moveTo>
                    <a:pt x="39" y="13"/>
                  </a:moveTo>
                  <a:lnTo>
                    <a:pt x="35" y="13"/>
                  </a:lnTo>
                  <a:lnTo>
                    <a:pt x="32" y="13"/>
                  </a:lnTo>
                  <a:lnTo>
                    <a:pt x="28" y="16"/>
                  </a:lnTo>
                  <a:lnTo>
                    <a:pt x="24" y="16"/>
                  </a:lnTo>
                  <a:lnTo>
                    <a:pt x="20" y="15"/>
                  </a:lnTo>
                  <a:lnTo>
                    <a:pt x="17" y="15"/>
                  </a:lnTo>
                  <a:lnTo>
                    <a:pt x="13" y="13"/>
                  </a:lnTo>
                  <a:lnTo>
                    <a:pt x="6" y="8"/>
                  </a:lnTo>
                  <a:lnTo>
                    <a:pt x="3" y="3"/>
                  </a:lnTo>
                  <a:lnTo>
                    <a:pt x="0" y="0"/>
                  </a:lnTo>
                  <a:lnTo>
                    <a:pt x="3" y="2"/>
                  </a:lnTo>
                  <a:lnTo>
                    <a:pt x="8" y="3"/>
                  </a:lnTo>
                  <a:lnTo>
                    <a:pt x="11" y="3"/>
                  </a:lnTo>
                  <a:lnTo>
                    <a:pt x="14" y="7"/>
                  </a:lnTo>
                  <a:lnTo>
                    <a:pt x="24" y="7"/>
                  </a:lnTo>
                  <a:lnTo>
                    <a:pt x="32" y="7"/>
                  </a:lnTo>
                  <a:lnTo>
                    <a:pt x="36" y="3"/>
                  </a:lnTo>
                  <a:lnTo>
                    <a:pt x="39" y="3"/>
                  </a:lnTo>
                  <a:lnTo>
                    <a:pt x="43" y="3"/>
                  </a:lnTo>
                  <a:lnTo>
                    <a:pt x="46" y="5"/>
                  </a:lnTo>
                  <a:lnTo>
                    <a:pt x="55" y="7"/>
                  </a:lnTo>
                  <a:lnTo>
                    <a:pt x="63" y="11"/>
                  </a:lnTo>
                  <a:lnTo>
                    <a:pt x="71" y="18"/>
                  </a:lnTo>
                  <a:lnTo>
                    <a:pt x="79" y="23"/>
                  </a:lnTo>
                  <a:lnTo>
                    <a:pt x="74" y="21"/>
                  </a:lnTo>
                  <a:lnTo>
                    <a:pt x="70" y="21"/>
                  </a:lnTo>
                  <a:lnTo>
                    <a:pt x="66" y="19"/>
                  </a:lnTo>
                  <a:lnTo>
                    <a:pt x="63" y="18"/>
                  </a:lnTo>
                  <a:lnTo>
                    <a:pt x="60" y="16"/>
                  </a:lnTo>
                  <a:lnTo>
                    <a:pt x="55" y="16"/>
                  </a:lnTo>
                  <a:lnTo>
                    <a:pt x="46" y="13"/>
                  </a:lnTo>
                  <a:lnTo>
                    <a:pt x="35" y="11"/>
                  </a:lnTo>
                  <a:lnTo>
                    <a:pt x="39" y="1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31" name="Freeform 365"/>
            <p:cNvSpPr>
              <a:spLocks/>
            </p:cNvSpPr>
            <p:nvPr/>
          </p:nvSpPr>
          <p:spPr bwMode="auto">
            <a:xfrm>
              <a:off x="9571683" y="3041731"/>
              <a:ext cx="11763" cy="13540"/>
            </a:xfrm>
            <a:custGeom>
              <a:avLst/>
              <a:gdLst>
                <a:gd name="T0" fmla="*/ 7 w 16"/>
                <a:gd name="T1" fmla="*/ 15 h 15"/>
                <a:gd name="T2" fmla="*/ 4 w 16"/>
                <a:gd name="T3" fmla="*/ 12 h 15"/>
                <a:gd name="T4" fmla="*/ 4 w 16"/>
                <a:gd name="T5" fmla="*/ 9 h 15"/>
                <a:gd name="T6" fmla="*/ 0 w 16"/>
                <a:gd name="T7" fmla="*/ 6 h 15"/>
                <a:gd name="T8" fmla="*/ 4 w 16"/>
                <a:gd name="T9" fmla="*/ 7 h 15"/>
                <a:gd name="T10" fmla="*/ 7 w 16"/>
                <a:gd name="T11" fmla="*/ 7 h 15"/>
                <a:gd name="T12" fmla="*/ 4 w 16"/>
                <a:gd name="T13" fmla="*/ 6 h 15"/>
                <a:gd name="T14" fmla="*/ 0 w 16"/>
                <a:gd name="T15" fmla="*/ 3 h 15"/>
                <a:gd name="T16" fmla="*/ 4 w 16"/>
                <a:gd name="T17" fmla="*/ 0 h 15"/>
                <a:gd name="T18" fmla="*/ 7 w 16"/>
                <a:gd name="T19" fmla="*/ 1 h 15"/>
                <a:gd name="T20" fmla="*/ 10 w 16"/>
                <a:gd name="T21" fmla="*/ 4 h 15"/>
                <a:gd name="T22" fmla="*/ 13 w 16"/>
                <a:gd name="T23" fmla="*/ 4 h 15"/>
                <a:gd name="T24" fmla="*/ 16 w 16"/>
                <a:gd name="T25" fmla="*/ 9 h 15"/>
                <a:gd name="T26" fmla="*/ 13 w 16"/>
                <a:gd name="T27" fmla="*/ 11 h 15"/>
                <a:gd name="T28" fmla="*/ 12 w 16"/>
                <a:gd name="T29" fmla="*/ 14 h 15"/>
                <a:gd name="T30" fmla="*/ 8 w 16"/>
                <a:gd name="T31" fmla="*/ 12 h 15"/>
                <a:gd name="T32" fmla="*/ 7 w 16"/>
                <a:gd name="T3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6" h="15">
                  <a:moveTo>
                    <a:pt x="7" y="15"/>
                  </a:moveTo>
                  <a:lnTo>
                    <a:pt x="4" y="12"/>
                  </a:lnTo>
                  <a:lnTo>
                    <a:pt x="4" y="9"/>
                  </a:lnTo>
                  <a:lnTo>
                    <a:pt x="0" y="6"/>
                  </a:lnTo>
                  <a:lnTo>
                    <a:pt x="4" y="7"/>
                  </a:lnTo>
                  <a:lnTo>
                    <a:pt x="7" y="7"/>
                  </a:lnTo>
                  <a:lnTo>
                    <a:pt x="4" y="6"/>
                  </a:lnTo>
                  <a:lnTo>
                    <a:pt x="0" y="3"/>
                  </a:lnTo>
                  <a:lnTo>
                    <a:pt x="4" y="0"/>
                  </a:lnTo>
                  <a:lnTo>
                    <a:pt x="7" y="1"/>
                  </a:lnTo>
                  <a:lnTo>
                    <a:pt x="10" y="4"/>
                  </a:lnTo>
                  <a:lnTo>
                    <a:pt x="13" y="4"/>
                  </a:lnTo>
                  <a:lnTo>
                    <a:pt x="16" y="9"/>
                  </a:lnTo>
                  <a:lnTo>
                    <a:pt x="13" y="11"/>
                  </a:lnTo>
                  <a:lnTo>
                    <a:pt x="12" y="14"/>
                  </a:lnTo>
                  <a:lnTo>
                    <a:pt x="8" y="12"/>
                  </a:lnTo>
                  <a:lnTo>
                    <a:pt x="7" y="1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32" name="Freeform 366"/>
            <p:cNvSpPr>
              <a:spLocks/>
            </p:cNvSpPr>
            <p:nvPr/>
          </p:nvSpPr>
          <p:spPr bwMode="auto">
            <a:xfrm>
              <a:off x="9581976" y="3045116"/>
              <a:ext cx="5881" cy="5077"/>
            </a:xfrm>
            <a:custGeom>
              <a:avLst/>
              <a:gdLst>
                <a:gd name="T0" fmla="*/ 0 w 8"/>
                <a:gd name="T1" fmla="*/ 0 h 5"/>
                <a:gd name="T2" fmla="*/ 3 w 8"/>
                <a:gd name="T3" fmla="*/ 0 h 5"/>
                <a:gd name="T4" fmla="*/ 8 w 8"/>
                <a:gd name="T5" fmla="*/ 3 h 5"/>
                <a:gd name="T6" fmla="*/ 8 w 8"/>
                <a:gd name="T7" fmla="*/ 5 h 5"/>
                <a:gd name="T8" fmla="*/ 3 w 8"/>
                <a:gd name="T9" fmla="*/ 3 h 5"/>
                <a:gd name="T10" fmla="*/ 0 w 8"/>
                <a:gd name="T11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" h="5">
                  <a:moveTo>
                    <a:pt x="0" y="0"/>
                  </a:moveTo>
                  <a:lnTo>
                    <a:pt x="3" y="0"/>
                  </a:lnTo>
                  <a:lnTo>
                    <a:pt x="8" y="3"/>
                  </a:lnTo>
                  <a:lnTo>
                    <a:pt x="8" y="5"/>
                  </a:lnTo>
                  <a:lnTo>
                    <a:pt x="3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33" name="Freeform 367"/>
            <p:cNvSpPr>
              <a:spLocks/>
            </p:cNvSpPr>
            <p:nvPr/>
          </p:nvSpPr>
          <p:spPr bwMode="auto">
            <a:xfrm>
              <a:off x="6095748" y="2493383"/>
              <a:ext cx="5881" cy="3385"/>
            </a:xfrm>
            <a:custGeom>
              <a:avLst/>
              <a:gdLst>
                <a:gd name="T0" fmla="*/ 3 w 8"/>
                <a:gd name="T1" fmla="*/ 0 h 3"/>
                <a:gd name="T2" fmla="*/ 0 w 8"/>
                <a:gd name="T3" fmla="*/ 1 h 3"/>
                <a:gd name="T4" fmla="*/ 3 w 8"/>
                <a:gd name="T5" fmla="*/ 3 h 3"/>
                <a:gd name="T6" fmla="*/ 8 w 8"/>
                <a:gd name="T7" fmla="*/ 1 h 3"/>
                <a:gd name="T8" fmla="*/ 3 w 8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3">
                  <a:moveTo>
                    <a:pt x="3" y="0"/>
                  </a:moveTo>
                  <a:lnTo>
                    <a:pt x="0" y="1"/>
                  </a:lnTo>
                  <a:lnTo>
                    <a:pt x="3" y="3"/>
                  </a:lnTo>
                  <a:lnTo>
                    <a:pt x="8" y="1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34" name="Freeform 368"/>
            <p:cNvSpPr>
              <a:spLocks/>
            </p:cNvSpPr>
            <p:nvPr/>
          </p:nvSpPr>
          <p:spPr bwMode="auto">
            <a:xfrm>
              <a:off x="6060458" y="2491692"/>
              <a:ext cx="4411" cy="1692"/>
            </a:xfrm>
            <a:custGeom>
              <a:avLst/>
              <a:gdLst>
                <a:gd name="T0" fmla="*/ 7 w 7"/>
                <a:gd name="T1" fmla="*/ 0 h 4"/>
                <a:gd name="T2" fmla="*/ 4 w 7"/>
                <a:gd name="T3" fmla="*/ 2 h 4"/>
                <a:gd name="T4" fmla="*/ 0 w 7"/>
                <a:gd name="T5" fmla="*/ 4 h 4"/>
                <a:gd name="T6" fmla="*/ 4 w 7"/>
                <a:gd name="T7" fmla="*/ 2 h 4"/>
                <a:gd name="T8" fmla="*/ 7 w 7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4">
                  <a:moveTo>
                    <a:pt x="7" y="0"/>
                  </a:moveTo>
                  <a:lnTo>
                    <a:pt x="4" y="2"/>
                  </a:lnTo>
                  <a:lnTo>
                    <a:pt x="0" y="4"/>
                  </a:lnTo>
                  <a:lnTo>
                    <a:pt x="4" y="2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35" name="Freeform 369"/>
            <p:cNvSpPr>
              <a:spLocks/>
            </p:cNvSpPr>
            <p:nvPr/>
          </p:nvSpPr>
          <p:spPr bwMode="auto">
            <a:xfrm>
              <a:off x="6169266" y="3239746"/>
              <a:ext cx="8822" cy="1692"/>
            </a:xfrm>
            <a:custGeom>
              <a:avLst/>
              <a:gdLst>
                <a:gd name="T0" fmla="*/ 11 w 11"/>
                <a:gd name="T1" fmla="*/ 2 h 2"/>
                <a:gd name="T2" fmla="*/ 7 w 11"/>
                <a:gd name="T3" fmla="*/ 2 h 2"/>
                <a:gd name="T4" fmla="*/ 4 w 11"/>
                <a:gd name="T5" fmla="*/ 2 h 2"/>
                <a:gd name="T6" fmla="*/ 0 w 11"/>
                <a:gd name="T7" fmla="*/ 0 h 2"/>
                <a:gd name="T8" fmla="*/ 4 w 11"/>
                <a:gd name="T9" fmla="*/ 0 h 2"/>
                <a:gd name="T10" fmla="*/ 7 w 11"/>
                <a:gd name="T11" fmla="*/ 0 h 2"/>
                <a:gd name="T12" fmla="*/ 11 w 11"/>
                <a:gd name="T13" fmla="*/ 2 h 2"/>
                <a:gd name="T14" fmla="*/ 11 w 11"/>
                <a:gd name="T1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" h="2">
                  <a:moveTo>
                    <a:pt x="11" y="2"/>
                  </a:moveTo>
                  <a:lnTo>
                    <a:pt x="7" y="2"/>
                  </a:lnTo>
                  <a:lnTo>
                    <a:pt x="4" y="2"/>
                  </a:lnTo>
                  <a:lnTo>
                    <a:pt x="0" y="0"/>
                  </a:lnTo>
                  <a:lnTo>
                    <a:pt x="4" y="0"/>
                  </a:lnTo>
                  <a:lnTo>
                    <a:pt x="7" y="0"/>
                  </a:lnTo>
                  <a:lnTo>
                    <a:pt x="11" y="2"/>
                  </a:lnTo>
                  <a:lnTo>
                    <a:pt x="11" y="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36" name="Freeform 370"/>
            <p:cNvSpPr>
              <a:spLocks/>
            </p:cNvSpPr>
            <p:nvPr/>
          </p:nvSpPr>
          <p:spPr bwMode="auto">
            <a:xfrm>
              <a:off x="8974716" y="3082350"/>
              <a:ext cx="16174" cy="25387"/>
            </a:xfrm>
            <a:custGeom>
              <a:avLst/>
              <a:gdLst>
                <a:gd name="T0" fmla="*/ 15 w 21"/>
                <a:gd name="T1" fmla="*/ 30 h 30"/>
                <a:gd name="T2" fmla="*/ 13 w 21"/>
                <a:gd name="T3" fmla="*/ 27 h 30"/>
                <a:gd name="T4" fmla="*/ 15 w 21"/>
                <a:gd name="T5" fmla="*/ 24 h 30"/>
                <a:gd name="T6" fmla="*/ 18 w 21"/>
                <a:gd name="T7" fmla="*/ 22 h 30"/>
                <a:gd name="T8" fmla="*/ 21 w 21"/>
                <a:gd name="T9" fmla="*/ 19 h 30"/>
                <a:gd name="T10" fmla="*/ 21 w 21"/>
                <a:gd name="T11" fmla="*/ 16 h 30"/>
                <a:gd name="T12" fmla="*/ 19 w 21"/>
                <a:gd name="T13" fmla="*/ 13 h 30"/>
                <a:gd name="T14" fmla="*/ 21 w 21"/>
                <a:gd name="T15" fmla="*/ 10 h 30"/>
                <a:gd name="T16" fmla="*/ 16 w 21"/>
                <a:gd name="T17" fmla="*/ 5 h 30"/>
                <a:gd name="T18" fmla="*/ 13 w 21"/>
                <a:gd name="T19" fmla="*/ 2 h 30"/>
                <a:gd name="T20" fmla="*/ 10 w 21"/>
                <a:gd name="T21" fmla="*/ 0 h 30"/>
                <a:gd name="T22" fmla="*/ 7 w 21"/>
                <a:gd name="T23" fmla="*/ 3 h 30"/>
                <a:gd name="T24" fmla="*/ 10 w 21"/>
                <a:gd name="T25" fmla="*/ 6 h 30"/>
                <a:gd name="T26" fmla="*/ 10 w 21"/>
                <a:gd name="T27" fmla="*/ 10 h 30"/>
                <a:gd name="T28" fmla="*/ 10 w 21"/>
                <a:gd name="T29" fmla="*/ 14 h 30"/>
                <a:gd name="T30" fmla="*/ 7 w 21"/>
                <a:gd name="T31" fmla="*/ 14 h 30"/>
                <a:gd name="T32" fmla="*/ 4 w 21"/>
                <a:gd name="T33" fmla="*/ 16 h 30"/>
                <a:gd name="T34" fmla="*/ 0 w 21"/>
                <a:gd name="T35" fmla="*/ 18 h 30"/>
                <a:gd name="T36" fmla="*/ 2 w 21"/>
                <a:gd name="T37" fmla="*/ 22 h 30"/>
                <a:gd name="T38" fmla="*/ 5 w 21"/>
                <a:gd name="T39" fmla="*/ 25 h 30"/>
                <a:gd name="T40" fmla="*/ 8 w 21"/>
                <a:gd name="T41" fmla="*/ 29 h 30"/>
                <a:gd name="T42" fmla="*/ 12 w 21"/>
                <a:gd name="T43" fmla="*/ 29 h 30"/>
                <a:gd name="T44" fmla="*/ 15 w 21"/>
                <a:gd name="T4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" h="30">
                  <a:moveTo>
                    <a:pt x="15" y="30"/>
                  </a:moveTo>
                  <a:lnTo>
                    <a:pt x="13" y="27"/>
                  </a:lnTo>
                  <a:lnTo>
                    <a:pt x="15" y="24"/>
                  </a:lnTo>
                  <a:lnTo>
                    <a:pt x="18" y="22"/>
                  </a:lnTo>
                  <a:lnTo>
                    <a:pt x="21" y="19"/>
                  </a:lnTo>
                  <a:lnTo>
                    <a:pt x="21" y="16"/>
                  </a:lnTo>
                  <a:lnTo>
                    <a:pt x="19" y="13"/>
                  </a:lnTo>
                  <a:lnTo>
                    <a:pt x="21" y="10"/>
                  </a:lnTo>
                  <a:lnTo>
                    <a:pt x="16" y="5"/>
                  </a:lnTo>
                  <a:lnTo>
                    <a:pt x="13" y="2"/>
                  </a:lnTo>
                  <a:lnTo>
                    <a:pt x="10" y="0"/>
                  </a:lnTo>
                  <a:lnTo>
                    <a:pt x="7" y="3"/>
                  </a:lnTo>
                  <a:lnTo>
                    <a:pt x="10" y="6"/>
                  </a:lnTo>
                  <a:lnTo>
                    <a:pt x="10" y="10"/>
                  </a:lnTo>
                  <a:lnTo>
                    <a:pt x="10" y="14"/>
                  </a:lnTo>
                  <a:lnTo>
                    <a:pt x="7" y="14"/>
                  </a:lnTo>
                  <a:lnTo>
                    <a:pt x="4" y="16"/>
                  </a:lnTo>
                  <a:lnTo>
                    <a:pt x="0" y="18"/>
                  </a:lnTo>
                  <a:lnTo>
                    <a:pt x="2" y="22"/>
                  </a:lnTo>
                  <a:lnTo>
                    <a:pt x="5" y="25"/>
                  </a:lnTo>
                  <a:lnTo>
                    <a:pt x="8" y="29"/>
                  </a:lnTo>
                  <a:lnTo>
                    <a:pt x="12" y="29"/>
                  </a:lnTo>
                  <a:lnTo>
                    <a:pt x="15" y="3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grpSp>
          <p:nvGrpSpPr>
            <p:cNvPr id="237" name="Group 911"/>
            <p:cNvGrpSpPr/>
            <p:nvPr/>
          </p:nvGrpSpPr>
          <p:grpSpPr>
            <a:xfrm>
              <a:off x="6017820" y="2926643"/>
              <a:ext cx="1410078" cy="1081455"/>
              <a:chOff x="4802765" y="2210432"/>
              <a:chExt cx="1491734" cy="964958"/>
            </a:xfrm>
            <a:solidFill>
              <a:srgbClr val="A6A6A6"/>
            </a:solidFill>
          </p:grpSpPr>
          <p:grpSp>
            <p:nvGrpSpPr>
              <p:cNvPr id="727" name="Group 372"/>
              <p:cNvGrpSpPr>
                <a:grpSpLocks/>
              </p:cNvGrpSpPr>
              <p:nvPr/>
            </p:nvGrpSpPr>
            <p:grpSpPr bwMode="auto">
              <a:xfrm>
                <a:off x="5280307" y="2681590"/>
                <a:ext cx="566206" cy="453034"/>
                <a:chOff x="3348" y="1677"/>
                <a:chExt cx="364" cy="300"/>
              </a:xfrm>
              <a:grpFill/>
            </p:grpSpPr>
            <p:sp>
              <p:nvSpPr>
                <p:cNvPr id="752" name="Freeform 373"/>
                <p:cNvSpPr>
                  <a:spLocks/>
                </p:cNvSpPr>
                <p:nvPr/>
              </p:nvSpPr>
              <p:spPr bwMode="auto">
                <a:xfrm>
                  <a:off x="3348" y="1677"/>
                  <a:ext cx="364" cy="300"/>
                </a:xfrm>
                <a:custGeom>
                  <a:avLst/>
                  <a:gdLst>
                    <a:gd name="T0" fmla="*/ 22 w 728"/>
                    <a:gd name="T1" fmla="*/ 5 h 599"/>
                    <a:gd name="T2" fmla="*/ 51 w 728"/>
                    <a:gd name="T3" fmla="*/ 32 h 599"/>
                    <a:gd name="T4" fmla="*/ 92 w 728"/>
                    <a:gd name="T5" fmla="*/ 30 h 599"/>
                    <a:gd name="T6" fmla="*/ 122 w 728"/>
                    <a:gd name="T7" fmla="*/ 6 h 599"/>
                    <a:gd name="T8" fmla="*/ 144 w 728"/>
                    <a:gd name="T9" fmla="*/ 32 h 599"/>
                    <a:gd name="T10" fmla="*/ 159 w 728"/>
                    <a:gd name="T11" fmla="*/ 55 h 599"/>
                    <a:gd name="T12" fmla="*/ 216 w 728"/>
                    <a:gd name="T13" fmla="*/ 97 h 599"/>
                    <a:gd name="T14" fmla="*/ 286 w 728"/>
                    <a:gd name="T15" fmla="*/ 130 h 599"/>
                    <a:gd name="T16" fmla="*/ 351 w 728"/>
                    <a:gd name="T17" fmla="*/ 120 h 599"/>
                    <a:gd name="T18" fmla="*/ 352 w 728"/>
                    <a:gd name="T19" fmla="*/ 100 h 599"/>
                    <a:gd name="T20" fmla="*/ 381 w 728"/>
                    <a:gd name="T21" fmla="*/ 76 h 599"/>
                    <a:gd name="T22" fmla="*/ 422 w 728"/>
                    <a:gd name="T23" fmla="*/ 62 h 599"/>
                    <a:gd name="T24" fmla="*/ 452 w 728"/>
                    <a:gd name="T25" fmla="*/ 65 h 599"/>
                    <a:gd name="T26" fmla="*/ 484 w 728"/>
                    <a:gd name="T27" fmla="*/ 81 h 599"/>
                    <a:gd name="T28" fmla="*/ 520 w 728"/>
                    <a:gd name="T29" fmla="*/ 92 h 599"/>
                    <a:gd name="T30" fmla="*/ 552 w 728"/>
                    <a:gd name="T31" fmla="*/ 111 h 599"/>
                    <a:gd name="T32" fmla="*/ 595 w 728"/>
                    <a:gd name="T33" fmla="*/ 138 h 599"/>
                    <a:gd name="T34" fmla="*/ 606 w 728"/>
                    <a:gd name="T35" fmla="*/ 173 h 599"/>
                    <a:gd name="T36" fmla="*/ 601 w 728"/>
                    <a:gd name="T37" fmla="*/ 209 h 599"/>
                    <a:gd name="T38" fmla="*/ 593 w 728"/>
                    <a:gd name="T39" fmla="*/ 249 h 599"/>
                    <a:gd name="T40" fmla="*/ 600 w 728"/>
                    <a:gd name="T41" fmla="*/ 276 h 599"/>
                    <a:gd name="T42" fmla="*/ 616 w 728"/>
                    <a:gd name="T43" fmla="*/ 333 h 599"/>
                    <a:gd name="T44" fmla="*/ 650 w 728"/>
                    <a:gd name="T45" fmla="*/ 344 h 599"/>
                    <a:gd name="T46" fmla="*/ 650 w 728"/>
                    <a:gd name="T47" fmla="*/ 373 h 599"/>
                    <a:gd name="T48" fmla="*/ 655 w 728"/>
                    <a:gd name="T49" fmla="*/ 436 h 599"/>
                    <a:gd name="T50" fmla="*/ 687 w 728"/>
                    <a:gd name="T51" fmla="*/ 463 h 599"/>
                    <a:gd name="T52" fmla="*/ 711 w 728"/>
                    <a:gd name="T53" fmla="*/ 512 h 599"/>
                    <a:gd name="T54" fmla="*/ 727 w 728"/>
                    <a:gd name="T55" fmla="*/ 520 h 599"/>
                    <a:gd name="T56" fmla="*/ 698 w 728"/>
                    <a:gd name="T57" fmla="*/ 541 h 599"/>
                    <a:gd name="T58" fmla="*/ 681 w 728"/>
                    <a:gd name="T59" fmla="*/ 560 h 599"/>
                    <a:gd name="T60" fmla="*/ 666 w 728"/>
                    <a:gd name="T61" fmla="*/ 599 h 599"/>
                    <a:gd name="T62" fmla="*/ 628 w 728"/>
                    <a:gd name="T63" fmla="*/ 588 h 599"/>
                    <a:gd name="T64" fmla="*/ 595 w 728"/>
                    <a:gd name="T65" fmla="*/ 585 h 599"/>
                    <a:gd name="T66" fmla="*/ 558 w 728"/>
                    <a:gd name="T67" fmla="*/ 580 h 599"/>
                    <a:gd name="T68" fmla="*/ 525 w 728"/>
                    <a:gd name="T69" fmla="*/ 572 h 599"/>
                    <a:gd name="T70" fmla="*/ 506 w 728"/>
                    <a:gd name="T71" fmla="*/ 523 h 599"/>
                    <a:gd name="T72" fmla="*/ 462 w 728"/>
                    <a:gd name="T73" fmla="*/ 522 h 599"/>
                    <a:gd name="T74" fmla="*/ 435 w 728"/>
                    <a:gd name="T75" fmla="*/ 541 h 599"/>
                    <a:gd name="T76" fmla="*/ 397 w 728"/>
                    <a:gd name="T77" fmla="*/ 534 h 599"/>
                    <a:gd name="T78" fmla="*/ 354 w 728"/>
                    <a:gd name="T79" fmla="*/ 503 h 599"/>
                    <a:gd name="T80" fmla="*/ 303 w 728"/>
                    <a:gd name="T81" fmla="*/ 477 h 599"/>
                    <a:gd name="T82" fmla="*/ 284 w 728"/>
                    <a:gd name="T83" fmla="*/ 444 h 599"/>
                    <a:gd name="T84" fmla="*/ 271 w 728"/>
                    <a:gd name="T85" fmla="*/ 419 h 599"/>
                    <a:gd name="T86" fmla="*/ 254 w 728"/>
                    <a:gd name="T87" fmla="*/ 393 h 599"/>
                    <a:gd name="T88" fmla="*/ 222 w 728"/>
                    <a:gd name="T89" fmla="*/ 388 h 599"/>
                    <a:gd name="T90" fmla="*/ 211 w 728"/>
                    <a:gd name="T91" fmla="*/ 379 h 599"/>
                    <a:gd name="T92" fmla="*/ 202 w 728"/>
                    <a:gd name="T93" fmla="*/ 401 h 599"/>
                    <a:gd name="T94" fmla="*/ 181 w 728"/>
                    <a:gd name="T95" fmla="*/ 377 h 599"/>
                    <a:gd name="T96" fmla="*/ 162 w 728"/>
                    <a:gd name="T97" fmla="*/ 319 h 599"/>
                    <a:gd name="T98" fmla="*/ 149 w 728"/>
                    <a:gd name="T99" fmla="*/ 298 h 599"/>
                    <a:gd name="T100" fmla="*/ 111 w 728"/>
                    <a:gd name="T101" fmla="*/ 279 h 599"/>
                    <a:gd name="T102" fmla="*/ 94 w 728"/>
                    <a:gd name="T103" fmla="*/ 257 h 599"/>
                    <a:gd name="T104" fmla="*/ 75 w 728"/>
                    <a:gd name="T105" fmla="*/ 235 h 599"/>
                    <a:gd name="T106" fmla="*/ 79 w 728"/>
                    <a:gd name="T107" fmla="*/ 206 h 599"/>
                    <a:gd name="T108" fmla="*/ 94 w 728"/>
                    <a:gd name="T109" fmla="*/ 187 h 599"/>
                    <a:gd name="T110" fmla="*/ 89 w 728"/>
                    <a:gd name="T111" fmla="*/ 160 h 599"/>
                    <a:gd name="T112" fmla="*/ 60 w 728"/>
                    <a:gd name="T113" fmla="*/ 147 h 599"/>
                    <a:gd name="T114" fmla="*/ 41 w 728"/>
                    <a:gd name="T115" fmla="*/ 119 h 599"/>
                    <a:gd name="T116" fmla="*/ 29 w 728"/>
                    <a:gd name="T117" fmla="*/ 86 h 599"/>
                    <a:gd name="T118" fmla="*/ 21 w 728"/>
                    <a:gd name="T119" fmla="*/ 59 h 599"/>
                    <a:gd name="T120" fmla="*/ 8 w 728"/>
                    <a:gd name="T121" fmla="*/ 30 h 5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728" h="599">
                      <a:moveTo>
                        <a:pt x="0" y="16"/>
                      </a:moveTo>
                      <a:lnTo>
                        <a:pt x="3" y="16"/>
                      </a:lnTo>
                      <a:lnTo>
                        <a:pt x="10" y="16"/>
                      </a:lnTo>
                      <a:lnTo>
                        <a:pt x="11" y="14"/>
                      </a:lnTo>
                      <a:lnTo>
                        <a:pt x="13" y="11"/>
                      </a:lnTo>
                      <a:lnTo>
                        <a:pt x="13" y="8"/>
                      </a:lnTo>
                      <a:lnTo>
                        <a:pt x="13" y="5"/>
                      </a:lnTo>
                      <a:lnTo>
                        <a:pt x="13" y="3"/>
                      </a:lnTo>
                      <a:lnTo>
                        <a:pt x="16" y="0"/>
                      </a:lnTo>
                      <a:lnTo>
                        <a:pt x="19" y="2"/>
                      </a:lnTo>
                      <a:lnTo>
                        <a:pt x="22" y="5"/>
                      </a:lnTo>
                      <a:lnTo>
                        <a:pt x="24" y="6"/>
                      </a:lnTo>
                      <a:lnTo>
                        <a:pt x="29" y="9"/>
                      </a:lnTo>
                      <a:lnTo>
                        <a:pt x="29" y="13"/>
                      </a:lnTo>
                      <a:lnTo>
                        <a:pt x="32" y="14"/>
                      </a:lnTo>
                      <a:lnTo>
                        <a:pt x="35" y="17"/>
                      </a:lnTo>
                      <a:lnTo>
                        <a:pt x="38" y="21"/>
                      </a:lnTo>
                      <a:lnTo>
                        <a:pt x="41" y="24"/>
                      </a:lnTo>
                      <a:lnTo>
                        <a:pt x="45" y="25"/>
                      </a:lnTo>
                      <a:lnTo>
                        <a:pt x="46" y="28"/>
                      </a:lnTo>
                      <a:lnTo>
                        <a:pt x="49" y="32"/>
                      </a:lnTo>
                      <a:lnTo>
                        <a:pt x="51" y="32"/>
                      </a:lnTo>
                      <a:lnTo>
                        <a:pt x="59" y="35"/>
                      </a:lnTo>
                      <a:lnTo>
                        <a:pt x="67" y="36"/>
                      </a:lnTo>
                      <a:lnTo>
                        <a:pt x="70" y="36"/>
                      </a:lnTo>
                      <a:lnTo>
                        <a:pt x="75" y="38"/>
                      </a:lnTo>
                      <a:lnTo>
                        <a:pt x="75" y="38"/>
                      </a:lnTo>
                      <a:lnTo>
                        <a:pt x="78" y="36"/>
                      </a:lnTo>
                      <a:lnTo>
                        <a:pt x="81" y="35"/>
                      </a:lnTo>
                      <a:lnTo>
                        <a:pt x="86" y="36"/>
                      </a:lnTo>
                      <a:lnTo>
                        <a:pt x="87" y="36"/>
                      </a:lnTo>
                      <a:lnTo>
                        <a:pt x="89" y="33"/>
                      </a:lnTo>
                      <a:lnTo>
                        <a:pt x="92" y="30"/>
                      </a:lnTo>
                      <a:lnTo>
                        <a:pt x="94" y="27"/>
                      </a:lnTo>
                      <a:lnTo>
                        <a:pt x="97" y="25"/>
                      </a:lnTo>
                      <a:lnTo>
                        <a:pt x="102" y="24"/>
                      </a:lnTo>
                      <a:lnTo>
                        <a:pt x="102" y="21"/>
                      </a:lnTo>
                      <a:lnTo>
                        <a:pt x="103" y="17"/>
                      </a:lnTo>
                      <a:lnTo>
                        <a:pt x="108" y="17"/>
                      </a:lnTo>
                      <a:lnTo>
                        <a:pt x="111" y="13"/>
                      </a:lnTo>
                      <a:lnTo>
                        <a:pt x="111" y="13"/>
                      </a:lnTo>
                      <a:lnTo>
                        <a:pt x="114" y="11"/>
                      </a:lnTo>
                      <a:lnTo>
                        <a:pt x="118" y="8"/>
                      </a:lnTo>
                      <a:lnTo>
                        <a:pt x="122" y="6"/>
                      </a:lnTo>
                      <a:lnTo>
                        <a:pt x="125" y="3"/>
                      </a:lnTo>
                      <a:lnTo>
                        <a:pt x="129" y="3"/>
                      </a:lnTo>
                      <a:lnTo>
                        <a:pt x="130" y="2"/>
                      </a:lnTo>
                      <a:lnTo>
                        <a:pt x="137" y="8"/>
                      </a:lnTo>
                      <a:lnTo>
                        <a:pt x="144" y="16"/>
                      </a:lnTo>
                      <a:lnTo>
                        <a:pt x="141" y="17"/>
                      </a:lnTo>
                      <a:lnTo>
                        <a:pt x="137" y="21"/>
                      </a:lnTo>
                      <a:lnTo>
                        <a:pt x="138" y="24"/>
                      </a:lnTo>
                      <a:lnTo>
                        <a:pt x="141" y="25"/>
                      </a:lnTo>
                      <a:lnTo>
                        <a:pt x="146" y="30"/>
                      </a:lnTo>
                      <a:lnTo>
                        <a:pt x="144" y="32"/>
                      </a:lnTo>
                      <a:lnTo>
                        <a:pt x="140" y="33"/>
                      </a:lnTo>
                      <a:lnTo>
                        <a:pt x="137" y="35"/>
                      </a:lnTo>
                      <a:lnTo>
                        <a:pt x="137" y="38"/>
                      </a:lnTo>
                      <a:lnTo>
                        <a:pt x="140" y="41"/>
                      </a:lnTo>
                      <a:lnTo>
                        <a:pt x="143" y="43"/>
                      </a:lnTo>
                      <a:lnTo>
                        <a:pt x="146" y="46"/>
                      </a:lnTo>
                      <a:lnTo>
                        <a:pt x="149" y="47"/>
                      </a:lnTo>
                      <a:lnTo>
                        <a:pt x="152" y="49"/>
                      </a:lnTo>
                      <a:lnTo>
                        <a:pt x="157" y="52"/>
                      </a:lnTo>
                      <a:lnTo>
                        <a:pt x="159" y="55"/>
                      </a:lnTo>
                      <a:lnTo>
                        <a:pt x="159" y="55"/>
                      </a:lnTo>
                      <a:lnTo>
                        <a:pt x="164" y="55"/>
                      </a:lnTo>
                      <a:lnTo>
                        <a:pt x="165" y="54"/>
                      </a:lnTo>
                      <a:lnTo>
                        <a:pt x="168" y="54"/>
                      </a:lnTo>
                      <a:lnTo>
                        <a:pt x="171" y="68"/>
                      </a:lnTo>
                      <a:lnTo>
                        <a:pt x="176" y="81"/>
                      </a:lnTo>
                      <a:lnTo>
                        <a:pt x="179" y="87"/>
                      </a:lnTo>
                      <a:lnTo>
                        <a:pt x="186" y="90"/>
                      </a:lnTo>
                      <a:lnTo>
                        <a:pt x="192" y="93"/>
                      </a:lnTo>
                      <a:lnTo>
                        <a:pt x="200" y="93"/>
                      </a:lnTo>
                      <a:lnTo>
                        <a:pt x="210" y="95"/>
                      </a:lnTo>
                      <a:lnTo>
                        <a:pt x="216" y="97"/>
                      </a:lnTo>
                      <a:lnTo>
                        <a:pt x="219" y="98"/>
                      </a:lnTo>
                      <a:lnTo>
                        <a:pt x="221" y="101"/>
                      </a:lnTo>
                      <a:lnTo>
                        <a:pt x="224" y="105"/>
                      </a:lnTo>
                      <a:lnTo>
                        <a:pt x="227" y="109"/>
                      </a:lnTo>
                      <a:lnTo>
                        <a:pt x="233" y="114"/>
                      </a:lnTo>
                      <a:lnTo>
                        <a:pt x="243" y="119"/>
                      </a:lnTo>
                      <a:lnTo>
                        <a:pt x="256" y="124"/>
                      </a:lnTo>
                      <a:lnTo>
                        <a:pt x="267" y="127"/>
                      </a:lnTo>
                      <a:lnTo>
                        <a:pt x="275" y="128"/>
                      </a:lnTo>
                      <a:lnTo>
                        <a:pt x="281" y="130"/>
                      </a:lnTo>
                      <a:lnTo>
                        <a:pt x="286" y="130"/>
                      </a:lnTo>
                      <a:lnTo>
                        <a:pt x="294" y="127"/>
                      </a:lnTo>
                      <a:lnTo>
                        <a:pt x="308" y="124"/>
                      </a:lnTo>
                      <a:lnTo>
                        <a:pt x="321" y="120"/>
                      </a:lnTo>
                      <a:lnTo>
                        <a:pt x="335" y="117"/>
                      </a:lnTo>
                      <a:lnTo>
                        <a:pt x="347" y="117"/>
                      </a:lnTo>
                      <a:lnTo>
                        <a:pt x="344" y="119"/>
                      </a:lnTo>
                      <a:lnTo>
                        <a:pt x="341" y="119"/>
                      </a:lnTo>
                      <a:lnTo>
                        <a:pt x="336" y="119"/>
                      </a:lnTo>
                      <a:lnTo>
                        <a:pt x="341" y="120"/>
                      </a:lnTo>
                      <a:lnTo>
                        <a:pt x="347" y="120"/>
                      </a:lnTo>
                      <a:lnTo>
                        <a:pt x="351" y="120"/>
                      </a:lnTo>
                      <a:lnTo>
                        <a:pt x="351" y="117"/>
                      </a:lnTo>
                      <a:lnTo>
                        <a:pt x="349" y="114"/>
                      </a:lnTo>
                      <a:lnTo>
                        <a:pt x="349" y="113"/>
                      </a:lnTo>
                      <a:lnTo>
                        <a:pt x="347" y="109"/>
                      </a:lnTo>
                      <a:lnTo>
                        <a:pt x="346" y="106"/>
                      </a:lnTo>
                      <a:lnTo>
                        <a:pt x="344" y="103"/>
                      </a:lnTo>
                      <a:lnTo>
                        <a:pt x="344" y="100"/>
                      </a:lnTo>
                      <a:lnTo>
                        <a:pt x="344" y="98"/>
                      </a:lnTo>
                      <a:lnTo>
                        <a:pt x="344" y="98"/>
                      </a:lnTo>
                      <a:lnTo>
                        <a:pt x="349" y="100"/>
                      </a:lnTo>
                      <a:lnTo>
                        <a:pt x="352" y="100"/>
                      </a:lnTo>
                      <a:lnTo>
                        <a:pt x="355" y="100"/>
                      </a:lnTo>
                      <a:lnTo>
                        <a:pt x="359" y="98"/>
                      </a:lnTo>
                      <a:lnTo>
                        <a:pt x="363" y="97"/>
                      </a:lnTo>
                      <a:lnTo>
                        <a:pt x="367" y="95"/>
                      </a:lnTo>
                      <a:lnTo>
                        <a:pt x="370" y="93"/>
                      </a:lnTo>
                      <a:lnTo>
                        <a:pt x="373" y="90"/>
                      </a:lnTo>
                      <a:lnTo>
                        <a:pt x="371" y="87"/>
                      </a:lnTo>
                      <a:lnTo>
                        <a:pt x="371" y="84"/>
                      </a:lnTo>
                      <a:lnTo>
                        <a:pt x="374" y="81"/>
                      </a:lnTo>
                      <a:lnTo>
                        <a:pt x="378" y="79"/>
                      </a:lnTo>
                      <a:lnTo>
                        <a:pt x="381" y="76"/>
                      </a:lnTo>
                      <a:lnTo>
                        <a:pt x="384" y="73"/>
                      </a:lnTo>
                      <a:lnTo>
                        <a:pt x="386" y="73"/>
                      </a:lnTo>
                      <a:lnTo>
                        <a:pt x="389" y="71"/>
                      </a:lnTo>
                      <a:lnTo>
                        <a:pt x="392" y="68"/>
                      </a:lnTo>
                      <a:lnTo>
                        <a:pt x="397" y="68"/>
                      </a:lnTo>
                      <a:lnTo>
                        <a:pt x="400" y="68"/>
                      </a:lnTo>
                      <a:lnTo>
                        <a:pt x="403" y="68"/>
                      </a:lnTo>
                      <a:lnTo>
                        <a:pt x="411" y="68"/>
                      </a:lnTo>
                      <a:lnTo>
                        <a:pt x="420" y="68"/>
                      </a:lnTo>
                      <a:lnTo>
                        <a:pt x="419" y="65"/>
                      </a:lnTo>
                      <a:lnTo>
                        <a:pt x="422" y="62"/>
                      </a:lnTo>
                      <a:lnTo>
                        <a:pt x="425" y="62"/>
                      </a:lnTo>
                      <a:lnTo>
                        <a:pt x="428" y="62"/>
                      </a:lnTo>
                      <a:lnTo>
                        <a:pt x="433" y="60"/>
                      </a:lnTo>
                      <a:lnTo>
                        <a:pt x="433" y="60"/>
                      </a:lnTo>
                      <a:lnTo>
                        <a:pt x="436" y="63"/>
                      </a:lnTo>
                      <a:lnTo>
                        <a:pt x="439" y="63"/>
                      </a:lnTo>
                      <a:lnTo>
                        <a:pt x="441" y="63"/>
                      </a:lnTo>
                      <a:lnTo>
                        <a:pt x="444" y="63"/>
                      </a:lnTo>
                      <a:lnTo>
                        <a:pt x="446" y="62"/>
                      </a:lnTo>
                      <a:lnTo>
                        <a:pt x="449" y="62"/>
                      </a:lnTo>
                      <a:lnTo>
                        <a:pt x="452" y="65"/>
                      </a:lnTo>
                      <a:lnTo>
                        <a:pt x="455" y="70"/>
                      </a:lnTo>
                      <a:lnTo>
                        <a:pt x="455" y="73"/>
                      </a:lnTo>
                      <a:lnTo>
                        <a:pt x="459" y="74"/>
                      </a:lnTo>
                      <a:lnTo>
                        <a:pt x="462" y="74"/>
                      </a:lnTo>
                      <a:lnTo>
                        <a:pt x="466" y="76"/>
                      </a:lnTo>
                      <a:lnTo>
                        <a:pt x="470" y="76"/>
                      </a:lnTo>
                      <a:lnTo>
                        <a:pt x="473" y="78"/>
                      </a:lnTo>
                      <a:lnTo>
                        <a:pt x="476" y="78"/>
                      </a:lnTo>
                      <a:lnTo>
                        <a:pt x="478" y="79"/>
                      </a:lnTo>
                      <a:lnTo>
                        <a:pt x="481" y="81"/>
                      </a:lnTo>
                      <a:lnTo>
                        <a:pt x="484" y="81"/>
                      </a:lnTo>
                      <a:lnTo>
                        <a:pt x="487" y="84"/>
                      </a:lnTo>
                      <a:lnTo>
                        <a:pt x="490" y="86"/>
                      </a:lnTo>
                      <a:lnTo>
                        <a:pt x="493" y="87"/>
                      </a:lnTo>
                      <a:lnTo>
                        <a:pt x="497" y="87"/>
                      </a:lnTo>
                      <a:lnTo>
                        <a:pt x="500" y="86"/>
                      </a:lnTo>
                      <a:lnTo>
                        <a:pt x="503" y="87"/>
                      </a:lnTo>
                      <a:lnTo>
                        <a:pt x="506" y="86"/>
                      </a:lnTo>
                      <a:lnTo>
                        <a:pt x="511" y="86"/>
                      </a:lnTo>
                      <a:lnTo>
                        <a:pt x="514" y="87"/>
                      </a:lnTo>
                      <a:lnTo>
                        <a:pt x="517" y="89"/>
                      </a:lnTo>
                      <a:lnTo>
                        <a:pt x="520" y="92"/>
                      </a:lnTo>
                      <a:lnTo>
                        <a:pt x="524" y="90"/>
                      </a:lnTo>
                      <a:lnTo>
                        <a:pt x="527" y="95"/>
                      </a:lnTo>
                      <a:lnTo>
                        <a:pt x="528" y="98"/>
                      </a:lnTo>
                      <a:lnTo>
                        <a:pt x="530" y="101"/>
                      </a:lnTo>
                      <a:lnTo>
                        <a:pt x="533" y="105"/>
                      </a:lnTo>
                      <a:lnTo>
                        <a:pt x="538" y="106"/>
                      </a:lnTo>
                      <a:lnTo>
                        <a:pt x="541" y="106"/>
                      </a:lnTo>
                      <a:lnTo>
                        <a:pt x="544" y="108"/>
                      </a:lnTo>
                      <a:lnTo>
                        <a:pt x="547" y="109"/>
                      </a:lnTo>
                      <a:lnTo>
                        <a:pt x="550" y="111"/>
                      </a:lnTo>
                      <a:lnTo>
                        <a:pt x="552" y="111"/>
                      </a:lnTo>
                      <a:lnTo>
                        <a:pt x="555" y="114"/>
                      </a:lnTo>
                      <a:lnTo>
                        <a:pt x="558" y="117"/>
                      </a:lnTo>
                      <a:lnTo>
                        <a:pt x="562" y="120"/>
                      </a:lnTo>
                      <a:lnTo>
                        <a:pt x="563" y="125"/>
                      </a:lnTo>
                      <a:lnTo>
                        <a:pt x="568" y="127"/>
                      </a:lnTo>
                      <a:lnTo>
                        <a:pt x="574" y="127"/>
                      </a:lnTo>
                      <a:lnTo>
                        <a:pt x="584" y="127"/>
                      </a:lnTo>
                      <a:lnTo>
                        <a:pt x="593" y="127"/>
                      </a:lnTo>
                      <a:lnTo>
                        <a:pt x="595" y="130"/>
                      </a:lnTo>
                      <a:lnTo>
                        <a:pt x="595" y="133"/>
                      </a:lnTo>
                      <a:lnTo>
                        <a:pt x="595" y="138"/>
                      </a:lnTo>
                      <a:lnTo>
                        <a:pt x="596" y="141"/>
                      </a:lnTo>
                      <a:lnTo>
                        <a:pt x="598" y="144"/>
                      </a:lnTo>
                      <a:lnTo>
                        <a:pt x="600" y="147"/>
                      </a:lnTo>
                      <a:lnTo>
                        <a:pt x="600" y="151"/>
                      </a:lnTo>
                      <a:lnTo>
                        <a:pt x="598" y="155"/>
                      </a:lnTo>
                      <a:lnTo>
                        <a:pt x="600" y="155"/>
                      </a:lnTo>
                      <a:lnTo>
                        <a:pt x="603" y="158"/>
                      </a:lnTo>
                      <a:lnTo>
                        <a:pt x="603" y="163"/>
                      </a:lnTo>
                      <a:lnTo>
                        <a:pt x="603" y="166"/>
                      </a:lnTo>
                      <a:lnTo>
                        <a:pt x="606" y="170"/>
                      </a:lnTo>
                      <a:lnTo>
                        <a:pt x="606" y="173"/>
                      </a:lnTo>
                      <a:lnTo>
                        <a:pt x="604" y="176"/>
                      </a:lnTo>
                      <a:lnTo>
                        <a:pt x="604" y="181"/>
                      </a:lnTo>
                      <a:lnTo>
                        <a:pt x="601" y="184"/>
                      </a:lnTo>
                      <a:lnTo>
                        <a:pt x="603" y="187"/>
                      </a:lnTo>
                      <a:lnTo>
                        <a:pt x="604" y="190"/>
                      </a:lnTo>
                      <a:lnTo>
                        <a:pt x="604" y="195"/>
                      </a:lnTo>
                      <a:lnTo>
                        <a:pt x="603" y="195"/>
                      </a:lnTo>
                      <a:lnTo>
                        <a:pt x="603" y="198"/>
                      </a:lnTo>
                      <a:lnTo>
                        <a:pt x="603" y="203"/>
                      </a:lnTo>
                      <a:lnTo>
                        <a:pt x="601" y="206"/>
                      </a:lnTo>
                      <a:lnTo>
                        <a:pt x="601" y="209"/>
                      </a:lnTo>
                      <a:lnTo>
                        <a:pt x="598" y="212"/>
                      </a:lnTo>
                      <a:lnTo>
                        <a:pt x="595" y="212"/>
                      </a:lnTo>
                      <a:lnTo>
                        <a:pt x="600" y="220"/>
                      </a:lnTo>
                      <a:lnTo>
                        <a:pt x="595" y="224"/>
                      </a:lnTo>
                      <a:lnTo>
                        <a:pt x="592" y="227"/>
                      </a:lnTo>
                      <a:lnTo>
                        <a:pt x="590" y="230"/>
                      </a:lnTo>
                      <a:lnTo>
                        <a:pt x="592" y="236"/>
                      </a:lnTo>
                      <a:lnTo>
                        <a:pt x="592" y="239"/>
                      </a:lnTo>
                      <a:lnTo>
                        <a:pt x="593" y="243"/>
                      </a:lnTo>
                      <a:lnTo>
                        <a:pt x="592" y="246"/>
                      </a:lnTo>
                      <a:lnTo>
                        <a:pt x="593" y="249"/>
                      </a:lnTo>
                      <a:lnTo>
                        <a:pt x="596" y="252"/>
                      </a:lnTo>
                      <a:lnTo>
                        <a:pt x="600" y="254"/>
                      </a:lnTo>
                      <a:lnTo>
                        <a:pt x="601" y="254"/>
                      </a:lnTo>
                      <a:lnTo>
                        <a:pt x="603" y="254"/>
                      </a:lnTo>
                      <a:lnTo>
                        <a:pt x="606" y="254"/>
                      </a:lnTo>
                      <a:lnTo>
                        <a:pt x="608" y="255"/>
                      </a:lnTo>
                      <a:lnTo>
                        <a:pt x="604" y="262"/>
                      </a:lnTo>
                      <a:lnTo>
                        <a:pt x="600" y="266"/>
                      </a:lnTo>
                      <a:lnTo>
                        <a:pt x="600" y="270"/>
                      </a:lnTo>
                      <a:lnTo>
                        <a:pt x="600" y="273"/>
                      </a:lnTo>
                      <a:lnTo>
                        <a:pt x="600" y="276"/>
                      </a:lnTo>
                      <a:lnTo>
                        <a:pt x="603" y="281"/>
                      </a:lnTo>
                      <a:lnTo>
                        <a:pt x="608" y="293"/>
                      </a:lnTo>
                      <a:lnTo>
                        <a:pt x="612" y="304"/>
                      </a:lnTo>
                      <a:lnTo>
                        <a:pt x="614" y="308"/>
                      </a:lnTo>
                      <a:lnTo>
                        <a:pt x="614" y="312"/>
                      </a:lnTo>
                      <a:lnTo>
                        <a:pt x="612" y="315"/>
                      </a:lnTo>
                      <a:lnTo>
                        <a:pt x="614" y="317"/>
                      </a:lnTo>
                      <a:lnTo>
                        <a:pt x="614" y="320"/>
                      </a:lnTo>
                      <a:lnTo>
                        <a:pt x="616" y="325"/>
                      </a:lnTo>
                      <a:lnTo>
                        <a:pt x="616" y="328"/>
                      </a:lnTo>
                      <a:lnTo>
                        <a:pt x="616" y="333"/>
                      </a:lnTo>
                      <a:lnTo>
                        <a:pt x="617" y="336"/>
                      </a:lnTo>
                      <a:lnTo>
                        <a:pt x="620" y="338"/>
                      </a:lnTo>
                      <a:lnTo>
                        <a:pt x="623" y="338"/>
                      </a:lnTo>
                      <a:lnTo>
                        <a:pt x="630" y="339"/>
                      </a:lnTo>
                      <a:lnTo>
                        <a:pt x="636" y="341"/>
                      </a:lnTo>
                      <a:lnTo>
                        <a:pt x="639" y="341"/>
                      </a:lnTo>
                      <a:lnTo>
                        <a:pt x="642" y="341"/>
                      </a:lnTo>
                      <a:lnTo>
                        <a:pt x="646" y="342"/>
                      </a:lnTo>
                      <a:lnTo>
                        <a:pt x="647" y="342"/>
                      </a:lnTo>
                      <a:lnTo>
                        <a:pt x="650" y="344"/>
                      </a:lnTo>
                      <a:lnTo>
                        <a:pt x="650" y="344"/>
                      </a:lnTo>
                      <a:lnTo>
                        <a:pt x="652" y="347"/>
                      </a:lnTo>
                      <a:lnTo>
                        <a:pt x="652" y="349"/>
                      </a:lnTo>
                      <a:lnTo>
                        <a:pt x="654" y="352"/>
                      </a:lnTo>
                      <a:lnTo>
                        <a:pt x="655" y="355"/>
                      </a:lnTo>
                      <a:lnTo>
                        <a:pt x="655" y="358"/>
                      </a:lnTo>
                      <a:lnTo>
                        <a:pt x="655" y="360"/>
                      </a:lnTo>
                      <a:lnTo>
                        <a:pt x="654" y="360"/>
                      </a:lnTo>
                      <a:lnTo>
                        <a:pt x="655" y="363"/>
                      </a:lnTo>
                      <a:lnTo>
                        <a:pt x="655" y="366"/>
                      </a:lnTo>
                      <a:lnTo>
                        <a:pt x="652" y="369"/>
                      </a:lnTo>
                      <a:lnTo>
                        <a:pt x="650" y="373"/>
                      </a:lnTo>
                      <a:lnTo>
                        <a:pt x="647" y="376"/>
                      </a:lnTo>
                      <a:lnTo>
                        <a:pt x="646" y="381"/>
                      </a:lnTo>
                      <a:lnTo>
                        <a:pt x="642" y="384"/>
                      </a:lnTo>
                      <a:lnTo>
                        <a:pt x="636" y="395"/>
                      </a:lnTo>
                      <a:lnTo>
                        <a:pt x="628" y="404"/>
                      </a:lnTo>
                      <a:lnTo>
                        <a:pt x="636" y="414"/>
                      </a:lnTo>
                      <a:lnTo>
                        <a:pt x="646" y="422"/>
                      </a:lnTo>
                      <a:lnTo>
                        <a:pt x="649" y="426"/>
                      </a:lnTo>
                      <a:lnTo>
                        <a:pt x="649" y="430"/>
                      </a:lnTo>
                      <a:lnTo>
                        <a:pt x="652" y="433"/>
                      </a:lnTo>
                      <a:lnTo>
                        <a:pt x="655" y="436"/>
                      </a:lnTo>
                      <a:lnTo>
                        <a:pt x="657" y="441"/>
                      </a:lnTo>
                      <a:lnTo>
                        <a:pt x="657" y="441"/>
                      </a:lnTo>
                      <a:lnTo>
                        <a:pt x="658" y="444"/>
                      </a:lnTo>
                      <a:lnTo>
                        <a:pt x="660" y="447"/>
                      </a:lnTo>
                      <a:lnTo>
                        <a:pt x="663" y="450"/>
                      </a:lnTo>
                      <a:lnTo>
                        <a:pt x="669" y="457"/>
                      </a:lnTo>
                      <a:lnTo>
                        <a:pt x="673" y="460"/>
                      </a:lnTo>
                      <a:lnTo>
                        <a:pt x="677" y="460"/>
                      </a:lnTo>
                      <a:lnTo>
                        <a:pt x="681" y="461"/>
                      </a:lnTo>
                      <a:lnTo>
                        <a:pt x="684" y="463"/>
                      </a:lnTo>
                      <a:lnTo>
                        <a:pt x="687" y="463"/>
                      </a:lnTo>
                      <a:lnTo>
                        <a:pt x="692" y="466"/>
                      </a:lnTo>
                      <a:lnTo>
                        <a:pt x="695" y="469"/>
                      </a:lnTo>
                      <a:lnTo>
                        <a:pt x="698" y="471"/>
                      </a:lnTo>
                      <a:lnTo>
                        <a:pt x="700" y="471"/>
                      </a:lnTo>
                      <a:lnTo>
                        <a:pt x="704" y="471"/>
                      </a:lnTo>
                      <a:lnTo>
                        <a:pt x="706" y="485"/>
                      </a:lnTo>
                      <a:lnTo>
                        <a:pt x="709" y="498"/>
                      </a:lnTo>
                      <a:lnTo>
                        <a:pt x="709" y="501"/>
                      </a:lnTo>
                      <a:lnTo>
                        <a:pt x="709" y="506"/>
                      </a:lnTo>
                      <a:lnTo>
                        <a:pt x="709" y="509"/>
                      </a:lnTo>
                      <a:lnTo>
                        <a:pt x="711" y="512"/>
                      </a:lnTo>
                      <a:lnTo>
                        <a:pt x="714" y="512"/>
                      </a:lnTo>
                      <a:lnTo>
                        <a:pt x="719" y="512"/>
                      </a:lnTo>
                      <a:lnTo>
                        <a:pt x="722" y="512"/>
                      </a:lnTo>
                      <a:lnTo>
                        <a:pt x="725" y="512"/>
                      </a:lnTo>
                      <a:lnTo>
                        <a:pt x="728" y="515"/>
                      </a:lnTo>
                      <a:lnTo>
                        <a:pt x="728" y="517"/>
                      </a:lnTo>
                      <a:lnTo>
                        <a:pt x="728" y="517"/>
                      </a:lnTo>
                      <a:lnTo>
                        <a:pt x="728" y="517"/>
                      </a:lnTo>
                      <a:lnTo>
                        <a:pt x="727" y="517"/>
                      </a:lnTo>
                      <a:lnTo>
                        <a:pt x="727" y="517"/>
                      </a:lnTo>
                      <a:lnTo>
                        <a:pt x="727" y="520"/>
                      </a:lnTo>
                      <a:lnTo>
                        <a:pt x="727" y="522"/>
                      </a:lnTo>
                      <a:lnTo>
                        <a:pt x="728" y="526"/>
                      </a:lnTo>
                      <a:lnTo>
                        <a:pt x="725" y="530"/>
                      </a:lnTo>
                      <a:lnTo>
                        <a:pt x="725" y="533"/>
                      </a:lnTo>
                      <a:lnTo>
                        <a:pt x="723" y="536"/>
                      </a:lnTo>
                      <a:lnTo>
                        <a:pt x="717" y="536"/>
                      </a:lnTo>
                      <a:lnTo>
                        <a:pt x="714" y="536"/>
                      </a:lnTo>
                      <a:lnTo>
                        <a:pt x="712" y="537"/>
                      </a:lnTo>
                      <a:lnTo>
                        <a:pt x="706" y="539"/>
                      </a:lnTo>
                      <a:lnTo>
                        <a:pt x="703" y="539"/>
                      </a:lnTo>
                      <a:lnTo>
                        <a:pt x="698" y="541"/>
                      </a:lnTo>
                      <a:lnTo>
                        <a:pt x="696" y="541"/>
                      </a:lnTo>
                      <a:lnTo>
                        <a:pt x="695" y="542"/>
                      </a:lnTo>
                      <a:lnTo>
                        <a:pt x="695" y="545"/>
                      </a:lnTo>
                      <a:lnTo>
                        <a:pt x="695" y="549"/>
                      </a:lnTo>
                      <a:lnTo>
                        <a:pt x="693" y="547"/>
                      </a:lnTo>
                      <a:lnTo>
                        <a:pt x="688" y="550"/>
                      </a:lnTo>
                      <a:lnTo>
                        <a:pt x="685" y="552"/>
                      </a:lnTo>
                      <a:lnTo>
                        <a:pt x="682" y="552"/>
                      </a:lnTo>
                      <a:lnTo>
                        <a:pt x="681" y="555"/>
                      </a:lnTo>
                      <a:lnTo>
                        <a:pt x="681" y="560"/>
                      </a:lnTo>
                      <a:lnTo>
                        <a:pt x="681" y="560"/>
                      </a:lnTo>
                      <a:lnTo>
                        <a:pt x="681" y="563"/>
                      </a:lnTo>
                      <a:lnTo>
                        <a:pt x="681" y="568"/>
                      </a:lnTo>
                      <a:lnTo>
                        <a:pt x="677" y="571"/>
                      </a:lnTo>
                      <a:lnTo>
                        <a:pt x="677" y="574"/>
                      </a:lnTo>
                      <a:lnTo>
                        <a:pt x="677" y="577"/>
                      </a:lnTo>
                      <a:lnTo>
                        <a:pt x="677" y="587"/>
                      </a:lnTo>
                      <a:lnTo>
                        <a:pt x="677" y="595"/>
                      </a:lnTo>
                      <a:lnTo>
                        <a:pt x="673" y="595"/>
                      </a:lnTo>
                      <a:lnTo>
                        <a:pt x="673" y="599"/>
                      </a:lnTo>
                      <a:lnTo>
                        <a:pt x="669" y="599"/>
                      </a:lnTo>
                      <a:lnTo>
                        <a:pt x="666" y="599"/>
                      </a:lnTo>
                      <a:lnTo>
                        <a:pt x="663" y="598"/>
                      </a:lnTo>
                      <a:lnTo>
                        <a:pt x="658" y="596"/>
                      </a:lnTo>
                      <a:lnTo>
                        <a:pt x="650" y="595"/>
                      </a:lnTo>
                      <a:lnTo>
                        <a:pt x="641" y="593"/>
                      </a:lnTo>
                      <a:lnTo>
                        <a:pt x="641" y="588"/>
                      </a:lnTo>
                      <a:lnTo>
                        <a:pt x="638" y="585"/>
                      </a:lnTo>
                      <a:lnTo>
                        <a:pt x="635" y="587"/>
                      </a:lnTo>
                      <a:lnTo>
                        <a:pt x="635" y="590"/>
                      </a:lnTo>
                      <a:lnTo>
                        <a:pt x="635" y="590"/>
                      </a:lnTo>
                      <a:lnTo>
                        <a:pt x="631" y="590"/>
                      </a:lnTo>
                      <a:lnTo>
                        <a:pt x="628" y="588"/>
                      </a:lnTo>
                      <a:lnTo>
                        <a:pt x="627" y="588"/>
                      </a:lnTo>
                      <a:lnTo>
                        <a:pt x="623" y="590"/>
                      </a:lnTo>
                      <a:lnTo>
                        <a:pt x="620" y="588"/>
                      </a:lnTo>
                      <a:lnTo>
                        <a:pt x="619" y="588"/>
                      </a:lnTo>
                      <a:lnTo>
                        <a:pt x="616" y="590"/>
                      </a:lnTo>
                      <a:lnTo>
                        <a:pt x="612" y="587"/>
                      </a:lnTo>
                      <a:lnTo>
                        <a:pt x="609" y="587"/>
                      </a:lnTo>
                      <a:lnTo>
                        <a:pt x="606" y="587"/>
                      </a:lnTo>
                      <a:lnTo>
                        <a:pt x="601" y="585"/>
                      </a:lnTo>
                      <a:lnTo>
                        <a:pt x="598" y="583"/>
                      </a:lnTo>
                      <a:lnTo>
                        <a:pt x="595" y="585"/>
                      </a:lnTo>
                      <a:lnTo>
                        <a:pt x="593" y="587"/>
                      </a:lnTo>
                      <a:lnTo>
                        <a:pt x="589" y="587"/>
                      </a:lnTo>
                      <a:lnTo>
                        <a:pt x="585" y="587"/>
                      </a:lnTo>
                      <a:lnTo>
                        <a:pt x="582" y="585"/>
                      </a:lnTo>
                      <a:lnTo>
                        <a:pt x="579" y="582"/>
                      </a:lnTo>
                      <a:lnTo>
                        <a:pt x="576" y="580"/>
                      </a:lnTo>
                      <a:lnTo>
                        <a:pt x="571" y="580"/>
                      </a:lnTo>
                      <a:lnTo>
                        <a:pt x="568" y="580"/>
                      </a:lnTo>
                      <a:lnTo>
                        <a:pt x="565" y="580"/>
                      </a:lnTo>
                      <a:lnTo>
                        <a:pt x="562" y="579"/>
                      </a:lnTo>
                      <a:lnTo>
                        <a:pt x="558" y="580"/>
                      </a:lnTo>
                      <a:lnTo>
                        <a:pt x="554" y="582"/>
                      </a:lnTo>
                      <a:lnTo>
                        <a:pt x="550" y="580"/>
                      </a:lnTo>
                      <a:lnTo>
                        <a:pt x="549" y="577"/>
                      </a:lnTo>
                      <a:lnTo>
                        <a:pt x="544" y="576"/>
                      </a:lnTo>
                      <a:lnTo>
                        <a:pt x="541" y="577"/>
                      </a:lnTo>
                      <a:lnTo>
                        <a:pt x="541" y="577"/>
                      </a:lnTo>
                      <a:lnTo>
                        <a:pt x="539" y="574"/>
                      </a:lnTo>
                      <a:lnTo>
                        <a:pt x="536" y="572"/>
                      </a:lnTo>
                      <a:lnTo>
                        <a:pt x="533" y="572"/>
                      </a:lnTo>
                      <a:lnTo>
                        <a:pt x="528" y="572"/>
                      </a:lnTo>
                      <a:lnTo>
                        <a:pt x="525" y="572"/>
                      </a:lnTo>
                      <a:lnTo>
                        <a:pt x="522" y="569"/>
                      </a:lnTo>
                      <a:lnTo>
                        <a:pt x="520" y="564"/>
                      </a:lnTo>
                      <a:lnTo>
                        <a:pt x="519" y="561"/>
                      </a:lnTo>
                      <a:lnTo>
                        <a:pt x="517" y="558"/>
                      </a:lnTo>
                      <a:lnTo>
                        <a:pt x="517" y="555"/>
                      </a:lnTo>
                      <a:lnTo>
                        <a:pt x="516" y="550"/>
                      </a:lnTo>
                      <a:lnTo>
                        <a:pt x="514" y="547"/>
                      </a:lnTo>
                      <a:lnTo>
                        <a:pt x="512" y="544"/>
                      </a:lnTo>
                      <a:lnTo>
                        <a:pt x="512" y="541"/>
                      </a:lnTo>
                      <a:lnTo>
                        <a:pt x="509" y="531"/>
                      </a:lnTo>
                      <a:lnTo>
                        <a:pt x="506" y="523"/>
                      </a:lnTo>
                      <a:lnTo>
                        <a:pt x="503" y="522"/>
                      </a:lnTo>
                      <a:lnTo>
                        <a:pt x="501" y="518"/>
                      </a:lnTo>
                      <a:lnTo>
                        <a:pt x="500" y="515"/>
                      </a:lnTo>
                      <a:lnTo>
                        <a:pt x="497" y="515"/>
                      </a:lnTo>
                      <a:lnTo>
                        <a:pt x="487" y="514"/>
                      </a:lnTo>
                      <a:lnTo>
                        <a:pt x="479" y="515"/>
                      </a:lnTo>
                      <a:lnTo>
                        <a:pt x="471" y="518"/>
                      </a:lnTo>
                      <a:lnTo>
                        <a:pt x="468" y="522"/>
                      </a:lnTo>
                      <a:lnTo>
                        <a:pt x="466" y="522"/>
                      </a:lnTo>
                      <a:lnTo>
                        <a:pt x="465" y="522"/>
                      </a:lnTo>
                      <a:lnTo>
                        <a:pt x="462" y="522"/>
                      </a:lnTo>
                      <a:lnTo>
                        <a:pt x="457" y="526"/>
                      </a:lnTo>
                      <a:lnTo>
                        <a:pt x="457" y="526"/>
                      </a:lnTo>
                      <a:lnTo>
                        <a:pt x="459" y="530"/>
                      </a:lnTo>
                      <a:lnTo>
                        <a:pt x="455" y="531"/>
                      </a:lnTo>
                      <a:lnTo>
                        <a:pt x="454" y="531"/>
                      </a:lnTo>
                      <a:lnTo>
                        <a:pt x="451" y="531"/>
                      </a:lnTo>
                      <a:lnTo>
                        <a:pt x="447" y="531"/>
                      </a:lnTo>
                      <a:lnTo>
                        <a:pt x="443" y="534"/>
                      </a:lnTo>
                      <a:lnTo>
                        <a:pt x="439" y="537"/>
                      </a:lnTo>
                      <a:lnTo>
                        <a:pt x="439" y="537"/>
                      </a:lnTo>
                      <a:lnTo>
                        <a:pt x="435" y="541"/>
                      </a:lnTo>
                      <a:lnTo>
                        <a:pt x="432" y="542"/>
                      </a:lnTo>
                      <a:lnTo>
                        <a:pt x="428" y="542"/>
                      </a:lnTo>
                      <a:lnTo>
                        <a:pt x="425" y="539"/>
                      </a:lnTo>
                      <a:lnTo>
                        <a:pt x="420" y="539"/>
                      </a:lnTo>
                      <a:lnTo>
                        <a:pt x="417" y="537"/>
                      </a:lnTo>
                      <a:lnTo>
                        <a:pt x="416" y="534"/>
                      </a:lnTo>
                      <a:lnTo>
                        <a:pt x="411" y="534"/>
                      </a:lnTo>
                      <a:lnTo>
                        <a:pt x="408" y="534"/>
                      </a:lnTo>
                      <a:lnTo>
                        <a:pt x="405" y="533"/>
                      </a:lnTo>
                      <a:lnTo>
                        <a:pt x="401" y="534"/>
                      </a:lnTo>
                      <a:lnTo>
                        <a:pt x="397" y="534"/>
                      </a:lnTo>
                      <a:lnTo>
                        <a:pt x="393" y="534"/>
                      </a:lnTo>
                      <a:lnTo>
                        <a:pt x="390" y="531"/>
                      </a:lnTo>
                      <a:lnTo>
                        <a:pt x="387" y="528"/>
                      </a:lnTo>
                      <a:lnTo>
                        <a:pt x="384" y="525"/>
                      </a:lnTo>
                      <a:lnTo>
                        <a:pt x="384" y="523"/>
                      </a:lnTo>
                      <a:lnTo>
                        <a:pt x="373" y="518"/>
                      </a:lnTo>
                      <a:lnTo>
                        <a:pt x="370" y="518"/>
                      </a:lnTo>
                      <a:lnTo>
                        <a:pt x="367" y="515"/>
                      </a:lnTo>
                      <a:lnTo>
                        <a:pt x="359" y="511"/>
                      </a:lnTo>
                      <a:lnTo>
                        <a:pt x="352" y="507"/>
                      </a:lnTo>
                      <a:lnTo>
                        <a:pt x="354" y="503"/>
                      </a:lnTo>
                      <a:lnTo>
                        <a:pt x="343" y="495"/>
                      </a:lnTo>
                      <a:lnTo>
                        <a:pt x="333" y="490"/>
                      </a:lnTo>
                      <a:lnTo>
                        <a:pt x="330" y="488"/>
                      </a:lnTo>
                      <a:lnTo>
                        <a:pt x="327" y="488"/>
                      </a:lnTo>
                      <a:lnTo>
                        <a:pt x="322" y="487"/>
                      </a:lnTo>
                      <a:lnTo>
                        <a:pt x="319" y="488"/>
                      </a:lnTo>
                      <a:lnTo>
                        <a:pt x="316" y="487"/>
                      </a:lnTo>
                      <a:lnTo>
                        <a:pt x="311" y="484"/>
                      </a:lnTo>
                      <a:lnTo>
                        <a:pt x="308" y="484"/>
                      </a:lnTo>
                      <a:lnTo>
                        <a:pt x="306" y="479"/>
                      </a:lnTo>
                      <a:lnTo>
                        <a:pt x="303" y="477"/>
                      </a:lnTo>
                      <a:lnTo>
                        <a:pt x="303" y="474"/>
                      </a:lnTo>
                      <a:lnTo>
                        <a:pt x="303" y="471"/>
                      </a:lnTo>
                      <a:lnTo>
                        <a:pt x="300" y="468"/>
                      </a:lnTo>
                      <a:lnTo>
                        <a:pt x="297" y="465"/>
                      </a:lnTo>
                      <a:lnTo>
                        <a:pt x="295" y="460"/>
                      </a:lnTo>
                      <a:lnTo>
                        <a:pt x="294" y="458"/>
                      </a:lnTo>
                      <a:lnTo>
                        <a:pt x="294" y="455"/>
                      </a:lnTo>
                      <a:lnTo>
                        <a:pt x="294" y="452"/>
                      </a:lnTo>
                      <a:lnTo>
                        <a:pt x="290" y="449"/>
                      </a:lnTo>
                      <a:lnTo>
                        <a:pt x="287" y="447"/>
                      </a:lnTo>
                      <a:lnTo>
                        <a:pt x="284" y="444"/>
                      </a:lnTo>
                      <a:lnTo>
                        <a:pt x="282" y="441"/>
                      </a:lnTo>
                      <a:lnTo>
                        <a:pt x="286" y="441"/>
                      </a:lnTo>
                      <a:lnTo>
                        <a:pt x="287" y="438"/>
                      </a:lnTo>
                      <a:lnTo>
                        <a:pt x="282" y="434"/>
                      </a:lnTo>
                      <a:lnTo>
                        <a:pt x="279" y="434"/>
                      </a:lnTo>
                      <a:lnTo>
                        <a:pt x="276" y="433"/>
                      </a:lnTo>
                      <a:lnTo>
                        <a:pt x="276" y="431"/>
                      </a:lnTo>
                      <a:lnTo>
                        <a:pt x="278" y="428"/>
                      </a:lnTo>
                      <a:lnTo>
                        <a:pt x="276" y="425"/>
                      </a:lnTo>
                      <a:lnTo>
                        <a:pt x="276" y="422"/>
                      </a:lnTo>
                      <a:lnTo>
                        <a:pt x="271" y="419"/>
                      </a:lnTo>
                      <a:lnTo>
                        <a:pt x="270" y="415"/>
                      </a:lnTo>
                      <a:lnTo>
                        <a:pt x="268" y="414"/>
                      </a:lnTo>
                      <a:lnTo>
                        <a:pt x="267" y="414"/>
                      </a:lnTo>
                      <a:lnTo>
                        <a:pt x="263" y="409"/>
                      </a:lnTo>
                      <a:lnTo>
                        <a:pt x="260" y="406"/>
                      </a:lnTo>
                      <a:lnTo>
                        <a:pt x="260" y="406"/>
                      </a:lnTo>
                      <a:lnTo>
                        <a:pt x="260" y="406"/>
                      </a:lnTo>
                      <a:lnTo>
                        <a:pt x="257" y="403"/>
                      </a:lnTo>
                      <a:lnTo>
                        <a:pt x="256" y="400"/>
                      </a:lnTo>
                      <a:lnTo>
                        <a:pt x="256" y="398"/>
                      </a:lnTo>
                      <a:lnTo>
                        <a:pt x="254" y="393"/>
                      </a:lnTo>
                      <a:lnTo>
                        <a:pt x="251" y="390"/>
                      </a:lnTo>
                      <a:lnTo>
                        <a:pt x="249" y="390"/>
                      </a:lnTo>
                      <a:lnTo>
                        <a:pt x="248" y="390"/>
                      </a:lnTo>
                      <a:lnTo>
                        <a:pt x="243" y="393"/>
                      </a:lnTo>
                      <a:lnTo>
                        <a:pt x="236" y="398"/>
                      </a:lnTo>
                      <a:lnTo>
                        <a:pt x="233" y="396"/>
                      </a:lnTo>
                      <a:lnTo>
                        <a:pt x="233" y="395"/>
                      </a:lnTo>
                      <a:lnTo>
                        <a:pt x="230" y="392"/>
                      </a:lnTo>
                      <a:lnTo>
                        <a:pt x="227" y="392"/>
                      </a:lnTo>
                      <a:lnTo>
                        <a:pt x="224" y="392"/>
                      </a:lnTo>
                      <a:lnTo>
                        <a:pt x="222" y="388"/>
                      </a:lnTo>
                      <a:lnTo>
                        <a:pt x="219" y="388"/>
                      </a:lnTo>
                      <a:lnTo>
                        <a:pt x="214" y="387"/>
                      </a:lnTo>
                      <a:lnTo>
                        <a:pt x="211" y="382"/>
                      </a:lnTo>
                      <a:lnTo>
                        <a:pt x="216" y="382"/>
                      </a:lnTo>
                      <a:lnTo>
                        <a:pt x="219" y="384"/>
                      </a:lnTo>
                      <a:lnTo>
                        <a:pt x="222" y="382"/>
                      </a:lnTo>
                      <a:lnTo>
                        <a:pt x="221" y="379"/>
                      </a:lnTo>
                      <a:lnTo>
                        <a:pt x="217" y="377"/>
                      </a:lnTo>
                      <a:lnTo>
                        <a:pt x="216" y="377"/>
                      </a:lnTo>
                      <a:lnTo>
                        <a:pt x="216" y="377"/>
                      </a:lnTo>
                      <a:lnTo>
                        <a:pt x="211" y="379"/>
                      </a:lnTo>
                      <a:lnTo>
                        <a:pt x="214" y="382"/>
                      </a:lnTo>
                      <a:lnTo>
                        <a:pt x="211" y="382"/>
                      </a:lnTo>
                      <a:lnTo>
                        <a:pt x="210" y="385"/>
                      </a:lnTo>
                      <a:lnTo>
                        <a:pt x="211" y="387"/>
                      </a:lnTo>
                      <a:lnTo>
                        <a:pt x="213" y="392"/>
                      </a:lnTo>
                      <a:lnTo>
                        <a:pt x="213" y="395"/>
                      </a:lnTo>
                      <a:lnTo>
                        <a:pt x="211" y="398"/>
                      </a:lnTo>
                      <a:lnTo>
                        <a:pt x="206" y="398"/>
                      </a:lnTo>
                      <a:lnTo>
                        <a:pt x="203" y="396"/>
                      </a:lnTo>
                      <a:lnTo>
                        <a:pt x="205" y="400"/>
                      </a:lnTo>
                      <a:lnTo>
                        <a:pt x="202" y="401"/>
                      </a:lnTo>
                      <a:lnTo>
                        <a:pt x="200" y="401"/>
                      </a:lnTo>
                      <a:lnTo>
                        <a:pt x="197" y="400"/>
                      </a:lnTo>
                      <a:lnTo>
                        <a:pt x="195" y="396"/>
                      </a:lnTo>
                      <a:lnTo>
                        <a:pt x="195" y="392"/>
                      </a:lnTo>
                      <a:lnTo>
                        <a:pt x="192" y="388"/>
                      </a:lnTo>
                      <a:lnTo>
                        <a:pt x="190" y="385"/>
                      </a:lnTo>
                      <a:lnTo>
                        <a:pt x="186" y="385"/>
                      </a:lnTo>
                      <a:lnTo>
                        <a:pt x="186" y="382"/>
                      </a:lnTo>
                      <a:lnTo>
                        <a:pt x="184" y="381"/>
                      </a:lnTo>
                      <a:lnTo>
                        <a:pt x="181" y="381"/>
                      </a:lnTo>
                      <a:lnTo>
                        <a:pt x="181" y="377"/>
                      </a:lnTo>
                      <a:lnTo>
                        <a:pt x="179" y="368"/>
                      </a:lnTo>
                      <a:lnTo>
                        <a:pt x="178" y="358"/>
                      </a:lnTo>
                      <a:lnTo>
                        <a:pt x="175" y="358"/>
                      </a:lnTo>
                      <a:lnTo>
                        <a:pt x="168" y="358"/>
                      </a:lnTo>
                      <a:lnTo>
                        <a:pt x="165" y="350"/>
                      </a:lnTo>
                      <a:lnTo>
                        <a:pt x="165" y="344"/>
                      </a:lnTo>
                      <a:lnTo>
                        <a:pt x="167" y="336"/>
                      </a:lnTo>
                      <a:lnTo>
                        <a:pt x="168" y="328"/>
                      </a:lnTo>
                      <a:lnTo>
                        <a:pt x="168" y="325"/>
                      </a:lnTo>
                      <a:lnTo>
                        <a:pt x="165" y="322"/>
                      </a:lnTo>
                      <a:lnTo>
                        <a:pt x="162" y="319"/>
                      </a:lnTo>
                      <a:lnTo>
                        <a:pt x="162" y="317"/>
                      </a:lnTo>
                      <a:lnTo>
                        <a:pt x="162" y="317"/>
                      </a:lnTo>
                      <a:lnTo>
                        <a:pt x="162" y="315"/>
                      </a:lnTo>
                      <a:lnTo>
                        <a:pt x="159" y="312"/>
                      </a:lnTo>
                      <a:lnTo>
                        <a:pt x="157" y="312"/>
                      </a:lnTo>
                      <a:lnTo>
                        <a:pt x="157" y="312"/>
                      </a:lnTo>
                      <a:lnTo>
                        <a:pt x="156" y="309"/>
                      </a:lnTo>
                      <a:lnTo>
                        <a:pt x="152" y="306"/>
                      </a:lnTo>
                      <a:lnTo>
                        <a:pt x="151" y="303"/>
                      </a:lnTo>
                      <a:lnTo>
                        <a:pt x="151" y="303"/>
                      </a:lnTo>
                      <a:lnTo>
                        <a:pt x="149" y="298"/>
                      </a:lnTo>
                      <a:lnTo>
                        <a:pt x="146" y="298"/>
                      </a:lnTo>
                      <a:lnTo>
                        <a:pt x="144" y="298"/>
                      </a:lnTo>
                      <a:lnTo>
                        <a:pt x="144" y="298"/>
                      </a:lnTo>
                      <a:lnTo>
                        <a:pt x="141" y="298"/>
                      </a:lnTo>
                      <a:lnTo>
                        <a:pt x="138" y="296"/>
                      </a:lnTo>
                      <a:lnTo>
                        <a:pt x="135" y="293"/>
                      </a:lnTo>
                      <a:lnTo>
                        <a:pt x="132" y="292"/>
                      </a:lnTo>
                      <a:lnTo>
                        <a:pt x="125" y="287"/>
                      </a:lnTo>
                      <a:lnTo>
                        <a:pt x="119" y="282"/>
                      </a:lnTo>
                      <a:lnTo>
                        <a:pt x="116" y="279"/>
                      </a:lnTo>
                      <a:lnTo>
                        <a:pt x="111" y="279"/>
                      </a:lnTo>
                      <a:lnTo>
                        <a:pt x="108" y="277"/>
                      </a:lnTo>
                      <a:lnTo>
                        <a:pt x="103" y="277"/>
                      </a:lnTo>
                      <a:lnTo>
                        <a:pt x="103" y="274"/>
                      </a:lnTo>
                      <a:lnTo>
                        <a:pt x="100" y="273"/>
                      </a:lnTo>
                      <a:lnTo>
                        <a:pt x="103" y="271"/>
                      </a:lnTo>
                      <a:lnTo>
                        <a:pt x="105" y="268"/>
                      </a:lnTo>
                      <a:lnTo>
                        <a:pt x="103" y="265"/>
                      </a:lnTo>
                      <a:lnTo>
                        <a:pt x="100" y="262"/>
                      </a:lnTo>
                      <a:lnTo>
                        <a:pt x="98" y="258"/>
                      </a:lnTo>
                      <a:lnTo>
                        <a:pt x="97" y="257"/>
                      </a:lnTo>
                      <a:lnTo>
                        <a:pt x="94" y="257"/>
                      </a:lnTo>
                      <a:lnTo>
                        <a:pt x="94" y="254"/>
                      </a:lnTo>
                      <a:lnTo>
                        <a:pt x="91" y="250"/>
                      </a:lnTo>
                      <a:lnTo>
                        <a:pt x="87" y="250"/>
                      </a:lnTo>
                      <a:lnTo>
                        <a:pt x="84" y="247"/>
                      </a:lnTo>
                      <a:lnTo>
                        <a:pt x="83" y="244"/>
                      </a:lnTo>
                      <a:lnTo>
                        <a:pt x="79" y="241"/>
                      </a:lnTo>
                      <a:lnTo>
                        <a:pt x="76" y="238"/>
                      </a:lnTo>
                      <a:lnTo>
                        <a:pt x="75" y="238"/>
                      </a:lnTo>
                      <a:lnTo>
                        <a:pt x="75" y="236"/>
                      </a:lnTo>
                      <a:lnTo>
                        <a:pt x="75" y="236"/>
                      </a:lnTo>
                      <a:lnTo>
                        <a:pt x="75" y="235"/>
                      </a:lnTo>
                      <a:lnTo>
                        <a:pt x="78" y="228"/>
                      </a:lnTo>
                      <a:lnTo>
                        <a:pt x="79" y="225"/>
                      </a:lnTo>
                      <a:lnTo>
                        <a:pt x="78" y="222"/>
                      </a:lnTo>
                      <a:lnTo>
                        <a:pt x="75" y="219"/>
                      </a:lnTo>
                      <a:lnTo>
                        <a:pt x="73" y="216"/>
                      </a:lnTo>
                      <a:lnTo>
                        <a:pt x="75" y="212"/>
                      </a:lnTo>
                      <a:lnTo>
                        <a:pt x="75" y="211"/>
                      </a:lnTo>
                      <a:lnTo>
                        <a:pt x="79" y="212"/>
                      </a:lnTo>
                      <a:lnTo>
                        <a:pt x="83" y="212"/>
                      </a:lnTo>
                      <a:lnTo>
                        <a:pt x="81" y="209"/>
                      </a:lnTo>
                      <a:lnTo>
                        <a:pt x="79" y="206"/>
                      </a:lnTo>
                      <a:lnTo>
                        <a:pt x="79" y="203"/>
                      </a:lnTo>
                      <a:lnTo>
                        <a:pt x="83" y="198"/>
                      </a:lnTo>
                      <a:lnTo>
                        <a:pt x="83" y="198"/>
                      </a:lnTo>
                      <a:lnTo>
                        <a:pt x="86" y="197"/>
                      </a:lnTo>
                      <a:lnTo>
                        <a:pt x="86" y="195"/>
                      </a:lnTo>
                      <a:lnTo>
                        <a:pt x="86" y="190"/>
                      </a:lnTo>
                      <a:lnTo>
                        <a:pt x="87" y="190"/>
                      </a:lnTo>
                      <a:lnTo>
                        <a:pt x="91" y="192"/>
                      </a:lnTo>
                      <a:lnTo>
                        <a:pt x="94" y="190"/>
                      </a:lnTo>
                      <a:lnTo>
                        <a:pt x="94" y="190"/>
                      </a:lnTo>
                      <a:lnTo>
                        <a:pt x="94" y="187"/>
                      </a:lnTo>
                      <a:lnTo>
                        <a:pt x="92" y="184"/>
                      </a:lnTo>
                      <a:lnTo>
                        <a:pt x="92" y="182"/>
                      </a:lnTo>
                      <a:lnTo>
                        <a:pt x="89" y="178"/>
                      </a:lnTo>
                      <a:lnTo>
                        <a:pt x="87" y="174"/>
                      </a:lnTo>
                      <a:lnTo>
                        <a:pt x="86" y="171"/>
                      </a:lnTo>
                      <a:lnTo>
                        <a:pt x="89" y="166"/>
                      </a:lnTo>
                      <a:lnTo>
                        <a:pt x="92" y="166"/>
                      </a:lnTo>
                      <a:lnTo>
                        <a:pt x="95" y="165"/>
                      </a:lnTo>
                      <a:lnTo>
                        <a:pt x="97" y="162"/>
                      </a:lnTo>
                      <a:lnTo>
                        <a:pt x="94" y="162"/>
                      </a:lnTo>
                      <a:lnTo>
                        <a:pt x="89" y="160"/>
                      </a:lnTo>
                      <a:lnTo>
                        <a:pt x="83" y="160"/>
                      </a:lnTo>
                      <a:lnTo>
                        <a:pt x="79" y="162"/>
                      </a:lnTo>
                      <a:lnTo>
                        <a:pt x="76" y="160"/>
                      </a:lnTo>
                      <a:lnTo>
                        <a:pt x="72" y="155"/>
                      </a:lnTo>
                      <a:lnTo>
                        <a:pt x="72" y="155"/>
                      </a:lnTo>
                      <a:lnTo>
                        <a:pt x="70" y="154"/>
                      </a:lnTo>
                      <a:lnTo>
                        <a:pt x="68" y="154"/>
                      </a:lnTo>
                      <a:lnTo>
                        <a:pt x="62" y="154"/>
                      </a:lnTo>
                      <a:lnTo>
                        <a:pt x="62" y="154"/>
                      </a:lnTo>
                      <a:lnTo>
                        <a:pt x="62" y="151"/>
                      </a:lnTo>
                      <a:lnTo>
                        <a:pt x="60" y="147"/>
                      </a:lnTo>
                      <a:lnTo>
                        <a:pt x="60" y="146"/>
                      </a:lnTo>
                      <a:lnTo>
                        <a:pt x="59" y="143"/>
                      </a:lnTo>
                      <a:lnTo>
                        <a:pt x="57" y="139"/>
                      </a:lnTo>
                      <a:lnTo>
                        <a:pt x="51" y="135"/>
                      </a:lnTo>
                      <a:lnTo>
                        <a:pt x="48" y="132"/>
                      </a:lnTo>
                      <a:lnTo>
                        <a:pt x="48" y="128"/>
                      </a:lnTo>
                      <a:lnTo>
                        <a:pt x="49" y="127"/>
                      </a:lnTo>
                      <a:lnTo>
                        <a:pt x="46" y="124"/>
                      </a:lnTo>
                      <a:lnTo>
                        <a:pt x="46" y="124"/>
                      </a:lnTo>
                      <a:lnTo>
                        <a:pt x="43" y="122"/>
                      </a:lnTo>
                      <a:lnTo>
                        <a:pt x="41" y="119"/>
                      </a:lnTo>
                      <a:lnTo>
                        <a:pt x="41" y="114"/>
                      </a:lnTo>
                      <a:lnTo>
                        <a:pt x="41" y="111"/>
                      </a:lnTo>
                      <a:lnTo>
                        <a:pt x="37" y="109"/>
                      </a:lnTo>
                      <a:lnTo>
                        <a:pt x="37" y="106"/>
                      </a:lnTo>
                      <a:lnTo>
                        <a:pt x="37" y="103"/>
                      </a:lnTo>
                      <a:lnTo>
                        <a:pt x="37" y="100"/>
                      </a:lnTo>
                      <a:lnTo>
                        <a:pt x="33" y="97"/>
                      </a:lnTo>
                      <a:lnTo>
                        <a:pt x="30" y="95"/>
                      </a:lnTo>
                      <a:lnTo>
                        <a:pt x="29" y="92"/>
                      </a:lnTo>
                      <a:lnTo>
                        <a:pt x="29" y="89"/>
                      </a:lnTo>
                      <a:lnTo>
                        <a:pt x="29" y="86"/>
                      </a:lnTo>
                      <a:lnTo>
                        <a:pt x="29" y="84"/>
                      </a:lnTo>
                      <a:lnTo>
                        <a:pt x="26" y="81"/>
                      </a:lnTo>
                      <a:lnTo>
                        <a:pt x="22" y="79"/>
                      </a:lnTo>
                      <a:lnTo>
                        <a:pt x="18" y="78"/>
                      </a:lnTo>
                      <a:lnTo>
                        <a:pt x="14" y="76"/>
                      </a:lnTo>
                      <a:lnTo>
                        <a:pt x="14" y="76"/>
                      </a:lnTo>
                      <a:lnTo>
                        <a:pt x="14" y="73"/>
                      </a:lnTo>
                      <a:lnTo>
                        <a:pt x="16" y="70"/>
                      </a:lnTo>
                      <a:lnTo>
                        <a:pt x="18" y="65"/>
                      </a:lnTo>
                      <a:lnTo>
                        <a:pt x="18" y="62"/>
                      </a:lnTo>
                      <a:lnTo>
                        <a:pt x="21" y="59"/>
                      </a:lnTo>
                      <a:lnTo>
                        <a:pt x="18" y="57"/>
                      </a:lnTo>
                      <a:lnTo>
                        <a:pt x="14" y="54"/>
                      </a:lnTo>
                      <a:lnTo>
                        <a:pt x="14" y="52"/>
                      </a:lnTo>
                      <a:lnTo>
                        <a:pt x="14" y="52"/>
                      </a:lnTo>
                      <a:lnTo>
                        <a:pt x="14" y="49"/>
                      </a:lnTo>
                      <a:lnTo>
                        <a:pt x="11" y="44"/>
                      </a:lnTo>
                      <a:lnTo>
                        <a:pt x="11" y="41"/>
                      </a:lnTo>
                      <a:lnTo>
                        <a:pt x="11" y="38"/>
                      </a:lnTo>
                      <a:lnTo>
                        <a:pt x="8" y="35"/>
                      </a:lnTo>
                      <a:lnTo>
                        <a:pt x="7" y="32"/>
                      </a:lnTo>
                      <a:lnTo>
                        <a:pt x="8" y="30"/>
                      </a:lnTo>
                      <a:lnTo>
                        <a:pt x="8" y="27"/>
                      </a:lnTo>
                      <a:lnTo>
                        <a:pt x="3" y="24"/>
                      </a:lnTo>
                      <a:lnTo>
                        <a:pt x="3" y="21"/>
                      </a:lnTo>
                      <a:lnTo>
                        <a:pt x="0" y="17"/>
                      </a:lnTo>
                      <a:lnTo>
                        <a:pt x="0" y="16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53" name="Freeform 374"/>
                <p:cNvSpPr>
                  <a:spLocks/>
                </p:cNvSpPr>
                <p:nvPr/>
              </p:nvSpPr>
              <p:spPr bwMode="auto">
                <a:xfrm>
                  <a:off x="3572" y="1938"/>
                  <a:ext cx="17" cy="9"/>
                </a:xfrm>
                <a:custGeom>
                  <a:avLst/>
                  <a:gdLst>
                    <a:gd name="T0" fmla="*/ 17 w 33"/>
                    <a:gd name="T1" fmla="*/ 3 h 17"/>
                    <a:gd name="T2" fmla="*/ 16 w 33"/>
                    <a:gd name="T3" fmla="*/ 4 h 17"/>
                    <a:gd name="T4" fmla="*/ 14 w 33"/>
                    <a:gd name="T5" fmla="*/ 9 h 17"/>
                    <a:gd name="T6" fmla="*/ 11 w 33"/>
                    <a:gd name="T7" fmla="*/ 11 h 17"/>
                    <a:gd name="T8" fmla="*/ 6 w 33"/>
                    <a:gd name="T9" fmla="*/ 12 h 17"/>
                    <a:gd name="T10" fmla="*/ 3 w 33"/>
                    <a:gd name="T11" fmla="*/ 14 h 17"/>
                    <a:gd name="T12" fmla="*/ 0 w 33"/>
                    <a:gd name="T13" fmla="*/ 14 h 17"/>
                    <a:gd name="T14" fmla="*/ 0 w 33"/>
                    <a:gd name="T15" fmla="*/ 17 h 17"/>
                    <a:gd name="T16" fmla="*/ 3 w 33"/>
                    <a:gd name="T17" fmla="*/ 17 h 17"/>
                    <a:gd name="T18" fmla="*/ 8 w 33"/>
                    <a:gd name="T19" fmla="*/ 17 h 17"/>
                    <a:gd name="T20" fmla="*/ 11 w 33"/>
                    <a:gd name="T21" fmla="*/ 14 h 17"/>
                    <a:gd name="T22" fmla="*/ 14 w 33"/>
                    <a:gd name="T23" fmla="*/ 12 h 17"/>
                    <a:gd name="T24" fmla="*/ 19 w 33"/>
                    <a:gd name="T25" fmla="*/ 12 h 17"/>
                    <a:gd name="T26" fmla="*/ 22 w 33"/>
                    <a:gd name="T27" fmla="*/ 12 h 17"/>
                    <a:gd name="T28" fmla="*/ 25 w 33"/>
                    <a:gd name="T29" fmla="*/ 9 h 17"/>
                    <a:gd name="T30" fmla="*/ 29 w 33"/>
                    <a:gd name="T31" fmla="*/ 6 h 17"/>
                    <a:gd name="T32" fmla="*/ 30 w 33"/>
                    <a:gd name="T33" fmla="*/ 3 h 17"/>
                    <a:gd name="T34" fmla="*/ 33 w 33"/>
                    <a:gd name="T35" fmla="*/ 1 h 17"/>
                    <a:gd name="T36" fmla="*/ 32 w 33"/>
                    <a:gd name="T37" fmla="*/ 0 h 17"/>
                    <a:gd name="T38" fmla="*/ 29 w 33"/>
                    <a:gd name="T39" fmla="*/ 0 h 17"/>
                    <a:gd name="T40" fmla="*/ 25 w 33"/>
                    <a:gd name="T41" fmla="*/ 1 h 17"/>
                    <a:gd name="T42" fmla="*/ 22 w 33"/>
                    <a:gd name="T43" fmla="*/ 3 h 17"/>
                    <a:gd name="T44" fmla="*/ 17 w 33"/>
                    <a:gd name="T45" fmla="*/ 3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3" h="17">
                      <a:moveTo>
                        <a:pt x="17" y="3"/>
                      </a:moveTo>
                      <a:lnTo>
                        <a:pt x="16" y="4"/>
                      </a:lnTo>
                      <a:lnTo>
                        <a:pt x="14" y="9"/>
                      </a:lnTo>
                      <a:lnTo>
                        <a:pt x="11" y="11"/>
                      </a:lnTo>
                      <a:lnTo>
                        <a:pt x="6" y="12"/>
                      </a:lnTo>
                      <a:lnTo>
                        <a:pt x="3" y="14"/>
                      </a:lnTo>
                      <a:lnTo>
                        <a:pt x="0" y="14"/>
                      </a:lnTo>
                      <a:lnTo>
                        <a:pt x="0" y="17"/>
                      </a:lnTo>
                      <a:lnTo>
                        <a:pt x="3" y="17"/>
                      </a:lnTo>
                      <a:lnTo>
                        <a:pt x="8" y="17"/>
                      </a:lnTo>
                      <a:lnTo>
                        <a:pt x="11" y="14"/>
                      </a:lnTo>
                      <a:lnTo>
                        <a:pt x="14" y="12"/>
                      </a:lnTo>
                      <a:lnTo>
                        <a:pt x="19" y="12"/>
                      </a:lnTo>
                      <a:lnTo>
                        <a:pt x="22" y="12"/>
                      </a:lnTo>
                      <a:lnTo>
                        <a:pt x="25" y="9"/>
                      </a:lnTo>
                      <a:lnTo>
                        <a:pt x="29" y="6"/>
                      </a:lnTo>
                      <a:lnTo>
                        <a:pt x="30" y="3"/>
                      </a:lnTo>
                      <a:lnTo>
                        <a:pt x="33" y="1"/>
                      </a:lnTo>
                      <a:lnTo>
                        <a:pt x="32" y="0"/>
                      </a:lnTo>
                      <a:lnTo>
                        <a:pt x="29" y="0"/>
                      </a:lnTo>
                      <a:lnTo>
                        <a:pt x="25" y="1"/>
                      </a:lnTo>
                      <a:lnTo>
                        <a:pt x="22" y="3"/>
                      </a:lnTo>
                      <a:lnTo>
                        <a:pt x="17" y="3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</p:grpSp>
          <p:sp>
            <p:nvSpPr>
              <p:cNvPr id="728" name="Freeform 375"/>
              <p:cNvSpPr>
                <a:spLocks/>
              </p:cNvSpPr>
              <p:nvPr/>
            </p:nvSpPr>
            <p:spPr bwMode="auto">
              <a:xfrm>
                <a:off x="5258529" y="2634776"/>
                <a:ext cx="90220" cy="75506"/>
              </a:xfrm>
              <a:custGeom>
                <a:avLst/>
                <a:gdLst>
                  <a:gd name="T0" fmla="*/ 3 w 115"/>
                  <a:gd name="T1" fmla="*/ 6 h 100"/>
                  <a:gd name="T2" fmla="*/ 9 w 115"/>
                  <a:gd name="T3" fmla="*/ 8 h 100"/>
                  <a:gd name="T4" fmla="*/ 11 w 115"/>
                  <a:gd name="T5" fmla="*/ 6 h 100"/>
                  <a:gd name="T6" fmla="*/ 17 w 115"/>
                  <a:gd name="T7" fmla="*/ 5 h 100"/>
                  <a:gd name="T8" fmla="*/ 25 w 115"/>
                  <a:gd name="T9" fmla="*/ 3 h 100"/>
                  <a:gd name="T10" fmla="*/ 31 w 115"/>
                  <a:gd name="T11" fmla="*/ 5 h 100"/>
                  <a:gd name="T12" fmla="*/ 38 w 115"/>
                  <a:gd name="T13" fmla="*/ 3 h 100"/>
                  <a:gd name="T14" fmla="*/ 46 w 115"/>
                  <a:gd name="T15" fmla="*/ 3 h 100"/>
                  <a:gd name="T16" fmla="*/ 47 w 115"/>
                  <a:gd name="T17" fmla="*/ 2 h 100"/>
                  <a:gd name="T18" fmla="*/ 50 w 115"/>
                  <a:gd name="T19" fmla="*/ 0 h 100"/>
                  <a:gd name="T20" fmla="*/ 55 w 115"/>
                  <a:gd name="T21" fmla="*/ 3 h 100"/>
                  <a:gd name="T22" fmla="*/ 52 w 115"/>
                  <a:gd name="T23" fmla="*/ 8 h 100"/>
                  <a:gd name="T24" fmla="*/ 58 w 115"/>
                  <a:gd name="T25" fmla="*/ 11 h 100"/>
                  <a:gd name="T26" fmla="*/ 63 w 115"/>
                  <a:gd name="T27" fmla="*/ 11 h 100"/>
                  <a:gd name="T28" fmla="*/ 69 w 115"/>
                  <a:gd name="T29" fmla="*/ 18 h 100"/>
                  <a:gd name="T30" fmla="*/ 68 w 115"/>
                  <a:gd name="T31" fmla="*/ 22 h 100"/>
                  <a:gd name="T32" fmla="*/ 71 w 115"/>
                  <a:gd name="T33" fmla="*/ 33 h 100"/>
                  <a:gd name="T34" fmla="*/ 80 w 115"/>
                  <a:gd name="T35" fmla="*/ 40 h 100"/>
                  <a:gd name="T36" fmla="*/ 88 w 115"/>
                  <a:gd name="T37" fmla="*/ 46 h 100"/>
                  <a:gd name="T38" fmla="*/ 84 w 115"/>
                  <a:gd name="T39" fmla="*/ 52 h 100"/>
                  <a:gd name="T40" fmla="*/ 76 w 115"/>
                  <a:gd name="T41" fmla="*/ 52 h 100"/>
                  <a:gd name="T42" fmla="*/ 84 w 115"/>
                  <a:gd name="T43" fmla="*/ 56 h 100"/>
                  <a:gd name="T44" fmla="*/ 88 w 115"/>
                  <a:gd name="T45" fmla="*/ 62 h 100"/>
                  <a:gd name="T46" fmla="*/ 96 w 115"/>
                  <a:gd name="T47" fmla="*/ 67 h 100"/>
                  <a:gd name="T48" fmla="*/ 103 w 115"/>
                  <a:gd name="T49" fmla="*/ 68 h 100"/>
                  <a:gd name="T50" fmla="*/ 109 w 115"/>
                  <a:gd name="T51" fmla="*/ 70 h 100"/>
                  <a:gd name="T52" fmla="*/ 106 w 115"/>
                  <a:gd name="T53" fmla="*/ 75 h 100"/>
                  <a:gd name="T54" fmla="*/ 112 w 115"/>
                  <a:gd name="T55" fmla="*/ 81 h 100"/>
                  <a:gd name="T56" fmla="*/ 112 w 115"/>
                  <a:gd name="T57" fmla="*/ 86 h 100"/>
                  <a:gd name="T58" fmla="*/ 112 w 115"/>
                  <a:gd name="T59" fmla="*/ 92 h 100"/>
                  <a:gd name="T60" fmla="*/ 114 w 115"/>
                  <a:gd name="T61" fmla="*/ 97 h 100"/>
                  <a:gd name="T62" fmla="*/ 114 w 115"/>
                  <a:gd name="T63" fmla="*/ 98 h 100"/>
                  <a:gd name="T64" fmla="*/ 106 w 115"/>
                  <a:gd name="T65" fmla="*/ 98 h 100"/>
                  <a:gd name="T66" fmla="*/ 103 w 115"/>
                  <a:gd name="T67" fmla="*/ 98 h 100"/>
                  <a:gd name="T68" fmla="*/ 100 w 115"/>
                  <a:gd name="T69" fmla="*/ 97 h 100"/>
                  <a:gd name="T70" fmla="*/ 96 w 115"/>
                  <a:gd name="T71" fmla="*/ 89 h 100"/>
                  <a:gd name="T72" fmla="*/ 93 w 115"/>
                  <a:gd name="T73" fmla="*/ 83 h 100"/>
                  <a:gd name="T74" fmla="*/ 87 w 115"/>
                  <a:gd name="T75" fmla="*/ 75 h 100"/>
                  <a:gd name="T76" fmla="*/ 85 w 115"/>
                  <a:gd name="T77" fmla="*/ 70 h 100"/>
                  <a:gd name="T78" fmla="*/ 79 w 115"/>
                  <a:gd name="T79" fmla="*/ 71 h 100"/>
                  <a:gd name="T80" fmla="*/ 73 w 115"/>
                  <a:gd name="T81" fmla="*/ 71 h 100"/>
                  <a:gd name="T82" fmla="*/ 65 w 115"/>
                  <a:gd name="T83" fmla="*/ 70 h 100"/>
                  <a:gd name="T84" fmla="*/ 61 w 115"/>
                  <a:gd name="T85" fmla="*/ 64 h 100"/>
                  <a:gd name="T86" fmla="*/ 55 w 115"/>
                  <a:gd name="T87" fmla="*/ 64 h 100"/>
                  <a:gd name="T88" fmla="*/ 50 w 115"/>
                  <a:gd name="T89" fmla="*/ 65 h 100"/>
                  <a:gd name="T90" fmla="*/ 33 w 115"/>
                  <a:gd name="T91" fmla="*/ 51 h 100"/>
                  <a:gd name="T92" fmla="*/ 22 w 115"/>
                  <a:gd name="T93" fmla="*/ 52 h 100"/>
                  <a:gd name="T94" fmla="*/ 11 w 115"/>
                  <a:gd name="T95" fmla="*/ 48 h 100"/>
                  <a:gd name="T96" fmla="*/ 11 w 115"/>
                  <a:gd name="T97" fmla="*/ 43 h 100"/>
                  <a:gd name="T98" fmla="*/ 8 w 115"/>
                  <a:gd name="T99" fmla="*/ 35 h 100"/>
                  <a:gd name="T100" fmla="*/ 9 w 115"/>
                  <a:gd name="T101" fmla="*/ 29 h 100"/>
                  <a:gd name="T102" fmla="*/ 11 w 115"/>
                  <a:gd name="T103" fmla="*/ 25 h 100"/>
                  <a:gd name="T104" fmla="*/ 11 w 115"/>
                  <a:gd name="T105" fmla="*/ 22 h 100"/>
                  <a:gd name="T106" fmla="*/ 8 w 115"/>
                  <a:gd name="T107" fmla="*/ 14 h 100"/>
                  <a:gd name="T108" fmla="*/ 0 w 115"/>
                  <a:gd name="T109" fmla="*/ 11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5" h="100">
                    <a:moveTo>
                      <a:pt x="0" y="8"/>
                    </a:moveTo>
                    <a:lnTo>
                      <a:pt x="3" y="6"/>
                    </a:lnTo>
                    <a:lnTo>
                      <a:pt x="6" y="8"/>
                    </a:lnTo>
                    <a:lnTo>
                      <a:pt x="9" y="8"/>
                    </a:lnTo>
                    <a:lnTo>
                      <a:pt x="9" y="8"/>
                    </a:lnTo>
                    <a:lnTo>
                      <a:pt x="11" y="6"/>
                    </a:lnTo>
                    <a:lnTo>
                      <a:pt x="14" y="5"/>
                    </a:lnTo>
                    <a:lnTo>
                      <a:pt x="17" y="5"/>
                    </a:lnTo>
                    <a:lnTo>
                      <a:pt x="22" y="5"/>
                    </a:lnTo>
                    <a:lnTo>
                      <a:pt x="25" y="3"/>
                    </a:lnTo>
                    <a:lnTo>
                      <a:pt x="27" y="5"/>
                    </a:lnTo>
                    <a:lnTo>
                      <a:pt x="31" y="5"/>
                    </a:lnTo>
                    <a:lnTo>
                      <a:pt x="35" y="3"/>
                    </a:lnTo>
                    <a:lnTo>
                      <a:pt x="38" y="3"/>
                    </a:lnTo>
                    <a:lnTo>
                      <a:pt x="41" y="3"/>
                    </a:lnTo>
                    <a:lnTo>
                      <a:pt x="46" y="3"/>
                    </a:lnTo>
                    <a:lnTo>
                      <a:pt x="44" y="2"/>
                    </a:lnTo>
                    <a:lnTo>
                      <a:pt x="47" y="2"/>
                    </a:lnTo>
                    <a:lnTo>
                      <a:pt x="49" y="0"/>
                    </a:lnTo>
                    <a:lnTo>
                      <a:pt x="50" y="0"/>
                    </a:lnTo>
                    <a:lnTo>
                      <a:pt x="50" y="3"/>
                    </a:lnTo>
                    <a:lnTo>
                      <a:pt x="55" y="3"/>
                    </a:lnTo>
                    <a:lnTo>
                      <a:pt x="57" y="8"/>
                    </a:lnTo>
                    <a:lnTo>
                      <a:pt x="52" y="8"/>
                    </a:lnTo>
                    <a:lnTo>
                      <a:pt x="57" y="10"/>
                    </a:lnTo>
                    <a:lnTo>
                      <a:pt x="58" y="11"/>
                    </a:lnTo>
                    <a:lnTo>
                      <a:pt x="60" y="11"/>
                    </a:lnTo>
                    <a:lnTo>
                      <a:pt x="63" y="11"/>
                    </a:lnTo>
                    <a:lnTo>
                      <a:pt x="66" y="14"/>
                    </a:lnTo>
                    <a:lnTo>
                      <a:pt x="69" y="18"/>
                    </a:lnTo>
                    <a:lnTo>
                      <a:pt x="71" y="21"/>
                    </a:lnTo>
                    <a:lnTo>
                      <a:pt x="68" y="22"/>
                    </a:lnTo>
                    <a:lnTo>
                      <a:pt x="66" y="25"/>
                    </a:lnTo>
                    <a:lnTo>
                      <a:pt x="71" y="33"/>
                    </a:lnTo>
                    <a:lnTo>
                      <a:pt x="76" y="37"/>
                    </a:lnTo>
                    <a:lnTo>
                      <a:pt x="80" y="40"/>
                    </a:lnTo>
                    <a:lnTo>
                      <a:pt x="88" y="43"/>
                    </a:lnTo>
                    <a:lnTo>
                      <a:pt x="88" y="46"/>
                    </a:lnTo>
                    <a:lnTo>
                      <a:pt x="87" y="51"/>
                    </a:lnTo>
                    <a:lnTo>
                      <a:pt x="84" y="52"/>
                    </a:lnTo>
                    <a:lnTo>
                      <a:pt x="80" y="52"/>
                    </a:lnTo>
                    <a:lnTo>
                      <a:pt x="76" y="52"/>
                    </a:lnTo>
                    <a:lnTo>
                      <a:pt x="80" y="54"/>
                    </a:lnTo>
                    <a:lnTo>
                      <a:pt x="84" y="56"/>
                    </a:lnTo>
                    <a:lnTo>
                      <a:pt x="85" y="59"/>
                    </a:lnTo>
                    <a:lnTo>
                      <a:pt x="88" y="62"/>
                    </a:lnTo>
                    <a:lnTo>
                      <a:pt x="93" y="64"/>
                    </a:lnTo>
                    <a:lnTo>
                      <a:pt x="96" y="67"/>
                    </a:lnTo>
                    <a:lnTo>
                      <a:pt x="100" y="70"/>
                    </a:lnTo>
                    <a:lnTo>
                      <a:pt x="103" y="68"/>
                    </a:lnTo>
                    <a:lnTo>
                      <a:pt x="107" y="70"/>
                    </a:lnTo>
                    <a:lnTo>
                      <a:pt x="109" y="70"/>
                    </a:lnTo>
                    <a:lnTo>
                      <a:pt x="111" y="73"/>
                    </a:lnTo>
                    <a:lnTo>
                      <a:pt x="106" y="75"/>
                    </a:lnTo>
                    <a:lnTo>
                      <a:pt x="107" y="78"/>
                    </a:lnTo>
                    <a:lnTo>
                      <a:pt x="112" y="81"/>
                    </a:lnTo>
                    <a:lnTo>
                      <a:pt x="115" y="84"/>
                    </a:lnTo>
                    <a:lnTo>
                      <a:pt x="112" y="86"/>
                    </a:lnTo>
                    <a:lnTo>
                      <a:pt x="112" y="89"/>
                    </a:lnTo>
                    <a:lnTo>
                      <a:pt x="112" y="92"/>
                    </a:lnTo>
                    <a:lnTo>
                      <a:pt x="112" y="95"/>
                    </a:lnTo>
                    <a:lnTo>
                      <a:pt x="114" y="97"/>
                    </a:lnTo>
                    <a:lnTo>
                      <a:pt x="115" y="98"/>
                    </a:lnTo>
                    <a:lnTo>
                      <a:pt x="114" y="98"/>
                    </a:lnTo>
                    <a:lnTo>
                      <a:pt x="109" y="97"/>
                    </a:lnTo>
                    <a:lnTo>
                      <a:pt x="106" y="98"/>
                    </a:lnTo>
                    <a:lnTo>
                      <a:pt x="103" y="100"/>
                    </a:lnTo>
                    <a:lnTo>
                      <a:pt x="103" y="98"/>
                    </a:lnTo>
                    <a:lnTo>
                      <a:pt x="101" y="98"/>
                    </a:lnTo>
                    <a:lnTo>
                      <a:pt x="100" y="97"/>
                    </a:lnTo>
                    <a:lnTo>
                      <a:pt x="98" y="92"/>
                    </a:lnTo>
                    <a:lnTo>
                      <a:pt x="96" y="89"/>
                    </a:lnTo>
                    <a:lnTo>
                      <a:pt x="93" y="86"/>
                    </a:lnTo>
                    <a:lnTo>
                      <a:pt x="93" y="83"/>
                    </a:lnTo>
                    <a:lnTo>
                      <a:pt x="87" y="79"/>
                    </a:lnTo>
                    <a:lnTo>
                      <a:pt x="87" y="75"/>
                    </a:lnTo>
                    <a:lnTo>
                      <a:pt x="87" y="71"/>
                    </a:lnTo>
                    <a:lnTo>
                      <a:pt x="85" y="70"/>
                    </a:lnTo>
                    <a:lnTo>
                      <a:pt x="82" y="70"/>
                    </a:lnTo>
                    <a:lnTo>
                      <a:pt x="79" y="71"/>
                    </a:lnTo>
                    <a:lnTo>
                      <a:pt x="76" y="73"/>
                    </a:lnTo>
                    <a:lnTo>
                      <a:pt x="73" y="71"/>
                    </a:lnTo>
                    <a:lnTo>
                      <a:pt x="68" y="68"/>
                    </a:lnTo>
                    <a:lnTo>
                      <a:pt x="65" y="70"/>
                    </a:lnTo>
                    <a:lnTo>
                      <a:pt x="65" y="67"/>
                    </a:lnTo>
                    <a:lnTo>
                      <a:pt x="61" y="64"/>
                    </a:lnTo>
                    <a:lnTo>
                      <a:pt x="58" y="64"/>
                    </a:lnTo>
                    <a:lnTo>
                      <a:pt x="55" y="64"/>
                    </a:lnTo>
                    <a:lnTo>
                      <a:pt x="54" y="64"/>
                    </a:lnTo>
                    <a:lnTo>
                      <a:pt x="50" y="65"/>
                    </a:lnTo>
                    <a:lnTo>
                      <a:pt x="42" y="57"/>
                    </a:lnTo>
                    <a:lnTo>
                      <a:pt x="33" y="51"/>
                    </a:lnTo>
                    <a:lnTo>
                      <a:pt x="25" y="52"/>
                    </a:lnTo>
                    <a:lnTo>
                      <a:pt x="22" y="52"/>
                    </a:lnTo>
                    <a:lnTo>
                      <a:pt x="17" y="51"/>
                    </a:lnTo>
                    <a:lnTo>
                      <a:pt x="11" y="48"/>
                    </a:lnTo>
                    <a:lnTo>
                      <a:pt x="12" y="46"/>
                    </a:lnTo>
                    <a:lnTo>
                      <a:pt x="11" y="43"/>
                    </a:lnTo>
                    <a:lnTo>
                      <a:pt x="8" y="38"/>
                    </a:lnTo>
                    <a:lnTo>
                      <a:pt x="8" y="35"/>
                    </a:lnTo>
                    <a:lnTo>
                      <a:pt x="8" y="32"/>
                    </a:lnTo>
                    <a:lnTo>
                      <a:pt x="9" y="29"/>
                    </a:lnTo>
                    <a:lnTo>
                      <a:pt x="11" y="29"/>
                    </a:lnTo>
                    <a:lnTo>
                      <a:pt x="11" y="25"/>
                    </a:lnTo>
                    <a:lnTo>
                      <a:pt x="11" y="24"/>
                    </a:lnTo>
                    <a:lnTo>
                      <a:pt x="11" y="22"/>
                    </a:lnTo>
                    <a:lnTo>
                      <a:pt x="8" y="19"/>
                    </a:lnTo>
                    <a:lnTo>
                      <a:pt x="8" y="14"/>
                    </a:lnTo>
                    <a:lnTo>
                      <a:pt x="4" y="13"/>
                    </a:lnTo>
                    <a:lnTo>
                      <a:pt x="0" y="11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29" name="Freeform 376"/>
              <p:cNvSpPr>
                <a:spLocks noEditPoints="1"/>
              </p:cNvSpPr>
              <p:nvPr/>
            </p:nvSpPr>
            <p:spPr bwMode="auto">
              <a:xfrm>
                <a:off x="5295862" y="2210432"/>
                <a:ext cx="998637" cy="445484"/>
              </a:xfrm>
              <a:custGeom>
                <a:avLst/>
                <a:gdLst>
                  <a:gd name="T0" fmla="*/ 38 w 1283"/>
                  <a:gd name="T1" fmla="*/ 212 h 590"/>
                  <a:gd name="T2" fmla="*/ 92 w 1283"/>
                  <a:gd name="T3" fmla="*/ 161 h 590"/>
                  <a:gd name="T4" fmla="*/ 163 w 1283"/>
                  <a:gd name="T5" fmla="*/ 155 h 590"/>
                  <a:gd name="T6" fmla="*/ 233 w 1283"/>
                  <a:gd name="T7" fmla="*/ 171 h 590"/>
                  <a:gd name="T8" fmla="*/ 323 w 1283"/>
                  <a:gd name="T9" fmla="*/ 177 h 590"/>
                  <a:gd name="T10" fmla="*/ 406 w 1283"/>
                  <a:gd name="T11" fmla="*/ 179 h 590"/>
                  <a:gd name="T12" fmla="*/ 393 w 1283"/>
                  <a:gd name="T13" fmla="*/ 133 h 590"/>
                  <a:gd name="T14" fmla="*/ 425 w 1283"/>
                  <a:gd name="T15" fmla="*/ 85 h 590"/>
                  <a:gd name="T16" fmla="*/ 422 w 1283"/>
                  <a:gd name="T17" fmla="*/ 57 h 590"/>
                  <a:gd name="T18" fmla="*/ 506 w 1283"/>
                  <a:gd name="T19" fmla="*/ 39 h 590"/>
                  <a:gd name="T20" fmla="*/ 598 w 1283"/>
                  <a:gd name="T21" fmla="*/ 9 h 590"/>
                  <a:gd name="T22" fmla="*/ 687 w 1283"/>
                  <a:gd name="T23" fmla="*/ 22 h 590"/>
                  <a:gd name="T24" fmla="*/ 750 w 1283"/>
                  <a:gd name="T25" fmla="*/ 55 h 590"/>
                  <a:gd name="T26" fmla="*/ 794 w 1283"/>
                  <a:gd name="T27" fmla="*/ 69 h 590"/>
                  <a:gd name="T28" fmla="*/ 870 w 1283"/>
                  <a:gd name="T29" fmla="*/ 43 h 590"/>
                  <a:gd name="T30" fmla="*/ 1047 w 1283"/>
                  <a:gd name="T31" fmla="*/ 161 h 590"/>
                  <a:gd name="T32" fmla="*/ 1135 w 1283"/>
                  <a:gd name="T33" fmla="*/ 174 h 590"/>
                  <a:gd name="T34" fmla="*/ 1210 w 1283"/>
                  <a:gd name="T35" fmla="*/ 228 h 590"/>
                  <a:gd name="T36" fmla="*/ 1273 w 1283"/>
                  <a:gd name="T37" fmla="*/ 247 h 590"/>
                  <a:gd name="T38" fmla="*/ 1256 w 1283"/>
                  <a:gd name="T39" fmla="*/ 330 h 590"/>
                  <a:gd name="T40" fmla="*/ 1191 w 1283"/>
                  <a:gd name="T41" fmla="*/ 402 h 590"/>
                  <a:gd name="T42" fmla="*/ 1112 w 1283"/>
                  <a:gd name="T43" fmla="*/ 420 h 590"/>
                  <a:gd name="T44" fmla="*/ 1153 w 1283"/>
                  <a:gd name="T45" fmla="*/ 494 h 590"/>
                  <a:gd name="T46" fmla="*/ 1088 w 1283"/>
                  <a:gd name="T47" fmla="*/ 496 h 590"/>
                  <a:gd name="T48" fmla="*/ 939 w 1283"/>
                  <a:gd name="T49" fmla="*/ 485 h 590"/>
                  <a:gd name="T50" fmla="*/ 874 w 1283"/>
                  <a:gd name="T51" fmla="*/ 499 h 590"/>
                  <a:gd name="T52" fmla="*/ 809 w 1283"/>
                  <a:gd name="T53" fmla="*/ 548 h 590"/>
                  <a:gd name="T54" fmla="*/ 756 w 1283"/>
                  <a:gd name="T55" fmla="*/ 566 h 590"/>
                  <a:gd name="T56" fmla="*/ 621 w 1283"/>
                  <a:gd name="T57" fmla="*/ 469 h 590"/>
                  <a:gd name="T58" fmla="*/ 466 w 1283"/>
                  <a:gd name="T59" fmla="*/ 410 h 590"/>
                  <a:gd name="T60" fmla="*/ 466 w 1283"/>
                  <a:gd name="T61" fmla="*/ 407 h 590"/>
                  <a:gd name="T62" fmla="*/ 449 w 1283"/>
                  <a:gd name="T63" fmla="*/ 382 h 590"/>
                  <a:gd name="T64" fmla="*/ 447 w 1283"/>
                  <a:gd name="T65" fmla="*/ 376 h 590"/>
                  <a:gd name="T66" fmla="*/ 458 w 1283"/>
                  <a:gd name="T67" fmla="*/ 376 h 590"/>
                  <a:gd name="T68" fmla="*/ 476 w 1283"/>
                  <a:gd name="T69" fmla="*/ 371 h 590"/>
                  <a:gd name="T70" fmla="*/ 453 w 1283"/>
                  <a:gd name="T71" fmla="*/ 368 h 590"/>
                  <a:gd name="T72" fmla="*/ 444 w 1283"/>
                  <a:gd name="T73" fmla="*/ 382 h 590"/>
                  <a:gd name="T74" fmla="*/ 431 w 1283"/>
                  <a:gd name="T75" fmla="*/ 382 h 590"/>
                  <a:gd name="T76" fmla="*/ 422 w 1283"/>
                  <a:gd name="T77" fmla="*/ 372 h 590"/>
                  <a:gd name="T78" fmla="*/ 412 w 1283"/>
                  <a:gd name="T79" fmla="*/ 388 h 590"/>
                  <a:gd name="T80" fmla="*/ 330 w 1283"/>
                  <a:gd name="T81" fmla="*/ 544 h 590"/>
                  <a:gd name="T82" fmla="*/ 223 w 1283"/>
                  <a:gd name="T83" fmla="*/ 496 h 590"/>
                  <a:gd name="T84" fmla="*/ 149 w 1283"/>
                  <a:gd name="T85" fmla="*/ 431 h 590"/>
                  <a:gd name="T86" fmla="*/ 222 w 1283"/>
                  <a:gd name="T87" fmla="*/ 398 h 590"/>
                  <a:gd name="T88" fmla="*/ 200 w 1283"/>
                  <a:gd name="T89" fmla="*/ 333 h 590"/>
                  <a:gd name="T90" fmla="*/ 103 w 1283"/>
                  <a:gd name="T91" fmla="*/ 352 h 590"/>
                  <a:gd name="T92" fmla="*/ 33 w 1283"/>
                  <a:gd name="T93" fmla="*/ 299 h 590"/>
                  <a:gd name="T94" fmla="*/ 452 w 1283"/>
                  <a:gd name="T95" fmla="*/ 355 h 590"/>
                  <a:gd name="T96" fmla="*/ 468 w 1283"/>
                  <a:gd name="T97" fmla="*/ 360 h 590"/>
                  <a:gd name="T98" fmla="*/ 476 w 1283"/>
                  <a:gd name="T99" fmla="*/ 360 h 590"/>
                  <a:gd name="T100" fmla="*/ 487 w 1283"/>
                  <a:gd name="T101" fmla="*/ 363 h 590"/>
                  <a:gd name="T102" fmla="*/ 490 w 1283"/>
                  <a:gd name="T103" fmla="*/ 350 h 590"/>
                  <a:gd name="T104" fmla="*/ 472 w 1283"/>
                  <a:gd name="T105" fmla="*/ 345 h 590"/>
                  <a:gd name="T106" fmla="*/ 472 w 1283"/>
                  <a:gd name="T107" fmla="*/ 345 h 590"/>
                  <a:gd name="T108" fmla="*/ 461 w 1283"/>
                  <a:gd name="T109" fmla="*/ 353 h 590"/>
                  <a:gd name="T110" fmla="*/ 450 w 1283"/>
                  <a:gd name="T111" fmla="*/ 347 h 590"/>
                  <a:gd name="T112" fmla="*/ 442 w 1283"/>
                  <a:gd name="T113" fmla="*/ 360 h 590"/>
                  <a:gd name="T114" fmla="*/ 423 w 1283"/>
                  <a:gd name="T115" fmla="*/ 396 h 590"/>
                  <a:gd name="T116" fmla="*/ 423 w 1283"/>
                  <a:gd name="T117" fmla="*/ 380 h 590"/>
                  <a:gd name="T118" fmla="*/ 434 w 1283"/>
                  <a:gd name="T119" fmla="*/ 385 h 590"/>
                  <a:gd name="T120" fmla="*/ 442 w 1283"/>
                  <a:gd name="T121" fmla="*/ 399 h 590"/>
                  <a:gd name="T122" fmla="*/ 436 w 1283"/>
                  <a:gd name="T123" fmla="*/ 390 h 5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283" h="590">
                    <a:moveTo>
                      <a:pt x="1" y="265"/>
                    </a:moveTo>
                    <a:lnTo>
                      <a:pt x="1" y="263"/>
                    </a:lnTo>
                    <a:lnTo>
                      <a:pt x="3" y="260"/>
                    </a:lnTo>
                    <a:lnTo>
                      <a:pt x="3" y="258"/>
                    </a:lnTo>
                    <a:lnTo>
                      <a:pt x="5" y="253"/>
                    </a:lnTo>
                    <a:lnTo>
                      <a:pt x="6" y="253"/>
                    </a:lnTo>
                    <a:lnTo>
                      <a:pt x="6" y="253"/>
                    </a:lnTo>
                    <a:lnTo>
                      <a:pt x="9" y="250"/>
                    </a:lnTo>
                    <a:lnTo>
                      <a:pt x="11" y="247"/>
                    </a:lnTo>
                    <a:lnTo>
                      <a:pt x="11" y="244"/>
                    </a:lnTo>
                    <a:lnTo>
                      <a:pt x="6" y="241"/>
                    </a:lnTo>
                    <a:lnTo>
                      <a:pt x="3" y="239"/>
                    </a:lnTo>
                    <a:lnTo>
                      <a:pt x="1" y="236"/>
                    </a:lnTo>
                    <a:lnTo>
                      <a:pt x="1" y="220"/>
                    </a:lnTo>
                    <a:lnTo>
                      <a:pt x="3" y="215"/>
                    </a:lnTo>
                    <a:lnTo>
                      <a:pt x="8" y="215"/>
                    </a:lnTo>
                    <a:lnTo>
                      <a:pt x="11" y="212"/>
                    </a:lnTo>
                    <a:lnTo>
                      <a:pt x="12" y="211"/>
                    </a:lnTo>
                    <a:lnTo>
                      <a:pt x="12" y="207"/>
                    </a:lnTo>
                    <a:lnTo>
                      <a:pt x="11" y="204"/>
                    </a:lnTo>
                    <a:lnTo>
                      <a:pt x="9" y="201"/>
                    </a:lnTo>
                    <a:lnTo>
                      <a:pt x="12" y="196"/>
                    </a:lnTo>
                    <a:lnTo>
                      <a:pt x="17" y="193"/>
                    </a:lnTo>
                    <a:lnTo>
                      <a:pt x="20" y="196"/>
                    </a:lnTo>
                    <a:lnTo>
                      <a:pt x="24" y="198"/>
                    </a:lnTo>
                    <a:lnTo>
                      <a:pt x="27" y="201"/>
                    </a:lnTo>
                    <a:lnTo>
                      <a:pt x="31" y="204"/>
                    </a:lnTo>
                    <a:lnTo>
                      <a:pt x="33" y="206"/>
                    </a:lnTo>
                    <a:lnTo>
                      <a:pt x="36" y="209"/>
                    </a:lnTo>
                    <a:lnTo>
                      <a:pt x="38" y="212"/>
                    </a:lnTo>
                    <a:lnTo>
                      <a:pt x="41" y="214"/>
                    </a:lnTo>
                    <a:lnTo>
                      <a:pt x="44" y="217"/>
                    </a:lnTo>
                    <a:lnTo>
                      <a:pt x="47" y="219"/>
                    </a:lnTo>
                    <a:lnTo>
                      <a:pt x="52" y="219"/>
                    </a:lnTo>
                    <a:lnTo>
                      <a:pt x="55" y="217"/>
                    </a:lnTo>
                    <a:lnTo>
                      <a:pt x="58" y="215"/>
                    </a:lnTo>
                    <a:lnTo>
                      <a:pt x="62" y="212"/>
                    </a:lnTo>
                    <a:lnTo>
                      <a:pt x="62" y="211"/>
                    </a:lnTo>
                    <a:lnTo>
                      <a:pt x="62" y="209"/>
                    </a:lnTo>
                    <a:lnTo>
                      <a:pt x="58" y="206"/>
                    </a:lnTo>
                    <a:lnTo>
                      <a:pt x="54" y="200"/>
                    </a:lnTo>
                    <a:lnTo>
                      <a:pt x="52" y="196"/>
                    </a:lnTo>
                    <a:lnTo>
                      <a:pt x="51" y="192"/>
                    </a:lnTo>
                    <a:lnTo>
                      <a:pt x="51" y="188"/>
                    </a:lnTo>
                    <a:lnTo>
                      <a:pt x="47" y="187"/>
                    </a:lnTo>
                    <a:lnTo>
                      <a:pt x="51" y="187"/>
                    </a:lnTo>
                    <a:lnTo>
                      <a:pt x="54" y="188"/>
                    </a:lnTo>
                    <a:lnTo>
                      <a:pt x="57" y="187"/>
                    </a:lnTo>
                    <a:lnTo>
                      <a:pt x="62" y="184"/>
                    </a:lnTo>
                    <a:lnTo>
                      <a:pt x="65" y="180"/>
                    </a:lnTo>
                    <a:lnTo>
                      <a:pt x="68" y="180"/>
                    </a:lnTo>
                    <a:lnTo>
                      <a:pt x="71" y="177"/>
                    </a:lnTo>
                    <a:lnTo>
                      <a:pt x="68" y="173"/>
                    </a:lnTo>
                    <a:lnTo>
                      <a:pt x="68" y="169"/>
                    </a:lnTo>
                    <a:lnTo>
                      <a:pt x="74" y="168"/>
                    </a:lnTo>
                    <a:lnTo>
                      <a:pt x="77" y="169"/>
                    </a:lnTo>
                    <a:lnTo>
                      <a:pt x="79" y="168"/>
                    </a:lnTo>
                    <a:lnTo>
                      <a:pt x="84" y="165"/>
                    </a:lnTo>
                    <a:lnTo>
                      <a:pt x="85" y="163"/>
                    </a:lnTo>
                    <a:lnTo>
                      <a:pt x="92" y="161"/>
                    </a:lnTo>
                    <a:lnTo>
                      <a:pt x="95" y="160"/>
                    </a:lnTo>
                    <a:lnTo>
                      <a:pt x="97" y="157"/>
                    </a:lnTo>
                    <a:lnTo>
                      <a:pt x="100" y="155"/>
                    </a:lnTo>
                    <a:lnTo>
                      <a:pt x="100" y="150"/>
                    </a:lnTo>
                    <a:lnTo>
                      <a:pt x="100" y="147"/>
                    </a:lnTo>
                    <a:lnTo>
                      <a:pt x="104" y="149"/>
                    </a:lnTo>
                    <a:lnTo>
                      <a:pt x="108" y="149"/>
                    </a:lnTo>
                    <a:lnTo>
                      <a:pt x="106" y="146"/>
                    </a:lnTo>
                    <a:lnTo>
                      <a:pt x="104" y="142"/>
                    </a:lnTo>
                    <a:lnTo>
                      <a:pt x="108" y="144"/>
                    </a:lnTo>
                    <a:lnTo>
                      <a:pt x="111" y="146"/>
                    </a:lnTo>
                    <a:lnTo>
                      <a:pt x="116" y="146"/>
                    </a:lnTo>
                    <a:lnTo>
                      <a:pt x="120" y="146"/>
                    </a:lnTo>
                    <a:lnTo>
                      <a:pt x="123" y="147"/>
                    </a:lnTo>
                    <a:lnTo>
                      <a:pt x="123" y="150"/>
                    </a:lnTo>
                    <a:lnTo>
                      <a:pt x="127" y="154"/>
                    </a:lnTo>
                    <a:lnTo>
                      <a:pt x="130" y="154"/>
                    </a:lnTo>
                    <a:lnTo>
                      <a:pt x="133" y="152"/>
                    </a:lnTo>
                    <a:lnTo>
                      <a:pt x="136" y="155"/>
                    </a:lnTo>
                    <a:lnTo>
                      <a:pt x="138" y="150"/>
                    </a:lnTo>
                    <a:lnTo>
                      <a:pt x="138" y="147"/>
                    </a:lnTo>
                    <a:lnTo>
                      <a:pt x="143" y="146"/>
                    </a:lnTo>
                    <a:lnTo>
                      <a:pt x="146" y="147"/>
                    </a:lnTo>
                    <a:lnTo>
                      <a:pt x="150" y="144"/>
                    </a:lnTo>
                    <a:lnTo>
                      <a:pt x="154" y="142"/>
                    </a:lnTo>
                    <a:lnTo>
                      <a:pt x="155" y="146"/>
                    </a:lnTo>
                    <a:lnTo>
                      <a:pt x="158" y="149"/>
                    </a:lnTo>
                    <a:lnTo>
                      <a:pt x="160" y="152"/>
                    </a:lnTo>
                    <a:lnTo>
                      <a:pt x="162" y="154"/>
                    </a:lnTo>
                    <a:lnTo>
                      <a:pt x="163" y="155"/>
                    </a:lnTo>
                    <a:lnTo>
                      <a:pt x="166" y="154"/>
                    </a:lnTo>
                    <a:lnTo>
                      <a:pt x="171" y="154"/>
                    </a:lnTo>
                    <a:lnTo>
                      <a:pt x="174" y="155"/>
                    </a:lnTo>
                    <a:lnTo>
                      <a:pt x="176" y="154"/>
                    </a:lnTo>
                    <a:lnTo>
                      <a:pt x="181" y="154"/>
                    </a:lnTo>
                    <a:lnTo>
                      <a:pt x="184" y="154"/>
                    </a:lnTo>
                    <a:lnTo>
                      <a:pt x="187" y="154"/>
                    </a:lnTo>
                    <a:lnTo>
                      <a:pt x="190" y="155"/>
                    </a:lnTo>
                    <a:lnTo>
                      <a:pt x="195" y="155"/>
                    </a:lnTo>
                    <a:lnTo>
                      <a:pt x="196" y="160"/>
                    </a:lnTo>
                    <a:lnTo>
                      <a:pt x="200" y="163"/>
                    </a:lnTo>
                    <a:lnTo>
                      <a:pt x="203" y="165"/>
                    </a:lnTo>
                    <a:lnTo>
                      <a:pt x="206" y="165"/>
                    </a:lnTo>
                    <a:lnTo>
                      <a:pt x="211" y="166"/>
                    </a:lnTo>
                    <a:lnTo>
                      <a:pt x="215" y="171"/>
                    </a:lnTo>
                    <a:lnTo>
                      <a:pt x="219" y="173"/>
                    </a:lnTo>
                    <a:lnTo>
                      <a:pt x="222" y="176"/>
                    </a:lnTo>
                    <a:lnTo>
                      <a:pt x="230" y="179"/>
                    </a:lnTo>
                    <a:lnTo>
                      <a:pt x="228" y="182"/>
                    </a:lnTo>
                    <a:lnTo>
                      <a:pt x="228" y="185"/>
                    </a:lnTo>
                    <a:lnTo>
                      <a:pt x="230" y="188"/>
                    </a:lnTo>
                    <a:lnTo>
                      <a:pt x="233" y="192"/>
                    </a:lnTo>
                    <a:lnTo>
                      <a:pt x="233" y="192"/>
                    </a:lnTo>
                    <a:lnTo>
                      <a:pt x="236" y="190"/>
                    </a:lnTo>
                    <a:lnTo>
                      <a:pt x="236" y="187"/>
                    </a:lnTo>
                    <a:lnTo>
                      <a:pt x="235" y="182"/>
                    </a:lnTo>
                    <a:lnTo>
                      <a:pt x="235" y="179"/>
                    </a:lnTo>
                    <a:lnTo>
                      <a:pt x="231" y="176"/>
                    </a:lnTo>
                    <a:lnTo>
                      <a:pt x="230" y="173"/>
                    </a:lnTo>
                    <a:lnTo>
                      <a:pt x="233" y="171"/>
                    </a:lnTo>
                    <a:lnTo>
                      <a:pt x="236" y="173"/>
                    </a:lnTo>
                    <a:lnTo>
                      <a:pt x="239" y="174"/>
                    </a:lnTo>
                    <a:lnTo>
                      <a:pt x="242" y="176"/>
                    </a:lnTo>
                    <a:lnTo>
                      <a:pt x="244" y="177"/>
                    </a:lnTo>
                    <a:lnTo>
                      <a:pt x="247" y="180"/>
                    </a:lnTo>
                    <a:lnTo>
                      <a:pt x="252" y="182"/>
                    </a:lnTo>
                    <a:lnTo>
                      <a:pt x="255" y="184"/>
                    </a:lnTo>
                    <a:lnTo>
                      <a:pt x="258" y="187"/>
                    </a:lnTo>
                    <a:lnTo>
                      <a:pt x="261" y="185"/>
                    </a:lnTo>
                    <a:lnTo>
                      <a:pt x="265" y="188"/>
                    </a:lnTo>
                    <a:lnTo>
                      <a:pt x="269" y="192"/>
                    </a:lnTo>
                    <a:lnTo>
                      <a:pt x="273" y="188"/>
                    </a:lnTo>
                    <a:lnTo>
                      <a:pt x="276" y="187"/>
                    </a:lnTo>
                    <a:lnTo>
                      <a:pt x="279" y="184"/>
                    </a:lnTo>
                    <a:lnTo>
                      <a:pt x="280" y="180"/>
                    </a:lnTo>
                    <a:lnTo>
                      <a:pt x="280" y="179"/>
                    </a:lnTo>
                    <a:lnTo>
                      <a:pt x="287" y="174"/>
                    </a:lnTo>
                    <a:lnTo>
                      <a:pt x="288" y="171"/>
                    </a:lnTo>
                    <a:lnTo>
                      <a:pt x="292" y="171"/>
                    </a:lnTo>
                    <a:lnTo>
                      <a:pt x="295" y="173"/>
                    </a:lnTo>
                    <a:lnTo>
                      <a:pt x="296" y="169"/>
                    </a:lnTo>
                    <a:lnTo>
                      <a:pt x="300" y="169"/>
                    </a:lnTo>
                    <a:lnTo>
                      <a:pt x="303" y="169"/>
                    </a:lnTo>
                    <a:lnTo>
                      <a:pt x="306" y="169"/>
                    </a:lnTo>
                    <a:lnTo>
                      <a:pt x="311" y="168"/>
                    </a:lnTo>
                    <a:lnTo>
                      <a:pt x="312" y="173"/>
                    </a:lnTo>
                    <a:lnTo>
                      <a:pt x="315" y="174"/>
                    </a:lnTo>
                    <a:lnTo>
                      <a:pt x="319" y="177"/>
                    </a:lnTo>
                    <a:lnTo>
                      <a:pt x="322" y="177"/>
                    </a:lnTo>
                    <a:lnTo>
                      <a:pt x="323" y="177"/>
                    </a:lnTo>
                    <a:lnTo>
                      <a:pt x="326" y="176"/>
                    </a:lnTo>
                    <a:lnTo>
                      <a:pt x="330" y="176"/>
                    </a:lnTo>
                    <a:lnTo>
                      <a:pt x="330" y="173"/>
                    </a:lnTo>
                    <a:lnTo>
                      <a:pt x="328" y="169"/>
                    </a:lnTo>
                    <a:lnTo>
                      <a:pt x="330" y="168"/>
                    </a:lnTo>
                    <a:lnTo>
                      <a:pt x="339" y="169"/>
                    </a:lnTo>
                    <a:lnTo>
                      <a:pt x="342" y="168"/>
                    </a:lnTo>
                    <a:lnTo>
                      <a:pt x="346" y="166"/>
                    </a:lnTo>
                    <a:lnTo>
                      <a:pt x="349" y="169"/>
                    </a:lnTo>
                    <a:lnTo>
                      <a:pt x="352" y="169"/>
                    </a:lnTo>
                    <a:lnTo>
                      <a:pt x="355" y="171"/>
                    </a:lnTo>
                    <a:lnTo>
                      <a:pt x="357" y="174"/>
                    </a:lnTo>
                    <a:lnTo>
                      <a:pt x="357" y="177"/>
                    </a:lnTo>
                    <a:lnTo>
                      <a:pt x="360" y="180"/>
                    </a:lnTo>
                    <a:lnTo>
                      <a:pt x="363" y="180"/>
                    </a:lnTo>
                    <a:lnTo>
                      <a:pt x="368" y="184"/>
                    </a:lnTo>
                    <a:lnTo>
                      <a:pt x="371" y="185"/>
                    </a:lnTo>
                    <a:lnTo>
                      <a:pt x="380" y="187"/>
                    </a:lnTo>
                    <a:lnTo>
                      <a:pt x="390" y="188"/>
                    </a:lnTo>
                    <a:lnTo>
                      <a:pt x="388" y="192"/>
                    </a:lnTo>
                    <a:lnTo>
                      <a:pt x="393" y="192"/>
                    </a:lnTo>
                    <a:lnTo>
                      <a:pt x="396" y="192"/>
                    </a:lnTo>
                    <a:lnTo>
                      <a:pt x="399" y="187"/>
                    </a:lnTo>
                    <a:lnTo>
                      <a:pt x="399" y="187"/>
                    </a:lnTo>
                    <a:lnTo>
                      <a:pt x="399" y="184"/>
                    </a:lnTo>
                    <a:lnTo>
                      <a:pt x="399" y="179"/>
                    </a:lnTo>
                    <a:lnTo>
                      <a:pt x="399" y="179"/>
                    </a:lnTo>
                    <a:lnTo>
                      <a:pt x="401" y="179"/>
                    </a:lnTo>
                    <a:lnTo>
                      <a:pt x="403" y="177"/>
                    </a:lnTo>
                    <a:lnTo>
                      <a:pt x="406" y="179"/>
                    </a:lnTo>
                    <a:lnTo>
                      <a:pt x="409" y="182"/>
                    </a:lnTo>
                    <a:lnTo>
                      <a:pt x="412" y="185"/>
                    </a:lnTo>
                    <a:lnTo>
                      <a:pt x="418" y="185"/>
                    </a:lnTo>
                    <a:lnTo>
                      <a:pt x="425" y="185"/>
                    </a:lnTo>
                    <a:lnTo>
                      <a:pt x="436" y="184"/>
                    </a:lnTo>
                    <a:lnTo>
                      <a:pt x="445" y="179"/>
                    </a:lnTo>
                    <a:lnTo>
                      <a:pt x="445" y="171"/>
                    </a:lnTo>
                    <a:lnTo>
                      <a:pt x="445" y="163"/>
                    </a:lnTo>
                    <a:lnTo>
                      <a:pt x="449" y="163"/>
                    </a:lnTo>
                    <a:lnTo>
                      <a:pt x="447" y="161"/>
                    </a:lnTo>
                    <a:lnTo>
                      <a:pt x="444" y="160"/>
                    </a:lnTo>
                    <a:lnTo>
                      <a:pt x="441" y="155"/>
                    </a:lnTo>
                    <a:lnTo>
                      <a:pt x="441" y="155"/>
                    </a:lnTo>
                    <a:lnTo>
                      <a:pt x="436" y="155"/>
                    </a:lnTo>
                    <a:lnTo>
                      <a:pt x="433" y="155"/>
                    </a:lnTo>
                    <a:lnTo>
                      <a:pt x="430" y="155"/>
                    </a:lnTo>
                    <a:lnTo>
                      <a:pt x="426" y="154"/>
                    </a:lnTo>
                    <a:lnTo>
                      <a:pt x="423" y="152"/>
                    </a:lnTo>
                    <a:lnTo>
                      <a:pt x="422" y="149"/>
                    </a:lnTo>
                    <a:lnTo>
                      <a:pt x="418" y="149"/>
                    </a:lnTo>
                    <a:lnTo>
                      <a:pt x="415" y="149"/>
                    </a:lnTo>
                    <a:lnTo>
                      <a:pt x="407" y="149"/>
                    </a:lnTo>
                    <a:lnTo>
                      <a:pt x="404" y="144"/>
                    </a:lnTo>
                    <a:lnTo>
                      <a:pt x="403" y="141"/>
                    </a:lnTo>
                    <a:lnTo>
                      <a:pt x="398" y="139"/>
                    </a:lnTo>
                    <a:lnTo>
                      <a:pt x="395" y="138"/>
                    </a:lnTo>
                    <a:lnTo>
                      <a:pt x="392" y="139"/>
                    </a:lnTo>
                    <a:lnTo>
                      <a:pt x="388" y="136"/>
                    </a:lnTo>
                    <a:lnTo>
                      <a:pt x="388" y="133"/>
                    </a:lnTo>
                    <a:lnTo>
                      <a:pt x="393" y="133"/>
                    </a:lnTo>
                    <a:lnTo>
                      <a:pt x="396" y="131"/>
                    </a:lnTo>
                    <a:lnTo>
                      <a:pt x="399" y="127"/>
                    </a:lnTo>
                    <a:lnTo>
                      <a:pt x="407" y="127"/>
                    </a:lnTo>
                    <a:lnTo>
                      <a:pt x="411" y="123"/>
                    </a:lnTo>
                    <a:lnTo>
                      <a:pt x="414" y="120"/>
                    </a:lnTo>
                    <a:lnTo>
                      <a:pt x="415" y="120"/>
                    </a:lnTo>
                    <a:lnTo>
                      <a:pt x="412" y="117"/>
                    </a:lnTo>
                    <a:lnTo>
                      <a:pt x="411" y="114"/>
                    </a:lnTo>
                    <a:lnTo>
                      <a:pt x="407" y="112"/>
                    </a:lnTo>
                    <a:lnTo>
                      <a:pt x="404" y="109"/>
                    </a:lnTo>
                    <a:lnTo>
                      <a:pt x="401" y="108"/>
                    </a:lnTo>
                    <a:lnTo>
                      <a:pt x="401" y="104"/>
                    </a:lnTo>
                    <a:lnTo>
                      <a:pt x="404" y="101"/>
                    </a:lnTo>
                    <a:lnTo>
                      <a:pt x="407" y="98"/>
                    </a:lnTo>
                    <a:lnTo>
                      <a:pt x="406" y="95"/>
                    </a:lnTo>
                    <a:lnTo>
                      <a:pt x="411" y="95"/>
                    </a:lnTo>
                    <a:lnTo>
                      <a:pt x="412" y="93"/>
                    </a:lnTo>
                    <a:lnTo>
                      <a:pt x="415" y="95"/>
                    </a:lnTo>
                    <a:lnTo>
                      <a:pt x="418" y="93"/>
                    </a:lnTo>
                    <a:lnTo>
                      <a:pt x="423" y="95"/>
                    </a:lnTo>
                    <a:lnTo>
                      <a:pt x="426" y="96"/>
                    </a:lnTo>
                    <a:lnTo>
                      <a:pt x="430" y="95"/>
                    </a:lnTo>
                    <a:lnTo>
                      <a:pt x="433" y="95"/>
                    </a:lnTo>
                    <a:lnTo>
                      <a:pt x="438" y="96"/>
                    </a:lnTo>
                    <a:lnTo>
                      <a:pt x="441" y="93"/>
                    </a:lnTo>
                    <a:lnTo>
                      <a:pt x="439" y="90"/>
                    </a:lnTo>
                    <a:lnTo>
                      <a:pt x="436" y="89"/>
                    </a:lnTo>
                    <a:lnTo>
                      <a:pt x="431" y="89"/>
                    </a:lnTo>
                    <a:lnTo>
                      <a:pt x="428" y="87"/>
                    </a:lnTo>
                    <a:lnTo>
                      <a:pt x="425" y="85"/>
                    </a:lnTo>
                    <a:lnTo>
                      <a:pt x="422" y="85"/>
                    </a:lnTo>
                    <a:lnTo>
                      <a:pt x="417" y="85"/>
                    </a:lnTo>
                    <a:lnTo>
                      <a:pt x="414" y="84"/>
                    </a:lnTo>
                    <a:lnTo>
                      <a:pt x="411" y="84"/>
                    </a:lnTo>
                    <a:lnTo>
                      <a:pt x="407" y="81"/>
                    </a:lnTo>
                    <a:lnTo>
                      <a:pt x="407" y="77"/>
                    </a:lnTo>
                    <a:lnTo>
                      <a:pt x="411" y="76"/>
                    </a:lnTo>
                    <a:lnTo>
                      <a:pt x="414" y="77"/>
                    </a:lnTo>
                    <a:lnTo>
                      <a:pt x="417" y="74"/>
                    </a:lnTo>
                    <a:lnTo>
                      <a:pt x="414" y="71"/>
                    </a:lnTo>
                    <a:lnTo>
                      <a:pt x="411" y="71"/>
                    </a:lnTo>
                    <a:lnTo>
                      <a:pt x="407" y="73"/>
                    </a:lnTo>
                    <a:lnTo>
                      <a:pt x="403" y="71"/>
                    </a:lnTo>
                    <a:lnTo>
                      <a:pt x="399" y="69"/>
                    </a:lnTo>
                    <a:lnTo>
                      <a:pt x="396" y="68"/>
                    </a:lnTo>
                    <a:lnTo>
                      <a:pt x="399" y="68"/>
                    </a:lnTo>
                    <a:lnTo>
                      <a:pt x="403" y="65"/>
                    </a:lnTo>
                    <a:lnTo>
                      <a:pt x="403" y="62"/>
                    </a:lnTo>
                    <a:lnTo>
                      <a:pt x="399" y="60"/>
                    </a:lnTo>
                    <a:lnTo>
                      <a:pt x="395" y="57"/>
                    </a:lnTo>
                    <a:lnTo>
                      <a:pt x="398" y="57"/>
                    </a:lnTo>
                    <a:lnTo>
                      <a:pt x="403" y="57"/>
                    </a:lnTo>
                    <a:lnTo>
                      <a:pt x="403" y="54"/>
                    </a:lnTo>
                    <a:lnTo>
                      <a:pt x="406" y="52"/>
                    </a:lnTo>
                    <a:lnTo>
                      <a:pt x="409" y="55"/>
                    </a:lnTo>
                    <a:lnTo>
                      <a:pt x="409" y="55"/>
                    </a:lnTo>
                    <a:lnTo>
                      <a:pt x="414" y="55"/>
                    </a:lnTo>
                    <a:lnTo>
                      <a:pt x="414" y="55"/>
                    </a:lnTo>
                    <a:lnTo>
                      <a:pt x="418" y="55"/>
                    </a:lnTo>
                    <a:lnTo>
                      <a:pt x="422" y="57"/>
                    </a:lnTo>
                    <a:lnTo>
                      <a:pt x="426" y="57"/>
                    </a:lnTo>
                    <a:lnTo>
                      <a:pt x="428" y="54"/>
                    </a:lnTo>
                    <a:lnTo>
                      <a:pt x="431" y="55"/>
                    </a:lnTo>
                    <a:lnTo>
                      <a:pt x="434" y="55"/>
                    </a:lnTo>
                    <a:lnTo>
                      <a:pt x="438" y="55"/>
                    </a:lnTo>
                    <a:lnTo>
                      <a:pt x="439" y="58"/>
                    </a:lnTo>
                    <a:lnTo>
                      <a:pt x="442" y="60"/>
                    </a:lnTo>
                    <a:lnTo>
                      <a:pt x="442" y="55"/>
                    </a:lnTo>
                    <a:lnTo>
                      <a:pt x="442" y="52"/>
                    </a:lnTo>
                    <a:lnTo>
                      <a:pt x="447" y="52"/>
                    </a:lnTo>
                    <a:lnTo>
                      <a:pt x="450" y="52"/>
                    </a:lnTo>
                    <a:lnTo>
                      <a:pt x="453" y="52"/>
                    </a:lnTo>
                    <a:lnTo>
                      <a:pt x="457" y="52"/>
                    </a:lnTo>
                    <a:lnTo>
                      <a:pt x="458" y="47"/>
                    </a:lnTo>
                    <a:lnTo>
                      <a:pt x="461" y="49"/>
                    </a:lnTo>
                    <a:lnTo>
                      <a:pt x="464" y="49"/>
                    </a:lnTo>
                    <a:lnTo>
                      <a:pt x="468" y="47"/>
                    </a:lnTo>
                    <a:lnTo>
                      <a:pt x="471" y="46"/>
                    </a:lnTo>
                    <a:lnTo>
                      <a:pt x="474" y="46"/>
                    </a:lnTo>
                    <a:lnTo>
                      <a:pt x="479" y="47"/>
                    </a:lnTo>
                    <a:lnTo>
                      <a:pt x="479" y="47"/>
                    </a:lnTo>
                    <a:lnTo>
                      <a:pt x="482" y="46"/>
                    </a:lnTo>
                    <a:lnTo>
                      <a:pt x="484" y="43"/>
                    </a:lnTo>
                    <a:lnTo>
                      <a:pt x="487" y="43"/>
                    </a:lnTo>
                    <a:lnTo>
                      <a:pt x="491" y="43"/>
                    </a:lnTo>
                    <a:lnTo>
                      <a:pt x="495" y="41"/>
                    </a:lnTo>
                    <a:lnTo>
                      <a:pt x="498" y="41"/>
                    </a:lnTo>
                    <a:lnTo>
                      <a:pt x="499" y="41"/>
                    </a:lnTo>
                    <a:lnTo>
                      <a:pt x="504" y="43"/>
                    </a:lnTo>
                    <a:lnTo>
                      <a:pt x="506" y="39"/>
                    </a:lnTo>
                    <a:lnTo>
                      <a:pt x="510" y="41"/>
                    </a:lnTo>
                    <a:lnTo>
                      <a:pt x="510" y="41"/>
                    </a:lnTo>
                    <a:lnTo>
                      <a:pt x="514" y="43"/>
                    </a:lnTo>
                    <a:lnTo>
                      <a:pt x="517" y="41"/>
                    </a:lnTo>
                    <a:lnTo>
                      <a:pt x="515" y="38"/>
                    </a:lnTo>
                    <a:lnTo>
                      <a:pt x="517" y="33"/>
                    </a:lnTo>
                    <a:lnTo>
                      <a:pt x="522" y="31"/>
                    </a:lnTo>
                    <a:lnTo>
                      <a:pt x="525" y="30"/>
                    </a:lnTo>
                    <a:lnTo>
                      <a:pt x="528" y="31"/>
                    </a:lnTo>
                    <a:lnTo>
                      <a:pt x="531" y="30"/>
                    </a:lnTo>
                    <a:lnTo>
                      <a:pt x="534" y="28"/>
                    </a:lnTo>
                    <a:lnTo>
                      <a:pt x="537" y="31"/>
                    </a:lnTo>
                    <a:lnTo>
                      <a:pt x="550" y="28"/>
                    </a:lnTo>
                    <a:lnTo>
                      <a:pt x="561" y="25"/>
                    </a:lnTo>
                    <a:lnTo>
                      <a:pt x="564" y="25"/>
                    </a:lnTo>
                    <a:lnTo>
                      <a:pt x="568" y="23"/>
                    </a:lnTo>
                    <a:lnTo>
                      <a:pt x="572" y="23"/>
                    </a:lnTo>
                    <a:lnTo>
                      <a:pt x="575" y="22"/>
                    </a:lnTo>
                    <a:lnTo>
                      <a:pt x="579" y="22"/>
                    </a:lnTo>
                    <a:lnTo>
                      <a:pt x="582" y="22"/>
                    </a:lnTo>
                    <a:lnTo>
                      <a:pt x="587" y="20"/>
                    </a:lnTo>
                    <a:lnTo>
                      <a:pt x="590" y="17"/>
                    </a:lnTo>
                    <a:lnTo>
                      <a:pt x="593" y="19"/>
                    </a:lnTo>
                    <a:lnTo>
                      <a:pt x="596" y="19"/>
                    </a:lnTo>
                    <a:lnTo>
                      <a:pt x="598" y="17"/>
                    </a:lnTo>
                    <a:lnTo>
                      <a:pt x="599" y="16"/>
                    </a:lnTo>
                    <a:lnTo>
                      <a:pt x="599" y="16"/>
                    </a:lnTo>
                    <a:lnTo>
                      <a:pt x="601" y="14"/>
                    </a:lnTo>
                    <a:lnTo>
                      <a:pt x="598" y="12"/>
                    </a:lnTo>
                    <a:lnTo>
                      <a:pt x="598" y="9"/>
                    </a:lnTo>
                    <a:lnTo>
                      <a:pt x="602" y="9"/>
                    </a:lnTo>
                    <a:lnTo>
                      <a:pt x="606" y="9"/>
                    </a:lnTo>
                    <a:lnTo>
                      <a:pt x="609" y="6"/>
                    </a:lnTo>
                    <a:lnTo>
                      <a:pt x="609" y="3"/>
                    </a:lnTo>
                    <a:lnTo>
                      <a:pt x="610" y="3"/>
                    </a:lnTo>
                    <a:lnTo>
                      <a:pt x="614" y="3"/>
                    </a:lnTo>
                    <a:lnTo>
                      <a:pt x="617" y="3"/>
                    </a:lnTo>
                    <a:lnTo>
                      <a:pt x="614" y="0"/>
                    </a:lnTo>
                    <a:lnTo>
                      <a:pt x="617" y="0"/>
                    </a:lnTo>
                    <a:lnTo>
                      <a:pt x="621" y="1"/>
                    </a:lnTo>
                    <a:lnTo>
                      <a:pt x="625" y="3"/>
                    </a:lnTo>
                    <a:lnTo>
                      <a:pt x="626" y="1"/>
                    </a:lnTo>
                    <a:lnTo>
                      <a:pt x="636" y="3"/>
                    </a:lnTo>
                    <a:lnTo>
                      <a:pt x="645" y="6"/>
                    </a:lnTo>
                    <a:lnTo>
                      <a:pt x="650" y="9"/>
                    </a:lnTo>
                    <a:lnTo>
                      <a:pt x="650" y="9"/>
                    </a:lnTo>
                    <a:lnTo>
                      <a:pt x="655" y="9"/>
                    </a:lnTo>
                    <a:lnTo>
                      <a:pt x="658" y="11"/>
                    </a:lnTo>
                    <a:lnTo>
                      <a:pt x="661" y="9"/>
                    </a:lnTo>
                    <a:lnTo>
                      <a:pt x="661" y="4"/>
                    </a:lnTo>
                    <a:lnTo>
                      <a:pt x="664" y="6"/>
                    </a:lnTo>
                    <a:lnTo>
                      <a:pt x="669" y="4"/>
                    </a:lnTo>
                    <a:lnTo>
                      <a:pt x="672" y="4"/>
                    </a:lnTo>
                    <a:lnTo>
                      <a:pt x="674" y="8"/>
                    </a:lnTo>
                    <a:lnTo>
                      <a:pt x="677" y="11"/>
                    </a:lnTo>
                    <a:lnTo>
                      <a:pt x="682" y="12"/>
                    </a:lnTo>
                    <a:lnTo>
                      <a:pt x="682" y="17"/>
                    </a:lnTo>
                    <a:lnTo>
                      <a:pt x="683" y="19"/>
                    </a:lnTo>
                    <a:lnTo>
                      <a:pt x="683" y="20"/>
                    </a:lnTo>
                    <a:lnTo>
                      <a:pt x="687" y="22"/>
                    </a:lnTo>
                    <a:lnTo>
                      <a:pt x="688" y="25"/>
                    </a:lnTo>
                    <a:lnTo>
                      <a:pt x="691" y="27"/>
                    </a:lnTo>
                    <a:lnTo>
                      <a:pt x="696" y="28"/>
                    </a:lnTo>
                    <a:lnTo>
                      <a:pt x="693" y="33"/>
                    </a:lnTo>
                    <a:lnTo>
                      <a:pt x="696" y="36"/>
                    </a:lnTo>
                    <a:lnTo>
                      <a:pt x="698" y="39"/>
                    </a:lnTo>
                    <a:lnTo>
                      <a:pt x="698" y="43"/>
                    </a:lnTo>
                    <a:lnTo>
                      <a:pt x="693" y="44"/>
                    </a:lnTo>
                    <a:lnTo>
                      <a:pt x="698" y="47"/>
                    </a:lnTo>
                    <a:lnTo>
                      <a:pt x="701" y="49"/>
                    </a:lnTo>
                    <a:lnTo>
                      <a:pt x="704" y="50"/>
                    </a:lnTo>
                    <a:lnTo>
                      <a:pt x="707" y="47"/>
                    </a:lnTo>
                    <a:lnTo>
                      <a:pt x="712" y="50"/>
                    </a:lnTo>
                    <a:lnTo>
                      <a:pt x="715" y="50"/>
                    </a:lnTo>
                    <a:lnTo>
                      <a:pt x="718" y="49"/>
                    </a:lnTo>
                    <a:lnTo>
                      <a:pt x="720" y="46"/>
                    </a:lnTo>
                    <a:lnTo>
                      <a:pt x="723" y="46"/>
                    </a:lnTo>
                    <a:lnTo>
                      <a:pt x="726" y="47"/>
                    </a:lnTo>
                    <a:lnTo>
                      <a:pt x="731" y="47"/>
                    </a:lnTo>
                    <a:lnTo>
                      <a:pt x="726" y="44"/>
                    </a:lnTo>
                    <a:lnTo>
                      <a:pt x="726" y="41"/>
                    </a:lnTo>
                    <a:lnTo>
                      <a:pt x="731" y="43"/>
                    </a:lnTo>
                    <a:lnTo>
                      <a:pt x="734" y="46"/>
                    </a:lnTo>
                    <a:lnTo>
                      <a:pt x="737" y="49"/>
                    </a:lnTo>
                    <a:lnTo>
                      <a:pt x="740" y="50"/>
                    </a:lnTo>
                    <a:lnTo>
                      <a:pt x="739" y="52"/>
                    </a:lnTo>
                    <a:lnTo>
                      <a:pt x="740" y="55"/>
                    </a:lnTo>
                    <a:lnTo>
                      <a:pt x="744" y="58"/>
                    </a:lnTo>
                    <a:lnTo>
                      <a:pt x="747" y="57"/>
                    </a:lnTo>
                    <a:lnTo>
                      <a:pt x="750" y="55"/>
                    </a:lnTo>
                    <a:lnTo>
                      <a:pt x="747" y="52"/>
                    </a:lnTo>
                    <a:lnTo>
                      <a:pt x="744" y="54"/>
                    </a:lnTo>
                    <a:lnTo>
                      <a:pt x="745" y="50"/>
                    </a:lnTo>
                    <a:lnTo>
                      <a:pt x="750" y="50"/>
                    </a:lnTo>
                    <a:lnTo>
                      <a:pt x="753" y="50"/>
                    </a:lnTo>
                    <a:lnTo>
                      <a:pt x="756" y="52"/>
                    </a:lnTo>
                    <a:lnTo>
                      <a:pt x="761" y="55"/>
                    </a:lnTo>
                    <a:lnTo>
                      <a:pt x="764" y="57"/>
                    </a:lnTo>
                    <a:lnTo>
                      <a:pt x="767" y="57"/>
                    </a:lnTo>
                    <a:lnTo>
                      <a:pt x="772" y="57"/>
                    </a:lnTo>
                    <a:lnTo>
                      <a:pt x="775" y="55"/>
                    </a:lnTo>
                    <a:lnTo>
                      <a:pt x="778" y="52"/>
                    </a:lnTo>
                    <a:lnTo>
                      <a:pt x="778" y="52"/>
                    </a:lnTo>
                    <a:lnTo>
                      <a:pt x="778" y="54"/>
                    </a:lnTo>
                    <a:lnTo>
                      <a:pt x="782" y="55"/>
                    </a:lnTo>
                    <a:lnTo>
                      <a:pt x="782" y="57"/>
                    </a:lnTo>
                    <a:lnTo>
                      <a:pt x="782" y="60"/>
                    </a:lnTo>
                    <a:lnTo>
                      <a:pt x="777" y="60"/>
                    </a:lnTo>
                    <a:lnTo>
                      <a:pt x="774" y="62"/>
                    </a:lnTo>
                    <a:lnTo>
                      <a:pt x="774" y="65"/>
                    </a:lnTo>
                    <a:lnTo>
                      <a:pt x="772" y="69"/>
                    </a:lnTo>
                    <a:lnTo>
                      <a:pt x="772" y="69"/>
                    </a:lnTo>
                    <a:lnTo>
                      <a:pt x="775" y="73"/>
                    </a:lnTo>
                    <a:lnTo>
                      <a:pt x="778" y="74"/>
                    </a:lnTo>
                    <a:lnTo>
                      <a:pt x="780" y="77"/>
                    </a:lnTo>
                    <a:lnTo>
                      <a:pt x="782" y="76"/>
                    </a:lnTo>
                    <a:lnTo>
                      <a:pt x="785" y="73"/>
                    </a:lnTo>
                    <a:lnTo>
                      <a:pt x="788" y="69"/>
                    </a:lnTo>
                    <a:lnTo>
                      <a:pt x="791" y="69"/>
                    </a:lnTo>
                    <a:lnTo>
                      <a:pt x="794" y="69"/>
                    </a:lnTo>
                    <a:lnTo>
                      <a:pt x="799" y="71"/>
                    </a:lnTo>
                    <a:lnTo>
                      <a:pt x="799" y="71"/>
                    </a:lnTo>
                    <a:lnTo>
                      <a:pt x="802" y="71"/>
                    </a:lnTo>
                    <a:lnTo>
                      <a:pt x="807" y="74"/>
                    </a:lnTo>
                    <a:lnTo>
                      <a:pt x="810" y="76"/>
                    </a:lnTo>
                    <a:lnTo>
                      <a:pt x="810" y="71"/>
                    </a:lnTo>
                    <a:lnTo>
                      <a:pt x="810" y="68"/>
                    </a:lnTo>
                    <a:lnTo>
                      <a:pt x="815" y="65"/>
                    </a:lnTo>
                    <a:lnTo>
                      <a:pt x="818" y="62"/>
                    </a:lnTo>
                    <a:lnTo>
                      <a:pt x="823" y="62"/>
                    </a:lnTo>
                    <a:lnTo>
                      <a:pt x="824" y="63"/>
                    </a:lnTo>
                    <a:lnTo>
                      <a:pt x="824" y="62"/>
                    </a:lnTo>
                    <a:lnTo>
                      <a:pt x="826" y="60"/>
                    </a:lnTo>
                    <a:lnTo>
                      <a:pt x="829" y="58"/>
                    </a:lnTo>
                    <a:lnTo>
                      <a:pt x="832" y="55"/>
                    </a:lnTo>
                    <a:lnTo>
                      <a:pt x="831" y="52"/>
                    </a:lnTo>
                    <a:lnTo>
                      <a:pt x="836" y="52"/>
                    </a:lnTo>
                    <a:lnTo>
                      <a:pt x="839" y="50"/>
                    </a:lnTo>
                    <a:lnTo>
                      <a:pt x="840" y="50"/>
                    </a:lnTo>
                    <a:lnTo>
                      <a:pt x="845" y="49"/>
                    </a:lnTo>
                    <a:lnTo>
                      <a:pt x="848" y="47"/>
                    </a:lnTo>
                    <a:lnTo>
                      <a:pt x="851" y="46"/>
                    </a:lnTo>
                    <a:lnTo>
                      <a:pt x="853" y="43"/>
                    </a:lnTo>
                    <a:lnTo>
                      <a:pt x="856" y="43"/>
                    </a:lnTo>
                    <a:lnTo>
                      <a:pt x="859" y="43"/>
                    </a:lnTo>
                    <a:lnTo>
                      <a:pt x="864" y="38"/>
                    </a:lnTo>
                    <a:lnTo>
                      <a:pt x="867" y="38"/>
                    </a:lnTo>
                    <a:lnTo>
                      <a:pt x="870" y="38"/>
                    </a:lnTo>
                    <a:lnTo>
                      <a:pt x="867" y="41"/>
                    </a:lnTo>
                    <a:lnTo>
                      <a:pt x="870" y="43"/>
                    </a:lnTo>
                    <a:lnTo>
                      <a:pt x="870" y="47"/>
                    </a:lnTo>
                    <a:lnTo>
                      <a:pt x="867" y="50"/>
                    </a:lnTo>
                    <a:lnTo>
                      <a:pt x="864" y="49"/>
                    </a:lnTo>
                    <a:lnTo>
                      <a:pt x="861" y="50"/>
                    </a:lnTo>
                    <a:lnTo>
                      <a:pt x="880" y="63"/>
                    </a:lnTo>
                    <a:lnTo>
                      <a:pt x="899" y="73"/>
                    </a:lnTo>
                    <a:lnTo>
                      <a:pt x="913" y="79"/>
                    </a:lnTo>
                    <a:lnTo>
                      <a:pt x="924" y="87"/>
                    </a:lnTo>
                    <a:lnTo>
                      <a:pt x="934" y="96"/>
                    </a:lnTo>
                    <a:lnTo>
                      <a:pt x="947" y="106"/>
                    </a:lnTo>
                    <a:lnTo>
                      <a:pt x="966" y="123"/>
                    </a:lnTo>
                    <a:lnTo>
                      <a:pt x="986" y="142"/>
                    </a:lnTo>
                    <a:lnTo>
                      <a:pt x="997" y="154"/>
                    </a:lnTo>
                    <a:lnTo>
                      <a:pt x="1008" y="165"/>
                    </a:lnTo>
                    <a:lnTo>
                      <a:pt x="1020" y="174"/>
                    </a:lnTo>
                    <a:lnTo>
                      <a:pt x="1023" y="177"/>
                    </a:lnTo>
                    <a:lnTo>
                      <a:pt x="1024" y="180"/>
                    </a:lnTo>
                    <a:lnTo>
                      <a:pt x="1024" y="180"/>
                    </a:lnTo>
                    <a:lnTo>
                      <a:pt x="1029" y="182"/>
                    </a:lnTo>
                    <a:lnTo>
                      <a:pt x="1026" y="179"/>
                    </a:lnTo>
                    <a:lnTo>
                      <a:pt x="1029" y="179"/>
                    </a:lnTo>
                    <a:lnTo>
                      <a:pt x="1032" y="176"/>
                    </a:lnTo>
                    <a:lnTo>
                      <a:pt x="1035" y="174"/>
                    </a:lnTo>
                    <a:lnTo>
                      <a:pt x="1035" y="171"/>
                    </a:lnTo>
                    <a:lnTo>
                      <a:pt x="1032" y="168"/>
                    </a:lnTo>
                    <a:lnTo>
                      <a:pt x="1034" y="165"/>
                    </a:lnTo>
                    <a:lnTo>
                      <a:pt x="1039" y="165"/>
                    </a:lnTo>
                    <a:lnTo>
                      <a:pt x="1039" y="160"/>
                    </a:lnTo>
                    <a:lnTo>
                      <a:pt x="1042" y="161"/>
                    </a:lnTo>
                    <a:lnTo>
                      <a:pt x="1047" y="161"/>
                    </a:lnTo>
                    <a:lnTo>
                      <a:pt x="1050" y="165"/>
                    </a:lnTo>
                    <a:lnTo>
                      <a:pt x="1053" y="165"/>
                    </a:lnTo>
                    <a:lnTo>
                      <a:pt x="1054" y="165"/>
                    </a:lnTo>
                    <a:lnTo>
                      <a:pt x="1056" y="165"/>
                    </a:lnTo>
                    <a:lnTo>
                      <a:pt x="1056" y="168"/>
                    </a:lnTo>
                    <a:lnTo>
                      <a:pt x="1056" y="168"/>
                    </a:lnTo>
                    <a:lnTo>
                      <a:pt x="1054" y="171"/>
                    </a:lnTo>
                    <a:lnTo>
                      <a:pt x="1058" y="174"/>
                    </a:lnTo>
                    <a:lnTo>
                      <a:pt x="1061" y="174"/>
                    </a:lnTo>
                    <a:lnTo>
                      <a:pt x="1064" y="174"/>
                    </a:lnTo>
                    <a:lnTo>
                      <a:pt x="1067" y="176"/>
                    </a:lnTo>
                    <a:lnTo>
                      <a:pt x="1070" y="179"/>
                    </a:lnTo>
                    <a:lnTo>
                      <a:pt x="1072" y="182"/>
                    </a:lnTo>
                    <a:lnTo>
                      <a:pt x="1075" y="184"/>
                    </a:lnTo>
                    <a:lnTo>
                      <a:pt x="1078" y="182"/>
                    </a:lnTo>
                    <a:lnTo>
                      <a:pt x="1083" y="182"/>
                    </a:lnTo>
                    <a:lnTo>
                      <a:pt x="1086" y="182"/>
                    </a:lnTo>
                    <a:lnTo>
                      <a:pt x="1088" y="182"/>
                    </a:lnTo>
                    <a:lnTo>
                      <a:pt x="1093" y="184"/>
                    </a:lnTo>
                    <a:lnTo>
                      <a:pt x="1096" y="184"/>
                    </a:lnTo>
                    <a:lnTo>
                      <a:pt x="1099" y="182"/>
                    </a:lnTo>
                    <a:lnTo>
                      <a:pt x="1102" y="182"/>
                    </a:lnTo>
                    <a:lnTo>
                      <a:pt x="1105" y="182"/>
                    </a:lnTo>
                    <a:lnTo>
                      <a:pt x="1108" y="180"/>
                    </a:lnTo>
                    <a:lnTo>
                      <a:pt x="1112" y="176"/>
                    </a:lnTo>
                    <a:lnTo>
                      <a:pt x="1115" y="177"/>
                    </a:lnTo>
                    <a:lnTo>
                      <a:pt x="1118" y="176"/>
                    </a:lnTo>
                    <a:lnTo>
                      <a:pt x="1119" y="173"/>
                    </a:lnTo>
                    <a:lnTo>
                      <a:pt x="1127" y="173"/>
                    </a:lnTo>
                    <a:lnTo>
                      <a:pt x="1135" y="174"/>
                    </a:lnTo>
                    <a:lnTo>
                      <a:pt x="1139" y="176"/>
                    </a:lnTo>
                    <a:lnTo>
                      <a:pt x="1142" y="177"/>
                    </a:lnTo>
                    <a:lnTo>
                      <a:pt x="1145" y="179"/>
                    </a:lnTo>
                    <a:lnTo>
                      <a:pt x="1150" y="182"/>
                    </a:lnTo>
                    <a:lnTo>
                      <a:pt x="1151" y="185"/>
                    </a:lnTo>
                    <a:lnTo>
                      <a:pt x="1151" y="185"/>
                    </a:lnTo>
                    <a:lnTo>
                      <a:pt x="1151" y="185"/>
                    </a:lnTo>
                    <a:lnTo>
                      <a:pt x="1156" y="187"/>
                    </a:lnTo>
                    <a:lnTo>
                      <a:pt x="1158" y="188"/>
                    </a:lnTo>
                    <a:lnTo>
                      <a:pt x="1161" y="192"/>
                    </a:lnTo>
                    <a:lnTo>
                      <a:pt x="1162" y="195"/>
                    </a:lnTo>
                    <a:lnTo>
                      <a:pt x="1165" y="198"/>
                    </a:lnTo>
                    <a:lnTo>
                      <a:pt x="1167" y="201"/>
                    </a:lnTo>
                    <a:lnTo>
                      <a:pt x="1172" y="204"/>
                    </a:lnTo>
                    <a:lnTo>
                      <a:pt x="1175" y="203"/>
                    </a:lnTo>
                    <a:lnTo>
                      <a:pt x="1178" y="204"/>
                    </a:lnTo>
                    <a:lnTo>
                      <a:pt x="1183" y="206"/>
                    </a:lnTo>
                    <a:lnTo>
                      <a:pt x="1186" y="206"/>
                    </a:lnTo>
                    <a:lnTo>
                      <a:pt x="1189" y="207"/>
                    </a:lnTo>
                    <a:lnTo>
                      <a:pt x="1192" y="209"/>
                    </a:lnTo>
                    <a:lnTo>
                      <a:pt x="1194" y="212"/>
                    </a:lnTo>
                    <a:lnTo>
                      <a:pt x="1194" y="212"/>
                    </a:lnTo>
                    <a:lnTo>
                      <a:pt x="1194" y="212"/>
                    </a:lnTo>
                    <a:lnTo>
                      <a:pt x="1196" y="215"/>
                    </a:lnTo>
                    <a:lnTo>
                      <a:pt x="1196" y="215"/>
                    </a:lnTo>
                    <a:lnTo>
                      <a:pt x="1197" y="217"/>
                    </a:lnTo>
                    <a:lnTo>
                      <a:pt x="1200" y="220"/>
                    </a:lnTo>
                    <a:lnTo>
                      <a:pt x="1204" y="222"/>
                    </a:lnTo>
                    <a:lnTo>
                      <a:pt x="1207" y="226"/>
                    </a:lnTo>
                    <a:lnTo>
                      <a:pt x="1210" y="228"/>
                    </a:lnTo>
                    <a:lnTo>
                      <a:pt x="1213" y="226"/>
                    </a:lnTo>
                    <a:lnTo>
                      <a:pt x="1216" y="228"/>
                    </a:lnTo>
                    <a:lnTo>
                      <a:pt x="1219" y="226"/>
                    </a:lnTo>
                    <a:lnTo>
                      <a:pt x="1224" y="230"/>
                    </a:lnTo>
                    <a:lnTo>
                      <a:pt x="1227" y="230"/>
                    </a:lnTo>
                    <a:lnTo>
                      <a:pt x="1231" y="230"/>
                    </a:lnTo>
                    <a:lnTo>
                      <a:pt x="1234" y="231"/>
                    </a:lnTo>
                    <a:lnTo>
                      <a:pt x="1242" y="231"/>
                    </a:lnTo>
                    <a:lnTo>
                      <a:pt x="1242" y="228"/>
                    </a:lnTo>
                    <a:lnTo>
                      <a:pt x="1243" y="228"/>
                    </a:lnTo>
                    <a:lnTo>
                      <a:pt x="1246" y="225"/>
                    </a:lnTo>
                    <a:lnTo>
                      <a:pt x="1246" y="223"/>
                    </a:lnTo>
                    <a:lnTo>
                      <a:pt x="1246" y="223"/>
                    </a:lnTo>
                    <a:lnTo>
                      <a:pt x="1248" y="222"/>
                    </a:lnTo>
                    <a:lnTo>
                      <a:pt x="1250" y="220"/>
                    </a:lnTo>
                    <a:lnTo>
                      <a:pt x="1253" y="222"/>
                    </a:lnTo>
                    <a:lnTo>
                      <a:pt x="1253" y="225"/>
                    </a:lnTo>
                    <a:lnTo>
                      <a:pt x="1251" y="228"/>
                    </a:lnTo>
                    <a:lnTo>
                      <a:pt x="1256" y="230"/>
                    </a:lnTo>
                    <a:lnTo>
                      <a:pt x="1259" y="231"/>
                    </a:lnTo>
                    <a:lnTo>
                      <a:pt x="1261" y="234"/>
                    </a:lnTo>
                    <a:lnTo>
                      <a:pt x="1265" y="236"/>
                    </a:lnTo>
                    <a:lnTo>
                      <a:pt x="1267" y="239"/>
                    </a:lnTo>
                    <a:lnTo>
                      <a:pt x="1270" y="242"/>
                    </a:lnTo>
                    <a:lnTo>
                      <a:pt x="1272" y="242"/>
                    </a:lnTo>
                    <a:lnTo>
                      <a:pt x="1275" y="242"/>
                    </a:lnTo>
                    <a:lnTo>
                      <a:pt x="1278" y="242"/>
                    </a:lnTo>
                    <a:lnTo>
                      <a:pt x="1280" y="244"/>
                    </a:lnTo>
                    <a:lnTo>
                      <a:pt x="1283" y="249"/>
                    </a:lnTo>
                    <a:lnTo>
                      <a:pt x="1273" y="247"/>
                    </a:lnTo>
                    <a:lnTo>
                      <a:pt x="1267" y="249"/>
                    </a:lnTo>
                    <a:lnTo>
                      <a:pt x="1265" y="252"/>
                    </a:lnTo>
                    <a:lnTo>
                      <a:pt x="1267" y="255"/>
                    </a:lnTo>
                    <a:lnTo>
                      <a:pt x="1270" y="258"/>
                    </a:lnTo>
                    <a:lnTo>
                      <a:pt x="1270" y="261"/>
                    </a:lnTo>
                    <a:lnTo>
                      <a:pt x="1270" y="265"/>
                    </a:lnTo>
                    <a:lnTo>
                      <a:pt x="1267" y="268"/>
                    </a:lnTo>
                    <a:lnTo>
                      <a:pt x="1265" y="271"/>
                    </a:lnTo>
                    <a:lnTo>
                      <a:pt x="1261" y="271"/>
                    </a:lnTo>
                    <a:lnTo>
                      <a:pt x="1257" y="274"/>
                    </a:lnTo>
                    <a:lnTo>
                      <a:pt x="1250" y="274"/>
                    </a:lnTo>
                    <a:lnTo>
                      <a:pt x="1245" y="276"/>
                    </a:lnTo>
                    <a:lnTo>
                      <a:pt x="1243" y="277"/>
                    </a:lnTo>
                    <a:lnTo>
                      <a:pt x="1243" y="280"/>
                    </a:lnTo>
                    <a:lnTo>
                      <a:pt x="1243" y="284"/>
                    </a:lnTo>
                    <a:lnTo>
                      <a:pt x="1243" y="288"/>
                    </a:lnTo>
                    <a:lnTo>
                      <a:pt x="1243" y="291"/>
                    </a:lnTo>
                    <a:lnTo>
                      <a:pt x="1243" y="293"/>
                    </a:lnTo>
                    <a:lnTo>
                      <a:pt x="1243" y="293"/>
                    </a:lnTo>
                    <a:lnTo>
                      <a:pt x="1246" y="298"/>
                    </a:lnTo>
                    <a:lnTo>
                      <a:pt x="1248" y="301"/>
                    </a:lnTo>
                    <a:lnTo>
                      <a:pt x="1250" y="304"/>
                    </a:lnTo>
                    <a:lnTo>
                      <a:pt x="1251" y="309"/>
                    </a:lnTo>
                    <a:lnTo>
                      <a:pt x="1253" y="312"/>
                    </a:lnTo>
                    <a:lnTo>
                      <a:pt x="1254" y="312"/>
                    </a:lnTo>
                    <a:lnTo>
                      <a:pt x="1257" y="315"/>
                    </a:lnTo>
                    <a:lnTo>
                      <a:pt x="1259" y="320"/>
                    </a:lnTo>
                    <a:lnTo>
                      <a:pt x="1259" y="323"/>
                    </a:lnTo>
                    <a:lnTo>
                      <a:pt x="1257" y="326"/>
                    </a:lnTo>
                    <a:lnTo>
                      <a:pt x="1256" y="330"/>
                    </a:lnTo>
                    <a:lnTo>
                      <a:pt x="1253" y="330"/>
                    </a:lnTo>
                    <a:lnTo>
                      <a:pt x="1250" y="330"/>
                    </a:lnTo>
                    <a:lnTo>
                      <a:pt x="1246" y="333"/>
                    </a:lnTo>
                    <a:lnTo>
                      <a:pt x="1242" y="336"/>
                    </a:lnTo>
                    <a:lnTo>
                      <a:pt x="1238" y="337"/>
                    </a:lnTo>
                    <a:lnTo>
                      <a:pt x="1235" y="336"/>
                    </a:lnTo>
                    <a:lnTo>
                      <a:pt x="1232" y="333"/>
                    </a:lnTo>
                    <a:lnTo>
                      <a:pt x="1229" y="331"/>
                    </a:lnTo>
                    <a:lnTo>
                      <a:pt x="1224" y="333"/>
                    </a:lnTo>
                    <a:lnTo>
                      <a:pt x="1221" y="331"/>
                    </a:lnTo>
                    <a:lnTo>
                      <a:pt x="1218" y="331"/>
                    </a:lnTo>
                    <a:lnTo>
                      <a:pt x="1211" y="333"/>
                    </a:lnTo>
                    <a:lnTo>
                      <a:pt x="1196" y="330"/>
                    </a:lnTo>
                    <a:lnTo>
                      <a:pt x="1180" y="323"/>
                    </a:lnTo>
                    <a:lnTo>
                      <a:pt x="1177" y="325"/>
                    </a:lnTo>
                    <a:lnTo>
                      <a:pt x="1178" y="336"/>
                    </a:lnTo>
                    <a:lnTo>
                      <a:pt x="1177" y="349"/>
                    </a:lnTo>
                    <a:lnTo>
                      <a:pt x="1177" y="361"/>
                    </a:lnTo>
                    <a:lnTo>
                      <a:pt x="1177" y="372"/>
                    </a:lnTo>
                    <a:lnTo>
                      <a:pt x="1177" y="376"/>
                    </a:lnTo>
                    <a:lnTo>
                      <a:pt x="1177" y="379"/>
                    </a:lnTo>
                    <a:lnTo>
                      <a:pt x="1177" y="382"/>
                    </a:lnTo>
                    <a:lnTo>
                      <a:pt x="1177" y="387"/>
                    </a:lnTo>
                    <a:lnTo>
                      <a:pt x="1177" y="390"/>
                    </a:lnTo>
                    <a:lnTo>
                      <a:pt x="1178" y="391"/>
                    </a:lnTo>
                    <a:lnTo>
                      <a:pt x="1183" y="393"/>
                    </a:lnTo>
                    <a:lnTo>
                      <a:pt x="1186" y="393"/>
                    </a:lnTo>
                    <a:lnTo>
                      <a:pt x="1189" y="396"/>
                    </a:lnTo>
                    <a:lnTo>
                      <a:pt x="1191" y="399"/>
                    </a:lnTo>
                    <a:lnTo>
                      <a:pt x="1191" y="402"/>
                    </a:lnTo>
                    <a:lnTo>
                      <a:pt x="1191" y="404"/>
                    </a:lnTo>
                    <a:lnTo>
                      <a:pt x="1191" y="406"/>
                    </a:lnTo>
                    <a:lnTo>
                      <a:pt x="1189" y="407"/>
                    </a:lnTo>
                    <a:lnTo>
                      <a:pt x="1186" y="406"/>
                    </a:lnTo>
                    <a:lnTo>
                      <a:pt x="1181" y="402"/>
                    </a:lnTo>
                    <a:lnTo>
                      <a:pt x="1178" y="402"/>
                    </a:lnTo>
                    <a:lnTo>
                      <a:pt x="1175" y="404"/>
                    </a:lnTo>
                    <a:lnTo>
                      <a:pt x="1172" y="406"/>
                    </a:lnTo>
                    <a:lnTo>
                      <a:pt x="1167" y="404"/>
                    </a:lnTo>
                    <a:lnTo>
                      <a:pt x="1164" y="402"/>
                    </a:lnTo>
                    <a:lnTo>
                      <a:pt x="1162" y="399"/>
                    </a:lnTo>
                    <a:lnTo>
                      <a:pt x="1159" y="398"/>
                    </a:lnTo>
                    <a:lnTo>
                      <a:pt x="1156" y="399"/>
                    </a:lnTo>
                    <a:lnTo>
                      <a:pt x="1153" y="401"/>
                    </a:lnTo>
                    <a:lnTo>
                      <a:pt x="1150" y="401"/>
                    </a:lnTo>
                    <a:lnTo>
                      <a:pt x="1145" y="402"/>
                    </a:lnTo>
                    <a:lnTo>
                      <a:pt x="1142" y="404"/>
                    </a:lnTo>
                    <a:lnTo>
                      <a:pt x="1139" y="406"/>
                    </a:lnTo>
                    <a:lnTo>
                      <a:pt x="1135" y="406"/>
                    </a:lnTo>
                    <a:lnTo>
                      <a:pt x="1131" y="406"/>
                    </a:lnTo>
                    <a:lnTo>
                      <a:pt x="1127" y="407"/>
                    </a:lnTo>
                    <a:lnTo>
                      <a:pt x="1124" y="407"/>
                    </a:lnTo>
                    <a:lnTo>
                      <a:pt x="1121" y="410"/>
                    </a:lnTo>
                    <a:lnTo>
                      <a:pt x="1118" y="410"/>
                    </a:lnTo>
                    <a:lnTo>
                      <a:pt x="1113" y="410"/>
                    </a:lnTo>
                    <a:lnTo>
                      <a:pt x="1110" y="412"/>
                    </a:lnTo>
                    <a:lnTo>
                      <a:pt x="1108" y="412"/>
                    </a:lnTo>
                    <a:lnTo>
                      <a:pt x="1108" y="415"/>
                    </a:lnTo>
                    <a:lnTo>
                      <a:pt x="1108" y="418"/>
                    </a:lnTo>
                    <a:lnTo>
                      <a:pt x="1112" y="420"/>
                    </a:lnTo>
                    <a:lnTo>
                      <a:pt x="1113" y="420"/>
                    </a:lnTo>
                    <a:lnTo>
                      <a:pt x="1115" y="420"/>
                    </a:lnTo>
                    <a:lnTo>
                      <a:pt x="1119" y="418"/>
                    </a:lnTo>
                    <a:lnTo>
                      <a:pt x="1123" y="420"/>
                    </a:lnTo>
                    <a:lnTo>
                      <a:pt x="1126" y="422"/>
                    </a:lnTo>
                    <a:lnTo>
                      <a:pt x="1129" y="423"/>
                    </a:lnTo>
                    <a:lnTo>
                      <a:pt x="1127" y="426"/>
                    </a:lnTo>
                    <a:lnTo>
                      <a:pt x="1127" y="434"/>
                    </a:lnTo>
                    <a:lnTo>
                      <a:pt x="1131" y="437"/>
                    </a:lnTo>
                    <a:lnTo>
                      <a:pt x="1132" y="441"/>
                    </a:lnTo>
                    <a:lnTo>
                      <a:pt x="1132" y="445"/>
                    </a:lnTo>
                    <a:lnTo>
                      <a:pt x="1132" y="445"/>
                    </a:lnTo>
                    <a:lnTo>
                      <a:pt x="1135" y="448"/>
                    </a:lnTo>
                    <a:lnTo>
                      <a:pt x="1137" y="452"/>
                    </a:lnTo>
                    <a:lnTo>
                      <a:pt x="1140" y="456"/>
                    </a:lnTo>
                    <a:lnTo>
                      <a:pt x="1143" y="460"/>
                    </a:lnTo>
                    <a:lnTo>
                      <a:pt x="1143" y="460"/>
                    </a:lnTo>
                    <a:lnTo>
                      <a:pt x="1145" y="461"/>
                    </a:lnTo>
                    <a:lnTo>
                      <a:pt x="1146" y="466"/>
                    </a:lnTo>
                    <a:lnTo>
                      <a:pt x="1150" y="469"/>
                    </a:lnTo>
                    <a:lnTo>
                      <a:pt x="1153" y="472"/>
                    </a:lnTo>
                    <a:lnTo>
                      <a:pt x="1154" y="475"/>
                    </a:lnTo>
                    <a:lnTo>
                      <a:pt x="1154" y="480"/>
                    </a:lnTo>
                    <a:lnTo>
                      <a:pt x="1158" y="480"/>
                    </a:lnTo>
                    <a:lnTo>
                      <a:pt x="1159" y="485"/>
                    </a:lnTo>
                    <a:lnTo>
                      <a:pt x="1159" y="488"/>
                    </a:lnTo>
                    <a:lnTo>
                      <a:pt x="1154" y="487"/>
                    </a:lnTo>
                    <a:lnTo>
                      <a:pt x="1151" y="490"/>
                    </a:lnTo>
                    <a:lnTo>
                      <a:pt x="1150" y="493"/>
                    </a:lnTo>
                    <a:lnTo>
                      <a:pt x="1153" y="494"/>
                    </a:lnTo>
                    <a:lnTo>
                      <a:pt x="1156" y="498"/>
                    </a:lnTo>
                    <a:lnTo>
                      <a:pt x="1154" y="498"/>
                    </a:lnTo>
                    <a:lnTo>
                      <a:pt x="1150" y="499"/>
                    </a:lnTo>
                    <a:lnTo>
                      <a:pt x="1146" y="499"/>
                    </a:lnTo>
                    <a:lnTo>
                      <a:pt x="1146" y="502"/>
                    </a:lnTo>
                    <a:lnTo>
                      <a:pt x="1146" y="507"/>
                    </a:lnTo>
                    <a:lnTo>
                      <a:pt x="1148" y="510"/>
                    </a:lnTo>
                    <a:lnTo>
                      <a:pt x="1150" y="514"/>
                    </a:lnTo>
                    <a:lnTo>
                      <a:pt x="1151" y="517"/>
                    </a:lnTo>
                    <a:lnTo>
                      <a:pt x="1154" y="520"/>
                    </a:lnTo>
                    <a:lnTo>
                      <a:pt x="1154" y="521"/>
                    </a:lnTo>
                    <a:lnTo>
                      <a:pt x="1154" y="525"/>
                    </a:lnTo>
                    <a:lnTo>
                      <a:pt x="1148" y="520"/>
                    </a:lnTo>
                    <a:lnTo>
                      <a:pt x="1145" y="517"/>
                    </a:lnTo>
                    <a:lnTo>
                      <a:pt x="1140" y="515"/>
                    </a:lnTo>
                    <a:lnTo>
                      <a:pt x="1132" y="514"/>
                    </a:lnTo>
                    <a:lnTo>
                      <a:pt x="1129" y="514"/>
                    </a:lnTo>
                    <a:lnTo>
                      <a:pt x="1126" y="514"/>
                    </a:lnTo>
                    <a:lnTo>
                      <a:pt x="1123" y="512"/>
                    </a:lnTo>
                    <a:lnTo>
                      <a:pt x="1119" y="507"/>
                    </a:lnTo>
                    <a:lnTo>
                      <a:pt x="1115" y="506"/>
                    </a:lnTo>
                    <a:lnTo>
                      <a:pt x="1113" y="502"/>
                    </a:lnTo>
                    <a:lnTo>
                      <a:pt x="1110" y="501"/>
                    </a:lnTo>
                    <a:lnTo>
                      <a:pt x="1108" y="501"/>
                    </a:lnTo>
                    <a:lnTo>
                      <a:pt x="1105" y="501"/>
                    </a:lnTo>
                    <a:lnTo>
                      <a:pt x="1102" y="501"/>
                    </a:lnTo>
                    <a:lnTo>
                      <a:pt x="1099" y="499"/>
                    </a:lnTo>
                    <a:lnTo>
                      <a:pt x="1094" y="499"/>
                    </a:lnTo>
                    <a:lnTo>
                      <a:pt x="1091" y="498"/>
                    </a:lnTo>
                    <a:lnTo>
                      <a:pt x="1088" y="496"/>
                    </a:lnTo>
                    <a:lnTo>
                      <a:pt x="1081" y="498"/>
                    </a:lnTo>
                    <a:lnTo>
                      <a:pt x="1072" y="498"/>
                    </a:lnTo>
                    <a:lnTo>
                      <a:pt x="1062" y="496"/>
                    </a:lnTo>
                    <a:lnTo>
                      <a:pt x="1054" y="496"/>
                    </a:lnTo>
                    <a:lnTo>
                      <a:pt x="1045" y="496"/>
                    </a:lnTo>
                    <a:lnTo>
                      <a:pt x="1045" y="496"/>
                    </a:lnTo>
                    <a:lnTo>
                      <a:pt x="1040" y="493"/>
                    </a:lnTo>
                    <a:lnTo>
                      <a:pt x="1034" y="493"/>
                    </a:lnTo>
                    <a:lnTo>
                      <a:pt x="1028" y="494"/>
                    </a:lnTo>
                    <a:lnTo>
                      <a:pt x="1021" y="496"/>
                    </a:lnTo>
                    <a:lnTo>
                      <a:pt x="1010" y="494"/>
                    </a:lnTo>
                    <a:lnTo>
                      <a:pt x="999" y="494"/>
                    </a:lnTo>
                    <a:lnTo>
                      <a:pt x="999" y="498"/>
                    </a:lnTo>
                    <a:lnTo>
                      <a:pt x="996" y="501"/>
                    </a:lnTo>
                    <a:lnTo>
                      <a:pt x="993" y="499"/>
                    </a:lnTo>
                    <a:lnTo>
                      <a:pt x="989" y="499"/>
                    </a:lnTo>
                    <a:lnTo>
                      <a:pt x="983" y="498"/>
                    </a:lnTo>
                    <a:lnTo>
                      <a:pt x="978" y="498"/>
                    </a:lnTo>
                    <a:lnTo>
                      <a:pt x="975" y="496"/>
                    </a:lnTo>
                    <a:lnTo>
                      <a:pt x="972" y="494"/>
                    </a:lnTo>
                    <a:lnTo>
                      <a:pt x="969" y="493"/>
                    </a:lnTo>
                    <a:lnTo>
                      <a:pt x="966" y="493"/>
                    </a:lnTo>
                    <a:lnTo>
                      <a:pt x="962" y="491"/>
                    </a:lnTo>
                    <a:lnTo>
                      <a:pt x="961" y="491"/>
                    </a:lnTo>
                    <a:lnTo>
                      <a:pt x="958" y="488"/>
                    </a:lnTo>
                    <a:lnTo>
                      <a:pt x="950" y="485"/>
                    </a:lnTo>
                    <a:lnTo>
                      <a:pt x="943" y="482"/>
                    </a:lnTo>
                    <a:lnTo>
                      <a:pt x="943" y="482"/>
                    </a:lnTo>
                    <a:lnTo>
                      <a:pt x="942" y="485"/>
                    </a:lnTo>
                    <a:lnTo>
                      <a:pt x="939" y="485"/>
                    </a:lnTo>
                    <a:lnTo>
                      <a:pt x="936" y="487"/>
                    </a:lnTo>
                    <a:lnTo>
                      <a:pt x="934" y="487"/>
                    </a:lnTo>
                    <a:lnTo>
                      <a:pt x="929" y="488"/>
                    </a:lnTo>
                    <a:lnTo>
                      <a:pt x="926" y="490"/>
                    </a:lnTo>
                    <a:lnTo>
                      <a:pt x="924" y="491"/>
                    </a:lnTo>
                    <a:lnTo>
                      <a:pt x="924" y="494"/>
                    </a:lnTo>
                    <a:lnTo>
                      <a:pt x="926" y="498"/>
                    </a:lnTo>
                    <a:lnTo>
                      <a:pt x="926" y="499"/>
                    </a:lnTo>
                    <a:lnTo>
                      <a:pt x="926" y="501"/>
                    </a:lnTo>
                    <a:lnTo>
                      <a:pt x="924" y="504"/>
                    </a:lnTo>
                    <a:lnTo>
                      <a:pt x="924" y="507"/>
                    </a:lnTo>
                    <a:lnTo>
                      <a:pt x="926" y="510"/>
                    </a:lnTo>
                    <a:lnTo>
                      <a:pt x="931" y="515"/>
                    </a:lnTo>
                    <a:lnTo>
                      <a:pt x="931" y="515"/>
                    </a:lnTo>
                    <a:lnTo>
                      <a:pt x="926" y="515"/>
                    </a:lnTo>
                    <a:lnTo>
                      <a:pt x="923" y="512"/>
                    </a:lnTo>
                    <a:lnTo>
                      <a:pt x="920" y="512"/>
                    </a:lnTo>
                    <a:lnTo>
                      <a:pt x="916" y="510"/>
                    </a:lnTo>
                    <a:lnTo>
                      <a:pt x="912" y="510"/>
                    </a:lnTo>
                    <a:lnTo>
                      <a:pt x="909" y="510"/>
                    </a:lnTo>
                    <a:lnTo>
                      <a:pt x="905" y="509"/>
                    </a:lnTo>
                    <a:lnTo>
                      <a:pt x="902" y="506"/>
                    </a:lnTo>
                    <a:lnTo>
                      <a:pt x="897" y="506"/>
                    </a:lnTo>
                    <a:lnTo>
                      <a:pt x="894" y="506"/>
                    </a:lnTo>
                    <a:lnTo>
                      <a:pt x="891" y="504"/>
                    </a:lnTo>
                    <a:lnTo>
                      <a:pt x="888" y="502"/>
                    </a:lnTo>
                    <a:lnTo>
                      <a:pt x="883" y="501"/>
                    </a:lnTo>
                    <a:lnTo>
                      <a:pt x="880" y="502"/>
                    </a:lnTo>
                    <a:lnTo>
                      <a:pt x="877" y="501"/>
                    </a:lnTo>
                    <a:lnTo>
                      <a:pt x="874" y="499"/>
                    </a:lnTo>
                    <a:lnTo>
                      <a:pt x="869" y="499"/>
                    </a:lnTo>
                    <a:lnTo>
                      <a:pt x="866" y="499"/>
                    </a:lnTo>
                    <a:lnTo>
                      <a:pt x="863" y="502"/>
                    </a:lnTo>
                    <a:lnTo>
                      <a:pt x="859" y="501"/>
                    </a:lnTo>
                    <a:lnTo>
                      <a:pt x="856" y="502"/>
                    </a:lnTo>
                    <a:lnTo>
                      <a:pt x="853" y="502"/>
                    </a:lnTo>
                    <a:lnTo>
                      <a:pt x="853" y="502"/>
                    </a:lnTo>
                    <a:lnTo>
                      <a:pt x="850" y="506"/>
                    </a:lnTo>
                    <a:lnTo>
                      <a:pt x="850" y="506"/>
                    </a:lnTo>
                    <a:lnTo>
                      <a:pt x="848" y="509"/>
                    </a:lnTo>
                    <a:lnTo>
                      <a:pt x="848" y="512"/>
                    </a:lnTo>
                    <a:lnTo>
                      <a:pt x="847" y="515"/>
                    </a:lnTo>
                    <a:lnTo>
                      <a:pt x="845" y="518"/>
                    </a:lnTo>
                    <a:lnTo>
                      <a:pt x="845" y="520"/>
                    </a:lnTo>
                    <a:lnTo>
                      <a:pt x="845" y="520"/>
                    </a:lnTo>
                    <a:lnTo>
                      <a:pt x="848" y="523"/>
                    </a:lnTo>
                    <a:lnTo>
                      <a:pt x="845" y="525"/>
                    </a:lnTo>
                    <a:lnTo>
                      <a:pt x="842" y="526"/>
                    </a:lnTo>
                    <a:lnTo>
                      <a:pt x="840" y="529"/>
                    </a:lnTo>
                    <a:lnTo>
                      <a:pt x="837" y="531"/>
                    </a:lnTo>
                    <a:lnTo>
                      <a:pt x="832" y="529"/>
                    </a:lnTo>
                    <a:lnTo>
                      <a:pt x="829" y="531"/>
                    </a:lnTo>
                    <a:lnTo>
                      <a:pt x="828" y="536"/>
                    </a:lnTo>
                    <a:lnTo>
                      <a:pt x="826" y="539"/>
                    </a:lnTo>
                    <a:lnTo>
                      <a:pt x="823" y="542"/>
                    </a:lnTo>
                    <a:lnTo>
                      <a:pt x="821" y="542"/>
                    </a:lnTo>
                    <a:lnTo>
                      <a:pt x="820" y="545"/>
                    </a:lnTo>
                    <a:lnTo>
                      <a:pt x="815" y="545"/>
                    </a:lnTo>
                    <a:lnTo>
                      <a:pt x="812" y="545"/>
                    </a:lnTo>
                    <a:lnTo>
                      <a:pt x="809" y="548"/>
                    </a:lnTo>
                    <a:lnTo>
                      <a:pt x="805" y="550"/>
                    </a:lnTo>
                    <a:lnTo>
                      <a:pt x="802" y="553"/>
                    </a:lnTo>
                    <a:lnTo>
                      <a:pt x="801" y="555"/>
                    </a:lnTo>
                    <a:lnTo>
                      <a:pt x="798" y="556"/>
                    </a:lnTo>
                    <a:lnTo>
                      <a:pt x="794" y="558"/>
                    </a:lnTo>
                    <a:lnTo>
                      <a:pt x="796" y="561"/>
                    </a:lnTo>
                    <a:lnTo>
                      <a:pt x="794" y="566"/>
                    </a:lnTo>
                    <a:lnTo>
                      <a:pt x="791" y="567"/>
                    </a:lnTo>
                    <a:lnTo>
                      <a:pt x="788" y="571"/>
                    </a:lnTo>
                    <a:lnTo>
                      <a:pt x="788" y="574"/>
                    </a:lnTo>
                    <a:lnTo>
                      <a:pt x="785" y="575"/>
                    </a:lnTo>
                    <a:lnTo>
                      <a:pt x="785" y="575"/>
                    </a:lnTo>
                    <a:lnTo>
                      <a:pt x="785" y="580"/>
                    </a:lnTo>
                    <a:lnTo>
                      <a:pt x="785" y="580"/>
                    </a:lnTo>
                    <a:lnTo>
                      <a:pt x="785" y="582"/>
                    </a:lnTo>
                    <a:lnTo>
                      <a:pt x="788" y="585"/>
                    </a:lnTo>
                    <a:lnTo>
                      <a:pt x="788" y="590"/>
                    </a:lnTo>
                    <a:lnTo>
                      <a:pt x="780" y="588"/>
                    </a:lnTo>
                    <a:lnTo>
                      <a:pt x="772" y="583"/>
                    </a:lnTo>
                    <a:lnTo>
                      <a:pt x="769" y="582"/>
                    </a:lnTo>
                    <a:lnTo>
                      <a:pt x="767" y="579"/>
                    </a:lnTo>
                    <a:lnTo>
                      <a:pt x="769" y="577"/>
                    </a:lnTo>
                    <a:lnTo>
                      <a:pt x="769" y="574"/>
                    </a:lnTo>
                    <a:lnTo>
                      <a:pt x="767" y="571"/>
                    </a:lnTo>
                    <a:lnTo>
                      <a:pt x="766" y="571"/>
                    </a:lnTo>
                    <a:lnTo>
                      <a:pt x="763" y="569"/>
                    </a:lnTo>
                    <a:lnTo>
                      <a:pt x="759" y="566"/>
                    </a:lnTo>
                    <a:lnTo>
                      <a:pt x="759" y="566"/>
                    </a:lnTo>
                    <a:lnTo>
                      <a:pt x="758" y="566"/>
                    </a:lnTo>
                    <a:lnTo>
                      <a:pt x="756" y="566"/>
                    </a:lnTo>
                    <a:lnTo>
                      <a:pt x="753" y="566"/>
                    </a:lnTo>
                    <a:lnTo>
                      <a:pt x="750" y="566"/>
                    </a:lnTo>
                    <a:lnTo>
                      <a:pt x="739" y="567"/>
                    </a:lnTo>
                    <a:lnTo>
                      <a:pt x="728" y="567"/>
                    </a:lnTo>
                    <a:lnTo>
                      <a:pt x="725" y="567"/>
                    </a:lnTo>
                    <a:lnTo>
                      <a:pt x="721" y="566"/>
                    </a:lnTo>
                    <a:lnTo>
                      <a:pt x="720" y="566"/>
                    </a:lnTo>
                    <a:lnTo>
                      <a:pt x="718" y="563"/>
                    </a:lnTo>
                    <a:lnTo>
                      <a:pt x="715" y="559"/>
                    </a:lnTo>
                    <a:lnTo>
                      <a:pt x="713" y="555"/>
                    </a:lnTo>
                    <a:lnTo>
                      <a:pt x="709" y="544"/>
                    </a:lnTo>
                    <a:lnTo>
                      <a:pt x="702" y="533"/>
                    </a:lnTo>
                    <a:lnTo>
                      <a:pt x="691" y="533"/>
                    </a:lnTo>
                    <a:lnTo>
                      <a:pt x="688" y="529"/>
                    </a:lnTo>
                    <a:lnTo>
                      <a:pt x="687" y="526"/>
                    </a:lnTo>
                    <a:lnTo>
                      <a:pt x="687" y="523"/>
                    </a:lnTo>
                    <a:lnTo>
                      <a:pt x="685" y="518"/>
                    </a:lnTo>
                    <a:lnTo>
                      <a:pt x="685" y="506"/>
                    </a:lnTo>
                    <a:lnTo>
                      <a:pt x="682" y="493"/>
                    </a:lnTo>
                    <a:lnTo>
                      <a:pt x="679" y="494"/>
                    </a:lnTo>
                    <a:lnTo>
                      <a:pt x="674" y="496"/>
                    </a:lnTo>
                    <a:lnTo>
                      <a:pt x="671" y="494"/>
                    </a:lnTo>
                    <a:lnTo>
                      <a:pt x="667" y="491"/>
                    </a:lnTo>
                    <a:lnTo>
                      <a:pt x="664" y="487"/>
                    </a:lnTo>
                    <a:lnTo>
                      <a:pt x="661" y="483"/>
                    </a:lnTo>
                    <a:lnTo>
                      <a:pt x="658" y="479"/>
                    </a:lnTo>
                    <a:lnTo>
                      <a:pt x="645" y="471"/>
                    </a:lnTo>
                    <a:lnTo>
                      <a:pt x="634" y="463"/>
                    </a:lnTo>
                    <a:lnTo>
                      <a:pt x="628" y="466"/>
                    </a:lnTo>
                    <a:lnTo>
                      <a:pt x="621" y="469"/>
                    </a:lnTo>
                    <a:lnTo>
                      <a:pt x="617" y="469"/>
                    </a:lnTo>
                    <a:lnTo>
                      <a:pt x="612" y="469"/>
                    </a:lnTo>
                    <a:lnTo>
                      <a:pt x="601" y="469"/>
                    </a:lnTo>
                    <a:lnTo>
                      <a:pt x="588" y="468"/>
                    </a:lnTo>
                    <a:lnTo>
                      <a:pt x="564" y="469"/>
                    </a:lnTo>
                    <a:lnTo>
                      <a:pt x="542" y="472"/>
                    </a:lnTo>
                    <a:lnTo>
                      <a:pt x="531" y="463"/>
                    </a:lnTo>
                    <a:lnTo>
                      <a:pt x="520" y="455"/>
                    </a:lnTo>
                    <a:lnTo>
                      <a:pt x="517" y="452"/>
                    </a:lnTo>
                    <a:lnTo>
                      <a:pt x="512" y="448"/>
                    </a:lnTo>
                    <a:lnTo>
                      <a:pt x="509" y="445"/>
                    </a:lnTo>
                    <a:lnTo>
                      <a:pt x="506" y="444"/>
                    </a:lnTo>
                    <a:lnTo>
                      <a:pt x="504" y="439"/>
                    </a:lnTo>
                    <a:lnTo>
                      <a:pt x="503" y="436"/>
                    </a:lnTo>
                    <a:lnTo>
                      <a:pt x="498" y="434"/>
                    </a:lnTo>
                    <a:lnTo>
                      <a:pt x="484" y="426"/>
                    </a:lnTo>
                    <a:lnTo>
                      <a:pt x="469" y="418"/>
                    </a:lnTo>
                    <a:lnTo>
                      <a:pt x="469" y="418"/>
                    </a:lnTo>
                    <a:lnTo>
                      <a:pt x="469" y="417"/>
                    </a:lnTo>
                    <a:lnTo>
                      <a:pt x="468" y="415"/>
                    </a:lnTo>
                    <a:lnTo>
                      <a:pt x="468" y="415"/>
                    </a:lnTo>
                    <a:lnTo>
                      <a:pt x="468" y="415"/>
                    </a:lnTo>
                    <a:lnTo>
                      <a:pt x="468" y="415"/>
                    </a:lnTo>
                    <a:lnTo>
                      <a:pt x="468" y="414"/>
                    </a:lnTo>
                    <a:lnTo>
                      <a:pt x="468" y="412"/>
                    </a:lnTo>
                    <a:lnTo>
                      <a:pt x="468" y="412"/>
                    </a:lnTo>
                    <a:lnTo>
                      <a:pt x="468" y="412"/>
                    </a:lnTo>
                    <a:lnTo>
                      <a:pt x="466" y="410"/>
                    </a:lnTo>
                    <a:lnTo>
                      <a:pt x="466" y="410"/>
                    </a:lnTo>
                    <a:lnTo>
                      <a:pt x="466" y="410"/>
                    </a:lnTo>
                    <a:lnTo>
                      <a:pt x="466" y="410"/>
                    </a:lnTo>
                    <a:lnTo>
                      <a:pt x="466" y="410"/>
                    </a:lnTo>
                    <a:lnTo>
                      <a:pt x="466" y="410"/>
                    </a:lnTo>
                    <a:lnTo>
                      <a:pt x="466" y="410"/>
                    </a:lnTo>
                    <a:lnTo>
                      <a:pt x="466" y="410"/>
                    </a:lnTo>
                    <a:lnTo>
                      <a:pt x="466" y="410"/>
                    </a:lnTo>
                    <a:lnTo>
                      <a:pt x="466" y="409"/>
                    </a:lnTo>
                    <a:lnTo>
                      <a:pt x="466" y="409"/>
                    </a:lnTo>
                    <a:lnTo>
                      <a:pt x="466" y="409"/>
                    </a:lnTo>
                    <a:lnTo>
                      <a:pt x="466" y="409"/>
                    </a:lnTo>
                    <a:lnTo>
                      <a:pt x="466" y="409"/>
                    </a:lnTo>
                    <a:lnTo>
                      <a:pt x="466" y="409"/>
                    </a:lnTo>
                    <a:lnTo>
                      <a:pt x="466" y="409"/>
                    </a:lnTo>
                    <a:lnTo>
                      <a:pt x="466" y="409"/>
                    </a:lnTo>
                    <a:lnTo>
                      <a:pt x="466" y="409"/>
                    </a:lnTo>
                    <a:lnTo>
                      <a:pt x="466" y="409"/>
                    </a:lnTo>
                    <a:lnTo>
                      <a:pt x="466" y="409"/>
                    </a:lnTo>
                    <a:lnTo>
                      <a:pt x="466" y="409"/>
                    </a:lnTo>
                    <a:lnTo>
                      <a:pt x="466" y="409"/>
                    </a:lnTo>
                    <a:lnTo>
                      <a:pt x="466" y="407"/>
                    </a:lnTo>
                    <a:lnTo>
                      <a:pt x="466" y="407"/>
                    </a:lnTo>
                    <a:lnTo>
                      <a:pt x="466" y="407"/>
                    </a:lnTo>
                    <a:lnTo>
                      <a:pt x="466" y="407"/>
                    </a:lnTo>
                    <a:lnTo>
                      <a:pt x="466" y="407"/>
                    </a:lnTo>
                    <a:lnTo>
                      <a:pt x="466" y="407"/>
                    </a:lnTo>
                    <a:lnTo>
                      <a:pt x="466" y="407"/>
                    </a:lnTo>
                    <a:lnTo>
                      <a:pt x="466" y="407"/>
                    </a:lnTo>
                    <a:lnTo>
                      <a:pt x="466" y="407"/>
                    </a:lnTo>
                    <a:lnTo>
                      <a:pt x="466" y="407"/>
                    </a:lnTo>
                    <a:lnTo>
                      <a:pt x="466" y="407"/>
                    </a:lnTo>
                    <a:lnTo>
                      <a:pt x="466" y="407"/>
                    </a:lnTo>
                    <a:lnTo>
                      <a:pt x="466" y="407"/>
                    </a:lnTo>
                    <a:lnTo>
                      <a:pt x="464" y="399"/>
                    </a:lnTo>
                    <a:lnTo>
                      <a:pt x="463" y="395"/>
                    </a:lnTo>
                    <a:lnTo>
                      <a:pt x="463" y="395"/>
                    </a:lnTo>
                    <a:lnTo>
                      <a:pt x="463" y="393"/>
                    </a:lnTo>
                    <a:lnTo>
                      <a:pt x="463" y="393"/>
                    </a:lnTo>
                    <a:lnTo>
                      <a:pt x="461" y="393"/>
                    </a:lnTo>
                    <a:lnTo>
                      <a:pt x="461" y="391"/>
                    </a:lnTo>
                    <a:lnTo>
                      <a:pt x="461" y="391"/>
                    </a:lnTo>
                    <a:lnTo>
                      <a:pt x="460" y="390"/>
                    </a:lnTo>
                    <a:lnTo>
                      <a:pt x="460" y="388"/>
                    </a:lnTo>
                    <a:lnTo>
                      <a:pt x="458" y="388"/>
                    </a:lnTo>
                    <a:lnTo>
                      <a:pt x="458" y="388"/>
                    </a:lnTo>
                    <a:lnTo>
                      <a:pt x="455" y="388"/>
                    </a:lnTo>
                    <a:lnTo>
                      <a:pt x="453" y="388"/>
                    </a:lnTo>
                    <a:lnTo>
                      <a:pt x="453" y="388"/>
                    </a:lnTo>
                    <a:lnTo>
                      <a:pt x="452" y="388"/>
                    </a:lnTo>
                    <a:lnTo>
                      <a:pt x="450" y="388"/>
                    </a:lnTo>
                    <a:lnTo>
                      <a:pt x="449" y="388"/>
                    </a:lnTo>
                    <a:lnTo>
                      <a:pt x="449" y="387"/>
                    </a:lnTo>
                    <a:lnTo>
                      <a:pt x="449" y="387"/>
                    </a:lnTo>
                    <a:lnTo>
                      <a:pt x="447" y="385"/>
                    </a:lnTo>
                    <a:lnTo>
                      <a:pt x="447" y="385"/>
                    </a:lnTo>
                    <a:lnTo>
                      <a:pt x="447" y="383"/>
                    </a:lnTo>
                    <a:lnTo>
                      <a:pt x="447" y="383"/>
                    </a:lnTo>
                    <a:lnTo>
                      <a:pt x="447" y="383"/>
                    </a:lnTo>
                    <a:lnTo>
                      <a:pt x="449" y="383"/>
                    </a:lnTo>
                    <a:lnTo>
                      <a:pt x="449" y="382"/>
                    </a:lnTo>
                    <a:lnTo>
                      <a:pt x="449" y="382"/>
                    </a:lnTo>
                    <a:lnTo>
                      <a:pt x="449" y="382"/>
                    </a:lnTo>
                    <a:lnTo>
                      <a:pt x="449" y="380"/>
                    </a:lnTo>
                    <a:lnTo>
                      <a:pt x="449" y="380"/>
                    </a:lnTo>
                    <a:lnTo>
                      <a:pt x="449" y="380"/>
                    </a:lnTo>
                    <a:lnTo>
                      <a:pt x="449" y="380"/>
                    </a:lnTo>
                    <a:lnTo>
                      <a:pt x="449" y="380"/>
                    </a:lnTo>
                    <a:lnTo>
                      <a:pt x="449" y="380"/>
                    </a:lnTo>
                    <a:lnTo>
                      <a:pt x="449" y="380"/>
                    </a:lnTo>
                    <a:lnTo>
                      <a:pt x="449" y="380"/>
                    </a:lnTo>
                    <a:lnTo>
                      <a:pt x="449" y="379"/>
                    </a:lnTo>
                    <a:lnTo>
                      <a:pt x="449" y="379"/>
                    </a:lnTo>
                    <a:lnTo>
                      <a:pt x="449" y="379"/>
                    </a:lnTo>
                    <a:lnTo>
                      <a:pt x="447" y="379"/>
                    </a:lnTo>
                    <a:lnTo>
                      <a:pt x="447" y="379"/>
                    </a:lnTo>
                    <a:lnTo>
                      <a:pt x="447" y="379"/>
                    </a:lnTo>
                    <a:lnTo>
                      <a:pt x="447" y="377"/>
                    </a:lnTo>
                    <a:lnTo>
                      <a:pt x="449" y="379"/>
                    </a:lnTo>
                    <a:lnTo>
                      <a:pt x="449" y="379"/>
                    </a:lnTo>
                    <a:lnTo>
                      <a:pt x="449" y="377"/>
                    </a:lnTo>
                    <a:lnTo>
                      <a:pt x="449" y="377"/>
                    </a:lnTo>
                    <a:lnTo>
                      <a:pt x="450" y="377"/>
                    </a:lnTo>
                    <a:lnTo>
                      <a:pt x="450" y="377"/>
                    </a:lnTo>
                    <a:lnTo>
                      <a:pt x="450" y="377"/>
                    </a:lnTo>
                    <a:lnTo>
                      <a:pt x="450" y="377"/>
                    </a:lnTo>
                    <a:lnTo>
                      <a:pt x="450" y="377"/>
                    </a:lnTo>
                    <a:lnTo>
                      <a:pt x="450" y="377"/>
                    </a:lnTo>
                    <a:lnTo>
                      <a:pt x="449" y="377"/>
                    </a:lnTo>
                    <a:lnTo>
                      <a:pt x="447" y="377"/>
                    </a:lnTo>
                    <a:lnTo>
                      <a:pt x="447" y="376"/>
                    </a:lnTo>
                    <a:lnTo>
                      <a:pt x="447" y="376"/>
                    </a:lnTo>
                    <a:lnTo>
                      <a:pt x="449" y="376"/>
                    </a:lnTo>
                    <a:lnTo>
                      <a:pt x="449" y="376"/>
                    </a:lnTo>
                    <a:lnTo>
                      <a:pt x="449" y="374"/>
                    </a:lnTo>
                    <a:lnTo>
                      <a:pt x="449" y="374"/>
                    </a:lnTo>
                    <a:lnTo>
                      <a:pt x="449" y="374"/>
                    </a:lnTo>
                    <a:lnTo>
                      <a:pt x="449" y="374"/>
                    </a:lnTo>
                    <a:lnTo>
                      <a:pt x="447" y="374"/>
                    </a:lnTo>
                    <a:lnTo>
                      <a:pt x="447" y="374"/>
                    </a:lnTo>
                    <a:lnTo>
                      <a:pt x="447" y="372"/>
                    </a:lnTo>
                    <a:lnTo>
                      <a:pt x="449" y="372"/>
                    </a:lnTo>
                    <a:lnTo>
                      <a:pt x="449" y="374"/>
                    </a:lnTo>
                    <a:lnTo>
                      <a:pt x="450" y="374"/>
                    </a:lnTo>
                    <a:lnTo>
                      <a:pt x="450" y="374"/>
                    </a:lnTo>
                    <a:lnTo>
                      <a:pt x="450" y="374"/>
                    </a:lnTo>
                    <a:lnTo>
                      <a:pt x="450" y="374"/>
                    </a:lnTo>
                    <a:lnTo>
                      <a:pt x="450" y="374"/>
                    </a:lnTo>
                    <a:lnTo>
                      <a:pt x="450" y="376"/>
                    </a:lnTo>
                    <a:lnTo>
                      <a:pt x="450" y="376"/>
                    </a:lnTo>
                    <a:lnTo>
                      <a:pt x="452" y="374"/>
                    </a:lnTo>
                    <a:lnTo>
                      <a:pt x="452" y="374"/>
                    </a:lnTo>
                    <a:lnTo>
                      <a:pt x="452" y="374"/>
                    </a:lnTo>
                    <a:lnTo>
                      <a:pt x="453" y="374"/>
                    </a:lnTo>
                    <a:lnTo>
                      <a:pt x="453" y="376"/>
                    </a:lnTo>
                    <a:lnTo>
                      <a:pt x="455" y="376"/>
                    </a:lnTo>
                    <a:lnTo>
                      <a:pt x="455" y="376"/>
                    </a:lnTo>
                    <a:lnTo>
                      <a:pt x="455" y="376"/>
                    </a:lnTo>
                    <a:lnTo>
                      <a:pt x="457" y="376"/>
                    </a:lnTo>
                    <a:lnTo>
                      <a:pt x="458" y="376"/>
                    </a:lnTo>
                    <a:lnTo>
                      <a:pt x="458" y="376"/>
                    </a:lnTo>
                    <a:lnTo>
                      <a:pt x="458" y="376"/>
                    </a:lnTo>
                    <a:lnTo>
                      <a:pt x="458" y="376"/>
                    </a:lnTo>
                    <a:lnTo>
                      <a:pt x="460" y="376"/>
                    </a:lnTo>
                    <a:lnTo>
                      <a:pt x="461" y="376"/>
                    </a:lnTo>
                    <a:lnTo>
                      <a:pt x="461" y="376"/>
                    </a:lnTo>
                    <a:lnTo>
                      <a:pt x="463" y="376"/>
                    </a:lnTo>
                    <a:lnTo>
                      <a:pt x="463" y="376"/>
                    </a:lnTo>
                    <a:lnTo>
                      <a:pt x="463" y="377"/>
                    </a:lnTo>
                    <a:lnTo>
                      <a:pt x="463" y="376"/>
                    </a:lnTo>
                    <a:lnTo>
                      <a:pt x="464" y="376"/>
                    </a:lnTo>
                    <a:lnTo>
                      <a:pt x="464" y="377"/>
                    </a:lnTo>
                    <a:lnTo>
                      <a:pt x="466" y="377"/>
                    </a:lnTo>
                    <a:lnTo>
                      <a:pt x="466" y="377"/>
                    </a:lnTo>
                    <a:lnTo>
                      <a:pt x="468" y="377"/>
                    </a:lnTo>
                    <a:lnTo>
                      <a:pt x="468" y="377"/>
                    </a:lnTo>
                    <a:lnTo>
                      <a:pt x="469" y="377"/>
                    </a:lnTo>
                    <a:lnTo>
                      <a:pt x="469" y="377"/>
                    </a:lnTo>
                    <a:lnTo>
                      <a:pt x="469" y="377"/>
                    </a:lnTo>
                    <a:lnTo>
                      <a:pt x="469" y="377"/>
                    </a:lnTo>
                    <a:lnTo>
                      <a:pt x="469" y="376"/>
                    </a:lnTo>
                    <a:lnTo>
                      <a:pt x="471" y="376"/>
                    </a:lnTo>
                    <a:lnTo>
                      <a:pt x="471" y="374"/>
                    </a:lnTo>
                    <a:lnTo>
                      <a:pt x="471" y="374"/>
                    </a:lnTo>
                    <a:lnTo>
                      <a:pt x="471" y="372"/>
                    </a:lnTo>
                    <a:lnTo>
                      <a:pt x="471" y="372"/>
                    </a:lnTo>
                    <a:lnTo>
                      <a:pt x="472" y="372"/>
                    </a:lnTo>
                    <a:lnTo>
                      <a:pt x="472" y="372"/>
                    </a:lnTo>
                    <a:lnTo>
                      <a:pt x="472" y="372"/>
                    </a:lnTo>
                    <a:lnTo>
                      <a:pt x="474" y="371"/>
                    </a:lnTo>
                    <a:lnTo>
                      <a:pt x="474" y="371"/>
                    </a:lnTo>
                    <a:lnTo>
                      <a:pt x="476" y="371"/>
                    </a:lnTo>
                    <a:lnTo>
                      <a:pt x="476" y="371"/>
                    </a:lnTo>
                    <a:lnTo>
                      <a:pt x="476" y="371"/>
                    </a:lnTo>
                    <a:lnTo>
                      <a:pt x="476" y="369"/>
                    </a:lnTo>
                    <a:lnTo>
                      <a:pt x="476" y="369"/>
                    </a:lnTo>
                    <a:lnTo>
                      <a:pt x="476" y="369"/>
                    </a:lnTo>
                    <a:lnTo>
                      <a:pt x="474" y="369"/>
                    </a:lnTo>
                    <a:lnTo>
                      <a:pt x="474" y="369"/>
                    </a:lnTo>
                    <a:lnTo>
                      <a:pt x="474" y="369"/>
                    </a:lnTo>
                    <a:lnTo>
                      <a:pt x="472" y="369"/>
                    </a:lnTo>
                    <a:lnTo>
                      <a:pt x="472" y="369"/>
                    </a:lnTo>
                    <a:lnTo>
                      <a:pt x="471" y="369"/>
                    </a:lnTo>
                    <a:lnTo>
                      <a:pt x="469" y="369"/>
                    </a:lnTo>
                    <a:lnTo>
                      <a:pt x="468" y="369"/>
                    </a:lnTo>
                    <a:lnTo>
                      <a:pt x="468" y="368"/>
                    </a:lnTo>
                    <a:lnTo>
                      <a:pt x="466" y="368"/>
                    </a:lnTo>
                    <a:lnTo>
                      <a:pt x="466" y="368"/>
                    </a:lnTo>
                    <a:lnTo>
                      <a:pt x="464" y="368"/>
                    </a:lnTo>
                    <a:lnTo>
                      <a:pt x="463" y="368"/>
                    </a:lnTo>
                    <a:lnTo>
                      <a:pt x="463" y="368"/>
                    </a:lnTo>
                    <a:lnTo>
                      <a:pt x="463" y="368"/>
                    </a:lnTo>
                    <a:lnTo>
                      <a:pt x="461" y="368"/>
                    </a:lnTo>
                    <a:lnTo>
                      <a:pt x="461" y="368"/>
                    </a:lnTo>
                    <a:lnTo>
                      <a:pt x="460" y="368"/>
                    </a:lnTo>
                    <a:lnTo>
                      <a:pt x="458" y="368"/>
                    </a:lnTo>
                    <a:lnTo>
                      <a:pt x="458" y="368"/>
                    </a:lnTo>
                    <a:lnTo>
                      <a:pt x="457" y="368"/>
                    </a:lnTo>
                    <a:lnTo>
                      <a:pt x="457" y="369"/>
                    </a:lnTo>
                    <a:lnTo>
                      <a:pt x="455" y="369"/>
                    </a:lnTo>
                    <a:lnTo>
                      <a:pt x="453" y="368"/>
                    </a:lnTo>
                    <a:lnTo>
                      <a:pt x="453" y="368"/>
                    </a:lnTo>
                    <a:lnTo>
                      <a:pt x="453" y="368"/>
                    </a:lnTo>
                    <a:lnTo>
                      <a:pt x="452" y="368"/>
                    </a:lnTo>
                    <a:lnTo>
                      <a:pt x="452" y="368"/>
                    </a:lnTo>
                    <a:lnTo>
                      <a:pt x="450" y="369"/>
                    </a:lnTo>
                    <a:lnTo>
                      <a:pt x="450" y="369"/>
                    </a:lnTo>
                    <a:lnTo>
                      <a:pt x="450" y="369"/>
                    </a:lnTo>
                    <a:lnTo>
                      <a:pt x="449" y="369"/>
                    </a:lnTo>
                    <a:lnTo>
                      <a:pt x="449" y="369"/>
                    </a:lnTo>
                    <a:lnTo>
                      <a:pt x="447" y="369"/>
                    </a:lnTo>
                    <a:lnTo>
                      <a:pt x="447" y="369"/>
                    </a:lnTo>
                    <a:lnTo>
                      <a:pt x="445" y="371"/>
                    </a:lnTo>
                    <a:lnTo>
                      <a:pt x="445" y="371"/>
                    </a:lnTo>
                    <a:lnTo>
                      <a:pt x="445" y="369"/>
                    </a:lnTo>
                    <a:lnTo>
                      <a:pt x="444" y="369"/>
                    </a:lnTo>
                    <a:lnTo>
                      <a:pt x="444" y="369"/>
                    </a:lnTo>
                    <a:lnTo>
                      <a:pt x="444" y="371"/>
                    </a:lnTo>
                    <a:lnTo>
                      <a:pt x="444" y="371"/>
                    </a:lnTo>
                    <a:lnTo>
                      <a:pt x="444" y="372"/>
                    </a:lnTo>
                    <a:lnTo>
                      <a:pt x="444" y="372"/>
                    </a:lnTo>
                    <a:lnTo>
                      <a:pt x="444" y="374"/>
                    </a:lnTo>
                    <a:lnTo>
                      <a:pt x="444" y="374"/>
                    </a:lnTo>
                    <a:lnTo>
                      <a:pt x="444" y="376"/>
                    </a:lnTo>
                    <a:lnTo>
                      <a:pt x="442" y="377"/>
                    </a:lnTo>
                    <a:lnTo>
                      <a:pt x="442" y="379"/>
                    </a:lnTo>
                    <a:lnTo>
                      <a:pt x="444" y="379"/>
                    </a:lnTo>
                    <a:lnTo>
                      <a:pt x="444" y="379"/>
                    </a:lnTo>
                    <a:lnTo>
                      <a:pt x="444" y="380"/>
                    </a:lnTo>
                    <a:lnTo>
                      <a:pt x="444" y="382"/>
                    </a:lnTo>
                    <a:lnTo>
                      <a:pt x="444" y="382"/>
                    </a:lnTo>
                    <a:lnTo>
                      <a:pt x="444" y="382"/>
                    </a:lnTo>
                    <a:lnTo>
                      <a:pt x="444" y="382"/>
                    </a:lnTo>
                    <a:lnTo>
                      <a:pt x="442" y="382"/>
                    </a:lnTo>
                    <a:lnTo>
                      <a:pt x="442" y="380"/>
                    </a:lnTo>
                    <a:lnTo>
                      <a:pt x="442" y="380"/>
                    </a:lnTo>
                    <a:lnTo>
                      <a:pt x="441" y="380"/>
                    </a:lnTo>
                    <a:lnTo>
                      <a:pt x="441" y="382"/>
                    </a:lnTo>
                    <a:lnTo>
                      <a:pt x="439" y="382"/>
                    </a:lnTo>
                    <a:lnTo>
                      <a:pt x="439" y="382"/>
                    </a:lnTo>
                    <a:lnTo>
                      <a:pt x="439" y="383"/>
                    </a:lnTo>
                    <a:lnTo>
                      <a:pt x="439" y="383"/>
                    </a:lnTo>
                    <a:lnTo>
                      <a:pt x="438" y="383"/>
                    </a:lnTo>
                    <a:lnTo>
                      <a:pt x="438" y="383"/>
                    </a:lnTo>
                    <a:lnTo>
                      <a:pt x="438" y="383"/>
                    </a:lnTo>
                    <a:lnTo>
                      <a:pt x="438" y="383"/>
                    </a:lnTo>
                    <a:lnTo>
                      <a:pt x="438" y="383"/>
                    </a:lnTo>
                    <a:lnTo>
                      <a:pt x="438" y="382"/>
                    </a:lnTo>
                    <a:lnTo>
                      <a:pt x="438" y="382"/>
                    </a:lnTo>
                    <a:lnTo>
                      <a:pt x="436" y="382"/>
                    </a:lnTo>
                    <a:lnTo>
                      <a:pt x="436" y="382"/>
                    </a:lnTo>
                    <a:lnTo>
                      <a:pt x="434" y="382"/>
                    </a:lnTo>
                    <a:lnTo>
                      <a:pt x="434" y="382"/>
                    </a:lnTo>
                    <a:lnTo>
                      <a:pt x="434" y="382"/>
                    </a:lnTo>
                    <a:lnTo>
                      <a:pt x="434" y="383"/>
                    </a:lnTo>
                    <a:lnTo>
                      <a:pt x="434" y="383"/>
                    </a:lnTo>
                    <a:lnTo>
                      <a:pt x="433" y="383"/>
                    </a:lnTo>
                    <a:lnTo>
                      <a:pt x="433" y="383"/>
                    </a:lnTo>
                    <a:lnTo>
                      <a:pt x="433" y="383"/>
                    </a:lnTo>
                    <a:lnTo>
                      <a:pt x="431" y="382"/>
                    </a:lnTo>
                    <a:lnTo>
                      <a:pt x="431" y="382"/>
                    </a:lnTo>
                    <a:lnTo>
                      <a:pt x="431" y="382"/>
                    </a:lnTo>
                    <a:lnTo>
                      <a:pt x="431" y="382"/>
                    </a:lnTo>
                    <a:lnTo>
                      <a:pt x="430" y="380"/>
                    </a:lnTo>
                    <a:lnTo>
                      <a:pt x="430" y="380"/>
                    </a:lnTo>
                    <a:lnTo>
                      <a:pt x="430" y="379"/>
                    </a:lnTo>
                    <a:lnTo>
                      <a:pt x="430" y="377"/>
                    </a:lnTo>
                    <a:lnTo>
                      <a:pt x="430" y="377"/>
                    </a:lnTo>
                    <a:lnTo>
                      <a:pt x="430" y="377"/>
                    </a:lnTo>
                    <a:lnTo>
                      <a:pt x="431" y="376"/>
                    </a:lnTo>
                    <a:lnTo>
                      <a:pt x="431" y="376"/>
                    </a:lnTo>
                    <a:lnTo>
                      <a:pt x="431" y="376"/>
                    </a:lnTo>
                    <a:lnTo>
                      <a:pt x="431" y="376"/>
                    </a:lnTo>
                    <a:lnTo>
                      <a:pt x="431" y="374"/>
                    </a:lnTo>
                    <a:lnTo>
                      <a:pt x="431" y="374"/>
                    </a:lnTo>
                    <a:lnTo>
                      <a:pt x="431" y="372"/>
                    </a:lnTo>
                    <a:lnTo>
                      <a:pt x="431" y="371"/>
                    </a:lnTo>
                    <a:lnTo>
                      <a:pt x="430" y="371"/>
                    </a:lnTo>
                    <a:lnTo>
                      <a:pt x="428" y="372"/>
                    </a:lnTo>
                    <a:lnTo>
                      <a:pt x="428" y="372"/>
                    </a:lnTo>
                    <a:lnTo>
                      <a:pt x="428" y="374"/>
                    </a:lnTo>
                    <a:lnTo>
                      <a:pt x="426" y="374"/>
                    </a:lnTo>
                    <a:lnTo>
                      <a:pt x="426" y="374"/>
                    </a:lnTo>
                    <a:lnTo>
                      <a:pt x="426" y="372"/>
                    </a:lnTo>
                    <a:lnTo>
                      <a:pt x="425" y="372"/>
                    </a:lnTo>
                    <a:lnTo>
                      <a:pt x="425" y="374"/>
                    </a:lnTo>
                    <a:lnTo>
                      <a:pt x="423" y="374"/>
                    </a:lnTo>
                    <a:lnTo>
                      <a:pt x="423" y="374"/>
                    </a:lnTo>
                    <a:lnTo>
                      <a:pt x="423" y="374"/>
                    </a:lnTo>
                    <a:lnTo>
                      <a:pt x="422" y="372"/>
                    </a:lnTo>
                    <a:lnTo>
                      <a:pt x="422" y="372"/>
                    </a:lnTo>
                    <a:lnTo>
                      <a:pt x="422" y="372"/>
                    </a:lnTo>
                    <a:lnTo>
                      <a:pt x="422" y="374"/>
                    </a:lnTo>
                    <a:lnTo>
                      <a:pt x="422" y="374"/>
                    </a:lnTo>
                    <a:lnTo>
                      <a:pt x="422" y="374"/>
                    </a:lnTo>
                    <a:lnTo>
                      <a:pt x="422" y="374"/>
                    </a:lnTo>
                    <a:lnTo>
                      <a:pt x="420" y="374"/>
                    </a:lnTo>
                    <a:lnTo>
                      <a:pt x="418" y="374"/>
                    </a:lnTo>
                    <a:lnTo>
                      <a:pt x="418" y="374"/>
                    </a:lnTo>
                    <a:lnTo>
                      <a:pt x="418" y="374"/>
                    </a:lnTo>
                    <a:lnTo>
                      <a:pt x="417" y="374"/>
                    </a:lnTo>
                    <a:lnTo>
                      <a:pt x="417" y="374"/>
                    </a:lnTo>
                    <a:lnTo>
                      <a:pt x="415" y="374"/>
                    </a:lnTo>
                    <a:lnTo>
                      <a:pt x="415" y="376"/>
                    </a:lnTo>
                    <a:lnTo>
                      <a:pt x="415" y="376"/>
                    </a:lnTo>
                    <a:lnTo>
                      <a:pt x="415" y="376"/>
                    </a:lnTo>
                    <a:lnTo>
                      <a:pt x="415" y="377"/>
                    </a:lnTo>
                    <a:lnTo>
                      <a:pt x="415" y="377"/>
                    </a:lnTo>
                    <a:lnTo>
                      <a:pt x="414" y="376"/>
                    </a:lnTo>
                    <a:lnTo>
                      <a:pt x="414" y="376"/>
                    </a:lnTo>
                    <a:lnTo>
                      <a:pt x="414" y="377"/>
                    </a:lnTo>
                    <a:lnTo>
                      <a:pt x="414" y="377"/>
                    </a:lnTo>
                    <a:lnTo>
                      <a:pt x="414" y="377"/>
                    </a:lnTo>
                    <a:lnTo>
                      <a:pt x="414" y="377"/>
                    </a:lnTo>
                    <a:lnTo>
                      <a:pt x="412" y="379"/>
                    </a:lnTo>
                    <a:lnTo>
                      <a:pt x="412" y="379"/>
                    </a:lnTo>
                    <a:lnTo>
                      <a:pt x="412" y="383"/>
                    </a:lnTo>
                    <a:lnTo>
                      <a:pt x="412" y="385"/>
                    </a:lnTo>
                    <a:lnTo>
                      <a:pt x="412" y="387"/>
                    </a:lnTo>
                    <a:lnTo>
                      <a:pt x="412" y="387"/>
                    </a:lnTo>
                    <a:lnTo>
                      <a:pt x="412" y="388"/>
                    </a:lnTo>
                    <a:lnTo>
                      <a:pt x="412" y="388"/>
                    </a:lnTo>
                    <a:lnTo>
                      <a:pt x="412" y="390"/>
                    </a:lnTo>
                    <a:lnTo>
                      <a:pt x="412" y="390"/>
                    </a:lnTo>
                    <a:lnTo>
                      <a:pt x="411" y="390"/>
                    </a:lnTo>
                    <a:lnTo>
                      <a:pt x="411" y="390"/>
                    </a:lnTo>
                    <a:lnTo>
                      <a:pt x="409" y="388"/>
                    </a:lnTo>
                    <a:lnTo>
                      <a:pt x="407" y="390"/>
                    </a:lnTo>
                    <a:lnTo>
                      <a:pt x="395" y="393"/>
                    </a:lnTo>
                    <a:lnTo>
                      <a:pt x="380" y="396"/>
                    </a:lnTo>
                    <a:lnTo>
                      <a:pt x="368" y="401"/>
                    </a:lnTo>
                    <a:lnTo>
                      <a:pt x="353" y="404"/>
                    </a:lnTo>
                    <a:lnTo>
                      <a:pt x="347" y="407"/>
                    </a:lnTo>
                    <a:lnTo>
                      <a:pt x="344" y="407"/>
                    </a:lnTo>
                    <a:lnTo>
                      <a:pt x="339" y="409"/>
                    </a:lnTo>
                    <a:lnTo>
                      <a:pt x="336" y="410"/>
                    </a:lnTo>
                    <a:lnTo>
                      <a:pt x="331" y="412"/>
                    </a:lnTo>
                    <a:lnTo>
                      <a:pt x="331" y="412"/>
                    </a:lnTo>
                    <a:lnTo>
                      <a:pt x="341" y="448"/>
                    </a:lnTo>
                    <a:lnTo>
                      <a:pt x="349" y="485"/>
                    </a:lnTo>
                    <a:lnTo>
                      <a:pt x="355" y="523"/>
                    </a:lnTo>
                    <a:lnTo>
                      <a:pt x="363" y="559"/>
                    </a:lnTo>
                    <a:lnTo>
                      <a:pt x="363" y="559"/>
                    </a:lnTo>
                    <a:lnTo>
                      <a:pt x="360" y="559"/>
                    </a:lnTo>
                    <a:lnTo>
                      <a:pt x="355" y="561"/>
                    </a:lnTo>
                    <a:lnTo>
                      <a:pt x="352" y="563"/>
                    </a:lnTo>
                    <a:lnTo>
                      <a:pt x="349" y="563"/>
                    </a:lnTo>
                    <a:lnTo>
                      <a:pt x="346" y="561"/>
                    </a:lnTo>
                    <a:lnTo>
                      <a:pt x="342" y="558"/>
                    </a:lnTo>
                    <a:lnTo>
                      <a:pt x="339" y="556"/>
                    </a:lnTo>
                    <a:lnTo>
                      <a:pt x="336" y="552"/>
                    </a:lnTo>
                    <a:lnTo>
                      <a:pt x="330" y="544"/>
                    </a:lnTo>
                    <a:lnTo>
                      <a:pt x="323" y="536"/>
                    </a:lnTo>
                    <a:lnTo>
                      <a:pt x="314" y="529"/>
                    </a:lnTo>
                    <a:lnTo>
                      <a:pt x="304" y="525"/>
                    </a:lnTo>
                    <a:lnTo>
                      <a:pt x="296" y="520"/>
                    </a:lnTo>
                    <a:lnTo>
                      <a:pt x="290" y="518"/>
                    </a:lnTo>
                    <a:lnTo>
                      <a:pt x="284" y="520"/>
                    </a:lnTo>
                    <a:lnTo>
                      <a:pt x="274" y="521"/>
                    </a:lnTo>
                    <a:lnTo>
                      <a:pt x="265" y="525"/>
                    </a:lnTo>
                    <a:lnTo>
                      <a:pt x="257" y="529"/>
                    </a:lnTo>
                    <a:lnTo>
                      <a:pt x="250" y="534"/>
                    </a:lnTo>
                    <a:lnTo>
                      <a:pt x="242" y="544"/>
                    </a:lnTo>
                    <a:lnTo>
                      <a:pt x="242" y="540"/>
                    </a:lnTo>
                    <a:lnTo>
                      <a:pt x="242" y="536"/>
                    </a:lnTo>
                    <a:lnTo>
                      <a:pt x="241" y="533"/>
                    </a:lnTo>
                    <a:lnTo>
                      <a:pt x="239" y="529"/>
                    </a:lnTo>
                    <a:lnTo>
                      <a:pt x="239" y="526"/>
                    </a:lnTo>
                    <a:lnTo>
                      <a:pt x="241" y="523"/>
                    </a:lnTo>
                    <a:lnTo>
                      <a:pt x="242" y="518"/>
                    </a:lnTo>
                    <a:lnTo>
                      <a:pt x="244" y="515"/>
                    </a:lnTo>
                    <a:lnTo>
                      <a:pt x="244" y="512"/>
                    </a:lnTo>
                    <a:lnTo>
                      <a:pt x="244" y="509"/>
                    </a:lnTo>
                    <a:lnTo>
                      <a:pt x="241" y="506"/>
                    </a:lnTo>
                    <a:lnTo>
                      <a:pt x="244" y="507"/>
                    </a:lnTo>
                    <a:lnTo>
                      <a:pt x="246" y="504"/>
                    </a:lnTo>
                    <a:lnTo>
                      <a:pt x="241" y="502"/>
                    </a:lnTo>
                    <a:lnTo>
                      <a:pt x="238" y="499"/>
                    </a:lnTo>
                    <a:lnTo>
                      <a:pt x="235" y="499"/>
                    </a:lnTo>
                    <a:lnTo>
                      <a:pt x="231" y="499"/>
                    </a:lnTo>
                    <a:lnTo>
                      <a:pt x="227" y="498"/>
                    </a:lnTo>
                    <a:lnTo>
                      <a:pt x="223" y="496"/>
                    </a:lnTo>
                    <a:lnTo>
                      <a:pt x="220" y="498"/>
                    </a:lnTo>
                    <a:lnTo>
                      <a:pt x="217" y="499"/>
                    </a:lnTo>
                    <a:lnTo>
                      <a:pt x="212" y="494"/>
                    </a:lnTo>
                    <a:lnTo>
                      <a:pt x="211" y="491"/>
                    </a:lnTo>
                    <a:lnTo>
                      <a:pt x="208" y="488"/>
                    </a:lnTo>
                    <a:lnTo>
                      <a:pt x="206" y="485"/>
                    </a:lnTo>
                    <a:lnTo>
                      <a:pt x="203" y="485"/>
                    </a:lnTo>
                    <a:lnTo>
                      <a:pt x="198" y="485"/>
                    </a:lnTo>
                    <a:lnTo>
                      <a:pt x="195" y="487"/>
                    </a:lnTo>
                    <a:lnTo>
                      <a:pt x="193" y="482"/>
                    </a:lnTo>
                    <a:lnTo>
                      <a:pt x="193" y="479"/>
                    </a:lnTo>
                    <a:lnTo>
                      <a:pt x="193" y="475"/>
                    </a:lnTo>
                    <a:lnTo>
                      <a:pt x="192" y="472"/>
                    </a:lnTo>
                    <a:lnTo>
                      <a:pt x="189" y="469"/>
                    </a:lnTo>
                    <a:lnTo>
                      <a:pt x="189" y="469"/>
                    </a:lnTo>
                    <a:lnTo>
                      <a:pt x="185" y="466"/>
                    </a:lnTo>
                    <a:lnTo>
                      <a:pt x="182" y="463"/>
                    </a:lnTo>
                    <a:lnTo>
                      <a:pt x="179" y="460"/>
                    </a:lnTo>
                    <a:lnTo>
                      <a:pt x="179" y="456"/>
                    </a:lnTo>
                    <a:lnTo>
                      <a:pt x="176" y="452"/>
                    </a:lnTo>
                    <a:lnTo>
                      <a:pt x="173" y="448"/>
                    </a:lnTo>
                    <a:lnTo>
                      <a:pt x="171" y="445"/>
                    </a:lnTo>
                    <a:lnTo>
                      <a:pt x="168" y="442"/>
                    </a:lnTo>
                    <a:lnTo>
                      <a:pt x="165" y="441"/>
                    </a:lnTo>
                    <a:lnTo>
                      <a:pt x="162" y="441"/>
                    </a:lnTo>
                    <a:lnTo>
                      <a:pt x="157" y="441"/>
                    </a:lnTo>
                    <a:lnTo>
                      <a:pt x="154" y="439"/>
                    </a:lnTo>
                    <a:lnTo>
                      <a:pt x="150" y="437"/>
                    </a:lnTo>
                    <a:lnTo>
                      <a:pt x="149" y="434"/>
                    </a:lnTo>
                    <a:lnTo>
                      <a:pt x="149" y="431"/>
                    </a:lnTo>
                    <a:lnTo>
                      <a:pt x="150" y="426"/>
                    </a:lnTo>
                    <a:lnTo>
                      <a:pt x="160" y="426"/>
                    </a:lnTo>
                    <a:lnTo>
                      <a:pt x="171" y="428"/>
                    </a:lnTo>
                    <a:lnTo>
                      <a:pt x="174" y="431"/>
                    </a:lnTo>
                    <a:lnTo>
                      <a:pt x="177" y="433"/>
                    </a:lnTo>
                    <a:lnTo>
                      <a:pt x="181" y="431"/>
                    </a:lnTo>
                    <a:lnTo>
                      <a:pt x="185" y="429"/>
                    </a:lnTo>
                    <a:lnTo>
                      <a:pt x="189" y="431"/>
                    </a:lnTo>
                    <a:lnTo>
                      <a:pt x="192" y="431"/>
                    </a:lnTo>
                    <a:lnTo>
                      <a:pt x="189" y="428"/>
                    </a:lnTo>
                    <a:lnTo>
                      <a:pt x="184" y="428"/>
                    </a:lnTo>
                    <a:lnTo>
                      <a:pt x="181" y="425"/>
                    </a:lnTo>
                    <a:lnTo>
                      <a:pt x="177" y="422"/>
                    </a:lnTo>
                    <a:lnTo>
                      <a:pt x="171" y="418"/>
                    </a:lnTo>
                    <a:lnTo>
                      <a:pt x="169" y="415"/>
                    </a:lnTo>
                    <a:lnTo>
                      <a:pt x="173" y="412"/>
                    </a:lnTo>
                    <a:lnTo>
                      <a:pt x="176" y="409"/>
                    </a:lnTo>
                    <a:lnTo>
                      <a:pt x="177" y="406"/>
                    </a:lnTo>
                    <a:lnTo>
                      <a:pt x="177" y="402"/>
                    </a:lnTo>
                    <a:lnTo>
                      <a:pt x="181" y="398"/>
                    </a:lnTo>
                    <a:lnTo>
                      <a:pt x="184" y="398"/>
                    </a:lnTo>
                    <a:lnTo>
                      <a:pt x="187" y="398"/>
                    </a:lnTo>
                    <a:lnTo>
                      <a:pt x="190" y="395"/>
                    </a:lnTo>
                    <a:lnTo>
                      <a:pt x="193" y="396"/>
                    </a:lnTo>
                    <a:lnTo>
                      <a:pt x="196" y="398"/>
                    </a:lnTo>
                    <a:lnTo>
                      <a:pt x="201" y="396"/>
                    </a:lnTo>
                    <a:lnTo>
                      <a:pt x="204" y="396"/>
                    </a:lnTo>
                    <a:lnTo>
                      <a:pt x="211" y="396"/>
                    </a:lnTo>
                    <a:lnTo>
                      <a:pt x="215" y="396"/>
                    </a:lnTo>
                    <a:lnTo>
                      <a:pt x="222" y="398"/>
                    </a:lnTo>
                    <a:lnTo>
                      <a:pt x="225" y="398"/>
                    </a:lnTo>
                    <a:lnTo>
                      <a:pt x="230" y="399"/>
                    </a:lnTo>
                    <a:lnTo>
                      <a:pt x="233" y="399"/>
                    </a:lnTo>
                    <a:lnTo>
                      <a:pt x="236" y="399"/>
                    </a:lnTo>
                    <a:lnTo>
                      <a:pt x="239" y="398"/>
                    </a:lnTo>
                    <a:lnTo>
                      <a:pt x="231" y="395"/>
                    </a:lnTo>
                    <a:lnTo>
                      <a:pt x="222" y="391"/>
                    </a:lnTo>
                    <a:lnTo>
                      <a:pt x="222" y="390"/>
                    </a:lnTo>
                    <a:lnTo>
                      <a:pt x="222" y="387"/>
                    </a:lnTo>
                    <a:lnTo>
                      <a:pt x="222" y="383"/>
                    </a:lnTo>
                    <a:lnTo>
                      <a:pt x="225" y="380"/>
                    </a:lnTo>
                    <a:lnTo>
                      <a:pt x="227" y="377"/>
                    </a:lnTo>
                    <a:lnTo>
                      <a:pt x="228" y="372"/>
                    </a:lnTo>
                    <a:lnTo>
                      <a:pt x="228" y="369"/>
                    </a:lnTo>
                    <a:lnTo>
                      <a:pt x="230" y="368"/>
                    </a:lnTo>
                    <a:lnTo>
                      <a:pt x="228" y="363"/>
                    </a:lnTo>
                    <a:lnTo>
                      <a:pt x="228" y="360"/>
                    </a:lnTo>
                    <a:lnTo>
                      <a:pt x="228" y="357"/>
                    </a:lnTo>
                    <a:lnTo>
                      <a:pt x="225" y="353"/>
                    </a:lnTo>
                    <a:lnTo>
                      <a:pt x="223" y="350"/>
                    </a:lnTo>
                    <a:lnTo>
                      <a:pt x="223" y="347"/>
                    </a:lnTo>
                    <a:lnTo>
                      <a:pt x="222" y="344"/>
                    </a:lnTo>
                    <a:lnTo>
                      <a:pt x="220" y="341"/>
                    </a:lnTo>
                    <a:lnTo>
                      <a:pt x="217" y="339"/>
                    </a:lnTo>
                    <a:lnTo>
                      <a:pt x="215" y="336"/>
                    </a:lnTo>
                    <a:lnTo>
                      <a:pt x="214" y="333"/>
                    </a:lnTo>
                    <a:lnTo>
                      <a:pt x="209" y="334"/>
                    </a:lnTo>
                    <a:lnTo>
                      <a:pt x="206" y="334"/>
                    </a:lnTo>
                    <a:lnTo>
                      <a:pt x="203" y="333"/>
                    </a:lnTo>
                    <a:lnTo>
                      <a:pt x="200" y="333"/>
                    </a:lnTo>
                    <a:lnTo>
                      <a:pt x="198" y="336"/>
                    </a:lnTo>
                    <a:lnTo>
                      <a:pt x="195" y="339"/>
                    </a:lnTo>
                    <a:lnTo>
                      <a:pt x="184" y="336"/>
                    </a:lnTo>
                    <a:lnTo>
                      <a:pt x="173" y="333"/>
                    </a:lnTo>
                    <a:lnTo>
                      <a:pt x="169" y="330"/>
                    </a:lnTo>
                    <a:lnTo>
                      <a:pt x="166" y="328"/>
                    </a:lnTo>
                    <a:lnTo>
                      <a:pt x="162" y="328"/>
                    </a:lnTo>
                    <a:lnTo>
                      <a:pt x="158" y="326"/>
                    </a:lnTo>
                    <a:lnTo>
                      <a:pt x="155" y="328"/>
                    </a:lnTo>
                    <a:lnTo>
                      <a:pt x="152" y="330"/>
                    </a:lnTo>
                    <a:lnTo>
                      <a:pt x="149" y="331"/>
                    </a:lnTo>
                    <a:lnTo>
                      <a:pt x="147" y="336"/>
                    </a:lnTo>
                    <a:lnTo>
                      <a:pt x="143" y="334"/>
                    </a:lnTo>
                    <a:lnTo>
                      <a:pt x="139" y="336"/>
                    </a:lnTo>
                    <a:lnTo>
                      <a:pt x="136" y="336"/>
                    </a:lnTo>
                    <a:lnTo>
                      <a:pt x="135" y="339"/>
                    </a:lnTo>
                    <a:lnTo>
                      <a:pt x="131" y="342"/>
                    </a:lnTo>
                    <a:lnTo>
                      <a:pt x="128" y="342"/>
                    </a:lnTo>
                    <a:lnTo>
                      <a:pt x="125" y="347"/>
                    </a:lnTo>
                    <a:lnTo>
                      <a:pt x="122" y="347"/>
                    </a:lnTo>
                    <a:lnTo>
                      <a:pt x="119" y="350"/>
                    </a:lnTo>
                    <a:lnTo>
                      <a:pt x="114" y="350"/>
                    </a:lnTo>
                    <a:lnTo>
                      <a:pt x="111" y="350"/>
                    </a:lnTo>
                    <a:lnTo>
                      <a:pt x="108" y="349"/>
                    </a:lnTo>
                    <a:lnTo>
                      <a:pt x="109" y="352"/>
                    </a:lnTo>
                    <a:lnTo>
                      <a:pt x="106" y="350"/>
                    </a:lnTo>
                    <a:lnTo>
                      <a:pt x="103" y="349"/>
                    </a:lnTo>
                    <a:lnTo>
                      <a:pt x="103" y="349"/>
                    </a:lnTo>
                    <a:lnTo>
                      <a:pt x="106" y="352"/>
                    </a:lnTo>
                    <a:lnTo>
                      <a:pt x="103" y="352"/>
                    </a:lnTo>
                    <a:lnTo>
                      <a:pt x="103" y="357"/>
                    </a:lnTo>
                    <a:lnTo>
                      <a:pt x="100" y="355"/>
                    </a:lnTo>
                    <a:lnTo>
                      <a:pt x="101" y="358"/>
                    </a:lnTo>
                    <a:lnTo>
                      <a:pt x="98" y="357"/>
                    </a:lnTo>
                    <a:lnTo>
                      <a:pt x="95" y="355"/>
                    </a:lnTo>
                    <a:lnTo>
                      <a:pt x="90" y="352"/>
                    </a:lnTo>
                    <a:lnTo>
                      <a:pt x="89" y="352"/>
                    </a:lnTo>
                    <a:lnTo>
                      <a:pt x="85" y="350"/>
                    </a:lnTo>
                    <a:lnTo>
                      <a:pt x="82" y="349"/>
                    </a:lnTo>
                    <a:lnTo>
                      <a:pt x="79" y="347"/>
                    </a:lnTo>
                    <a:lnTo>
                      <a:pt x="79" y="347"/>
                    </a:lnTo>
                    <a:lnTo>
                      <a:pt x="76" y="345"/>
                    </a:lnTo>
                    <a:lnTo>
                      <a:pt x="76" y="344"/>
                    </a:lnTo>
                    <a:lnTo>
                      <a:pt x="79" y="341"/>
                    </a:lnTo>
                    <a:lnTo>
                      <a:pt x="82" y="342"/>
                    </a:lnTo>
                    <a:lnTo>
                      <a:pt x="85" y="344"/>
                    </a:lnTo>
                    <a:lnTo>
                      <a:pt x="90" y="344"/>
                    </a:lnTo>
                    <a:lnTo>
                      <a:pt x="92" y="339"/>
                    </a:lnTo>
                    <a:lnTo>
                      <a:pt x="89" y="336"/>
                    </a:lnTo>
                    <a:lnTo>
                      <a:pt x="85" y="333"/>
                    </a:lnTo>
                    <a:lnTo>
                      <a:pt x="81" y="328"/>
                    </a:lnTo>
                    <a:lnTo>
                      <a:pt x="79" y="325"/>
                    </a:lnTo>
                    <a:lnTo>
                      <a:pt x="71" y="315"/>
                    </a:lnTo>
                    <a:lnTo>
                      <a:pt x="63" y="309"/>
                    </a:lnTo>
                    <a:lnTo>
                      <a:pt x="62" y="306"/>
                    </a:lnTo>
                    <a:lnTo>
                      <a:pt x="57" y="303"/>
                    </a:lnTo>
                    <a:lnTo>
                      <a:pt x="54" y="301"/>
                    </a:lnTo>
                    <a:lnTo>
                      <a:pt x="51" y="299"/>
                    </a:lnTo>
                    <a:lnTo>
                      <a:pt x="39" y="299"/>
                    </a:lnTo>
                    <a:lnTo>
                      <a:pt x="33" y="299"/>
                    </a:lnTo>
                    <a:lnTo>
                      <a:pt x="31" y="303"/>
                    </a:lnTo>
                    <a:lnTo>
                      <a:pt x="27" y="301"/>
                    </a:lnTo>
                    <a:lnTo>
                      <a:pt x="24" y="298"/>
                    </a:lnTo>
                    <a:lnTo>
                      <a:pt x="24" y="295"/>
                    </a:lnTo>
                    <a:lnTo>
                      <a:pt x="20" y="291"/>
                    </a:lnTo>
                    <a:lnTo>
                      <a:pt x="25" y="288"/>
                    </a:lnTo>
                    <a:lnTo>
                      <a:pt x="22" y="285"/>
                    </a:lnTo>
                    <a:lnTo>
                      <a:pt x="20" y="282"/>
                    </a:lnTo>
                    <a:lnTo>
                      <a:pt x="20" y="280"/>
                    </a:lnTo>
                    <a:lnTo>
                      <a:pt x="16" y="280"/>
                    </a:lnTo>
                    <a:lnTo>
                      <a:pt x="12" y="279"/>
                    </a:lnTo>
                    <a:lnTo>
                      <a:pt x="8" y="277"/>
                    </a:lnTo>
                    <a:lnTo>
                      <a:pt x="8" y="277"/>
                    </a:lnTo>
                    <a:lnTo>
                      <a:pt x="6" y="277"/>
                    </a:lnTo>
                    <a:lnTo>
                      <a:pt x="3" y="276"/>
                    </a:lnTo>
                    <a:lnTo>
                      <a:pt x="0" y="272"/>
                    </a:lnTo>
                    <a:lnTo>
                      <a:pt x="1" y="268"/>
                    </a:lnTo>
                    <a:lnTo>
                      <a:pt x="1" y="265"/>
                    </a:lnTo>
                    <a:close/>
                    <a:moveTo>
                      <a:pt x="449" y="349"/>
                    </a:moveTo>
                    <a:lnTo>
                      <a:pt x="449" y="350"/>
                    </a:lnTo>
                    <a:lnTo>
                      <a:pt x="449" y="350"/>
                    </a:lnTo>
                    <a:lnTo>
                      <a:pt x="449" y="352"/>
                    </a:lnTo>
                    <a:lnTo>
                      <a:pt x="449" y="352"/>
                    </a:lnTo>
                    <a:lnTo>
                      <a:pt x="449" y="353"/>
                    </a:lnTo>
                    <a:lnTo>
                      <a:pt x="450" y="353"/>
                    </a:lnTo>
                    <a:lnTo>
                      <a:pt x="450" y="355"/>
                    </a:lnTo>
                    <a:lnTo>
                      <a:pt x="450" y="355"/>
                    </a:lnTo>
                    <a:lnTo>
                      <a:pt x="452" y="355"/>
                    </a:lnTo>
                    <a:lnTo>
                      <a:pt x="452" y="355"/>
                    </a:lnTo>
                    <a:lnTo>
                      <a:pt x="452" y="355"/>
                    </a:lnTo>
                    <a:lnTo>
                      <a:pt x="452" y="355"/>
                    </a:lnTo>
                    <a:lnTo>
                      <a:pt x="452" y="357"/>
                    </a:lnTo>
                    <a:lnTo>
                      <a:pt x="453" y="357"/>
                    </a:lnTo>
                    <a:lnTo>
                      <a:pt x="453" y="357"/>
                    </a:lnTo>
                    <a:lnTo>
                      <a:pt x="453" y="357"/>
                    </a:lnTo>
                    <a:lnTo>
                      <a:pt x="455" y="357"/>
                    </a:lnTo>
                    <a:lnTo>
                      <a:pt x="455" y="357"/>
                    </a:lnTo>
                    <a:lnTo>
                      <a:pt x="457" y="357"/>
                    </a:lnTo>
                    <a:lnTo>
                      <a:pt x="457" y="357"/>
                    </a:lnTo>
                    <a:lnTo>
                      <a:pt x="458" y="357"/>
                    </a:lnTo>
                    <a:lnTo>
                      <a:pt x="458" y="357"/>
                    </a:lnTo>
                    <a:lnTo>
                      <a:pt x="460" y="357"/>
                    </a:lnTo>
                    <a:lnTo>
                      <a:pt x="460" y="355"/>
                    </a:lnTo>
                    <a:lnTo>
                      <a:pt x="460" y="355"/>
                    </a:lnTo>
                    <a:lnTo>
                      <a:pt x="460" y="355"/>
                    </a:lnTo>
                    <a:lnTo>
                      <a:pt x="460" y="355"/>
                    </a:lnTo>
                    <a:lnTo>
                      <a:pt x="461" y="355"/>
                    </a:lnTo>
                    <a:lnTo>
                      <a:pt x="461" y="355"/>
                    </a:lnTo>
                    <a:lnTo>
                      <a:pt x="461" y="355"/>
                    </a:lnTo>
                    <a:lnTo>
                      <a:pt x="461" y="355"/>
                    </a:lnTo>
                    <a:lnTo>
                      <a:pt x="463" y="355"/>
                    </a:lnTo>
                    <a:lnTo>
                      <a:pt x="463" y="355"/>
                    </a:lnTo>
                    <a:lnTo>
                      <a:pt x="463" y="355"/>
                    </a:lnTo>
                    <a:lnTo>
                      <a:pt x="463" y="355"/>
                    </a:lnTo>
                    <a:lnTo>
                      <a:pt x="463" y="357"/>
                    </a:lnTo>
                    <a:lnTo>
                      <a:pt x="463" y="357"/>
                    </a:lnTo>
                    <a:lnTo>
                      <a:pt x="464" y="358"/>
                    </a:lnTo>
                    <a:lnTo>
                      <a:pt x="466" y="358"/>
                    </a:lnTo>
                    <a:lnTo>
                      <a:pt x="468" y="358"/>
                    </a:lnTo>
                    <a:lnTo>
                      <a:pt x="468" y="360"/>
                    </a:lnTo>
                    <a:lnTo>
                      <a:pt x="468" y="360"/>
                    </a:lnTo>
                    <a:lnTo>
                      <a:pt x="468" y="360"/>
                    </a:lnTo>
                    <a:lnTo>
                      <a:pt x="469" y="360"/>
                    </a:lnTo>
                    <a:lnTo>
                      <a:pt x="469" y="360"/>
                    </a:lnTo>
                    <a:lnTo>
                      <a:pt x="469" y="360"/>
                    </a:lnTo>
                    <a:lnTo>
                      <a:pt x="469" y="358"/>
                    </a:lnTo>
                    <a:lnTo>
                      <a:pt x="469" y="358"/>
                    </a:lnTo>
                    <a:lnTo>
                      <a:pt x="469" y="358"/>
                    </a:lnTo>
                    <a:lnTo>
                      <a:pt x="469" y="358"/>
                    </a:lnTo>
                    <a:lnTo>
                      <a:pt x="471" y="358"/>
                    </a:lnTo>
                    <a:lnTo>
                      <a:pt x="471" y="357"/>
                    </a:lnTo>
                    <a:lnTo>
                      <a:pt x="472" y="357"/>
                    </a:lnTo>
                    <a:lnTo>
                      <a:pt x="472" y="357"/>
                    </a:lnTo>
                    <a:lnTo>
                      <a:pt x="472" y="357"/>
                    </a:lnTo>
                    <a:lnTo>
                      <a:pt x="472" y="357"/>
                    </a:lnTo>
                    <a:lnTo>
                      <a:pt x="472" y="357"/>
                    </a:lnTo>
                    <a:lnTo>
                      <a:pt x="472" y="355"/>
                    </a:lnTo>
                    <a:lnTo>
                      <a:pt x="472" y="355"/>
                    </a:lnTo>
                    <a:lnTo>
                      <a:pt x="472" y="357"/>
                    </a:lnTo>
                    <a:lnTo>
                      <a:pt x="472" y="357"/>
                    </a:lnTo>
                    <a:lnTo>
                      <a:pt x="472" y="357"/>
                    </a:lnTo>
                    <a:lnTo>
                      <a:pt x="474" y="357"/>
                    </a:lnTo>
                    <a:lnTo>
                      <a:pt x="474" y="357"/>
                    </a:lnTo>
                    <a:lnTo>
                      <a:pt x="474" y="357"/>
                    </a:lnTo>
                    <a:lnTo>
                      <a:pt x="474" y="357"/>
                    </a:lnTo>
                    <a:lnTo>
                      <a:pt x="474" y="358"/>
                    </a:lnTo>
                    <a:lnTo>
                      <a:pt x="474" y="358"/>
                    </a:lnTo>
                    <a:lnTo>
                      <a:pt x="474" y="360"/>
                    </a:lnTo>
                    <a:lnTo>
                      <a:pt x="476" y="360"/>
                    </a:lnTo>
                    <a:lnTo>
                      <a:pt x="476" y="360"/>
                    </a:lnTo>
                    <a:lnTo>
                      <a:pt x="476" y="360"/>
                    </a:lnTo>
                    <a:lnTo>
                      <a:pt x="476" y="360"/>
                    </a:lnTo>
                    <a:lnTo>
                      <a:pt x="477" y="361"/>
                    </a:lnTo>
                    <a:lnTo>
                      <a:pt x="477" y="361"/>
                    </a:lnTo>
                    <a:lnTo>
                      <a:pt x="477" y="361"/>
                    </a:lnTo>
                    <a:lnTo>
                      <a:pt x="477" y="361"/>
                    </a:lnTo>
                    <a:lnTo>
                      <a:pt x="479" y="361"/>
                    </a:lnTo>
                    <a:lnTo>
                      <a:pt x="479" y="363"/>
                    </a:lnTo>
                    <a:lnTo>
                      <a:pt x="479" y="364"/>
                    </a:lnTo>
                    <a:lnTo>
                      <a:pt x="479" y="364"/>
                    </a:lnTo>
                    <a:lnTo>
                      <a:pt x="479" y="364"/>
                    </a:lnTo>
                    <a:lnTo>
                      <a:pt x="479" y="364"/>
                    </a:lnTo>
                    <a:lnTo>
                      <a:pt x="479" y="364"/>
                    </a:lnTo>
                    <a:lnTo>
                      <a:pt x="480" y="364"/>
                    </a:lnTo>
                    <a:lnTo>
                      <a:pt x="480" y="364"/>
                    </a:lnTo>
                    <a:lnTo>
                      <a:pt x="480" y="363"/>
                    </a:lnTo>
                    <a:lnTo>
                      <a:pt x="480" y="363"/>
                    </a:lnTo>
                    <a:lnTo>
                      <a:pt x="480" y="364"/>
                    </a:lnTo>
                    <a:lnTo>
                      <a:pt x="482" y="364"/>
                    </a:lnTo>
                    <a:lnTo>
                      <a:pt x="482" y="364"/>
                    </a:lnTo>
                    <a:lnTo>
                      <a:pt x="482" y="364"/>
                    </a:lnTo>
                    <a:lnTo>
                      <a:pt x="482" y="364"/>
                    </a:lnTo>
                    <a:lnTo>
                      <a:pt x="482" y="364"/>
                    </a:lnTo>
                    <a:lnTo>
                      <a:pt x="484" y="364"/>
                    </a:lnTo>
                    <a:lnTo>
                      <a:pt x="484" y="364"/>
                    </a:lnTo>
                    <a:lnTo>
                      <a:pt x="485" y="363"/>
                    </a:lnTo>
                    <a:lnTo>
                      <a:pt x="485" y="363"/>
                    </a:lnTo>
                    <a:lnTo>
                      <a:pt x="485" y="363"/>
                    </a:lnTo>
                    <a:lnTo>
                      <a:pt x="487" y="363"/>
                    </a:lnTo>
                    <a:lnTo>
                      <a:pt x="487" y="363"/>
                    </a:lnTo>
                    <a:lnTo>
                      <a:pt x="487" y="363"/>
                    </a:lnTo>
                    <a:lnTo>
                      <a:pt x="487" y="363"/>
                    </a:lnTo>
                    <a:lnTo>
                      <a:pt x="488" y="363"/>
                    </a:lnTo>
                    <a:lnTo>
                      <a:pt x="488" y="361"/>
                    </a:lnTo>
                    <a:lnTo>
                      <a:pt x="490" y="361"/>
                    </a:lnTo>
                    <a:lnTo>
                      <a:pt x="490" y="361"/>
                    </a:lnTo>
                    <a:lnTo>
                      <a:pt x="490" y="361"/>
                    </a:lnTo>
                    <a:lnTo>
                      <a:pt x="490" y="360"/>
                    </a:lnTo>
                    <a:lnTo>
                      <a:pt x="490" y="360"/>
                    </a:lnTo>
                    <a:lnTo>
                      <a:pt x="491" y="360"/>
                    </a:lnTo>
                    <a:lnTo>
                      <a:pt x="491" y="357"/>
                    </a:lnTo>
                    <a:lnTo>
                      <a:pt x="490" y="355"/>
                    </a:lnTo>
                    <a:lnTo>
                      <a:pt x="490" y="355"/>
                    </a:lnTo>
                    <a:lnTo>
                      <a:pt x="490" y="355"/>
                    </a:lnTo>
                    <a:lnTo>
                      <a:pt x="490" y="355"/>
                    </a:lnTo>
                    <a:lnTo>
                      <a:pt x="490" y="352"/>
                    </a:lnTo>
                    <a:lnTo>
                      <a:pt x="490" y="352"/>
                    </a:lnTo>
                    <a:lnTo>
                      <a:pt x="490" y="352"/>
                    </a:lnTo>
                    <a:lnTo>
                      <a:pt x="490" y="352"/>
                    </a:lnTo>
                    <a:lnTo>
                      <a:pt x="491" y="352"/>
                    </a:lnTo>
                    <a:lnTo>
                      <a:pt x="491" y="352"/>
                    </a:lnTo>
                    <a:lnTo>
                      <a:pt x="491" y="350"/>
                    </a:lnTo>
                    <a:lnTo>
                      <a:pt x="491" y="350"/>
                    </a:lnTo>
                    <a:lnTo>
                      <a:pt x="491" y="350"/>
                    </a:lnTo>
                    <a:lnTo>
                      <a:pt x="491" y="350"/>
                    </a:lnTo>
                    <a:lnTo>
                      <a:pt x="491" y="349"/>
                    </a:lnTo>
                    <a:lnTo>
                      <a:pt x="491" y="349"/>
                    </a:lnTo>
                    <a:lnTo>
                      <a:pt x="490" y="349"/>
                    </a:lnTo>
                    <a:lnTo>
                      <a:pt x="490" y="350"/>
                    </a:lnTo>
                    <a:lnTo>
                      <a:pt x="490" y="350"/>
                    </a:lnTo>
                    <a:lnTo>
                      <a:pt x="490" y="350"/>
                    </a:lnTo>
                    <a:lnTo>
                      <a:pt x="490" y="352"/>
                    </a:lnTo>
                    <a:lnTo>
                      <a:pt x="490" y="352"/>
                    </a:lnTo>
                    <a:lnTo>
                      <a:pt x="490" y="353"/>
                    </a:lnTo>
                    <a:lnTo>
                      <a:pt x="488" y="353"/>
                    </a:lnTo>
                    <a:lnTo>
                      <a:pt x="488" y="353"/>
                    </a:lnTo>
                    <a:lnTo>
                      <a:pt x="488" y="353"/>
                    </a:lnTo>
                    <a:lnTo>
                      <a:pt x="487" y="353"/>
                    </a:lnTo>
                    <a:lnTo>
                      <a:pt x="487" y="355"/>
                    </a:lnTo>
                    <a:lnTo>
                      <a:pt x="487" y="355"/>
                    </a:lnTo>
                    <a:lnTo>
                      <a:pt x="485" y="355"/>
                    </a:lnTo>
                    <a:lnTo>
                      <a:pt x="485" y="355"/>
                    </a:lnTo>
                    <a:lnTo>
                      <a:pt x="485" y="353"/>
                    </a:lnTo>
                    <a:lnTo>
                      <a:pt x="485" y="353"/>
                    </a:lnTo>
                    <a:lnTo>
                      <a:pt x="484" y="353"/>
                    </a:lnTo>
                    <a:lnTo>
                      <a:pt x="484" y="353"/>
                    </a:lnTo>
                    <a:lnTo>
                      <a:pt x="482" y="353"/>
                    </a:lnTo>
                    <a:lnTo>
                      <a:pt x="479" y="353"/>
                    </a:lnTo>
                    <a:lnTo>
                      <a:pt x="477" y="353"/>
                    </a:lnTo>
                    <a:lnTo>
                      <a:pt x="477" y="352"/>
                    </a:lnTo>
                    <a:lnTo>
                      <a:pt x="476" y="350"/>
                    </a:lnTo>
                    <a:lnTo>
                      <a:pt x="474" y="350"/>
                    </a:lnTo>
                    <a:lnTo>
                      <a:pt x="474" y="350"/>
                    </a:lnTo>
                    <a:lnTo>
                      <a:pt x="474" y="350"/>
                    </a:lnTo>
                    <a:lnTo>
                      <a:pt x="472" y="349"/>
                    </a:lnTo>
                    <a:lnTo>
                      <a:pt x="472" y="349"/>
                    </a:lnTo>
                    <a:lnTo>
                      <a:pt x="472" y="349"/>
                    </a:lnTo>
                    <a:lnTo>
                      <a:pt x="472" y="347"/>
                    </a:lnTo>
                    <a:lnTo>
                      <a:pt x="472" y="347"/>
                    </a:lnTo>
                    <a:lnTo>
                      <a:pt x="472" y="345"/>
                    </a:lnTo>
                    <a:lnTo>
                      <a:pt x="472" y="344"/>
                    </a:lnTo>
                    <a:lnTo>
                      <a:pt x="472" y="344"/>
                    </a:lnTo>
                    <a:lnTo>
                      <a:pt x="472" y="342"/>
                    </a:lnTo>
                    <a:lnTo>
                      <a:pt x="471" y="342"/>
                    </a:lnTo>
                    <a:lnTo>
                      <a:pt x="471" y="342"/>
                    </a:lnTo>
                    <a:lnTo>
                      <a:pt x="471" y="342"/>
                    </a:lnTo>
                    <a:lnTo>
                      <a:pt x="469" y="342"/>
                    </a:lnTo>
                    <a:lnTo>
                      <a:pt x="469" y="342"/>
                    </a:lnTo>
                    <a:lnTo>
                      <a:pt x="468" y="342"/>
                    </a:lnTo>
                    <a:lnTo>
                      <a:pt x="468" y="342"/>
                    </a:lnTo>
                    <a:lnTo>
                      <a:pt x="466" y="341"/>
                    </a:lnTo>
                    <a:lnTo>
                      <a:pt x="466" y="341"/>
                    </a:lnTo>
                    <a:lnTo>
                      <a:pt x="464" y="341"/>
                    </a:lnTo>
                    <a:lnTo>
                      <a:pt x="464" y="341"/>
                    </a:lnTo>
                    <a:lnTo>
                      <a:pt x="464" y="341"/>
                    </a:lnTo>
                    <a:lnTo>
                      <a:pt x="463" y="342"/>
                    </a:lnTo>
                    <a:lnTo>
                      <a:pt x="464" y="342"/>
                    </a:lnTo>
                    <a:lnTo>
                      <a:pt x="464" y="342"/>
                    </a:lnTo>
                    <a:lnTo>
                      <a:pt x="464" y="342"/>
                    </a:lnTo>
                    <a:lnTo>
                      <a:pt x="466" y="344"/>
                    </a:lnTo>
                    <a:lnTo>
                      <a:pt x="468" y="344"/>
                    </a:lnTo>
                    <a:lnTo>
                      <a:pt x="468" y="344"/>
                    </a:lnTo>
                    <a:lnTo>
                      <a:pt x="469" y="344"/>
                    </a:lnTo>
                    <a:lnTo>
                      <a:pt x="469" y="345"/>
                    </a:lnTo>
                    <a:lnTo>
                      <a:pt x="469" y="345"/>
                    </a:lnTo>
                    <a:lnTo>
                      <a:pt x="471" y="345"/>
                    </a:lnTo>
                    <a:lnTo>
                      <a:pt x="471" y="345"/>
                    </a:lnTo>
                    <a:lnTo>
                      <a:pt x="471" y="345"/>
                    </a:lnTo>
                    <a:lnTo>
                      <a:pt x="472" y="345"/>
                    </a:lnTo>
                    <a:lnTo>
                      <a:pt x="472" y="345"/>
                    </a:lnTo>
                    <a:lnTo>
                      <a:pt x="472" y="347"/>
                    </a:lnTo>
                    <a:lnTo>
                      <a:pt x="472" y="347"/>
                    </a:lnTo>
                    <a:lnTo>
                      <a:pt x="471" y="347"/>
                    </a:lnTo>
                    <a:lnTo>
                      <a:pt x="471" y="347"/>
                    </a:lnTo>
                    <a:lnTo>
                      <a:pt x="471" y="347"/>
                    </a:lnTo>
                    <a:lnTo>
                      <a:pt x="469" y="347"/>
                    </a:lnTo>
                    <a:lnTo>
                      <a:pt x="469" y="347"/>
                    </a:lnTo>
                    <a:lnTo>
                      <a:pt x="469" y="349"/>
                    </a:lnTo>
                    <a:lnTo>
                      <a:pt x="469" y="349"/>
                    </a:lnTo>
                    <a:lnTo>
                      <a:pt x="469" y="349"/>
                    </a:lnTo>
                    <a:lnTo>
                      <a:pt x="468" y="349"/>
                    </a:lnTo>
                    <a:lnTo>
                      <a:pt x="468" y="349"/>
                    </a:lnTo>
                    <a:lnTo>
                      <a:pt x="468" y="350"/>
                    </a:lnTo>
                    <a:lnTo>
                      <a:pt x="466" y="350"/>
                    </a:lnTo>
                    <a:lnTo>
                      <a:pt x="466" y="349"/>
                    </a:lnTo>
                    <a:lnTo>
                      <a:pt x="464" y="349"/>
                    </a:lnTo>
                    <a:lnTo>
                      <a:pt x="464" y="349"/>
                    </a:lnTo>
                    <a:lnTo>
                      <a:pt x="464" y="349"/>
                    </a:lnTo>
                    <a:lnTo>
                      <a:pt x="464" y="349"/>
                    </a:lnTo>
                    <a:lnTo>
                      <a:pt x="463" y="349"/>
                    </a:lnTo>
                    <a:lnTo>
                      <a:pt x="463" y="347"/>
                    </a:lnTo>
                    <a:lnTo>
                      <a:pt x="463" y="347"/>
                    </a:lnTo>
                    <a:lnTo>
                      <a:pt x="463" y="349"/>
                    </a:lnTo>
                    <a:lnTo>
                      <a:pt x="463" y="349"/>
                    </a:lnTo>
                    <a:lnTo>
                      <a:pt x="463" y="350"/>
                    </a:lnTo>
                    <a:lnTo>
                      <a:pt x="463" y="350"/>
                    </a:lnTo>
                    <a:lnTo>
                      <a:pt x="463" y="350"/>
                    </a:lnTo>
                    <a:lnTo>
                      <a:pt x="463" y="350"/>
                    </a:lnTo>
                    <a:lnTo>
                      <a:pt x="463" y="353"/>
                    </a:lnTo>
                    <a:lnTo>
                      <a:pt x="461" y="353"/>
                    </a:lnTo>
                    <a:lnTo>
                      <a:pt x="461" y="353"/>
                    </a:lnTo>
                    <a:lnTo>
                      <a:pt x="461" y="352"/>
                    </a:lnTo>
                    <a:lnTo>
                      <a:pt x="461" y="352"/>
                    </a:lnTo>
                    <a:lnTo>
                      <a:pt x="461" y="352"/>
                    </a:lnTo>
                    <a:lnTo>
                      <a:pt x="461" y="350"/>
                    </a:lnTo>
                    <a:lnTo>
                      <a:pt x="460" y="350"/>
                    </a:lnTo>
                    <a:lnTo>
                      <a:pt x="460" y="350"/>
                    </a:lnTo>
                    <a:lnTo>
                      <a:pt x="460" y="349"/>
                    </a:lnTo>
                    <a:lnTo>
                      <a:pt x="460" y="349"/>
                    </a:lnTo>
                    <a:lnTo>
                      <a:pt x="460" y="349"/>
                    </a:lnTo>
                    <a:lnTo>
                      <a:pt x="460" y="347"/>
                    </a:lnTo>
                    <a:lnTo>
                      <a:pt x="460" y="347"/>
                    </a:lnTo>
                    <a:lnTo>
                      <a:pt x="458" y="347"/>
                    </a:lnTo>
                    <a:lnTo>
                      <a:pt x="458" y="345"/>
                    </a:lnTo>
                    <a:lnTo>
                      <a:pt x="458" y="345"/>
                    </a:lnTo>
                    <a:lnTo>
                      <a:pt x="458" y="345"/>
                    </a:lnTo>
                    <a:lnTo>
                      <a:pt x="457" y="345"/>
                    </a:lnTo>
                    <a:lnTo>
                      <a:pt x="457" y="344"/>
                    </a:lnTo>
                    <a:lnTo>
                      <a:pt x="457" y="344"/>
                    </a:lnTo>
                    <a:lnTo>
                      <a:pt x="455" y="344"/>
                    </a:lnTo>
                    <a:lnTo>
                      <a:pt x="455" y="344"/>
                    </a:lnTo>
                    <a:lnTo>
                      <a:pt x="455" y="344"/>
                    </a:lnTo>
                    <a:lnTo>
                      <a:pt x="455" y="344"/>
                    </a:lnTo>
                    <a:lnTo>
                      <a:pt x="453" y="345"/>
                    </a:lnTo>
                    <a:lnTo>
                      <a:pt x="453" y="345"/>
                    </a:lnTo>
                    <a:lnTo>
                      <a:pt x="453" y="345"/>
                    </a:lnTo>
                    <a:lnTo>
                      <a:pt x="453" y="345"/>
                    </a:lnTo>
                    <a:lnTo>
                      <a:pt x="453" y="345"/>
                    </a:lnTo>
                    <a:lnTo>
                      <a:pt x="452" y="345"/>
                    </a:lnTo>
                    <a:lnTo>
                      <a:pt x="450" y="347"/>
                    </a:lnTo>
                    <a:lnTo>
                      <a:pt x="450" y="347"/>
                    </a:lnTo>
                    <a:lnTo>
                      <a:pt x="450" y="347"/>
                    </a:lnTo>
                    <a:lnTo>
                      <a:pt x="449" y="347"/>
                    </a:lnTo>
                    <a:lnTo>
                      <a:pt x="449" y="349"/>
                    </a:lnTo>
                    <a:lnTo>
                      <a:pt x="449" y="349"/>
                    </a:lnTo>
                    <a:lnTo>
                      <a:pt x="449" y="349"/>
                    </a:lnTo>
                    <a:lnTo>
                      <a:pt x="449" y="349"/>
                    </a:lnTo>
                    <a:close/>
                    <a:moveTo>
                      <a:pt x="444" y="369"/>
                    </a:moveTo>
                    <a:lnTo>
                      <a:pt x="444" y="368"/>
                    </a:lnTo>
                    <a:lnTo>
                      <a:pt x="444" y="368"/>
                    </a:lnTo>
                    <a:lnTo>
                      <a:pt x="444" y="368"/>
                    </a:lnTo>
                    <a:lnTo>
                      <a:pt x="445" y="368"/>
                    </a:lnTo>
                    <a:lnTo>
                      <a:pt x="445" y="368"/>
                    </a:lnTo>
                    <a:lnTo>
                      <a:pt x="445" y="368"/>
                    </a:lnTo>
                    <a:lnTo>
                      <a:pt x="445" y="368"/>
                    </a:lnTo>
                    <a:lnTo>
                      <a:pt x="445" y="366"/>
                    </a:lnTo>
                    <a:lnTo>
                      <a:pt x="445" y="366"/>
                    </a:lnTo>
                    <a:lnTo>
                      <a:pt x="445" y="364"/>
                    </a:lnTo>
                    <a:lnTo>
                      <a:pt x="445" y="364"/>
                    </a:lnTo>
                    <a:lnTo>
                      <a:pt x="445" y="364"/>
                    </a:lnTo>
                    <a:lnTo>
                      <a:pt x="445" y="363"/>
                    </a:lnTo>
                    <a:lnTo>
                      <a:pt x="445" y="363"/>
                    </a:lnTo>
                    <a:lnTo>
                      <a:pt x="444" y="363"/>
                    </a:lnTo>
                    <a:lnTo>
                      <a:pt x="445" y="361"/>
                    </a:lnTo>
                    <a:lnTo>
                      <a:pt x="444" y="361"/>
                    </a:lnTo>
                    <a:lnTo>
                      <a:pt x="444" y="361"/>
                    </a:lnTo>
                    <a:lnTo>
                      <a:pt x="444" y="361"/>
                    </a:lnTo>
                    <a:lnTo>
                      <a:pt x="444" y="360"/>
                    </a:lnTo>
                    <a:lnTo>
                      <a:pt x="442" y="360"/>
                    </a:lnTo>
                    <a:lnTo>
                      <a:pt x="442" y="360"/>
                    </a:lnTo>
                    <a:lnTo>
                      <a:pt x="442" y="358"/>
                    </a:lnTo>
                    <a:lnTo>
                      <a:pt x="439" y="358"/>
                    </a:lnTo>
                    <a:lnTo>
                      <a:pt x="438" y="360"/>
                    </a:lnTo>
                    <a:lnTo>
                      <a:pt x="438" y="360"/>
                    </a:lnTo>
                    <a:lnTo>
                      <a:pt x="436" y="358"/>
                    </a:lnTo>
                    <a:lnTo>
                      <a:pt x="436" y="358"/>
                    </a:lnTo>
                    <a:lnTo>
                      <a:pt x="436" y="358"/>
                    </a:lnTo>
                    <a:lnTo>
                      <a:pt x="434" y="358"/>
                    </a:lnTo>
                    <a:lnTo>
                      <a:pt x="434" y="360"/>
                    </a:lnTo>
                    <a:lnTo>
                      <a:pt x="434" y="360"/>
                    </a:lnTo>
                    <a:lnTo>
                      <a:pt x="436" y="360"/>
                    </a:lnTo>
                    <a:lnTo>
                      <a:pt x="436" y="360"/>
                    </a:lnTo>
                    <a:lnTo>
                      <a:pt x="436" y="360"/>
                    </a:lnTo>
                    <a:lnTo>
                      <a:pt x="436" y="361"/>
                    </a:lnTo>
                    <a:lnTo>
                      <a:pt x="438" y="361"/>
                    </a:lnTo>
                    <a:lnTo>
                      <a:pt x="438" y="361"/>
                    </a:lnTo>
                    <a:lnTo>
                      <a:pt x="438" y="363"/>
                    </a:lnTo>
                    <a:lnTo>
                      <a:pt x="439" y="363"/>
                    </a:lnTo>
                    <a:lnTo>
                      <a:pt x="441" y="364"/>
                    </a:lnTo>
                    <a:lnTo>
                      <a:pt x="441" y="364"/>
                    </a:lnTo>
                    <a:lnTo>
                      <a:pt x="441" y="366"/>
                    </a:lnTo>
                    <a:lnTo>
                      <a:pt x="442" y="366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4" y="368"/>
                    </a:lnTo>
                    <a:lnTo>
                      <a:pt x="444" y="368"/>
                    </a:lnTo>
                    <a:lnTo>
                      <a:pt x="444" y="369"/>
                    </a:lnTo>
                    <a:close/>
                    <a:moveTo>
                      <a:pt x="444" y="406"/>
                    </a:moveTo>
                    <a:lnTo>
                      <a:pt x="433" y="401"/>
                    </a:lnTo>
                    <a:lnTo>
                      <a:pt x="423" y="396"/>
                    </a:lnTo>
                    <a:lnTo>
                      <a:pt x="422" y="395"/>
                    </a:lnTo>
                    <a:lnTo>
                      <a:pt x="418" y="393"/>
                    </a:lnTo>
                    <a:lnTo>
                      <a:pt x="417" y="393"/>
                    </a:lnTo>
                    <a:lnTo>
                      <a:pt x="417" y="393"/>
                    </a:lnTo>
                    <a:lnTo>
                      <a:pt x="417" y="391"/>
                    </a:lnTo>
                    <a:lnTo>
                      <a:pt x="418" y="391"/>
                    </a:lnTo>
                    <a:lnTo>
                      <a:pt x="418" y="391"/>
                    </a:lnTo>
                    <a:lnTo>
                      <a:pt x="418" y="391"/>
                    </a:lnTo>
                    <a:lnTo>
                      <a:pt x="418" y="390"/>
                    </a:lnTo>
                    <a:lnTo>
                      <a:pt x="418" y="390"/>
                    </a:lnTo>
                    <a:lnTo>
                      <a:pt x="418" y="390"/>
                    </a:lnTo>
                    <a:lnTo>
                      <a:pt x="418" y="390"/>
                    </a:lnTo>
                    <a:lnTo>
                      <a:pt x="420" y="388"/>
                    </a:lnTo>
                    <a:lnTo>
                      <a:pt x="422" y="388"/>
                    </a:lnTo>
                    <a:lnTo>
                      <a:pt x="422" y="388"/>
                    </a:lnTo>
                    <a:lnTo>
                      <a:pt x="422" y="387"/>
                    </a:lnTo>
                    <a:lnTo>
                      <a:pt x="422" y="387"/>
                    </a:lnTo>
                    <a:lnTo>
                      <a:pt x="423" y="387"/>
                    </a:lnTo>
                    <a:lnTo>
                      <a:pt x="423" y="387"/>
                    </a:lnTo>
                    <a:lnTo>
                      <a:pt x="423" y="387"/>
                    </a:lnTo>
                    <a:lnTo>
                      <a:pt x="423" y="385"/>
                    </a:lnTo>
                    <a:lnTo>
                      <a:pt x="423" y="383"/>
                    </a:lnTo>
                    <a:lnTo>
                      <a:pt x="423" y="382"/>
                    </a:lnTo>
                    <a:lnTo>
                      <a:pt x="422" y="382"/>
                    </a:lnTo>
                    <a:lnTo>
                      <a:pt x="422" y="380"/>
                    </a:lnTo>
                    <a:lnTo>
                      <a:pt x="423" y="380"/>
                    </a:lnTo>
                    <a:lnTo>
                      <a:pt x="423" y="379"/>
                    </a:lnTo>
                    <a:lnTo>
                      <a:pt x="423" y="379"/>
                    </a:lnTo>
                    <a:lnTo>
                      <a:pt x="423" y="380"/>
                    </a:lnTo>
                    <a:lnTo>
                      <a:pt x="423" y="380"/>
                    </a:lnTo>
                    <a:lnTo>
                      <a:pt x="425" y="380"/>
                    </a:lnTo>
                    <a:lnTo>
                      <a:pt x="425" y="382"/>
                    </a:lnTo>
                    <a:lnTo>
                      <a:pt x="425" y="383"/>
                    </a:lnTo>
                    <a:lnTo>
                      <a:pt x="425" y="383"/>
                    </a:lnTo>
                    <a:lnTo>
                      <a:pt x="425" y="383"/>
                    </a:lnTo>
                    <a:lnTo>
                      <a:pt x="426" y="383"/>
                    </a:lnTo>
                    <a:lnTo>
                      <a:pt x="426" y="383"/>
                    </a:lnTo>
                    <a:lnTo>
                      <a:pt x="426" y="383"/>
                    </a:lnTo>
                    <a:lnTo>
                      <a:pt x="426" y="383"/>
                    </a:lnTo>
                    <a:lnTo>
                      <a:pt x="426" y="382"/>
                    </a:lnTo>
                    <a:lnTo>
                      <a:pt x="426" y="380"/>
                    </a:lnTo>
                    <a:lnTo>
                      <a:pt x="426" y="379"/>
                    </a:lnTo>
                    <a:lnTo>
                      <a:pt x="425" y="377"/>
                    </a:lnTo>
                    <a:lnTo>
                      <a:pt x="426" y="377"/>
                    </a:lnTo>
                    <a:lnTo>
                      <a:pt x="426" y="377"/>
                    </a:lnTo>
                    <a:lnTo>
                      <a:pt x="428" y="379"/>
                    </a:lnTo>
                    <a:lnTo>
                      <a:pt x="430" y="380"/>
                    </a:lnTo>
                    <a:lnTo>
                      <a:pt x="430" y="380"/>
                    </a:lnTo>
                    <a:lnTo>
                      <a:pt x="430" y="382"/>
                    </a:lnTo>
                    <a:lnTo>
                      <a:pt x="430" y="382"/>
                    </a:lnTo>
                    <a:lnTo>
                      <a:pt x="430" y="382"/>
                    </a:lnTo>
                    <a:lnTo>
                      <a:pt x="431" y="383"/>
                    </a:lnTo>
                    <a:lnTo>
                      <a:pt x="431" y="383"/>
                    </a:lnTo>
                    <a:lnTo>
                      <a:pt x="431" y="385"/>
                    </a:lnTo>
                    <a:lnTo>
                      <a:pt x="433" y="385"/>
                    </a:lnTo>
                    <a:lnTo>
                      <a:pt x="433" y="383"/>
                    </a:lnTo>
                    <a:lnTo>
                      <a:pt x="433" y="385"/>
                    </a:lnTo>
                    <a:lnTo>
                      <a:pt x="433" y="385"/>
                    </a:lnTo>
                    <a:lnTo>
                      <a:pt x="434" y="385"/>
                    </a:lnTo>
                    <a:lnTo>
                      <a:pt x="434" y="385"/>
                    </a:lnTo>
                    <a:lnTo>
                      <a:pt x="436" y="385"/>
                    </a:lnTo>
                    <a:lnTo>
                      <a:pt x="436" y="388"/>
                    </a:lnTo>
                    <a:lnTo>
                      <a:pt x="436" y="388"/>
                    </a:lnTo>
                    <a:lnTo>
                      <a:pt x="436" y="388"/>
                    </a:lnTo>
                    <a:lnTo>
                      <a:pt x="436" y="388"/>
                    </a:lnTo>
                    <a:lnTo>
                      <a:pt x="436" y="388"/>
                    </a:lnTo>
                    <a:lnTo>
                      <a:pt x="438" y="388"/>
                    </a:lnTo>
                    <a:lnTo>
                      <a:pt x="438" y="388"/>
                    </a:lnTo>
                    <a:lnTo>
                      <a:pt x="438" y="388"/>
                    </a:lnTo>
                    <a:lnTo>
                      <a:pt x="438" y="388"/>
                    </a:lnTo>
                    <a:lnTo>
                      <a:pt x="438" y="388"/>
                    </a:lnTo>
                    <a:lnTo>
                      <a:pt x="438" y="388"/>
                    </a:lnTo>
                    <a:lnTo>
                      <a:pt x="438" y="390"/>
                    </a:lnTo>
                    <a:lnTo>
                      <a:pt x="439" y="391"/>
                    </a:lnTo>
                    <a:lnTo>
                      <a:pt x="439" y="391"/>
                    </a:lnTo>
                    <a:lnTo>
                      <a:pt x="439" y="393"/>
                    </a:lnTo>
                    <a:lnTo>
                      <a:pt x="439" y="393"/>
                    </a:lnTo>
                    <a:lnTo>
                      <a:pt x="439" y="395"/>
                    </a:lnTo>
                    <a:lnTo>
                      <a:pt x="439" y="396"/>
                    </a:lnTo>
                    <a:lnTo>
                      <a:pt x="441" y="396"/>
                    </a:lnTo>
                    <a:lnTo>
                      <a:pt x="441" y="398"/>
                    </a:lnTo>
                    <a:lnTo>
                      <a:pt x="441" y="398"/>
                    </a:lnTo>
                    <a:lnTo>
                      <a:pt x="441" y="398"/>
                    </a:lnTo>
                    <a:lnTo>
                      <a:pt x="441" y="399"/>
                    </a:lnTo>
                    <a:lnTo>
                      <a:pt x="442" y="399"/>
                    </a:lnTo>
                    <a:lnTo>
                      <a:pt x="442" y="399"/>
                    </a:lnTo>
                    <a:lnTo>
                      <a:pt x="442" y="399"/>
                    </a:lnTo>
                    <a:lnTo>
                      <a:pt x="442" y="399"/>
                    </a:lnTo>
                    <a:lnTo>
                      <a:pt x="442" y="398"/>
                    </a:lnTo>
                    <a:lnTo>
                      <a:pt x="442" y="399"/>
                    </a:lnTo>
                    <a:lnTo>
                      <a:pt x="444" y="399"/>
                    </a:lnTo>
                    <a:lnTo>
                      <a:pt x="444" y="402"/>
                    </a:lnTo>
                    <a:lnTo>
                      <a:pt x="442" y="402"/>
                    </a:lnTo>
                    <a:lnTo>
                      <a:pt x="442" y="402"/>
                    </a:lnTo>
                    <a:lnTo>
                      <a:pt x="444" y="404"/>
                    </a:lnTo>
                    <a:lnTo>
                      <a:pt x="444" y="404"/>
                    </a:lnTo>
                    <a:lnTo>
                      <a:pt x="444" y="404"/>
                    </a:lnTo>
                    <a:lnTo>
                      <a:pt x="444" y="406"/>
                    </a:lnTo>
                    <a:close/>
                    <a:moveTo>
                      <a:pt x="436" y="388"/>
                    </a:moveTo>
                    <a:lnTo>
                      <a:pt x="436" y="390"/>
                    </a:lnTo>
                    <a:lnTo>
                      <a:pt x="436" y="390"/>
                    </a:lnTo>
                    <a:lnTo>
                      <a:pt x="436" y="391"/>
                    </a:lnTo>
                    <a:lnTo>
                      <a:pt x="436" y="391"/>
                    </a:lnTo>
                    <a:lnTo>
                      <a:pt x="436" y="393"/>
                    </a:lnTo>
                    <a:lnTo>
                      <a:pt x="436" y="393"/>
                    </a:lnTo>
                    <a:lnTo>
                      <a:pt x="438" y="395"/>
                    </a:lnTo>
                    <a:lnTo>
                      <a:pt x="438" y="396"/>
                    </a:lnTo>
                    <a:lnTo>
                      <a:pt x="438" y="396"/>
                    </a:lnTo>
                    <a:lnTo>
                      <a:pt x="438" y="396"/>
                    </a:lnTo>
                    <a:lnTo>
                      <a:pt x="438" y="395"/>
                    </a:lnTo>
                    <a:lnTo>
                      <a:pt x="438" y="395"/>
                    </a:lnTo>
                    <a:lnTo>
                      <a:pt x="438" y="393"/>
                    </a:lnTo>
                    <a:lnTo>
                      <a:pt x="438" y="393"/>
                    </a:lnTo>
                    <a:lnTo>
                      <a:pt x="436" y="393"/>
                    </a:lnTo>
                    <a:lnTo>
                      <a:pt x="436" y="391"/>
                    </a:lnTo>
                    <a:lnTo>
                      <a:pt x="438" y="391"/>
                    </a:lnTo>
                    <a:lnTo>
                      <a:pt x="438" y="391"/>
                    </a:lnTo>
                    <a:lnTo>
                      <a:pt x="438" y="390"/>
                    </a:lnTo>
                    <a:lnTo>
                      <a:pt x="438" y="390"/>
                    </a:lnTo>
                    <a:lnTo>
                      <a:pt x="436" y="390"/>
                    </a:lnTo>
                    <a:lnTo>
                      <a:pt x="436" y="390"/>
                    </a:lnTo>
                    <a:lnTo>
                      <a:pt x="436" y="388"/>
                    </a:lnTo>
                    <a:lnTo>
                      <a:pt x="436" y="38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grpSp>
            <p:nvGrpSpPr>
              <p:cNvPr id="730" name="Group 377"/>
              <p:cNvGrpSpPr>
                <a:grpSpLocks/>
              </p:cNvGrpSpPr>
              <p:nvPr/>
            </p:nvGrpSpPr>
            <p:grpSpPr bwMode="auto">
              <a:xfrm>
                <a:off x="4802765" y="2609103"/>
                <a:ext cx="505541" cy="194804"/>
                <a:chOff x="3041" y="1629"/>
                <a:chExt cx="325" cy="129"/>
              </a:xfrm>
              <a:grpFill/>
            </p:grpSpPr>
            <p:sp>
              <p:nvSpPr>
                <p:cNvPr id="749" name="Freeform 378"/>
                <p:cNvSpPr>
                  <a:spLocks/>
                </p:cNvSpPr>
                <p:nvPr/>
              </p:nvSpPr>
              <p:spPr bwMode="auto">
                <a:xfrm>
                  <a:off x="3048" y="1630"/>
                  <a:ext cx="318" cy="128"/>
                </a:xfrm>
                <a:custGeom>
                  <a:avLst/>
                  <a:gdLst>
                    <a:gd name="T0" fmla="*/ 6 w 638"/>
                    <a:gd name="T1" fmla="*/ 84 h 256"/>
                    <a:gd name="T2" fmla="*/ 33 w 638"/>
                    <a:gd name="T3" fmla="*/ 67 h 256"/>
                    <a:gd name="T4" fmla="*/ 56 w 638"/>
                    <a:gd name="T5" fmla="*/ 69 h 256"/>
                    <a:gd name="T6" fmla="*/ 83 w 638"/>
                    <a:gd name="T7" fmla="*/ 70 h 256"/>
                    <a:gd name="T8" fmla="*/ 90 w 638"/>
                    <a:gd name="T9" fmla="*/ 64 h 256"/>
                    <a:gd name="T10" fmla="*/ 116 w 638"/>
                    <a:gd name="T11" fmla="*/ 53 h 256"/>
                    <a:gd name="T12" fmla="*/ 95 w 638"/>
                    <a:gd name="T13" fmla="*/ 37 h 256"/>
                    <a:gd name="T14" fmla="*/ 159 w 638"/>
                    <a:gd name="T15" fmla="*/ 42 h 256"/>
                    <a:gd name="T16" fmla="*/ 194 w 638"/>
                    <a:gd name="T17" fmla="*/ 21 h 256"/>
                    <a:gd name="T18" fmla="*/ 262 w 638"/>
                    <a:gd name="T19" fmla="*/ 5 h 256"/>
                    <a:gd name="T20" fmla="*/ 290 w 638"/>
                    <a:gd name="T21" fmla="*/ 2 h 256"/>
                    <a:gd name="T22" fmla="*/ 313 w 638"/>
                    <a:gd name="T23" fmla="*/ 18 h 256"/>
                    <a:gd name="T24" fmla="*/ 330 w 638"/>
                    <a:gd name="T25" fmla="*/ 27 h 256"/>
                    <a:gd name="T26" fmla="*/ 362 w 638"/>
                    <a:gd name="T27" fmla="*/ 38 h 256"/>
                    <a:gd name="T28" fmla="*/ 397 w 638"/>
                    <a:gd name="T29" fmla="*/ 46 h 256"/>
                    <a:gd name="T30" fmla="*/ 441 w 638"/>
                    <a:gd name="T31" fmla="*/ 40 h 256"/>
                    <a:gd name="T32" fmla="*/ 466 w 638"/>
                    <a:gd name="T33" fmla="*/ 46 h 256"/>
                    <a:gd name="T34" fmla="*/ 496 w 638"/>
                    <a:gd name="T35" fmla="*/ 30 h 256"/>
                    <a:gd name="T36" fmla="*/ 527 w 638"/>
                    <a:gd name="T37" fmla="*/ 24 h 256"/>
                    <a:gd name="T38" fmla="*/ 547 w 638"/>
                    <a:gd name="T39" fmla="*/ 21 h 256"/>
                    <a:gd name="T40" fmla="*/ 565 w 638"/>
                    <a:gd name="T41" fmla="*/ 37 h 256"/>
                    <a:gd name="T42" fmla="*/ 584 w 638"/>
                    <a:gd name="T43" fmla="*/ 56 h 256"/>
                    <a:gd name="T44" fmla="*/ 584 w 638"/>
                    <a:gd name="T45" fmla="*/ 80 h 256"/>
                    <a:gd name="T46" fmla="*/ 620 w 638"/>
                    <a:gd name="T47" fmla="*/ 92 h 256"/>
                    <a:gd name="T48" fmla="*/ 614 w 638"/>
                    <a:gd name="T49" fmla="*/ 102 h 256"/>
                    <a:gd name="T50" fmla="*/ 609 w 638"/>
                    <a:gd name="T51" fmla="*/ 121 h 256"/>
                    <a:gd name="T52" fmla="*/ 615 w 638"/>
                    <a:gd name="T53" fmla="*/ 146 h 256"/>
                    <a:gd name="T54" fmla="*/ 615 w 638"/>
                    <a:gd name="T55" fmla="*/ 170 h 256"/>
                    <a:gd name="T56" fmla="*/ 634 w 638"/>
                    <a:gd name="T57" fmla="*/ 191 h 256"/>
                    <a:gd name="T58" fmla="*/ 620 w 638"/>
                    <a:gd name="T59" fmla="*/ 205 h 256"/>
                    <a:gd name="T60" fmla="*/ 596 w 638"/>
                    <a:gd name="T61" fmla="*/ 197 h 256"/>
                    <a:gd name="T62" fmla="*/ 568 w 638"/>
                    <a:gd name="T63" fmla="*/ 194 h 256"/>
                    <a:gd name="T64" fmla="*/ 547 w 638"/>
                    <a:gd name="T65" fmla="*/ 197 h 256"/>
                    <a:gd name="T66" fmla="*/ 481 w 638"/>
                    <a:gd name="T67" fmla="*/ 213 h 256"/>
                    <a:gd name="T68" fmla="*/ 436 w 638"/>
                    <a:gd name="T69" fmla="*/ 219 h 256"/>
                    <a:gd name="T70" fmla="*/ 411 w 638"/>
                    <a:gd name="T71" fmla="*/ 214 h 256"/>
                    <a:gd name="T72" fmla="*/ 381 w 638"/>
                    <a:gd name="T73" fmla="*/ 222 h 256"/>
                    <a:gd name="T74" fmla="*/ 363 w 638"/>
                    <a:gd name="T75" fmla="*/ 221 h 256"/>
                    <a:gd name="T76" fmla="*/ 363 w 638"/>
                    <a:gd name="T77" fmla="*/ 238 h 256"/>
                    <a:gd name="T78" fmla="*/ 352 w 638"/>
                    <a:gd name="T79" fmla="*/ 252 h 256"/>
                    <a:gd name="T80" fmla="*/ 338 w 638"/>
                    <a:gd name="T81" fmla="*/ 235 h 256"/>
                    <a:gd name="T82" fmla="*/ 341 w 638"/>
                    <a:gd name="T83" fmla="*/ 213 h 256"/>
                    <a:gd name="T84" fmla="*/ 324 w 638"/>
                    <a:gd name="T85" fmla="*/ 224 h 256"/>
                    <a:gd name="T86" fmla="*/ 297 w 638"/>
                    <a:gd name="T87" fmla="*/ 216 h 256"/>
                    <a:gd name="T88" fmla="*/ 276 w 638"/>
                    <a:gd name="T89" fmla="*/ 238 h 256"/>
                    <a:gd name="T90" fmla="*/ 247 w 638"/>
                    <a:gd name="T91" fmla="*/ 245 h 256"/>
                    <a:gd name="T92" fmla="*/ 208 w 638"/>
                    <a:gd name="T93" fmla="*/ 226 h 256"/>
                    <a:gd name="T94" fmla="*/ 160 w 638"/>
                    <a:gd name="T95" fmla="*/ 218 h 256"/>
                    <a:gd name="T96" fmla="*/ 149 w 638"/>
                    <a:gd name="T97" fmla="*/ 235 h 256"/>
                    <a:gd name="T98" fmla="*/ 121 w 638"/>
                    <a:gd name="T99" fmla="*/ 237 h 256"/>
                    <a:gd name="T100" fmla="*/ 103 w 638"/>
                    <a:gd name="T101" fmla="*/ 218 h 256"/>
                    <a:gd name="T102" fmla="*/ 86 w 638"/>
                    <a:gd name="T103" fmla="*/ 214 h 256"/>
                    <a:gd name="T104" fmla="*/ 73 w 638"/>
                    <a:gd name="T105" fmla="*/ 218 h 256"/>
                    <a:gd name="T106" fmla="*/ 60 w 638"/>
                    <a:gd name="T107" fmla="*/ 216 h 256"/>
                    <a:gd name="T108" fmla="*/ 70 w 638"/>
                    <a:gd name="T109" fmla="*/ 207 h 256"/>
                    <a:gd name="T110" fmla="*/ 57 w 638"/>
                    <a:gd name="T111" fmla="*/ 202 h 256"/>
                    <a:gd name="T112" fmla="*/ 44 w 638"/>
                    <a:gd name="T113" fmla="*/ 187 h 256"/>
                    <a:gd name="T114" fmla="*/ 41 w 638"/>
                    <a:gd name="T115" fmla="*/ 167 h 256"/>
                    <a:gd name="T116" fmla="*/ 13 w 638"/>
                    <a:gd name="T117" fmla="*/ 157 h 256"/>
                    <a:gd name="T118" fmla="*/ 22 w 638"/>
                    <a:gd name="T119" fmla="*/ 145 h 256"/>
                    <a:gd name="T120" fmla="*/ 38 w 638"/>
                    <a:gd name="T121" fmla="*/ 148 h 256"/>
                    <a:gd name="T122" fmla="*/ 35 w 638"/>
                    <a:gd name="T123" fmla="*/ 132 h 256"/>
                    <a:gd name="T124" fmla="*/ 24 w 638"/>
                    <a:gd name="T125" fmla="*/ 111 h 2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638" h="256">
                      <a:moveTo>
                        <a:pt x="0" y="107"/>
                      </a:moveTo>
                      <a:lnTo>
                        <a:pt x="2" y="103"/>
                      </a:lnTo>
                      <a:lnTo>
                        <a:pt x="3" y="100"/>
                      </a:lnTo>
                      <a:lnTo>
                        <a:pt x="3" y="96"/>
                      </a:lnTo>
                      <a:lnTo>
                        <a:pt x="3" y="92"/>
                      </a:lnTo>
                      <a:lnTo>
                        <a:pt x="3" y="89"/>
                      </a:lnTo>
                      <a:lnTo>
                        <a:pt x="3" y="86"/>
                      </a:lnTo>
                      <a:lnTo>
                        <a:pt x="3" y="84"/>
                      </a:lnTo>
                      <a:lnTo>
                        <a:pt x="6" y="84"/>
                      </a:lnTo>
                      <a:lnTo>
                        <a:pt x="10" y="81"/>
                      </a:lnTo>
                      <a:lnTo>
                        <a:pt x="10" y="78"/>
                      </a:lnTo>
                      <a:lnTo>
                        <a:pt x="13" y="76"/>
                      </a:lnTo>
                      <a:lnTo>
                        <a:pt x="18" y="73"/>
                      </a:lnTo>
                      <a:lnTo>
                        <a:pt x="19" y="69"/>
                      </a:lnTo>
                      <a:lnTo>
                        <a:pt x="22" y="69"/>
                      </a:lnTo>
                      <a:lnTo>
                        <a:pt x="27" y="69"/>
                      </a:lnTo>
                      <a:lnTo>
                        <a:pt x="30" y="69"/>
                      </a:lnTo>
                      <a:lnTo>
                        <a:pt x="33" y="67"/>
                      </a:lnTo>
                      <a:lnTo>
                        <a:pt x="37" y="67"/>
                      </a:lnTo>
                      <a:lnTo>
                        <a:pt x="40" y="69"/>
                      </a:lnTo>
                      <a:lnTo>
                        <a:pt x="40" y="69"/>
                      </a:lnTo>
                      <a:lnTo>
                        <a:pt x="43" y="72"/>
                      </a:lnTo>
                      <a:lnTo>
                        <a:pt x="46" y="72"/>
                      </a:lnTo>
                      <a:lnTo>
                        <a:pt x="49" y="72"/>
                      </a:lnTo>
                      <a:lnTo>
                        <a:pt x="52" y="72"/>
                      </a:lnTo>
                      <a:lnTo>
                        <a:pt x="56" y="72"/>
                      </a:lnTo>
                      <a:lnTo>
                        <a:pt x="56" y="69"/>
                      </a:lnTo>
                      <a:lnTo>
                        <a:pt x="52" y="65"/>
                      </a:lnTo>
                      <a:lnTo>
                        <a:pt x="56" y="64"/>
                      </a:lnTo>
                      <a:lnTo>
                        <a:pt x="59" y="64"/>
                      </a:lnTo>
                      <a:lnTo>
                        <a:pt x="62" y="65"/>
                      </a:lnTo>
                      <a:lnTo>
                        <a:pt x="60" y="69"/>
                      </a:lnTo>
                      <a:lnTo>
                        <a:pt x="62" y="70"/>
                      </a:lnTo>
                      <a:lnTo>
                        <a:pt x="70" y="69"/>
                      </a:lnTo>
                      <a:lnTo>
                        <a:pt x="79" y="69"/>
                      </a:lnTo>
                      <a:lnTo>
                        <a:pt x="83" y="70"/>
                      </a:lnTo>
                      <a:lnTo>
                        <a:pt x="86" y="70"/>
                      </a:lnTo>
                      <a:lnTo>
                        <a:pt x="89" y="69"/>
                      </a:lnTo>
                      <a:lnTo>
                        <a:pt x="94" y="70"/>
                      </a:lnTo>
                      <a:lnTo>
                        <a:pt x="97" y="70"/>
                      </a:lnTo>
                      <a:lnTo>
                        <a:pt x="100" y="67"/>
                      </a:lnTo>
                      <a:lnTo>
                        <a:pt x="100" y="67"/>
                      </a:lnTo>
                      <a:lnTo>
                        <a:pt x="97" y="65"/>
                      </a:lnTo>
                      <a:lnTo>
                        <a:pt x="94" y="65"/>
                      </a:lnTo>
                      <a:lnTo>
                        <a:pt x="90" y="64"/>
                      </a:lnTo>
                      <a:lnTo>
                        <a:pt x="92" y="61"/>
                      </a:lnTo>
                      <a:lnTo>
                        <a:pt x="95" y="59"/>
                      </a:lnTo>
                      <a:lnTo>
                        <a:pt x="98" y="59"/>
                      </a:lnTo>
                      <a:lnTo>
                        <a:pt x="102" y="57"/>
                      </a:lnTo>
                      <a:lnTo>
                        <a:pt x="106" y="57"/>
                      </a:lnTo>
                      <a:lnTo>
                        <a:pt x="114" y="56"/>
                      </a:lnTo>
                      <a:lnTo>
                        <a:pt x="122" y="56"/>
                      </a:lnTo>
                      <a:lnTo>
                        <a:pt x="119" y="54"/>
                      </a:lnTo>
                      <a:lnTo>
                        <a:pt x="116" y="53"/>
                      </a:lnTo>
                      <a:lnTo>
                        <a:pt x="113" y="54"/>
                      </a:lnTo>
                      <a:lnTo>
                        <a:pt x="105" y="53"/>
                      </a:lnTo>
                      <a:lnTo>
                        <a:pt x="103" y="51"/>
                      </a:lnTo>
                      <a:lnTo>
                        <a:pt x="103" y="50"/>
                      </a:lnTo>
                      <a:lnTo>
                        <a:pt x="98" y="48"/>
                      </a:lnTo>
                      <a:lnTo>
                        <a:pt x="95" y="45"/>
                      </a:lnTo>
                      <a:lnTo>
                        <a:pt x="95" y="42"/>
                      </a:lnTo>
                      <a:lnTo>
                        <a:pt x="95" y="42"/>
                      </a:lnTo>
                      <a:lnTo>
                        <a:pt x="95" y="37"/>
                      </a:lnTo>
                      <a:lnTo>
                        <a:pt x="98" y="35"/>
                      </a:lnTo>
                      <a:lnTo>
                        <a:pt x="108" y="35"/>
                      </a:lnTo>
                      <a:lnTo>
                        <a:pt x="117" y="38"/>
                      </a:lnTo>
                      <a:lnTo>
                        <a:pt x="122" y="38"/>
                      </a:lnTo>
                      <a:lnTo>
                        <a:pt x="127" y="38"/>
                      </a:lnTo>
                      <a:lnTo>
                        <a:pt x="132" y="38"/>
                      </a:lnTo>
                      <a:lnTo>
                        <a:pt x="136" y="35"/>
                      </a:lnTo>
                      <a:lnTo>
                        <a:pt x="146" y="38"/>
                      </a:lnTo>
                      <a:lnTo>
                        <a:pt x="159" y="42"/>
                      </a:lnTo>
                      <a:lnTo>
                        <a:pt x="165" y="42"/>
                      </a:lnTo>
                      <a:lnTo>
                        <a:pt x="168" y="40"/>
                      </a:lnTo>
                      <a:lnTo>
                        <a:pt x="171" y="37"/>
                      </a:lnTo>
                      <a:lnTo>
                        <a:pt x="171" y="32"/>
                      </a:lnTo>
                      <a:lnTo>
                        <a:pt x="176" y="30"/>
                      </a:lnTo>
                      <a:lnTo>
                        <a:pt x="179" y="29"/>
                      </a:lnTo>
                      <a:lnTo>
                        <a:pt x="182" y="27"/>
                      </a:lnTo>
                      <a:lnTo>
                        <a:pt x="186" y="24"/>
                      </a:lnTo>
                      <a:lnTo>
                        <a:pt x="194" y="21"/>
                      </a:lnTo>
                      <a:lnTo>
                        <a:pt x="201" y="15"/>
                      </a:lnTo>
                      <a:lnTo>
                        <a:pt x="214" y="10"/>
                      </a:lnTo>
                      <a:lnTo>
                        <a:pt x="230" y="5"/>
                      </a:lnTo>
                      <a:lnTo>
                        <a:pt x="233" y="4"/>
                      </a:lnTo>
                      <a:lnTo>
                        <a:pt x="240" y="4"/>
                      </a:lnTo>
                      <a:lnTo>
                        <a:pt x="243" y="4"/>
                      </a:lnTo>
                      <a:lnTo>
                        <a:pt x="252" y="5"/>
                      </a:lnTo>
                      <a:lnTo>
                        <a:pt x="262" y="5"/>
                      </a:lnTo>
                      <a:lnTo>
                        <a:pt x="262" y="5"/>
                      </a:lnTo>
                      <a:lnTo>
                        <a:pt x="265" y="7"/>
                      </a:lnTo>
                      <a:lnTo>
                        <a:pt x="270" y="5"/>
                      </a:lnTo>
                      <a:lnTo>
                        <a:pt x="273" y="5"/>
                      </a:lnTo>
                      <a:lnTo>
                        <a:pt x="276" y="7"/>
                      </a:lnTo>
                      <a:lnTo>
                        <a:pt x="279" y="7"/>
                      </a:lnTo>
                      <a:lnTo>
                        <a:pt x="282" y="5"/>
                      </a:lnTo>
                      <a:lnTo>
                        <a:pt x="286" y="2"/>
                      </a:lnTo>
                      <a:lnTo>
                        <a:pt x="287" y="0"/>
                      </a:lnTo>
                      <a:lnTo>
                        <a:pt x="290" y="2"/>
                      </a:lnTo>
                      <a:lnTo>
                        <a:pt x="293" y="2"/>
                      </a:lnTo>
                      <a:lnTo>
                        <a:pt x="292" y="7"/>
                      </a:lnTo>
                      <a:lnTo>
                        <a:pt x="293" y="10"/>
                      </a:lnTo>
                      <a:lnTo>
                        <a:pt x="297" y="13"/>
                      </a:lnTo>
                      <a:lnTo>
                        <a:pt x="300" y="16"/>
                      </a:lnTo>
                      <a:lnTo>
                        <a:pt x="303" y="16"/>
                      </a:lnTo>
                      <a:lnTo>
                        <a:pt x="306" y="18"/>
                      </a:lnTo>
                      <a:lnTo>
                        <a:pt x="309" y="18"/>
                      </a:lnTo>
                      <a:lnTo>
                        <a:pt x="313" y="18"/>
                      </a:lnTo>
                      <a:lnTo>
                        <a:pt x="316" y="16"/>
                      </a:lnTo>
                      <a:lnTo>
                        <a:pt x="320" y="15"/>
                      </a:lnTo>
                      <a:lnTo>
                        <a:pt x="320" y="18"/>
                      </a:lnTo>
                      <a:lnTo>
                        <a:pt x="320" y="15"/>
                      </a:lnTo>
                      <a:lnTo>
                        <a:pt x="325" y="16"/>
                      </a:lnTo>
                      <a:lnTo>
                        <a:pt x="327" y="21"/>
                      </a:lnTo>
                      <a:lnTo>
                        <a:pt x="327" y="24"/>
                      </a:lnTo>
                      <a:lnTo>
                        <a:pt x="327" y="24"/>
                      </a:lnTo>
                      <a:lnTo>
                        <a:pt x="330" y="27"/>
                      </a:lnTo>
                      <a:lnTo>
                        <a:pt x="335" y="30"/>
                      </a:lnTo>
                      <a:lnTo>
                        <a:pt x="338" y="34"/>
                      </a:lnTo>
                      <a:lnTo>
                        <a:pt x="341" y="34"/>
                      </a:lnTo>
                      <a:lnTo>
                        <a:pt x="344" y="30"/>
                      </a:lnTo>
                      <a:lnTo>
                        <a:pt x="346" y="30"/>
                      </a:lnTo>
                      <a:lnTo>
                        <a:pt x="352" y="30"/>
                      </a:lnTo>
                      <a:lnTo>
                        <a:pt x="355" y="32"/>
                      </a:lnTo>
                      <a:lnTo>
                        <a:pt x="357" y="35"/>
                      </a:lnTo>
                      <a:lnTo>
                        <a:pt x="362" y="38"/>
                      </a:lnTo>
                      <a:lnTo>
                        <a:pt x="370" y="40"/>
                      </a:lnTo>
                      <a:lnTo>
                        <a:pt x="378" y="43"/>
                      </a:lnTo>
                      <a:lnTo>
                        <a:pt x="379" y="40"/>
                      </a:lnTo>
                      <a:lnTo>
                        <a:pt x="384" y="40"/>
                      </a:lnTo>
                      <a:lnTo>
                        <a:pt x="385" y="43"/>
                      </a:lnTo>
                      <a:lnTo>
                        <a:pt x="389" y="45"/>
                      </a:lnTo>
                      <a:lnTo>
                        <a:pt x="390" y="45"/>
                      </a:lnTo>
                      <a:lnTo>
                        <a:pt x="393" y="45"/>
                      </a:lnTo>
                      <a:lnTo>
                        <a:pt x="397" y="46"/>
                      </a:lnTo>
                      <a:lnTo>
                        <a:pt x="403" y="48"/>
                      </a:lnTo>
                      <a:lnTo>
                        <a:pt x="406" y="48"/>
                      </a:lnTo>
                      <a:lnTo>
                        <a:pt x="409" y="48"/>
                      </a:lnTo>
                      <a:lnTo>
                        <a:pt x="412" y="45"/>
                      </a:lnTo>
                      <a:lnTo>
                        <a:pt x="417" y="45"/>
                      </a:lnTo>
                      <a:lnTo>
                        <a:pt x="420" y="43"/>
                      </a:lnTo>
                      <a:lnTo>
                        <a:pt x="424" y="43"/>
                      </a:lnTo>
                      <a:lnTo>
                        <a:pt x="431" y="42"/>
                      </a:lnTo>
                      <a:lnTo>
                        <a:pt x="441" y="40"/>
                      </a:lnTo>
                      <a:lnTo>
                        <a:pt x="444" y="43"/>
                      </a:lnTo>
                      <a:lnTo>
                        <a:pt x="447" y="45"/>
                      </a:lnTo>
                      <a:lnTo>
                        <a:pt x="450" y="45"/>
                      </a:lnTo>
                      <a:lnTo>
                        <a:pt x="454" y="46"/>
                      </a:lnTo>
                      <a:lnTo>
                        <a:pt x="457" y="45"/>
                      </a:lnTo>
                      <a:lnTo>
                        <a:pt x="458" y="45"/>
                      </a:lnTo>
                      <a:lnTo>
                        <a:pt x="458" y="46"/>
                      </a:lnTo>
                      <a:lnTo>
                        <a:pt x="462" y="48"/>
                      </a:lnTo>
                      <a:lnTo>
                        <a:pt x="466" y="46"/>
                      </a:lnTo>
                      <a:lnTo>
                        <a:pt x="470" y="45"/>
                      </a:lnTo>
                      <a:lnTo>
                        <a:pt x="470" y="45"/>
                      </a:lnTo>
                      <a:lnTo>
                        <a:pt x="471" y="43"/>
                      </a:lnTo>
                      <a:lnTo>
                        <a:pt x="476" y="43"/>
                      </a:lnTo>
                      <a:lnTo>
                        <a:pt x="479" y="42"/>
                      </a:lnTo>
                      <a:lnTo>
                        <a:pt x="482" y="37"/>
                      </a:lnTo>
                      <a:lnTo>
                        <a:pt x="485" y="37"/>
                      </a:lnTo>
                      <a:lnTo>
                        <a:pt x="492" y="34"/>
                      </a:lnTo>
                      <a:lnTo>
                        <a:pt x="496" y="30"/>
                      </a:lnTo>
                      <a:lnTo>
                        <a:pt x="501" y="27"/>
                      </a:lnTo>
                      <a:lnTo>
                        <a:pt x="506" y="23"/>
                      </a:lnTo>
                      <a:lnTo>
                        <a:pt x="508" y="23"/>
                      </a:lnTo>
                      <a:lnTo>
                        <a:pt x="511" y="24"/>
                      </a:lnTo>
                      <a:lnTo>
                        <a:pt x="512" y="26"/>
                      </a:lnTo>
                      <a:lnTo>
                        <a:pt x="516" y="27"/>
                      </a:lnTo>
                      <a:lnTo>
                        <a:pt x="520" y="24"/>
                      </a:lnTo>
                      <a:lnTo>
                        <a:pt x="523" y="24"/>
                      </a:lnTo>
                      <a:lnTo>
                        <a:pt x="527" y="24"/>
                      </a:lnTo>
                      <a:lnTo>
                        <a:pt x="530" y="24"/>
                      </a:lnTo>
                      <a:lnTo>
                        <a:pt x="533" y="26"/>
                      </a:lnTo>
                      <a:lnTo>
                        <a:pt x="538" y="27"/>
                      </a:lnTo>
                      <a:lnTo>
                        <a:pt x="538" y="27"/>
                      </a:lnTo>
                      <a:lnTo>
                        <a:pt x="539" y="23"/>
                      </a:lnTo>
                      <a:lnTo>
                        <a:pt x="541" y="21"/>
                      </a:lnTo>
                      <a:lnTo>
                        <a:pt x="541" y="21"/>
                      </a:lnTo>
                      <a:lnTo>
                        <a:pt x="544" y="21"/>
                      </a:lnTo>
                      <a:lnTo>
                        <a:pt x="547" y="21"/>
                      </a:lnTo>
                      <a:lnTo>
                        <a:pt x="549" y="21"/>
                      </a:lnTo>
                      <a:lnTo>
                        <a:pt x="547" y="24"/>
                      </a:lnTo>
                      <a:lnTo>
                        <a:pt x="550" y="24"/>
                      </a:lnTo>
                      <a:lnTo>
                        <a:pt x="555" y="27"/>
                      </a:lnTo>
                      <a:lnTo>
                        <a:pt x="558" y="29"/>
                      </a:lnTo>
                      <a:lnTo>
                        <a:pt x="562" y="32"/>
                      </a:lnTo>
                      <a:lnTo>
                        <a:pt x="563" y="32"/>
                      </a:lnTo>
                      <a:lnTo>
                        <a:pt x="562" y="34"/>
                      </a:lnTo>
                      <a:lnTo>
                        <a:pt x="565" y="37"/>
                      </a:lnTo>
                      <a:lnTo>
                        <a:pt x="568" y="35"/>
                      </a:lnTo>
                      <a:lnTo>
                        <a:pt x="571" y="38"/>
                      </a:lnTo>
                      <a:lnTo>
                        <a:pt x="573" y="40"/>
                      </a:lnTo>
                      <a:lnTo>
                        <a:pt x="573" y="43"/>
                      </a:lnTo>
                      <a:lnTo>
                        <a:pt x="577" y="45"/>
                      </a:lnTo>
                      <a:lnTo>
                        <a:pt x="581" y="46"/>
                      </a:lnTo>
                      <a:lnTo>
                        <a:pt x="581" y="51"/>
                      </a:lnTo>
                      <a:lnTo>
                        <a:pt x="584" y="54"/>
                      </a:lnTo>
                      <a:lnTo>
                        <a:pt x="584" y="56"/>
                      </a:lnTo>
                      <a:lnTo>
                        <a:pt x="584" y="57"/>
                      </a:lnTo>
                      <a:lnTo>
                        <a:pt x="584" y="61"/>
                      </a:lnTo>
                      <a:lnTo>
                        <a:pt x="582" y="61"/>
                      </a:lnTo>
                      <a:lnTo>
                        <a:pt x="581" y="64"/>
                      </a:lnTo>
                      <a:lnTo>
                        <a:pt x="581" y="67"/>
                      </a:lnTo>
                      <a:lnTo>
                        <a:pt x="581" y="70"/>
                      </a:lnTo>
                      <a:lnTo>
                        <a:pt x="584" y="75"/>
                      </a:lnTo>
                      <a:lnTo>
                        <a:pt x="585" y="78"/>
                      </a:lnTo>
                      <a:lnTo>
                        <a:pt x="584" y="80"/>
                      </a:lnTo>
                      <a:lnTo>
                        <a:pt x="590" y="83"/>
                      </a:lnTo>
                      <a:lnTo>
                        <a:pt x="595" y="84"/>
                      </a:lnTo>
                      <a:lnTo>
                        <a:pt x="598" y="84"/>
                      </a:lnTo>
                      <a:lnTo>
                        <a:pt x="606" y="83"/>
                      </a:lnTo>
                      <a:lnTo>
                        <a:pt x="609" y="84"/>
                      </a:lnTo>
                      <a:lnTo>
                        <a:pt x="609" y="84"/>
                      </a:lnTo>
                      <a:lnTo>
                        <a:pt x="614" y="88"/>
                      </a:lnTo>
                      <a:lnTo>
                        <a:pt x="615" y="91"/>
                      </a:lnTo>
                      <a:lnTo>
                        <a:pt x="620" y="92"/>
                      </a:lnTo>
                      <a:lnTo>
                        <a:pt x="623" y="96"/>
                      </a:lnTo>
                      <a:lnTo>
                        <a:pt x="623" y="97"/>
                      </a:lnTo>
                      <a:lnTo>
                        <a:pt x="625" y="100"/>
                      </a:lnTo>
                      <a:lnTo>
                        <a:pt x="623" y="99"/>
                      </a:lnTo>
                      <a:lnTo>
                        <a:pt x="620" y="96"/>
                      </a:lnTo>
                      <a:lnTo>
                        <a:pt x="617" y="94"/>
                      </a:lnTo>
                      <a:lnTo>
                        <a:pt x="614" y="97"/>
                      </a:lnTo>
                      <a:lnTo>
                        <a:pt x="614" y="99"/>
                      </a:lnTo>
                      <a:lnTo>
                        <a:pt x="614" y="102"/>
                      </a:lnTo>
                      <a:lnTo>
                        <a:pt x="614" y="105"/>
                      </a:lnTo>
                      <a:lnTo>
                        <a:pt x="612" y="108"/>
                      </a:lnTo>
                      <a:lnTo>
                        <a:pt x="611" y="110"/>
                      </a:lnTo>
                      <a:lnTo>
                        <a:pt x="604" y="110"/>
                      </a:lnTo>
                      <a:lnTo>
                        <a:pt x="601" y="110"/>
                      </a:lnTo>
                      <a:lnTo>
                        <a:pt x="601" y="111"/>
                      </a:lnTo>
                      <a:lnTo>
                        <a:pt x="604" y="115"/>
                      </a:lnTo>
                      <a:lnTo>
                        <a:pt x="604" y="118"/>
                      </a:lnTo>
                      <a:lnTo>
                        <a:pt x="609" y="121"/>
                      </a:lnTo>
                      <a:lnTo>
                        <a:pt x="609" y="124"/>
                      </a:lnTo>
                      <a:lnTo>
                        <a:pt x="608" y="126"/>
                      </a:lnTo>
                      <a:lnTo>
                        <a:pt x="609" y="129"/>
                      </a:lnTo>
                      <a:lnTo>
                        <a:pt x="612" y="132"/>
                      </a:lnTo>
                      <a:lnTo>
                        <a:pt x="612" y="135"/>
                      </a:lnTo>
                      <a:lnTo>
                        <a:pt x="612" y="138"/>
                      </a:lnTo>
                      <a:lnTo>
                        <a:pt x="615" y="143"/>
                      </a:lnTo>
                      <a:lnTo>
                        <a:pt x="615" y="146"/>
                      </a:lnTo>
                      <a:lnTo>
                        <a:pt x="615" y="146"/>
                      </a:lnTo>
                      <a:lnTo>
                        <a:pt x="615" y="148"/>
                      </a:lnTo>
                      <a:lnTo>
                        <a:pt x="619" y="151"/>
                      </a:lnTo>
                      <a:lnTo>
                        <a:pt x="622" y="153"/>
                      </a:lnTo>
                      <a:lnTo>
                        <a:pt x="619" y="156"/>
                      </a:lnTo>
                      <a:lnTo>
                        <a:pt x="619" y="159"/>
                      </a:lnTo>
                      <a:lnTo>
                        <a:pt x="617" y="164"/>
                      </a:lnTo>
                      <a:lnTo>
                        <a:pt x="615" y="167"/>
                      </a:lnTo>
                      <a:lnTo>
                        <a:pt x="615" y="170"/>
                      </a:lnTo>
                      <a:lnTo>
                        <a:pt x="615" y="170"/>
                      </a:lnTo>
                      <a:lnTo>
                        <a:pt x="619" y="172"/>
                      </a:lnTo>
                      <a:lnTo>
                        <a:pt x="623" y="173"/>
                      </a:lnTo>
                      <a:lnTo>
                        <a:pt x="627" y="175"/>
                      </a:lnTo>
                      <a:lnTo>
                        <a:pt x="630" y="178"/>
                      </a:lnTo>
                      <a:lnTo>
                        <a:pt x="630" y="180"/>
                      </a:lnTo>
                      <a:lnTo>
                        <a:pt x="630" y="183"/>
                      </a:lnTo>
                      <a:lnTo>
                        <a:pt x="630" y="186"/>
                      </a:lnTo>
                      <a:lnTo>
                        <a:pt x="631" y="189"/>
                      </a:lnTo>
                      <a:lnTo>
                        <a:pt x="634" y="191"/>
                      </a:lnTo>
                      <a:lnTo>
                        <a:pt x="638" y="194"/>
                      </a:lnTo>
                      <a:lnTo>
                        <a:pt x="638" y="197"/>
                      </a:lnTo>
                      <a:lnTo>
                        <a:pt x="638" y="200"/>
                      </a:lnTo>
                      <a:lnTo>
                        <a:pt x="636" y="200"/>
                      </a:lnTo>
                      <a:lnTo>
                        <a:pt x="633" y="199"/>
                      </a:lnTo>
                      <a:lnTo>
                        <a:pt x="630" y="202"/>
                      </a:lnTo>
                      <a:lnTo>
                        <a:pt x="627" y="205"/>
                      </a:lnTo>
                      <a:lnTo>
                        <a:pt x="623" y="208"/>
                      </a:lnTo>
                      <a:lnTo>
                        <a:pt x="620" y="205"/>
                      </a:lnTo>
                      <a:lnTo>
                        <a:pt x="619" y="202"/>
                      </a:lnTo>
                      <a:lnTo>
                        <a:pt x="620" y="199"/>
                      </a:lnTo>
                      <a:lnTo>
                        <a:pt x="617" y="195"/>
                      </a:lnTo>
                      <a:lnTo>
                        <a:pt x="614" y="194"/>
                      </a:lnTo>
                      <a:lnTo>
                        <a:pt x="611" y="195"/>
                      </a:lnTo>
                      <a:lnTo>
                        <a:pt x="608" y="199"/>
                      </a:lnTo>
                      <a:lnTo>
                        <a:pt x="604" y="197"/>
                      </a:lnTo>
                      <a:lnTo>
                        <a:pt x="600" y="197"/>
                      </a:lnTo>
                      <a:lnTo>
                        <a:pt x="596" y="197"/>
                      </a:lnTo>
                      <a:lnTo>
                        <a:pt x="593" y="195"/>
                      </a:lnTo>
                      <a:lnTo>
                        <a:pt x="590" y="194"/>
                      </a:lnTo>
                      <a:lnTo>
                        <a:pt x="587" y="194"/>
                      </a:lnTo>
                      <a:lnTo>
                        <a:pt x="582" y="192"/>
                      </a:lnTo>
                      <a:lnTo>
                        <a:pt x="579" y="192"/>
                      </a:lnTo>
                      <a:lnTo>
                        <a:pt x="576" y="194"/>
                      </a:lnTo>
                      <a:lnTo>
                        <a:pt x="573" y="192"/>
                      </a:lnTo>
                      <a:lnTo>
                        <a:pt x="569" y="192"/>
                      </a:lnTo>
                      <a:lnTo>
                        <a:pt x="568" y="194"/>
                      </a:lnTo>
                      <a:lnTo>
                        <a:pt x="566" y="197"/>
                      </a:lnTo>
                      <a:lnTo>
                        <a:pt x="563" y="200"/>
                      </a:lnTo>
                      <a:lnTo>
                        <a:pt x="562" y="202"/>
                      </a:lnTo>
                      <a:lnTo>
                        <a:pt x="558" y="202"/>
                      </a:lnTo>
                      <a:lnTo>
                        <a:pt x="557" y="203"/>
                      </a:lnTo>
                      <a:lnTo>
                        <a:pt x="555" y="200"/>
                      </a:lnTo>
                      <a:lnTo>
                        <a:pt x="554" y="195"/>
                      </a:lnTo>
                      <a:lnTo>
                        <a:pt x="550" y="194"/>
                      </a:lnTo>
                      <a:lnTo>
                        <a:pt x="547" y="197"/>
                      </a:lnTo>
                      <a:lnTo>
                        <a:pt x="544" y="200"/>
                      </a:lnTo>
                      <a:lnTo>
                        <a:pt x="541" y="200"/>
                      </a:lnTo>
                      <a:lnTo>
                        <a:pt x="538" y="202"/>
                      </a:lnTo>
                      <a:lnTo>
                        <a:pt x="535" y="202"/>
                      </a:lnTo>
                      <a:lnTo>
                        <a:pt x="535" y="202"/>
                      </a:lnTo>
                      <a:lnTo>
                        <a:pt x="516" y="203"/>
                      </a:lnTo>
                      <a:lnTo>
                        <a:pt x="500" y="203"/>
                      </a:lnTo>
                      <a:lnTo>
                        <a:pt x="490" y="208"/>
                      </a:lnTo>
                      <a:lnTo>
                        <a:pt x="481" y="213"/>
                      </a:lnTo>
                      <a:lnTo>
                        <a:pt x="471" y="218"/>
                      </a:lnTo>
                      <a:lnTo>
                        <a:pt x="462" y="219"/>
                      </a:lnTo>
                      <a:lnTo>
                        <a:pt x="460" y="219"/>
                      </a:lnTo>
                      <a:lnTo>
                        <a:pt x="452" y="221"/>
                      </a:lnTo>
                      <a:lnTo>
                        <a:pt x="449" y="219"/>
                      </a:lnTo>
                      <a:lnTo>
                        <a:pt x="446" y="219"/>
                      </a:lnTo>
                      <a:lnTo>
                        <a:pt x="446" y="219"/>
                      </a:lnTo>
                      <a:lnTo>
                        <a:pt x="443" y="219"/>
                      </a:lnTo>
                      <a:lnTo>
                        <a:pt x="436" y="219"/>
                      </a:lnTo>
                      <a:lnTo>
                        <a:pt x="433" y="218"/>
                      </a:lnTo>
                      <a:lnTo>
                        <a:pt x="431" y="216"/>
                      </a:lnTo>
                      <a:lnTo>
                        <a:pt x="428" y="213"/>
                      </a:lnTo>
                      <a:lnTo>
                        <a:pt x="425" y="211"/>
                      </a:lnTo>
                      <a:lnTo>
                        <a:pt x="422" y="211"/>
                      </a:lnTo>
                      <a:lnTo>
                        <a:pt x="419" y="210"/>
                      </a:lnTo>
                      <a:lnTo>
                        <a:pt x="414" y="211"/>
                      </a:lnTo>
                      <a:lnTo>
                        <a:pt x="411" y="214"/>
                      </a:lnTo>
                      <a:lnTo>
                        <a:pt x="411" y="214"/>
                      </a:lnTo>
                      <a:lnTo>
                        <a:pt x="404" y="218"/>
                      </a:lnTo>
                      <a:lnTo>
                        <a:pt x="400" y="218"/>
                      </a:lnTo>
                      <a:lnTo>
                        <a:pt x="397" y="219"/>
                      </a:lnTo>
                      <a:lnTo>
                        <a:pt x="395" y="221"/>
                      </a:lnTo>
                      <a:lnTo>
                        <a:pt x="393" y="221"/>
                      </a:lnTo>
                      <a:lnTo>
                        <a:pt x="390" y="221"/>
                      </a:lnTo>
                      <a:lnTo>
                        <a:pt x="387" y="221"/>
                      </a:lnTo>
                      <a:lnTo>
                        <a:pt x="384" y="221"/>
                      </a:lnTo>
                      <a:lnTo>
                        <a:pt x="381" y="222"/>
                      </a:lnTo>
                      <a:lnTo>
                        <a:pt x="379" y="219"/>
                      </a:lnTo>
                      <a:lnTo>
                        <a:pt x="376" y="216"/>
                      </a:lnTo>
                      <a:lnTo>
                        <a:pt x="374" y="216"/>
                      </a:lnTo>
                      <a:lnTo>
                        <a:pt x="371" y="216"/>
                      </a:lnTo>
                      <a:lnTo>
                        <a:pt x="368" y="214"/>
                      </a:lnTo>
                      <a:lnTo>
                        <a:pt x="366" y="214"/>
                      </a:lnTo>
                      <a:lnTo>
                        <a:pt x="365" y="214"/>
                      </a:lnTo>
                      <a:lnTo>
                        <a:pt x="365" y="218"/>
                      </a:lnTo>
                      <a:lnTo>
                        <a:pt x="363" y="221"/>
                      </a:lnTo>
                      <a:lnTo>
                        <a:pt x="363" y="224"/>
                      </a:lnTo>
                      <a:lnTo>
                        <a:pt x="363" y="227"/>
                      </a:lnTo>
                      <a:lnTo>
                        <a:pt x="363" y="232"/>
                      </a:lnTo>
                      <a:lnTo>
                        <a:pt x="365" y="232"/>
                      </a:lnTo>
                      <a:lnTo>
                        <a:pt x="365" y="233"/>
                      </a:lnTo>
                      <a:lnTo>
                        <a:pt x="368" y="235"/>
                      </a:lnTo>
                      <a:lnTo>
                        <a:pt x="368" y="238"/>
                      </a:lnTo>
                      <a:lnTo>
                        <a:pt x="365" y="238"/>
                      </a:lnTo>
                      <a:lnTo>
                        <a:pt x="363" y="238"/>
                      </a:lnTo>
                      <a:lnTo>
                        <a:pt x="360" y="238"/>
                      </a:lnTo>
                      <a:lnTo>
                        <a:pt x="358" y="238"/>
                      </a:lnTo>
                      <a:lnTo>
                        <a:pt x="358" y="238"/>
                      </a:lnTo>
                      <a:lnTo>
                        <a:pt x="358" y="240"/>
                      </a:lnTo>
                      <a:lnTo>
                        <a:pt x="358" y="245"/>
                      </a:lnTo>
                      <a:lnTo>
                        <a:pt x="358" y="248"/>
                      </a:lnTo>
                      <a:lnTo>
                        <a:pt x="358" y="248"/>
                      </a:lnTo>
                      <a:lnTo>
                        <a:pt x="355" y="249"/>
                      </a:lnTo>
                      <a:lnTo>
                        <a:pt x="352" y="252"/>
                      </a:lnTo>
                      <a:lnTo>
                        <a:pt x="352" y="256"/>
                      </a:lnTo>
                      <a:lnTo>
                        <a:pt x="349" y="252"/>
                      </a:lnTo>
                      <a:lnTo>
                        <a:pt x="347" y="251"/>
                      </a:lnTo>
                      <a:lnTo>
                        <a:pt x="344" y="251"/>
                      </a:lnTo>
                      <a:lnTo>
                        <a:pt x="346" y="248"/>
                      </a:lnTo>
                      <a:lnTo>
                        <a:pt x="344" y="246"/>
                      </a:lnTo>
                      <a:lnTo>
                        <a:pt x="343" y="243"/>
                      </a:lnTo>
                      <a:lnTo>
                        <a:pt x="341" y="238"/>
                      </a:lnTo>
                      <a:lnTo>
                        <a:pt x="338" y="235"/>
                      </a:lnTo>
                      <a:lnTo>
                        <a:pt x="339" y="232"/>
                      </a:lnTo>
                      <a:lnTo>
                        <a:pt x="344" y="229"/>
                      </a:lnTo>
                      <a:lnTo>
                        <a:pt x="347" y="226"/>
                      </a:lnTo>
                      <a:lnTo>
                        <a:pt x="351" y="222"/>
                      </a:lnTo>
                      <a:lnTo>
                        <a:pt x="351" y="218"/>
                      </a:lnTo>
                      <a:lnTo>
                        <a:pt x="349" y="214"/>
                      </a:lnTo>
                      <a:lnTo>
                        <a:pt x="346" y="211"/>
                      </a:lnTo>
                      <a:lnTo>
                        <a:pt x="343" y="210"/>
                      </a:lnTo>
                      <a:lnTo>
                        <a:pt x="341" y="213"/>
                      </a:lnTo>
                      <a:lnTo>
                        <a:pt x="338" y="216"/>
                      </a:lnTo>
                      <a:lnTo>
                        <a:pt x="335" y="218"/>
                      </a:lnTo>
                      <a:lnTo>
                        <a:pt x="330" y="218"/>
                      </a:lnTo>
                      <a:lnTo>
                        <a:pt x="328" y="219"/>
                      </a:lnTo>
                      <a:lnTo>
                        <a:pt x="332" y="219"/>
                      </a:lnTo>
                      <a:lnTo>
                        <a:pt x="332" y="222"/>
                      </a:lnTo>
                      <a:lnTo>
                        <a:pt x="330" y="224"/>
                      </a:lnTo>
                      <a:lnTo>
                        <a:pt x="325" y="224"/>
                      </a:lnTo>
                      <a:lnTo>
                        <a:pt x="324" y="224"/>
                      </a:lnTo>
                      <a:lnTo>
                        <a:pt x="320" y="224"/>
                      </a:lnTo>
                      <a:lnTo>
                        <a:pt x="314" y="221"/>
                      </a:lnTo>
                      <a:lnTo>
                        <a:pt x="311" y="219"/>
                      </a:lnTo>
                      <a:lnTo>
                        <a:pt x="309" y="219"/>
                      </a:lnTo>
                      <a:lnTo>
                        <a:pt x="306" y="219"/>
                      </a:lnTo>
                      <a:lnTo>
                        <a:pt x="305" y="216"/>
                      </a:lnTo>
                      <a:lnTo>
                        <a:pt x="301" y="214"/>
                      </a:lnTo>
                      <a:lnTo>
                        <a:pt x="298" y="214"/>
                      </a:lnTo>
                      <a:lnTo>
                        <a:pt x="297" y="216"/>
                      </a:lnTo>
                      <a:lnTo>
                        <a:pt x="293" y="218"/>
                      </a:lnTo>
                      <a:lnTo>
                        <a:pt x="293" y="218"/>
                      </a:lnTo>
                      <a:lnTo>
                        <a:pt x="289" y="221"/>
                      </a:lnTo>
                      <a:lnTo>
                        <a:pt x="286" y="224"/>
                      </a:lnTo>
                      <a:lnTo>
                        <a:pt x="284" y="227"/>
                      </a:lnTo>
                      <a:lnTo>
                        <a:pt x="281" y="230"/>
                      </a:lnTo>
                      <a:lnTo>
                        <a:pt x="279" y="233"/>
                      </a:lnTo>
                      <a:lnTo>
                        <a:pt x="279" y="235"/>
                      </a:lnTo>
                      <a:lnTo>
                        <a:pt x="276" y="238"/>
                      </a:lnTo>
                      <a:lnTo>
                        <a:pt x="273" y="235"/>
                      </a:lnTo>
                      <a:lnTo>
                        <a:pt x="270" y="238"/>
                      </a:lnTo>
                      <a:lnTo>
                        <a:pt x="268" y="241"/>
                      </a:lnTo>
                      <a:lnTo>
                        <a:pt x="263" y="241"/>
                      </a:lnTo>
                      <a:lnTo>
                        <a:pt x="260" y="241"/>
                      </a:lnTo>
                      <a:lnTo>
                        <a:pt x="257" y="243"/>
                      </a:lnTo>
                      <a:lnTo>
                        <a:pt x="254" y="243"/>
                      </a:lnTo>
                      <a:lnTo>
                        <a:pt x="251" y="243"/>
                      </a:lnTo>
                      <a:lnTo>
                        <a:pt x="247" y="245"/>
                      </a:lnTo>
                      <a:lnTo>
                        <a:pt x="243" y="245"/>
                      </a:lnTo>
                      <a:lnTo>
                        <a:pt x="240" y="245"/>
                      </a:lnTo>
                      <a:lnTo>
                        <a:pt x="238" y="246"/>
                      </a:lnTo>
                      <a:lnTo>
                        <a:pt x="232" y="245"/>
                      </a:lnTo>
                      <a:lnTo>
                        <a:pt x="225" y="243"/>
                      </a:lnTo>
                      <a:lnTo>
                        <a:pt x="221" y="238"/>
                      </a:lnTo>
                      <a:lnTo>
                        <a:pt x="216" y="233"/>
                      </a:lnTo>
                      <a:lnTo>
                        <a:pt x="213" y="227"/>
                      </a:lnTo>
                      <a:lnTo>
                        <a:pt x="208" y="226"/>
                      </a:lnTo>
                      <a:lnTo>
                        <a:pt x="201" y="222"/>
                      </a:lnTo>
                      <a:lnTo>
                        <a:pt x="194" y="219"/>
                      </a:lnTo>
                      <a:lnTo>
                        <a:pt x="187" y="216"/>
                      </a:lnTo>
                      <a:lnTo>
                        <a:pt x="181" y="214"/>
                      </a:lnTo>
                      <a:lnTo>
                        <a:pt x="175" y="213"/>
                      </a:lnTo>
                      <a:lnTo>
                        <a:pt x="168" y="213"/>
                      </a:lnTo>
                      <a:lnTo>
                        <a:pt x="163" y="213"/>
                      </a:lnTo>
                      <a:lnTo>
                        <a:pt x="160" y="214"/>
                      </a:lnTo>
                      <a:lnTo>
                        <a:pt x="160" y="218"/>
                      </a:lnTo>
                      <a:lnTo>
                        <a:pt x="160" y="221"/>
                      </a:lnTo>
                      <a:lnTo>
                        <a:pt x="160" y="224"/>
                      </a:lnTo>
                      <a:lnTo>
                        <a:pt x="159" y="227"/>
                      </a:lnTo>
                      <a:lnTo>
                        <a:pt x="157" y="230"/>
                      </a:lnTo>
                      <a:lnTo>
                        <a:pt x="159" y="235"/>
                      </a:lnTo>
                      <a:lnTo>
                        <a:pt x="157" y="238"/>
                      </a:lnTo>
                      <a:lnTo>
                        <a:pt x="155" y="240"/>
                      </a:lnTo>
                      <a:lnTo>
                        <a:pt x="152" y="237"/>
                      </a:lnTo>
                      <a:lnTo>
                        <a:pt x="149" y="235"/>
                      </a:lnTo>
                      <a:lnTo>
                        <a:pt x="146" y="237"/>
                      </a:lnTo>
                      <a:lnTo>
                        <a:pt x="143" y="237"/>
                      </a:lnTo>
                      <a:lnTo>
                        <a:pt x="143" y="238"/>
                      </a:lnTo>
                      <a:lnTo>
                        <a:pt x="138" y="240"/>
                      </a:lnTo>
                      <a:lnTo>
                        <a:pt x="135" y="241"/>
                      </a:lnTo>
                      <a:lnTo>
                        <a:pt x="132" y="241"/>
                      </a:lnTo>
                      <a:lnTo>
                        <a:pt x="129" y="240"/>
                      </a:lnTo>
                      <a:lnTo>
                        <a:pt x="125" y="240"/>
                      </a:lnTo>
                      <a:lnTo>
                        <a:pt x="121" y="237"/>
                      </a:lnTo>
                      <a:lnTo>
                        <a:pt x="117" y="237"/>
                      </a:lnTo>
                      <a:lnTo>
                        <a:pt x="116" y="235"/>
                      </a:lnTo>
                      <a:lnTo>
                        <a:pt x="113" y="233"/>
                      </a:lnTo>
                      <a:lnTo>
                        <a:pt x="113" y="230"/>
                      </a:lnTo>
                      <a:lnTo>
                        <a:pt x="111" y="227"/>
                      </a:lnTo>
                      <a:lnTo>
                        <a:pt x="108" y="226"/>
                      </a:lnTo>
                      <a:lnTo>
                        <a:pt x="109" y="222"/>
                      </a:lnTo>
                      <a:lnTo>
                        <a:pt x="106" y="219"/>
                      </a:lnTo>
                      <a:lnTo>
                        <a:pt x="103" y="218"/>
                      </a:lnTo>
                      <a:lnTo>
                        <a:pt x="102" y="222"/>
                      </a:lnTo>
                      <a:lnTo>
                        <a:pt x="98" y="219"/>
                      </a:lnTo>
                      <a:lnTo>
                        <a:pt x="97" y="219"/>
                      </a:lnTo>
                      <a:lnTo>
                        <a:pt x="94" y="219"/>
                      </a:lnTo>
                      <a:lnTo>
                        <a:pt x="94" y="216"/>
                      </a:lnTo>
                      <a:lnTo>
                        <a:pt x="94" y="214"/>
                      </a:lnTo>
                      <a:lnTo>
                        <a:pt x="89" y="214"/>
                      </a:lnTo>
                      <a:lnTo>
                        <a:pt x="87" y="211"/>
                      </a:lnTo>
                      <a:lnTo>
                        <a:pt x="86" y="214"/>
                      </a:lnTo>
                      <a:lnTo>
                        <a:pt x="83" y="216"/>
                      </a:lnTo>
                      <a:lnTo>
                        <a:pt x="81" y="219"/>
                      </a:lnTo>
                      <a:lnTo>
                        <a:pt x="78" y="222"/>
                      </a:lnTo>
                      <a:lnTo>
                        <a:pt x="75" y="224"/>
                      </a:lnTo>
                      <a:lnTo>
                        <a:pt x="75" y="222"/>
                      </a:lnTo>
                      <a:lnTo>
                        <a:pt x="71" y="221"/>
                      </a:lnTo>
                      <a:lnTo>
                        <a:pt x="75" y="219"/>
                      </a:lnTo>
                      <a:lnTo>
                        <a:pt x="76" y="214"/>
                      </a:lnTo>
                      <a:lnTo>
                        <a:pt x="73" y="218"/>
                      </a:lnTo>
                      <a:lnTo>
                        <a:pt x="70" y="218"/>
                      </a:lnTo>
                      <a:lnTo>
                        <a:pt x="67" y="218"/>
                      </a:lnTo>
                      <a:lnTo>
                        <a:pt x="64" y="218"/>
                      </a:lnTo>
                      <a:lnTo>
                        <a:pt x="59" y="221"/>
                      </a:lnTo>
                      <a:lnTo>
                        <a:pt x="56" y="221"/>
                      </a:lnTo>
                      <a:lnTo>
                        <a:pt x="52" y="219"/>
                      </a:lnTo>
                      <a:lnTo>
                        <a:pt x="56" y="218"/>
                      </a:lnTo>
                      <a:lnTo>
                        <a:pt x="59" y="218"/>
                      </a:lnTo>
                      <a:lnTo>
                        <a:pt x="60" y="216"/>
                      </a:lnTo>
                      <a:lnTo>
                        <a:pt x="64" y="216"/>
                      </a:lnTo>
                      <a:lnTo>
                        <a:pt x="67" y="214"/>
                      </a:lnTo>
                      <a:lnTo>
                        <a:pt x="70" y="216"/>
                      </a:lnTo>
                      <a:lnTo>
                        <a:pt x="73" y="216"/>
                      </a:lnTo>
                      <a:lnTo>
                        <a:pt x="75" y="213"/>
                      </a:lnTo>
                      <a:lnTo>
                        <a:pt x="78" y="210"/>
                      </a:lnTo>
                      <a:lnTo>
                        <a:pt x="81" y="207"/>
                      </a:lnTo>
                      <a:lnTo>
                        <a:pt x="78" y="205"/>
                      </a:lnTo>
                      <a:lnTo>
                        <a:pt x="70" y="207"/>
                      </a:lnTo>
                      <a:lnTo>
                        <a:pt x="67" y="207"/>
                      </a:lnTo>
                      <a:lnTo>
                        <a:pt x="64" y="207"/>
                      </a:lnTo>
                      <a:lnTo>
                        <a:pt x="52" y="207"/>
                      </a:lnTo>
                      <a:lnTo>
                        <a:pt x="48" y="208"/>
                      </a:lnTo>
                      <a:lnTo>
                        <a:pt x="46" y="205"/>
                      </a:lnTo>
                      <a:lnTo>
                        <a:pt x="48" y="202"/>
                      </a:lnTo>
                      <a:lnTo>
                        <a:pt x="51" y="200"/>
                      </a:lnTo>
                      <a:lnTo>
                        <a:pt x="54" y="203"/>
                      </a:lnTo>
                      <a:lnTo>
                        <a:pt x="57" y="202"/>
                      </a:lnTo>
                      <a:lnTo>
                        <a:pt x="57" y="199"/>
                      </a:lnTo>
                      <a:lnTo>
                        <a:pt x="56" y="197"/>
                      </a:lnTo>
                      <a:lnTo>
                        <a:pt x="54" y="194"/>
                      </a:lnTo>
                      <a:lnTo>
                        <a:pt x="51" y="194"/>
                      </a:lnTo>
                      <a:lnTo>
                        <a:pt x="51" y="191"/>
                      </a:lnTo>
                      <a:lnTo>
                        <a:pt x="48" y="194"/>
                      </a:lnTo>
                      <a:lnTo>
                        <a:pt x="44" y="192"/>
                      </a:lnTo>
                      <a:lnTo>
                        <a:pt x="44" y="189"/>
                      </a:lnTo>
                      <a:lnTo>
                        <a:pt x="44" y="187"/>
                      </a:lnTo>
                      <a:lnTo>
                        <a:pt x="43" y="184"/>
                      </a:lnTo>
                      <a:lnTo>
                        <a:pt x="41" y="181"/>
                      </a:lnTo>
                      <a:lnTo>
                        <a:pt x="38" y="181"/>
                      </a:lnTo>
                      <a:lnTo>
                        <a:pt x="41" y="180"/>
                      </a:lnTo>
                      <a:lnTo>
                        <a:pt x="44" y="178"/>
                      </a:lnTo>
                      <a:lnTo>
                        <a:pt x="44" y="173"/>
                      </a:lnTo>
                      <a:lnTo>
                        <a:pt x="44" y="172"/>
                      </a:lnTo>
                      <a:lnTo>
                        <a:pt x="44" y="168"/>
                      </a:lnTo>
                      <a:lnTo>
                        <a:pt x="41" y="167"/>
                      </a:lnTo>
                      <a:lnTo>
                        <a:pt x="38" y="165"/>
                      </a:lnTo>
                      <a:lnTo>
                        <a:pt x="35" y="164"/>
                      </a:lnTo>
                      <a:lnTo>
                        <a:pt x="30" y="165"/>
                      </a:lnTo>
                      <a:lnTo>
                        <a:pt x="30" y="161"/>
                      </a:lnTo>
                      <a:lnTo>
                        <a:pt x="27" y="157"/>
                      </a:lnTo>
                      <a:lnTo>
                        <a:pt x="24" y="157"/>
                      </a:lnTo>
                      <a:lnTo>
                        <a:pt x="22" y="162"/>
                      </a:lnTo>
                      <a:lnTo>
                        <a:pt x="16" y="157"/>
                      </a:lnTo>
                      <a:lnTo>
                        <a:pt x="13" y="157"/>
                      </a:lnTo>
                      <a:lnTo>
                        <a:pt x="11" y="153"/>
                      </a:lnTo>
                      <a:lnTo>
                        <a:pt x="14" y="153"/>
                      </a:lnTo>
                      <a:lnTo>
                        <a:pt x="18" y="149"/>
                      </a:lnTo>
                      <a:lnTo>
                        <a:pt x="14" y="146"/>
                      </a:lnTo>
                      <a:lnTo>
                        <a:pt x="13" y="143"/>
                      </a:lnTo>
                      <a:lnTo>
                        <a:pt x="13" y="140"/>
                      </a:lnTo>
                      <a:lnTo>
                        <a:pt x="16" y="138"/>
                      </a:lnTo>
                      <a:lnTo>
                        <a:pt x="19" y="141"/>
                      </a:lnTo>
                      <a:lnTo>
                        <a:pt x="22" y="145"/>
                      </a:lnTo>
                      <a:lnTo>
                        <a:pt x="21" y="149"/>
                      </a:lnTo>
                      <a:lnTo>
                        <a:pt x="22" y="153"/>
                      </a:lnTo>
                      <a:lnTo>
                        <a:pt x="24" y="154"/>
                      </a:lnTo>
                      <a:lnTo>
                        <a:pt x="24" y="149"/>
                      </a:lnTo>
                      <a:lnTo>
                        <a:pt x="27" y="151"/>
                      </a:lnTo>
                      <a:lnTo>
                        <a:pt x="30" y="151"/>
                      </a:lnTo>
                      <a:lnTo>
                        <a:pt x="33" y="149"/>
                      </a:lnTo>
                      <a:lnTo>
                        <a:pt x="38" y="149"/>
                      </a:lnTo>
                      <a:lnTo>
                        <a:pt x="38" y="148"/>
                      </a:lnTo>
                      <a:lnTo>
                        <a:pt x="35" y="148"/>
                      </a:lnTo>
                      <a:lnTo>
                        <a:pt x="32" y="148"/>
                      </a:lnTo>
                      <a:lnTo>
                        <a:pt x="32" y="146"/>
                      </a:lnTo>
                      <a:lnTo>
                        <a:pt x="29" y="143"/>
                      </a:lnTo>
                      <a:lnTo>
                        <a:pt x="27" y="141"/>
                      </a:lnTo>
                      <a:lnTo>
                        <a:pt x="25" y="138"/>
                      </a:lnTo>
                      <a:lnTo>
                        <a:pt x="29" y="137"/>
                      </a:lnTo>
                      <a:lnTo>
                        <a:pt x="32" y="134"/>
                      </a:lnTo>
                      <a:lnTo>
                        <a:pt x="35" y="132"/>
                      </a:lnTo>
                      <a:lnTo>
                        <a:pt x="32" y="129"/>
                      </a:lnTo>
                      <a:lnTo>
                        <a:pt x="29" y="129"/>
                      </a:lnTo>
                      <a:lnTo>
                        <a:pt x="27" y="127"/>
                      </a:lnTo>
                      <a:lnTo>
                        <a:pt x="27" y="124"/>
                      </a:lnTo>
                      <a:lnTo>
                        <a:pt x="27" y="121"/>
                      </a:lnTo>
                      <a:lnTo>
                        <a:pt x="24" y="119"/>
                      </a:lnTo>
                      <a:lnTo>
                        <a:pt x="24" y="118"/>
                      </a:lnTo>
                      <a:lnTo>
                        <a:pt x="21" y="115"/>
                      </a:lnTo>
                      <a:lnTo>
                        <a:pt x="24" y="111"/>
                      </a:lnTo>
                      <a:lnTo>
                        <a:pt x="27" y="108"/>
                      </a:lnTo>
                      <a:lnTo>
                        <a:pt x="29" y="105"/>
                      </a:lnTo>
                      <a:lnTo>
                        <a:pt x="14" y="105"/>
                      </a:lnTo>
                      <a:lnTo>
                        <a:pt x="0" y="107"/>
                      </a:lnTo>
                      <a:close/>
                    </a:path>
                  </a:pathLst>
                </a:custGeom>
                <a:solidFill>
                  <a:srgbClr val="1F497D"/>
                </a:solidFill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50" name="Freeform 379"/>
                <p:cNvSpPr>
                  <a:spLocks/>
                </p:cNvSpPr>
                <p:nvPr/>
              </p:nvSpPr>
              <p:spPr bwMode="auto">
                <a:xfrm>
                  <a:off x="3046" y="1629"/>
                  <a:ext cx="49" cy="42"/>
                </a:xfrm>
                <a:custGeom>
                  <a:avLst/>
                  <a:gdLst>
                    <a:gd name="T0" fmla="*/ 3 w 98"/>
                    <a:gd name="T1" fmla="*/ 54 h 84"/>
                    <a:gd name="T2" fmla="*/ 8 w 98"/>
                    <a:gd name="T3" fmla="*/ 47 h 84"/>
                    <a:gd name="T4" fmla="*/ 8 w 98"/>
                    <a:gd name="T5" fmla="*/ 41 h 84"/>
                    <a:gd name="T6" fmla="*/ 11 w 98"/>
                    <a:gd name="T7" fmla="*/ 35 h 84"/>
                    <a:gd name="T8" fmla="*/ 17 w 98"/>
                    <a:gd name="T9" fmla="*/ 30 h 84"/>
                    <a:gd name="T10" fmla="*/ 16 w 98"/>
                    <a:gd name="T11" fmla="*/ 24 h 84"/>
                    <a:gd name="T12" fmla="*/ 13 w 98"/>
                    <a:gd name="T13" fmla="*/ 20 h 84"/>
                    <a:gd name="T14" fmla="*/ 11 w 98"/>
                    <a:gd name="T15" fmla="*/ 19 h 84"/>
                    <a:gd name="T16" fmla="*/ 8 w 98"/>
                    <a:gd name="T17" fmla="*/ 17 h 84"/>
                    <a:gd name="T18" fmla="*/ 6 w 98"/>
                    <a:gd name="T19" fmla="*/ 16 h 84"/>
                    <a:gd name="T20" fmla="*/ 9 w 98"/>
                    <a:gd name="T21" fmla="*/ 12 h 84"/>
                    <a:gd name="T22" fmla="*/ 14 w 98"/>
                    <a:gd name="T23" fmla="*/ 9 h 84"/>
                    <a:gd name="T24" fmla="*/ 16 w 98"/>
                    <a:gd name="T25" fmla="*/ 6 h 84"/>
                    <a:gd name="T26" fmla="*/ 22 w 98"/>
                    <a:gd name="T27" fmla="*/ 5 h 84"/>
                    <a:gd name="T28" fmla="*/ 27 w 98"/>
                    <a:gd name="T29" fmla="*/ 3 h 84"/>
                    <a:gd name="T30" fmla="*/ 32 w 98"/>
                    <a:gd name="T31" fmla="*/ 1 h 84"/>
                    <a:gd name="T32" fmla="*/ 40 w 98"/>
                    <a:gd name="T33" fmla="*/ 3 h 84"/>
                    <a:gd name="T34" fmla="*/ 44 w 98"/>
                    <a:gd name="T35" fmla="*/ 6 h 84"/>
                    <a:gd name="T36" fmla="*/ 51 w 98"/>
                    <a:gd name="T37" fmla="*/ 6 h 84"/>
                    <a:gd name="T38" fmla="*/ 57 w 98"/>
                    <a:gd name="T39" fmla="*/ 5 h 84"/>
                    <a:gd name="T40" fmla="*/ 62 w 98"/>
                    <a:gd name="T41" fmla="*/ 9 h 84"/>
                    <a:gd name="T42" fmla="*/ 63 w 98"/>
                    <a:gd name="T43" fmla="*/ 17 h 84"/>
                    <a:gd name="T44" fmla="*/ 70 w 98"/>
                    <a:gd name="T45" fmla="*/ 24 h 84"/>
                    <a:gd name="T46" fmla="*/ 86 w 98"/>
                    <a:gd name="T47" fmla="*/ 31 h 84"/>
                    <a:gd name="T48" fmla="*/ 97 w 98"/>
                    <a:gd name="T49" fmla="*/ 39 h 84"/>
                    <a:gd name="T50" fmla="*/ 95 w 98"/>
                    <a:gd name="T51" fmla="*/ 46 h 84"/>
                    <a:gd name="T52" fmla="*/ 87 w 98"/>
                    <a:gd name="T53" fmla="*/ 46 h 84"/>
                    <a:gd name="T54" fmla="*/ 82 w 98"/>
                    <a:gd name="T55" fmla="*/ 44 h 84"/>
                    <a:gd name="T56" fmla="*/ 73 w 98"/>
                    <a:gd name="T57" fmla="*/ 43 h 84"/>
                    <a:gd name="T58" fmla="*/ 67 w 98"/>
                    <a:gd name="T59" fmla="*/ 43 h 84"/>
                    <a:gd name="T60" fmla="*/ 60 w 98"/>
                    <a:gd name="T61" fmla="*/ 46 h 84"/>
                    <a:gd name="T62" fmla="*/ 54 w 98"/>
                    <a:gd name="T63" fmla="*/ 44 h 84"/>
                    <a:gd name="T64" fmla="*/ 46 w 98"/>
                    <a:gd name="T65" fmla="*/ 51 h 84"/>
                    <a:gd name="T66" fmla="*/ 41 w 98"/>
                    <a:gd name="T67" fmla="*/ 57 h 84"/>
                    <a:gd name="T68" fmla="*/ 35 w 98"/>
                    <a:gd name="T69" fmla="*/ 62 h 84"/>
                    <a:gd name="T70" fmla="*/ 27 w 98"/>
                    <a:gd name="T71" fmla="*/ 65 h 84"/>
                    <a:gd name="T72" fmla="*/ 21 w 98"/>
                    <a:gd name="T73" fmla="*/ 70 h 84"/>
                    <a:gd name="T74" fmla="*/ 14 w 98"/>
                    <a:gd name="T75" fmla="*/ 76 h 84"/>
                    <a:gd name="T76" fmla="*/ 11 w 98"/>
                    <a:gd name="T77" fmla="*/ 81 h 84"/>
                    <a:gd name="T78" fmla="*/ 6 w 98"/>
                    <a:gd name="T79" fmla="*/ 81 h 84"/>
                    <a:gd name="T80" fmla="*/ 6 w 98"/>
                    <a:gd name="T81" fmla="*/ 73 h 84"/>
                    <a:gd name="T82" fmla="*/ 14 w 98"/>
                    <a:gd name="T83" fmla="*/ 68 h 84"/>
                    <a:gd name="T84" fmla="*/ 21 w 98"/>
                    <a:gd name="T85" fmla="*/ 65 h 84"/>
                    <a:gd name="T86" fmla="*/ 25 w 98"/>
                    <a:gd name="T87" fmla="*/ 60 h 84"/>
                    <a:gd name="T88" fmla="*/ 16 w 98"/>
                    <a:gd name="T89" fmla="*/ 62 h 84"/>
                    <a:gd name="T90" fmla="*/ 9 w 98"/>
                    <a:gd name="T91" fmla="*/ 62 h 84"/>
                    <a:gd name="T92" fmla="*/ 3 w 98"/>
                    <a:gd name="T93" fmla="*/ 62 h 84"/>
                    <a:gd name="T94" fmla="*/ 0 w 98"/>
                    <a:gd name="T95" fmla="*/ 55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98" h="84">
                      <a:moveTo>
                        <a:pt x="0" y="55"/>
                      </a:moveTo>
                      <a:lnTo>
                        <a:pt x="3" y="54"/>
                      </a:lnTo>
                      <a:lnTo>
                        <a:pt x="5" y="51"/>
                      </a:lnTo>
                      <a:lnTo>
                        <a:pt x="8" y="47"/>
                      </a:lnTo>
                      <a:lnTo>
                        <a:pt x="9" y="46"/>
                      </a:lnTo>
                      <a:lnTo>
                        <a:pt x="8" y="41"/>
                      </a:lnTo>
                      <a:lnTo>
                        <a:pt x="8" y="38"/>
                      </a:lnTo>
                      <a:lnTo>
                        <a:pt x="11" y="35"/>
                      </a:lnTo>
                      <a:lnTo>
                        <a:pt x="14" y="31"/>
                      </a:lnTo>
                      <a:lnTo>
                        <a:pt x="17" y="30"/>
                      </a:lnTo>
                      <a:lnTo>
                        <a:pt x="16" y="27"/>
                      </a:lnTo>
                      <a:lnTo>
                        <a:pt x="16" y="24"/>
                      </a:lnTo>
                      <a:lnTo>
                        <a:pt x="16" y="20"/>
                      </a:lnTo>
                      <a:lnTo>
                        <a:pt x="13" y="20"/>
                      </a:lnTo>
                      <a:lnTo>
                        <a:pt x="11" y="19"/>
                      </a:lnTo>
                      <a:lnTo>
                        <a:pt x="11" y="19"/>
                      </a:lnTo>
                      <a:lnTo>
                        <a:pt x="11" y="17"/>
                      </a:lnTo>
                      <a:lnTo>
                        <a:pt x="8" y="17"/>
                      </a:lnTo>
                      <a:lnTo>
                        <a:pt x="6" y="16"/>
                      </a:lnTo>
                      <a:lnTo>
                        <a:pt x="6" y="16"/>
                      </a:lnTo>
                      <a:lnTo>
                        <a:pt x="6" y="12"/>
                      </a:lnTo>
                      <a:lnTo>
                        <a:pt x="9" y="12"/>
                      </a:lnTo>
                      <a:lnTo>
                        <a:pt x="14" y="11"/>
                      </a:lnTo>
                      <a:lnTo>
                        <a:pt x="14" y="9"/>
                      </a:lnTo>
                      <a:lnTo>
                        <a:pt x="13" y="8"/>
                      </a:lnTo>
                      <a:lnTo>
                        <a:pt x="16" y="6"/>
                      </a:lnTo>
                      <a:lnTo>
                        <a:pt x="19" y="6"/>
                      </a:lnTo>
                      <a:lnTo>
                        <a:pt x="22" y="5"/>
                      </a:lnTo>
                      <a:lnTo>
                        <a:pt x="27" y="5"/>
                      </a:lnTo>
                      <a:lnTo>
                        <a:pt x="27" y="3"/>
                      </a:lnTo>
                      <a:lnTo>
                        <a:pt x="28" y="1"/>
                      </a:lnTo>
                      <a:lnTo>
                        <a:pt x="32" y="1"/>
                      </a:lnTo>
                      <a:lnTo>
                        <a:pt x="36" y="0"/>
                      </a:lnTo>
                      <a:lnTo>
                        <a:pt x="40" y="3"/>
                      </a:lnTo>
                      <a:lnTo>
                        <a:pt x="43" y="6"/>
                      </a:lnTo>
                      <a:lnTo>
                        <a:pt x="44" y="6"/>
                      </a:lnTo>
                      <a:lnTo>
                        <a:pt x="47" y="8"/>
                      </a:lnTo>
                      <a:lnTo>
                        <a:pt x="51" y="6"/>
                      </a:lnTo>
                      <a:lnTo>
                        <a:pt x="54" y="6"/>
                      </a:lnTo>
                      <a:lnTo>
                        <a:pt x="57" y="5"/>
                      </a:lnTo>
                      <a:lnTo>
                        <a:pt x="60" y="6"/>
                      </a:lnTo>
                      <a:lnTo>
                        <a:pt x="62" y="9"/>
                      </a:lnTo>
                      <a:lnTo>
                        <a:pt x="60" y="12"/>
                      </a:lnTo>
                      <a:lnTo>
                        <a:pt x="63" y="17"/>
                      </a:lnTo>
                      <a:lnTo>
                        <a:pt x="67" y="22"/>
                      </a:lnTo>
                      <a:lnTo>
                        <a:pt x="70" y="24"/>
                      </a:lnTo>
                      <a:lnTo>
                        <a:pt x="76" y="27"/>
                      </a:lnTo>
                      <a:lnTo>
                        <a:pt x="86" y="31"/>
                      </a:lnTo>
                      <a:lnTo>
                        <a:pt x="97" y="36"/>
                      </a:lnTo>
                      <a:lnTo>
                        <a:pt x="97" y="39"/>
                      </a:lnTo>
                      <a:lnTo>
                        <a:pt x="98" y="43"/>
                      </a:lnTo>
                      <a:lnTo>
                        <a:pt x="95" y="46"/>
                      </a:lnTo>
                      <a:lnTo>
                        <a:pt x="92" y="47"/>
                      </a:lnTo>
                      <a:lnTo>
                        <a:pt x="87" y="46"/>
                      </a:lnTo>
                      <a:lnTo>
                        <a:pt x="84" y="47"/>
                      </a:lnTo>
                      <a:lnTo>
                        <a:pt x="82" y="44"/>
                      </a:lnTo>
                      <a:lnTo>
                        <a:pt x="78" y="44"/>
                      </a:lnTo>
                      <a:lnTo>
                        <a:pt x="73" y="43"/>
                      </a:lnTo>
                      <a:lnTo>
                        <a:pt x="70" y="43"/>
                      </a:lnTo>
                      <a:lnTo>
                        <a:pt x="67" y="43"/>
                      </a:lnTo>
                      <a:lnTo>
                        <a:pt x="63" y="44"/>
                      </a:lnTo>
                      <a:lnTo>
                        <a:pt x="60" y="46"/>
                      </a:lnTo>
                      <a:lnTo>
                        <a:pt x="57" y="46"/>
                      </a:lnTo>
                      <a:lnTo>
                        <a:pt x="54" y="44"/>
                      </a:lnTo>
                      <a:lnTo>
                        <a:pt x="47" y="47"/>
                      </a:lnTo>
                      <a:lnTo>
                        <a:pt x="46" y="51"/>
                      </a:lnTo>
                      <a:lnTo>
                        <a:pt x="43" y="54"/>
                      </a:lnTo>
                      <a:lnTo>
                        <a:pt x="41" y="57"/>
                      </a:lnTo>
                      <a:lnTo>
                        <a:pt x="38" y="60"/>
                      </a:lnTo>
                      <a:lnTo>
                        <a:pt x="35" y="62"/>
                      </a:lnTo>
                      <a:lnTo>
                        <a:pt x="32" y="63"/>
                      </a:lnTo>
                      <a:lnTo>
                        <a:pt x="27" y="65"/>
                      </a:lnTo>
                      <a:lnTo>
                        <a:pt x="24" y="66"/>
                      </a:lnTo>
                      <a:lnTo>
                        <a:pt x="21" y="70"/>
                      </a:lnTo>
                      <a:lnTo>
                        <a:pt x="17" y="73"/>
                      </a:lnTo>
                      <a:lnTo>
                        <a:pt x="14" y="76"/>
                      </a:lnTo>
                      <a:lnTo>
                        <a:pt x="11" y="77"/>
                      </a:lnTo>
                      <a:lnTo>
                        <a:pt x="11" y="81"/>
                      </a:lnTo>
                      <a:lnTo>
                        <a:pt x="8" y="84"/>
                      </a:lnTo>
                      <a:lnTo>
                        <a:pt x="6" y="81"/>
                      </a:lnTo>
                      <a:lnTo>
                        <a:pt x="8" y="76"/>
                      </a:lnTo>
                      <a:lnTo>
                        <a:pt x="6" y="73"/>
                      </a:lnTo>
                      <a:lnTo>
                        <a:pt x="11" y="70"/>
                      </a:lnTo>
                      <a:lnTo>
                        <a:pt x="14" y="68"/>
                      </a:lnTo>
                      <a:lnTo>
                        <a:pt x="17" y="66"/>
                      </a:lnTo>
                      <a:lnTo>
                        <a:pt x="21" y="65"/>
                      </a:lnTo>
                      <a:lnTo>
                        <a:pt x="24" y="63"/>
                      </a:lnTo>
                      <a:lnTo>
                        <a:pt x="25" y="60"/>
                      </a:lnTo>
                      <a:lnTo>
                        <a:pt x="24" y="58"/>
                      </a:lnTo>
                      <a:lnTo>
                        <a:pt x="16" y="62"/>
                      </a:lnTo>
                      <a:lnTo>
                        <a:pt x="13" y="60"/>
                      </a:lnTo>
                      <a:lnTo>
                        <a:pt x="9" y="62"/>
                      </a:lnTo>
                      <a:lnTo>
                        <a:pt x="6" y="62"/>
                      </a:lnTo>
                      <a:lnTo>
                        <a:pt x="3" y="62"/>
                      </a:lnTo>
                      <a:lnTo>
                        <a:pt x="0" y="58"/>
                      </a:lnTo>
                      <a:lnTo>
                        <a:pt x="0" y="55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51" name="Freeform 380"/>
                <p:cNvSpPr>
                  <a:spLocks/>
                </p:cNvSpPr>
                <p:nvPr/>
              </p:nvSpPr>
              <p:spPr bwMode="auto">
                <a:xfrm>
                  <a:off x="3041" y="1667"/>
                  <a:ext cx="4" cy="4"/>
                </a:xfrm>
                <a:custGeom>
                  <a:avLst/>
                  <a:gdLst>
                    <a:gd name="T0" fmla="*/ 0 w 8"/>
                    <a:gd name="T1" fmla="*/ 6 h 6"/>
                    <a:gd name="T2" fmla="*/ 0 w 8"/>
                    <a:gd name="T3" fmla="*/ 3 h 6"/>
                    <a:gd name="T4" fmla="*/ 4 w 8"/>
                    <a:gd name="T5" fmla="*/ 1 h 6"/>
                    <a:gd name="T6" fmla="*/ 7 w 8"/>
                    <a:gd name="T7" fmla="*/ 0 h 6"/>
                    <a:gd name="T8" fmla="*/ 8 w 8"/>
                    <a:gd name="T9" fmla="*/ 3 h 6"/>
                    <a:gd name="T10" fmla="*/ 5 w 8"/>
                    <a:gd name="T11" fmla="*/ 5 h 6"/>
                    <a:gd name="T12" fmla="*/ 2 w 8"/>
                    <a:gd name="T13" fmla="*/ 6 h 6"/>
                    <a:gd name="T14" fmla="*/ 0 w 8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8" h="6">
                      <a:moveTo>
                        <a:pt x="0" y="6"/>
                      </a:moveTo>
                      <a:lnTo>
                        <a:pt x="0" y="3"/>
                      </a:lnTo>
                      <a:lnTo>
                        <a:pt x="4" y="1"/>
                      </a:lnTo>
                      <a:lnTo>
                        <a:pt x="7" y="0"/>
                      </a:lnTo>
                      <a:lnTo>
                        <a:pt x="8" y="3"/>
                      </a:lnTo>
                      <a:lnTo>
                        <a:pt x="5" y="5"/>
                      </a:lnTo>
                      <a:lnTo>
                        <a:pt x="2" y="6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</p:grpSp>
          <p:sp>
            <p:nvSpPr>
              <p:cNvPr id="731" name="Freeform 381"/>
              <p:cNvSpPr>
                <a:spLocks/>
              </p:cNvSpPr>
              <p:nvPr/>
            </p:nvSpPr>
            <p:spPr bwMode="auto">
              <a:xfrm>
                <a:off x="5986507" y="2465641"/>
                <a:ext cx="136885" cy="57384"/>
              </a:xfrm>
              <a:custGeom>
                <a:avLst/>
                <a:gdLst>
                  <a:gd name="T0" fmla="*/ 28 w 174"/>
                  <a:gd name="T1" fmla="*/ 75 h 75"/>
                  <a:gd name="T2" fmla="*/ 25 w 174"/>
                  <a:gd name="T3" fmla="*/ 69 h 75"/>
                  <a:gd name="T4" fmla="*/ 14 w 174"/>
                  <a:gd name="T5" fmla="*/ 61 h 75"/>
                  <a:gd name="T6" fmla="*/ 5 w 174"/>
                  <a:gd name="T7" fmla="*/ 53 h 75"/>
                  <a:gd name="T8" fmla="*/ 2 w 174"/>
                  <a:gd name="T9" fmla="*/ 45 h 75"/>
                  <a:gd name="T10" fmla="*/ 3 w 174"/>
                  <a:gd name="T11" fmla="*/ 39 h 75"/>
                  <a:gd name="T12" fmla="*/ 3 w 174"/>
                  <a:gd name="T13" fmla="*/ 32 h 75"/>
                  <a:gd name="T14" fmla="*/ 2 w 174"/>
                  <a:gd name="T15" fmla="*/ 27 h 75"/>
                  <a:gd name="T16" fmla="*/ 11 w 174"/>
                  <a:gd name="T17" fmla="*/ 26 h 75"/>
                  <a:gd name="T18" fmla="*/ 14 w 174"/>
                  <a:gd name="T19" fmla="*/ 16 h 75"/>
                  <a:gd name="T20" fmla="*/ 24 w 174"/>
                  <a:gd name="T21" fmla="*/ 10 h 75"/>
                  <a:gd name="T22" fmla="*/ 32 w 174"/>
                  <a:gd name="T23" fmla="*/ 4 h 75"/>
                  <a:gd name="T24" fmla="*/ 36 w 174"/>
                  <a:gd name="T25" fmla="*/ 2 h 75"/>
                  <a:gd name="T26" fmla="*/ 48 w 174"/>
                  <a:gd name="T27" fmla="*/ 5 h 75"/>
                  <a:gd name="T28" fmla="*/ 59 w 174"/>
                  <a:gd name="T29" fmla="*/ 2 h 75"/>
                  <a:gd name="T30" fmla="*/ 70 w 174"/>
                  <a:gd name="T31" fmla="*/ 4 h 75"/>
                  <a:gd name="T32" fmla="*/ 79 w 174"/>
                  <a:gd name="T33" fmla="*/ 5 h 75"/>
                  <a:gd name="T34" fmla="*/ 86 w 174"/>
                  <a:gd name="T35" fmla="*/ 10 h 75"/>
                  <a:gd name="T36" fmla="*/ 97 w 174"/>
                  <a:gd name="T37" fmla="*/ 10 h 75"/>
                  <a:gd name="T38" fmla="*/ 100 w 174"/>
                  <a:gd name="T39" fmla="*/ 10 h 75"/>
                  <a:gd name="T40" fmla="*/ 111 w 174"/>
                  <a:gd name="T41" fmla="*/ 10 h 75"/>
                  <a:gd name="T42" fmla="*/ 119 w 174"/>
                  <a:gd name="T43" fmla="*/ 8 h 75"/>
                  <a:gd name="T44" fmla="*/ 130 w 174"/>
                  <a:gd name="T45" fmla="*/ 8 h 75"/>
                  <a:gd name="T46" fmla="*/ 140 w 174"/>
                  <a:gd name="T47" fmla="*/ 10 h 75"/>
                  <a:gd name="T48" fmla="*/ 146 w 174"/>
                  <a:gd name="T49" fmla="*/ 12 h 75"/>
                  <a:gd name="T50" fmla="*/ 152 w 174"/>
                  <a:gd name="T51" fmla="*/ 5 h 75"/>
                  <a:gd name="T52" fmla="*/ 163 w 174"/>
                  <a:gd name="T53" fmla="*/ 8 h 75"/>
                  <a:gd name="T54" fmla="*/ 160 w 174"/>
                  <a:gd name="T55" fmla="*/ 2 h 75"/>
                  <a:gd name="T56" fmla="*/ 171 w 174"/>
                  <a:gd name="T57" fmla="*/ 5 h 75"/>
                  <a:gd name="T58" fmla="*/ 170 w 174"/>
                  <a:gd name="T59" fmla="*/ 10 h 75"/>
                  <a:gd name="T60" fmla="*/ 168 w 174"/>
                  <a:gd name="T61" fmla="*/ 20 h 75"/>
                  <a:gd name="T62" fmla="*/ 159 w 174"/>
                  <a:gd name="T63" fmla="*/ 20 h 75"/>
                  <a:gd name="T64" fmla="*/ 152 w 174"/>
                  <a:gd name="T65" fmla="*/ 23 h 75"/>
                  <a:gd name="T66" fmla="*/ 144 w 174"/>
                  <a:gd name="T67" fmla="*/ 23 h 75"/>
                  <a:gd name="T68" fmla="*/ 133 w 174"/>
                  <a:gd name="T69" fmla="*/ 18 h 75"/>
                  <a:gd name="T70" fmla="*/ 117 w 174"/>
                  <a:gd name="T71" fmla="*/ 15 h 75"/>
                  <a:gd name="T72" fmla="*/ 103 w 174"/>
                  <a:gd name="T73" fmla="*/ 16 h 75"/>
                  <a:gd name="T74" fmla="*/ 84 w 174"/>
                  <a:gd name="T75" fmla="*/ 13 h 75"/>
                  <a:gd name="T76" fmla="*/ 71 w 174"/>
                  <a:gd name="T77" fmla="*/ 15 h 75"/>
                  <a:gd name="T78" fmla="*/ 57 w 174"/>
                  <a:gd name="T79" fmla="*/ 13 h 75"/>
                  <a:gd name="T80" fmla="*/ 52 w 174"/>
                  <a:gd name="T81" fmla="*/ 8 h 75"/>
                  <a:gd name="T82" fmla="*/ 48 w 174"/>
                  <a:gd name="T83" fmla="*/ 15 h 75"/>
                  <a:gd name="T84" fmla="*/ 41 w 174"/>
                  <a:gd name="T85" fmla="*/ 20 h 75"/>
                  <a:gd name="T86" fmla="*/ 38 w 174"/>
                  <a:gd name="T87" fmla="*/ 27 h 75"/>
                  <a:gd name="T88" fmla="*/ 25 w 174"/>
                  <a:gd name="T89" fmla="*/ 34 h 75"/>
                  <a:gd name="T90" fmla="*/ 24 w 174"/>
                  <a:gd name="T91" fmla="*/ 45 h 75"/>
                  <a:gd name="T92" fmla="*/ 22 w 174"/>
                  <a:gd name="T93" fmla="*/ 54 h 75"/>
                  <a:gd name="T94" fmla="*/ 27 w 174"/>
                  <a:gd name="T95" fmla="*/ 61 h 75"/>
                  <a:gd name="T96" fmla="*/ 32 w 174"/>
                  <a:gd name="T97" fmla="*/ 70 h 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74" h="75">
                    <a:moveTo>
                      <a:pt x="30" y="75"/>
                    </a:moveTo>
                    <a:lnTo>
                      <a:pt x="30" y="75"/>
                    </a:lnTo>
                    <a:lnTo>
                      <a:pt x="28" y="75"/>
                    </a:lnTo>
                    <a:lnTo>
                      <a:pt x="27" y="75"/>
                    </a:lnTo>
                    <a:lnTo>
                      <a:pt x="25" y="72"/>
                    </a:lnTo>
                    <a:lnTo>
                      <a:pt x="25" y="69"/>
                    </a:lnTo>
                    <a:lnTo>
                      <a:pt x="21" y="65"/>
                    </a:lnTo>
                    <a:lnTo>
                      <a:pt x="17" y="64"/>
                    </a:lnTo>
                    <a:lnTo>
                      <a:pt x="14" y="61"/>
                    </a:lnTo>
                    <a:lnTo>
                      <a:pt x="11" y="58"/>
                    </a:lnTo>
                    <a:lnTo>
                      <a:pt x="8" y="54"/>
                    </a:lnTo>
                    <a:lnTo>
                      <a:pt x="5" y="53"/>
                    </a:lnTo>
                    <a:lnTo>
                      <a:pt x="2" y="51"/>
                    </a:lnTo>
                    <a:lnTo>
                      <a:pt x="0" y="48"/>
                    </a:lnTo>
                    <a:lnTo>
                      <a:pt x="2" y="45"/>
                    </a:lnTo>
                    <a:lnTo>
                      <a:pt x="0" y="42"/>
                    </a:lnTo>
                    <a:lnTo>
                      <a:pt x="3" y="42"/>
                    </a:lnTo>
                    <a:lnTo>
                      <a:pt x="3" y="39"/>
                    </a:lnTo>
                    <a:lnTo>
                      <a:pt x="5" y="35"/>
                    </a:lnTo>
                    <a:lnTo>
                      <a:pt x="5" y="34"/>
                    </a:lnTo>
                    <a:lnTo>
                      <a:pt x="3" y="32"/>
                    </a:lnTo>
                    <a:lnTo>
                      <a:pt x="0" y="29"/>
                    </a:lnTo>
                    <a:lnTo>
                      <a:pt x="0" y="29"/>
                    </a:lnTo>
                    <a:lnTo>
                      <a:pt x="2" y="27"/>
                    </a:lnTo>
                    <a:lnTo>
                      <a:pt x="5" y="27"/>
                    </a:lnTo>
                    <a:lnTo>
                      <a:pt x="8" y="26"/>
                    </a:lnTo>
                    <a:lnTo>
                      <a:pt x="11" y="26"/>
                    </a:lnTo>
                    <a:lnTo>
                      <a:pt x="8" y="23"/>
                    </a:lnTo>
                    <a:lnTo>
                      <a:pt x="9" y="20"/>
                    </a:lnTo>
                    <a:lnTo>
                      <a:pt x="14" y="16"/>
                    </a:lnTo>
                    <a:lnTo>
                      <a:pt x="17" y="15"/>
                    </a:lnTo>
                    <a:lnTo>
                      <a:pt x="21" y="12"/>
                    </a:lnTo>
                    <a:lnTo>
                      <a:pt x="24" y="10"/>
                    </a:lnTo>
                    <a:lnTo>
                      <a:pt x="24" y="7"/>
                    </a:lnTo>
                    <a:lnTo>
                      <a:pt x="24" y="4"/>
                    </a:lnTo>
                    <a:lnTo>
                      <a:pt x="32" y="4"/>
                    </a:lnTo>
                    <a:lnTo>
                      <a:pt x="35" y="0"/>
                    </a:lnTo>
                    <a:lnTo>
                      <a:pt x="36" y="4"/>
                    </a:lnTo>
                    <a:lnTo>
                      <a:pt x="36" y="2"/>
                    </a:lnTo>
                    <a:lnTo>
                      <a:pt x="41" y="4"/>
                    </a:lnTo>
                    <a:lnTo>
                      <a:pt x="44" y="5"/>
                    </a:lnTo>
                    <a:lnTo>
                      <a:pt x="48" y="5"/>
                    </a:lnTo>
                    <a:lnTo>
                      <a:pt x="51" y="5"/>
                    </a:lnTo>
                    <a:lnTo>
                      <a:pt x="55" y="4"/>
                    </a:lnTo>
                    <a:lnTo>
                      <a:pt x="59" y="2"/>
                    </a:lnTo>
                    <a:lnTo>
                      <a:pt x="62" y="4"/>
                    </a:lnTo>
                    <a:lnTo>
                      <a:pt x="65" y="0"/>
                    </a:lnTo>
                    <a:lnTo>
                      <a:pt x="70" y="4"/>
                    </a:lnTo>
                    <a:lnTo>
                      <a:pt x="73" y="2"/>
                    </a:lnTo>
                    <a:lnTo>
                      <a:pt x="76" y="4"/>
                    </a:lnTo>
                    <a:lnTo>
                      <a:pt x="79" y="5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6" y="10"/>
                    </a:lnTo>
                    <a:lnTo>
                      <a:pt x="89" y="8"/>
                    </a:lnTo>
                    <a:lnTo>
                      <a:pt x="94" y="8"/>
                    </a:lnTo>
                    <a:lnTo>
                      <a:pt x="97" y="10"/>
                    </a:lnTo>
                    <a:lnTo>
                      <a:pt x="100" y="12"/>
                    </a:lnTo>
                    <a:lnTo>
                      <a:pt x="97" y="8"/>
                    </a:lnTo>
                    <a:lnTo>
                      <a:pt x="100" y="10"/>
                    </a:lnTo>
                    <a:lnTo>
                      <a:pt x="105" y="8"/>
                    </a:lnTo>
                    <a:lnTo>
                      <a:pt x="108" y="13"/>
                    </a:lnTo>
                    <a:lnTo>
                      <a:pt x="111" y="10"/>
                    </a:lnTo>
                    <a:lnTo>
                      <a:pt x="114" y="10"/>
                    </a:lnTo>
                    <a:lnTo>
                      <a:pt x="119" y="8"/>
                    </a:lnTo>
                    <a:lnTo>
                      <a:pt x="119" y="8"/>
                    </a:lnTo>
                    <a:lnTo>
                      <a:pt x="122" y="8"/>
                    </a:lnTo>
                    <a:lnTo>
                      <a:pt x="125" y="8"/>
                    </a:lnTo>
                    <a:lnTo>
                      <a:pt x="130" y="8"/>
                    </a:lnTo>
                    <a:lnTo>
                      <a:pt x="133" y="10"/>
                    </a:lnTo>
                    <a:lnTo>
                      <a:pt x="136" y="10"/>
                    </a:lnTo>
                    <a:lnTo>
                      <a:pt x="140" y="10"/>
                    </a:lnTo>
                    <a:lnTo>
                      <a:pt x="143" y="13"/>
                    </a:lnTo>
                    <a:lnTo>
                      <a:pt x="146" y="15"/>
                    </a:lnTo>
                    <a:lnTo>
                      <a:pt x="146" y="12"/>
                    </a:lnTo>
                    <a:lnTo>
                      <a:pt x="146" y="8"/>
                    </a:lnTo>
                    <a:lnTo>
                      <a:pt x="149" y="8"/>
                    </a:lnTo>
                    <a:lnTo>
                      <a:pt x="152" y="5"/>
                    </a:lnTo>
                    <a:lnTo>
                      <a:pt x="155" y="5"/>
                    </a:lnTo>
                    <a:lnTo>
                      <a:pt x="159" y="7"/>
                    </a:lnTo>
                    <a:lnTo>
                      <a:pt x="163" y="8"/>
                    </a:lnTo>
                    <a:lnTo>
                      <a:pt x="159" y="7"/>
                    </a:lnTo>
                    <a:lnTo>
                      <a:pt x="157" y="4"/>
                    </a:lnTo>
                    <a:lnTo>
                      <a:pt x="160" y="2"/>
                    </a:lnTo>
                    <a:lnTo>
                      <a:pt x="165" y="2"/>
                    </a:lnTo>
                    <a:lnTo>
                      <a:pt x="168" y="2"/>
                    </a:lnTo>
                    <a:lnTo>
                      <a:pt x="171" y="5"/>
                    </a:lnTo>
                    <a:lnTo>
                      <a:pt x="174" y="8"/>
                    </a:lnTo>
                    <a:lnTo>
                      <a:pt x="173" y="10"/>
                    </a:lnTo>
                    <a:lnTo>
                      <a:pt x="170" y="10"/>
                    </a:lnTo>
                    <a:lnTo>
                      <a:pt x="170" y="12"/>
                    </a:lnTo>
                    <a:lnTo>
                      <a:pt x="170" y="15"/>
                    </a:lnTo>
                    <a:lnTo>
                      <a:pt x="168" y="20"/>
                    </a:lnTo>
                    <a:lnTo>
                      <a:pt x="165" y="20"/>
                    </a:lnTo>
                    <a:lnTo>
                      <a:pt x="162" y="20"/>
                    </a:lnTo>
                    <a:lnTo>
                      <a:pt x="159" y="20"/>
                    </a:lnTo>
                    <a:lnTo>
                      <a:pt x="155" y="18"/>
                    </a:lnTo>
                    <a:lnTo>
                      <a:pt x="151" y="20"/>
                    </a:lnTo>
                    <a:lnTo>
                      <a:pt x="152" y="23"/>
                    </a:lnTo>
                    <a:lnTo>
                      <a:pt x="149" y="20"/>
                    </a:lnTo>
                    <a:lnTo>
                      <a:pt x="146" y="21"/>
                    </a:lnTo>
                    <a:lnTo>
                      <a:pt x="144" y="23"/>
                    </a:lnTo>
                    <a:lnTo>
                      <a:pt x="140" y="23"/>
                    </a:lnTo>
                    <a:lnTo>
                      <a:pt x="136" y="20"/>
                    </a:lnTo>
                    <a:lnTo>
                      <a:pt x="133" y="18"/>
                    </a:lnTo>
                    <a:lnTo>
                      <a:pt x="130" y="18"/>
                    </a:lnTo>
                    <a:lnTo>
                      <a:pt x="127" y="18"/>
                    </a:lnTo>
                    <a:lnTo>
                      <a:pt x="117" y="15"/>
                    </a:lnTo>
                    <a:lnTo>
                      <a:pt x="114" y="15"/>
                    </a:lnTo>
                    <a:lnTo>
                      <a:pt x="111" y="16"/>
                    </a:lnTo>
                    <a:lnTo>
                      <a:pt x="103" y="16"/>
                    </a:lnTo>
                    <a:lnTo>
                      <a:pt x="97" y="15"/>
                    </a:lnTo>
                    <a:lnTo>
                      <a:pt x="90" y="13"/>
                    </a:lnTo>
                    <a:lnTo>
                      <a:pt x="84" y="13"/>
                    </a:lnTo>
                    <a:lnTo>
                      <a:pt x="78" y="13"/>
                    </a:lnTo>
                    <a:lnTo>
                      <a:pt x="76" y="13"/>
                    </a:lnTo>
                    <a:lnTo>
                      <a:pt x="71" y="15"/>
                    </a:lnTo>
                    <a:lnTo>
                      <a:pt x="68" y="13"/>
                    </a:lnTo>
                    <a:lnTo>
                      <a:pt x="62" y="15"/>
                    </a:lnTo>
                    <a:lnTo>
                      <a:pt x="57" y="13"/>
                    </a:lnTo>
                    <a:lnTo>
                      <a:pt x="54" y="12"/>
                    </a:lnTo>
                    <a:lnTo>
                      <a:pt x="55" y="8"/>
                    </a:lnTo>
                    <a:lnTo>
                      <a:pt x="52" y="8"/>
                    </a:lnTo>
                    <a:lnTo>
                      <a:pt x="52" y="13"/>
                    </a:lnTo>
                    <a:lnTo>
                      <a:pt x="52" y="16"/>
                    </a:lnTo>
                    <a:lnTo>
                      <a:pt x="48" y="15"/>
                    </a:lnTo>
                    <a:lnTo>
                      <a:pt x="46" y="18"/>
                    </a:lnTo>
                    <a:lnTo>
                      <a:pt x="43" y="16"/>
                    </a:lnTo>
                    <a:lnTo>
                      <a:pt x="41" y="20"/>
                    </a:lnTo>
                    <a:lnTo>
                      <a:pt x="41" y="20"/>
                    </a:lnTo>
                    <a:lnTo>
                      <a:pt x="38" y="21"/>
                    </a:lnTo>
                    <a:lnTo>
                      <a:pt x="38" y="27"/>
                    </a:lnTo>
                    <a:lnTo>
                      <a:pt x="36" y="32"/>
                    </a:lnTo>
                    <a:lnTo>
                      <a:pt x="32" y="34"/>
                    </a:lnTo>
                    <a:lnTo>
                      <a:pt x="25" y="34"/>
                    </a:lnTo>
                    <a:lnTo>
                      <a:pt x="22" y="37"/>
                    </a:lnTo>
                    <a:lnTo>
                      <a:pt x="25" y="40"/>
                    </a:lnTo>
                    <a:lnTo>
                      <a:pt x="24" y="45"/>
                    </a:lnTo>
                    <a:lnTo>
                      <a:pt x="25" y="48"/>
                    </a:lnTo>
                    <a:lnTo>
                      <a:pt x="25" y="51"/>
                    </a:lnTo>
                    <a:lnTo>
                      <a:pt x="22" y="54"/>
                    </a:lnTo>
                    <a:lnTo>
                      <a:pt x="24" y="58"/>
                    </a:lnTo>
                    <a:lnTo>
                      <a:pt x="24" y="61"/>
                    </a:lnTo>
                    <a:lnTo>
                      <a:pt x="27" y="61"/>
                    </a:lnTo>
                    <a:lnTo>
                      <a:pt x="28" y="64"/>
                    </a:lnTo>
                    <a:lnTo>
                      <a:pt x="28" y="67"/>
                    </a:lnTo>
                    <a:lnTo>
                      <a:pt x="32" y="70"/>
                    </a:lnTo>
                    <a:lnTo>
                      <a:pt x="30" y="7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32" name="Freeform 382"/>
              <p:cNvSpPr>
                <a:spLocks/>
              </p:cNvSpPr>
              <p:nvPr/>
            </p:nvSpPr>
            <p:spPr bwMode="auto">
              <a:xfrm>
                <a:off x="5158979" y="2565309"/>
                <a:ext cx="181995" cy="75506"/>
              </a:xfrm>
              <a:custGeom>
                <a:avLst/>
                <a:gdLst>
                  <a:gd name="T0" fmla="*/ 0 w 233"/>
                  <a:gd name="T1" fmla="*/ 3 h 100"/>
                  <a:gd name="T2" fmla="*/ 19 w 233"/>
                  <a:gd name="T3" fmla="*/ 2 h 100"/>
                  <a:gd name="T4" fmla="*/ 31 w 233"/>
                  <a:gd name="T5" fmla="*/ 6 h 100"/>
                  <a:gd name="T6" fmla="*/ 43 w 233"/>
                  <a:gd name="T7" fmla="*/ 10 h 100"/>
                  <a:gd name="T8" fmla="*/ 52 w 233"/>
                  <a:gd name="T9" fmla="*/ 14 h 100"/>
                  <a:gd name="T10" fmla="*/ 62 w 233"/>
                  <a:gd name="T11" fmla="*/ 14 h 100"/>
                  <a:gd name="T12" fmla="*/ 70 w 233"/>
                  <a:gd name="T13" fmla="*/ 16 h 100"/>
                  <a:gd name="T14" fmla="*/ 77 w 233"/>
                  <a:gd name="T15" fmla="*/ 13 h 100"/>
                  <a:gd name="T16" fmla="*/ 89 w 233"/>
                  <a:gd name="T17" fmla="*/ 18 h 100"/>
                  <a:gd name="T18" fmla="*/ 98 w 233"/>
                  <a:gd name="T19" fmla="*/ 19 h 100"/>
                  <a:gd name="T20" fmla="*/ 108 w 233"/>
                  <a:gd name="T21" fmla="*/ 25 h 100"/>
                  <a:gd name="T22" fmla="*/ 128 w 233"/>
                  <a:gd name="T23" fmla="*/ 35 h 100"/>
                  <a:gd name="T24" fmla="*/ 133 w 233"/>
                  <a:gd name="T25" fmla="*/ 40 h 100"/>
                  <a:gd name="T26" fmla="*/ 141 w 233"/>
                  <a:gd name="T27" fmla="*/ 38 h 100"/>
                  <a:gd name="T28" fmla="*/ 150 w 233"/>
                  <a:gd name="T29" fmla="*/ 33 h 100"/>
                  <a:gd name="T30" fmla="*/ 158 w 233"/>
                  <a:gd name="T31" fmla="*/ 35 h 100"/>
                  <a:gd name="T32" fmla="*/ 165 w 233"/>
                  <a:gd name="T33" fmla="*/ 33 h 100"/>
                  <a:gd name="T34" fmla="*/ 173 w 233"/>
                  <a:gd name="T35" fmla="*/ 35 h 100"/>
                  <a:gd name="T36" fmla="*/ 184 w 233"/>
                  <a:gd name="T37" fmla="*/ 41 h 100"/>
                  <a:gd name="T38" fmla="*/ 193 w 233"/>
                  <a:gd name="T39" fmla="*/ 45 h 100"/>
                  <a:gd name="T40" fmla="*/ 192 w 233"/>
                  <a:gd name="T41" fmla="*/ 52 h 100"/>
                  <a:gd name="T42" fmla="*/ 198 w 233"/>
                  <a:gd name="T43" fmla="*/ 59 h 100"/>
                  <a:gd name="T44" fmla="*/ 209 w 233"/>
                  <a:gd name="T45" fmla="*/ 64 h 100"/>
                  <a:gd name="T46" fmla="*/ 220 w 233"/>
                  <a:gd name="T47" fmla="*/ 68 h 100"/>
                  <a:gd name="T48" fmla="*/ 214 w 233"/>
                  <a:gd name="T49" fmla="*/ 73 h 100"/>
                  <a:gd name="T50" fmla="*/ 219 w 233"/>
                  <a:gd name="T51" fmla="*/ 81 h 100"/>
                  <a:gd name="T52" fmla="*/ 227 w 233"/>
                  <a:gd name="T53" fmla="*/ 89 h 100"/>
                  <a:gd name="T54" fmla="*/ 233 w 233"/>
                  <a:gd name="T55" fmla="*/ 97 h 100"/>
                  <a:gd name="T56" fmla="*/ 222 w 233"/>
                  <a:gd name="T57" fmla="*/ 100 h 100"/>
                  <a:gd name="T58" fmla="*/ 212 w 233"/>
                  <a:gd name="T59" fmla="*/ 97 h 100"/>
                  <a:gd name="T60" fmla="*/ 201 w 233"/>
                  <a:gd name="T61" fmla="*/ 90 h 100"/>
                  <a:gd name="T62" fmla="*/ 190 w 233"/>
                  <a:gd name="T63" fmla="*/ 86 h 100"/>
                  <a:gd name="T64" fmla="*/ 181 w 233"/>
                  <a:gd name="T65" fmla="*/ 87 h 100"/>
                  <a:gd name="T66" fmla="*/ 177 w 233"/>
                  <a:gd name="T67" fmla="*/ 92 h 100"/>
                  <a:gd name="T68" fmla="*/ 171 w 233"/>
                  <a:gd name="T69" fmla="*/ 94 h 100"/>
                  <a:gd name="T70" fmla="*/ 165 w 233"/>
                  <a:gd name="T71" fmla="*/ 95 h 100"/>
                  <a:gd name="T72" fmla="*/ 154 w 233"/>
                  <a:gd name="T73" fmla="*/ 97 h 100"/>
                  <a:gd name="T74" fmla="*/ 144 w 233"/>
                  <a:gd name="T75" fmla="*/ 97 h 100"/>
                  <a:gd name="T76" fmla="*/ 136 w 233"/>
                  <a:gd name="T77" fmla="*/ 100 h 100"/>
                  <a:gd name="T78" fmla="*/ 130 w 233"/>
                  <a:gd name="T79" fmla="*/ 98 h 100"/>
                  <a:gd name="T80" fmla="*/ 122 w 233"/>
                  <a:gd name="T81" fmla="*/ 95 h 100"/>
                  <a:gd name="T82" fmla="*/ 117 w 233"/>
                  <a:gd name="T83" fmla="*/ 92 h 100"/>
                  <a:gd name="T84" fmla="*/ 109 w 233"/>
                  <a:gd name="T85" fmla="*/ 87 h 100"/>
                  <a:gd name="T86" fmla="*/ 103 w 233"/>
                  <a:gd name="T87" fmla="*/ 81 h 100"/>
                  <a:gd name="T88" fmla="*/ 95 w 233"/>
                  <a:gd name="T89" fmla="*/ 81 h 100"/>
                  <a:gd name="T90" fmla="*/ 92 w 233"/>
                  <a:gd name="T91" fmla="*/ 87 h 100"/>
                  <a:gd name="T92" fmla="*/ 84 w 233"/>
                  <a:gd name="T93" fmla="*/ 84 h 100"/>
                  <a:gd name="T94" fmla="*/ 74 w 233"/>
                  <a:gd name="T95" fmla="*/ 84 h 100"/>
                  <a:gd name="T96" fmla="*/ 65 w 233"/>
                  <a:gd name="T97" fmla="*/ 84 h 100"/>
                  <a:gd name="T98" fmla="*/ 63 w 233"/>
                  <a:gd name="T99" fmla="*/ 78 h 100"/>
                  <a:gd name="T100" fmla="*/ 66 w 233"/>
                  <a:gd name="T101" fmla="*/ 70 h 100"/>
                  <a:gd name="T102" fmla="*/ 60 w 233"/>
                  <a:gd name="T103" fmla="*/ 57 h 100"/>
                  <a:gd name="T104" fmla="*/ 55 w 233"/>
                  <a:gd name="T105" fmla="*/ 48 h 100"/>
                  <a:gd name="T106" fmla="*/ 52 w 233"/>
                  <a:gd name="T107" fmla="*/ 37 h 100"/>
                  <a:gd name="T108" fmla="*/ 41 w 233"/>
                  <a:gd name="T109" fmla="*/ 32 h 100"/>
                  <a:gd name="T110" fmla="*/ 33 w 233"/>
                  <a:gd name="T111" fmla="*/ 24 h 100"/>
                  <a:gd name="T112" fmla="*/ 22 w 233"/>
                  <a:gd name="T113" fmla="*/ 19 h 100"/>
                  <a:gd name="T114" fmla="*/ 11 w 233"/>
                  <a:gd name="T115" fmla="*/ 18 h 100"/>
                  <a:gd name="T116" fmla="*/ 3 w 233"/>
                  <a:gd name="T117" fmla="*/ 8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33" h="100">
                    <a:moveTo>
                      <a:pt x="0" y="8"/>
                    </a:moveTo>
                    <a:lnTo>
                      <a:pt x="0" y="6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19" y="2"/>
                    </a:lnTo>
                    <a:lnTo>
                      <a:pt x="25" y="3"/>
                    </a:lnTo>
                    <a:lnTo>
                      <a:pt x="28" y="5"/>
                    </a:lnTo>
                    <a:lnTo>
                      <a:pt x="31" y="6"/>
                    </a:lnTo>
                    <a:lnTo>
                      <a:pt x="35" y="8"/>
                    </a:lnTo>
                    <a:lnTo>
                      <a:pt x="38" y="8"/>
                    </a:lnTo>
                    <a:lnTo>
                      <a:pt x="43" y="10"/>
                    </a:lnTo>
                    <a:lnTo>
                      <a:pt x="46" y="10"/>
                    </a:lnTo>
                    <a:lnTo>
                      <a:pt x="49" y="13"/>
                    </a:lnTo>
                    <a:lnTo>
                      <a:pt x="52" y="14"/>
                    </a:lnTo>
                    <a:lnTo>
                      <a:pt x="55" y="14"/>
                    </a:lnTo>
                    <a:lnTo>
                      <a:pt x="60" y="14"/>
                    </a:lnTo>
                    <a:lnTo>
                      <a:pt x="62" y="14"/>
                    </a:lnTo>
                    <a:lnTo>
                      <a:pt x="65" y="16"/>
                    </a:lnTo>
                    <a:lnTo>
                      <a:pt x="70" y="16"/>
                    </a:lnTo>
                    <a:lnTo>
                      <a:pt x="70" y="16"/>
                    </a:lnTo>
                    <a:lnTo>
                      <a:pt x="73" y="14"/>
                    </a:lnTo>
                    <a:lnTo>
                      <a:pt x="76" y="14"/>
                    </a:lnTo>
                    <a:lnTo>
                      <a:pt x="77" y="13"/>
                    </a:lnTo>
                    <a:lnTo>
                      <a:pt x="81" y="14"/>
                    </a:lnTo>
                    <a:lnTo>
                      <a:pt x="84" y="16"/>
                    </a:lnTo>
                    <a:lnTo>
                      <a:pt x="89" y="18"/>
                    </a:lnTo>
                    <a:lnTo>
                      <a:pt x="92" y="16"/>
                    </a:lnTo>
                    <a:lnTo>
                      <a:pt x="95" y="18"/>
                    </a:lnTo>
                    <a:lnTo>
                      <a:pt x="98" y="19"/>
                    </a:lnTo>
                    <a:lnTo>
                      <a:pt x="101" y="22"/>
                    </a:lnTo>
                    <a:lnTo>
                      <a:pt x="104" y="25"/>
                    </a:lnTo>
                    <a:lnTo>
                      <a:pt x="108" y="25"/>
                    </a:lnTo>
                    <a:lnTo>
                      <a:pt x="119" y="29"/>
                    </a:lnTo>
                    <a:lnTo>
                      <a:pt x="127" y="33"/>
                    </a:lnTo>
                    <a:lnTo>
                      <a:pt x="128" y="35"/>
                    </a:lnTo>
                    <a:lnTo>
                      <a:pt x="127" y="37"/>
                    </a:lnTo>
                    <a:lnTo>
                      <a:pt x="130" y="40"/>
                    </a:lnTo>
                    <a:lnTo>
                      <a:pt x="133" y="40"/>
                    </a:lnTo>
                    <a:lnTo>
                      <a:pt x="136" y="38"/>
                    </a:lnTo>
                    <a:lnTo>
                      <a:pt x="139" y="38"/>
                    </a:lnTo>
                    <a:lnTo>
                      <a:pt x="141" y="38"/>
                    </a:lnTo>
                    <a:lnTo>
                      <a:pt x="142" y="37"/>
                    </a:lnTo>
                    <a:lnTo>
                      <a:pt x="146" y="35"/>
                    </a:lnTo>
                    <a:lnTo>
                      <a:pt x="150" y="33"/>
                    </a:lnTo>
                    <a:lnTo>
                      <a:pt x="154" y="33"/>
                    </a:lnTo>
                    <a:lnTo>
                      <a:pt x="155" y="33"/>
                    </a:lnTo>
                    <a:lnTo>
                      <a:pt x="158" y="35"/>
                    </a:lnTo>
                    <a:lnTo>
                      <a:pt x="160" y="38"/>
                    </a:lnTo>
                    <a:lnTo>
                      <a:pt x="162" y="35"/>
                    </a:lnTo>
                    <a:lnTo>
                      <a:pt x="165" y="33"/>
                    </a:lnTo>
                    <a:lnTo>
                      <a:pt x="166" y="35"/>
                    </a:lnTo>
                    <a:lnTo>
                      <a:pt x="169" y="35"/>
                    </a:lnTo>
                    <a:lnTo>
                      <a:pt x="173" y="35"/>
                    </a:lnTo>
                    <a:lnTo>
                      <a:pt x="176" y="38"/>
                    </a:lnTo>
                    <a:lnTo>
                      <a:pt x="179" y="41"/>
                    </a:lnTo>
                    <a:lnTo>
                      <a:pt x="184" y="41"/>
                    </a:lnTo>
                    <a:lnTo>
                      <a:pt x="187" y="41"/>
                    </a:lnTo>
                    <a:lnTo>
                      <a:pt x="190" y="43"/>
                    </a:lnTo>
                    <a:lnTo>
                      <a:pt x="193" y="45"/>
                    </a:lnTo>
                    <a:lnTo>
                      <a:pt x="193" y="45"/>
                    </a:lnTo>
                    <a:lnTo>
                      <a:pt x="193" y="49"/>
                    </a:lnTo>
                    <a:lnTo>
                      <a:pt x="192" y="52"/>
                    </a:lnTo>
                    <a:lnTo>
                      <a:pt x="192" y="56"/>
                    </a:lnTo>
                    <a:lnTo>
                      <a:pt x="195" y="57"/>
                    </a:lnTo>
                    <a:lnTo>
                      <a:pt x="198" y="59"/>
                    </a:lnTo>
                    <a:lnTo>
                      <a:pt x="203" y="62"/>
                    </a:lnTo>
                    <a:lnTo>
                      <a:pt x="206" y="64"/>
                    </a:lnTo>
                    <a:lnTo>
                      <a:pt x="209" y="64"/>
                    </a:lnTo>
                    <a:lnTo>
                      <a:pt x="212" y="64"/>
                    </a:lnTo>
                    <a:lnTo>
                      <a:pt x="217" y="67"/>
                    </a:lnTo>
                    <a:lnTo>
                      <a:pt x="220" y="68"/>
                    </a:lnTo>
                    <a:lnTo>
                      <a:pt x="219" y="71"/>
                    </a:lnTo>
                    <a:lnTo>
                      <a:pt x="217" y="73"/>
                    </a:lnTo>
                    <a:lnTo>
                      <a:pt x="214" y="73"/>
                    </a:lnTo>
                    <a:lnTo>
                      <a:pt x="212" y="76"/>
                    </a:lnTo>
                    <a:lnTo>
                      <a:pt x="215" y="81"/>
                    </a:lnTo>
                    <a:lnTo>
                      <a:pt x="219" y="81"/>
                    </a:lnTo>
                    <a:lnTo>
                      <a:pt x="219" y="84"/>
                    </a:lnTo>
                    <a:lnTo>
                      <a:pt x="222" y="86"/>
                    </a:lnTo>
                    <a:lnTo>
                      <a:pt x="227" y="89"/>
                    </a:lnTo>
                    <a:lnTo>
                      <a:pt x="230" y="90"/>
                    </a:lnTo>
                    <a:lnTo>
                      <a:pt x="233" y="94"/>
                    </a:lnTo>
                    <a:lnTo>
                      <a:pt x="233" y="97"/>
                    </a:lnTo>
                    <a:lnTo>
                      <a:pt x="228" y="100"/>
                    </a:lnTo>
                    <a:lnTo>
                      <a:pt x="225" y="100"/>
                    </a:lnTo>
                    <a:lnTo>
                      <a:pt x="222" y="100"/>
                    </a:lnTo>
                    <a:lnTo>
                      <a:pt x="219" y="97"/>
                    </a:lnTo>
                    <a:lnTo>
                      <a:pt x="214" y="95"/>
                    </a:lnTo>
                    <a:lnTo>
                      <a:pt x="212" y="97"/>
                    </a:lnTo>
                    <a:lnTo>
                      <a:pt x="209" y="97"/>
                    </a:lnTo>
                    <a:lnTo>
                      <a:pt x="201" y="94"/>
                    </a:lnTo>
                    <a:lnTo>
                      <a:pt x="201" y="90"/>
                    </a:lnTo>
                    <a:lnTo>
                      <a:pt x="196" y="89"/>
                    </a:lnTo>
                    <a:lnTo>
                      <a:pt x="193" y="87"/>
                    </a:lnTo>
                    <a:lnTo>
                      <a:pt x="190" y="86"/>
                    </a:lnTo>
                    <a:lnTo>
                      <a:pt x="187" y="86"/>
                    </a:lnTo>
                    <a:lnTo>
                      <a:pt x="184" y="86"/>
                    </a:lnTo>
                    <a:lnTo>
                      <a:pt x="181" y="87"/>
                    </a:lnTo>
                    <a:lnTo>
                      <a:pt x="179" y="90"/>
                    </a:lnTo>
                    <a:lnTo>
                      <a:pt x="177" y="90"/>
                    </a:lnTo>
                    <a:lnTo>
                      <a:pt x="177" y="92"/>
                    </a:lnTo>
                    <a:lnTo>
                      <a:pt x="176" y="92"/>
                    </a:lnTo>
                    <a:lnTo>
                      <a:pt x="174" y="94"/>
                    </a:lnTo>
                    <a:lnTo>
                      <a:pt x="171" y="94"/>
                    </a:lnTo>
                    <a:lnTo>
                      <a:pt x="173" y="95"/>
                    </a:lnTo>
                    <a:lnTo>
                      <a:pt x="168" y="95"/>
                    </a:lnTo>
                    <a:lnTo>
                      <a:pt x="165" y="95"/>
                    </a:lnTo>
                    <a:lnTo>
                      <a:pt x="162" y="95"/>
                    </a:lnTo>
                    <a:lnTo>
                      <a:pt x="158" y="97"/>
                    </a:lnTo>
                    <a:lnTo>
                      <a:pt x="154" y="97"/>
                    </a:lnTo>
                    <a:lnTo>
                      <a:pt x="152" y="95"/>
                    </a:lnTo>
                    <a:lnTo>
                      <a:pt x="149" y="97"/>
                    </a:lnTo>
                    <a:lnTo>
                      <a:pt x="144" y="97"/>
                    </a:lnTo>
                    <a:lnTo>
                      <a:pt x="141" y="97"/>
                    </a:lnTo>
                    <a:lnTo>
                      <a:pt x="138" y="98"/>
                    </a:lnTo>
                    <a:lnTo>
                      <a:pt x="136" y="100"/>
                    </a:lnTo>
                    <a:lnTo>
                      <a:pt x="136" y="100"/>
                    </a:lnTo>
                    <a:lnTo>
                      <a:pt x="133" y="100"/>
                    </a:lnTo>
                    <a:lnTo>
                      <a:pt x="130" y="98"/>
                    </a:lnTo>
                    <a:lnTo>
                      <a:pt x="127" y="100"/>
                    </a:lnTo>
                    <a:lnTo>
                      <a:pt x="125" y="98"/>
                    </a:lnTo>
                    <a:lnTo>
                      <a:pt x="122" y="95"/>
                    </a:lnTo>
                    <a:lnTo>
                      <a:pt x="119" y="97"/>
                    </a:lnTo>
                    <a:lnTo>
                      <a:pt x="116" y="94"/>
                    </a:lnTo>
                    <a:lnTo>
                      <a:pt x="117" y="92"/>
                    </a:lnTo>
                    <a:lnTo>
                      <a:pt x="116" y="92"/>
                    </a:lnTo>
                    <a:lnTo>
                      <a:pt x="112" y="89"/>
                    </a:lnTo>
                    <a:lnTo>
                      <a:pt x="109" y="87"/>
                    </a:lnTo>
                    <a:lnTo>
                      <a:pt x="104" y="84"/>
                    </a:lnTo>
                    <a:lnTo>
                      <a:pt x="101" y="84"/>
                    </a:lnTo>
                    <a:lnTo>
                      <a:pt x="103" y="81"/>
                    </a:lnTo>
                    <a:lnTo>
                      <a:pt x="101" y="81"/>
                    </a:lnTo>
                    <a:lnTo>
                      <a:pt x="98" y="81"/>
                    </a:lnTo>
                    <a:lnTo>
                      <a:pt x="95" y="81"/>
                    </a:lnTo>
                    <a:lnTo>
                      <a:pt x="95" y="81"/>
                    </a:lnTo>
                    <a:lnTo>
                      <a:pt x="93" y="83"/>
                    </a:lnTo>
                    <a:lnTo>
                      <a:pt x="92" y="87"/>
                    </a:lnTo>
                    <a:lnTo>
                      <a:pt x="92" y="87"/>
                    </a:lnTo>
                    <a:lnTo>
                      <a:pt x="87" y="86"/>
                    </a:lnTo>
                    <a:lnTo>
                      <a:pt x="84" y="84"/>
                    </a:lnTo>
                    <a:lnTo>
                      <a:pt x="81" y="84"/>
                    </a:lnTo>
                    <a:lnTo>
                      <a:pt x="77" y="84"/>
                    </a:lnTo>
                    <a:lnTo>
                      <a:pt x="74" y="84"/>
                    </a:lnTo>
                    <a:lnTo>
                      <a:pt x="70" y="87"/>
                    </a:lnTo>
                    <a:lnTo>
                      <a:pt x="66" y="86"/>
                    </a:lnTo>
                    <a:lnTo>
                      <a:pt x="65" y="84"/>
                    </a:lnTo>
                    <a:lnTo>
                      <a:pt x="62" y="83"/>
                    </a:lnTo>
                    <a:lnTo>
                      <a:pt x="60" y="83"/>
                    </a:lnTo>
                    <a:lnTo>
                      <a:pt x="63" y="78"/>
                    </a:lnTo>
                    <a:lnTo>
                      <a:pt x="65" y="75"/>
                    </a:lnTo>
                    <a:lnTo>
                      <a:pt x="66" y="73"/>
                    </a:lnTo>
                    <a:lnTo>
                      <a:pt x="66" y="70"/>
                    </a:lnTo>
                    <a:lnTo>
                      <a:pt x="65" y="67"/>
                    </a:lnTo>
                    <a:lnTo>
                      <a:pt x="63" y="62"/>
                    </a:lnTo>
                    <a:lnTo>
                      <a:pt x="60" y="57"/>
                    </a:lnTo>
                    <a:lnTo>
                      <a:pt x="60" y="54"/>
                    </a:lnTo>
                    <a:lnTo>
                      <a:pt x="57" y="51"/>
                    </a:lnTo>
                    <a:lnTo>
                      <a:pt x="55" y="48"/>
                    </a:lnTo>
                    <a:lnTo>
                      <a:pt x="54" y="45"/>
                    </a:lnTo>
                    <a:lnTo>
                      <a:pt x="54" y="40"/>
                    </a:lnTo>
                    <a:lnTo>
                      <a:pt x="52" y="37"/>
                    </a:lnTo>
                    <a:lnTo>
                      <a:pt x="49" y="33"/>
                    </a:lnTo>
                    <a:lnTo>
                      <a:pt x="44" y="32"/>
                    </a:lnTo>
                    <a:lnTo>
                      <a:pt x="41" y="32"/>
                    </a:lnTo>
                    <a:lnTo>
                      <a:pt x="38" y="29"/>
                    </a:lnTo>
                    <a:lnTo>
                      <a:pt x="36" y="25"/>
                    </a:lnTo>
                    <a:lnTo>
                      <a:pt x="33" y="24"/>
                    </a:lnTo>
                    <a:lnTo>
                      <a:pt x="30" y="21"/>
                    </a:lnTo>
                    <a:lnTo>
                      <a:pt x="25" y="21"/>
                    </a:lnTo>
                    <a:lnTo>
                      <a:pt x="22" y="19"/>
                    </a:lnTo>
                    <a:lnTo>
                      <a:pt x="19" y="19"/>
                    </a:lnTo>
                    <a:lnTo>
                      <a:pt x="16" y="18"/>
                    </a:lnTo>
                    <a:lnTo>
                      <a:pt x="11" y="18"/>
                    </a:lnTo>
                    <a:lnTo>
                      <a:pt x="9" y="14"/>
                    </a:lnTo>
                    <a:lnTo>
                      <a:pt x="6" y="10"/>
                    </a:lnTo>
                    <a:lnTo>
                      <a:pt x="3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grpSp>
            <p:nvGrpSpPr>
              <p:cNvPr id="733" name="Group 383"/>
              <p:cNvGrpSpPr>
                <a:grpSpLocks/>
              </p:cNvGrpSpPr>
              <p:nvPr/>
            </p:nvGrpSpPr>
            <p:grpSpPr bwMode="auto">
              <a:xfrm>
                <a:off x="5297420" y="2616653"/>
                <a:ext cx="143107" cy="107218"/>
                <a:chOff x="3359" y="1634"/>
                <a:chExt cx="92" cy="71"/>
              </a:xfrm>
              <a:grpFill/>
            </p:grpSpPr>
            <p:sp>
              <p:nvSpPr>
                <p:cNvPr id="747" name="Freeform 384"/>
                <p:cNvSpPr>
                  <a:spLocks/>
                </p:cNvSpPr>
                <p:nvPr/>
              </p:nvSpPr>
              <p:spPr bwMode="auto">
                <a:xfrm>
                  <a:off x="3359" y="1634"/>
                  <a:ext cx="92" cy="71"/>
                </a:xfrm>
                <a:custGeom>
                  <a:avLst/>
                  <a:gdLst>
                    <a:gd name="T0" fmla="*/ 7 w 184"/>
                    <a:gd name="T1" fmla="*/ 18 h 141"/>
                    <a:gd name="T2" fmla="*/ 16 w 184"/>
                    <a:gd name="T3" fmla="*/ 19 h 141"/>
                    <a:gd name="T4" fmla="*/ 32 w 184"/>
                    <a:gd name="T5" fmla="*/ 29 h 141"/>
                    <a:gd name="T6" fmla="*/ 42 w 184"/>
                    <a:gd name="T7" fmla="*/ 29 h 141"/>
                    <a:gd name="T8" fmla="*/ 51 w 184"/>
                    <a:gd name="T9" fmla="*/ 32 h 141"/>
                    <a:gd name="T10" fmla="*/ 53 w 184"/>
                    <a:gd name="T11" fmla="*/ 22 h 141"/>
                    <a:gd name="T12" fmla="*/ 42 w 184"/>
                    <a:gd name="T13" fmla="*/ 16 h 141"/>
                    <a:gd name="T14" fmla="*/ 35 w 184"/>
                    <a:gd name="T15" fmla="*/ 8 h 141"/>
                    <a:gd name="T16" fmla="*/ 42 w 184"/>
                    <a:gd name="T17" fmla="*/ 3 h 141"/>
                    <a:gd name="T18" fmla="*/ 46 w 184"/>
                    <a:gd name="T19" fmla="*/ 0 h 141"/>
                    <a:gd name="T20" fmla="*/ 56 w 184"/>
                    <a:gd name="T21" fmla="*/ 5 h 141"/>
                    <a:gd name="T22" fmla="*/ 65 w 184"/>
                    <a:gd name="T23" fmla="*/ 13 h 141"/>
                    <a:gd name="T24" fmla="*/ 78 w 184"/>
                    <a:gd name="T25" fmla="*/ 26 h 141"/>
                    <a:gd name="T26" fmla="*/ 96 w 184"/>
                    <a:gd name="T27" fmla="*/ 24 h 141"/>
                    <a:gd name="T28" fmla="*/ 107 w 184"/>
                    <a:gd name="T29" fmla="*/ 15 h 141"/>
                    <a:gd name="T30" fmla="*/ 113 w 184"/>
                    <a:gd name="T31" fmla="*/ 2 h 141"/>
                    <a:gd name="T32" fmla="*/ 137 w 184"/>
                    <a:gd name="T33" fmla="*/ 29 h 141"/>
                    <a:gd name="T34" fmla="*/ 151 w 184"/>
                    <a:gd name="T35" fmla="*/ 45 h 141"/>
                    <a:gd name="T36" fmla="*/ 159 w 184"/>
                    <a:gd name="T37" fmla="*/ 53 h 141"/>
                    <a:gd name="T38" fmla="*/ 172 w 184"/>
                    <a:gd name="T39" fmla="*/ 54 h 141"/>
                    <a:gd name="T40" fmla="*/ 181 w 184"/>
                    <a:gd name="T41" fmla="*/ 61 h 141"/>
                    <a:gd name="T42" fmla="*/ 184 w 184"/>
                    <a:gd name="T43" fmla="*/ 67 h 141"/>
                    <a:gd name="T44" fmla="*/ 173 w 184"/>
                    <a:gd name="T45" fmla="*/ 62 h 141"/>
                    <a:gd name="T46" fmla="*/ 165 w 184"/>
                    <a:gd name="T47" fmla="*/ 62 h 141"/>
                    <a:gd name="T48" fmla="*/ 156 w 184"/>
                    <a:gd name="T49" fmla="*/ 70 h 141"/>
                    <a:gd name="T50" fmla="*/ 154 w 184"/>
                    <a:gd name="T51" fmla="*/ 80 h 141"/>
                    <a:gd name="T52" fmla="*/ 154 w 184"/>
                    <a:gd name="T53" fmla="*/ 89 h 141"/>
                    <a:gd name="T54" fmla="*/ 154 w 184"/>
                    <a:gd name="T55" fmla="*/ 100 h 141"/>
                    <a:gd name="T56" fmla="*/ 153 w 184"/>
                    <a:gd name="T57" fmla="*/ 107 h 141"/>
                    <a:gd name="T58" fmla="*/ 153 w 184"/>
                    <a:gd name="T59" fmla="*/ 114 h 141"/>
                    <a:gd name="T60" fmla="*/ 151 w 184"/>
                    <a:gd name="T61" fmla="*/ 113 h 141"/>
                    <a:gd name="T62" fmla="*/ 143 w 184"/>
                    <a:gd name="T63" fmla="*/ 116 h 141"/>
                    <a:gd name="T64" fmla="*/ 142 w 184"/>
                    <a:gd name="T65" fmla="*/ 126 h 141"/>
                    <a:gd name="T66" fmla="*/ 145 w 184"/>
                    <a:gd name="T67" fmla="*/ 137 h 141"/>
                    <a:gd name="T68" fmla="*/ 142 w 184"/>
                    <a:gd name="T69" fmla="*/ 141 h 141"/>
                    <a:gd name="T70" fmla="*/ 135 w 184"/>
                    <a:gd name="T71" fmla="*/ 138 h 141"/>
                    <a:gd name="T72" fmla="*/ 124 w 184"/>
                    <a:gd name="T73" fmla="*/ 132 h 141"/>
                    <a:gd name="T74" fmla="*/ 115 w 184"/>
                    <a:gd name="T75" fmla="*/ 124 h 141"/>
                    <a:gd name="T76" fmla="*/ 122 w 184"/>
                    <a:gd name="T77" fmla="*/ 118 h 141"/>
                    <a:gd name="T78" fmla="*/ 116 w 184"/>
                    <a:gd name="T79" fmla="*/ 110 h 141"/>
                    <a:gd name="T80" fmla="*/ 122 w 184"/>
                    <a:gd name="T81" fmla="*/ 102 h 141"/>
                    <a:gd name="T82" fmla="*/ 107 w 184"/>
                    <a:gd name="T83" fmla="*/ 89 h 141"/>
                    <a:gd name="T84" fmla="*/ 96 w 184"/>
                    <a:gd name="T85" fmla="*/ 94 h 141"/>
                    <a:gd name="T86" fmla="*/ 89 w 184"/>
                    <a:gd name="T87" fmla="*/ 99 h 141"/>
                    <a:gd name="T88" fmla="*/ 80 w 184"/>
                    <a:gd name="T89" fmla="*/ 107 h 141"/>
                    <a:gd name="T90" fmla="*/ 72 w 184"/>
                    <a:gd name="T91" fmla="*/ 113 h 141"/>
                    <a:gd name="T92" fmla="*/ 65 w 184"/>
                    <a:gd name="T93" fmla="*/ 122 h 141"/>
                    <a:gd name="T94" fmla="*/ 62 w 184"/>
                    <a:gd name="T95" fmla="*/ 116 h 141"/>
                    <a:gd name="T96" fmla="*/ 65 w 184"/>
                    <a:gd name="T97" fmla="*/ 108 h 141"/>
                    <a:gd name="T98" fmla="*/ 56 w 184"/>
                    <a:gd name="T99" fmla="*/ 99 h 141"/>
                    <a:gd name="T100" fmla="*/ 57 w 184"/>
                    <a:gd name="T101" fmla="*/ 94 h 141"/>
                    <a:gd name="T102" fmla="*/ 46 w 184"/>
                    <a:gd name="T103" fmla="*/ 91 h 141"/>
                    <a:gd name="T104" fmla="*/ 35 w 184"/>
                    <a:gd name="T105" fmla="*/ 83 h 141"/>
                    <a:gd name="T106" fmla="*/ 26 w 184"/>
                    <a:gd name="T107" fmla="*/ 76 h 141"/>
                    <a:gd name="T108" fmla="*/ 37 w 184"/>
                    <a:gd name="T109" fmla="*/ 75 h 141"/>
                    <a:gd name="T110" fmla="*/ 30 w 184"/>
                    <a:gd name="T111" fmla="*/ 64 h 141"/>
                    <a:gd name="T112" fmla="*/ 16 w 184"/>
                    <a:gd name="T113" fmla="*/ 49 h 141"/>
                    <a:gd name="T114" fmla="*/ 19 w 184"/>
                    <a:gd name="T115" fmla="*/ 42 h 141"/>
                    <a:gd name="T116" fmla="*/ 10 w 184"/>
                    <a:gd name="T117" fmla="*/ 35 h 141"/>
                    <a:gd name="T118" fmla="*/ 2 w 184"/>
                    <a:gd name="T119" fmla="*/ 32 h 141"/>
                    <a:gd name="T120" fmla="*/ 0 w 184"/>
                    <a:gd name="T121" fmla="*/ 27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84" h="141">
                      <a:moveTo>
                        <a:pt x="0" y="24"/>
                      </a:moveTo>
                      <a:lnTo>
                        <a:pt x="4" y="21"/>
                      </a:lnTo>
                      <a:lnTo>
                        <a:pt x="7" y="18"/>
                      </a:lnTo>
                      <a:lnTo>
                        <a:pt x="8" y="18"/>
                      </a:lnTo>
                      <a:lnTo>
                        <a:pt x="11" y="18"/>
                      </a:lnTo>
                      <a:lnTo>
                        <a:pt x="16" y="19"/>
                      </a:lnTo>
                      <a:lnTo>
                        <a:pt x="24" y="22"/>
                      </a:lnTo>
                      <a:lnTo>
                        <a:pt x="24" y="26"/>
                      </a:lnTo>
                      <a:lnTo>
                        <a:pt x="32" y="29"/>
                      </a:lnTo>
                      <a:lnTo>
                        <a:pt x="35" y="29"/>
                      </a:lnTo>
                      <a:lnTo>
                        <a:pt x="37" y="27"/>
                      </a:lnTo>
                      <a:lnTo>
                        <a:pt x="42" y="29"/>
                      </a:lnTo>
                      <a:lnTo>
                        <a:pt x="45" y="32"/>
                      </a:lnTo>
                      <a:lnTo>
                        <a:pt x="48" y="32"/>
                      </a:lnTo>
                      <a:lnTo>
                        <a:pt x="51" y="32"/>
                      </a:lnTo>
                      <a:lnTo>
                        <a:pt x="56" y="29"/>
                      </a:lnTo>
                      <a:lnTo>
                        <a:pt x="56" y="26"/>
                      </a:lnTo>
                      <a:lnTo>
                        <a:pt x="53" y="22"/>
                      </a:lnTo>
                      <a:lnTo>
                        <a:pt x="50" y="21"/>
                      </a:lnTo>
                      <a:lnTo>
                        <a:pt x="45" y="18"/>
                      </a:lnTo>
                      <a:lnTo>
                        <a:pt x="42" y="16"/>
                      </a:lnTo>
                      <a:lnTo>
                        <a:pt x="42" y="13"/>
                      </a:lnTo>
                      <a:lnTo>
                        <a:pt x="38" y="13"/>
                      </a:lnTo>
                      <a:lnTo>
                        <a:pt x="35" y="8"/>
                      </a:lnTo>
                      <a:lnTo>
                        <a:pt x="37" y="5"/>
                      </a:lnTo>
                      <a:lnTo>
                        <a:pt x="40" y="5"/>
                      </a:lnTo>
                      <a:lnTo>
                        <a:pt x="42" y="3"/>
                      </a:lnTo>
                      <a:lnTo>
                        <a:pt x="43" y="0"/>
                      </a:lnTo>
                      <a:lnTo>
                        <a:pt x="43" y="0"/>
                      </a:lnTo>
                      <a:lnTo>
                        <a:pt x="46" y="0"/>
                      </a:lnTo>
                      <a:lnTo>
                        <a:pt x="51" y="3"/>
                      </a:lnTo>
                      <a:lnTo>
                        <a:pt x="54" y="2"/>
                      </a:lnTo>
                      <a:lnTo>
                        <a:pt x="56" y="5"/>
                      </a:lnTo>
                      <a:lnTo>
                        <a:pt x="59" y="7"/>
                      </a:lnTo>
                      <a:lnTo>
                        <a:pt x="62" y="10"/>
                      </a:lnTo>
                      <a:lnTo>
                        <a:pt x="65" y="13"/>
                      </a:lnTo>
                      <a:lnTo>
                        <a:pt x="69" y="13"/>
                      </a:lnTo>
                      <a:lnTo>
                        <a:pt x="73" y="21"/>
                      </a:lnTo>
                      <a:lnTo>
                        <a:pt x="78" y="26"/>
                      </a:lnTo>
                      <a:lnTo>
                        <a:pt x="84" y="27"/>
                      </a:lnTo>
                      <a:lnTo>
                        <a:pt x="94" y="27"/>
                      </a:lnTo>
                      <a:lnTo>
                        <a:pt x="96" y="24"/>
                      </a:lnTo>
                      <a:lnTo>
                        <a:pt x="99" y="21"/>
                      </a:lnTo>
                      <a:lnTo>
                        <a:pt x="99" y="18"/>
                      </a:lnTo>
                      <a:lnTo>
                        <a:pt x="107" y="15"/>
                      </a:lnTo>
                      <a:lnTo>
                        <a:pt x="110" y="11"/>
                      </a:lnTo>
                      <a:lnTo>
                        <a:pt x="111" y="8"/>
                      </a:lnTo>
                      <a:lnTo>
                        <a:pt x="113" y="2"/>
                      </a:lnTo>
                      <a:lnTo>
                        <a:pt x="124" y="11"/>
                      </a:lnTo>
                      <a:lnTo>
                        <a:pt x="134" y="22"/>
                      </a:lnTo>
                      <a:lnTo>
                        <a:pt x="137" y="29"/>
                      </a:lnTo>
                      <a:lnTo>
                        <a:pt x="140" y="35"/>
                      </a:lnTo>
                      <a:lnTo>
                        <a:pt x="145" y="40"/>
                      </a:lnTo>
                      <a:lnTo>
                        <a:pt x="151" y="45"/>
                      </a:lnTo>
                      <a:lnTo>
                        <a:pt x="153" y="48"/>
                      </a:lnTo>
                      <a:lnTo>
                        <a:pt x="156" y="51"/>
                      </a:lnTo>
                      <a:lnTo>
                        <a:pt x="159" y="53"/>
                      </a:lnTo>
                      <a:lnTo>
                        <a:pt x="162" y="54"/>
                      </a:lnTo>
                      <a:lnTo>
                        <a:pt x="168" y="53"/>
                      </a:lnTo>
                      <a:lnTo>
                        <a:pt x="172" y="54"/>
                      </a:lnTo>
                      <a:lnTo>
                        <a:pt x="175" y="56"/>
                      </a:lnTo>
                      <a:lnTo>
                        <a:pt x="180" y="59"/>
                      </a:lnTo>
                      <a:lnTo>
                        <a:pt x="181" y="61"/>
                      </a:lnTo>
                      <a:lnTo>
                        <a:pt x="183" y="61"/>
                      </a:lnTo>
                      <a:lnTo>
                        <a:pt x="183" y="64"/>
                      </a:lnTo>
                      <a:lnTo>
                        <a:pt x="184" y="67"/>
                      </a:lnTo>
                      <a:lnTo>
                        <a:pt x="181" y="64"/>
                      </a:lnTo>
                      <a:lnTo>
                        <a:pt x="178" y="62"/>
                      </a:lnTo>
                      <a:lnTo>
                        <a:pt x="173" y="62"/>
                      </a:lnTo>
                      <a:lnTo>
                        <a:pt x="170" y="64"/>
                      </a:lnTo>
                      <a:lnTo>
                        <a:pt x="170" y="62"/>
                      </a:lnTo>
                      <a:lnTo>
                        <a:pt x="165" y="62"/>
                      </a:lnTo>
                      <a:lnTo>
                        <a:pt x="162" y="65"/>
                      </a:lnTo>
                      <a:lnTo>
                        <a:pt x="159" y="67"/>
                      </a:lnTo>
                      <a:lnTo>
                        <a:pt x="156" y="70"/>
                      </a:lnTo>
                      <a:lnTo>
                        <a:pt x="154" y="73"/>
                      </a:lnTo>
                      <a:lnTo>
                        <a:pt x="156" y="76"/>
                      </a:lnTo>
                      <a:lnTo>
                        <a:pt x="154" y="80"/>
                      </a:lnTo>
                      <a:lnTo>
                        <a:pt x="156" y="83"/>
                      </a:lnTo>
                      <a:lnTo>
                        <a:pt x="154" y="86"/>
                      </a:lnTo>
                      <a:lnTo>
                        <a:pt x="154" y="89"/>
                      </a:lnTo>
                      <a:lnTo>
                        <a:pt x="153" y="92"/>
                      </a:lnTo>
                      <a:lnTo>
                        <a:pt x="153" y="97"/>
                      </a:lnTo>
                      <a:lnTo>
                        <a:pt x="154" y="100"/>
                      </a:lnTo>
                      <a:lnTo>
                        <a:pt x="156" y="103"/>
                      </a:lnTo>
                      <a:lnTo>
                        <a:pt x="156" y="103"/>
                      </a:lnTo>
                      <a:lnTo>
                        <a:pt x="153" y="107"/>
                      </a:lnTo>
                      <a:lnTo>
                        <a:pt x="153" y="107"/>
                      </a:lnTo>
                      <a:lnTo>
                        <a:pt x="153" y="111"/>
                      </a:lnTo>
                      <a:lnTo>
                        <a:pt x="153" y="114"/>
                      </a:lnTo>
                      <a:lnTo>
                        <a:pt x="151" y="118"/>
                      </a:lnTo>
                      <a:lnTo>
                        <a:pt x="148" y="118"/>
                      </a:lnTo>
                      <a:lnTo>
                        <a:pt x="151" y="113"/>
                      </a:lnTo>
                      <a:lnTo>
                        <a:pt x="146" y="111"/>
                      </a:lnTo>
                      <a:lnTo>
                        <a:pt x="143" y="111"/>
                      </a:lnTo>
                      <a:lnTo>
                        <a:pt x="143" y="116"/>
                      </a:lnTo>
                      <a:lnTo>
                        <a:pt x="145" y="119"/>
                      </a:lnTo>
                      <a:lnTo>
                        <a:pt x="143" y="122"/>
                      </a:lnTo>
                      <a:lnTo>
                        <a:pt x="142" y="126"/>
                      </a:lnTo>
                      <a:lnTo>
                        <a:pt x="143" y="130"/>
                      </a:lnTo>
                      <a:lnTo>
                        <a:pt x="145" y="133"/>
                      </a:lnTo>
                      <a:lnTo>
                        <a:pt x="145" y="137"/>
                      </a:lnTo>
                      <a:lnTo>
                        <a:pt x="146" y="140"/>
                      </a:lnTo>
                      <a:lnTo>
                        <a:pt x="143" y="140"/>
                      </a:lnTo>
                      <a:lnTo>
                        <a:pt x="142" y="141"/>
                      </a:lnTo>
                      <a:lnTo>
                        <a:pt x="137" y="141"/>
                      </a:lnTo>
                      <a:lnTo>
                        <a:pt x="137" y="141"/>
                      </a:lnTo>
                      <a:lnTo>
                        <a:pt x="135" y="138"/>
                      </a:lnTo>
                      <a:lnTo>
                        <a:pt x="130" y="135"/>
                      </a:lnTo>
                      <a:lnTo>
                        <a:pt x="127" y="133"/>
                      </a:lnTo>
                      <a:lnTo>
                        <a:pt x="124" y="132"/>
                      </a:lnTo>
                      <a:lnTo>
                        <a:pt x="121" y="129"/>
                      </a:lnTo>
                      <a:lnTo>
                        <a:pt x="118" y="127"/>
                      </a:lnTo>
                      <a:lnTo>
                        <a:pt x="115" y="124"/>
                      </a:lnTo>
                      <a:lnTo>
                        <a:pt x="115" y="121"/>
                      </a:lnTo>
                      <a:lnTo>
                        <a:pt x="118" y="119"/>
                      </a:lnTo>
                      <a:lnTo>
                        <a:pt x="122" y="118"/>
                      </a:lnTo>
                      <a:lnTo>
                        <a:pt x="124" y="116"/>
                      </a:lnTo>
                      <a:lnTo>
                        <a:pt x="119" y="111"/>
                      </a:lnTo>
                      <a:lnTo>
                        <a:pt x="116" y="110"/>
                      </a:lnTo>
                      <a:lnTo>
                        <a:pt x="115" y="107"/>
                      </a:lnTo>
                      <a:lnTo>
                        <a:pt x="119" y="103"/>
                      </a:lnTo>
                      <a:lnTo>
                        <a:pt x="122" y="102"/>
                      </a:lnTo>
                      <a:lnTo>
                        <a:pt x="115" y="94"/>
                      </a:lnTo>
                      <a:lnTo>
                        <a:pt x="108" y="88"/>
                      </a:lnTo>
                      <a:lnTo>
                        <a:pt x="107" y="89"/>
                      </a:lnTo>
                      <a:lnTo>
                        <a:pt x="103" y="89"/>
                      </a:lnTo>
                      <a:lnTo>
                        <a:pt x="100" y="92"/>
                      </a:lnTo>
                      <a:lnTo>
                        <a:pt x="96" y="94"/>
                      </a:lnTo>
                      <a:lnTo>
                        <a:pt x="92" y="97"/>
                      </a:lnTo>
                      <a:lnTo>
                        <a:pt x="89" y="99"/>
                      </a:lnTo>
                      <a:lnTo>
                        <a:pt x="89" y="99"/>
                      </a:lnTo>
                      <a:lnTo>
                        <a:pt x="86" y="103"/>
                      </a:lnTo>
                      <a:lnTo>
                        <a:pt x="81" y="103"/>
                      </a:lnTo>
                      <a:lnTo>
                        <a:pt x="80" y="107"/>
                      </a:lnTo>
                      <a:lnTo>
                        <a:pt x="80" y="110"/>
                      </a:lnTo>
                      <a:lnTo>
                        <a:pt x="75" y="111"/>
                      </a:lnTo>
                      <a:lnTo>
                        <a:pt x="72" y="113"/>
                      </a:lnTo>
                      <a:lnTo>
                        <a:pt x="70" y="116"/>
                      </a:lnTo>
                      <a:lnTo>
                        <a:pt x="67" y="119"/>
                      </a:lnTo>
                      <a:lnTo>
                        <a:pt x="65" y="122"/>
                      </a:lnTo>
                      <a:lnTo>
                        <a:pt x="64" y="121"/>
                      </a:lnTo>
                      <a:lnTo>
                        <a:pt x="62" y="119"/>
                      </a:lnTo>
                      <a:lnTo>
                        <a:pt x="62" y="116"/>
                      </a:lnTo>
                      <a:lnTo>
                        <a:pt x="62" y="113"/>
                      </a:lnTo>
                      <a:lnTo>
                        <a:pt x="62" y="110"/>
                      </a:lnTo>
                      <a:lnTo>
                        <a:pt x="65" y="108"/>
                      </a:lnTo>
                      <a:lnTo>
                        <a:pt x="62" y="105"/>
                      </a:lnTo>
                      <a:lnTo>
                        <a:pt x="57" y="102"/>
                      </a:lnTo>
                      <a:lnTo>
                        <a:pt x="56" y="99"/>
                      </a:lnTo>
                      <a:lnTo>
                        <a:pt x="61" y="97"/>
                      </a:lnTo>
                      <a:lnTo>
                        <a:pt x="59" y="94"/>
                      </a:lnTo>
                      <a:lnTo>
                        <a:pt x="57" y="94"/>
                      </a:lnTo>
                      <a:lnTo>
                        <a:pt x="53" y="92"/>
                      </a:lnTo>
                      <a:lnTo>
                        <a:pt x="50" y="94"/>
                      </a:lnTo>
                      <a:lnTo>
                        <a:pt x="46" y="91"/>
                      </a:lnTo>
                      <a:lnTo>
                        <a:pt x="43" y="88"/>
                      </a:lnTo>
                      <a:lnTo>
                        <a:pt x="38" y="86"/>
                      </a:lnTo>
                      <a:lnTo>
                        <a:pt x="35" y="83"/>
                      </a:lnTo>
                      <a:lnTo>
                        <a:pt x="34" y="80"/>
                      </a:lnTo>
                      <a:lnTo>
                        <a:pt x="30" y="78"/>
                      </a:lnTo>
                      <a:lnTo>
                        <a:pt x="26" y="76"/>
                      </a:lnTo>
                      <a:lnTo>
                        <a:pt x="30" y="76"/>
                      </a:lnTo>
                      <a:lnTo>
                        <a:pt x="34" y="76"/>
                      </a:lnTo>
                      <a:lnTo>
                        <a:pt x="37" y="75"/>
                      </a:lnTo>
                      <a:lnTo>
                        <a:pt x="38" y="70"/>
                      </a:lnTo>
                      <a:lnTo>
                        <a:pt x="38" y="67"/>
                      </a:lnTo>
                      <a:lnTo>
                        <a:pt x="30" y="64"/>
                      </a:lnTo>
                      <a:lnTo>
                        <a:pt x="26" y="61"/>
                      </a:lnTo>
                      <a:lnTo>
                        <a:pt x="21" y="57"/>
                      </a:lnTo>
                      <a:lnTo>
                        <a:pt x="16" y="49"/>
                      </a:lnTo>
                      <a:lnTo>
                        <a:pt x="18" y="46"/>
                      </a:lnTo>
                      <a:lnTo>
                        <a:pt x="21" y="45"/>
                      </a:lnTo>
                      <a:lnTo>
                        <a:pt x="19" y="42"/>
                      </a:lnTo>
                      <a:lnTo>
                        <a:pt x="16" y="38"/>
                      </a:lnTo>
                      <a:lnTo>
                        <a:pt x="13" y="35"/>
                      </a:lnTo>
                      <a:lnTo>
                        <a:pt x="10" y="35"/>
                      </a:lnTo>
                      <a:lnTo>
                        <a:pt x="8" y="35"/>
                      </a:lnTo>
                      <a:lnTo>
                        <a:pt x="7" y="34"/>
                      </a:lnTo>
                      <a:lnTo>
                        <a:pt x="2" y="32"/>
                      </a:lnTo>
                      <a:lnTo>
                        <a:pt x="7" y="32"/>
                      </a:lnTo>
                      <a:lnTo>
                        <a:pt x="5" y="27"/>
                      </a:lnTo>
                      <a:lnTo>
                        <a:pt x="0" y="27"/>
                      </a:lnTo>
                      <a:lnTo>
                        <a:pt x="0" y="24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48" name="Freeform 385"/>
                <p:cNvSpPr>
                  <a:spLocks/>
                </p:cNvSpPr>
                <p:nvPr/>
              </p:nvSpPr>
              <p:spPr bwMode="auto">
                <a:xfrm>
                  <a:off x="3359" y="1678"/>
                  <a:ext cx="26" cy="18"/>
                </a:xfrm>
                <a:custGeom>
                  <a:avLst/>
                  <a:gdLst>
                    <a:gd name="T0" fmla="*/ 0 w 53"/>
                    <a:gd name="T1" fmla="*/ 1 h 36"/>
                    <a:gd name="T2" fmla="*/ 4 w 53"/>
                    <a:gd name="T3" fmla="*/ 0 h 36"/>
                    <a:gd name="T4" fmla="*/ 5 w 53"/>
                    <a:gd name="T5" fmla="*/ 0 h 36"/>
                    <a:gd name="T6" fmla="*/ 8 w 53"/>
                    <a:gd name="T7" fmla="*/ 0 h 36"/>
                    <a:gd name="T8" fmla="*/ 11 w 53"/>
                    <a:gd name="T9" fmla="*/ 0 h 36"/>
                    <a:gd name="T10" fmla="*/ 15 w 53"/>
                    <a:gd name="T11" fmla="*/ 3 h 36"/>
                    <a:gd name="T12" fmla="*/ 15 w 53"/>
                    <a:gd name="T13" fmla="*/ 6 h 36"/>
                    <a:gd name="T14" fmla="*/ 18 w 53"/>
                    <a:gd name="T15" fmla="*/ 4 h 36"/>
                    <a:gd name="T16" fmla="*/ 23 w 53"/>
                    <a:gd name="T17" fmla="*/ 7 h 36"/>
                    <a:gd name="T18" fmla="*/ 26 w 53"/>
                    <a:gd name="T19" fmla="*/ 9 h 36"/>
                    <a:gd name="T20" fmla="*/ 29 w 53"/>
                    <a:gd name="T21" fmla="*/ 7 h 36"/>
                    <a:gd name="T22" fmla="*/ 32 w 53"/>
                    <a:gd name="T23" fmla="*/ 6 h 36"/>
                    <a:gd name="T24" fmla="*/ 35 w 53"/>
                    <a:gd name="T25" fmla="*/ 6 h 36"/>
                    <a:gd name="T26" fmla="*/ 37 w 53"/>
                    <a:gd name="T27" fmla="*/ 7 h 36"/>
                    <a:gd name="T28" fmla="*/ 37 w 53"/>
                    <a:gd name="T29" fmla="*/ 11 h 36"/>
                    <a:gd name="T30" fmla="*/ 37 w 53"/>
                    <a:gd name="T31" fmla="*/ 15 h 36"/>
                    <a:gd name="T32" fmla="*/ 43 w 53"/>
                    <a:gd name="T33" fmla="*/ 19 h 36"/>
                    <a:gd name="T34" fmla="*/ 43 w 53"/>
                    <a:gd name="T35" fmla="*/ 22 h 36"/>
                    <a:gd name="T36" fmla="*/ 46 w 53"/>
                    <a:gd name="T37" fmla="*/ 25 h 36"/>
                    <a:gd name="T38" fmla="*/ 48 w 53"/>
                    <a:gd name="T39" fmla="*/ 28 h 36"/>
                    <a:gd name="T40" fmla="*/ 50 w 53"/>
                    <a:gd name="T41" fmla="*/ 33 h 36"/>
                    <a:gd name="T42" fmla="*/ 51 w 53"/>
                    <a:gd name="T43" fmla="*/ 34 h 36"/>
                    <a:gd name="T44" fmla="*/ 53 w 53"/>
                    <a:gd name="T45" fmla="*/ 34 h 36"/>
                    <a:gd name="T46" fmla="*/ 53 w 53"/>
                    <a:gd name="T47" fmla="*/ 36 h 36"/>
                    <a:gd name="T48" fmla="*/ 53 w 53"/>
                    <a:gd name="T49" fmla="*/ 36 h 36"/>
                    <a:gd name="T50" fmla="*/ 48 w 53"/>
                    <a:gd name="T51" fmla="*/ 34 h 36"/>
                    <a:gd name="T52" fmla="*/ 42 w 53"/>
                    <a:gd name="T53" fmla="*/ 34 h 36"/>
                    <a:gd name="T54" fmla="*/ 38 w 53"/>
                    <a:gd name="T55" fmla="*/ 33 h 36"/>
                    <a:gd name="T56" fmla="*/ 32 w 53"/>
                    <a:gd name="T57" fmla="*/ 31 h 36"/>
                    <a:gd name="T58" fmla="*/ 27 w 53"/>
                    <a:gd name="T59" fmla="*/ 30 h 36"/>
                    <a:gd name="T60" fmla="*/ 24 w 53"/>
                    <a:gd name="T61" fmla="*/ 26 h 36"/>
                    <a:gd name="T62" fmla="*/ 23 w 53"/>
                    <a:gd name="T63" fmla="*/ 23 h 36"/>
                    <a:gd name="T64" fmla="*/ 19 w 53"/>
                    <a:gd name="T65" fmla="*/ 22 h 36"/>
                    <a:gd name="T66" fmla="*/ 16 w 53"/>
                    <a:gd name="T67" fmla="*/ 19 h 36"/>
                    <a:gd name="T68" fmla="*/ 13 w 53"/>
                    <a:gd name="T69" fmla="*/ 15 h 36"/>
                    <a:gd name="T70" fmla="*/ 10 w 53"/>
                    <a:gd name="T71" fmla="*/ 12 h 36"/>
                    <a:gd name="T72" fmla="*/ 7 w 53"/>
                    <a:gd name="T73" fmla="*/ 11 h 36"/>
                    <a:gd name="T74" fmla="*/ 7 w 53"/>
                    <a:gd name="T75" fmla="*/ 7 h 36"/>
                    <a:gd name="T76" fmla="*/ 2 w 53"/>
                    <a:gd name="T77" fmla="*/ 4 h 36"/>
                    <a:gd name="T78" fmla="*/ 0 w 53"/>
                    <a:gd name="T79" fmla="*/ 1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53" h="36">
                      <a:moveTo>
                        <a:pt x="0" y="1"/>
                      </a:moveTo>
                      <a:lnTo>
                        <a:pt x="4" y="0"/>
                      </a:lnTo>
                      <a:lnTo>
                        <a:pt x="5" y="0"/>
                      </a:lnTo>
                      <a:lnTo>
                        <a:pt x="8" y="0"/>
                      </a:lnTo>
                      <a:lnTo>
                        <a:pt x="11" y="0"/>
                      </a:lnTo>
                      <a:lnTo>
                        <a:pt x="15" y="3"/>
                      </a:lnTo>
                      <a:lnTo>
                        <a:pt x="15" y="6"/>
                      </a:lnTo>
                      <a:lnTo>
                        <a:pt x="18" y="4"/>
                      </a:lnTo>
                      <a:lnTo>
                        <a:pt x="23" y="7"/>
                      </a:lnTo>
                      <a:lnTo>
                        <a:pt x="26" y="9"/>
                      </a:lnTo>
                      <a:lnTo>
                        <a:pt x="29" y="7"/>
                      </a:lnTo>
                      <a:lnTo>
                        <a:pt x="32" y="6"/>
                      </a:lnTo>
                      <a:lnTo>
                        <a:pt x="35" y="6"/>
                      </a:lnTo>
                      <a:lnTo>
                        <a:pt x="37" y="7"/>
                      </a:lnTo>
                      <a:lnTo>
                        <a:pt x="37" y="11"/>
                      </a:lnTo>
                      <a:lnTo>
                        <a:pt x="37" y="15"/>
                      </a:lnTo>
                      <a:lnTo>
                        <a:pt x="43" y="19"/>
                      </a:lnTo>
                      <a:lnTo>
                        <a:pt x="43" y="22"/>
                      </a:lnTo>
                      <a:lnTo>
                        <a:pt x="46" y="25"/>
                      </a:lnTo>
                      <a:lnTo>
                        <a:pt x="48" y="28"/>
                      </a:lnTo>
                      <a:lnTo>
                        <a:pt x="50" y="33"/>
                      </a:lnTo>
                      <a:lnTo>
                        <a:pt x="51" y="34"/>
                      </a:lnTo>
                      <a:lnTo>
                        <a:pt x="53" y="34"/>
                      </a:lnTo>
                      <a:lnTo>
                        <a:pt x="53" y="36"/>
                      </a:lnTo>
                      <a:lnTo>
                        <a:pt x="53" y="36"/>
                      </a:lnTo>
                      <a:lnTo>
                        <a:pt x="48" y="34"/>
                      </a:lnTo>
                      <a:lnTo>
                        <a:pt x="42" y="34"/>
                      </a:lnTo>
                      <a:lnTo>
                        <a:pt x="38" y="33"/>
                      </a:lnTo>
                      <a:lnTo>
                        <a:pt x="32" y="31"/>
                      </a:lnTo>
                      <a:lnTo>
                        <a:pt x="27" y="30"/>
                      </a:lnTo>
                      <a:lnTo>
                        <a:pt x="24" y="26"/>
                      </a:lnTo>
                      <a:lnTo>
                        <a:pt x="23" y="23"/>
                      </a:lnTo>
                      <a:lnTo>
                        <a:pt x="19" y="22"/>
                      </a:lnTo>
                      <a:lnTo>
                        <a:pt x="16" y="19"/>
                      </a:lnTo>
                      <a:lnTo>
                        <a:pt x="13" y="15"/>
                      </a:lnTo>
                      <a:lnTo>
                        <a:pt x="10" y="12"/>
                      </a:lnTo>
                      <a:lnTo>
                        <a:pt x="7" y="11"/>
                      </a:lnTo>
                      <a:lnTo>
                        <a:pt x="7" y="7"/>
                      </a:lnTo>
                      <a:lnTo>
                        <a:pt x="2" y="4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</p:grpSp>
          <p:grpSp>
            <p:nvGrpSpPr>
              <p:cNvPr id="734" name="Group 386"/>
              <p:cNvGrpSpPr>
                <a:grpSpLocks/>
              </p:cNvGrpSpPr>
              <p:nvPr/>
            </p:nvGrpSpPr>
            <p:grpSpPr bwMode="auto">
              <a:xfrm>
                <a:off x="5473196" y="2590980"/>
                <a:ext cx="405989" cy="232557"/>
                <a:chOff x="3472" y="1617"/>
                <a:chExt cx="261" cy="154"/>
              </a:xfrm>
              <a:grpFill/>
            </p:grpSpPr>
            <p:sp>
              <p:nvSpPr>
                <p:cNvPr id="740" name="Freeform 387"/>
                <p:cNvSpPr>
                  <a:spLocks/>
                </p:cNvSpPr>
                <p:nvPr/>
              </p:nvSpPr>
              <p:spPr bwMode="auto">
                <a:xfrm>
                  <a:off x="3472" y="1649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41" name="Freeform 388"/>
                <p:cNvSpPr>
                  <a:spLocks/>
                </p:cNvSpPr>
                <p:nvPr/>
              </p:nvSpPr>
              <p:spPr bwMode="auto">
                <a:xfrm>
                  <a:off x="3474" y="1649"/>
                  <a:ext cx="1" cy="2"/>
                </a:xfrm>
                <a:custGeom>
                  <a:avLst/>
                  <a:gdLst>
                    <a:gd name="T0" fmla="*/ 1 h 1"/>
                    <a:gd name="T1" fmla="*/ 1 h 1"/>
                    <a:gd name="T2" fmla="*/ 0 h 1"/>
                    <a:gd name="T3" fmla="*/ 1 h 1"/>
                    <a:gd name="T4" fmla="*/ 1 h 1"/>
                    <a:gd name="T5" fmla="*/ 1 h 1"/>
                    <a:gd name="T6" fmla="*/ 1 h 1"/>
                    <a:gd name="T7" fmla="*/ 1 h 1"/>
                    <a:gd name="T8" fmla="*/ 1 h 1"/>
                    <a:gd name="T9" fmla="*/ 1 h 1"/>
                  </a:gdLst>
                  <a:ahLst/>
                  <a:cxnLst>
                    <a:cxn ang="0">
                      <a:pos x="0" y="T0"/>
                    </a:cxn>
                    <a:cxn ang="0">
                      <a:pos x="0" y="T1"/>
                    </a:cxn>
                    <a:cxn ang="0">
                      <a:pos x="0" y="T2"/>
                    </a:cxn>
                    <a:cxn ang="0">
                      <a:pos x="0" y="T3"/>
                    </a:cxn>
                    <a:cxn ang="0">
                      <a:pos x="0" y="T4"/>
                    </a:cxn>
                    <a:cxn ang="0">
                      <a:pos x="0" y="T5"/>
                    </a:cxn>
                    <a:cxn ang="0">
                      <a:pos x="0" y="T6"/>
                    </a:cxn>
                    <a:cxn ang="0">
                      <a:pos x="0" y="T7"/>
                    </a:cxn>
                    <a:cxn ang="0">
                      <a:pos x="0" y="T8"/>
                    </a:cxn>
                    <a:cxn ang="0">
                      <a:pos x="0" y="T9"/>
                    </a:cxn>
                  </a:cxnLst>
                  <a:rect l="0" t="0" r="r" b="b"/>
                  <a:pathLst>
                    <a:path h="1">
                      <a:moveTo>
                        <a:pt x="0" y="1"/>
                      </a:moveTo>
                      <a:lnTo>
                        <a:pt x="0" y="1"/>
                      </a:lnTo>
                      <a:lnTo>
                        <a:pt x="0" y="0"/>
                      </a:lnTo>
                      <a:cubicBezTo>
                        <a:pt x="0" y="0"/>
                        <a:pt x="0" y="1"/>
                        <a:pt x="0" y="1"/>
                      </a:cubicBez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1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42" name="Freeform 389"/>
                <p:cNvSpPr>
                  <a:spLocks/>
                </p:cNvSpPr>
                <p:nvPr/>
              </p:nvSpPr>
              <p:spPr bwMode="auto">
                <a:xfrm>
                  <a:off x="3488" y="1617"/>
                  <a:ext cx="245" cy="154"/>
                </a:xfrm>
                <a:custGeom>
                  <a:avLst/>
                  <a:gdLst>
                    <a:gd name="T0" fmla="*/ 86 w 488"/>
                    <a:gd name="T1" fmla="*/ 59 h 310"/>
                    <a:gd name="T2" fmla="*/ 141 w 488"/>
                    <a:gd name="T3" fmla="*/ 57 h 310"/>
                    <a:gd name="T4" fmla="*/ 158 w 488"/>
                    <a:gd name="T5" fmla="*/ 16 h 310"/>
                    <a:gd name="T6" fmla="*/ 168 w 488"/>
                    <a:gd name="T7" fmla="*/ 4 h 310"/>
                    <a:gd name="T8" fmla="*/ 209 w 488"/>
                    <a:gd name="T9" fmla="*/ 19 h 310"/>
                    <a:gd name="T10" fmla="*/ 230 w 488"/>
                    <a:gd name="T11" fmla="*/ 32 h 310"/>
                    <a:gd name="T12" fmla="*/ 243 w 488"/>
                    <a:gd name="T13" fmla="*/ 57 h 310"/>
                    <a:gd name="T14" fmla="*/ 282 w 488"/>
                    <a:gd name="T15" fmla="*/ 62 h 310"/>
                    <a:gd name="T16" fmla="*/ 322 w 488"/>
                    <a:gd name="T17" fmla="*/ 97 h 310"/>
                    <a:gd name="T18" fmla="*/ 400 w 488"/>
                    <a:gd name="T19" fmla="*/ 153 h 310"/>
                    <a:gd name="T20" fmla="*/ 458 w 488"/>
                    <a:gd name="T21" fmla="*/ 181 h 310"/>
                    <a:gd name="T22" fmla="*/ 487 w 488"/>
                    <a:gd name="T23" fmla="*/ 208 h 310"/>
                    <a:gd name="T24" fmla="*/ 463 w 488"/>
                    <a:gd name="T25" fmla="*/ 211 h 310"/>
                    <a:gd name="T26" fmla="*/ 433 w 488"/>
                    <a:gd name="T27" fmla="*/ 238 h 310"/>
                    <a:gd name="T28" fmla="*/ 406 w 488"/>
                    <a:gd name="T29" fmla="*/ 276 h 310"/>
                    <a:gd name="T30" fmla="*/ 373 w 488"/>
                    <a:gd name="T31" fmla="*/ 306 h 310"/>
                    <a:gd name="T32" fmla="*/ 336 w 488"/>
                    <a:gd name="T33" fmla="*/ 297 h 310"/>
                    <a:gd name="T34" fmla="*/ 315 w 488"/>
                    <a:gd name="T35" fmla="*/ 262 h 310"/>
                    <a:gd name="T36" fmla="*/ 269 w 488"/>
                    <a:gd name="T37" fmla="*/ 232 h 310"/>
                    <a:gd name="T38" fmla="*/ 222 w 488"/>
                    <a:gd name="T39" fmla="*/ 208 h 310"/>
                    <a:gd name="T40" fmla="*/ 181 w 488"/>
                    <a:gd name="T41" fmla="*/ 195 h 310"/>
                    <a:gd name="T42" fmla="*/ 147 w 488"/>
                    <a:gd name="T43" fmla="*/ 183 h 310"/>
                    <a:gd name="T44" fmla="*/ 105 w 488"/>
                    <a:gd name="T45" fmla="*/ 194 h 310"/>
                    <a:gd name="T46" fmla="*/ 63 w 488"/>
                    <a:gd name="T47" fmla="*/ 219 h 310"/>
                    <a:gd name="T48" fmla="*/ 47 w 488"/>
                    <a:gd name="T49" fmla="*/ 151 h 310"/>
                    <a:gd name="T50" fmla="*/ 27 w 488"/>
                    <a:gd name="T51" fmla="*/ 124 h 310"/>
                    <a:gd name="T52" fmla="*/ 20 w 488"/>
                    <a:gd name="T53" fmla="*/ 111 h 310"/>
                    <a:gd name="T54" fmla="*/ 5 w 488"/>
                    <a:gd name="T55" fmla="*/ 81 h 310"/>
                    <a:gd name="T56" fmla="*/ 1 w 488"/>
                    <a:gd name="T57" fmla="*/ 64 h 310"/>
                    <a:gd name="T58" fmla="*/ 3 w 488"/>
                    <a:gd name="T59" fmla="*/ 69 h 310"/>
                    <a:gd name="T60" fmla="*/ 8 w 488"/>
                    <a:gd name="T61" fmla="*/ 72 h 310"/>
                    <a:gd name="T62" fmla="*/ 9 w 488"/>
                    <a:gd name="T63" fmla="*/ 77 h 310"/>
                    <a:gd name="T64" fmla="*/ 14 w 488"/>
                    <a:gd name="T65" fmla="*/ 77 h 310"/>
                    <a:gd name="T66" fmla="*/ 19 w 488"/>
                    <a:gd name="T67" fmla="*/ 77 h 310"/>
                    <a:gd name="T68" fmla="*/ 24 w 488"/>
                    <a:gd name="T69" fmla="*/ 75 h 310"/>
                    <a:gd name="T70" fmla="*/ 27 w 488"/>
                    <a:gd name="T71" fmla="*/ 73 h 310"/>
                    <a:gd name="T72" fmla="*/ 30 w 488"/>
                    <a:gd name="T73" fmla="*/ 80 h 310"/>
                    <a:gd name="T74" fmla="*/ 36 w 488"/>
                    <a:gd name="T75" fmla="*/ 81 h 310"/>
                    <a:gd name="T76" fmla="*/ 41 w 488"/>
                    <a:gd name="T77" fmla="*/ 81 h 310"/>
                    <a:gd name="T78" fmla="*/ 47 w 488"/>
                    <a:gd name="T79" fmla="*/ 78 h 310"/>
                    <a:gd name="T80" fmla="*/ 51 w 488"/>
                    <a:gd name="T81" fmla="*/ 80 h 310"/>
                    <a:gd name="T82" fmla="*/ 49 w 488"/>
                    <a:gd name="T83" fmla="*/ 77 h 310"/>
                    <a:gd name="T84" fmla="*/ 47 w 488"/>
                    <a:gd name="T85" fmla="*/ 70 h 310"/>
                    <a:gd name="T86" fmla="*/ 54 w 488"/>
                    <a:gd name="T87" fmla="*/ 73 h 310"/>
                    <a:gd name="T88" fmla="*/ 57 w 488"/>
                    <a:gd name="T89" fmla="*/ 75 h 310"/>
                    <a:gd name="T90" fmla="*/ 62 w 488"/>
                    <a:gd name="T91" fmla="*/ 72 h 310"/>
                    <a:gd name="T92" fmla="*/ 60 w 488"/>
                    <a:gd name="T93" fmla="*/ 65 h 310"/>
                    <a:gd name="T94" fmla="*/ 62 w 488"/>
                    <a:gd name="T95" fmla="*/ 65 h 310"/>
                    <a:gd name="T96" fmla="*/ 57 w 488"/>
                    <a:gd name="T97" fmla="*/ 61 h 310"/>
                    <a:gd name="T98" fmla="*/ 51 w 488"/>
                    <a:gd name="T99" fmla="*/ 56 h 310"/>
                    <a:gd name="T100" fmla="*/ 44 w 488"/>
                    <a:gd name="T101" fmla="*/ 54 h 310"/>
                    <a:gd name="T102" fmla="*/ 40 w 488"/>
                    <a:gd name="T103" fmla="*/ 50 h 310"/>
                    <a:gd name="T104" fmla="*/ 35 w 488"/>
                    <a:gd name="T105" fmla="*/ 46 h 310"/>
                    <a:gd name="T106" fmla="*/ 32 w 488"/>
                    <a:gd name="T107" fmla="*/ 37 h 310"/>
                    <a:gd name="T108" fmla="*/ 28 w 488"/>
                    <a:gd name="T109" fmla="*/ 34 h 310"/>
                    <a:gd name="T110" fmla="*/ 25 w 488"/>
                    <a:gd name="T111" fmla="*/ 29 h 310"/>
                    <a:gd name="T112" fmla="*/ 24 w 488"/>
                    <a:gd name="T113" fmla="*/ 23 h 310"/>
                    <a:gd name="T114" fmla="*/ 13 w 488"/>
                    <a:gd name="T115" fmla="*/ 21 h 310"/>
                    <a:gd name="T116" fmla="*/ 3 w 488"/>
                    <a:gd name="T117" fmla="*/ 23 h 3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488" h="310">
                      <a:moveTo>
                        <a:pt x="3" y="23"/>
                      </a:moveTo>
                      <a:lnTo>
                        <a:pt x="11" y="21"/>
                      </a:lnTo>
                      <a:lnTo>
                        <a:pt x="22" y="18"/>
                      </a:lnTo>
                      <a:lnTo>
                        <a:pt x="27" y="16"/>
                      </a:lnTo>
                      <a:lnTo>
                        <a:pt x="32" y="16"/>
                      </a:lnTo>
                      <a:lnTo>
                        <a:pt x="36" y="18"/>
                      </a:lnTo>
                      <a:lnTo>
                        <a:pt x="41" y="21"/>
                      </a:lnTo>
                      <a:lnTo>
                        <a:pt x="52" y="26"/>
                      </a:lnTo>
                      <a:lnTo>
                        <a:pt x="63" y="34"/>
                      </a:lnTo>
                      <a:lnTo>
                        <a:pt x="70" y="43"/>
                      </a:lnTo>
                      <a:lnTo>
                        <a:pt x="79" y="54"/>
                      </a:lnTo>
                      <a:lnTo>
                        <a:pt x="82" y="56"/>
                      </a:lnTo>
                      <a:lnTo>
                        <a:pt x="86" y="59"/>
                      </a:lnTo>
                      <a:lnTo>
                        <a:pt x="89" y="61"/>
                      </a:lnTo>
                      <a:lnTo>
                        <a:pt x="92" y="61"/>
                      </a:lnTo>
                      <a:lnTo>
                        <a:pt x="95" y="59"/>
                      </a:lnTo>
                      <a:lnTo>
                        <a:pt x="100" y="57"/>
                      </a:lnTo>
                      <a:lnTo>
                        <a:pt x="108" y="57"/>
                      </a:lnTo>
                      <a:lnTo>
                        <a:pt x="117" y="59"/>
                      </a:lnTo>
                      <a:lnTo>
                        <a:pt x="120" y="59"/>
                      </a:lnTo>
                      <a:lnTo>
                        <a:pt x="125" y="59"/>
                      </a:lnTo>
                      <a:lnTo>
                        <a:pt x="128" y="59"/>
                      </a:lnTo>
                      <a:lnTo>
                        <a:pt x="132" y="59"/>
                      </a:lnTo>
                      <a:lnTo>
                        <a:pt x="135" y="61"/>
                      </a:lnTo>
                      <a:lnTo>
                        <a:pt x="139" y="61"/>
                      </a:lnTo>
                      <a:lnTo>
                        <a:pt x="141" y="57"/>
                      </a:lnTo>
                      <a:lnTo>
                        <a:pt x="138" y="53"/>
                      </a:lnTo>
                      <a:lnTo>
                        <a:pt x="135" y="48"/>
                      </a:lnTo>
                      <a:lnTo>
                        <a:pt x="133" y="42"/>
                      </a:lnTo>
                      <a:lnTo>
                        <a:pt x="132" y="37"/>
                      </a:lnTo>
                      <a:lnTo>
                        <a:pt x="136" y="32"/>
                      </a:lnTo>
                      <a:lnTo>
                        <a:pt x="138" y="29"/>
                      </a:lnTo>
                      <a:lnTo>
                        <a:pt x="139" y="26"/>
                      </a:lnTo>
                      <a:lnTo>
                        <a:pt x="146" y="24"/>
                      </a:lnTo>
                      <a:lnTo>
                        <a:pt x="152" y="24"/>
                      </a:lnTo>
                      <a:lnTo>
                        <a:pt x="157" y="23"/>
                      </a:lnTo>
                      <a:lnTo>
                        <a:pt x="158" y="21"/>
                      </a:lnTo>
                      <a:lnTo>
                        <a:pt x="158" y="18"/>
                      </a:lnTo>
                      <a:lnTo>
                        <a:pt x="158" y="16"/>
                      </a:lnTo>
                      <a:lnTo>
                        <a:pt x="158" y="13"/>
                      </a:lnTo>
                      <a:lnTo>
                        <a:pt x="162" y="10"/>
                      </a:lnTo>
                      <a:lnTo>
                        <a:pt x="165" y="12"/>
                      </a:lnTo>
                      <a:lnTo>
                        <a:pt x="168" y="12"/>
                      </a:lnTo>
                      <a:lnTo>
                        <a:pt x="171" y="13"/>
                      </a:lnTo>
                      <a:lnTo>
                        <a:pt x="174" y="16"/>
                      </a:lnTo>
                      <a:lnTo>
                        <a:pt x="178" y="18"/>
                      </a:lnTo>
                      <a:lnTo>
                        <a:pt x="174" y="15"/>
                      </a:lnTo>
                      <a:lnTo>
                        <a:pt x="171" y="12"/>
                      </a:lnTo>
                      <a:lnTo>
                        <a:pt x="168" y="8"/>
                      </a:lnTo>
                      <a:lnTo>
                        <a:pt x="165" y="7"/>
                      </a:lnTo>
                      <a:lnTo>
                        <a:pt x="165" y="4"/>
                      </a:lnTo>
                      <a:lnTo>
                        <a:pt x="168" y="4"/>
                      </a:lnTo>
                      <a:lnTo>
                        <a:pt x="173" y="4"/>
                      </a:lnTo>
                      <a:lnTo>
                        <a:pt x="176" y="4"/>
                      </a:lnTo>
                      <a:lnTo>
                        <a:pt x="176" y="0"/>
                      </a:lnTo>
                      <a:lnTo>
                        <a:pt x="181" y="2"/>
                      </a:lnTo>
                      <a:lnTo>
                        <a:pt x="187" y="7"/>
                      </a:lnTo>
                      <a:lnTo>
                        <a:pt x="190" y="8"/>
                      </a:lnTo>
                      <a:lnTo>
                        <a:pt x="195" y="10"/>
                      </a:lnTo>
                      <a:lnTo>
                        <a:pt x="198" y="10"/>
                      </a:lnTo>
                      <a:lnTo>
                        <a:pt x="201" y="13"/>
                      </a:lnTo>
                      <a:lnTo>
                        <a:pt x="203" y="16"/>
                      </a:lnTo>
                      <a:lnTo>
                        <a:pt x="203" y="16"/>
                      </a:lnTo>
                      <a:lnTo>
                        <a:pt x="206" y="18"/>
                      </a:lnTo>
                      <a:lnTo>
                        <a:pt x="209" y="19"/>
                      </a:lnTo>
                      <a:lnTo>
                        <a:pt x="212" y="18"/>
                      </a:lnTo>
                      <a:lnTo>
                        <a:pt x="212" y="18"/>
                      </a:lnTo>
                      <a:lnTo>
                        <a:pt x="217" y="18"/>
                      </a:lnTo>
                      <a:lnTo>
                        <a:pt x="219" y="18"/>
                      </a:lnTo>
                      <a:lnTo>
                        <a:pt x="222" y="18"/>
                      </a:lnTo>
                      <a:lnTo>
                        <a:pt x="225" y="21"/>
                      </a:lnTo>
                      <a:lnTo>
                        <a:pt x="228" y="21"/>
                      </a:lnTo>
                      <a:lnTo>
                        <a:pt x="228" y="24"/>
                      </a:lnTo>
                      <a:lnTo>
                        <a:pt x="228" y="26"/>
                      </a:lnTo>
                      <a:lnTo>
                        <a:pt x="228" y="27"/>
                      </a:lnTo>
                      <a:lnTo>
                        <a:pt x="230" y="27"/>
                      </a:lnTo>
                      <a:lnTo>
                        <a:pt x="230" y="31"/>
                      </a:lnTo>
                      <a:lnTo>
                        <a:pt x="230" y="32"/>
                      </a:lnTo>
                      <a:lnTo>
                        <a:pt x="231" y="34"/>
                      </a:lnTo>
                      <a:lnTo>
                        <a:pt x="233" y="34"/>
                      </a:lnTo>
                      <a:lnTo>
                        <a:pt x="236" y="35"/>
                      </a:lnTo>
                      <a:lnTo>
                        <a:pt x="236" y="35"/>
                      </a:lnTo>
                      <a:lnTo>
                        <a:pt x="238" y="38"/>
                      </a:lnTo>
                      <a:lnTo>
                        <a:pt x="235" y="38"/>
                      </a:lnTo>
                      <a:lnTo>
                        <a:pt x="235" y="40"/>
                      </a:lnTo>
                      <a:lnTo>
                        <a:pt x="235" y="40"/>
                      </a:lnTo>
                      <a:lnTo>
                        <a:pt x="238" y="45"/>
                      </a:lnTo>
                      <a:lnTo>
                        <a:pt x="239" y="48"/>
                      </a:lnTo>
                      <a:lnTo>
                        <a:pt x="238" y="51"/>
                      </a:lnTo>
                      <a:lnTo>
                        <a:pt x="238" y="54"/>
                      </a:lnTo>
                      <a:lnTo>
                        <a:pt x="243" y="57"/>
                      </a:lnTo>
                      <a:lnTo>
                        <a:pt x="246" y="57"/>
                      </a:lnTo>
                      <a:lnTo>
                        <a:pt x="249" y="59"/>
                      </a:lnTo>
                      <a:lnTo>
                        <a:pt x="252" y="62"/>
                      </a:lnTo>
                      <a:lnTo>
                        <a:pt x="255" y="62"/>
                      </a:lnTo>
                      <a:lnTo>
                        <a:pt x="260" y="61"/>
                      </a:lnTo>
                      <a:lnTo>
                        <a:pt x="266" y="61"/>
                      </a:lnTo>
                      <a:lnTo>
                        <a:pt x="269" y="62"/>
                      </a:lnTo>
                      <a:lnTo>
                        <a:pt x="271" y="62"/>
                      </a:lnTo>
                      <a:lnTo>
                        <a:pt x="274" y="62"/>
                      </a:lnTo>
                      <a:lnTo>
                        <a:pt x="277" y="64"/>
                      </a:lnTo>
                      <a:lnTo>
                        <a:pt x="282" y="64"/>
                      </a:lnTo>
                      <a:lnTo>
                        <a:pt x="282" y="62"/>
                      </a:lnTo>
                      <a:lnTo>
                        <a:pt x="282" y="62"/>
                      </a:lnTo>
                      <a:lnTo>
                        <a:pt x="284" y="59"/>
                      </a:lnTo>
                      <a:lnTo>
                        <a:pt x="290" y="61"/>
                      </a:lnTo>
                      <a:lnTo>
                        <a:pt x="296" y="64"/>
                      </a:lnTo>
                      <a:lnTo>
                        <a:pt x="301" y="69"/>
                      </a:lnTo>
                      <a:lnTo>
                        <a:pt x="304" y="73"/>
                      </a:lnTo>
                      <a:lnTo>
                        <a:pt x="306" y="77"/>
                      </a:lnTo>
                      <a:lnTo>
                        <a:pt x="308" y="81"/>
                      </a:lnTo>
                      <a:lnTo>
                        <a:pt x="311" y="84"/>
                      </a:lnTo>
                      <a:lnTo>
                        <a:pt x="312" y="88"/>
                      </a:lnTo>
                      <a:lnTo>
                        <a:pt x="315" y="91"/>
                      </a:lnTo>
                      <a:lnTo>
                        <a:pt x="315" y="92"/>
                      </a:lnTo>
                      <a:lnTo>
                        <a:pt x="319" y="92"/>
                      </a:lnTo>
                      <a:lnTo>
                        <a:pt x="322" y="97"/>
                      </a:lnTo>
                      <a:lnTo>
                        <a:pt x="327" y="103"/>
                      </a:lnTo>
                      <a:lnTo>
                        <a:pt x="327" y="108"/>
                      </a:lnTo>
                      <a:lnTo>
                        <a:pt x="328" y="111"/>
                      </a:lnTo>
                      <a:lnTo>
                        <a:pt x="336" y="118"/>
                      </a:lnTo>
                      <a:lnTo>
                        <a:pt x="350" y="126"/>
                      </a:lnTo>
                      <a:lnTo>
                        <a:pt x="365" y="134"/>
                      </a:lnTo>
                      <a:lnTo>
                        <a:pt x="374" y="140"/>
                      </a:lnTo>
                      <a:lnTo>
                        <a:pt x="382" y="146"/>
                      </a:lnTo>
                      <a:lnTo>
                        <a:pt x="385" y="148"/>
                      </a:lnTo>
                      <a:lnTo>
                        <a:pt x="390" y="151"/>
                      </a:lnTo>
                      <a:lnTo>
                        <a:pt x="393" y="153"/>
                      </a:lnTo>
                      <a:lnTo>
                        <a:pt x="396" y="154"/>
                      </a:lnTo>
                      <a:lnTo>
                        <a:pt x="400" y="153"/>
                      </a:lnTo>
                      <a:lnTo>
                        <a:pt x="403" y="154"/>
                      </a:lnTo>
                      <a:lnTo>
                        <a:pt x="403" y="156"/>
                      </a:lnTo>
                      <a:lnTo>
                        <a:pt x="406" y="157"/>
                      </a:lnTo>
                      <a:lnTo>
                        <a:pt x="420" y="165"/>
                      </a:lnTo>
                      <a:lnTo>
                        <a:pt x="433" y="173"/>
                      </a:lnTo>
                      <a:lnTo>
                        <a:pt x="436" y="175"/>
                      </a:lnTo>
                      <a:lnTo>
                        <a:pt x="441" y="178"/>
                      </a:lnTo>
                      <a:lnTo>
                        <a:pt x="444" y="180"/>
                      </a:lnTo>
                      <a:lnTo>
                        <a:pt x="446" y="181"/>
                      </a:lnTo>
                      <a:lnTo>
                        <a:pt x="447" y="181"/>
                      </a:lnTo>
                      <a:lnTo>
                        <a:pt x="450" y="183"/>
                      </a:lnTo>
                      <a:lnTo>
                        <a:pt x="455" y="184"/>
                      </a:lnTo>
                      <a:lnTo>
                        <a:pt x="458" y="181"/>
                      </a:lnTo>
                      <a:lnTo>
                        <a:pt x="461" y="183"/>
                      </a:lnTo>
                      <a:lnTo>
                        <a:pt x="465" y="184"/>
                      </a:lnTo>
                      <a:lnTo>
                        <a:pt x="469" y="186"/>
                      </a:lnTo>
                      <a:lnTo>
                        <a:pt x="473" y="188"/>
                      </a:lnTo>
                      <a:lnTo>
                        <a:pt x="476" y="191"/>
                      </a:lnTo>
                      <a:lnTo>
                        <a:pt x="479" y="192"/>
                      </a:lnTo>
                      <a:lnTo>
                        <a:pt x="484" y="192"/>
                      </a:lnTo>
                      <a:lnTo>
                        <a:pt x="487" y="194"/>
                      </a:lnTo>
                      <a:lnTo>
                        <a:pt x="487" y="194"/>
                      </a:lnTo>
                      <a:lnTo>
                        <a:pt x="487" y="197"/>
                      </a:lnTo>
                      <a:lnTo>
                        <a:pt x="485" y="200"/>
                      </a:lnTo>
                      <a:lnTo>
                        <a:pt x="485" y="205"/>
                      </a:lnTo>
                      <a:lnTo>
                        <a:pt x="487" y="208"/>
                      </a:lnTo>
                      <a:lnTo>
                        <a:pt x="487" y="211"/>
                      </a:lnTo>
                      <a:lnTo>
                        <a:pt x="488" y="214"/>
                      </a:lnTo>
                      <a:lnTo>
                        <a:pt x="488" y="218"/>
                      </a:lnTo>
                      <a:lnTo>
                        <a:pt x="488" y="219"/>
                      </a:lnTo>
                      <a:lnTo>
                        <a:pt x="487" y="219"/>
                      </a:lnTo>
                      <a:lnTo>
                        <a:pt x="487" y="221"/>
                      </a:lnTo>
                      <a:lnTo>
                        <a:pt x="484" y="221"/>
                      </a:lnTo>
                      <a:lnTo>
                        <a:pt x="480" y="221"/>
                      </a:lnTo>
                      <a:lnTo>
                        <a:pt x="476" y="219"/>
                      </a:lnTo>
                      <a:lnTo>
                        <a:pt x="473" y="216"/>
                      </a:lnTo>
                      <a:lnTo>
                        <a:pt x="469" y="216"/>
                      </a:lnTo>
                      <a:lnTo>
                        <a:pt x="466" y="214"/>
                      </a:lnTo>
                      <a:lnTo>
                        <a:pt x="463" y="211"/>
                      </a:lnTo>
                      <a:lnTo>
                        <a:pt x="461" y="211"/>
                      </a:lnTo>
                      <a:lnTo>
                        <a:pt x="458" y="214"/>
                      </a:lnTo>
                      <a:lnTo>
                        <a:pt x="458" y="218"/>
                      </a:lnTo>
                      <a:lnTo>
                        <a:pt x="457" y="221"/>
                      </a:lnTo>
                      <a:lnTo>
                        <a:pt x="455" y="224"/>
                      </a:lnTo>
                      <a:lnTo>
                        <a:pt x="449" y="224"/>
                      </a:lnTo>
                      <a:lnTo>
                        <a:pt x="446" y="224"/>
                      </a:lnTo>
                      <a:lnTo>
                        <a:pt x="441" y="224"/>
                      </a:lnTo>
                      <a:lnTo>
                        <a:pt x="438" y="226"/>
                      </a:lnTo>
                      <a:lnTo>
                        <a:pt x="434" y="227"/>
                      </a:lnTo>
                      <a:lnTo>
                        <a:pt x="431" y="230"/>
                      </a:lnTo>
                      <a:lnTo>
                        <a:pt x="433" y="235"/>
                      </a:lnTo>
                      <a:lnTo>
                        <a:pt x="433" y="238"/>
                      </a:lnTo>
                      <a:lnTo>
                        <a:pt x="433" y="240"/>
                      </a:lnTo>
                      <a:lnTo>
                        <a:pt x="430" y="246"/>
                      </a:lnTo>
                      <a:lnTo>
                        <a:pt x="430" y="251"/>
                      </a:lnTo>
                      <a:lnTo>
                        <a:pt x="431" y="257"/>
                      </a:lnTo>
                      <a:lnTo>
                        <a:pt x="431" y="259"/>
                      </a:lnTo>
                      <a:lnTo>
                        <a:pt x="430" y="262"/>
                      </a:lnTo>
                      <a:lnTo>
                        <a:pt x="427" y="264"/>
                      </a:lnTo>
                      <a:lnTo>
                        <a:pt x="423" y="265"/>
                      </a:lnTo>
                      <a:lnTo>
                        <a:pt x="420" y="268"/>
                      </a:lnTo>
                      <a:lnTo>
                        <a:pt x="415" y="270"/>
                      </a:lnTo>
                      <a:lnTo>
                        <a:pt x="414" y="273"/>
                      </a:lnTo>
                      <a:lnTo>
                        <a:pt x="409" y="273"/>
                      </a:lnTo>
                      <a:lnTo>
                        <a:pt x="406" y="276"/>
                      </a:lnTo>
                      <a:lnTo>
                        <a:pt x="398" y="278"/>
                      </a:lnTo>
                      <a:lnTo>
                        <a:pt x="385" y="281"/>
                      </a:lnTo>
                      <a:lnTo>
                        <a:pt x="385" y="281"/>
                      </a:lnTo>
                      <a:lnTo>
                        <a:pt x="387" y="284"/>
                      </a:lnTo>
                      <a:lnTo>
                        <a:pt x="390" y="287"/>
                      </a:lnTo>
                      <a:lnTo>
                        <a:pt x="390" y="287"/>
                      </a:lnTo>
                      <a:lnTo>
                        <a:pt x="387" y="291"/>
                      </a:lnTo>
                      <a:lnTo>
                        <a:pt x="387" y="294"/>
                      </a:lnTo>
                      <a:lnTo>
                        <a:pt x="387" y="299"/>
                      </a:lnTo>
                      <a:lnTo>
                        <a:pt x="382" y="300"/>
                      </a:lnTo>
                      <a:lnTo>
                        <a:pt x="379" y="302"/>
                      </a:lnTo>
                      <a:lnTo>
                        <a:pt x="376" y="305"/>
                      </a:lnTo>
                      <a:lnTo>
                        <a:pt x="373" y="306"/>
                      </a:lnTo>
                      <a:lnTo>
                        <a:pt x="368" y="305"/>
                      </a:lnTo>
                      <a:lnTo>
                        <a:pt x="365" y="306"/>
                      </a:lnTo>
                      <a:lnTo>
                        <a:pt x="363" y="310"/>
                      </a:lnTo>
                      <a:lnTo>
                        <a:pt x="363" y="310"/>
                      </a:lnTo>
                      <a:lnTo>
                        <a:pt x="361" y="306"/>
                      </a:lnTo>
                      <a:lnTo>
                        <a:pt x="361" y="305"/>
                      </a:lnTo>
                      <a:lnTo>
                        <a:pt x="358" y="302"/>
                      </a:lnTo>
                      <a:lnTo>
                        <a:pt x="354" y="300"/>
                      </a:lnTo>
                      <a:lnTo>
                        <a:pt x="352" y="297"/>
                      </a:lnTo>
                      <a:lnTo>
                        <a:pt x="347" y="297"/>
                      </a:lnTo>
                      <a:lnTo>
                        <a:pt x="344" y="299"/>
                      </a:lnTo>
                      <a:lnTo>
                        <a:pt x="341" y="299"/>
                      </a:lnTo>
                      <a:lnTo>
                        <a:pt x="336" y="297"/>
                      </a:lnTo>
                      <a:lnTo>
                        <a:pt x="333" y="295"/>
                      </a:lnTo>
                      <a:lnTo>
                        <a:pt x="330" y="292"/>
                      </a:lnTo>
                      <a:lnTo>
                        <a:pt x="328" y="291"/>
                      </a:lnTo>
                      <a:lnTo>
                        <a:pt x="325" y="291"/>
                      </a:lnTo>
                      <a:lnTo>
                        <a:pt x="322" y="287"/>
                      </a:lnTo>
                      <a:lnTo>
                        <a:pt x="322" y="284"/>
                      </a:lnTo>
                      <a:lnTo>
                        <a:pt x="322" y="279"/>
                      </a:lnTo>
                      <a:lnTo>
                        <a:pt x="319" y="276"/>
                      </a:lnTo>
                      <a:lnTo>
                        <a:pt x="317" y="276"/>
                      </a:lnTo>
                      <a:lnTo>
                        <a:pt x="319" y="272"/>
                      </a:lnTo>
                      <a:lnTo>
                        <a:pt x="319" y="268"/>
                      </a:lnTo>
                      <a:lnTo>
                        <a:pt x="317" y="265"/>
                      </a:lnTo>
                      <a:lnTo>
                        <a:pt x="315" y="262"/>
                      </a:lnTo>
                      <a:lnTo>
                        <a:pt x="314" y="259"/>
                      </a:lnTo>
                      <a:lnTo>
                        <a:pt x="314" y="254"/>
                      </a:lnTo>
                      <a:lnTo>
                        <a:pt x="314" y="251"/>
                      </a:lnTo>
                      <a:lnTo>
                        <a:pt x="312" y="248"/>
                      </a:lnTo>
                      <a:lnTo>
                        <a:pt x="304" y="248"/>
                      </a:lnTo>
                      <a:lnTo>
                        <a:pt x="296" y="248"/>
                      </a:lnTo>
                      <a:lnTo>
                        <a:pt x="287" y="248"/>
                      </a:lnTo>
                      <a:lnTo>
                        <a:pt x="282" y="246"/>
                      </a:lnTo>
                      <a:lnTo>
                        <a:pt x="281" y="241"/>
                      </a:lnTo>
                      <a:lnTo>
                        <a:pt x="277" y="238"/>
                      </a:lnTo>
                      <a:lnTo>
                        <a:pt x="274" y="235"/>
                      </a:lnTo>
                      <a:lnTo>
                        <a:pt x="271" y="232"/>
                      </a:lnTo>
                      <a:lnTo>
                        <a:pt x="269" y="232"/>
                      </a:lnTo>
                      <a:lnTo>
                        <a:pt x="266" y="230"/>
                      </a:lnTo>
                      <a:lnTo>
                        <a:pt x="263" y="229"/>
                      </a:lnTo>
                      <a:lnTo>
                        <a:pt x="260" y="227"/>
                      </a:lnTo>
                      <a:lnTo>
                        <a:pt x="252" y="226"/>
                      </a:lnTo>
                      <a:lnTo>
                        <a:pt x="249" y="221"/>
                      </a:lnTo>
                      <a:lnTo>
                        <a:pt x="247" y="218"/>
                      </a:lnTo>
                      <a:lnTo>
                        <a:pt x="243" y="211"/>
                      </a:lnTo>
                      <a:lnTo>
                        <a:pt x="239" y="213"/>
                      </a:lnTo>
                      <a:lnTo>
                        <a:pt x="236" y="210"/>
                      </a:lnTo>
                      <a:lnTo>
                        <a:pt x="233" y="208"/>
                      </a:lnTo>
                      <a:lnTo>
                        <a:pt x="230" y="207"/>
                      </a:lnTo>
                      <a:lnTo>
                        <a:pt x="225" y="207"/>
                      </a:lnTo>
                      <a:lnTo>
                        <a:pt x="222" y="208"/>
                      </a:lnTo>
                      <a:lnTo>
                        <a:pt x="219" y="207"/>
                      </a:lnTo>
                      <a:lnTo>
                        <a:pt x="216" y="208"/>
                      </a:lnTo>
                      <a:lnTo>
                        <a:pt x="212" y="208"/>
                      </a:lnTo>
                      <a:lnTo>
                        <a:pt x="209" y="207"/>
                      </a:lnTo>
                      <a:lnTo>
                        <a:pt x="206" y="205"/>
                      </a:lnTo>
                      <a:lnTo>
                        <a:pt x="203" y="202"/>
                      </a:lnTo>
                      <a:lnTo>
                        <a:pt x="200" y="202"/>
                      </a:lnTo>
                      <a:lnTo>
                        <a:pt x="197" y="200"/>
                      </a:lnTo>
                      <a:lnTo>
                        <a:pt x="195" y="199"/>
                      </a:lnTo>
                      <a:lnTo>
                        <a:pt x="192" y="199"/>
                      </a:lnTo>
                      <a:lnTo>
                        <a:pt x="189" y="197"/>
                      </a:lnTo>
                      <a:lnTo>
                        <a:pt x="185" y="197"/>
                      </a:lnTo>
                      <a:lnTo>
                        <a:pt x="181" y="195"/>
                      </a:lnTo>
                      <a:lnTo>
                        <a:pt x="178" y="195"/>
                      </a:lnTo>
                      <a:lnTo>
                        <a:pt x="174" y="194"/>
                      </a:lnTo>
                      <a:lnTo>
                        <a:pt x="174" y="191"/>
                      </a:lnTo>
                      <a:lnTo>
                        <a:pt x="171" y="186"/>
                      </a:lnTo>
                      <a:lnTo>
                        <a:pt x="168" y="183"/>
                      </a:lnTo>
                      <a:lnTo>
                        <a:pt x="165" y="183"/>
                      </a:lnTo>
                      <a:lnTo>
                        <a:pt x="163" y="184"/>
                      </a:lnTo>
                      <a:lnTo>
                        <a:pt x="160" y="184"/>
                      </a:lnTo>
                      <a:lnTo>
                        <a:pt x="158" y="184"/>
                      </a:lnTo>
                      <a:lnTo>
                        <a:pt x="155" y="184"/>
                      </a:lnTo>
                      <a:lnTo>
                        <a:pt x="152" y="181"/>
                      </a:lnTo>
                      <a:lnTo>
                        <a:pt x="152" y="181"/>
                      </a:lnTo>
                      <a:lnTo>
                        <a:pt x="147" y="183"/>
                      </a:lnTo>
                      <a:lnTo>
                        <a:pt x="144" y="183"/>
                      </a:lnTo>
                      <a:lnTo>
                        <a:pt x="141" y="183"/>
                      </a:lnTo>
                      <a:lnTo>
                        <a:pt x="138" y="186"/>
                      </a:lnTo>
                      <a:lnTo>
                        <a:pt x="139" y="189"/>
                      </a:lnTo>
                      <a:lnTo>
                        <a:pt x="135" y="191"/>
                      </a:lnTo>
                      <a:lnTo>
                        <a:pt x="133" y="189"/>
                      </a:lnTo>
                      <a:lnTo>
                        <a:pt x="128" y="191"/>
                      </a:lnTo>
                      <a:lnTo>
                        <a:pt x="122" y="189"/>
                      </a:lnTo>
                      <a:lnTo>
                        <a:pt x="119" y="189"/>
                      </a:lnTo>
                      <a:lnTo>
                        <a:pt x="116" y="189"/>
                      </a:lnTo>
                      <a:lnTo>
                        <a:pt x="111" y="189"/>
                      </a:lnTo>
                      <a:lnTo>
                        <a:pt x="108" y="192"/>
                      </a:lnTo>
                      <a:lnTo>
                        <a:pt x="105" y="194"/>
                      </a:lnTo>
                      <a:lnTo>
                        <a:pt x="103" y="194"/>
                      </a:lnTo>
                      <a:lnTo>
                        <a:pt x="100" y="197"/>
                      </a:lnTo>
                      <a:lnTo>
                        <a:pt x="97" y="200"/>
                      </a:lnTo>
                      <a:lnTo>
                        <a:pt x="93" y="202"/>
                      </a:lnTo>
                      <a:lnTo>
                        <a:pt x="90" y="205"/>
                      </a:lnTo>
                      <a:lnTo>
                        <a:pt x="90" y="208"/>
                      </a:lnTo>
                      <a:lnTo>
                        <a:pt x="92" y="211"/>
                      </a:lnTo>
                      <a:lnTo>
                        <a:pt x="89" y="214"/>
                      </a:lnTo>
                      <a:lnTo>
                        <a:pt x="86" y="216"/>
                      </a:lnTo>
                      <a:lnTo>
                        <a:pt x="82" y="218"/>
                      </a:lnTo>
                      <a:lnTo>
                        <a:pt x="78" y="219"/>
                      </a:lnTo>
                      <a:lnTo>
                        <a:pt x="70" y="221"/>
                      </a:lnTo>
                      <a:lnTo>
                        <a:pt x="63" y="219"/>
                      </a:lnTo>
                      <a:lnTo>
                        <a:pt x="59" y="205"/>
                      </a:lnTo>
                      <a:lnTo>
                        <a:pt x="55" y="189"/>
                      </a:lnTo>
                      <a:lnTo>
                        <a:pt x="55" y="183"/>
                      </a:lnTo>
                      <a:lnTo>
                        <a:pt x="55" y="180"/>
                      </a:lnTo>
                      <a:lnTo>
                        <a:pt x="54" y="176"/>
                      </a:lnTo>
                      <a:lnTo>
                        <a:pt x="52" y="172"/>
                      </a:lnTo>
                      <a:lnTo>
                        <a:pt x="52" y="168"/>
                      </a:lnTo>
                      <a:lnTo>
                        <a:pt x="52" y="165"/>
                      </a:lnTo>
                      <a:lnTo>
                        <a:pt x="54" y="162"/>
                      </a:lnTo>
                      <a:lnTo>
                        <a:pt x="54" y="157"/>
                      </a:lnTo>
                      <a:lnTo>
                        <a:pt x="54" y="157"/>
                      </a:lnTo>
                      <a:lnTo>
                        <a:pt x="51" y="153"/>
                      </a:lnTo>
                      <a:lnTo>
                        <a:pt x="47" y="151"/>
                      </a:lnTo>
                      <a:lnTo>
                        <a:pt x="44" y="149"/>
                      </a:lnTo>
                      <a:lnTo>
                        <a:pt x="44" y="146"/>
                      </a:lnTo>
                      <a:lnTo>
                        <a:pt x="44" y="149"/>
                      </a:lnTo>
                      <a:lnTo>
                        <a:pt x="41" y="145"/>
                      </a:lnTo>
                      <a:lnTo>
                        <a:pt x="36" y="142"/>
                      </a:lnTo>
                      <a:lnTo>
                        <a:pt x="33" y="138"/>
                      </a:lnTo>
                      <a:lnTo>
                        <a:pt x="27" y="137"/>
                      </a:lnTo>
                      <a:lnTo>
                        <a:pt x="25" y="140"/>
                      </a:lnTo>
                      <a:lnTo>
                        <a:pt x="22" y="137"/>
                      </a:lnTo>
                      <a:lnTo>
                        <a:pt x="22" y="134"/>
                      </a:lnTo>
                      <a:lnTo>
                        <a:pt x="24" y="130"/>
                      </a:lnTo>
                      <a:lnTo>
                        <a:pt x="25" y="126"/>
                      </a:lnTo>
                      <a:lnTo>
                        <a:pt x="27" y="124"/>
                      </a:lnTo>
                      <a:lnTo>
                        <a:pt x="25" y="127"/>
                      </a:lnTo>
                      <a:lnTo>
                        <a:pt x="28" y="129"/>
                      </a:lnTo>
                      <a:lnTo>
                        <a:pt x="36" y="129"/>
                      </a:lnTo>
                      <a:lnTo>
                        <a:pt x="40" y="129"/>
                      </a:lnTo>
                      <a:lnTo>
                        <a:pt x="35" y="129"/>
                      </a:lnTo>
                      <a:lnTo>
                        <a:pt x="35" y="124"/>
                      </a:lnTo>
                      <a:lnTo>
                        <a:pt x="32" y="124"/>
                      </a:lnTo>
                      <a:lnTo>
                        <a:pt x="30" y="121"/>
                      </a:lnTo>
                      <a:lnTo>
                        <a:pt x="30" y="118"/>
                      </a:lnTo>
                      <a:lnTo>
                        <a:pt x="30" y="115"/>
                      </a:lnTo>
                      <a:lnTo>
                        <a:pt x="27" y="113"/>
                      </a:lnTo>
                      <a:lnTo>
                        <a:pt x="24" y="113"/>
                      </a:lnTo>
                      <a:lnTo>
                        <a:pt x="20" y="111"/>
                      </a:lnTo>
                      <a:lnTo>
                        <a:pt x="17" y="113"/>
                      </a:lnTo>
                      <a:lnTo>
                        <a:pt x="14" y="111"/>
                      </a:lnTo>
                      <a:lnTo>
                        <a:pt x="9" y="110"/>
                      </a:lnTo>
                      <a:lnTo>
                        <a:pt x="11" y="115"/>
                      </a:lnTo>
                      <a:lnTo>
                        <a:pt x="8" y="111"/>
                      </a:lnTo>
                      <a:lnTo>
                        <a:pt x="5" y="108"/>
                      </a:lnTo>
                      <a:lnTo>
                        <a:pt x="5" y="103"/>
                      </a:lnTo>
                      <a:lnTo>
                        <a:pt x="1" y="99"/>
                      </a:lnTo>
                      <a:lnTo>
                        <a:pt x="1" y="99"/>
                      </a:lnTo>
                      <a:lnTo>
                        <a:pt x="1" y="91"/>
                      </a:lnTo>
                      <a:lnTo>
                        <a:pt x="3" y="88"/>
                      </a:lnTo>
                      <a:lnTo>
                        <a:pt x="5" y="84"/>
                      </a:lnTo>
                      <a:lnTo>
                        <a:pt x="5" y="81"/>
                      </a:lnTo>
                      <a:lnTo>
                        <a:pt x="3" y="77"/>
                      </a:lnTo>
                      <a:lnTo>
                        <a:pt x="5" y="73"/>
                      </a:lnTo>
                      <a:lnTo>
                        <a:pt x="3" y="70"/>
                      </a:lnTo>
                      <a:lnTo>
                        <a:pt x="1" y="69"/>
                      </a:lnTo>
                      <a:lnTo>
                        <a:pt x="0" y="65"/>
                      </a:lnTo>
                      <a:lnTo>
                        <a:pt x="0" y="64"/>
                      </a:lnTo>
                      <a:lnTo>
                        <a:pt x="0" y="64"/>
                      </a:lnTo>
                      <a:lnTo>
                        <a:pt x="0" y="64"/>
                      </a:lnTo>
                      <a:lnTo>
                        <a:pt x="0" y="64"/>
                      </a:lnTo>
                      <a:lnTo>
                        <a:pt x="0" y="64"/>
                      </a:lnTo>
                      <a:lnTo>
                        <a:pt x="0" y="64"/>
                      </a:lnTo>
                      <a:lnTo>
                        <a:pt x="1" y="64"/>
                      </a:lnTo>
                      <a:lnTo>
                        <a:pt x="1" y="64"/>
                      </a:lnTo>
                      <a:lnTo>
                        <a:pt x="1" y="64"/>
                      </a:lnTo>
                      <a:lnTo>
                        <a:pt x="1" y="64"/>
                      </a:lnTo>
                      <a:lnTo>
                        <a:pt x="1" y="65"/>
                      </a:lnTo>
                      <a:lnTo>
                        <a:pt x="3" y="65"/>
                      </a:lnTo>
                      <a:lnTo>
                        <a:pt x="3" y="67"/>
                      </a:lnTo>
                      <a:lnTo>
                        <a:pt x="1" y="67"/>
                      </a:lnTo>
                      <a:lnTo>
                        <a:pt x="1" y="67"/>
                      </a:lnTo>
                      <a:lnTo>
                        <a:pt x="3" y="67"/>
                      </a:lnTo>
                      <a:lnTo>
                        <a:pt x="3" y="67"/>
                      </a:lnTo>
                      <a:lnTo>
                        <a:pt x="3" y="67"/>
                      </a:lnTo>
                      <a:lnTo>
                        <a:pt x="3" y="67"/>
                      </a:lnTo>
                      <a:lnTo>
                        <a:pt x="3" y="69"/>
                      </a:lnTo>
                      <a:lnTo>
                        <a:pt x="3" y="69"/>
                      </a:lnTo>
                      <a:lnTo>
                        <a:pt x="3" y="69"/>
                      </a:lnTo>
                      <a:lnTo>
                        <a:pt x="3" y="69"/>
                      </a:lnTo>
                      <a:lnTo>
                        <a:pt x="5" y="69"/>
                      </a:lnTo>
                      <a:lnTo>
                        <a:pt x="5" y="70"/>
                      </a:lnTo>
                      <a:lnTo>
                        <a:pt x="5" y="70"/>
                      </a:lnTo>
                      <a:lnTo>
                        <a:pt x="5" y="72"/>
                      </a:lnTo>
                      <a:lnTo>
                        <a:pt x="5" y="72"/>
                      </a:lnTo>
                      <a:lnTo>
                        <a:pt x="6" y="72"/>
                      </a:lnTo>
                      <a:lnTo>
                        <a:pt x="6" y="72"/>
                      </a:lnTo>
                      <a:lnTo>
                        <a:pt x="6" y="72"/>
                      </a:lnTo>
                      <a:lnTo>
                        <a:pt x="6" y="72"/>
                      </a:lnTo>
                      <a:lnTo>
                        <a:pt x="6" y="72"/>
                      </a:lnTo>
                      <a:lnTo>
                        <a:pt x="8" y="72"/>
                      </a:lnTo>
                      <a:lnTo>
                        <a:pt x="9" y="72"/>
                      </a:lnTo>
                      <a:lnTo>
                        <a:pt x="9" y="73"/>
                      </a:lnTo>
                      <a:lnTo>
                        <a:pt x="8" y="73"/>
                      </a:lnTo>
                      <a:lnTo>
                        <a:pt x="8" y="73"/>
                      </a:lnTo>
                      <a:lnTo>
                        <a:pt x="8" y="73"/>
                      </a:lnTo>
                      <a:lnTo>
                        <a:pt x="6" y="73"/>
                      </a:lnTo>
                      <a:lnTo>
                        <a:pt x="8" y="73"/>
                      </a:lnTo>
                      <a:lnTo>
                        <a:pt x="8" y="73"/>
                      </a:lnTo>
                      <a:lnTo>
                        <a:pt x="8" y="75"/>
                      </a:lnTo>
                      <a:lnTo>
                        <a:pt x="8" y="75"/>
                      </a:lnTo>
                      <a:lnTo>
                        <a:pt x="8" y="77"/>
                      </a:lnTo>
                      <a:lnTo>
                        <a:pt x="9" y="77"/>
                      </a:lnTo>
                      <a:lnTo>
                        <a:pt x="9" y="77"/>
                      </a:lnTo>
                      <a:lnTo>
                        <a:pt x="9" y="77"/>
                      </a:lnTo>
                      <a:lnTo>
                        <a:pt x="13" y="77"/>
                      </a:lnTo>
                      <a:lnTo>
                        <a:pt x="13" y="77"/>
                      </a:lnTo>
                      <a:lnTo>
                        <a:pt x="13" y="75"/>
                      </a:lnTo>
                      <a:lnTo>
                        <a:pt x="13" y="75"/>
                      </a:lnTo>
                      <a:lnTo>
                        <a:pt x="14" y="75"/>
                      </a:lnTo>
                      <a:lnTo>
                        <a:pt x="14" y="75"/>
                      </a:lnTo>
                      <a:lnTo>
                        <a:pt x="14" y="77"/>
                      </a:lnTo>
                      <a:lnTo>
                        <a:pt x="13" y="77"/>
                      </a:lnTo>
                      <a:lnTo>
                        <a:pt x="13" y="77"/>
                      </a:lnTo>
                      <a:lnTo>
                        <a:pt x="14" y="77"/>
                      </a:lnTo>
                      <a:lnTo>
                        <a:pt x="14" y="77"/>
                      </a:lnTo>
                      <a:lnTo>
                        <a:pt x="14" y="77"/>
                      </a:lnTo>
                      <a:lnTo>
                        <a:pt x="16" y="77"/>
                      </a:lnTo>
                      <a:lnTo>
                        <a:pt x="17" y="77"/>
                      </a:lnTo>
                      <a:lnTo>
                        <a:pt x="17" y="73"/>
                      </a:lnTo>
                      <a:lnTo>
                        <a:pt x="17" y="73"/>
                      </a:lnTo>
                      <a:lnTo>
                        <a:pt x="17" y="73"/>
                      </a:lnTo>
                      <a:lnTo>
                        <a:pt x="17" y="73"/>
                      </a:lnTo>
                      <a:lnTo>
                        <a:pt x="17" y="75"/>
                      </a:lnTo>
                      <a:lnTo>
                        <a:pt x="17" y="77"/>
                      </a:lnTo>
                      <a:lnTo>
                        <a:pt x="17" y="77"/>
                      </a:lnTo>
                      <a:lnTo>
                        <a:pt x="17" y="77"/>
                      </a:lnTo>
                      <a:lnTo>
                        <a:pt x="19" y="77"/>
                      </a:lnTo>
                      <a:lnTo>
                        <a:pt x="19" y="77"/>
                      </a:lnTo>
                      <a:lnTo>
                        <a:pt x="19" y="77"/>
                      </a:lnTo>
                      <a:lnTo>
                        <a:pt x="19" y="77"/>
                      </a:lnTo>
                      <a:lnTo>
                        <a:pt x="20" y="77"/>
                      </a:lnTo>
                      <a:lnTo>
                        <a:pt x="20" y="78"/>
                      </a:lnTo>
                      <a:lnTo>
                        <a:pt x="20" y="78"/>
                      </a:lnTo>
                      <a:lnTo>
                        <a:pt x="22" y="78"/>
                      </a:lnTo>
                      <a:lnTo>
                        <a:pt x="22" y="78"/>
                      </a:lnTo>
                      <a:lnTo>
                        <a:pt x="22" y="78"/>
                      </a:lnTo>
                      <a:lnTo>
                        <a:pt x="22" y="77"/>
                      </a:lnTo>
                      <a:lnTo>
                        <a:pt x="22" y="77"/>
                      </a:lnTo>
                      <a:lnTo>
                        <a:pt x="24" y="77"/>
                      </a:lnTo>
                      <a:lnTo>
                        <a:pt x="24" y="77"/>
                      </a:lnTo>
                      <a:lnTo>
                        <a:pt x="24" y="77"/>
                      </a:lnTo>
                      <a:lnTo>
                        <a:pt x="24" y="75"/>
                      </a:lnTo>
                      <a:lnTo>
                        <a:pt x="24" y="73"/>
                      </a:lnTo>
                      <a:lnTo>
                        <a:pt x="24" y="73"/>
                      </a:lnTo>
                      <a:lnTo>
                        <a:pt x="24" y="73"/>
                      </a:lnTo>
                      <a:lnTo>
                        <a:pt x="24" y="72"/>
                      </a:lnTo>
                      <a:lnTo>
                        <a:pt x="24" y="72"/>
                      </a:lnTo>
                      <a:lnTo>
                        <a:pt x="24" y="72"/>
                      </a:lnTo>
                      <a:lnTo>
                        <a:pt x="25" y="72"/>
                      </a:lnTo>
                      <a:lnTo>
                        <a:pt x="25" y="72"/>
                      </a:lnTo>
                      <a:lnTo>
                        <a:pt x="25" y="72"/>
                      </a:lnTo>
                      <a:lnTo>
                        <a:pt x="25" y="72"/>
                      </a:lnTo>
                      <a:lnTo>
                        <a:pt x="27" y="72"/>
                      </a:lnTo>
                      <a:lnTo>
                        <a:pt x="27" y="72"/>
                      </a:lnTo>
                      <a:lnTo>
                        <a:pt x="27" y="73"/>
                      </a:lnTo>
                      <a:lnTo>
                        <a:pt x="27" y="73"/>
                      </a:lnTo>
                      <a:lnTo>
                        <a:pt x="27" y="73"/>
                      </a:lnTo>
                      <a:lnTo>
                        <a:pt x="27" y="75"/>
                      </a:lnTo>
                      <a:lnTo>
                        <a:pt x="27" y="75"/>
                      </a:lnTo>
                      <a:lnTo>
                        <a:pt x="27" y="75"/>
                      </a:lnTo>
                      <a:lnTo>
                        <a:pt x="27" y="77"/>
                      </a:lnTo>
                      <a:lnTo>
                        <a:pt x="27" y="77"/>
                      </a:lnTo>
                      <a:lnTo>
                        <a:pt x="27" y="77"/>
                      </a:lnTo>
                      <a:lnTo>
                        <a:pt x="28" y="78"/>
                      </a:lnTo>
                      <a:lnTo>
                        <a:pt x="28" y="78"/>
                      </a:lnTo>
                      <a:lnTo>
                        <a:pt x="28" y="78"/>
                      </a:lnTo>
                      <a:lnTo>
                        <a:pt x="28" y="78"/>
                      </a:lnTo>
                      <a:lnTo>
                        <a:pt x="30" y="80"/>
                      </a:lnTo>
                      <a:lnTo>
                        <a:pt x="30" y="80"/>
                      </a:lnTo>
                      <a:lnTo>
                        <a:pt x="30" y="81"/>
                      </a:lnTo>
                      <a:lnTo>
                        <a:pt x="30" y="81"/>
                      </a:lnTo>
                      <a:lnTo>
                        <a:pt x="30" y="81"/>
                      </a:lnTo>
                      <a:lnTo>
                        <a:pt x="32" y="83"/>
                      </a:lnTo>
                      <a:lnTo>
                        <a:pt x="32" y="83"/>
                      </a:lnTo>
                      <a:lnTo>
                        <a:pt x="32" y="83"/>
                      </a:lnTo>
                      <a:lnTo>
                        <a:pt x="32" y="81"/>
                      </a:lnTo>
                      <a:lnTo>
                        <a:pt x="35" y="81"/>
                      </a:lnTo>
                      <a:lnTo>
                        <a:pt x="35" y="83"/>
                      </a:lnTo>
                      <a:lnTo>
                        <a:pt x="35" y="81"/>
                      </a:lnTo>
                      <a:lnTo>
                        <a:pt x="35" y="81"/>
                      </a:lnTo>
                      <a:lnTo>
                        <a:pt x="36" y="81"/>
                      </a:lnTo>
                      <a:lnTo>
                        <a:pt x="36" y="81"/>
                      </a:lnTo>
                      <a:lnTo>
                        <a:pt x="36" y="81"/>
                      </a:lnTo>
                      <a:lnTo>
                        <a:pt x="36" y="81"/>
                      </a:lnTo>
                      <a:lnTo>
                        <a:pt x="36" y="81"/>
                      </a:lnTo>
                      <a:lnTo>
                        <a:pt x="36" y="81"/>
                      </a:lnTo>
                      <a:lnTo>
                        <a:pt x="36" y="81"/>
                      </a:lnTo>
                      <a:lnTo>
                        <a:pt x="38" y="80"/>
                      </a:lnTo>
                      <a:lnTo>
                        <a:pt x="38" y="80"/>
                      </a:lnTo>
                      <a:lnTo>
                        <a:pt x="38" y="81"/>
                      </a:lnTo>
                      <a:lnTo>
                        <a:pt x="40" y="81"/>
                      </a:lnTo>
                      <a:lnTo>
                        <a:pt x="40" y="81"/>
                      </a:lnTo>
                      <a:lnTo>
                        <a:pt x="41" y="81"/>
                      </a:lnTo>
                      <a:lnTo>
                        <a:pt x="41" y="81"/>
                      </a:lnTo>
                      <a:lnTo>
                        <a:pt x="41" y="81"/>
                      </a:lnTo>
                      <a:lnTo>
                        <a:pt x="43" y="80"/>
                      </a:lnTo>
                      <a:lnTo>
                        <a:pt x="43" y="80"/>
                      </a:lnTo>
                      <a:lnTo>
                        <a:pt x="41" y="80"/>
                      </a:lnTo>
                      <a:lnTo>
                        <a:pt x="41" y="78"/>
                      </a:lnTo>
                      <a:lnTo>
                        <a:pt x="41" y="78"/>
                      </a:lnTo>
                      <a:lnTo>
                        <a:pt x="41" y="78"/>
                      </a:lnTo>
                      <a:lnTo>
                        <a:pt x="43" y="78"/>
                      </a:lnTo>
                      <a:lnTo>
                        <a:pt x="44" y="78"/>
                      </a:lnTo>
                      <a:lnTo>
                        <a:pt x="44" y="78"/>
                      </a:lnTo>
                      <a:lnTo>
                        <a:pt x="44" y="78"/>
                      </a:lnTo>
                      <a:lnTo>
                        <a:pt x="46" y="78"/>
                      </a:lnTo>
                      <a:lnTo>
                        <a:pt x="47" y="78"/>
                      </a:lnTo>
                      <a:lnTo>
                        <a:pt x="47" y="78"/>
                      </a:lnTo>
                      <a:lnTo>
                        <a:pt x="46" y="80"/>
                      </a:lnTo>
                      <a:lnTo>
                        <a:pt x="46" y="80"/>
                      </a:lnTo>
                      <a:lnTo>
                        <a:pt x="46" y="80"/>
                      </a:lnTo>
                      <a:lnTo>
                        <a:pt x="47" y="80"/>
                      </a:lnTo>
                      <a:lnTo>
                        <a:pt x="47" y="80"/>
                      </a:lnTo>
                      <a:lnTo>
                        <a:pt x="49" y="80"/>
                      </a:lnTo>
                      <a:lnTo>
                        <a:pt x="51" y="80"/>
                      </a:lnTo>
                      <a:lnTo>
                        <a:pt x="52" y="80"/>
                      </a:lnTo>
                      <a:lnTo>
                        <a:pt x="52" y="80"/>
                      </a:lnTo>
                      <a:lnTo>
                        <a:pt x="51" y="80"/>
                      </a:lnTo>
                      <a:lnTo>
                        <a:pt x="51" y="80"/>
                      </a:lnTo>
                      <a:lnTo>
                        <a:pt x="51" y="80"/>
                      </a:lnTo>
                      <a:lnTo>
                        <a:pt x="52" y="80"/>
                      </a:lnTo>
                      <a:lnTo>
                        <a:pt x="52" y="78"/>
                      </a:lnTo>
                      <a:lnTo>
                        <a:pt x="54" y="78"/>
                      </a:lnTo>
                      <a:lnTo>
                        <a:pt x="54" y="78"/>
                      </a:lnTo>
                      <a:lnTo>
                        <a:pt x="54" y="78"/>
                      </a:lnTo>
                      <a:lnTo>
                        <a:pt x="54" y="78"/>
                      </a:lnTo>
                      <a:lnTo>
                        <a:pt x="51" y="78"/>
                      </a:lnTo>
                      <a:lnTo>
                        <a:pt x="51" y="78"/>
                      </a:lnTo>
                      <a:lnTo>
                        <a:pt x="49" y="78"/>
                      </a:lnTo>
                      <a:lnTo>
                        <a:pt x="49" y="78"/>
                      </a:lnTo>
                      <a:lnTo>
                        <a:pt x="49" y="78"/>
                      </a:lnTo>
                      <a:lnTo>
                        <a:pt x="49" y="77"/>
                      </a:lnTo>
                      <a:lnTo>
                        <a:pt x="49" y="77"/>
                      </a:lnTo>
                      <a:lnTo>
                        <a:pt x="47" y="75"/>
                      </a:lnTo>
                      <a:lnTo>
                        <a:pt x="47" y="75"/>
                      </a:lnTo>
                      <a:lnTo>
                        <a:pt x="47" y="73"/>
                      </a:lnTo>
                      <a:lnTo>
                        <a:pt x="47" y="73"/>
                      </a:lnTo>
                      <a:lnTo>
                        <a:pt x="47" y="72"/>
                      </a:lnTo>
                      <a:lnTo>
                        <a:pt x="46" y="72"/>
                      </a:lnTo>
                      <a:lnTo>
                        <a:pt x="46" y="72"/>
                      </a:lnTo>
                      <a:lnTo>
                        <a:pt x="46" y="72"/>
                      </a:lnTo>
                      <a:lnTo>
                        <a:pt x="46" y="72"/>
                      </a:lnTo>
                      <a:lnTo>
                        <a:pt x="47" y="72"/>
                      </a:lnTo>
                      <a:lnTo>
                        <a:pt x="47" y="72"/>
                      </a:lnTo>
                      <a:lnTo>
                        <a:pt x="47" y="70"/>
                      </a:lnTo>
                      <a:lnTo>
                        <a:pt x="47" y="70"/>
                      </a:lnTo>
                      <a:lnTo>
                        <a:pt x="47" y="70"/>
                      </a:lnTo>
                      <a:lnTo>
                        <a:pt x="47" y="70"/>
                      </a:lnTo>
                      <a:lnTo>
                        <a:pt x="49" y="70"/>
                      </a:lnTo>
                      <a:lnTo>
                        <a:pt x="49" y="72"/>
                      </a:lnTo>
                      <a:lnTo>
                        <a:pt x="51" y="72"/>
                      </a:lnTo>
                      <a:lnTo>
                        <a:pt x="51" y="72"/>
                      </a:lnTo>
                      <a:lnTo>
                        <a:pt x="51" y="72"/>
                      </a:lnTo>
                      <a:lnTo>
                        <a:pt x="51" y="72"/>
                      </a:lnTo>
                      <a:lnTo>
                        <a:pt x="52" y="72"/>
                      </a:lnTo>
                      <a:lnTo>
                        <a:pt x="54" y="72"/>
                      </a:lnTo>
                      <a:lnTo>
                        <a:pt x="54" y="72"/>
                      </a:lnTo>
                      <a:lnTo>
                        <a:pt x="54" y="73"/>
                      </a:lnTo>
                      <a:lnTo>
                        <a:pt x="54" y="73"/>
                      </a:lnTo>
                      <a:lnTo>
                        <a:pt x="54" y="73"/>
                      </a:lnTo>
                      <a:lnTo>
                        <a:pt x="54" y="73"/>
                      </a:lnTo>
                      <a:lnTo>
                        <a:pt x="52" y="73"/>
                      </a:lnTo>
                      <a:lnTo>
                        <a:pt x="52" y="75"/>
                      </a:lnTo>
                      <a:lnTo>
                        <a:pt x="54" y="75"/>
                      </a:lnTo>
                      <a:lnTo>
                        <a:pt x="54" y="75"/>
                      </a:lnTo>
                      <a:lnTo>
                        <a:pt x="54" y="75"/>
                      </a:lnTo>
                      <a:lnTo>
                        <a:pt x="54" y="75"/>
                      </a:lnTo>
                      <a:lnTo>
                        <a:pt x="54" y="75"/>
                      </a:lnTo>
                      <a:lnTo>
                        <a:pt x="55" y="75"/>
                      </a:lnTo>
                      <a:lnTo>
                        <a:pt x="55" y="75"/>
                      </a:lnTo>
                      <a:lnTo>
                        <a:pt x="55" y="75"/>
                      </a:lnTo>
                      <a:lnTo>
                        <a:pt x="57" y="75"/>
                      </a:lnTo>
                      <a:lnTo>
                        <a:pt x="57" y="73"/>
                      </a:lnTo>
                      <a:lnTo>
                        <a:pt x="57" y="73"/>
                      </a:lnTo>
                      <a:lnTo>
                        <a:pt x="59" y="73"/>
                      </a:lnTo>
                      <a:lnTo>
                        <a:pt x="59" y="73"/>
                      </a:lnTo>
                      <a:lnTo>
                        <a:pt x="59" y="73"/>
                      </a:lnTo>
                      <a:lnTo>
                        <a:pt x="60" y="73"/>
                      </a:lnTo>
                      <a:lnTo>
                        <a:pt x="60" y="72"/>
                      </a:lnTo>
                      <a:lnTo>
                        <a:pt x="60" y="72"/>
                      </a:lnTo>
                      <a:lnTo>
                        <a:pt x="60" y="72"/>
                      </a:lnTo>
                      <a:lnTo>
                        <a:pt x="60" y="72"/>
                      </a:lnTo>
                      <a:lnTo>
                        <a:pt x="62" y="72"/>
                      </a:lnTo>
                      <a:lnTo>
                        <a:pt x="62" y="72"/>
                      </a:lnTo>
                      <a:lnTo>
                        <a:pt x="62" y="72"/>
                      </a:lnTo>
                      <a:lnTo>
                        <a:pt x="62" y="70"/>
                      </a:lnTo>
                      <a:lnTo>
                        <a:pt x="62" y="70"/>
                      </a:lnTo>
                      <a:lnTo>
                        <a:pt x="62" y="70"/>
                      </a:lnTo>
                      <a:lnTo>
                        <a:pt x="62" y="70"/>
                      </a:lnTo>
                      <a:lnTo>
                        <a:pt x="62" y="69"/>
                      </a:lnTo>
                      <a:lnTo>
                        <a:pt x="62" y="69"/>
                      </a:lnTo>
                      <a:lnTo>
                        <a:pt x="62" y="69"/>
                      </a:lnTo>
                      <a:lnTo>
                        <a:pt x="62" y="67"/>
                      </a:lnTo>
                      <a:lnTo>
                        <a:pt x="62" y="67"/>
                      </a:lnTo>
                      <a:lnTo>
                        <a:pt x="62" y="67"/>
                      </a:lnTo>
                      <a:lnTo>
                        <a:pt x="60" y="67"/>
                      </a:lnTo>
                      <a:lnTo>
                        <a:pt x="60" y="67"/>
                      </a:lnTo>
                      <a:lnTo>
                        <a:pt x="60" y="65"/>
                      </a:lnTo>
                      <a:lnTo>
                        <a:pt x="60" y="65"/>
                      </a:lnTo>
                      <a:lnTo>
                        <a:pt x="59" y="64"/>
                      </a:lnTo>
                      <a:lnTo>
                        <a:pt x="59" y="64"/>
                      </a:lnTo>
                      <a:lnTo>
                        <a:pt x="59" y="64"/>
                      </a:lnTo>
                      <a:lnTo>
                        <a:pt x="60" y="64"/>
                      </a:lnTo>
                      <a:lnTo>
                        <a:pt x="60" y="64"/>
                      </a:lnTo>
                      <a:lnTo>
                        <a:pt x="60" y="65"/>
                      </a:lnTo>
                      <a:lnTo>
                        <a:pt x="60" y="65"/>
                      </a:lnTo>
                      <a:lnTo>
                        <a:pt x="62" y="65"/>
                      </a:lnTo>
                      <a:lnTo>
                        <a:pt x="62" y="65"/>
                      </a:lnTo>
                      <a:lnTo>
                        <a:pt x="62" y="65"/>
                      </a:lnTo>
                      <a:lnTo>
                        <a:pt x="62" y="65"/>
                      </a:lnTo>
                      <a:lnTo>
                        <a:pt x="62" y="65"/>
                      </a:lnTo>
                      <a:lnTo>
                        <a:pt x="60" y="64"/>
                      </a:lnTo>
                      <a:lnTo>
                        <a:pt x="60" y="64"/>
                      </a:lnTo>
                      <a:lnTo>
                        <a:pt x="60" y="64"/>
                      </a:lnTo>
                      <a:lnTo>
                        <a:pt x="60" y="64"/>
                      </a:lnTo>
                      <a:lnTo>
                        <a:pt x="60" y="64"/>
                      </a:lnTo>
                      <a:lnTo>
                        <a:pt x="60" y="62"/>
                      </a:lnTo>
                      <a:lnTo>
                        <a:pt x="60" y="62"/>
                      </a:lnTo>
                      <a:lnTo>
                        <a:pt x="60" y="62"/>
                      </a:lnTo>
                      <a:lnTo>
                        <a:pt x="59" y="62"/>
                      </a:lnTo>
                      <a:lnTo>
                        <a:pt x="59" y="62"/>
                      </a:lnTo>
                      <a:lnTo>
                        <a:pt x="57" y="62"/>
                      </a:lnTo>
                      <a:lnTo>
                        <a:pt x="57" y="62"/>
                      </a:lnTo>
                      <a:lnTo>
                        <a:pt x="57" y="61"/>
                      </a:lnTo>
                      <a:lnTo>
                        <a:pt x="55" y="61"/>
                      </a:lnTo>
                      <a:lnTo>
                        <a:pt x="55" y="59"/>
                      </a:lnTo>
                      <a:lnTo>
                        <a:pt x="55" y="59"/>
                      </a:lnTo>
                      <a:lnTo>
                        <a:pt x="54" y="59"/>
                      </a:lnTo>
                      <a:lnTo>
                        <a:pt x="54" y="59"/>
                      </a:lnTo>
                      <a:lnTo>
                        <a:pt x="54" y="59"/>
                      </a:lnTo>
                      <a:lnTo>
                        <a:pt x="54" y="59"/>
                      </a:lnTo>
                      <a:lnTo>
                        <a:pt x="54" y="59"/>
                      </a:lnTo>
                      <a:lnTo>
                        <a:pt x="52" y="57"/>
                      </a:lnTo>
                      <a:lnTo>
                        <a:pt x="52" y="57"/>
                      </a:lnTo>
                      <a:lnTo>
                        <a:pt x="51" y="57"/>
                      </a:lnTo>
                      <a:lnTo>
                        <a:pt x="51" y="56"/>
                      </a:lnTo>
                      <a:lnTo>
                        <a:pt x="51" y="56"/>
                      </a:lnTo>
                      <a:lnTo>
                        <a:pt x="51" y="56"/>
                      </a:lnTo>
                      <a:lnTo>
                        <a:pt x="49" y="56"/>
                      </a:lnTo>
                      <a:lnTo>
                        <a:pt x="49" y="56"/>
                      </a:lnTo>
                      <a:lnTo>
                        <a:pt x="49" y="56"/>
                      </a:lnTo>
                      <a:lnTo>
                        <a:pt x="49" y="56"/>
                      </a:lnTo>
                      <a:lnTo>
                        <a:pt x="47" y="54"/>
                      </a:lnTo>
                      <a:lnTo>
                        <a:pt x="47" y="54"/>
                      </a:lnTo>
                      <a:lnTo>
                        <a:pt x="46" y="54"/>
                      </a:lnTo>
                      <a:lnTo>
                        <a:pt x="46" y="54"/>
                      </a:lnTo>
                      <a:lnTo>
                        <a:pt x="46" y="54"/>
                      </a:lnTo>
                      <a:lnTo>
                        <a:pt x="44" y="54"/>
                      </a:lnTo>
                      <a:lnTo>
                        <a:pt x="44" y="54"/>
                      </a:lnTo>
                      <a:lnTo>
                        <a:pt x="44" y="54"/>
                      </a:lnTo>
                      <a:lnTo>
                        <a:pt x="44" y="53"/>
                      </a:lnTo>
                      <a:lnTo>
                        <a:pt x="43" y="53"/>
                      </a:lnTo>
                      <a:lnTo>
                        <a:pt x="43" y="53"/>
                      </a:lnTo>
                      <a:lnTo>
                        <a:pt x="41" y="53"/>
                      </a:lnTo>
                      <a:lnTo>
                        <a:pt x="41" y="51"/>
                      </a:lnTo>
                      <a:lnTo>
                        <a:pt x="41" y="51"/>
                      </a:lnTo>
                      <a:lnTo>
                        <a:pt x="41" y="51"/>
                      </a:lnTo>
                      <a:lnTo>
                        <a:pt x="41" y="51"/>
                      </a:lnTo>
                      <a:lnTo>
                        <a:pt x="40" y="51"/>
                      </a:lnTo>
                      <a:lnTo>
                        <a:pt x="40" y="51"/>
                      </a:lnTo>
                      <a:lnTo>
                        <a:pt x="40" y="50"/>
                      </a:lnTo>
                      <a:lnTo>
                        <a:pt x="40" y="50"/>
                      </a:lnTo>
                      <a:lnTo>
                        <a:pt x="40" y="50"/>
                      </a:lnTo>
                      <a:lnTo>
                        <a:pt x="38" y="50"/>
                      </a:lnTo>
                      <a:lnTo>
                        <a:pt x="38" y="50"/>
                      </a:lnTo>
                      <a:lnTo>
                        <a:pt x="38" y="48"/>
                      </a:lnTo>
                      <a:lnTo>
                        <a:pt x="38" y="48"/>
                      </a:lnTo>
                      <a:lnTo>
                        <a:pt x="36" y="48"/>
                      </a:lnTo>
                      <a:lnTo>
                        <a:pt x="36" y="48"/>
                      </a:lnTo>
                      <a:lnTo>
                        <a:pt x="36" y="48"/>
                      </a:lnTo>
                      <a:lnTo>
                        <a:pt x="35" y="48"/>
                      </a:lnTo>
                      <a:lnTo>
                        <a:pt x="35" y="48"/>
                      </a:lnTo>
                      <a:lnTo>
                        <a:pt x="35" y="46"/>
                      </a:lnTo>
                      <a:lnTo>
                        <a:pt x="35" y="46"/>
                      </a:lnTo>
                      <a:lnTo>
                        <a:pt x="35" y="46"/>
                      </a:lnTo>
                      <a:lnTo>
                        <a:pt x="35" y="46"/>
                      </a:lnTo>
                      <a:lnTo>
                        <a:pt x="35" y="46"/>
                      </a:lnTo>
                      <a:lnTo>
                        <a:pt x="33" y="45"/>
                      </a:lnTo>
                      <a:lnTo>
                        <a:pt x="33" y="45"/>
                      </a:lnTo>
                      <a:lnTo>
                        <a:pt x="33" y="43"/>
                      </a:lnTo>
                      <a:lnTo>
                        <a:pt x="33" y="43"/>
                      </a:lnTo>
                      <a:lnTo>
                        <a:pt x="33" y="43"/>
                      </a:lnTo>
                      <a:lnTo>
                        <a:pt x="33" y="42"/>
                      </a:lnTo>
                      <a:lnTo>
                        <a:pt x="33" y="40"/>
                      </a:lnTo>
                      <a:lnTo>
                        <a:pt x="32" y="40"/>
                      </a:lnTo>
                      <a:lnTo>
                        <a:pt x="32" y="38"/>
                      </a:lnTo>
                      <a:lnTo>
                        <a:pt x="32" y="38"/>
                      </a:lnTo>
                      <a:lnTo>
                        <a:pt x="32" y="38"/>
                      </a:lnTo>
                      <a:lnTo>
                        <a:pt x="32" y="37"/>
                      </a:lnTo>
                      <a:lnTo>
                        <a:pt x="32" y="37"/>
                      </a:lnTo>
                      <a:lnTo>
                        <a:pt x="32" y="37"/>
                      </a:lnTo>
                      <a:lnTo>
                        <a:pt x="32" y="35"/>
                      </a:lnTo>
                      <a:lnTo>
                        <a:pt x="30" y="35"/>
                      </a:lnTo>
                      <a:lnTo>
                        <a:pt x="30" y="35"/>
                      </a:lnTo>
                      <a:lnTo>
                        <a:pt x="30" y="35"/>
                      </a:lnTo>
                      <a:lnTo>
                        <a:pt x="30" y="35"/>
                      </a:lnTo>
                      <a:lnTo>
                        <a:pt x="30" y="35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30" y="34"/>
                      </a:lnTo>
                      <a:lnTo>
                        <a:pt x="28" y="34"/>
                      </a:lnTo>
                      <a:lnTo>
                        <a:pt x="28" y="34"/>
                      </a:lnTo>
                      <a:lnTo>
                        <a:pt x="28" y="32"/>
                      </a:lnTo>
                      <a:lnTo>
                        <a:pt x="28" y="32"/>
                      </a:lnTo>
                      <a:lnTo>
                        <a:pt x="28" y="32"/>
                      </a:lnTo>
                      <a:lnTo>
                        <a:pt x="28" y="32"/>
                      </a:lnTo>
                      <a:lnTo>
                        <a:pt x="27" y="32"/>
                      </a:lnTo>
                      <a:lnTo>
                        <a:pt x="27" y="31"/>
                      </a:lnTo>
                      <a:lnTo>
                        <a:pt x="27" y="31"/>
                      </a:lnTo>
                      <a:lnTo>
                        <a:pt x="27" y="31"/>
                      </a:lnTo>
                      <a:lnTo>
                        <a:pt x="27" y="31"/>
                      </a:lnTo>
                      <a:lnTo>
                        <a:pt x="27" y="31"/>
                      </a:lnTo>
                      <a:lnTo>
                        <a:pt x="27" y="31"/>
                      </a:lnTo>
                      <a:lnTo>
                        <a:pt x="27" y="29"/>
                      </a:lnTo>
                      <a:lnTo>
                        <a:pt x="25" y="29"/>
                      </a:lnTo>
                      <a:lnTo>
                        <a:pt x="25" y="27"/>
                      </a:lnTo>
                      <a:lnTo>
                        <a:pt x="27" y="27"/>
                      </a:lnTo>
                      <a:lnTo>
                        <a:pt x="27" y="26"/>
                      </a:lnTo>
                      <a:lnTo>
                        <a:pt x="25" y="26"/>
                      </a:lnTo>
                      <a:lnTo>
                        <a:pt x="25" y="26"/>
                      </a:lnTo>
                      <a:lnTo>
                        <a:pt x="25" y="24"/>
                      </a:lnTo>
                      <a:lnTo>
                        <a:pt x="25" y="24"/>
                      </a:lnTo>
                      <a:lnTo>
                        <a:pt x="25" y="24"/>
                      </a:lnTo>
                      <a:lnTo>
                        <a:pt x="25" y="24"/>
                      </a:lnTo>
                      <a:lnTo>
                        <a:pt x="25" y="24"/>
                      </a:lnTo>
                      <a:lnTo>
                        <a:pt x="24" y="23"/>
                      </a:lnTo>
                      <a:lnTo>
                        <a:pt x="24" y="23"/>
                      </a:lnTo>
                      <a:lnTo>
                        <a:pt x="24" y="23"/>
                      </a:lnTo>
                      <a:lnTo>
                        <a:pt x="24" y="23"/>
                      </a:lnTo>
                      <a:lnTo>
                        <a:pt x="24" y="23"/>
                      </a:lnTo>
                      <a:lnTo>
                        <a:pt x="24" y="23"/>
                      </a:lnTo>
                      <a:lnTo>
                        <a:pt x="22" y="23"/>
                      </a:lnTo>
                      <a:lnTo>
                        <a:pt x="22" y="23"/>
                      </a:lnTo>
                      <a:lnTo>
                        <a:pt x="22" y="23"/>
                      </a:lnTo>
                      <a:lnTo>
                        <a:pt x="22" y="21"/>
                      </a:lnTo>
                      <a:lnTo>
                        <a:pt x="22" y="21"/>
                      </a:lnTo>
                      <a:lnTo>
                        <a:pt x="20" y="21"/>
                      </a:lnTo>
                      <a:lnTo>
                        <a:pt x="19" y="21"/>
                      </a:lnTo>
                      <a:lnTo>
                        <a:pt x="19" y="21"/>
                      </a:lnTo>
                      <a:lnTo>
                        <a:pt x="16" y="21"/>
                      </a:lnTo>
                      <a:lnTo>
                        <a:pt x="13" y="21"/>
                      </a:lnTo>
                      <a:lnTo>
                        <a:pt x="13" y="21"/>
                      </a:lnTo>
                      <a:lnTo>
                        <a:pt x="11" y="23"/>
                      </a:lnTo>
                      <a:lnTo>
                        <a:pt x="11" y="23"/>
                      </a:lnTo>
                      <a:lnTo>
                        <a:pt x="11" y="23"/>
                      </a:lnTo>
                      <a:lnTo>
                        <a:pt x="8" y="23"/>
                      </a:lnTo>
                      <a:lnTo>
                        <a:pt x="6" y="23"/>
                      </a:lnTo>
                      <a:lnTo>
                        <a:pt x="6" y="23"/>
                      </a:lnTo>
                      <a:lnTo>
                        <a:pt x="6" y="23"/>
                      </a:lnTo>
                      <a:lnTo>
                        <a:pt x="6" y="23"/>
                      </a:lnTo>
                      <a:lnTo>
                        <a:pt x="5" y="24"/>
                      </a:lnTo>
                      <a:lnTo>
                        <a:pt x="3" y="24"/>
                      </a:lnTo>
                      <a:lnTo>
                        <a:pt x="3" y="23"/>
                      </a:lnTo>
                      <a:lnTo>
                        <a:pt x="3" y="23"/>
                      </a:lnTo>
                      <a:lnTo>
                        <a:pt x="3" y="23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43" name="Rectangle 390"/>
                <p:cNvSpPr>
                  <a:spLocks noChangeArrowheads="1"/>
                </p:cNvSpPr>
                <p:nvPr/>
              </p:nvSpPr>
              <p:spPr bwMode="auto">
                <a:xfrm>
                  <a:off x="3487" y="1645"/>
                  <a:ext cx="1" cy="1"/>
                </a:xfrm>
                <a:prstGeom prst="rect">
                  <a:avLst/>
                </a:prstGeom>
                <a:grpFill/>
                <a:ln w="1270" algn="ctr">
                  <a:solidFill>
                    <a:srgbClr val="D9DCEB"/>
                  </a:solidFill>
                  <a:miter lim="800000"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44" name="Freeform 391"/>
                <p:cNvSpPr>
                  <a:spLocks/>
                </p:cNvSpPr>
                <p:nvPr/>
              </p:nvSpPr>
              <p:spPr bwMode="auto">
                <a:xfrm>
                  <a:off x="3488" y="1646"/>
                  <a:ext cx="1" cy="2"/>
                </a:xfrm>
                <a:custGeom>
                  <a:avLst/>
                  <a:gdLst>
                    <a:gd name="T0" fmla="*/ 2 w 2"/>
                    <a:gd name="T1" fmla="*/ 5 h 5"/>
                    <a:gd name="T2" fmla="*/ 0 w 2"/>
                    <a:gd name="T3" fmla="*/ 3 h 5"/>
                    <a:gd name="T4" fmla="*/ 0 w 2"/>
                    <a:gd name="T5" fmla="*/ 0 h 5"/>
                    <a:gd name="T6" fmla="*/ 0 w 2"/>
                    <a:gd name="T7" fmla="*/ 2 h 5"/>
                    <a:gd name="T8" fmla="*/ 0 w 2"/>
                    <a:gd name="T9" fmla="*/ 2 h 5"/>
                    <a:gd name="T10" fmla="*/ 0 w 2"/>
                    <a:gd name="T11" fmla="*/ 2 h 5"/>
                    <a:gd name="T12" fmla="*/ 2 w 2"/>
                    <a:gd name="T13" fmla="*/ 2 h 5"/>
                    <a:gd name="T14" fmla="*/ 2 w 2"/>
                    <a:gd name="T15" fmla="*/ 3 h 5"/>
                    <a:gd name="T16" fmla="*/ 2 w 2"/>
                    <a:gd name="T17" fmla="*/ 3 h 5"/>
                    <a:gd name="T18" fmla="*/ 2 w 2"/>
                    <a:gd name="T19" fmla="*/ 3 h 5"/>
                    <a:gd name="T20" fmla="*/ 2 w 2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" h="5">
                      <a:moveTo>
                        <a:pt x="2" y="5"/>
                      </a:move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3"/>
                      </a:lnTo>
                      <a:lnTo>
                        <a:pt x="2" y="5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45" name="Freeform 392"/>
                <p:cNvSpPr>
                  <a:spLocks/>
                </p:cNvSpPr>
                <p:nvPr/>
              </p:nvSpPr>
              <p:spPr bwMode="auto">
                <a:xfrm>
                  <a:off x="3480" y="1631"/>
                  <a:ext cx="7" cy="13"/>
                </a:xfrm>
                <a:custGeom>
                  <a:avLst/>
                  <a:gdLst>
                    <a:gd name="T0" fmla="*/ 7 w 15"/>
                    <a:gd name="T1" fmla="*/ 5 h 27"/>
                    <a:gd name="T2" fmla="*/ 12 w 15"/>
                    <a:gd name="T3" fmla="*/ 2 h 27"/>
                    <a:gd name="T4" fmla="*/ 12 w 15"/>
                    <a:gd name="T5" fmla="*/ 2 h 27"/>
                    <a:gd name="T6" fmla="*/ 12 w 15"/>
                    <a:gd name="T7" fmla="*/ 3 h 27"/>
                    <a:gd name="T8" fmla="*/ 12 w 15"/>
                    <a:gd name="T9" fmla="*/ 5 h 27"/>
                    <a:gd name="T10" fmla="*/ 10 w 15"/>
                    <a:gd name="T11" fmla="*/ 6 h 27"/>
                    <a:gd name="T12" fmla="*/ 10 w 15"/>
                    <a:gd name="T13" fmla="*/ 8 h 27"/>
                    <a:gd name="T14" fmla="*/ 10 w 15"/>
                    <a:gd name="T15" fmla="*/ 8 h 27"/>
                    <a:gd name="T16" fmla="*/ 8 w 15"/>
                    <a:gd name="T17" fmla="*/ 9 h 27"/>
                    <a:gd name="T18" fmla="*/ 8 w 15"/>
                    <a:gd name="T19" fmla="*/ 9 h 27"/>
                    <a:gd name="T20" fmla="*/ 8 w 15"/>
                    <a:gd name="T21" fmla="*/ 11 h 27"/>
                    <a:gd name="T22" fmla="*/ 8 w 15"/>
                    <a:gd name="T23" fmla="*/ 11 h 27"/>
                    <a:gd name="T24" fmla="*/ 10 w 15"/>
                    <a:gd name="T25" fmla="*/ 11 h 27"/>
                    <a:gd name="T26" fmla="*/ 10 w 15"/>
                    <a:gd name="T27" fmla="*/ 11 h 27"/>
                    <a:gd name="T28" fmla="*/ 12 w 15"/>
                    <a:gd name="T29" fmla="*/ 9 h 27"/>
                    <a:gd name="T30" fmla="*/ 12 w 15"/>
                    <a:gd name="T31" fmla="*/ 9 h 27"/>
                    <a:gd name="T32" fmla="*/ 13 w 15"/>
                    <a:gd name="T33" fmla="*/ 9 h 27"/>
                    <a:gd name="T34" fmla="*/ 13 w 15"/>
                    <a:gd name="T35" fmla="*/ 11 h 27"/>
                    <a:gd name="T36" fmla="*/ 13 w 15"/>
                    <a:gd name="T37" fmla="*/ 11 h 27"/>
                    <a:gd name="T38" fmla="*/ 13 w 15"/>
                    <a:gd name="T39" fmla="*/ 13 h 27"/>
                    <a:gd name="T40" fmla="*/ 13 w 15"/>
                    <a:gd name="T41" fmla="*/ 14 h 27"/>
                    <a:gd name="T42" fmla="*/ 13 w 15"/>
                    <a:gd name="T43" fmla="*/ 16 h 27"/>
                    <a:gd name="T44" fmla="*/ 13 w 15"/>
                    <a:gd name="T45" fmla="*/ 19 h 27"/>
                    <a:gd name="T46" fmla="*/ 13 w 15"/>
                    <a:gd name="T47" fmla="*/ 21 h 27"/>
                    <a:gd name="T48" fmla="*/ 13 w 15"/>
                    <a:gd name="T49" fmla="*/ 22 h 27"/>
                    <a:gd name="T50" fmla="*/ 13 w 15"/>
                    <a:gd name="T51" fmla="*/ 24 h 27"/>
                    <a:gd name="T52" fmla="*/ 13 w 15"/>
                    <a:gd name="T53" fmla="*/ 25 h 27"/>
                    <a:gd name="T54" fmla="*/ 13 w 15"/>
                    <a:gd name="T55" fmla="*/ 25 h 27"/>
                    <a:gd name="T56" fmla="*/ 15 w 15"/>
                    <a:gd name="T57" fmla="*/ 27 h 27"/>
                    <a:gd name="T58" fmla="*/ 12 w 15"/>
                    <a:gd name="T59" fmla="*/ 25 h 27"/>
                    <a:gd name="T60" fmla="*/ 7 w 15"/>
                    <a:gd name="T61" fmla="*/ 19 h 27"/>
                    <a:gd name="T62" fmla="*/ 2 w 15"/>
                    <a:gd name="T63" fmla="*/ 13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5" h="27">
                      <a:moveTo>
                        <a:pt x="0" y="13"/>
                      </a:moveTo>
                      <a:lnTo>
                        <a:pt x="7" y="5"/>
                      </a:lnTo>
                      <a:lnTo>
                        <a:pt x="12" y="0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2"/>
                      </a:lnTo>
                      <a:lnTo>
                        <a:pt x="12" y="3"/>
                      </a:lnTo>
                      <a:lnTo>
                        <a:pt x="12" y="3"/>
                      </a:lnTo>
                      <a:lnTo>
                        <a:pt x="12" y="3"/>
                      </a:lnTo>
                      <a:lnTo>
                        <a:pt x="12" y="5"/>
                      </a:lnTo>
                      <a:lnTo>
                        <a:pt x="12" y="5"/>
                      </a:lnTo>
                      <a:lnTo>
                        <a:pt x="10" y="6"/>
                      </a:lnTo>
                      <a:lnTo>
                        <a:pt x="10" y="6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10" y="8"/>
                      </a:lnTo>
                      <a:lnTo>
                        <a:pt x="8" y="8"/>
                      </a:lnTo>
                      <a:lnTo>
                        <a:pt x="8" y="9"/>
                      </a:lnTo>
                      <a:lnTo>
                        <a:pt x="8" y="9"/>
                      </a:lnTo>
                      <a:lnTo>
                        <a:pt x="8" y="9"/>
                      </a:lnTo>
                      <a:lnTo>
                        <a:pt x="8" y="9"/>
                      </a:lnTo>
                      <a:lnTo>
                        <a:pt x="8" y="11"/>
                      </a:lnTo>
                      <a:lnTo>
                        <a:pt x="8" y="11"/>
                      </a:lnTo>
                      <a:lnTo>
                        <a:pt x="8" y="11"/>
                      </a:lnTo>
                      <a:lnTo>
                        <a:pt x="8" y="11"/>
                      </a:lnTo>
                      <a:lnTo>
                        <a:pt x="10" y="11"/>
                      </a:lnTo>
                      <a:lnTo>
                        <a:pt x="10" y="11"/>
                      </a:lnTo>
                      <a:lnTo>
                        <a:pt x="10" y="11"/>
                      </a:lnTo>
                      <a:lnTo>
                        <a:pt x="10" y="9"/>
                      </a:lnTo>
                      <a:lnTo>
                        <a:pt x="12" y="9"/>
                      </a:lnTo>
                      <a:lnTo>
                        <a:pt x="12" y="9"/>
                      </a:lnTo>
                      <a:lnTo>
                        <a:pt x="12" y="9"/>
                      </a:lnTo>
                      <a:lnTo>
                        <a:pt x="12" y="9"/>
                      </a:lnTo>
                      <a:lnTo>
                        <a:pt x="13" y="9"/>
                      </a:lnTo>
                      <a:lnTo>
                        <a:pt x="13" y="11"/>
                      </a:lnTo>
                      <a:lnTo>
                        <a:pt x="13" y="11"/>
                      </a:lnTo>
                      <a:lnTo>
                        <a:pt x="13" y="11"/>
                      </a:lnTo>
                      <a:lnTo>
                        <a:pt x="13" y="11"/>
                      </a:lnTo>
                      <a:lnTo>
                        <a:pt x="13" y="13"/>
                      </a:lnTo>
                      <a:lnTo>
                        <a:pt x="13" y="13"/>
                      </a:lnTo>
                      <a:lnTo>
                        <a:pt x="13" y="14"/>
                      </a:lnTo>
                      <a:lnTo>
                        <a:pt x="13" y="14"/>
                      </a:lnTo>
                      <a:lnTo>
                        <a:pt x="13" y="16"/>
                      </a:lnTo>
                      <a:lnTo>
                        <a:pt x="13" y="16"/>
                      </a:lnTo>
                      <a:lnTo>
                        <a:pt x="13" y="17"/>
                      </a:lnTo>
                      <a:lnTo>
                        <a:pt x="13" y="19"/>
                      </a:lnTo>
                      <a:lnTo>
                        <a:pt x="13" y="21"/>
                      </a:lnTo>
                      <a:lnTo>
                        <a:pt x="13" y="21"/>
                      </a:lnTo>
                      <a:lnTo>
                        <a:pt x="13" y="22"/>
                      </a:lnTo>
                      <a:lnTo>
                        <a:pt x="13" y="22"/>
                      </a:lnTo>
                      <a:lnTo>
                        <a:pt x="13" y="22"/>
                      </a:lnTo>
                      <a:lnTo>
                        <a:pt x="13" y="24"/>
                      </a:lnTo>
                      <a:lnTo>
                        <a:pt x="13" y="24"/>
                      </a:lnTo>
                      <a:lnTo>
                        <a:pt x="13" y="25"/>
                      </a:lnTo>
                      <a:lnTo>
                        <a:pt x="13" y="25"/>
                      </a:lnTo>
                      <a:lnTo>
                        <a:pt x="13" y="25"/>
                      </a:lnTo>
                      <a:lnTo>
                        <a:pt x="13" y="25"/>
                      </a:lnTo>
                      <a:lnTo>
                        <a:pt x="15" y="27"/>
                      </a:lnTo>
                      <a:lnTo>
                        <a:pt x="15" y="27"/>
                      </a:lnTo>
                      <a:lnTo>
                        <a:pt x="12" y="25"/>
                      </a:lnTo>
                      <a:lnTo>
                        <a:pt x="8" y="22"/>
                      </a:lnTo>
                      <a:lnTo>
                        <a:pt x="7" y="19"/>
                      </a:lnTo>
                      <a:lnTo>
                        <a:pt x="7" y="16"/>
                      </a:lnTo>
                      <a:lnTo>
                        <a:pt x="2" y="13"/>
                      </a:lnTo>
                      <a:lnTo>
                        <a:pt x="0" y="13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746" name="Freeform 393"/>
                <p:cNvSpPr>
                  <a:spLocks noEditPoints="1"/>
                </p:cNvSpPr>
                <p:nvPr/>
              </p:nvSpPr>
              <p:spPr bwMode="auto">
                <a:xfrm>
                  <a:off x="3485" y="1628"/>
                  <a:ext cx="5" cy="21"/>
                </a:xfrm>
                <a:custGeom>
                  <a:avLst/>
                  <a:gdLst>
                    <a:gd name="T0" fmla="*/ 6 w 9"/>
                    <a:gd name="T1" fmla="*/ 41 h 42"/>
                    <a:gd name="T2" fmla="*/ 6 w 9"/>
                    <a:gd name="T3" fmla="*/ 41 h 42"/>
                    <a:gd name="T4" fmla="*/ 6 w 9"/>
                    <a:gd name="T5" fmla="*/ 41 h 42"/>
                    <a:gd name="T6" fmla="*/ 6 w 9"/>
                    <a:gd name="T7" fmla="*/ 42 h 42"/>
                    <a:gd name="T8" fmla="*/ 6 w 9"/>
                    <a:gd name="T9" fmla="*/ 42 h 42"/>
                    <a:gd name="T10" fmla="*/ 6 w 9"/>
                    <a:gd name="T11" fmla="*/ 41 h 42"/>
                    <a:gd name="T12" fmla="*/ 6 w 9"/>
                    <a:gd name="T13" fmla="*/ 41 h 42"/>
                    <a:gd name="T14" fmla="*/ 6 w 9"/>
                    <a:gd name="T15" fmla="*/ 41 h 42"/>
                    <a:gd name="T16" fmla="*/ 6 w 9"/>
                    <a:gd name="T17" fmla="*/ 41 h 42"/>
                    <a:gd name="T18" fmla="*/ 6 w 9"/>
                    <a:gd name="T19" fmla="*/ 41 h 42"/>
                    <a:gd name="T20" fmla="*/ 6 w 9"/>
                    <a:gd name="T21" fmla="*/ 41 h 42"/>
                    <a:gd name="T22" fmla="*/ 4 w 9"/>
                    <a:gd name="T23" fmla="*/ 36 h 42"/>
                    <a:gd name="T24" fmla="*/ 4 w 9"/>
                    <a:gd name="T25" fmla="*/ 36 h 42"/>
                    <a:gd name="T26" fmla="*/ 4 w 9"/>
                    <a:gd name="T27" fmla="*/ 36 h 42"/>
                    <a:gd name="T28" fmla="*/ 3 w 9"/>
                    <a:gd name="T29" fmla="*/ 36 h 42"/>
                    <a:gd name="T30" fmla="*/ 3 w 9"/>
                    <a:gd name="T31" fmla="*/ 34 h 42"/>
                    <a:gd name="T32" fmla="*/ 3 w 9"/>
                    <a:gd name="T33" fmla="*/ 34 h 42"/>
                    <a:gd name="T34" fmla="*/ 3 w 9"/>
                    <a:gd name="T35" fmla="*/ 34 h 42"/>
                    <a:gd name="T36" fmla="*/ 3 w 9"/>
                    <a:gd name="T37" fmla="*/ 34 h 42"/>
                    <a:gd name="T38" fmla="*/ 3 w 9"/>
                    <a:gd name="T39" fmla="*/ 34 h 42"/>
                    <a:gd name="T40" fmla="*/ 4 w 9"/>
                    <a:gd name="T41" fmla="*/ 36 h 42"/>
                    <a:gd name="T42" fmla="*/ 3 w 9"/>
                    <a:gd name="T43" fmla="*/ 34 h 42"/>
                    <a:gd name="T44" fmla="*/ 3 w 9"/>
                    <a:gd name="T45" fmla="*/ 34 h 42"/>
                    <a:gd name="T46" fmla="*/ 3 w 9"/>
                    <a:gd name="T47" fmla="*/ 33 h 42"/>
                    <a:gd name="T48" fmla="*/ 3 w 9"/>
                    <a:gd name="T49" fmla="*/ 34 h 42"/>
                    <a:gd name="T50" fmla="*/ 0 w 9"/>
                    <a:gd name="T51" fmla="*/ 6 h 42"/>
                    <a:gd name="T52" fmla="*/ 0 w 9"/>
                    <a:gd name="T53" fmla="*/ 6 h 42"/>
                    <a:gd name="T54" fmla="*/ 1 w 9"/>
                    <a:gd name="T55" fmla="*/ 4 h 42"/>
                    <a:gd name="T56" fmla="*/ 1 w 9"/>
                    <a:gd name="T57" fmla="*/ 4 h 42"/>
                    <a:gd name="T58" fmla="*/ 1 w 9"/>
                    <a:gd name="T59" fmla="*/ 4 h 42"/>
                    <a:gd name="T60" fmla="*/ 1 w 9"/>
                    <a:gd name="T61" fmla="*/ 4 h 42"/>
                    <a:gd name="T62" fmla="*/ 1 w 9"/>
                    <a:gd name="T63" fmla="*/ 4 h 42"/>
                    <a:gd name="T64" fmla="*/ 1 w 9"/>
                    <a:gd name="T65" fmla="*/ 3 h 42"/>
                    <a:gd name="T66" fmla="*/ 1 w 9"/>
                    <a:gd name="T67" fmla="*/ 3 h 42"/>
                    <a:gd name="T68" fmla="*/ 3 w 9"/>
                    <a:gd name="T69" fmla="*/ 3 h 42"/>
                    <a:gd name="T70" fmla="*/ 3 w 9"/>
                    <a:gd name="T71" fmla="*/ 3 h 42"/>
                    <a:gd name="T72" fmla="*/ 3 w 9"/>
                    <a:gd name="T73" fmla="*/ 3 h 42"/>
                    <a:gd name="T74" fmla="*/ 3 w 9"/>
                    <a:gd name="T75" fmla="*/ 3 h 42"/>
                    <a:gd name="T76" fmla="*/ 4 w 9"/>
                    <a:gd name="T77" fmla="*/ 3 h 42"/>
                    <a:gd name="T78" fmla="*/ 4 w 9"/>
                    <a:gd name="T79" fmla="*/ 3 h 42"/>
                    <a:gd name="T80" fmla="*/ 4 w 9"/>
                    <a:gd name="T81" fmla="*/ 1 h 42"/>
                    <a:gd name="T82" fmla="*/ 4 w 9"/>
                    <a:gd name="T83" fmla="*/ 1 h 42"/>
                    <a:gd name="T84" fmla="*/ 4 w 9"/>
                    <a:gd name="T85" fmla="*/ 1 h 42"/>
                    <a:gd name="T86" fmla="*/ 4 w 9"/>
                    <a:gd name="T87" fmla="*/ 0 h 42"/>
                    <a:gd name="T88" fmla="*/ 6 w 9"/>
                    <a:gd name="T89" fmla="*/ 0 h 42"/>
                    <a:gd name="T90" fmla="*/ 6 w 9"/>
                    <a:gd name="T91" fmla="*/ 0 h 42"/>
                    <a:gd name="T92" fmla="*/ 6 w 9"/>
                    <a:gd name="T93" fmla="*/ 0 h 42"/>
                    <a:gd name="T94" fmla="*/ 6 w 9"/>
                    <a:gd name="T95" fmla="*/ 0 h 42"/>
                    <a:gd name="T96" fmla="*/ 7 w 9"/>
                    <a:gd name="T97" fmla="*/ 0 h 42"/>
                    <a:gd name="T98" fmla="*/ 7 w 9"/>
                    <a:gd name="T99" fmla="*/ 0 h 42"/>
                    <a:gd name="T100" fmla="*/ 9 w 9"/>
                    <a:gd name="T101" fmla="*/ 0 h 42"/>
                    <a:gd name="T102" fmla="*/ 4 w 9"/>
                    <a:gd name="T103" fmla="*/ 3 h 42"/>
                    <a:gd name="T104" fmla="*/ 0 w 9"/>
                    <a:gd name="T105" fmla="*/ 6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9" h="42">
                      <a:moveTo>
                        <a:pt x="6" y="41"/>
                      </a:moveTo>
                      <a:lnTo>
                        <a:pt x="6" y="41"/>
                      </a:lnTo>
                      <a:lnTo>
                        <a:pt x="6" y="41"/>
                      </a:lnTo>
                      <a:lnTo>
                        <a:pt x="6" y="42"/>
                      </a:lnTo>
                      <a:lnTo>
                        <a:pt x="6" y="42"/>
                      </a:lnTo>
                      <a:lnTo>
                        <a:pt x="6" y="41"/>
                      </a:lnTo>
                      <a:lnTo>
                        <a:pt x="6" y="41"/>
                      </a:lnTo>
                      <a:lnTo>
                        <a:pt x="6" y="41"/>
                      </a:lnTo>
                      <a:lnTo>
                        <a:pt x="6" y="41"/>
                      </a:lnTo>
                      <a:lnTo>
                        <a:pt x="6" y="41"/>
                      </a:lnTo>
                      <a:lnTo>
                        <a:pt x="6" y="41"/>
                      </a:lnTo>
                      <a:close/>
                      <a:moveTo>
                        <a:pt x="4" y="36"/>
                      </a:moveTo>
                      <a:lnTo>
                        <a:pt x="4" y="36"/>
                      </a:lnTo>
                      <a:lnTo>
                        <a:pt x="4" y="36"/>
                      </a:lnTo>
                      <a:lnTo>
                        <a:pt x="3" y="36"/>
                      </a:lnTo>
                      <a:lnTo>
                        <a:pt x="3" y="34"/>
                      </a:lnTo>
                      <a:lnTo>
                        <a:pt x="3" y="34"/>
                      </a:lnTo>
                      <a:lnTo>
                        <a:pt x="3" y="34"/>
                      </a:lnTo>
                      <a:lnTo>
                        <a:pt x="3" y="34"/>
                      </a:lnTo>
                      <a:lnTo>
                        <a:pt x="3" y="34"/>
                      </a:lnTo>
                      <a:lnTo>
                        <a:pt x="4" y="36"/>
                      </a:lnTo>
                      <a:close/>
                      <a:moveTo>
                        <a:pt x="3" y="34"/>
                      </a:moveTo>
                      <a:lnTo>
                        <a:pt x="3" y="34"/>
                      </a:lnTo>
                      <a:lnTo>
                        <a:pt x="3" y="33"/>
                      </a:lnTo>
                      <a:lnTo>
                        <a:pt x="3" y="34"/>
                      </a:lnTo>
                      <a:close/>
                      <a:moveTo>
                        <a:pt x="0" y="6"/>
                      </a:moveTo>
                      <a:lnTo>
                        <a:pt x="0" y="6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4"/>
                      </a:lnTo>
                      <a:lnTo>
                        <a:pt x="1" y="3"/>
                      </a:lnTo>
                      <a:lnTo>
                        <a:pt x="1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3" y="3"/>
                      </a:lnTo>
                      <a:lnTo>
                        <a:pt x="4" y="3"/>
                      </a:lnTo>
                      <a:lnTo>
                        <a:pt x="4" y="3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1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6" y="0"/>
                      </a:lnTo>
                      <a:lnTo>
                        <a:pt x="7" y="0"/>
                      </a:lnTo>
                      <a:lnTo>
                        <a:pt x="7" y="0"/>
                      </a:lnTo>
                      <a:lnTo>
                        <a:pt x="9" y="0"/>
                      </a:lnTo>
                      <a:lnTo>
                        <a:pt x="4" y="3"/>
                      </a:lnTo>
                      <a:lnTo>
                        <a:pt x="0" y="6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</p:grpSp>
          <p:sp>
            <p:nvSpPr>
              <p:cNvPr id="735" name="Freeform 394"/>
              <p:cNvSpPr>
                <a:spLocks/>
              </p:cNvSpPr>
              <p:nvPr/>
            </p:nvSpPr>
            <p:spPr bwMode="auto">
              <a:xfrm>
                <a:off x="5554083" y="2504903"/>
                <a:ext cx="469765" cy="256720"/>
              </a:xfrm>
              <a:custGeom>
                <a:avLst/>
                <a:gdLst>
                  <a:gd name="T0" fmla="*/ 80 w 605"/>
                  <a:gd name="T1" fmla="*/ 2 h 341"/>
                  <a:gd name="T2" fmla="*/ 78 w 605"/>
                  <a:gd name="T3" fmla="*/ 8 h 341"/>
                  <a:gd name="T4" fmla="*/ 76 w 605"/>
                  <a:gd name="T5" fmla="*/ 19 h 341"/>
                  <a:gd name="T6" fmla="*/ 75 w 605"/>
                  <a:gd name="T7" fmla="*/ 29 h 341"/>
                  <a:gd name="T8" fmla="*/ 80 w 605"/>
                  <a:gd name="T9" fmla="*/ 43 h 341"/>
                  <a:gd name="T10" fmla="*/ 89 w 605"/>
                  <a:gd name="T11" fmla="*/ 46 h 341"/>
                  <a:gd name="T12" fmla="*/ 92 w 605"/>
                  <a:gd name="T13" fmla="*/ 38 h 341"/>
                  <a:gd name="T14" fmla="*/ 89 w 605"/>
                  <a:gd name="T15" fmla="*/ 34 h 341"/>
                  <a:gd name="T16" fmla="*/ 95 w 605"/>
                  <a:gd name="T17" fmla="*/ 34 h 341"/>
                  <a:gd name="T18" fmla="*/ 92 w 605"/>
                  <a:gd name="T19" fmla="*/ 29 h 341"/>
                  <a:gd name="T20" fmla="*/ 94 w 605"/>
                  <a:gd name="T21" fmla="*/ 22 h 341"/>
                  <a:gd name="T22" fmla="*/ 87 w 605"/>
                  <a:gd name="T23" fmla="*/ 24 h 341"/>
                  <a:gd name="T24" fmla="*/ 89 w 605"/>
                  <a:gd name="T25" fmla="*/ 18 h 341"/>
                  <a:gd name="T26" fmla="*/ 86 w 605"/>
                  <a:gd name="T27" fmla="*/ 7 h 341"/>
                  <a:gd name="T28" fmla="*/ 111 w 605"/>
                  <a:gd name="T29" fmla="*/ 19 h 341"/>
                  <a:gd name="T30" fmla="*/ 108 w 605"/>
                  <a:gd name="T31" fmla="*/ 32 h 341"/>
                  <a:gd name="T32" fmla="*/ 111 w 605"/>
                  <a:gd name="T33" fmla="*/ 41 h 341"/>
                  <a:gd name="T34" fmla="*/ 122 w 605"/>
                  <a:gd name="T35" fmla="*/ 56 h 341"/>
                  <a:gd name="T36" fmla="*/ 130 w 605"/>
                  <a:gd name="T37" fmla="*/ 59 h 341"/>
                  <a:gd name="T38" fmla="*/ 138 w 605"/>
                  <a:gd name="T39" fmla="*/ 60 h 341"/>
                  <a:gd name="T40" fmla="*/ 140 w 605"/>
                  <a:gd name="T41" fmla="*/ 53 h 341"/>
                  <a:gd name="T42" fmla="*/ 140 w 605"/>
                  <a:gd name="T43" fmla="*/ 40 h 341"/>
                  <a:gd name="T44" fmla="*/ 140 w 605"/>
                  <a:gd name="T45" fmla="*/ 38 h 341"/>
                  <a:gd name="T46" fmla="*/ 140 w 605"/>
                  <a:gd name="T47" fmla="*/ 37 h 341"/>
                  <a:gd name="T48" fmla="*/ 138 w 605"/>
                  <a:gd name="T49" fmla="*/ 32 h 341"/>
                  <a:gd name="T50" fmla="*/ 186 w 605"/>
                  <a:gd name="T51" fmla="*/ 64 h 341"/>
                  <a:gd name="T52" fmla="*/ 327 w 605"/>
                  <a:gd name="T53" fmla="*/ 91 h 341"/>
                  <a:gd name="T54" fmla="*/ 360 w 605"/>
                  <a:gd name="T55" fmla="*/ 145 h 341"/>
                  <a:gd name="T56" fmla="*/ 405 w 605"/>
                  <a:gd name="T57" fmla="*/ 179 h 341"/>
                  <a:gd name="T58" fmla="*/ 457 w 605"/>
                  <a:gd name="T59" fmla="*/ 202 h 341"/>
                  <a:gd name="T60" fmla="*/ 467 w 605"/>
                  <a:gd name="T61" fmla="*/ 168 h 341"/>
                  <a:gd name="T62" fmla="*/ 501 w 605"/>
                  <a:gd name="T63" fmla="*/ 141 h 341"/>
                  <a:gd name="T64" fmla="*/ 514 w 605"/>
                  <a:gd name="T65" fmla="*/ 148 h 341"/>
                  <a:gd name="T66" fmla="*/ 522 w 605"/>
                  <a:gd name="T67" fmla="*/ 173 h 341"/>
                  <a:gd name="T68" fmla="*/ 547 w 605"/>
                  <a:gd name="T69" fmla="*/ 162 h 341"/>
                  <a:gd name="T70" fmla="*/ 576 w 605"/>
                  <a:gd name="T71" fmla="*/ 183 h 341"/>
                  <a:gd name="T72" fmla="*/ 600 w 605"/>
                  <a:gd name="T73" fmla="*/ 197 h 341"/>
                  <a:gd name="T74" fmla="*/ 578 w 605"/>
                  <a:gd name="T75" fmla="*/ 206 h 341"/>
                  <a:gd name="T76" fmla="*/ 552 w 605"/>
                  <a:gd name="T77" fmla="*/ 214 h 341"/>
                  <a:gd name="T78" fmla="*/ 517 w 605"/>
                  <a:gd name="T79" fmla="*/ 206 h 341"/>
                  <a:gd name="T80" fmla="*/ 501 w 605"/>
                  <a:gd name="T81" fmla="*/ 195 h 341"/>
                  <a:gd name="T82" fmla="*/ 481 w 605"/>
                  <a:gd name="T83" fmla="*/ 208 h 341"/>
                  <a:gd name="T84" fmla="*/ 474 w 605"/>
                  <a:gd name="T85" fmla="*/ 216 h 341"/>
                  <a:gd name="T86" fmla="*/ 468 w 605"/>
                  <a:gd name="T87" fmla="*/ 222 h 341"/>
                  <a:gd name="T88" fmla="*/ 446 w 605"/>
                  <a:gd name="T89" fmla="*/ 243 h 341"/>
                  <a:gd name="T90" fmla="*/ 441 w 605"/>
                  <a:gd name="T91" fmla="*/ 262 h 341"/>
                  <a:gd name="T92" fmla="*/ 460 w 605"/>
                  <a:gd name="T93" fmla="*/ 289 h 341"/>
                  <a:gd name="T94" fmla="*/ 460 w 605"/>
                  <a:gd name="T95" fmla="*/ 330 h 341"/>
                  <a:gd name="T96" fmla="*/ 433 w 605"/>
                  <a:gd name="T97" fmla="*/ 332 h 341"/>
                  <a:gd name="T98" fmla="*/ 416 w 605"/>
                  <a:gd name="T99" fmla="*/ 308 h 341"/>
                  <a:gd name="T100" fmla="*/ 375 w 605"/>
                  <a:gd name="T101" fmla="*/ 295 h 341"/>
                  <a:gd name="T102" fmla="*/ 332 w 605"/>
                  <a:gd name="T103" fmla="*/ 268 h 341"/>
                  <a:gd name="T104" fmla="*/ 256 w 605"/>
                  <a:gd name="T105" fmla="*/ 217 h 341"/>
                  <a:gd name="T106" fmla="*/ 213 w 605"/>
                  <a:gd name="T107" fmla="*/ 173 h 341"/>
                  <a:gd name="T108" fmla="*/ 175 w 605"/>
                  <a:gd name="T109" fmla="*/ 171 h 341"/>
                  <a:gd name="T110" fmla="*/ 160 w 605"/>
                  <a:gd name="T111" fmla="*/ 148 h 341"/>
                  <a:gd name="T112" fmla="*/ 141 w 605"/>
                  <a:gd name="T113" fmla="*/ 132 h 341"/>
                  <a:gd name="T114" fmla="*/ 102 w 605"/>
                  <a:gd name="T115" fmla="*/ 118 h 341"/>
                  <a:gd name="T116" fmla="*/ 87 w 605"/>
                  <a:gd name="T117" fmla="*/ 127 h 341"/>
                  <a:gd name="T118" fmla="*/ 67 w 605"/>
                  <a:gd name="T119" fmla="*/ 167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05" h="341">
                    <a:moveTo>
                      <a:pt x="0" y="24"/>
                    </a:moveTo>
                    <a:lnTo>
                      <a:pt x="0" y="24"/>
                    </a:lnTo>
                    <a:lnTo>
                      <a:pt x="5" y="22"/>
                    </a:lnTo>
                    <a:lnTo>
                      <a:pt x="8" y="21"/>
                    </a:lnTo>
                    <a:lnTo>
                      <a:pt x="13" y="19"/>
                    </a:lnTo>
                    <a:lnTo>
                      <a:pt x="16" y="19"/>
                    </a:lnTo>
                    <a:lnTo>
                      <a:pt x="22" y="16"/>
                    </a:lnTo>
                    <a:lnTo>
                      <a:pt x="37" y="13"/>
                    </a:lnTo>
                    <a:lnTo>
                      <a:pt x="49" y="8"/>
                    </a:lnTo>
                    <a:lnTo>
                      <a:pt x="64" y="5"/>
                    </a:lnTo>
                    <a:lnTo>
                      <a:pt x="76" y="2"/>
                    </a:lnTo>
                    <a:lnTo>
                      <a:pt x="78" y="0"/>
                    </a:lnTo>
                    <a:lnTo>
                      <a:pt x="80" y="2"/>
                    </a:lnTo>
                    <a:lnTo>
                      <a:pt x="80" y="2"/>
                    </a:lnTo>
                    <a:lnTo>
                      <a:pt x="81" y="2"/>
                    </a:lnTo>
                    <a:lnTo>
                      <a:pt x="81" y="2"/>
                    </a:lnTo>
                    <a:lnTo>
                      <a:pt x="81" y="3"/>
                    </a:lnTo>
                    <a:lnTo>
                      <a:pt x="81" y="3"/>
                    </a:lnTo>
                    <a:lnTo>
                      <a:pt x="81" y="5"/>
                    </a:lnTo>
                    <a:lnTo>
                      <a:pt x="81" y="5"/>
                    </a:lnTo>
                    <a:lnTo>
                      <a:pt x="81" y="7"/>
                    </a:lnTo>
                    <a:lnTo>
                      <a:pt x="80" y="7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78" y="8"/>
                    </a:lnTo>
                    <a:lnTo>
                      <a:pt x="78" y="10"/>
                    </a:lnTo>
                    <a:lnTo>
                      <a:pt x="78" y="11"/>
                    </a:lnTo>
                    <a:lnTo>
                      <a:pt x="78" y="13"/>
                    </a:lnTo>
                    <a:lnTo>
                      <a:pt x="78" y="13"/>
                    </a:lnTo>
                    <a:lnTo>
                      <a:pt x="78" y="13"/>
                    </a:lnTo>
                    <a:lnTo>
                      <a:pt x="78" y="14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6" y="19"/>
                    </a:lnTo>
                    <a:lnTo>
                      <a:pt x="76" y="19"/>
                    </a:lnTo>
                    <a:lnTo>
                      <a:pt x="76" y="19"/>
                    </a:lnTo>
                    <a:lnTo>
                      <a:pt x="76" y="21"/>
                    </a:lnTo>
                    <a:lnTo>
                      <a:pt x="76" y="21"/>
                    </a:lnTo>
                    <a:lnTo>
                      <a:pt x="76" y="24"/>
                    </a:lnTo>
                    <a:lnTo>
                      <a:pt x="76" y="24"/>
                    </a:lnTo>
                    <a:lnTo>
                      <a:pt x="76" y="24"/>
                    </a:lnTo>
                    <a:lnTo>
                      <a:pt x="76" y="24"/>
                    </a:lnTo>
                    <a:lnTo>
                      <a:pt x="75" y="26"/>
                    </a:lnTo>
                    <a:lnTo>
                      <a:pt x="75" y="27"/>
                    </a:lnTo>
                    <a:lnTo>
                      <a:pt x="75" y="27"/>
                    </a:lnTo>
                    <a:lnTo>
                      <a:pt x="75" y="27"/>
                    </a:lnTo>
                    <a:lnTo>
                      <a:pt x="75" y="29"/>
                    </a:lnTo>
                    <a:lnTo>
                      <a:pt x="75" y="29"/>
                    </a:lnTo>
                    <a:lnTo>
                      <a:pt x="76" y="32"/>
                    </a:lnTo>
                    <a:lnTo>
                      <a:pt x="78" y="35"/>
                    </a:lnTo>
                    <a:lnTo>
                      <a:pt x="80" y="35"/>
                    </a:lnTo>
                    <a:lnTo>
                      <a:pt x="80" y="37"/>
                    </a:lnTo>
                    <a:lnTo>
                      <a:pt x="80" y="37"/>
                    </a:lnTo>
                    <a:lnTo>
                      <a:pt x="81" y="38"/>
                    </a:lnTo>
                    <a:lnTo>
                      <a:pt x="81" y="38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78" y="41"/>
                    </a:lnTo>
                    <a:lnTo>
                      <a:pt x="78" y="41"/>
                    </a:lnTo>
                    <a:lnTo>
                      <a:pt x="80" y="41"/>
                    </a:lnTo>
                    <a:lnTo>
                      <a:pt x="80" y="43"/>
                    </a:lnTo>
                    <a:lnTo>
                      <a:pt x="80" y="45"/>
                    </a:lnTo>
                    <a:lnTo>
                      <a:pt x="80" y="45"/>
                    </a:lnTo>
                    <a:lnTo>
                      <a:pt x="81" y="46"/>
                    </a:lnTo>
                    <a:lnTo>
                      <a:pt x="81" y="46"/>
                    </a:lnTo>
                    <a:lnTo>
                      <a:pt x="81" y="46"/>
                    </a:lnTo>
                    <a:lnTo>
                      <a:pt x="83" y="46"/>
                    </a:lnTo>
                    <a:lnTo>
                      <a:pt x="83" y="46"/>
                    </a:lnTo>
                    <a:lnTo>
                      <a:pt x="84" y="48"/>
                    </a:lnTo>
                    <a:lnTo>
                      <a:pt x="86" y="48"/>
                    </a:lnTo>
                    <a:lnTo>
                      <a:pt x="86" y="46"/>
                    </a:lnTo>
                    <a:lnTo>
                      <a:pt x="87" y="46"/>
                    </a:lnTo>
                    <a:lnTo>
                      <a:pt x="87" y="46"/>
                    </a:lnTo>
                    <a:lnTo>
                      <a:pt x="89" y="46"/>
                    </a:lnTo>
                    <a:lnTo>
                      <a:pt x="89" y="45"/>
                    </a:lnTo>
                    <a:lnTo>
                      <a:pt x="89" y="45"/>
                    </a:lnTo>
                    <a:lnTo>
                      <a:pt x="91" y="45"/>
                    </a:lnTo>
                    <a:lnTo>
                      <a:pt x="91" y="45"/>
                    </a:lnTo>
                    <a:lnTo>
                      <a:pt x="91" y="43"/>
                    </a:lnTo>
                    <a:lnTo>
                      <a:pt x="91" y="43"/>
                    </a:lnTo>
                    <a:lnTo>
                      <a:pt x="91" y="43"/>
                    </a:lnTo>
                    <a:lnTo>
                      <a:pt x="91" y="41"/>
                    </a:lnTo>
                    <a:lnTo>
                      <a:pt x="91" y="41"/>
                    </a:lnTo>
                    <a:lnTo>
                      <a:pt x="91" y="40"/>
                    </a:lnTo>
                    <a:lnTo>
                      <a:pt x="92" y="40"/>
                    </a:lnTo>
                    <a:lnTo>
                      <a:pt x="92" y="38"/>
                    </a:lnTo>
                    <a:lnTo>
                      <a:pt x="92" y="38"/>
                    </a:lnTo>
                    <a:lnTo>
                      <a:pt x="92" y="37"/>
                    </a:lnTo>
                    <a:lnTo>
                      <a:pt x="92" y="37"/>
                    </a:lnTo>
                    <a:lnTo>
                      <a:pt x="92" y="35"/>
                    </a:lnTo>
                    <a:lnTo>
                      <a:pt x="92" y="35"/>
                    </a:lnTo>
                    <a:lnTo>
                      <a:pt x="91" y="35"/>
                    </a:lnTo>
                    <a:lnTo>
                      <a:pt x="91" y="37"/>
                    </a:lnTo>
                    <a:lnTo>
                      <a:pt x="91" y="37"/>
                    </a:lnTo>
                    <a:lnTo>
                      <a:pt x="91" y="37"/>
                    </a:lnTo>
                    <a:lnTo>
                      <a:pt x="89" y="37"/>
                    </a:lnTo>
                    <a:lnTo>
                      <a:pt x="89" y="35"/>
                    </a:lnTo>
                    <a:lnTo>
                      <a:pt x="89" y="34"/>
                    </a:lnTo>
                    <a:lnTo>
                      <a:pt x="89" y="34"/>
                    </a:lnTo>
                    <a:lnTo>
                      <a:pt x="89" y="34"/>
                    </a:lnTo>
                    <a:lnTo>
                      <a:pt x="89" y="34"/>
                    </a:lnTo>
                    <a:lnTo>
                      <a:pt x="91" y="32"/>
                    </a:lnTo>
                    <a:lnTo>
                      <a:pt x="91" y="32"/>
                    </a:lnTo>
                    <a:lnTo>
                      <a:pt x="92" y="32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5" y="34"/>
                    </a:lnTo>
                    <a:lnTo>
                      <a:pt x="95" y="34"/>
                    </a:lnTo>
                    <a:lnTo>
                      <a:pt x="95" y="34"/>
                    </a:lnTo>
                    <a:lnTo>
                      <a:pt x="95" y="34"/>
                    </a:lnTo>
                    <a:lnTo>
                      <a:pt x="97" y="34"/>
                    </a:lnTo>
                    <a:lnTo>
                      <a:pt x="97" y="34"/>
                    </a:lnTo>
                    <a:lnTo>
                      <a:pt x="95" y="34"/>
                    </a:lnTo>
                    <a:lnTo>
                      <a:pt x="95" y="32"/>
                    </a:lnTo>
                    <a:lnTo>
                      <a:pt x="95" y="32"/>
                    </a:lnTo>
                    <a:lnTo>
                      <a:pt x="94" y="32"/>
                    </a:lnTo>
                    <a:lnTo>
                      <a:pt x="94" y="32"/>
                    </a:lnTo>
                    <a:lnTo>
                      <a:pt x="94" y="32"/>
                    </a:lnTo>
                    <a:lnTo>
                      <a:pt x="94" y="32"/>
                    </a:lnTo>
                    <a:lnTo>
                      <a:pt x="92" y="32"/>
                    </a:lnTo>
                    <a:lnTo>
                      <a:pt x="92" y="30"/>
                    </a:lnTo>
                    <a:lnTo>
                      <a:pt x="92" y="29"/>
                    </a:lnTo>
                    <a:lnTo>
                      <a:pt x="92" y="29"/>
                    </a:lnTo>
                    <a:lnTo>
                      <a:pt x="92" y="29"/>
                    </a:lnTo>
                    <a:lnTo>
                      <a:pt x="92" y="27"/>
                    </a:lnTo>
                    <a:lnTo>
                      <a:pt x="92" y="27"/>
                    </a:lnTo>
                    <a:lnTo>
                      <a:pt x="91" y="27"/>
                    </a:lnTo>
                    <a:lnTo>
                      <a:pt x="91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4"/>
                    </a:lnTo>
                    <a:lnTo>
                      <a:pt x="92" y="24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4" y="22"/>
                    </a:lnTo>
                    <a:lnTo>
                      <a:pt x="94" y="22"/>
                    </a:lnTo>
                    <a:lnTo>
                      <a:pt x="92" y="21"/>
                    </a:lnTo>
                    <a:lnTo>
                      <a:pt x="92" y="21"/>
                    </a:lnTo>
                    <a:lnTo>
                      <a:pt x="92" y="22"/>
                    </a:lnTo>
                    <a:lnTo>
                      <a:pt x="92" y="24"/>
                    </a:lnTo>
                    <a:lnTo>
                      <a:pt x="91" y="24"/>
                    </a:lnTo>
                    <a:lnTo>
                      <a:pt x="91" y="24"/>
                    </a:lnTo>
                    <a:lnTo>
                      <a:pt x="89" y="24"/>
                    </a:lnTo>
                    <a:lnTo>
                      <a:pt x="89" y="24"/>
                    </a:lnTo>
                    <a:lnTo>
                      <a:pt x="89" y="24"/>
                    </a:lnTo>
                    <a:lnTo>
                      <a:pt x="89" y="26"/>
                    </a:lnTo>
                    <a:lnTo>
                      <a:pt x="89" y="26"/>
                    </a:lnTo>
                    <a:lnTo>
                      <a:pt x="89" y="24"/>
                    </a:lnTo>
                    <a:lnTo>
                      <a:pt x="87" y="24"/>
                    </a:lnTo>
                    <a:lnTo>
                      <a:pt x="87" y="24"/>
                    </a:lnTo>
                    <a:lnTo>
                      <a:pt x="87" y="24"/>
                    </a:lnTo>
                    <a:lnTo>
                      <a:pt x="87" y="22"/>
                    </a:lnTo>
                    <a:lnTo>
                      <a:pt x="87" y="22"/>
                    </a:lnTo>
                    <a:lnTo>
                      <a:pt x="87" y="21"/>
                    </a:lnTo>
                    <a:lnTo>
                      <a:pt x="87" y="21"/>
                    </a:lnTo>
                    <a:lnTo>
                      <a:pt x="87" y="21"/>
                    </a:lnTo>
                    <a:lnTo>
                      <a:pt x="87" y="19"/>
                    </a:lnTo>
                    <a:lnTo>
                      <a:pt x="87" y="19"/>
                    </a:lnTo>
                    <a:lnTo>
                      <a:pt x="89" y="19"/>
                    </a:lnTo>
                    <a:lnTo>
                      <a:pt x="89" y="18"/>
                    </a:lnTo>
                    <a:lnTo>
                      <a:pt x="89" y="18"/>
                    </a:lnTo>
                    <a:lnTo>
                      <a:pt x="89" y="18"/>
                    </a:lnTo>
                    <a:lnTo>
                      <a:pt x="91" y="16"/>
                    </a:lnTo>
                    <a:lnTo>
                      <a:pt x="91" y="16"/>
                    </a:lnTo>
                    <a:lnTo>
                      <a:pt x="91" y="16"/>
                    </a:lnTo>
                    <a:lnTo>
                      <a:pt x="91" y="16"/>
                    </a:lnTo>
                    <a:lnTo>
                      <a:pt x="91" y="14"/>
                    </a:lnTo>
                    <a:lnTo>
                      <a:pt x="89" y="14"/>
                    </a:lnTo>
                    <a:lnTo>
                      <a:pt x="87" y="13"/>
                    </a:lnTo>
                    <a:lnTo>
                      <a:pt x="87" y="11"/>
                    </a:lnTo>
                    <a:lnTo>
                      <a:pt x="86" y="11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8"/>
                    </a:lnTo>
                    <a:lnTo>
                      <a:pt x="86" y="7"/>
                    </a:lnTo>
                    <a:lnTo>
                      <a:pt x="86" y="7"/>
                    </a:lnTo>
                    <a:lnTo>
                      <a:pt x="86" y="5"/>
                    </a:lnTo>
                    <a:lnTo>
                      <a:pt x="86" y="5"/>
                    </a:lnTo>
                    <a:lnTo>
                      <a:pt x="86" y="5"/>
                    </a:lnTo>
                    <a:lnTo>
                      <a:pt x="86" y="5"/>
                    </a:lnTo>
                    <a:lnTo>
                      <a:pt x="87" y="5"/>
                    </a:lnTo>
                    <a:lnTo>
                      <a:pt x="91" y="7"/>
                    </a:lnTo>
                    <a:lnTo>
                      <a:pt x="92" y="8"/>
                    </a:lnTo>
                    <a:lnTo>
                      <a:pt x="102" y="13"/>
                    </a:lnTo>
                    <a:lnTo>
                      <a:pt x="113" y="18"/>
                    </a:lnTo>
                    <a:lnTo>
                      <a:pt x="113" y="19"/>
                    </a:lnTo>
                    <a:lnTo>
                      <a:pt x="113" y="19"/>
                    </a:lnTo>
                    <a:lnTo>
                      <a:pt x="111" y="19"/>
                    </a:lnTo>
                    <a:lnTo>
                      <a:pt x="111" y="21"/>
                    </a:lnTo>
                    <a:lnTo>
                      <a:pt x="111" y="22"/>
                    </a:lnTo>
                    <a:lnTo>
                      <a:pt x="111" y="22"/>
                    </a:lnTo>
                    <a:lnTo>
                      <a:pt x="111" y="24"/>
                    </a:lnTo>
                    <a:lnTo>
                      <a:pt x="111" y="24"/>
                    </a:lnTo>
                    <a:lnTo>
                      <a:pt x="111" y="24"/>
                    </a:lnTo>
                    <a:lnTo>
                      <a:pt x="110" y="26"/>
                    </a:lnTo>
                    <a:lnTo>
                      <a:pt x="110" y="27"/>
                    </a:lnTo>
                    <a:lnTo>
                      <a:pt x="110" y="27"/>
                    </a:lnTo>
                    <a:lnTo>
                      <a:pt x="110" y="29"/>
                    </a:lnTo>
                    <a:lnTo>
                      <a:pt x="110" y="29"/>
                    </a:lnTo>
                    <a:lnTo>
                      <a:pt x="110" y="30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08" y="35"/>
                    </a:lnTo>
                    <a:lnTo>
                      <a:pt x="108" y="35"/>
                    </a:lnTo>
                    <a:lnTo>
                      <a:pt x="110" y="38"/>
                    </a:lnTo>
                    <a:lnTo>
                      <a:pt x="110" y="40"/>
                    </a:lnTo>
                    <a:lnTo>
                      <a:pt x="111" y="41"/>
                    </a:lnTo>
                    <a:lnTo>
                      <a:pt x="111" y="41"/>
                    </a:lnTo>
                    <a:lnTo>
                      <a:pt x="111" y="41"/>
                    </a:lnTo>
                    <a:lnTo>
                      <a:pt x="111" y="41"/>
                    </a:lnTo>
                    <a:lnTo>
                      <a:pt x="111" y="43"/>
                    </a:lnTo>
                    <a:lnTo>
                      <a:pt x="113" y="43"/>
                    </a:lnTo>
                    <a:lnTo>
                      <a:pt x="113" y="45"/>
                    </a:lnTo>
                    <a:lnTo>
                      <a:pt x="113" y="45"/>
                    </a:lnTo>
                    <a:lnTo>
                      <a:pt x="114" y="48"/>
                    </a:lnTo>
                    <a:lnTo>
                      <a:pt x="118" y="51"/>
                    </a:lnTo>
                    <a:lnTo>
                      <a:pt x="119" y="51"/>
                    </a:lnTo>
                    <a:lnTo>
                      <a:pt x="119" y="53"/>
                    </a:lnTo>
                    <a:lnTo>
                      <a:pt x="121" y="53"/>
                    </a:lnTo>
                    <a:lnTo>
                      <a:pt x="121" y="53"/>
                    </a:lnTo>
                    <a:lnTo>
                      <a:pt x="122" y="54"/>
                    </a:lnTo>
                    <a:lnTo>
                      <a:pt x="122" y="56"/>
                    </a:lnTo>
                    <a:lnTo>
                      <a:pt x="122" y="56"/>
                    </a:lnTo>
                    <a:lnTo>
                      <a:pt x="122" y="57"/>
                    </a:lnTo>
                    <a:lnTo>
                      <a:pt x="124" y="57"/>
                    </a:lnTo>
                    <a:lnTo>
                      <a:pt x="124" y="57"/>
                    </a:lnTo>
                    <a:lnTo>
                      <a:pt x="124" y="59"/>
                    </a:lnTo>
                    <a:lnTo>
                      <a:pt x="126" y="59"/>
                    </a:lnTo>
                    <a:lnTo>
                      <a:pt x="126" y="59"/>
                    </a:lnTo>
                    <a:lnTo>
                      <a:pt x="126" y="59"/>
                    </a:lnTo>
                    <a:lnTo>
                      <a:pt x="127" y="59"/>
                    </a:lnTo>
                    <a:lnTo>
                      <a:pt x="127" y="59"/>
                    </a:lnTo>
                    <a:lnTo>
                      <a:pt x="129" y="59"/>
                    </a:lnTo>
                    <a:lnTo>
                      <a:pt x="129" y="60"/>
                    </a:lnTo>
                    <a:lnTo>
                      <a:pt x="129" y="59"/>
                    </a:lnTo>
                    <a:lnTo>
                      <a:pt x="130" y="59"/>
                    </a:lnTo>
                    <a:lnTo>
                      <a:pt x="130" y="59"/>
                    </a:lnTo>
                    <a:lnTo>
                      <a:pt x="132" y="59"/>
                    </a:lnTo>
                    <a:lnTo>
                      <a:pt x="132" y="59"/>
                    </a:lnTo>
                    <a:lnTo>
                      <a:pt x="132" y="59"/>
                    </a:lnTo>
                    <a:lnTo>
                      <a:pt x="132" y="57"/>
                    </a:lnTo>
                    <a:lnTo>
                      <a:pt x="133" y="57"/>
                    </a:lnTo>
                    <a:lnTo>
                      <a:pt x="133" y="59"/>
                    </a:lnTo>
                    <a:lnTo>
                      <a:pt x="135" y="59"/>
                    </a:lnTo>
                    <a:lnTo>
                      <a:pt x="135" y="60"/>
                    </a:lnTo>
                    <a:lnTo>
                      <a:pt x="137" y="60"/>
                    </a:lnTo>
                    <a:lnTo>
                      <a:pt x="137" y="60"/>
                    </a:lnTo>
                    <a:lnTo>
                      <a:pt x="137" y="60"/>
                    </a:lnTo>
                    <a:lnTo>
                      <a:pt x="138" y="60"/>
                    </a:lnTo>
                    <a:lnTo>
                      <a:pt x="137" y="59"/>
                    </a:lnTo>
                    <a:lnTo>
                      <a:pt x="137" y="59"/>
                    </a:lnTo>
                    <a:lnTo>
                      <a:pt x="135" y="57"/>
                    </a:lnTo>
                    <a:lnTo>
                      <a:pt x="135" y="56"/>
                    </a:lnTo>
                    <a:lnTo>
                      <a:pt x="135" y="56"/>
                    </a:lnTo>
                    <a:lnTo>
                      <a:pt x="135" y="56"/>
                    </a:lnTo>
                    <a:lnTo>
                      <a:pt x="137" y="56"/>
                    </a:lnTo>
                    <a:lnTo>
                      <a:pt x="137" y="56"/>
                    </a:lnTo>
                    <a:lnTo>
                      <a:pt x="138" y="56"/>
                    </a:lnTo>
                    <a:lnTo>
                      <a:pt x="138" y="54"/>
                    </a:lnTo>
                    <a:lnTo>
                      <a:pt x="140" y="54"/>
                    </a:lnTo>
                    <a:lnTo>
                      <a:pt x="140" y="53"/>
                    </a:lnTo>
                    <a:lnTo>
                      <a:pt x="140" y="53"/>
                    </a:lnTo>
                    <a:lnTo>
                      <a:pt x="141" y="51"/>
                    </a:lnTo>
                    <a:lnTo>
                      <a:pt x="141" y="51"/>
                    </a:lnTo>
                    <a:lnTo>
                      <a:pt x="141" y="49"/>
                    </a:lnTo>
                    <a:lnTo>
                      <a:pt x="141" y="49"/>
                    </a:lnTo>
                    <a:lnTo>
                      <a:pt x="141" y="48"/>
                    </a:lnTo>
                    <a:lnTo>
                      <a:pt x="141" y="46"/>
                    </a:lnTo>
                    <a:lnTo>
                      <a:pt x="141" y="43"/>
                    </a:lnTo>
                    <a:lnTo>
                      <a:pt x="140" y="40"/>
                    </a:lnTo>
                    <a:lnTo>
                      <a:pt x="140" y="40"/>
                    </a:lnTo>
                    <a:lnTo>
                      <a:pt x="140" y="40"/>
                    </a:lnTo>
                    <a:lnTo>
                      <a:pt x="140" y="40"/>
                    </a:lnTo>
                    <a:lnTo>
                      <a:pt x="140" y="40"/>
                    </a:lnTo>
                    <a:lnTo>
                      <a:pt x="140" y="40"/>
                    </a:lnTo>
                    <a:lnTo>
                      <a:pt x="140" y="40"/>
                    </a:lnTo>
                    <a:lnTo>
                      <a:pt x="140" y="40"/>
                    </a:lnTo>
                    <a:lnTo>
                      <a:pt x="140" y="40"/>
                    </a:lnTo>
                    <a:lnTo>
                      <a:pt x="140" y="40"/>
                    </a:lnTo>
                    <a:lnTo>
                      <a:pt x="140" y="40"/>
                    </a:lnTo>
                    <a:lnTo>
                      <a:pt x="140" y="38"/>
                    </a:lnTo>
                    <a:lnTo>
                      <a:pt x="140" y="38"/>
                    </a:lnTo>
                    <a:lnTo>
                      <a:pt x="140" y="38"/>
                    </a:lnTo>
                    <a:lnTo>
                      <a:pt x="140" y="38"/>
                    </a:lnTo>
                    <a:lnTo>
                      <a:pt x="140" y="38"/>
                    </a:lnTo>
                    <a:lnTo>
                      <a:pt x="140" y="38"/>
                    </a:lnTo>
                    <a:lnTo>
                      <a:pt x="140" y="38"/>
                    </a:lnTo>
                    <a:lnTo>
                      <a:pt x="140" y="38"/>
                    </a:lnTo>
                    <a:lnTo>
                      <a:pt x="140" y="38"/>
                    </a:lnTo>
                    <a:lnTo>
                      <a:pt x="140" y="38"/>
                    </a:lnTo>
                    <a:lnTo>
                      <a:pt x="140" y="37"/>
                    </a:lnTo>
                    <a:lnTo>
                      <a:pt x="140" y="37"/>
                    </a:lnTo>
                    <a:lnTo>
                      <a:pt x="140" y="37"/>
                    </a:lnTo>
                    <a:lnTo>
                      <a:pt x="140" y="37"/>
                    </a:lnTo>
                    <a:lnTo>
                      <a:pt x="140" y="37"/>
                    </a:lnTo>
                    <a:lnTo>
                      <a:pt x="140" y="37"/>
                    </a:lnTo>
                    <a:lnTo>
                      <a:pt x="140" y="37"/>
                    </a:lnTo>
                    <a:lnTo>
                      <a:pt x="140" y="37"/>
                    </a:lnTo>
                    <a:lnTo>
                      <a:pt x="140" y="37"/>
                    </a:lnTo>
                    <a:lnTo>
                      <a:pt x="140" y="37"/>
                    </a:lnTo>
                    <a:lnTo>
                      <a:pt x="140" y="37"/>
                    </a:lnTo>
                    <a:lnTo>
                      <a:pt x="140" y="37"/>
                    </a:lnTo>
                    <a:lnTo>
                      <a:pt x="140" y="37"/>
                    </a:lnTo>
                    <a:lnTo>
                      <a:pt x="140" y="37"/>
                    </a:lnTo>
                    <a:lnTo>
                      <a:pt x="140" y="37"/>
                    </a:lnTo>
                    <a:lnTo>
                      <a:pt x="140" y="35"/>
                    </a:lnTo>
                    <a:lnTo>
                      <a:pt x="140" y="35"/>
                    </a:lnTo>
                    <a:lnTo>
                      <a:pt x="138" y="35"/>
                    </a:lnTo>
                    <a:lnTo>
                      <a:pt x="138" y="35"/>
                    </a:lnTo>
                    <a:lnTo>
                      <a:pt x="138" y="34"/>
                    </a:lnTo>
                    <a:lnTo>
                      <a:pt x="138" y="34"/>
                    </a:lnTo>
                    <a:lnTo>
                      <a:pt x="138" y="34"/>
                    </a:lnTo>
                    <a:lnTo>
                      <a:pt x="138" y="32"/>
                    </a:lnTo>
                    <a:lnTo>
                      <a:pt x="138" y="32"/>
                    </a:lnTo>
                    <a:lnTo>
                      <a:pt x="138" y="32"/>
                    </a:lnTo>
                    <a:lnTo>
                      <a:pt x="138" y="32"/>
                    </a:lnTo>
                    <a:lnTo>
                      <a:pt x="138" y="32"/>
                    </a:lnTo>
                    <a:lnTo>
                      <a:pt x="138" y="32"/>
                    </a:lnTo>
                    <a:lnTo>
                      <a:pt x="138" y="30"/>
                    </a:lnTo>
                    <a:lnTo>
                      <a:pt x="153" y="38"/>
                    </a:lnTo>
                    <a:lnTo>
                      <a:pt x="167" y="46"/>
                    </a:lnTo>
                    <a:lnTo>
                      <a:pt x="172" y="48"/>
                    </a:lnTo>
                    <a:lnTo>
                      <a:pt x="173" y="51"/>
                    </a:lnTo>
                    <a:lnTo>
                      <a:pt x="175" y="56"/>
                    </a:lnTo>
                    <a:lnTo>
                      <a:pt x="178" y="57"/>
                    </a:lnTo>
                    <a:lnTo>
                      <a:pt x="181" y="60"/>
                    </a:lnTo>
                    <a:lnTo>
                      <a:pt x="186" y="64"/>
                    </a:lnTo>
                    <a:lnTo>
                      <a:pt x="189" y="67"/>
                    </a:lnTo>
                    <a:lnTo>
                      <a:pt x="200" y="75"/>
                    </a:lnTo>
                    <a:lnTo>
                      <a:pt x="211" y="84"/>
                    </a:lnTo>
                    <a:lnTo>
                      <a:pt x="233" y="81"/>
                    </a:lnTo>
                    <a:lnTo>
                      <a:pt x="257" y="80"/>
                    </a:lnTo>
                    <a:lnTo>
                      <a:pt x="270" y="81"/>
                    </a:lnTo>
                    <a:lnTo>
                      <a:pt x="281" y="81"/>
                    </a:lnTo>
                    <a:lnTo>
                      <a:pt x="286" y="81"/>
                    </a:lnTo>
                    <a:lnTo>
                      <a:pt x="290" y="81"/>
                    </a:lnTo>
                    <a:lnTo>
                      <a:pt x="297" y="78"/>
                    </a:lnTo>
                    <a:lnTo>
                      <a:pt x="303" y="75"/>
                    </a:lnTo>
                    <a:lnTo>
                      <a:pt x="314" y="83"/>
                    </a:lnTo>
                    <a:lnTo>
                      <a:pt x="327" y="91"/>
                    </a:lnTo>
                    <a:lnTo>
                      <a:pt x="330" y="95"/>
                    </a:lnTo>
                    <a:lnTo>
                      <a:pt x="333" y="99"/>
                    </a:lnTo>
                    <a:lnTo>
                      <a:pt x="336" y="103"/>
                    </a:lnTo>
                    <a:lnTo>
                      <a:pt x="340" y="106"/>
                    </a:lnTo>
                    <a:lnTo>
                      <a:pt x="343" y="108"/>
                    </a:lnTo>
                    <a:lnTo>
                      <a:pt x="348" y="106"/>
                    </a:lnTo>
                    <a:lnTo>
                      <a:pt x="351" y="105"/>
                    </a:lnTo>
                    <a:lnTo>
                      <a:pt x="354" y="118"/>
                    </a:lnTo>
                    <a:lnTo>
                      <a:pt x="354" y="130"/>
                    </a:lnTo>
                    <a:lnTo>
                      <a:pt x="356" y="135"/>
                    </a:lnTo>
                    <a:lnTo>
                      <a:pt x="356" y="138"/>
                    </a:lnTo>
                    <a:lnTo>
                      <a:pt x="357" y="141"/>
                    </a:lnTo>
                    <a:lnTo>
                      <a:pt x="360" y="145"/>
                    </a:lnTo>
                    <a:lnTo>
                      <a:pt x="371" y="145"/>
                    </a:lnTo>
                    <a:lnTo>
                      <a:pt x="375" y="148"/>
                    </a:lnTo>
                    <a:lnTo>
                      <a:pt x="376" y="152"/>
                    </a:lnTo>
                    <a:lnTo>
                      <a:pt x="378" y="156"/>
                    </a:lnTo>
                    <a:lnTo>
                      <a:pt x="379" y="159"/>
                    </a:lnTo>
                    <a:lnTo>
                      <a:pt x="381" y="164"/>
                    </a:lnTo>
                    <a:lnTo>
                      <a:pt x="382" y="167"/>
                    </a:lnTo>
                    <a:lnTo>
                      <a:pt x="384" y="171"/>
                    </a:lnTo>
                    <a:lnTo>
                      <a:pt x="387" y="175"/>
                    </a:lnTo>
                    <a:lnTo>
                      <a:pt x="389" y="178"/>
                    </a:lnTo>
                    <a:lnTo>
                      <a:pt x="390" y="178"/>
                    </a:lnTo>
                    <a:lnTo>
                      <a:pt x="394" y="179"/>
                    </a:lnTo>
                    <a:lnTo>
                      <a:pt x="405" y="179"/>
                    </a:lnTo>
                    <a:lnTo>
                      <a:pt x="414" y="178"/>
                    </a:lnTo>
                    <a:lnTo>
                      <a:pt x="424" y="178"/>
                    </a:lnTo>
                    <a:lnTo>
                      <a:pt x="428" y="178"/>
                    </a:lnTo>
                    <a:lnTo>
                      <a:pt x="432" y="181"/>
                    </a:lnTo>
                    <a:lnTo>
                      <a:pt x="435" y="183"/>
                    </a:lnTo>
                    <a:lnTo>
                      <a:pt x="436" y="183"/>
                    </a:lnTo>
                    <a:lnTo>
                      <a:pt x="438" y="186"/>
                    </a:lnTo>
                    <a:lnTo>
                      <a:pt x="438" y="189"/>
                    </a:lnTo>
                    <a:lnTo>
                      <a:pt x="436" y="191"/>
                    </a:lnTo>
                    <a:lnTo>
                      <a:pt x="438" y="194"/>
                    </a:lnTo>
                    <a:lnTo>
                      <a:pt x="441" y="195"/>
                    </a:lnTo>
                    <a:lnTo>
                      <a:pt x="449" y="200"/>
                    </a:lnTo>
                    <a:lnTo>
                      <a:pt x="457" y="202"/>
                    </a:lnTo>
                    <a:lnTo>
                      <a:pt x="457" y="197"/>
                    </a:lnTo>
                    <a:lnTo>
                      <a:pt x="454" y="194"/>
                    </a:lnTo>
                    <a:lnTo>
                      <a:pt x="454" y="192"/>
                    </a:lnTo>
                    <a:lnTo>
                      <a:pt x="454" y="192"/>
                    </a:lnTo>
                    <a:lnTo>
                      <a:pt x="454" y="187"/>
                    </a:lnTo>
                    <a:lnTo>
                      <a:pt x="454" y="187"/>
                    </a:lnTo>
                    <a:lnTo>
                      <a:pt x="457" y="186"/>
                    </a:lnTo>
                    <a:lnTo>
                      <a:pt x="457" y="183"/>
                    </a:lnTo>
                    <a:lnTo>
                      <a:pt x="460" y="179"/>
                    </a:lnTo>
                    <a:lnTo>
                      <a:pt x="463" y="178"/>
                    </a:lnTo>
                    <a:lnTo>
                      <a:pt x="465" y="173"/>
                    </a:lnTo>
                    <a:lnTo>
                      <a:pt x="463" y="170"/>
                    </a:lnTo>
                    <a:lnTo>
                      <a:pt x="467" y="168"/>
                    </a:lnTo>
                    <a:lnTo>
                      <a:pt x="470" y="167"/>
                    </a:lnTo>
                    <a:lnTo>
                      <a:pt x="471" y="165"/>
                    </a:lnTo>
                    <a:lnTo>
                      <a:pt x="474" y="162"/>
                    </a:lnTo>
                    <a:lnTo>
                      <a:pt x="478" y="160"/>
                    </a:lnTo>
                    <a:lnTo>
                      <a:pt x="481" y="157"/>
                    </a:lnTo>
                    <a:lnTo>
                      <a:pt x="484" y="157"/>
                    </a:lnTo>
                    <a:lnTo>
                      <a:pt x="489" y="157"/>
                    </a:lnTo>
                    <a:lnTo>
                      <a:pt x="490" y="154"/>
                    </a:lnTo>
                    <a:lnTo>
                      <a:pt x="492" y="154"/>
                    </a:lnTo>
                    <a:lnTo>
                      <a:pt x="495" y="151"/>
                    </a:lnTo>
                    <a:lnTo>
                      <a:pt x="497" y="148"/>
                    </a:lnTo>
                    <a:lnTo>
                      <a:pt x="498" y="143"/>
                    </a:lnTo>
                    <a:lnTo>
                      <a:pt x="501" y="141"/>
                    </a:lnTo>
                    <a:lnTo>
                      <a:pt x="506" y="143"/>
                    </a:lnTo>
                    <a:lnTo>
                      <a:pt x="509" y="141"/>
                    </a:lnTo>
                    <a:lnTo>
                      <a:pt x="511" y="138"/>
                    </a:lnTo>
                    <a:lnTo>
                      <a:pt x="514" y="137"/>
                    </a:lnTo>
                    <a:lnTo>
                      <a:pt x="517" y="135"/>
                    </a:lnTo>
                    <a:lnTo>
                      <a:pt x="520" y="133"/>
                    </a:lnTo>
                    <a:lnTo>
                      <a:pt x="525" y="135"/>
                    </a:lnTo>
                    <a:lnTo>
                      <a:pt x="528" y="137"/>
                    </a:lnTo>
                    <a:lnTo>
                      <a:pt x="525" y="140"/>
                    </a:lnTo>
                    <a:lnTo>
                      <a:pt x="520" y="143"/>
                    </a:lnTo>
                    <a:lnTo>
                      <a:pt x="517" y="143"/>
                    </a:lnTo>
                    <a:lnTo>
                      <a:pt x="517" y="146"/>
                    </a:lnTo>
                    <a:lnTo>
                      <a:pt x="514" y="148"/>
                    </a:lnTo>
                    <a:lnTo>
                      <a:pt x="509" y="151"/>
                    </a:lnTo>
                    <a:lnTo>
                      <a:pt x="508" y="154"/>
                    </a:lnTo>
                    <a:lnTo>
                      <a:pt x="505" y="157"/>
                    </a:lnTo>
                    <a:lnTo>
                      <a:pt x="501" y="160"/>
                    </a:lnTo>
                    <a:lnTo>
                      <a:pt x="500" y="164"/>
                    </a:lnTo>
                    <a:lnTo>
                      <a:pt x="500" y="164"/>
                    </a:lnTo>
                    <a:lnTo>
                      <a:pt x="503" y="164"/>
                    </a:lnTo>
                    <a:lnTo>
                      <a:pt x="506" y="165"/>
                    </a:lnTo>
                    <a:lnTo>
                      <a:pt x="511" y="168"/>
                    </a:lnTo>
                    <a:lnTo>
                      <a:pt x="514" y="167"/>
                    </a:lnTo>
                    <a:lnTo>
                      <a:pt x="517" y="167"/>
                    </a:lnTo>
                    <a:lnTo>
                      <a:pt x="520" y="170"/>
                    </a:lnTo>
                    <a:lnTo>
                      <a:pt x="522" y="173"/>
                    </a:lnTo>
                    <a:lnTo>
                      <a:pt x="525" y="175"/>
                    </a:lnTo>
                    <a:lnTo>
                      <a:pt x="528" y="178"/>
                    </a:lnTo>
                    <a:lnTo>
                      <a:pt x="532" y="178"/>
                    </a:lnTo>
                    <a:lnTo>
                      <a:pt x="536" y="179"/>
                    </a:lnTo>
                    <a:lnTo>
                      <a:pt x="539" y="178"/>
                    </a:lnTo>
                    <a:lnTo>
                      <a:pt x="543" y="179"/>
                    </a:lnTo>
                    <a:lnTo>
                      <a:pt x="544" y="179"/>
                    </a:lnTo>
                    <a:lnTo>
                      <a:pt x="544" y="178"/>
                    </a:lnTo>
                    <a:lnTo>
                      <a:pt x="544" y="175"/>
                    </a:lnTo>
                    <a:lnTo>
                      <a:pt x="547" y="173"/>
                    </a:lnTo>
                    <a:lnTo>
                      <a:pt x="549" y="170"/>
                    </a:lnTo>
                    <a:lnTo>
                      <a:pt x="547" y="167"/>
                    </a:lnTo>
                    <a:lnTo>
                      <a:pt x="547" y="162"/>
                    </a:lnTo>
                    <a:lnTo>
                      <a:pt x="551" y="167"/>
                    </a:lnTo>
                    <a:lnTo>
                      <a:pt x="551" y="168"/>
                    </a:lnTo>
                    <a:lnTo>
                      <a:pt x="552" y="167"/>
                    </a:lnTo>
                    <a:lnTo>
                      <a:pt x="559" y="173"/>
                    </a:lnTo>
                    <a:lnTo>
                      <a:pt x="566" y="178"/>
                    </a:lnTo>
                    <a:lnTo>
                      <a:pt x="568" y="176"/>
                    </a:lnTo>
                    <a:lnTo>
                      <a:pt x="568" y="178"/>
                    </a:lnTo>
                    <a:lnTo>
                      <a:pt x="570" y="178"/>
                    </a:lnTo>
                    <a:lnTo>
                      <a:pt x="571" y="181"/>
                    </a:lnTo>
                    <a:lnTo>
                      <a:pt x="571" y="183"/>
                    </a:lnTo>
                    <a:lnTo>
                      <a:pt x="571" y="186"/>
                    </a:lnTo>
                    <a:lnTo>
                      <a:pt x="574" y="184"/>
                    </a:lnTo>
                    <a:lnTo>
                      <a:pt x="576" y="183"/>
                    </a:lnTo>
                    <a:lnTo>
                      <a:pt x="579" y="184"/>
                    </a:lnTo>
                    <a:lnTo>
                      <a:pt x="582" y="184"/>
                    </a:lnTo>
                    <a:lnTo>
                      <a:pt x="589" y="191"/>
                    </a:lnTo>
                    <a:lnTo>
                      <a:pt x="592" y="191"/>
                    </a:lnTo>
                    <a:lnTo>
                      <a:pt x="595" y="191"/>
                    </a:lnTo>
                    <a:lnTo>
                      <a:pt x="597" y="192"/>
                    </a:lnTo>
                    <a:lnTo>
                      <a:pt x="597" y="192"/>
                    </a:lnTo>
                    <a:lnTo>
                      <a:pt x="598" y="191"/>
                    </a:lnTo>
                    <a:lnTo>
                      <a:pt x="600" y="191"/>
                    </a:lnTo>
                    <a:lnTo>
                      <a:pt x="603" y="192"/>
                    </a:lnTo>
                    <a:lnTo>
                      <a:pt x="605" y="195"/>
                    </a:lnTo>
                    <a:lnTo>
                      <a:pt x="600" y="195"/>
                    </a:lnTo>
                    <a:lnTo>
                      <a:pt x="600" y="197"/>
                    </a:lnTo>
                    <a:lnTo>
                      <a:pt x="597" y="197"/>
                    </a:lnTo>
                    <a:lnTo>
                      <a:pt x="597" y="197"/>
                    </a:lnTo>
                    <a:lnTo>
                      <a:pt x="595" y="202"/>
                    </a:lnTo>
                    <a:lnTo>
                      <a:pt x="595" y="202"/>
                    </a:lnTo>
                    <a:lnTo>
                      <a:pt x="590" y="205"/>
                    </a:lnTo>
                    <a:lnTo>
                      <a:pt x="587" y="203"/>
                    </a:lnTo>
                    <a:lnTo>
                      <a:pt x="584" y="202"/>
                    </a:lnTo>
                    <a:lnTo>
                      <a:pt x="582" y="205"/>
                    </a:lnTo>
                    <a:lnTo>
                      <a:pt x="584" y="205"/>
                    </a:lnTo>
                    <a:lnTo>
                      <a:pt x="585" y="210"/>
                    </a:lnTo>
                    <a:lnTo>
                      <a:pt x="582" y="210"/>
                    </a:lnTo>
                    <a:lnTo>
                      <a:pt x="579" y="208"/>
                    </a:lnTo>
                    <a:lnTo>
                      <a:pt x="578" y="206"/>
                    </a:lnTo>
                    <a:lnTo>
                      <a:pt x="574" y="208"/>
                    </a:lnTo>
                    <a:lnTo>
                      <a:pt x="573" y="211"/>
                    </a:lnTo>
                    <a:lnTo>
                      <a:pt x="571" y="213"/>
                    </a:lnTo>
                    <a:lnTo>
                      <a:pt x="574" y="216"/>
                    </a:lnTo>
                    <a:lnTo>
                      <a:pt x="571" y="216"/>
                    </a:lnTo>
                    <a:lnTo>
                      <a:pt x="568" y="216"/>
                    </a:lnTo>
                    <a:lnTo>
                      <a:pt x="568" y="217"/>
                    </a:lnTo>
                    <a:lnTo>
                      <a:pt x="566" y="219"/>
                    </a:lnTo>
                    <a:lnTo>
                      <a:pt x="565" y="219"/>
                    </a:lnTo>
                    <a:lnTo>
                      <a:pt x="562" y="216"/>
                    </a:lnTo>
                    <a:lnTo>
                      <a:pt x="559" y="217"/>
                    </a:lnTo>
                    <a:lnTo>
                      <a:pt x="555" y="214"/>
                    </a:lnTo>
                    <a:lnTo>
                      <a:pt x="552" y="214"/>
                    </a:lnTo>
                    <a:lnTo>
                      <a:pt x="549" y="213"/>
                    </a:lnTo>
                    <a:lnTo>
                      <a:pt x="544" y="214"/>
                    </a:lnTo>
                    <a:lnTo>
                      <a:pt x="541" y="214"/>
                    </a:lnTo>
                    <a:lnTo>
                      <a:pt x="539" y="216"/>
                    </a:lnTo>
                    <a:lnTo>
                      <a:pt x="536" y="216"/>
                    </a:lnTo>
                    <a:lnTo>
                      <a:pt x="533" y="217"/>
                    </a:lnTo>
                    <a:lnTo>
                      <a:pt x="528" y="217"/>
                    </a:lnTo>
                    <a:lnTo>
                      <a:pt x="522" y="211"/>
                    </a:lnTo>
                    <a:lnTo>
                      <a:pt x="520" y="211"/>
                    </a:lnTo>
                    <a:lnTo>
                      <a:pt x="520" y="211"/>
                    </a:lnTo>
                    <a:lnTo>
                      <a:pt x="517" y="211"/>
                    </a:lnTo>
                    <a:lnTo>
                      <a:pt x="516" y="208"/>
                    </a:lnTo>
                    <a:lnTo>
                      <a:pt x="517" y="206"/>
                    </a:lnTo>
                    <a:lnTo>
                      <a:pt x="520" y="205"/>
                    </a:lnTo>
                    <a:lnTo>
                      <a:pt x="520" y="203"/>
                    </a:lnTo>
                    <a:lnTo>
                      <a:pt x="525" y="200"/>
                    </a:lnTo>
                    <a:lnTo>
                      <a:pt x="528" y="197"/>
                    </a:lnTo>
                    <a:lnTo>
                      <a:pt x="528" y="195"/>
                    </a:lnTo>
                    <a:lnTo>
                      <a:pt x="524" y="195"/>
                    </a:lnTo>
                    <a:lnTo>
                      <a:pt x="522" y="191"/>
                    </a:lnTo>
                    <a:lnTo>
                      <a:pt x="519" y="187"/>
                    </a:lnTo>
                    <a:lnTo>
                      <a:pt x="514" y="184"/>
                    </a:lnTo>
                    <a:lnTo>
                      <a:pt x="511" y="187"/>
                    </a:lnTo>
                    <a:lnTo>
                      <a:pt x="509" y="191"/>
                    </a:lnTo>
                    <a:lnTo>
                      <a:pt x="506" y="192"/>
                    </a:lnTo>
                    <a:lnTo>
                      <a:pt x="501" y="195"/>
                    </a:lnTo>
                    <a:lnTo>
                      <a:pt x="501" y="195"/>
                    </a:lnTo>
                    <a:lnTo>
                      <a:pt x="501" y="195"/>
                    </a:lnTo>
                    <a:lnTo>
                      <a:pt x="498" y="197"/>
                    </a:lnTo>
                    <a:lnTo>
                      <a:pt x="493" y="200"/>
                    </a:lnTo>
                    <a:lnTo>
                      <a:pt x="490" y="198"/>
                    </a:lnTo>
                    <a:lnTo>
                      <a:pt x="487" y="195"/>
                    </a:lnTo>
                    <a:lnTo>
                      <a:pt x="487" y="195"/>
                    </a:lnTo>
                    <a:lnTo>
                      <a:pt x="482" y="192"/>
                    </a:lnTo>
                    <a:lnTo>
                      <a:pt x="479" y="195"/>
                    </a:lnTo>
                    <a:lnTo>
                      <a:pt x="479" y="198"/>
                    </a:lnTo>
                    <a:lnTo>
                      <a:pt x="478" y="202"/>
                    </a:lnTo>
                    <a:lnTo>
                      <a:pt x="479" y="205"/>
                    </a:lnTo>
                    <a:lnTo>
                      <a:pt x="481" y="208"/>
                    </a:lnTo>
                    <a:lnTo>
                      <a:pt x="482" y="210"/>
                    </a:lnTo>
                    <a:lnTo>
                      <a:pt x="484" y="214"/>
                    </a:lnTo>
                    <a:lnTo>
                      <a:pt x="482" y="214"/>
                    </a:lnTo>
                    <a:lnTo>
                      <a:pt x="482" y="216"/>
                    </a:lnTo>
                    <a:lnTo>
                      <a:pt x="482" y="216"/>
                    </a:lnTo>
                    <a:lnTo>
                      <a:pt x="484" y="217"/>
                    </a:lnTo>
                    <a:lnTo>
                      <a:pt x="482" y="217"/>
                    </a:lnTo>
                    <a:lnTo>
                      <a:pt x="482" y="217"/>
                    </a:lnTo>
                    <a:lnTo>
                      <a:pt x="482" y="217"/>
                    </a:lnTo>
                    <a:lnTo>
                      <a:pt x="479" y="217"/>
                    </a:lnTo>
                    <a:lnTo>
                      <a:pt x="476" y="216"/>
                    </a:lnTo>
                    <a:lnTo>
                      <a:pt x="474" y="216"/>
                    </a:lnTo>
                    <a:lnTo>
                      <a:pt x="474" y="216"/>
                    </a:lnTo>
                    <a:lnTo>
                      <a:pt x="471" y="216"/>
                    </a:lnTo>
                    <a:lnTo>
                      <a:pt x="468" y="217"/>
                    </a:lnTo>
                    <a:lnTo>
                      <a:pt x="467" y="217"/>
                    </a:lnTo>
                    <a:lnTo>
                      <a:pt x="465" y="217"/>
                    </a:lnTo>
                    <a:lnTo>
                      <a:pt x="462" y="219"/>
                    </a:lnTo>
                    <a:lnTo>
                      <a:pt x="462" y="219"/>
                    </a:lnTo>
                    <a:lnTo>
                      <a:pt x="462" y="221"/>
                    </a:lnTo>
                    <a:lnTo>
                      <a:pt x="465" y="221"/>
                    </a:lnTo>
                    <a:lnTo>
                      <a:pt x="470" y="221"/>
                    </a:lnTo>
                    <a:lnTo>
                      <a:pt x="470" y="219"/>
                    </a:lnTo>
                    <a:lnTo>
                      <a:pt x="473" y="222"/>
                    </a:lnTo>
                    <a:lnTo>
                      <a:pt x="471" y="222"/>
                    </a:lnTo>
                    <a:lnTo>
                      <a:pt x="468" y="222"/>
                    </a:lnTo>
                    <a:lnTo>
                      <a:pt x="470" y="225"/>
                    </a:lnTo>
                    <a:lnTo>
                      <a:pt x="473" y="229"/>
                    </a:lnTo>
                    <a:lnTo>
                      <a:pt x="470" y="227"/>
                    </a:lnTo>
                    <a:lnTo>
                      <a:pt x="471" y="230"/>
                    </a:lnTo>
                    <a:lnTo>
                      <a:pt x="468" y="232"/>
                    </a:lnTo>
                    <a:lnTo>
                      <a:pt x="465" y="232"/>
                    </a:lnTo>
                    <a:lnTo>
                      <a:pt x="467" y="237"/>
                    </a:lnTo>
                    <a:lnTo>
                      <a:pt x="467" y="240"/>
                    </a:lnTo>
                    <a:lnTo>
                      <a:pt x="465" y="243"/>
                    </a:lnTo>
                    <a:lnTo>
                      <a:pt x="463" y="244"/>
                    </a:lnTo>
                    <a:lnTo>
                      <a:pt x="457" y="244"/>
                    </a:lnTo>
                    <a:lnTo>
                      <a:pt x="451" y="243"/>
                    </a:lnTo>
                    <a:lnTo>
                      <a:pt x="446" y="243"/>
                    </a:lnTo>
                    <a:lnTo>
                      <a:pt x="440" y="241"/>
                    </a:lnTo>
                    <a:lnTo>
                      <a:pt x="436" y="241"/>
                    </a:lnTo>
                    <a:lnTo>
                      <a:pt x="432" y="243"/>
                    </a:lnTo>
                    <a:lnTo>
                      <a:pt x="432" y="246"/>
                    </a:lnTo>
                    <a:lnTo>
                      <a:pt x="428" y="246"/>
                    </a:lnTo>
                    <a:lnTo>
                      <a:pt x="428" y="246"/>
                    </a:lnTo>
                    <a:lnTo>
                      <a:pt x="428" y="248"/>
                    </a:lnTo>
                    <a:lnTo>
                      <a:pt x="430" y="251"/>
                    </a:lnTo>
                    <a:lnTo>
                      <a:pt x="428" y="256"/>
                    </a:lnTo>
                    <a:lnTo>
                      <a:pt x="430" y="259"/>
                    </a:lnTo>
                    <a:lnTo>
                      <a:pt x="435" y="260"/>
                    </a:lnTo>
                    <a:lnTo>
                      <a:pt x="438" y="260"/>
                    </a:lnTo>
                    <a:lnTo>
                      <a:pt x="441" y="262"/>
                    </a:lnTo>
                    <a:lnTo>
                      <a:pt x="441" y="265"/>
                    </a:lnTo>
                    <a:lnTo>
                      <a:pt x="446" y="267"/>
                    </a:lnTo>
                    <a:lnTo>
                      <a:pt x="449" y="267"/>
                    </a:lnTo>
                    <a:lnTo>
                      <a:pt x="452" y="267"/>
                    </a:lnTo>
                    <a:lnTo>
                      <a:pt x="455" y="267"/>
                    </a:lnTo>
                    <a:lnTo>
                      <a:pt x="459" y="270"/>
                    </a:lnTo>
                    <a:lnTo>
                      <a:pt x="459" y="270"/>
                    </a:lnTo>
                    <a:lnTo>
                      <a:pt x="460" y="275"/>
                    </a:lnTo>
                    <a:lnTo>
                      <a:pt x="459" y="278"/>
                    </a:lnTo>
                    <a:lnTo>
                      <a:pt x="459" y="281"/>
                    </a:lnTo>
                    <a:lnTo>
                      <a:pt x="459" y="284"/>
                    </a:lnTo>
                    <a:lnTo>
                      <a:pt x="460" y="287"/>
                    </a:lnTo>
                    <a:lnTo>
                      <a:pt x="460" y="289"/>
                    </a:lnTo>
                    <a:lnTo>
                      <a:pt x="462" y="290"/>
                    </a:lnTo>
                    <a:lnTo>
                      <a:pt x="465" y="294"/>
                    </a:lnTo>
                    <a:lnTo>
                      <a:pt x="468" y="295"/>
                    </a:lnTo>
                    <a:lnTo>
                      <a:pt x="473" y="298"/>
                    </a:lnTo>
                    <a:lnTo>
                      <a:pt x="473" y="305"/>
                    </a:lnTo>
                    <a:lnTo>
                      <a:pt x="471" y="308"/>
                    </a:lnTo>
                    <a:lnTo>
                      <a:pt x="470" y="309"/>
                    </a:lnTo>
                    <a:lnTo>
                      <a:pt x="467" y="313"/>
                    </a:lnTo>
                    <a:lnTo>
                      <a:pt x="465" y="316"/>
                    </a:lnTo>
                    <a:lnTo>
                      <a:pt x="463" y="321"/>
                    </a:lnTo>
                    <a:lnTo>
                      <a:pt x="462" y="324"/>
                    </a:lnTo>
                    <a:lnTo>
                      <a:pt x="460" y="327"/>
                    </a:lnTo>
                    <a:lnTo>
                      <a:pt x="460" y="330"/>
                    </a:lnTo>
                    <a:lnTo>
                      <a:pt x="462" y="335"/>
                    </a:lnTo>
                    <a:lnTo>
                      <a:pt x="462" y="338"/>
                    </a:lnTo>
                    <a:lnTo>
                      <a:pt x="462" y="340"/>
                    </a:lnTo>
                    <a:lnTo>
                      <a:pt x="462" y="340"/>
                    </a:lnTo>
                    <a:lnTo>
                      <a:pt x="460" y="340"/>
                    </a:lnTo>
                    <a:lnTo>
                      <a:pt x="455" y="338"/>
                    </a:lnTo>
                    <a:lnTo>
                      <a:pt x="452" y="338"/>
                    </a:lnTo>
                    <a:lnTo>
                      <a:pt x="447" y="338"/>
                    </a:lnTo>
                    <a:lnTo>
                      <a:pt x="443" y="341"/>
                    </a:lnTo>
                    <a:lnTo>
                      <a:pt x="440" y="336"/>
                    </a:lnTo>
                    <a:lnTo>
                      <a:pt x="440" y="336"/>
                    </a:lnTo>
                    <a:lnTo>
                      <a:pt x="436" y="333"/>
                    </a:lnTo>
                    <a:lnTo>
                      <a:pt x="433" y="332"/>
                    </a:lnTo>
                    <a:lnTo>
                      <a:pt x="428" y="333"/>
                    </a:lnTo>
                    <a:lnTo>
                      <a:pt x="425" y="333"/>
                    </a:lnTo>
                    <a:lnTo>
                      <a:pt x="422" y="335"/>
                    </a:lnTo>
                    <a:lnTo>
                      <a:pt x="419" y="333"/>
                    </a:lnTo>
                    <a:lnTo>
                      <a:pt x="417" y="333"/>
                    </a:lnTo>
                    <a:lnTo>
                      <a:pt x="417" y="332"/>
                    </a:lnTo>
                    <a:lnTo>
                      <a:pt x="417" y="328"/>
                    </a:lnTo>
                    <a:lnTo>
                      <a:pt x="416" y="325"/>
                    </a:lnTo>
                    <a:lnTo>
                      <a:pt x="416" y="322"/>
                    </a:lnTo>
                    <a:lnTo>
                      <a:pt x="414" y="319"/>
                    </a:lnTo>
                    <a:lnTo>
                      <a:pt x="414" y="314"/>
                    </a:lnTo>
                    <a:lnTo>
                      <a:pt x="416" y="311"/>
                    </a:lnTo>
                    <a:lnTo>
                      <a:pt x="416" y="308"/>
                    </a:lnTo>
                    <a:lnTo>
                      <a:pt x="416" y="308"/>
                    </a:lnTo>
                    <a:lnTo>
                      <a:pt x="413" y="306"/>
                    </a:lnTo>
                    <a:lnTo>
                      <a:pt x="408" y="306"/>
                    </a:lnTo>
                    <a:lnTo>
                      <a:pt x="405" y="305"/>
                    </a:lnTo>
                    <a:lnTo>
                      <a:pt x="402" y="302"/>
                    </a:lnTo>
                    <a:lnTo>
                      <a:pt x="398" y="300"/>
                    </a:lnTo>
                    <a:lnTo>
                      <a:pt x="394" y="298"/>
                    </a:lnTo>
                    <a:lnTo>
                      <a:pt x="390" y="297"/>
                    </a:lnTo>
                    <a:lnTo>
                      <a:pt x="387" y="295"/>
                    </a:lnTo>
                    <a:lnTo>
                      <a:pt x="384" y="298"/>
                    </a:lnTo>
                    <a:lnTo>
                      <a:pt x="379" y="297"/>
                    </a:lnTo>
                    <a:lnTo>
                      <a:pt x="376" y="295"/>
                    </a:lnTo>
                    <a:lnTo>
                      <a:pt x="375" y="295"/>
                    </a:lnTo>
                    <a:lnTo>
                      <a:pt x="373" y="294"/>
                    </a:lnTo>
                    <a:lnTo>
                      <a:pt x="370" y="292"/>
                    </a:lnTo>
                    <a:lnTo>
                      <a:pt x="365" y="289"/>
                    </a:lnTo>
                    <a:lnTo>
                      <a:pt x="362" y="287"/>
                    </a:lnTo>
                    <a:lnTo>
                      <a:pt x="359" y="284"/>
                    </a:lnTo>
                    <a:lnTo>
                      <a:pt x="356" y="282"/>
                    </a:lnTo>
                    <a:lnTo>
                      <a:pt x="354" y="281"/>
                    </a:lnTo>
                    <a:lnTo>
                      <a:pt x="349" y="279"/>
                    </a:lnTo>
                    <a:lnTo>
                      <a:pt x="346" y="279"/>
                    </a:lnTo>
                    <a:lnTo>
                      <a:pt x="343" y="276"/>
                    </a:lnTo>
                    <a:lnTo>
                      <a:pt x="335" y="271"/>
                    </a:lnTo>
                    <a:lnTo>
                      <a:pt x="332" y="270"/>
                    </a:lnTo>
                    <a:lnTo>
                      <a:pt x="332" y="268"/>
                    </a:lnTo>
                    <a:lnTo>
                      <a:pt x="329" y="267"/>
                    </a:lnTo>
                    <a:lnTo>
                      <a:pt x="325" y="268"/>
                    </a:lnTo>
                    <a:lnTo>
                      <a:pt x="322" y="267"/>
                    </a:lnTo>
                    <a:lnTo>
                      <a:pt x="319" y="265"/>
                    </a:lnTo>
                    <a:lnTo>
                      <a:pt x="306" y="257"/>
                    </a:lnTo>
                    <a:lnTo>
                      <a:pt x="297" y="249"/>
                    </a:lnTo>
                    <a:lnTo>
                      <a:pt x="286" y="243"/>
                    </a:lnTo>
                    <a:lnTo>
                      <a:pt x="273" y="235"/>
                    </a:lnTo>
                    <a:lnTo>
                      <a:pt x="262" y="229"/>
                    </a:lnTo>
                    <a:lnTo>
                      <a:pt x="259" y="225"/>
                    </a:lnTo>
                    <a:lnTo>
                      <a:pt x="257" y="224"/>
                    </a:lnTo>
                    <a:lnTo>
                      <a:pt x="256" y="221"/>
                    </a:lnTo>
                    <a:lnTo>
                      <a:pt x="256" y="217"/>
                    </a:lnTo>
                    <a:lnTo>
                      <a:pt x="254" y="214"/>
                    </a:lnTo>
                    <a:lnTo>
                      <a:pt x="251" y="211"/>
                    </a:lnTo>
                    <a:lnTo>
                      <a:pt x="248" y="206"/>
                    </a:lnTo>
                    <a:lnTo>
                      <a:pt x="244" y="206"/>
                    </a:lnTo>
                    <a:lnTo>
                      <a:pt x="244" y="205"/>
                    </a:lnTo>
                    <a:lnTo>
                      <a:pt x="241" y="202"/>
                    </a:lnTo>
                    <a:lnTo>
                      <a:pt x="240" y="198"/>
                    </a:lnTo>
                    <a:lnTo>
                      <a:pt x="237" y="195"/>
                    </a:lnTo>
                    <a:lnTo>
                      <a:pt x="235" y="191"/>
                    </a:lnTo>
                    <a:lnTo>
                      <a:pt x="232" y="184"/>
                    </a:lnTo>
                    <a:lnTo>
                      <a:pt x="227" y="179"/>
                    </a:lnTo>
                    <a:lnTo>
                      <a:pt x="221" y="175"/>
                    </a:lnTo>
                    <a:lnTo>
                      <a:pt x="213" y="173"/>
                    </a:lnTo>
                    <a:lnTo>
                      <a:pt x="211" y="176"/>
                    </a:lnTo>
                    <a:lnTo>
                      <a:pt x="211" y="176"/>
                    </a:lnTo>
                    <a:lnTo>
                      <a:pt x="211" y="178"/>
                    </a:lnTo>
                    <a:lnTo>
                      <a:pt x="206" y="178"/>
                    </a:lnTo>
                    <a:lnTo>
                      <a:pt x="203" y="176"/>
                    </a:lnTo>
                    <a:lnTo>
                      <a:pt x="200" y="176"/>
                    </a:lnTo>
                    <a:lnTo>
                      <a:pt x="198" y="176"/>
                    </a:lnTo>
                    <a:lnTo>
                      <a:pt x="195" y="175"/>
                    </a:lnTo>
                    <a:lnTo>
                      <a:pt x="189" y="175"/>
                    </a:lnTo>
                    <a:lnTo>
                      <a:pt x="184" y="176"/>
                    </a:lnTo>
                    <a:lnTo>
                      <a:pt x="181" y="176"/>
                    </a:lnTo>
                    <a:lnTo>
                      <a:pt x="178" y="173"/>
                    </a:lnTo>
                    <a:lnTo>
                      <a:pt x="175" y="171"/>
                    </a:lnTo>
                    <a:lnTo>
                      <a:pt x="172" y="171"/>
                    </a:lnTo>
                    <a:lnTo>
                      <a:pt x="167" y="168"/>
                    </a:lnTo>
                    <a:lnTo>
                      <a:pt x="167" y="165"/>
                    </a:lnTo>
                    <a:lnTo>
                      <a:pt x="168" y="162"/>
                    </a:lnTo>
                    <a:lnTo>
                      <a:pt x="167" y="159"/>
                    </a:lnTo>
                    <a:lnTo>
                      <a:pt x="164" y="154"/>
                    </a:lnTo>
                    <a:lnTo>
                      <a:pt x="164" y="154"/>
                    </a:lnTo>
                    <a:lnTo>
                      <a:pt x="164" y="152"/>
                    </a:lnTo>
                    <a:lnTo>
                      <a:pt x="167" y="152"/>
                    </a:lnTo>
                    <a:lnTo>
                      <a:pt x="165" y="149"/>
                    </a:lnTo>
                    <a:lnTo>
                      <a:pt x="165" y="149"/>
                    </a:lnTo>
                    <a:lnTo>
                      <a:pt x="162" y="148"/>
                    </a:lnTo>
                    <a:lnTo>
                      <a:pt x="160" y="148"/>
                    </a:lnTo>
                    <a:lnTo>
                      <a:pt x="159" y="146"/>
                    </a:lnTo>
                    <a:lnTo>
                      <a:pt x="159" y="145"/>
                    </a:lnTo>
                    <a:lnTo>
                      <a:pt x="159" y="141"/>
                    </a:lnTo>
                    <a:lnTo>
                      <a:pt x="157" y="141"/>
                    </a:lnTo>
                    <a:lnTo>
                      <a:pt x="157" y="140"/>
                    </a:lnTo>
                    <a:lnTo>
                      <a:pt x="157" y="138"/>
                    </a:lnTo>
                    <a:lnTo>
                      <a:pt x="157" y="135"/>
                    </a:lnTo>
                    <a:lnTo>
                      <a:pt x="154" y="135"/>
                    </a:lnTo>
                    <a:lnTo>
                      <a:pt x="151" y="132"/>
                    </a:lnTo>
                    <a:lnTo>
                      <a:pt x="148" y="132"/>
                    </a:lnTo>
                    <a:lnTo>
                      <a:pt x="146" y="132"/>
                    </a:lnTo>
                    <a:lnTo>
                      <a:pt x="141" y="132"/>
                    </a:lnTo>
                    <a:lnTo>
                      <a:pt x="141" y="132"/>
                    </a:lnTo>
                    <a:lnTo>
                      <a:pt x="138" y="133"/>
                    </a:lnTo>
                    <a:lnTo>
                      <a:pt x="135" y="132"/>
                    </a:lnTo>
                    <a:lnTo>
                      <a:pt x="132" y="130"/>
                    </a:lnTo>
                    <a:lnTo>
                      <a:pt x="132" y="130"/>
                    </a:lnTo>
                    <a:lnTo>
                      <a:pt x="130" y="127"/>
                    </a:lnTo>
                    <a:lnTo>
                      <a:pt x="127" y="124"/>
                    </a:lnTo>
                    <a:lnTo>
                      <a:pt x="124" y="124"/>
                    </a:lnTo>
                    <a:lnTo>
                      <a:pt x="119" y="122"/>
                    </a:lnTo>
                    <a:lnTo>
                      <a:pt x="116" y="121"/>
                    </a:lnTo>
                    <a:lnTo>
                      <a:pt x="110" y="116"/>
                    </a:lnTo>
                    <a:lnTo>
                      <a:pt x="105" y="114"/>
                    </a:lnTo>
                    <a:lnTo>
                      <a:pt x="105" y="118"/>
                    </a:lnTo>
                    <a:lnTo>
                      <a:pt x="102" y="118"/>
                    </a:lnTo>
                    <a:lnTo>
                      <a:pt x="97" y="118"/>
                    </a:lnTo>
                    <a:lnTo>
                      <a:pt x="94" y="118"/>
                    </a:lnTo>
                    <a:lnTo>
                      <a:pt x="94" y="121"/>
                    </a:lnTo>
                    <a:lnTo>
                      <a:pt x="97" y="122"/>
                    </a:lnTo>
                    <a:lnTo>
                      <a:pt x="100" y="126"/>
                    </a:lnTo>
                    <a:lnTo>
                      <a:pt x="103" y="129"/>
                    </a:lnTo>
                    <a:lnTo>
                      <a:pt x="107" y="132"/>
                    </a:lnTo>
                    <a:lnTo>
                      <a:pt x="103" y="130"/>
                    </a:lnTo>
                    <a:lnTo>
                      <a:pt x="100" y="127"/>
                    </a:lnTo>
                    <a:lnTo>
                      <a:pt x="97" y="126"/>
                    </a:lnTo>
                    <a:lnTo>
                      <a:pt x="94" y="126"/>
                    </a:lnTo>
                    <a:lnTo>
                      <a:pt x="91" y="124"/>
                    </a:lnTo>
                    <a:lnTo>
                      <a:pt x="87" y="127"/>
                    </a:lnTo>
                    <a:lnTo>
                      <a:pt x="87" y="132"/>
                    </a:lnTo>
                    <a:lnTo>
                      <a:pt x="87" y="135"/>
                    </a:lnTo>
                    <a:lnTo>
                      <a:pt x="83" y="138"/>
                    </a:lnTo>
                    <a:lnTo>
                      <a:pt x="78" y="138"/>
                    </a:lnTo>
                    <a:lnTo>
                      <a:pt x="75" y="138"/>
                    </a:lnTo>
                    <a:lnTo>
                      <a:pt x="72" y="138"/>
                    </a:lnTo>
                    <a:lnTo>
                      <a:pt x="67" y="140"/>
                    </a:lnTo>
                    <a:lnTo>
                      <a:pt x="65" y="145"/>
                    </a:lnTo>
                    <a:lnTo>
                      <a:pt x="64" y="148"/>
                    </a:lnTo>
                    <a:lnTo>
                      <a:pt x="61" y="151"/>
                    </a:lnTo>
                    <a:lnTo>
                      <a:pt x="62" y="156"/>
                    </a:lnTo>
                    <a:lnTo>
                      <a:pt x="64" y="162"/>
                    </a:lnTo>
                    <a:lnTo>
                      <a:pt x="67" y="167"/>
                    </a:lnTo>
                    <a:lnTo>
                      <a:pt x="70" y="171"/>
                    </a:lnTo>
                    <a:lnTo>
                      <a:pt x="68" y="175"/>
                    </a:lnTo>
                    <a:lnTo>
                      <a:pt x="64" y="175"/>
                    </a:lnTo>
                    <a:lnTo>
                      <a:pt x="61" y="173"/>
                    </a:lnTo>
                    <a:lnTo>
                      <a:pt x="57" y="173"/>
                    </a:lnTo>
                    <a:lnTo>
                      <a:pt x="54" y="173"/>
                    </a:lnTo>
                    <a:lnTo>
                      <a:pt x="43" y="173"/>
                    </a:lnTo>
                    <a:lnTo>
                      <a:pt x="32" y="171"/>
                    </a:lnTo>
                    <a:lnTo>
                      <a:pt x="24" y="135"/>
                    </a:lnTo>
                    <a:lnTo>
                      <a:pt x="18" y="97"/>
                    </a:lnTo>
                    <a:lnTo>
                      <a:pt x="10" y="60"/>
                    </a:lnTo>
                    <a:lnTo>
                      <a:pt x="0" y="2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36" name="Freeform 395"/>
              <p:cNvSpPr>
                <a:spLocks/>
              </p:cNvSpPr>
              <p:nvPr/>
            </p:nvSpPr>
            <p:spPr bwMode="auto">
              <a:xfrm>
                <a:off x="5932067" y="2574370"/>
                <a:ext cx="262881" cy="125339"/>
              </a:xfrm>
              <a:custGeom>
                <a:avLst/>
                <a:gdLst>
                  <a:gd name="T0" fmla="*/ 20 w 339"/>
                  <a:gd name="T1" fmla="*/ 123 h 165"/>
                  <a:gd name="T2" fmla="*/ 38 w 339"/>
                  <a:gd name="T3" fmla="*/ 130 h 165"/>
                  <a:gd name="T4" fmla="*/ 44 w 339"/>
                  <a:gd name="T5" fmla="*/ 131 h 165"/>
                  <a:gd name="T6" fmla="*/ 58 w 339"/>
                  <a:gd name="T7" fmla="*/ 120 h 165"/>
                  <a:gd name="T8" fmla="*/ 79 w 339"/>
                  <a:gd name="T9" fmla="*/ 125 h 165"/>
                  <a:gd name="T10" fmla="*/ 85 w 339"/>
                  <a:gd name="T11" fmla="*/ 119 h 165"/>
                  <a:gd name="T12" fmla="*/ 99 w 339"/>
                  <a:gd name="T13" fmla="*/ 116 h 165"/>
                  <a:gd name="T14" fmla="*/ 109 w 339"/>
                  <a:gd name="T15" fmla="*/ 108 h 165"/>
                  <a:gd name="T16" fmla="*/ 119 w 339"/>
                  <a:gd name="T17" fmla="*/ 101 h 165"/>
                  <a:gd name="T18" fmla="*/ 109 w 339"/>
                  <a:gd name="T19" fmla="*/ 97 h 165"/>
                  <a:gd name="T20" fmla="*/ 88 w 339"/>
                  <a:gd name="T21" fmla="*/ 90 h 165"/>
                  <a:gd name="T22" fmla="*/ 82 w 339"/>
                  <a:gd name="T23" fmla="*/ 82 h 165"/>
                  <a:gd name="T24" fmla="*/ 61 w 339"/>
                  <a:gd name="T25" fmla="*/ 68 h 165"/>
                  <a:gd name="T26" fmla="*/ 58 w 339"/>
                  <a:gd name="T27" fmla="*/ 85 h 165"/>
                  <a:gd name="T28" fmla="*/ 39 w 339"/>
                  <a:gd name="T29" fmla="*/ 81 h 165"/>
                  <a:gd name="T30" fmla="*/ 20 w 339"/>
                  <a:gd name="T31" fmla="*/ 71 h 165"/>
                  <a:gd name="T32" fmla="*/ 22 w 339"/>
                  <a:gd name="T33" fmla="*/ 60 h 165"/>
                  <a:gd name="T34" fmla="*/ 39 w 339"/>
                  <a:gd name="T35" fmla="*/ 46 h 165"/>
                  <a:gd name="T36" fmla="*/ 28 w 339"/>
                  <a:gd name="T37" fmla="*/ 38 h 165"/>
                  <a:gd name="T38" fmla="*/ 33 w 339"/>
                  <a:gd name="T39" fmla="*/ 24 h 165"/>
                  <a:gd name="T40" fmla="*/ 49 w 339"/>
                  <a:gd name="T41" fmla="*/ 17 h 165"/>
                  <a:gd name="T42" fmla="*/ 87 w 339"/>
                  <a:gd name="T43" fmla="*/ 25 h 165"/>
                  <a:gd name="T44" fmla="*/ 114 w 339"/>
                  <a:gd name="T45" fmla="*/ 33 h 165"/>
                  <a:gd name="T46" fmla="*/ 109 w 339"/>
                  <a:gd name="T47" fmla="*/ 17 h 165"/>
                  <a:gd name="T48" fmla="*/ 117 w 339"/>
                  <a:gd name="T49" fmla="*/ 5 h 165"/>
                  <a:gd name="T50" fmla="*/ 126 w 339"/>
                  <a:gd name="T51" fmla="*/ 0 h 165"/>
                  <a:gd name="T52" fmla="*/ 149 w 339"/>
                  <a:gd name="T53" fmla="*/ 11 h 165"/>
                  <a:gd name="T54" fmla="*/ 172 w 339"/>
                  <a:gd name="T55" fmla="*/ 17 h 165"/>
                  <a:gd name="T56" fmla="*/ 204 w 339"/>
                  <a:gd name="T57" fmla="*/ 14 h 165"/>
                  <a:gd name="T58" fmla="*/ 233 w 339"/>
                  <a:gd name="T59" fmla="*/ 14 h 165"/>
                  <a:gd name="T60" fmla="*/ 266 w 339"/>
                  <a:gd name="T61" fmla="*/ 16 h 165"/>
                  <a:gd name="T62" fmla="*/ 288 w 339"/>
                  <a:gd name="T63" fmla="*/ 19 h 165"/>
                  <a:gd name="T64" fmla="*/ 306 w 339"/>
                  <a:gd name="T65" fmla="*/ 30 h 165"/>
                  <a:gd name="T66" fmla="*/ 326 w 339"/>
                  <a:gd name="T67" fmla="*/ 35 h 165"/>
                  <a:gd name="T68" fmla="*/ 334 w 339"/>
                  <a:gd name="T69" fmla="*/ 49 h 165"/>
                  <a:gd name="T70" fmla="*/ 317 w 339"/>
                  <a:gd name="T71" fmla="*/ 58 h 165"/>
                  <a:gd name="T72" fmla="*/ 296 w 339"/>
                  <a:gd name="T73" fmla="*/ 68 h 165"/>
                  <a:gd name="T74" fmla="*/ 283 w 339"/>
                  <a:gd name="T75" fmla="*/ 84 h 165"/>
                  <a:gd name="T76" fmla="*/ 253 w 339"/>
                  <a:gd name="T77" fmla="*/ 90 h 165"/>
                  <a:gd name="T78" fmla="*/ 239 w 339"/>
                  <a:gd name="T79" fmla="*/ 97 h 165"/>
                  <a:gd name="T80" fmla="*/ 233 w 339"/>
                  <a:gd name="T81" fmla="*/ 116 h 165"/>
                  <a:gd name="T82" fmla="*/ 209 w 339"/>
                  <a:gd name="T83" fmla="*/ 117 h 165"/>
                  <a:gd name="T84" fmla="*/ 195 w 339"/>
                  <a:gd name="T85" fmla="*/ 111 h 165"/>
                  <a:gd name="T86" fmla="*/ 179 w 339"/>
                  <a:gd name="T87" fmla="*/ 116 h 165"/>
                  <a:gd name="T88" fmla="*/ 163 w 339"/>
                  <a:gd name="T89" fmla="*/ 127 h 165"/>
                  <a:gd name="T90" fmla="*/ 157 w 339"/>
                  <a:gd name="T91" fmla="*/ 143 h 165"/>
                  <a:gd name="T92" fmla="*/ 150 w 339"/>
                  <a:gd name="T93" fmla="*/ 154 h 165"/>
                  <a:gd name="T94" fmla="*/ 122 w 339"/>
                  <a:gd name="T95" fmla="*/ 157 h 165"/>
                  <a:gd name="T96" fmla="*/ 104 w 339"/>
                  <a:gd name="T97" fmla="*/ 162 h 165"/>
                  <a:gd name="T98" fmla="*/ 87 w 339"/>
                  <a:gd name="T99" fmla="*/ 154 h 165"/>
                  <a:gd name="T100" fmla="*/ 71 w 339"/>
                  <a:gd name="T101" fmla="*/ 150 h 165"/>
                  <a:gd name="T102" fmla="*/ 53 w 339"/>
                  <a:gd name="T103" fmla="*/ 155 h 165"/>
                  <a:gd name="T104" fmla="*/ 34 w 339"/>
                  <a:gd name="T105" fmla="*/ 150 h 165"/>
                  <a:gd name="T106" fmla="*/ 19 w 339"/>
                  <a:gd name="T107" fmla="*/ 149 h 165"/>
                  <a:gd name="T108" fmla="*/ 1 w 339"/>
                  <a:gd name="T109" fmla="*/ 13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39" h="165">
                    <a:moveTo>
                      <a:pt x="6" y="128"/>
                    </a:moveTo>
                    <a:lnTo>
                      <a:pt x="6" y="127"/>
                    </a:lnTo>
                    <a:lnTo>
                      <a:pt x="9" y="127"/>
                    </a:lnTo>
                    <a:lnTo>
                      <a:pt x="12" y="125"/>
                    </a:lnTo>
                    <a:lnTo>
                      <a:pt x="20" y="123"/>
                    </a:lnTo>
                    <a:lnTo>
                      <a:pt x="20" y="123"/>
                    </a:lnTo>
                    <a:lnTo>
                      <a:pt x="22" y="123"/>
                    </a:lnTo>
                    <a:lnTo>
                      <a:pt x="23" y="123"/>
                    </a:lnTo>
                    <a:lnTo>
                      <a:pt x="27" y="125"/>
                    </a:lnTo>
                    <a:lnTo>
                      <a:pt x="30" y="127"/>
                    </a:lnTo>
                    <a:lnTo>
                      <a:pt x="34" y="128"/>
                    </a:lnTo>
                    <a:lnTo>
                      <a:pt x="38" y="130"/>
                    </a:lnTo>
                    <a:lnTo>
                      <a:pt x="41" y="130"/>
                    </a:lnTo>
                    <a:lnTo>
                      <a:pt x="41" y="131"/>
                    </a:lnTo>
                    <a:lnTo>
                      <a:pt x="41" y="131"/>
                    </a:lnTo>
                    <a:lnTo>
                      <a:pt x="39" y="135"/>
                    </a:lnTo>
                    <a:lnTo>
                      <a:pt x="41" y="135"/>
                    </a:lnTo>
                    <a:lnTo>
                      <a:pt x="44" y="131"/>
                    </a:lnTo>
                    <a:lnTo>
                      <a:pt x="44" y="130"/>
                    </a:lnTo>
                    <a:lnTo>
                      <a:pt x="47" y="127"/>
                    </a:lnTo>
                    <a:lnTo>
                      <a:pt x="50" y="125"/>
                    </a:lnTo>
                    <a:lnTo>
                      <a:pt x="53" y="122"/>
                    </a:lnTo>
                    <a:lnTo>
                      <a:pt x="55" y="120"/>
                    </a:lnTo>
                    <a:lnTo>
                      <a:pt x="58" y="120"/>
                    </a:lnTo>
                    <a:lnTo>
                      <a:pt x="63" y="119"/>
                    </a:lnTo>
                    <a:lnTo>
                      <a:pt x="66" y="120"/>
                    </a:lnTo>
                    <a:lnTo>
                      <a:pt x="69" y="120"/>
                    </a:lnTo>
                    <a:lnTo>
                      <a:pt x="73" y="123"/>
                    </a:lnTo>
                    <a:lnTo>
                      <a:pt x="76" y="122"/>
                    </a:lnTo>
                    <a:lnTo>
                      <a:pt x="79" y="125"/>
                    </a:lnTo>
                    <a:lnTo>
                      <a:pt x="80" y="125"/>
                    </a:lnTo>
                    <a:lnTo>
                      <a:pt x="82" y="123"/>
                    </a:lnTo>
                    <a:lnTo>
                      <a:pt x="82" y="122"/>
                    </a:lnTo>
                    <a:lnTo>
                      <a:pt x="85" y="122"/>
                    </a:lnTo>
                    <a:lnTo>
                      <a:pt x="88" y="122"/>
                    </a:lnTo>
                    <a:lnTo>
                      <a:pt x="85" y="119"/>
                    </a:lnTo>
                    <a:lnTo>
                      <a:pt x="87" y="117"/>
                    </a:lnTo>
                    <a:lnTo>
                      <a:pt x="88" y="114"/>
                    </a:lnTo>
                    <a:lnTo>
                      <a:pt x="92" y="112"/>
                    </a:lnTo>
                    <a:lnTo>
                      <a:pt x="93" y="114"/>
                    </a:lnTo>
                    <a:lnTo>
                      <a:pt x="96" y="116"/>
                    </a:lnTo>
                    <a:lnTo>
                      <a:pt x="99" y="116"/>
                    </a:lnTo>
                    <a:lnTo>
                      <a:pt x="98" y="111"/>
                    </a:lnTo>
                    <a:lnTo>
                      <a:pt x="96" y="111"/>
                    </a:lnTo>
                    <a:lnTo>
                      <a:pt x="98" y="108"/>
                    </a:lnTo>
                    <a:lnTo>
                      <a:pt x="101" y="109"/>
                    </a:lnTo>
                    <a:lnTo>
                      <a:pt x="104" y="111"/>
                    </a:lnTo>
                    <a:lnTo>
                      <a:pt x="109" y="108"/>
                    </a:lnTo>
                    <a:lnTo>
                      <a:pt x="109" y="108"/>
                    </a:lnTo>
                    <a:lnTo>
                      <a:pt x="111" y="103"/>
                    </a:lnTo>
                    <a:lnTo>
                      <a:pt x="111" y="103"/>
                    </a:lnTo>
                    <a:lnTo>
                      <a:pt x="114" y="103"/>
                    </a:lnTo>
                    <a:lnTo>
                      <a:pt x="114" y="101"/>
                    </a:lnTo>
                    <a:lnTo>
                      <a:pt x="119" y="101"/>
                    </a:lnTo>
                    <a:lnTo>
                      <a:pt x="117" y="98"/>
                    </a:lnTo>
                    <a:lnTo>
                      <a:pt x="114" y="97"/>
                    </a:lnTo>
                    <a:lnTo>
                      <a:pt x="112" y="97"/>
                    </a:lnTo>
                    <a:lnTo>
                      <a:pt x="111" y="98"/>
                    </a:lnTo>
                    <a:lnTo>
                      <a:pt x="111" y="98"/>
                    </a:lnTo>
                    <a:lnTo>
                      <a:pt x="109" y="97"/>
                    </a:lnTo>
                    <a:lnTo>
                      <a:pt x="106" y="97"/>
                    </a:lnTo>
                    <a:lnTo>
                      <a:pt x="103" y="97"/>
                    </a:lnTo>
                    <a:lnTo>
                      <a:pt x="96" y="90"/>
                    </a:lnTo>
                    <a:lnTo>
                      <a:pt x="93" y="90"/>
                    </a:lnTo>
                    <a:lnTo>
                      <a:pt x="90" y="89"/>
                    </a:lnTo>
                    <a:lnTo>
                      <a:pt x="88" y="90"/>
                    </a:lnTo>
                    <a:lnTo>
                      <a:pt x="85" y="92"/>
                    </a:lnTo>
                    <a:lnTo>
                      <a:pt x="85" y="89"/>
                    </a:lnTo>
                    <a:lnTo>
                      <a:pt x="85" y="87"/>
                    </a:lnTo>
                    <a:lnTo>
                      <a:pt x="84" y="84"/>
                    </a:lnTo>
                    <a:lnTo>
                      <a:pt x="82" y="84"/>
                    </a:lnTo>
                    <a:lnTo>
                      <a:pt x="82" y="82"/>
                    </a:lnTo>
                    <a:lnTo>
                      <a:pt x="80" y="84"/>
                    </a:lnTo>
                    <a:lnTo>
                      <a:pt x="73" y="79"/>
                    </a:lnTo>
                    <a:lnTo>
                      <a:pt x="66" y="73"/>
                    </a:lnTo>
                    <a:lnTo>
                      <a:pt x="65" y="74"/>
                    </a:lnTo>
                    <a:lnTo>
                      <a:pt x="65" y="73"/>
                    </a:lnTo>
                    <a:lnTo>
                      <a:pt x="61" y="68"/>
                    </a:lnTo>
                    <a:lnTo>
                      <a:pt x="61" y="73"/>
                    </a:lnTo>
                    <a:lnTo>
                      <a:pt x="63" y="76"/>
                    </a:lnTo>
                    <a:lnTo>
                      <a:pt x="61" y="79"/>
                    </a:lnTo>
                    <a:lnTo>
                      <a:pt x="58" y="81"/>
                    </a:lnTo>
                    <a:lnTo>
                      <a:pt x="58" y="84"/>
                    </a:lnTo>
                    <a:lnTo>
                      <a:pt x="58" y="85"/>
                    </a:lnTo>
                    <a:lnTo>
                      <a:pt x="57" y="85"/>
                    </a:lnTo>
                    <a:lnTo>
                      <a:pt x="53" y="84"/>
                    </a:lnTo>
                    <a:lnTo>
                      <a:pt x="50" y="85"/>
                    </a:lnTo>
                    <a:lnTo>
                      <a:pt x="46" y="84"/>
                    </a:lnTo>
                    <a:lnTo>
                      <a:pt x="42" y="84"/>
                    </a:lnTo>
                    <a:lnTo>
                      <a:pt x="39" y="81"/>
                    </a:lnTo>
                    <a:lnTo>
                      <a:pt x="36" y="79"/>
                    </a:lnTo>
                    <a:lnTo>
                      <a:pt x="34" y="76"/>
                    </a:lnTo>
                    <a:lnTo>
                      <a:pt x="31" y="73"/>
                    </a:lnTo>
                    <a:lnTo>
                      <a:pt x="28" y="73"/>
                    </a:lnTo>
                    <a:lnTo>
                      <a:pt x="25" y="74"/>
                    </a:lnTo>
                    <a:lnTo>
                      <a:pt x="20" y="71"/>
                    </a:lnTo>
                    <a:lnTo>
                      <a:pt x="17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5" y="66"/>
                    </a:lnTo>
                    <a:lnTo>
                      <a:pt x="19" y="63"/>
                    </a:lnTo>
                    <a:lnTo>
                      <a:pt x="22" y="60"/>
                    </a:lnTo>
                    <a:lnTo>
                      <a:pt x="23" y="57"/>
                    </a:lnTo>
                    <a:lnTo>
                      <a:pt x="28" y="54"/>
                    </a:lnTo>
                    <a:lnTo>
                      <a:pt x="31" y="52"/>
                    </a:lnTo>
                    <a:lnTo>
                      <a:pt x="31" y="49"/>
                    </a:lnTo>
                    <a:lnTo>
                      <a:pt x="34" y="49"/>
                    </a:lnTo>
                    <a:lnTo>
                      <a:pt x="39" y="46"/>
                    </a:lnTo>
                    <a:lnTo>
                      <a:pt x="42" y="43"/>
                    </a:lnTo>
                    <a:lnTo>
                      <a:pt x="39" y="41"/>
                    </a:lnTo>
                    <a:lnTo>
                      <a:pt x="34" y="39"/>
                    </a:lnTo>
                    <a:lnTo>
                      <a:pt x="31" y="41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6"/>
                    </a:lnTo>
                    <a:lnTo>
                      <a:pt x="30" y="33"/>
                    </a:lnTo>
                    <a:lnTo>
                      <a:pt x="31" y="30"/>
                    </a:lnTo>
                    <a:lnTo>
                      <a:pt x="31" y="27"/>
                    </a:lnTo>
                    <a:lnTo>
                      <a:pt x="33" y="24"/>
                    </a:lnTo>
                    <a:lnTo>
                      <a:pt x="33" y="24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9" y="20"/>
                    </a:lnTo>
                    <a:lnTo>
                      <a:pt x="42" y="19"/>
                    </a:lnTo>
                    <a:lnTo>
                      <a:pt x="46" y="20"/>
                    </a:lnTo>
                    <a:lnTo>
                      <a:pt x="49" y="17"/>
                    </a:lnTo>
                    <a:lnTo>
                      <a:pt x="52" y="17"/>
                    </a:lnTo>
                    <a:lnTo>
                      <a:pt x="57" y="17"/>
                    </a:lnTo>
                    <a:lnTo>
                      <a:pt x="60" y="19"/>
                    </a:lnTo>
                    <a:lnTo>
                      <a:pt x="66" y="19"/>
                    </a:lnTo>
                    <a:lnTo>
                      <a:pt x="77" y="24"/>
                    </a:lnTo>
                    <a:lnTo>
                      <a:pt x="87" y="25"/>
                    </a:lnTo>
                    <a:lnTo>
                      <a:pt x="95" y="28"/>
                    </a:lnTo>
                    <a:lnTo>
                      <a:pt x="99" y="28"/>
                    </a:lnTo>
                    <a:lnTo>
                      <a:pt x="103" y="30"/>
                    </a:lnTo>
                    <a:lnTo>
                      <a:pt x="106" y="30"/>
                    </a:lnTo>
                    <a:lnTo>
                      <a:pt x="109" y="33"/>
                    </a:lnTo>
                    <a:lnTo>
                      <a:pt x="114" y="33"/>
                    </a:lnTo>
                    <a:lnTo>
                      <a:pt x="114" y="33"/>
                    </a:lnTo>
                    <a:lnTo>
                      <a:pt x="109" y="28"/>
                    </a:lnTo>
                    <a:lnTo>
                      <a:pt x="107" y="25"/>
                    </a:lnTo>
                    <a:lnTo>
                      <a:pt x="107" y="22"/>
                    </a:lnTo>
                    <a:lnTo>
                      <a:pt x="109" y="19"/>
                    </a:lnTo>
                    <a:lnTo>
                      <a:pt x="109" y="17"/>
                    </a:lnTo>
                    <a:lnTo>
                      <a:pt x="109" y="16"/>
                    </a:lnTo>
                    <a:lnTo>
                      <a:pt x="107" y="12"/>
                    </a:lnTo>
                    <a:lnTo>
                      <a:pt x="107" y="9"/>
                    </a:lnTo>
                    <a:lnTo>
                      <a:pt x="109" y="8"/>
                    </a:lnTo>
                    <a:lnTo>
                      <a:pt x="112" y="6"/>
                    </a:lnTo>
                    <a:lnTo>
                      <a:pt x="117" y="5"/>
                    </a:lnTo>
                    <a:lnTo>
                      <a:pt x="119" y="5"/>
                    </a:lnTo>
                    <a:lnTo>
                      <a:pt x="122" y="3"/>
                    </a:lnTo>
                    <a:lnTo>
                      <a:pt x="125" y="3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34" y="3"/>
                    </a:lnTo>
                    <a:lnTo>
                      <a:pt x="138" y="5"/>
                    </a:lnTo>
                    <a:lnTo>
                      <a:pt x="141" y="6"/>
                    </a:lnTo>
                    <a:lnTo>
                      <a:pt x="144" y="9"/>
                    </a:lnTo>
                    <a:lnTo>
                      <a:pt x="145" y="9"/>
                    </a:lnTo>
                    <a:lnTo>
                      <a:pt x="149" y="11"/>
                    </a:lnTo>
                    <a:lnTo>
                      <a:pt x="152" y="11"/>
                    </a:lnTo>
                    <a:lnTo>
                      <a:pt x="155" y="12"/>
                    </a:lnTo>
                    <a:lnTo>
                      <a:pt x="158" y="14"/>
                    </a:lnTo>
                    <a:lnTo>
                      <a:pt x="161" y="16"/>
                    </a:lnTo>
                    <a:lnTo>
                      <a:pt x="166" y="16"/>
                    </a:lnTo>
                    <a:lnTo>
                      <a:pt x="172" y="17"/>
                    </a:lnTo>
                    <a:lnTo>
                      <a:pt x="176" y="17"/>
                    </a:lnTo>
                    <a:lnTo>
                      <a:pt x="179" y="19"/>
                    </a:lnTo>
                    <a:lnTo>
                      <a:pt x="182" y="16"/>
                    </a:lnTo>
                    <a:lnTo>
                      <a:pt x="182" y="12"/>
                    </a:lnTo>
                    <a:lnTo>
                      <a:pt x="193" y="12"/>
                    </a:lnTo>
                    <a:lnTo>
                      <a:pt x="204" y="14"/>
                    </a:lnTo>
                    <a:lnTo>
                      <a:pt x="211" y="12"/>
                    </a:lnTo>
                    <a:lnTo>
                      <a:pt x="217" y="11"/>
                    </a:lnTo>
                    <a:lnTo>
                      <a:pt x="223" y="11"/>
                    </a:lnTo>
                    <a:lnTo>
                      <a:pt x="228" y="14"/>
                    </a:lnTo>
                    <a:lnTo>
                      <a:pt x="228" y="14"/>
                    </a:lnTo>
                    <a:lnTo>
                      <a:pt x="233" y="14"/>
                    </a:lnTo>
                    <a:lnTo>
                      <a:pt x="236" y="12"/>
                    </a:lnTo>
                    <a:lnTo>
                      <a:pt x="239" y="14"/>
                    </a:lnTo>
                    <a:lnTo>
                      <a:pt x="242" y="14"/>
                    </a:lnTo>
                    <a:lnTo>
                      <a:pt x="252" y="14"/>
                    </a:lnTo>
                    <a:lnTo>
                      <a:pt x="261" y="16"/>
                    </a:lnTo>
                    <a:lnTo>
                      <a:pt x="266" y="16"/>
                    </a:lnTo>
                    <a:lnTo>
                      <a:pt x="269" y="16"/>
                    </a:lnTo>
                    <a:lnTo>
                      <a:pt x="272" y="16"/>
                    </a:lnTo>
                    <a:lnTo>
                      <a:pt x="277" y="17"/>
                    </a:lnTo>
                    <a:lnTo>
                      <a:pt x="282" y="17"/>
                    </a:lnTo>
                    <a:lnTo>
                      <a:pt x="285" y="19"/>
                    </a:lnTo>
                    <a:lnTo>
                      <a:pt x="288" y="19"/>
                    </a:lnTo>
                    <a:lnTo>
                      <a:pt x="291" y="19"/>
                    </a:lnTo>
                    <a:lnTo>
                      <a:pt x="293" y="19"/>
                    </a:lnTo>
                    <a:lnTo>
                      <a:pt x="296" y="20"/>
                    </a:lnTo>
                    <a:lnTo>
                      <a:pt x="298" y="24"/>
                    </a:lnTo>
                    <a:lnTo>
                      <a:pt x="302" y="25"/>
                    </a:lnTo>
                    <a:lnTo>
                      <a:pt x="306" y="30"/>
                    </a:lnTo>
                    <a:lnTo>
                      <a:pt x="309" y="32"/>
                    </a:lnTo>
                    <a:lnTo>
                      <a:pt x="312" y="32"/>
                    </a:lnTo>
                    <a:lnTo>
                      <a:pt x="315" y="32"/>
                    </a:lnTo>
                    <a:lnTo>
                      <a:pt x="320" y="33"/>
                    </a:lnTo>
                    <a:lnTo>
                      <a:pt x="323" y="33"/>
                    </a:lnTo>
                    <a:lnTo>
                      <a:pt x="326" y="35"/>
                    </a:lnTo>
                    <a:lnTo>
                      <a:pt x="329" y="38"/>
                    </a:lnTo>
                    <a:lnTo>
                      <a:pt x="334" y="41"/>
                    </a:lnTo>
                    <a:lnTo>
                      <a:pt x="337" y="43"/>
                    </a:lnTo>
                    <a:lnTo>
                      <a:pt x="339" y="46"/>
                    </a:lnTo>
                    <a:lnTo>
                      <a:pt x="339" y="49"/>
                    </a:lnTo>
                    <a:lnTo>
                      <a:pt x="334" y="49"/>
                    </a:lnTo>
                    <a:lnTo>
                      <a:pt x="331" y="49"/>
                    </a:lnTo>
                    <a:lnTo>
                      <a:pt x="329" y="49"/>
                    </a:lnTo>
                    <a:lnTo>
                      <a:pt x="326" y="52"/>
                    </a:lnTo>
                    <a:lnTo>
                      <a:pt x="323" y="55"/>
                    </a:lnTo>
                    <a:lnTo>
                      <a:pt x="320" y="57"/>
                    </a:lnTo>
                    <a:lnTo>
                      <a:pt x="317" y="58"/>
                    </a:lnTo>
                    <a:lnTo>
                      <a:pt x="314" y="60"/>
                    </a:lnTo>
                    <a:lnTo>
                      <a:pt x="310" y="60"/>
                    </a:lnTo>
                    <a:lnTo>
                      <a:pt x="306" y="63"/>
                    </a:lnTo>
                    <a:lnTo>
                      <a:pt x="302" y="65"/>
                    </a:lnTo>
                    <a:lnTo>
                      <a:pt x="299" y="66"/>
                    </a:lnTo>
                    <a:lnTo>
                      <a:pt x="296" y="68"/>
                    </a:lnTo>
                    <a:lnTo>
                      <a:pt x="293" y="73"/>
                    </a:lnTo>
                    <a:lnTo>
                      <a:pt x="288" y="73"/>
                    </a:lnTo>
                    <a:lnTo>
                      <a:pt x="285" y="77"/>
                    </a:lnTo>
                    <a:lnTo>
                      <a:pt x="287" y="81"/>
                    </a:lnTo>
                    <a:lnTo>
                      <a:pt x="285" y="81"/>
                    </a:lnTo>
                    <a:lnTo>
                      <a:pt x="283" y="84"/>
                    </a:lnTo>
                    <a:lnTo>
                      <a:pt x="283" y="85"/>
                    </a:lnTo>
                    <a:lnTo>
                      <a:pt x="280" y="89"/>
                    </a:lnTo>
                    <a:lnTo>
                      <a:pt x="269" y="90"/>
                    </a:lnTo>
                    <a:lnTo>
                      <a:pt x="260" y="92"/>
                    </a:lnTo>
                    <a:lnTo>
                      <a:pt x="256" y="90"/>
                    </a:lnTo>
                    <a:lnTo>
                      <a:pt x="253" y="90"/>
                    </a:lnTo>
                    <a:lnTo>
                      <a:pt x="249" y="90"/>
                    </a:lnTo>
                    <a:lnTo>
                      <a:pt x="245" y="89"/>
                    </a:lnTo>
                    <a:lnTo>
                      <a:pt x="242" y="90"/>
                    </a:lnTo>
                    <a:lnTo>
                      <a:pt x="239" y="93"/>
                    </a:lnTo>
                    <a:lnTo>
                      <a:pt x="239" y="97"/>
                    </a:lnTo>
                    <a:lnTo>
                      <a:pt x="239" y="97"/>
                    </a:lnTo>
                    <a:lnTo>
                      <a:pt x="237" y="98"/>
                    </a:lnTo>
                    <a:lnTo>
                      <a:pt x="236" y="101"/>
                    </a:lnTo>
                    <a:lnTo>
                      <a:pt x="236" y="106"/>
                    </a:lnTo>
                    <a:lnTo>
                      <a:pt x="236" y="109"/>
                    </a:lnTo>
                    <a:lnTo>
                      <a:pt x="234" y="112"/>
                    </a:lnTo>
                    <a:lnTo>
                      <a:pt x="233" y="116"/>
                    </a:lnTo>
                    <a:lnTo>
                      <a:pt x="230" y="117"/>
                    </a:lnTo>
                    <a:lnTo>
                      <a:pt x="226" y="116"/>
                    </a:lnTo>
                    <a:lnTo>
                      <a:pt x="218" y="117"/>
                    </a:lnTo>
                    <a:lnTo>
                      <a:pt x="215" y="119"/>
                    </a:lnTo>
                    <a:lnTo>
                      <a:pt x="212" y="119"/>
                    </a:lnTo>
                    <a:lnTo>
                      <a:pt x="209" y="117"/>
                    </a:lnTo>
                    <a:lnTo>
                      <a:pt x="207" y="114"/>
                    </a:lnTo>
                    <a:lnTo>
                      <a:pt x="206" y="111"/>
                    </a:lnTo>
                    <a:lnTo>
                      <a:pt x="204" y="108"/>
                    </a:lnTo>
                    <a:lnTo>
                      <a:pt x="201" y="106"/>
                    </a:lnTo>
                    <a:lnTo>
                      <a:pt x="196" y="109"/>
                    </a:lnTo>
                    <a:lnTo>
                      <a:pt x="195" y="111"/>
                    </a:lnTo>
                    <a:lnTo>
                      <a:pt x="191" y="114"/>
                    </a:lnTo>
                    <a:lnTo>
                      <a:pt x="188" y="112"/>
                    </a:lnTo>
                    <a:lnTo>
                      <a:pt x="185" y="112"/>
                    </a:lnTo>
                    <a:lnTo>
                      <a:pt x="182" y="112"/>
                    </a:lnTo>
                    <a:lnTo>
                      <a:pt x="179" y="111"/>
                    </a:lnTo>
                    <a:lnTo>
                      <a:pt x="179" y="116"/>
                    </a:lnTo>
                    <a:lnTo>
                      <a:pt x="179" y="119"/>
                    </a:lnTo>
                    <a:lnTo>
                      <a:pt x="176" y="119"/>
                    </a:lnTo>
                    <a:lnTo>
                      <a:pt x="172" y="122"/>
                    </a:lnTo>
                    <a:lnTo>
                      <a:pt x="169" y="125"/>
                    </a:lnTo>
                    <a:lnTo>
                      <a:pt x="166" y="128"/>
                    </a:lnTo>
                    <a:lnTo>
                      <a:pt x="163" y="127"/>
                    </a:lnTo>
                    <a:lnTo>
                      <a:pt x="160" y="128"/>
                    </a:lnTo>
                    <a:lnTo>
                      <a:pt x="155" y="131"/>
                    </a:lnTo>
                    <a:lnTo>
                      <a:pt x="155" y="133"/>
                    </a:lnTo>
                    <a:lnTo>
                      <a:pt x="155" y="136"/>
                    </a:lnTo>
                    <a:lnTo>
                      <a:pt x="153" y="139"/>
                    </a:lnTo>
                    <a:lnTo>
                      <a:pt x="157" y="143"/>
                    </a:lnTo>
                    <a:lnTo>
                      <a:pt x="158" y="147"/>
                    </a:lnTo>
                    <a:lnTo>
                      <a:pt x="160" y="149"/>
                    </a:lnTo>
                    <a:lnTo>
                      <a:pt x="157" y="152"/>
                    </a:lnTo>
                    <a:lnTo>
                      <a:pt x="153" y="154"/>
                    </a:lnTo>
                    <a:lnTo>
                      <a:pt x="150" y="154"/>
                    </a:lnTo>
                    <a:lnTo>
                      <a:pt x="150" y="154"/>
                    </a:lnTo>
                    <a:lnTo>
                      <a:pt x="142" y="155"/>
                    </a:lnTo>
                    <a:lnTo>
                      <a:pt x="136" y="158"/>
                    </a:lnTo>
                    <a:lnTo>
                      <a:pt x="133" y="157"/>
                    </a:lnTo>
                    <a:lnTo>
                      <a:pt x="128" y="158"/>
                    </a:lnTo>
                    <a:lnTo>
                      <a:pt x="125" y="158"/>
                    </a:lnTo>
                    <a:lnTo>
                      <a:pt x="122" y="157"/>
                    </a:lnTo>
                    <a:lnTo>
                      <a:pt x="119" y="157"/>
                    </a:lnTo>
                    <a:lnTo>
                      <a:pt x="115" y="157"/>
                    </a:lnTo>
                    <a:lnTo>
                      <a:pt x="111" y="158"/>
                    </a:lnTo>
                    <a:lnTo>
                      <a:pt x="107" y="162"/>
                    </a:lnTo>
                    <a:lnTo>
                      <a:pt x="106" y="165"/>
                    </a:lnTo>
                    <a:lnTo>
                      <a:pt x="104" y="162"/>
                    </a:lnTo>
                    <a:lnTo>
                      <a:pt x="99" y="160"/>
                    </a:lnTo>
                    <a:lnTo>
                      <a:pt x="96" y="158"/>
                    </a:lnTo>
                    <a:lnTo>
                      <a:pt x="93" y="160"/>
                    </a:lnTo>
                    <a:lnTo>
                      <a:pt x="90" y="162"/>
                    </a:lnTo>
                    <a:lnTo>
                      <a:pt x="87" y="158"/>
                    </a:lnTo>
                    <a:lnTo>
                      <a:pt x="87" y="154"/>
                    </a:lnTo>
                    <a:lnTo>
                      <a:pt x="85" y="154"/>
                    </a:lnTo>
                    <a:lnTo>
                      <a:pt x="82" y="154"/>
                    </a:lnTo>
                    <a:lnTo>
                      <a:pt x="79" y="152"/>
                    </a:lnTo>
                    <a:lnTo>
                      <a:pt x="77" y="149"/>
                    </a:lnTo>
                    <a:lnTo>
                      <a:pt x="74" y="147"/>
                    </a:lnTo>
                    <a:lnTo>
                      <a:pt x="71" y="150"/>
                    </a:lnTo>
                    <a:lnTo>
                      <a:pt x="68" y="150"/>
                    </a:lnTo>
                    <a:lnTo>
                      <a:pt x="65" y="152"/>
                    </a:lnTo>
                    <a:lnTo>
                      <a:pt x="63" y="155"/>
                    </a:lnTo>
                    <a:lnTo>
                      <a:pt x="60" y="155"/>
                    </a:lnTo>
                    <a:lnTo>
                      <a:pt x="57" y="157"/>
                    </a:lnTo>
                    <a:lnTo>
                      <a:pt x="53" y="155"/>
                    </a:lnTo>
                    <a:lnTo>
                      <a:pt x="50" y="152"/>
                    </a:lnTo>
                    <a:lnTo>
                      <a:pt x="49" y="150"/>
                    </a:lnTo>
                    <a:lnTo>
                      <a:pt x="46" y="149"/>
                    </a:lnTo>
                    <a:lnTo>
                      <a:pt x="42" y="147"/>
                    </a:lnTo>
                    <a:lnTo>
                      <a:pt x="39" y="149"/>
                    </a:lnTo>
                    <a:lnTo>
                      <a:pt x="34" y="150"/>
                    </a:lnTo>
                    <a:lnTo>
                      <a:pt x="34" y="147"/>
                    </a:lnTo>
                    <a:lnTo>
                      <a:pt x="31" y="149"/>
                    </a:lnTo>
                    <a:lnTo>
                      <a:pt x="28" y="150"/>
                    </a:lnTo>
                    <a:lnTo>
                      <a:pt x="25" y="149"/>
                    </a:lnTo>
                    <a:lnTo>
                      <a:pt x="22" y="150"/>
                    </a:lnTo>
                    <a:lnTo>
                      <a:pt x="19" y="149"/>
                    </a:lnTo>
                    <a:lnTo>
                      <a:pt x="15" y="149"/>
                    </a:lnTo>
                    <a:lnTo>
                      <a:pt x="11" y="150"/>
                    </a:lnTo>
                    <a:lnTo>
                      <a:pt x="4" y="150"/>
                    </a:lnTo>
                    <a:lnTo>
                      <a:pt x="4" y="147"/>
                    </a:lnTo>
                    <a:lnTo>
                      <a:pt x="3" y="144"/>
                    </a:lnTo>
                    <a:lnTo>
                      <a:pt x="1" y="139"/>
                    </a:lnTo>
                    <a:lnTo>
                      <a:pt x="0" y="136"/>
                    </a:lnTo>
                    <a:lnTo>
                      <a:pt x="3" y="133"/>
                    </a:lnTo>
                    <a:lnTo>
                      <a:pt x="6" y="135"/>
                    </a:lnTo>
                    <a:lnTo>
                      <a:pt x="6" y="131"/>
                    </a:lnTo>
                    <a:lnTo>
                      <a:pt x="6" y="12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37" name="Freeform 396"/>
              <p:cNvSpPr>
                <a:spLocks/>
              </p:cNvSpPr>
              <p:nvPr/>
            </p:nvSpPr>
            <p:spPr bwMode="auto">
              <a:xfrm>
                <a:off x="5886957" y="2643833"/>
                <a:ext cx="217771" cy="132891"/>
              </a:xfrm>
              <a:custGeom>
                <a:avLst/>
                <a:gdLst>
                  <a:gd name="T0" fmla="*/ 4 w 280"/>
                  <a:gd name="T1" fmla="*/ 62 h 178"/>
                  <a:gd name="T2" fmla="*/ 26 w 280"/>
                  <a:gd name="T3" fmla="*/ 60 h 178"/>
                  <a:gd name="T4" fmla="*/ 37 w 280"/>
                  <a:gd name="T5" fmla="*/ 48 h 178"/>
                  <a:gd name="T6" fmla="*/ 40 w 280"/>
                  <a:gd name="T7" fmla="*/ 38 h 178"/>
                  <a:gd name="T8" fmla="*/ 34 w 280"/>
                  <a:gd name="T9" fmla="*/ 37 h 178"/>
                  <a:gd name="T10" fmla="*/ 43 w 280"/>
                  <a:gd name="T11" fmla="*/ 32 h 178"/>
                  <a:gd name="T12" fmla="*/ 54 w 280"/>
                  <a:gd name="T13" fmla="*/ 33 h 178"/>
                  <a:gd name="T14" fmla="*/ 56 w 280"/>
                  <a:gd name="T15" fmla="*/ 30 h 178"/>
                  <a:gd name="T16" fmla="*/ 51 w 280"/>
                  <a:gd name="T17" fmla="*/ 11 h 178"/>
                  <a:gd name="T18" fmla="*/ 70 w 280"/>
                  <a:gd name="T19" fmla="*/ 13 h 178"/>
                  <a:gd name="T20" fmla="*/ 83 w 280"/>
                  <a:gd name="T21" fmla="*/ 3 h 178"/>
                  <a:gd name="T22" fmla="*/ 100 w 280"/>
                  <a:gd name="T23" fmla="*/ 13 h 178"/>
                  <a:gd name="T24" fmla="*/ 89 w 280"/>
                  <a:gd name="T25" fmla="*/ 27 h 178"/>
                  <a:gd name="T26" fmla="*/ 108 w 280"/>
                  <a:gd name="T27" fmla="*/ 32 h 178"/>
                  <a:gd name="T28" fmla="*/ 99 w 280"/>
                  <a:gd name="T29" fmla="*/ 45 h 178"/>
                  <a:gd name="T30" fmla="*/ 92 w 280"/>
                  <a:gd name="T31" fmla="*/ 38 h 178"/>
                  <a:gd name="T32" fmla="*/ 78 w 280"/>
                  <a:gd name="T33" fmla="*/ 33 h 178"/>
                  <a:gd name="T34" fmla="*/ 64 w 280"/>
                  <a:gd name="T35" fmla="*/ 45 h 178"/>
                  <a:gd name="T36" fmla="*/ 62 w 280"/>
                  <a:gd name="T37" fmla="*/ 60 h 178"/>
                  <a:gd name="T38" fmla="*/ 86 w 280"/>
                  <a:gd name="T39" fmla="*/ 60 h 178"/>
                  <a:gd name="T40" fmla="*/ 104 w 280"/>
                  <a:gd name="T41" fmla="*/ 59 h 178"/>
                  <a:gd name="T42" fmla="*/ 121 w 280"/>
                  <a:gd name="T43" fmla="*/ 65 h 178"/>
                  <a:gd name="T44" fmla="*/ 137 w 280"/>
                  <a:gd name="T45" fmla="*/ 62 h 178"/>
                  <a:gd name="T46" fmla="*/ 151 w 280"/>
                  <a:gd name="T47" fmla="*/ 70 h 178"/>
                  <a:gd name="T48" fmla="*/ 169 w 280"/>
                  <a:gd name="T49" fmla="*/ 68 h 178"/>
                  <a:gd name="T50" fmla="*/ 197 w 280"/>
                  <a:gd name="T51" fmla="*/ 67 h 178"/>
                  <a:gd name="T52" fmla="*/ 210 w 280"/>
                  <a:gd name="T53" fmla="*/ 72 h 178"/>
                  <a:gd name="T54" fmla="*/ 218 w 280"/>
                  <a:gd name="T55" fmla="*/ 89 h 178"/>
                  <a:gd name="T56" fmla="*/ 230 w 280"/>
                  <a:gd name="T57" fmla="*/ 98 h 178"/>
                  <a:gd name="T58" fmla="*/ 251 w 280"/>
                  <a:gd name="T59" fmla="*/ 100 h 178"/>
                  <a:gd name="T60" fmla="*/ 261 w 280"/>
                  <a:gd name="T61" fmla="*/ 118 h 178"/>
                  <a:gd name="T62" fmla="*/ 270 w 280"/>
                  <a:gd name="T63" fmla="*/ 135 h 178"/>
                  <a:gd name="T64" fmla="*/ 276 w 280"/>
                  <a:gd name="T65" fmla="*/ 151 h 178"/>
                  <a:gd name="T66" fmla="*/ 259 w 280"/>
                  <a:gd name="T67" fmla="*/ 148 h 178"/>
                  <a:gd name="T68" fmla="*/ 235 w 280"/>
                  <a:gd name="T69" fmla="*/ 154 h 178"/>
                  <a:gd name="T70" fmla="*/ 226 w 280"/>
                  <a:gd name="T71" fmla="*/ 146 h 178"/>
                  <a:gd name="T72" fmla="*/ 207 w 280"/>
                  <a:gd name="T73" fmla="*/ 152 h 178"/>
                  <a:gd name="T74" fmla="*/ 186 w 280"/>
                  <a:gd name="T75" fmla="*/ 165 h 178"/>
                  <a:gd name="T76" fmla="*/ 167 w 280"/>
                  <a:gd name="T77" fmla="*/ 176 h 178"/>
                  <a:gd name="T78" fmla="*/ 154 w 280"/>
                  <a:gd name="T79" fmla="*/ 133 h 178"/>
                  <a:gd name="T80" fmla="*/ 143 w 280"/>
                  <a:gd name="T81" fmla="*/ 122 h 178"/>
                  <a:gd name="T82" fmla="*/ 129 w 280"/>
                  <a:gd name="T83" fmla="*/ 105 h 178"/>
                  <a:gd name="T84" fmla="*/ 113 w 280"/>
                  <a:gd name="T85" fmla="*/ 121 h 178"/>
                  <a:gd name="T86" fmla="*/ 113 w 280"/>
                  <a:gd name="T87" fmla="*/ 138 h 178"/>
                  <a:gd name="T88" fmla="*/ 97 w 280"/>
                  <a:gd name="T89" fmla="*/ 140 h 178"/>
                  <a:gd name="T90" fmla="*/ 88 w 280"/>
                  <a:gd name="T91" fmla="*/ 152 h 178"/>
                  <a:gd name="T92" fmla="*/ 80 w 280"/>
                  <a:gd name="T93" fmla="*/ 157 h 178"/>
                  <a:gd name="T94" fmla="*/ 61 w 280"/>
                  <a:gd name="T95" fmla="*/ 156 h 178"/>
                  <a:gd name="T96" fmla="*/ 48 w 280"/>
                  <a:gd name="T97" fmla="*/ 164 h 178"/>
                  <a:gd name="T98" fmla="*/ 34 w 280"/>
                  <a:gd name="T99" fmla="*/ 160 h 178"/>
                  <a:gd name="T100" fmla="*/ 32 w 280"/>
                  <a:gd name="T101" fmla="*/ 146 h 178"/>
                  <a:gd name="T102" fmla="*/ 42 w 280"/>
                  <a:gd name="T103" fmla="*/ 125 h 178"/>
                  <a:gd name="T104" fmla="*/ 34 w 280"/>
                  <a:gd name="T105" fmla="*/ 106 h 178"/>
                  <a:gd name="T106" fmla="*/ 32 w 280"/>
                  <a:gd name="T107" fmla="*/ 91 h 178"/>
                  <a:gd name="T108" fmla="*/ 18 w 280"/>
                  <a:gd name="T109" fmla="*/ 83 h 178"/>
                  <a:gd name="T110" fmla="*/ 0 w 280"/>
                  <a:gd name="T111" fmla="*/ 72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80" h="178">
                    <a:moveTo>
                      <a:pt x="0" y="72"/>
                    </a:moveTo>
                    <a:lnTo>
                      <a:pt x="2" y="67"/>
                    </a:lnTo>
                    <a:lnTo>
                      <a:pt x="0" y="64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59"/>
                    </a:lnTo>
                    <a:lnTo>
                      <a:pt x="8" y="57"/>
                    </a:lnTo>
                    <a:lnTo>
                      <a:pt x="12" y="57"/>
                    </a:lnTo>
                    <a:lnTo>
                      <a:pt x="18" y="59"/>
                    </a:lnTo>
                    <a:lnTo>
                      <a:pt x="23" y="59"/>
                    </a:lnTo>
                    <a:lnTo>
                      <a:pt x="26" y="60"/>
                    </a:lnTo>
                    <a:lnTo>
                      <a:pt x="29" y="60"/>
                    </a:lnTo>
                    <a:lnTo>
                      <a:pt x="32" y="60"/>
                    </a:lnTo>
                    <a:lnTo>
                      <a:pt x="37" y="59"/>
                    </a:lnTo>
                    <a:lnTo>
                      <a:pt x="39" y="56"/>
                    </a:lnTo>
                    <a:lnTo>
                      <a:pt x="37" y="51"/>
                    </a:lnTo>
                    <a:lnTo>
                      <a:pt x="37" y="48"/>
                    </a:lnTo>
                    <a:lnTo>
                      <a:pt x="40" y="48"/>
                    </a:lnTo>
                    <a:lnTo>
                      <a:pt x="43" y="46"/>
                    </a:lnTo>
                    <a:lnTo>
                      <a:pt x="42" y="43"/>
                    </a:lnTo>
                    <a:lnTo>
                      <a:pt x="45" y="45"/>
                    </a:lnTo>
                    <a:lnTo>
                      <a:pt x="42" y="41"/>
                    </a:lnTo>
                    <a:lnTo>
                      <a:pt x="40" y="38"/>
                    </a:lnTo>
                    <a:lnTo>
                      <a:pt x="43" y="38"/>
                    </a:lnTo>
                    <a:lnTo>
                      <a:pt x="45" y="38"/>
                    </a:lnTo>
                    <a:lnTo>
                      <a:pt x="42" y="35"/>
                    </a:lnTo>
                    <a:lnTo>
                      <a:pt x="42" y="37"/>
                    </a:lnTo>
                    <a:lnTo>
                      <a:pt x="37" y="37"/>
                    </a:lnTo>
                    <a:lnTo>
                      <a:pt x="34" y="37"/>
                    </a:lnTo>
                    <a:lnTo>
                      <a:pt x="34" y="35"/>
                    </a:lnTo>
                    <a:lnTo>
                      <a:pt x="34" y="35"/>
                    </a:lnTo>
                    <a:lnTo>
                      <a:pt x="37" y="33"/>
                    </a:lnTo>
                    <a:lnTo>
                      <a:pt x="39" y="33"/>
                    </a:lnTo>
                    <a:lnTo>
                      <a:pt x="40" y="33"/>
                    </a:lnTo>
                    <a:lnTo>
                      <a:pt x="43" y="32"/>
                    </a:lnTo>
                    <a:lnTo>
                      <a:pt x="46" y="32"/>
                    </a:lnTo>
                    <a:lnTo>
                      <a:pt x="46" y="32"/>
                    </a:lnTo>
                    <a:lnTo>
                      <a:pt x="48" y="32"/>
                    </a:lnTo>
                    <a:lnTo>
                      <a:pt x="51" y="33"/>
                    </a:lnTo>
                    <a:lnTo>
                      <a:pt x="54" y="33"/>
                    </a:lnTo>
                    <a:lnTo>
                      <a:pt x="54" y="33"/>
                    </a:lnTo>
                    <a:lnTo>
                      <a:pt x="54" y="33"/>
                    </a:lnTo>
                    <a:lnTo>
                      <a:pt x="56" y="33"/>
                    </a:lnTo>
                    <a:lnTo>
                      <a:pt x="54" y="32"/>
                    </a:lnTo>
                    <a:lnTo>
                      <a:pt x="54" y="32"/>
                    </a:lnTo>
                    <a:lnTo>
                      <a:pt x="54" y="30"/>
                    </a:lnTo>
                    <a:lnTo>
                      <a:pt x="56" y="30"/>
                    </a:lnTo>
                    <a:lnTo>
                      <a:pt x="54" y="26"/>
                    </a:lnTo>
                    <a:lnTo>
                      <a:pt x="53" y="24"/>
                    </a:lnTo>
                    <a:lnTo>
                      <a:pt x="51" y="21"/>
                    </a:lnTo>
                    <a:lnTo>
                      <a:pt x="50" y="18"/>
                    </a:lnTo>
                    <a:lnTo>
                      <a:pt x="51" y="14"/>
                    </a:lnTo>
                    <a:lnTo>
                      <a:pt x="51" y="11"/>
                    </a:lnTo>
                    <a:lnTo>
                      <a:pt x="54" y="8"/>
                    </a:lnTo>
                    <a:lnTo>
                      <a:pt x="59" y="11"/>
                    </a:lnTo>
                    <a:lnTo>
                      <a:pt x="59" y="11"/>
                    </a:lnTo>
                    <a:lnTo>
                      <a:pt x="62" y="14"/>
                    </a:lnTo>
                    <a:lnTo>
                      <a:pt x="65" y="16"/>
                    </a:lnTo>
                    <a:lnTo>
                      <a:pt x="70" y="13"/>
                    </a:lnTo>
                    <a:lnTo>
                      <a:pt x="73" y="11"/>
                    </a:lnTo>
                    <a:lnTo>
                      <a:pt x="73" y="11"/>
                    </a:lnTo>
                    <a:lnTo>
                      <a:pt x="73" y="11"/>
                    </a:lnTo>
                    <a:lnTo>
                      <a:pt x="78" y="8"/>
                    </a:lnTo>
                    <a:lnTo>
                      <a:pt x="81" y="7"/>
                    </a:lnTo>
                    <a:lnTo>
                      <a:pt x="83" y="3"/>
                    </a:lnTo>
                    <a:lnTo>
                      <a:pt x="86" y="0"/>
                    </a:lnTo>
                    <a:lnTo>
                      <a:pt x="91" y="3"/>
                    </a:lnTo>
                    <a:lnTo>
                      <a:pt x="94" y="7"/>
                    </a:lnTo>
                    <a:lnTo>
                      <a:pt x="96" y="11"/>
                    </a:lnTo>
                    <a:lnTo>
                      <a:pt x="100" y="11"/>
                    </a:lnTo>
                    <a:lnTo>
                      <a:pt x="100" y="13"/>
                    </a:lnTo>
                    <a:lnTo>
                      <a:pt x="97" y="16"/>
                    </a:lnTo>
                    <a:lnTo>
                      <a:pt x="92" y="19"/>
                    </a:lnTo>
                    <a:lnTo>
                      <a:pt x="92" y="21"/>
                    </a:lnTo>
                    <a:lnTo>
                      <a:pt x="89" y="22"/>
                    </a:lnTo>
                    <a:lnTo>
                      <a:pt x="88" y="24"/>
                    </a:lnTo>
                    <a:lnTo>
                      <a:pt x="89" y="27"/>
                    </a:lnTo>
                    <a:lnTo>
                      <a:pt x="92" y="27"/>
                    </a:lnTo>
                    <a:lnTo>
                      <a:pt x="92" y="27"/>
                    </a:lnTo>
                    <a:lnTo>
                      <a:pt x="94" y="27"/>
                    </a:lnTo>
                    <a:lnTo>
                      <a:pt x="100" y="33"/>
                    </a:lnTo>
                    <a:lnTo>
                      <a:pt x="105" y="33"/>
                    </a:lnTo>
                    <a:lnTo>
                      <a:pt x="108" y="32"/>
                    </a:lnTo>
                    <a:lnTo>
                      <a:pt x="111" y="32"/>
                    </a:lnTo>
                    <a:lnTo>
                      <a:pt x="108" y="35"/>
                    </a:lnTo>
                    <a:lnTo>
                      <a:pt x="105" y="37"/>
                    </a:lnTo>
                    <a:lnTo>
                      <a:pt x="102" y="40"/>
                    </a:lnTo>
                    <a:lnTo>
                      <a:pt x="102" y="41"/>
                    </a:lnTo>
                    <a:lnTo>
                      <a:pt x="99" y="45"/>
                    </a:lnTo>
                    <a:lnTo>
                      <a:pt x="97" y="45"/>
                    </a:lnTo>
                    <a:lnTo>
                      <a:pt x="99" y="41"/>
                    </a:lnTo>
                    <a:lnTo>
                      <a:pt x="99" y="41"/>
                    </a:lnTo>
                    <a:lnTo>
                      <a:pt x="99" y="40"/>
                    </a:lnTo>
                    <a:lnTo>
                      <a:pt x="96" y="40"/>
                    </a:lnTo>
                    <a:lnTo>
                      <a:pt x="92" y="38"/>
                    </a:lnTo>
                    <a:lnTo>
                      <a:pt x="88" y="37"/>
                    </a:lnTo>
                    <a:lnTo>
                      <a:pt x="85" y="35"/>
                    </a:lnTo>
                    <a:lnTo>
                      <a:pt x="81" y="33"/>
                    </a:lnTo>
                    <a:lnTo>
                      <a:pt x="80" y="33"/>
                    </a:lnTo>
                    <a:lnTo>
                      <a:pt x="78" y="33"/>
                    </a:lnTo>
                    <a:lnTo>
                      <a:pt x="78" y="33"/>
                    </a:lnTo>
                    <a:lnTo>
                      <a:pt x="70" y="35"/>
                    </a:lnTo>
                    <a:lnTo>
                      <a:pt x="67" y="37"/>
                    </a:lnTo>
                    <a:lnTo>
                      <a:pt x="64" y="37"/>
                    </a:lnTo>
                    <a:lnTo>
                      <a:pt x="64" y="38"/>
                    </a:lnTo>
                    <a:lnTo>
                      <a:pt x="64" y="41"/>
                    </a:lnTo>
                    <a:lnTo>
                      <a:pt x="64" y="45"/>
                    </a:lnTo>
                    <a:lnTo>
                      <a:pt x="61" y="43"/>
                    </a:lnTo>
                    <a:lnTo>
                      <a:pt x="58" y="46"/>
                    </a:lnTo>
                    <a:lnTo>
                      <a:pt x="59" y="49"/>
                    </a:lnTo>
                    <a:lnTo>
                      <a:pt x="61" y="54"/>
                    </a:lnTo>
                    <a:lnTo>
                      <a:pt x="62" y="57"/>
                    </a:lnTo>
                    <a:lnTo>
                      <a:pt x="62" y="60"/>
                    </a:lnTo>
                    <a:lnTo>
                      <a:pt x="69" y="60"/>
                    </a:lnTo>
                    <a:lnTo>
                      <a:pt x="73" y="59"/>
                    </a:lnTo>
                    <a:lnTo>
                      <a:pt x="77" y="59"/>
                    </a:lnTo>
                    <a:lnTo>
                      <a:pt x="80" y="60"/>
                    </a:lnTo>
                    <a:lnTo>
                      <a:pt x="83" y="59"/>
                    </a:lnTo>
                    <a:lnTo>
                      <a:pt x="86" y="60"/>
                    </a:lnTo>
                    <a:lnTo>
                      <a:pt x="89" y="59"/>
                    </a:lnTo>
                    <a:lnTo>
                      <a:pt x="92" y="57"/>
                    </a:lnTo>
                    <a:lnTo>
                      <a:pt x="92" y="60"/>
                    </a:lnTo>
                    <a:lnTo>
                      <a:pt x="97" y="59"/>
                    </a:lnTo>
                    <a:lnTo>
                      <a:pt x="100" y="57"/>
                    </a:lnTo>
                    <a:lnTo>
                      <a:pt x="104" y="59"/>
                    </a:lnTo>
                    <a:lnTo>
                      <a:pt x="107" y="60"/>
                    </a:lnTo>
                    <a:lnTo>
                      <a:pt x="108" y="62"/>
                    </a:lnTo>
                    <a:lnTo>
                      <a:pt x="111" y="65"/>
                    </a:lnTo>
                    <a:lnTo>
                      <a:pt x="115" y="67"/>
                    </a:lnTo>
                    <a:lnTo>
                      <a:pt x="118" y="65"/>
                    </a:lnTo>
                    <a:lnTo>
                      <a:pt x="121" y="65"/>
                    </a:lnTo>
                    <a:lnTo>
                      <a:pt x="123" y="62"/>
                    </a:lnTo>
                    <a:lnTo>
                      <a:pt x="126" y="60"/>
                    </a:lnTo>
                    <a:lnTo>
                      <a:pt x="129" y="60"/>
                    </a:lnTo>
                    <a:lnTo>
                      <a:pt x="132" y="57"/>
                    </a:lnTo>
                    <a:lnTo>
                      <a:pt x="135" y="59"/>
                    </a:lnTo>
                    <a:lnTo>
                      <a:pt x="137" y="62"/>
                    </a:lnTo>
                    <a:lnTo>
                      <a:pt x="140" y="64"/>
                    </a:lnTo>
                    <a:lnTo>
                      <a:pt x="143" y="64"/>
                    </a:lnTo>
                    <a:lnTo>
                      <a:pt x="145" y="64"/>
                    </a:lnTo>
                    <a:lnTo>
                      <a:pt x="145" y="68"/>
                    </a:lnTo>
                    <a:lnTo>
                      <a:pt x="148" y="72"/>
                    </a:lnTo>
                    <a:lnTo>
                      <a:pt x="151" y="70"/>
                    </a:lnTo>
                    <a:lnTo>
                      <a:pt x="154" y="68"/>
                    </a:lnTo>
                    <a:lnTo>
                      <a:pt x="157" y="70"/>
                    </a:lnTo>
                    <a:lnTo>
                      <a:pt x="162" y="72"/>
                    </a:lnTo>
                    <a:lnTo>
                      <a:pt x="164" y="75"/>
                    </a:lnTo>
                    <a:lnTo>
                      <a:pt x="165" y="72"/>
                    </a:lnTo>
                    <a:lnTo>
                      <a:pt x="169" y="68"/>
                    </a:lnTo>
                    <a:lnTo>
                      <a:pt x="173" y="67"/>
                    </a:lnTo>
                    <a:lnTo>
                      <a:pt x="177" y="67"/>
                    </a:lnTo>
                    <a:lnTo>
                      <a:pt x="180" y="67"/>
                    </a:lnTo>
                    <a:lnTo>
                      <a:pt x="189" y="68"/>
                    </a:lnTo>
                    <a:lnTo>
                      <a:pt x="197" y="67"/>
                    </a:lnTo>
                    <a:lnTo>
                      <a:pt x="197" y="67"/>
                    </a:lnTo>
                    <a:lnTo>
                      <a:pt x="200" y="64"/>
                    </a:lnTo>
                    <a:lnTo>
                      <a:pt x="205" y="64"/>
                    </a:lnTo>
                    <a:lnTo>
                      <a:pt x="208" y="64"/>
                    </a:lnTo>
                    <a:lnTo>
                      <a:pt x="208" y="64"/>
                    </a:lnTo>
                    <a:lnTo>
                      <a:pt x="210" y="67"/>
                    </a:lnTo>
                    <a:lnTo>
                      <a:pt x="210" y="72"/>
                    </a:lnTo>
                    <a:lnTo>
                      <a:pt x="210" y="75"/>
                    </a:lnTo>
                    <a:lnTo>
                      <a:pt x="215" y="78"/>
                    </a:lnTo>
                    <a:lnTo>
                      <a:pt x="218" y="81"/>
                    </a:lnTo>
                    <a:lnTo>
                      <a:pt x="219" y="84"/>
                    </a:lnTo>
                    <a:lnTo>
                      <a:pt x="216" y="86"/>
                    </a:lnTo>
                    <a:lnTo>
                      <a:pt x="218" y="89"/>
                    </a:lnTo>
                    <a:lnTo>
                      <a:pt x="219" y="92"/>
                    </a:lnTo>
                    <a:lnTo>
                      <a:pt x="221" y="95"/>
                    </a:lnTo>
                    <a:lnTo>
                      <a:pt x="221" y="97"/>
                    </a:lnTo>
                    <a:lnTo>
                      <a:pt x="224" y="100"/>
                    </a:lnTo>
                    <a:lnTo>
                      <a:pt x="227" y="102"/>
                    </a:lnTo>
                    <a:lnTo>
                      <a:pt x="230" y="98"/>
                    </a:lnTo>
                    <a:lnTo>
                      <a:pt x="234" y="95"/>
                    </a:lnTo>
                    <a:lnTo>
                      <a:pt x="237" y="97"/>
                    </a:lnTo>
                    <a:lnTo>
                      <a:pt x="242" y="97"/>
                    </a:lnTo>
                    <a:lnTo>
                      <a:pt x="245" y="97"/>
                    </a:lnTo>
                    <a:lnTo>
                      <a:pt x="248" y="98"/>
                    </a:lnTo>
                    <a:lnTo>
                      <a:pt x="251" y="100"/>
                    </a:lnTo>
                    <a:lnTo>
                      <a:pt x="254" y="102"/>
                    </a:lnTo>
                    <a:lnTo>
                      <a:pt x="259" y="103"/>
                    </a:lnTo>
                    <a:lnTo>
                      <a:pt x="261" y="106"/>
                    </a:lnTo>
                    <a:lnTo>
                      <a:pt x="259" y="110"/>
                    </a:lnTo>
                    <a:lnTo>
                      <a:pt x="259" y="113"/>
                    </a:lnTo>
                    <a:lnTo>
                      <a:pt x="261" y="118"/>
                    </a:lnTo>
                    <a:lnTo>
                      <a:pt x="262" y="121"/>
                    </a:lnTo>
                    <a:lnTo>
                      <a:pt x="265" y="122"/>
                    </a:lnTo>
                    <a:lnTo>
                      <a:pt x="267" y="127"/>
                    </a:lnTo>
                    <a:lnTo>
                      <a:pt x="267" y="130"/>
                    </a:lnTo>
                    <a:lnTo>
                      <a:pt x="270" y="132"/>
                    </a:lnTo>
                    <a:lnTo>
                      <a:pt x="270" y="135"/>
                    </a:lnTo>
                    <a:lnTo>
                      <a:pt x="270" y="140"/>
                    </a:lnTo>
                    <a:lnTo>
                      <a:pt x="275" y="143"/>
                    </a:lnTo>
                    <a:lnTo>
                      <a:pt x="278" y="144"/>
                    </a:lnTo>
                    <a:lnTo>
                      <a:pt x="280" y="146"/>
                    </a:lnTo>
                    <a:lnTo>
                      <a:pt x="278" y="149"/>
                    </a:lnTo>
                    <a:lnTo>
                      <a:pt x="276" y="151"/>
                    </a:lnTo>
                    <a:lnTo>
                      <a:pt x="273" y="154"/>
                    </a:lnTo>
                    <a:lnTo>
                      <a:pt x="270" y="151"/>
                    </a:lnTo>
                    <a:lnTo>
                      <a:pt x="265" y="149"/>
                    </a:lnTo>
                    <a:lnTo>
                      <a:pt x="264" y="148"/>
                    </a:lnTo>
                    <a:lnTo>
                      <a:pt x="261" y="148"/>
                    </a:lnTo>
                    <a:lnTo>
                      <a:pt x="259" y="148"/>
                    </a:lnTo>
                    <a:lnTo>
                      <a:pt x="256" y="148"/>
                    </a:lnTo>
                    <a:lnTo>
                      <a:pt x="251" y="146"/>
                    </a:lnTo>
                    <a:lnTo>
                      <a:pt x="249" y="149"/>
                    </a:lnTo>
                    <a:lnTo>
                      <a:pt x="245" y="151"/>
                    </a:lnTo>
                    <a:lnTo>
                      <a:pt x="238" y="152"/>
                    </a:lnTo>
                    <a:lnTo>
                      <a:pt x="235" y="154"/>
                    </a:lnTo>
                    <a:lnTo>
                      <a:pt x="230" y="154"/>
                    </a:lnTo>
                    <a:lnTo>
                      <a:pt x="234" y="151"/>
                    </a:lnTo>
                    <a:lnTo>
                      <a:pt x="234" y="146"/>
                    </a:lnTo>
                    <a:lnTo>
                      <a:pt x="232" y="146"/>
                    </a:lnTo>
                    <a:lnTo>
                      <a:pt x="229" y="146"/>
                    </a:lnTo>
                    <a:lnTo>
                      <a:pt x="226" y="146"/>
                    </a:lnTo>
                    <a:lnTo>
                      <a:pt x="223" y="144"/>
                    </a:lnTo>
                    <a:lnTo>
                      <a:pt x="219" y="146"/>
                    </a:lnTo>
                    <a:lnTo>
                      <a:pt x="215" y="146"/>
                    </a:lnTo>
                    <a:lnTo>
                      <a:pt x="211" y="148"/>
                    </a:lnTo>
                    <a:lnTo>
                      <a:pt x="210" y="151"/>
                    </a:lnTo>
                    <a:lnTo>
                      <a:pt x="207" y="152"/>
                    </a:lnTo>
                    <a:lnTo>
                      <a:pt x="203" y="154"/>
                    </a:lnTo>
                    <a:lnTo>
                      <a:pt x="200" y="157"/>
                    </a:lnTo>
                    <a:lnTo>
                      <a:pt x="199" y="162"/>
                    </a:lnTo>
                    <a:lnTo>
                      <a:pt x="199" y="164"/>
                    </a:lnTo>
                    <a:lnTo>
                      <a:pt x="189" y="164"/>
                    </a:lnTo>
                    <a:lnTo>
                      <a:pt x="186" y="165"/>
                    </a:lnTo>
                    <a:lnTo>
                      <a:pt x="184" y="167"/>
                    </a:lnTo>
                    <a:lnTo>
                      <a:pt x="178" y="171"/>
                    </a:lnTo>
                    <a:lnTo>
                      <a:pt x="175" y="176"/>
                    </a:lnTo>
                    <a:lnTo>
                      <a:pt x="172" y="178"/>
                    </a:lnTo>
                    <a:lnTo>
                      <a:pt x="169" y="178"/>
                    </a:lnTo>
                    <a:lnTo>
                      <a:pt x="167" y="176"/>
                    </a:lnTo>
                    <a:lnTo>
                      <a:pt x="162" y="171"/>
                    </a:lnTo>
                    <a:lnTo>
                      <a:pt x="159" y="165"/>
                    </a:lnTo>
                    <a:lnTo>
                      <a:pt x="156" y="152"/>
                    </a:lnTo>
                    <a:lnTo>
                      <a:pt x="154" y="140"/>
                    </a:lnTo>
                    <a:lnTo>
                      <a:pt x="154" y="137"/>
                    </a:lnTo>
                    <a:lnTo>
                      <a:pt x="154" y="133"/>
                    </a:lnTo>
                    <a:lnTo>
                      <a:pt x="156" y="130"/>
                    </a:lnTo>
                    <a:lnTo>
                      <a:pt x="154" y="127"/>
                    </a:lnTo>
                    <a:lnTo>
                      <a:pt x="151" y="125"/>
                    </a:lnTo>
                    <a:lnTo>
                      <a:pt x="148" y="127"/>
                    </a:lnTo>
                    <a:lnTo>
                      <a:pt x="143" y="127"/>
                    </a:lnTo>
                    <a:lnTo>
                      <a:pt x="143" y="122"/>
                    </a:lnTo>
                    <a:lnTo>
                      <a:pt x="143" y="119"/>
                    </a:lnTo>
                    <a:lnTo>
                      <a:pt x="145" y="116"/>
                    </a:lnTo>
                    <a:lnTo>
                      <a:pt x="143" y="113"/>
                    </a:lnTo>
                    <a:lnTo>
                      <a:pt x="137" y="110"/>
                    </a:lnTo>
                    <a:lnTo>
                      <a:pt x="132" y="106"/>
                    </a:lnTo>
                    <a:lnTo>
                      <a:pt x="129" y="105"/>
                    </a:lnTo>
                    <a:lnTo>
                      <a:pt x="123" y="105"/>
                    </a:lnTo>
                    <a:lnTo>
                      <a:pt x="119" y="106"/>
                    </a:lnTo>
                    <a:lnTo>
                      <a:pt x="118" y="110"/>
                    </a:lnTo>
                    <a:lnTo>
                      <a:pt x="116" y="114"/>
                    </a:lnTo>
                    <a:lnTo>
                      <a:pt x="115" y="118"/>
                    </a:lnTo>
                    <a:lnTo>
                      <a:pt x="113" y="121"/>
                    </a:lnTo>
                    <a:lnTo>
                      <a:pt x="110" y="124"/>
                    </a:lnTo>
                    <a:lnTo>
                      <a:pt x="107" y="125"/>
                    </a:lnTo>
                    <a:lnTo>
                      <a:pt x="108" y="129"/>
                    </a:lnTo>
                    <a:lnTo>
                      <a:pt x="111" y="132"/>
                    </a:lnTo>
                    <a:lnTo>
                      <a:pt x="113" y="135"/>
                    </a:lnTo>
                    <a:lnTo>
                      <a:pt x="113" y="138"/>
                    </a:lnTo>
                    <a:lnTo>
                      <a:pt x="110" y="141"/>
                    </a:lnTo>
                    <a:lnTo>
                      <a:pt x="107" y="141"/>
                    </a:lnTo>
                    <a:lnTo>
                      <a:pt x="105" y="141"/>
                    </a:lnTo>
                    <a:lnTo>
                      <a:pt x="104" y="141"/>
                    </a:lnTo>
                    <a:lnTo>
                      <a:pt x="100" y="138"/>
                    </a:lnTo>
                    <a:lnTo>
                      <a:pt x="97" y="140"/>
                    </a:lnTo>
                    <a:lnTo>
                      <a:pt x="92" y="141"/>
                    </a:lnTo>
                    <a:lnTo>
                      <a:pt x="91" y="141"/>
                    </a:lnTo>
                    <a:lnTo>
                      <a:pt x="88" y="143"/>
                    </a:lnTo>
                    <a:lnTo>
                      <a:pt x="85" y="146"/>
                    </a:lnTo>
                    <a:lnTo>
                      <a:pt x="86" y="149"/>
                    </a:lnTo>
                    <a:lnTo>
                      <a:pt x="88" y="152"/>
                    </a:lnTo>
                    <a:lnTo>
                      <a:pt x="88" y="156"/>
                    </a:lnTo>
                    <a:lnTo>
                      <a:pt x="88" y="157"/>
                    </a:lnTo>
                    <a:lnTo>
                      <a:pt x="86" y="157"/>
                    </a:lnTo>
                    <a:lnTo>
                      <a:pt x="83" y="160"/>
                    </a:lnTo>
                    <a:lnTo>
                      <a:pt x="80" y="157"/>
                    </a:lnTo>
                    <a:lnTo>
                      <a:pt x="80" y="157"/>
                    </a:lnTo>
                    <a:lnTo>
                      <a:pt x="75" y="154"/>
                    </a:lnTo>
                    <a:lnTo>
                      <a:pt x="72" y="151"/>
                    </a:lnTo>
                    <a:lnTo>
                      <a:pt x="69" y="151"/>
                    </a:lnTo>
                    <a:lnTo>
                      <a:pt x="67" y="154"/>
                    </a:lnTo>
                    <a:lnTo>
                      <a:pt x="64" y="152"/>
                    </a:lnTo>
                    <a:lnTo>
                      <a:pt x="61" y="156"/>
                    </a:lnTo>
                    <a:lnTo>
                      <a:pt x="59" y="157"/>
                    </a:lnTo>
                    <a:lnTo>
                      <a:pt x="54" y="160"/>
                    </a:lnTo>
                    <a:lnTo>
                      <a:pt x="51" y="159"/>
                    </a:lnTo>
                    <a:lnTo>
                      <a:pt x="51" y="160"/>
                    </a:lnTo>
                    <a:lnTo>
                      <a:pt x="50" y="164"/>
                    </a:lnTo>
                    <a:lnTo>
                      <a:pt x="48" y="164"/>
                    </a:lnTo>
                    <a:lnTo>
                      <a:pt x="45" y="167"/>
                    </a:lnTo>
                    <a:lnTo>
                      <a:pt x="45" y="167"/>
                    </a:lnTo>
                    <a:lnTo>
                      <a:pt x="42" y="165"/>
                    </a:lnTo>
                    <a:lnTo>
                      <a:pt x="40" y="165"/>
                    </a:lnTo>
                    <a:lnTo>
                      <a:pt x="37" y="162"/>
                    </a:lnTo>
                    <a:lnTo>
                      <a:pt x="34" y="160"/>
                    </a:lnTo>
                    <a:lnTo>
                      <a:pt x="32" y="156"/>
                    </a:lnTo>
                    <a:lnTo>
                      <a:pt x="34" y="156"/>
                    </a:lnTo>
                    <a:lnTo>
                      <a:pt x="34" y="156"/>
                    </a:lnTo>
                    <a:lnTo>
                      <a:pt x="34" y="154"/>
                    </a:lnTo>
                    <a:lnTo>
                      <a:pt x="34" y="151"/>
                    </a:lnTo>
                    <a:lnTo>
                      <a:pt x="32" y="146"/>
                    </a:lnTo>
                    <a:lnTo>
                      <a:pt x="32" y="143"/>
                    </a:lnTo>
                    <a:lnTo>
                      <a:pt x="34" y="140"/>
                    </a:lnTo>
                    <a:lnTo>
                      <a:pt x="35" y="137"/>
                    </a:lnTo>
                    <a:lnTo>
                      <a:pt x="37" y="132"/>
                    </a:lnTo>
                    <a:lnTo>
                      <a:pt x="39" y="129"/>
                    </a:lnTo>
                    <a:lnTo>
                      <a:pt x="42" y="125"/>
                    </a:lnTo>
                    <a:lnTo>
                      <a:pt x="43" y="124"/>
                    </a:lnTo>
                    <a:lnTo>
                      <a:pt x="45" y="121"/>
                    </a:lnTo>
                    <a:lnTo>
                      <a:pt x="45" y="114"/>
                    </a:lnTo>
                    <a:lnTo>
                      <a:pt x="40" y="111"/>
                    </a:lnTo>
                    <a:lnTo>
                      <a:pt x="37" y="110"/>
                    </a:lnTo>
                    <a:lnTo>
                      <a:pt x="34" y="106"/>
                    </a:lnTo>
                    <a:lnTo>
                      <a:pt x="32" y="105"/>
                    </a:lnTo>
                    <a:lnTo>
                      <a:pt x="32" y="103"/>
                    </a:lnTo>
                    <a:lnTo>
                      <a:pt x="31" y="100"/>
                    </a:lnTo>
                    <a:lnTo>
                      <a:pt x="31" y="97"/>
                    </a:lnTo>
                    <a:lnTo>
                      <a:pt x="31" y="94"/>
                    </a:lnTo>
                    <a:lnTo>
                      <a:pt x="32" y="91"/>
                    </a:lnTo>
                    <a:lnTo>
                      <a:pt x="31" y="86"/>
                    </a:lnTo>
                    <a:lnTo>
                      <a:pt x="31" y="86"/>
                    </a:lnTo>
                    <a:lnTo>
                      <a:pt x="27" y="83"/>
                    </a:lnTo>
                    <a:lnTo>
                      <a:pt x="24" y="83"/>
                    </a:lnTo>
                    <a:lnTo>
                      <a:pt x="21" y="83"/>
                    </a:lnTo>
                    <a:lnTo>
                      <a:pt x="18" y="83"/>
                    </a:lnTo>
                    <a:lnTo>
                      <a:pt x="13" y="81"/>
                    </a:lnTo>
                    <a:lnTo>
                      <a:pt x="13" y="78"/>
                    </a:lnTo>
                    <a:lnTo>
                      <a:pt x="10" y="76"/>
                    </a:lnTo>
                    <a:lnTo>
                      <a:pt x="7" y="76"/>
                    </a:lnTo>
                    <a:lnTo>
                      <a:pt x="2" y="75"/>
                    </a:lnTo>
                    <a:lnTo>
                      <a:pt x="0" y="7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38" name="Freeform 397"/>
              <p:cNvSpPr>
                <a:spLocks/>
              </p:cNvSpPr>
              <p:nvPr/>
            </p:nvSpPr>
            <p:spPr bwMode="auto">
              <a:xfrm>
                <a:off x="5768736" y="2764640"/>
                <a:ext cx="421543" cy="410750"/>
              </a:xfrm>
              <a:custGeom>
                <a:avLst/>
                <a:gdLst>
                  <a:gd name="T0" fmla="*/ 89 w 541"/>
                  <a:gd name="T1" fmla="*/ 309 h 544"/>
                  <a:gd name="T2" fmla="*/ 146 w 541"/>
                  <a:gd name="T3" fmla="*/ 306 h 544"/>
                  <a:gd name="T4" fmla="*/ 186 w 541"/>
                  <a:gd name="T5" fmla="*/ 295 h 544"/>
                  <a:gd name="T6" fmla="*/ 184 w 541"/>
                  <a:gd name="T7" fmla="*/ 260 h 544"/>
                  <a:gd name="T8" fmla="*/ 202 w 541"/>
                  <a:gd name="T9" fmla="*/ 235 h 544"/>
                  <a:gd name="T10" fmla="*/ 230 w 541"/>
                  <a:gd name="T11" fmla="*/ 233 h 544"/>
                  <a:gd name="T12" fmla="*/ 244 w 541"/>
                  <a:gd name="T13" fmla="*/ 216 h 544"/>
                  <a:gd name="T14" fmla="*/ 276 w 541"/>
                  <a:gd name="T15" fmla="*/ 214 h 544"/>
                  <a:gd name="T16" fmla="*/ 278 w 541"/>
                  <a:gd name="T17" fmla="*/ 166 h 544"/>
                  <a:gd name="T18" fmla="*/ 303 w 541"/>
                  <a:gd name="T19" fmla="*/ 151 h 544"/>
                  <a:gd name="T20" fmla="*/ 284 w 541"/>
                  <a:gd name="T21" fmla="*/ 124 h 544"/>
                  <a:gd name="T22" fmla="*/ 324 w 541"/>
                  <a:gd name="T23" fmla="*/ 114 h 544"/>
                  <a:gd name="T24" fmla="*/ 329 w 541"/>
                  <a:gd name="T25" fmla="*/ 86 h 544"/>
                  <a:gd name="T26" fmla="*/ 329 w 541"/>
                  <a:gd name="T27" fmla="*/ 63 h 544"/>
                  <a:gd name="T28" fmla="*/ 314 w 541"/>
                  <a:gd name="T29" fmla="*/ 35 h 544"/>
                  <a:gd name="T30" fmla="*/ 346 w 541"/>
                  <a:gd name="T31" fmla="*/ 11 h 544"/>
                  <a:gd name="T32" fmla="*/ 406 w 541"/>
                  <a:gd name="T33" fmla="*/ 6 h 544"/>
                  <a:gd name="T34" fmla="*/ 438 w 541"/>
                  <a:gd name="T35" fmla="*/ 3 h 544"/>
                  <a:gd name="T36" fmla="*/ 466 w 541"/>
                  <a:gd name="T37" fmla="*/ 21 h 544"/>
                  <a:gd name="T38" fmla="*/ 484 w 541"/>
                  <a:gd name="T39" fmla="*/ 51 h 544"/>
                  <a:gd name="T40" fmla="*/ 519 w 541"/>
                  <a:gd name="T41" fmla="*/ 62 h 544"/>
                  <a:gd name="T42" fmla="*/ 519 w 541"/>
                  <a:gd name="T43" fmla="*/ 82 h 544"/>
                  <a:gd name="T44" fmla="*/ 498 w 541"/>
                  <a:gd name="T45" fmla="*/ 93 h 544"/>
                  <a:gd name="T46" fmla="*/ 455 w 541"/>
                  <a:gd name="T47" fmla="*/ 98 h 544"/>
                  <a:gd name="T48" fmla="*/ 417 w 541"/>
                  <a:gd name="T49" fmla="*/ 100 h 544"/>
                  <a:gd name="T50" fmla="*/ 425 w 541"/>
                  <a:gd name="T51" fmla="*/ 124 h 544"/>
                  <a:gd name="T52" fmla="*/ 427 w 541"/>
                  <a:gd name="T53" fmla="*/ 138 h 544"/>
                  <a:gd name="T54" fmla="*/ 443 w 541"/>
                  <a:gd name="T55" fmla="*/ 165 h 544"/>
                  <a:gd name="T56" fmla="*/ 459 w 541"/>
                  <a:gd name="T57" fmla="*/ 182 h 544"/>
                  <a:gd name="T58" fmla="*/ 484 w 541"/>
                  <a:gd name="T59" fmla="*/ 200 h 544"/>
                  <a:gd name="T60" fmla="*/ 463 w 541"/>
                  <a:gd name="T61" fmla="*/ 222 h 544"/>
                  <a:gd name="T62" fmla="*/ 470 w 541"/>
                  <a:gd name="T63" fmla="*/ 246 h 544"/>
                  <a:gd name="T64" fmla="*/ 454 w 541"/>
                  <a:gd name="T65" fmla="*/ 262 h 544"/>
                  <a:gd name="T66" fmla="*/ 440 w 541"/>
                  <a:gd name="T67" fmla="*/ 289 h 544"/>
                  <a:gd name="T68" fmla="*/ 424 w 541"/>
                  <a:gd name="T69" fmla="*/ 328 h 544"/>
                  <a:gd name="T70" fmla="*/ 397 w 541"/>
                  <a:gd name="T71" fmla="*/ 361 h 544"/>
                  <a:gd name="T72" fmla="*/ 363 w 541"/>
                  <a:gd name="T73" fmla="*/ 381 h 544"/>
                  <a:gd name="T74" fmla="*/ 333 w 541"/>
                  <a:gd name="T75" fmla="*/ 379 h 544"/>
                  <a:gd name="T76" fmla="*/ 329 w 541"/>
                  <a:gd name="T77" fmla="*/ 426 h 544"/>
                  <a:gd name="T78" fmla="*/ 343 w 541"/>
                  <a:gd name="T79" fmla="*/ 453 h 544"/>
                  <a:gd name="T80" fmla="*/ 368 w 541"/>
                  <a:gd name="T81" fmla="*/ 479 h 544"/>
                  <a:gd name="T82" fmla="*/ 376 w 541"/>
                  <a:gd name="T83" fmla="*/ 523 h 544"/>
                  <a:gd name="T84" fmla="*/ 351 w 541"/>
                  <a:gd name="T85" fmla="*/ 525 h 544"/>
                  <a:gd name="T86" fmla="*/ 316 w 541"/>
                  <a:gd name="T87" fmla="*/ 522 h 544"/>
                  <a:gd name="T88" fmla="*/ 295 w 541"/>
                  <a:gd name="T89" fmla="*/ 534 h 544"/>
                  <a:gd name="T90" fmla="*/ 281 w 541"/>
                  <a:gd name="T91" fmla="*/ 539 h 544"/>
                  <a:gd name="T92" fmla="*/ 262 w 541"/>
                  <a:gd name="T93" fmla="*/ 538 h 544"/>
                  <a:gd name="T94" fmla="*/ 251 w 541"/>
                  <a:gd name="T95" fmla="*/ 517 h 544"/>
                  <a:gd name="T96" fmla="*/ 227 w 541"/>
                  <a:gd name="T97" fmla="*/ 496 h 544"/>
                  <a:gd name="T98" fmla="*/ 206 w 541"/>
                  <a:gd name="T99" fmla="*/ 469 h 544"/>
                  <a:gd name="T100" fmla="*/ 200 w 541"/>
                  <a:gd name="T101" fmla="*/ 476 h 544"/>
                  <a:gd name="T102" fmla="*/ 167 w 541"/>
                  <a:gd name="T103" fmla="*/ 479 h 544"/>
                  <a:gd name="T104" fmla="*/ 135 w 541"/>
                  <a:gd name="T105" fmla="*/ 477 h 544"/>
                  <a:gd name="T106" fmla="*/ 114 w 541"/>
                  <a:gd name="T107" fmla="*/ 485 h 544"/>
                  <a:gd name="T108" fmla="*/ 68 w 541"/>
                  <a:gd name="T109" fmla="*/ 484 h 544"/>
                  <a:gd name="T110" fmla="*/ 49 w 541"/>
                  <a:gd name="T111" fmla="*/ 477 h 544"/>
                  <a:gd name="T112" fmla="*/ 53 w 541"/>
                  <a:gd name="T113" fmla="*/ 444 h 544"/>
                  <a:gd name="T114" fmla="*/ 75 w 541"/>
                  <a:gd name="T115" fmla="*/ 428 h 544"/>
                  <a:gd name="T116" fmla="*/ 99 w 541"/>
                  <a:gd name="T117" fmla="*/ 409 h 544"/>
                  <a:gd name="T118" fmla="*/ 87 w 541"/>
                  <a:gd name="T119" fmla="*/ 401 h 544"/>
                  <a:gd name="T120" fmla="*/ 53 w 541"/>
                  <a:gd name="T121" fmla="*/ 350 h 544"/>
                  <a:gd name="T122" fmla="*/ 24 w 541"/>
                  <a:gd name="T123" fmla="*/ 322 h 5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541" h="544">
                    <a:moveTo>
                      <a:pt x="0" y="293"/>
                    </a:moveTo>
                    <a:lnTo>
                      <a:pt x="13" y="298"/>
                    </a:lnTo>
                    <a:lnTo>
                      <a:pt x="26" y="301"/>
                    </a:lnTo>
                    <a:lnTo>
                      <a:pt x="38" y="306"/>
                    </a:lnTo>
                    <a:lnTo>
                      <a:pt x="51" y="309"/>
                    </a:lnTo>
                    <a:lnTo>
                      <a:pt x="57" y="312"/>
                    </a:lnTo>
                    <a:lnTo>
                      <a:pt x="64" y="312"/>
                    </a:lnTo>
                    <a:lnTo>
                      <a:pt x="68" y="311"/>
                    </a:lnTo>
                    <a:lnTo>
                      <a:pt x="76" y="311"/>
                    </a:lnTo>
                    <a:lnTo>
                      <a:pt x="89" y="309"/>
                    </a:lnTo>
                    <a:lnTo>
                      <a:pt x="103" y="309"/>
                    </a:lnTo>
                    <a:lnTo>
                      <a:pt x="111" y="311"/>
                    </a:lnTo>
                    <a:lnTo>
                      <a:pt x="116" y="311"/>
                    </a:lnTo>
                    <a:lnTo>
                      <a:pt x="118" y="311"/>
                    </a:lnTo>
                    <a:lnTo>
                      <a:pt x="119" y="309"/>
                    </a:lnTo>
                    <a:lnTo>
                      <a:pt x="121" y="308"/>
                    </a:lnTo>
                    <a:lnTo>
                      <a:pt x="126" y="306"/>
                    </a:lnTo>
                    <a:lnTo>
                      <a:pt x="132" y="304"/>
                    </a:lnTo>
                    <a:lnTo>
                      <a:pt x="143" y="306"/>
                    </a:lnTo>
                    <a:lnTo>
                      <a:pt x="146" y="306"/>
                    </a:lnTo>
                    <a:lnTo>
                      <a:pt x="149" y="306"/>
                    </a:lnTo>
                    <a:lnTo>
                      <a:pt x="152" y="304"/>
                    </a:lnTo>
                    <a:lnTo>
                      <a:pt x="156" y="304"/>
                    </a:lnTo>
                    <a:lnTo>
                      <a:pt x="160" y="303"/>
                    </a:lnTo>
                    <a:lnTo>
                      <a:pt x="164" y="301"/>
                    </a:lnTo>
                    <a:lnTo>
                      <a:pt x="170" y="300"/>
                    </a:lnTo>
                    <a:lnTo>
                      <a:pt x="170" y="300"/>
                    </a:lnTo>
                    <a:lnTo>
                      <a:pt x="173" y="298"/>
                    </a:lnTo>
                    <a:lnTo>
                      <a:pt x="183" y="296"/>
                    </a:lnTo>
                    <a:lnTo>
                      <a:pt x="186" y="295"/>
                    </a:lnTo>
                    <a:lnTo>
                      <a:pt x="189" y="292"/>
                    </a:lnTo>
                    <a:lnTo>
                      <a:pt x="189" y="289"/>
                    </a:lnTo>
                    <a:lnTo>
                      <a:pt x="186" y="284"/>
                    </a:lnTo>
                    <a:lnTo>
                      <a:pt x="186" y="281"/>
                    </a:lnTo>
                    <a:lnTo>
                      <a:pt x="187" y="277"/>
                    </a:lnTo>
                    <a:lnTo>
                      <a:pt x="187" y="274"/>
                    </a:lnTo>
                    <a:lnTo>
                      <a:pt x="187" y="270"/>
                    </a:lnTo>
                    <a:lnTo>
                      <a:pt x="184" y="266"/>
                    </a:lnTo>
                    <a:lnTo>
                      <a:pt x="184" y="263"/>
                    </a:lnTo>
                    <a:lnTo>
                      <a:pt x="184" y="260"/>
                    </a:lnTo>
                    <a:lnTo>
                      <a:pt x="184" y="257"/>
                    </a:lnTo>
                    <a:lnTo>
                      <a:pt x="184" y="252"/>
                    </a:lnTo>
                    <a:lnTo>
                      <a:pt x="186" y="249"/>
                    </a:lnTo>
                    <a:lnTo>
                      <a:pt x="186" y="249"/>
                    </a:lnTo>
                    <a:lnTo>
                      <a:pt x="189" y="249"/>
                    </a:lnTo>
                    <a:lnTo>
                      <a:pt x="194" y="246"/>
                    </a:lnTo>
                    <a:lnTo>
                      <a:pt x="194" y="241"/>
                    </a:lnTo>
                    <a:lnTo>
                      <a:pt x="197" y="238"/>
                    </a:lnTo>
                    <a:lnTo>
                      <a:pt x="198" y="236"/>
                    </a:lnTo>
                    <a:lnTo>
                      <a:pt x="202" y="235"/>
                    </a:lnTo>
                    <a:lnTo>
                      <a:pt x="205" y="235"/>
                    </a:lnTo>
                    <a:lnTo>
                      <a:pt x="205" y="236"/>
                    </a:lnTo>
                    <a:lnTo>
                      <a:pt x="208" y="238"/>
                    </a:lnTo>
                    <a:lnTo>
                      <a:pt x="211" y="238"/>
                    </a:lnTo>
                    <a:lnTo>
                      <a:pt x="213" y="238"/>
                    </a:lnTo>
                    <a:lnTo>
                      <a:pt x="216" y="238"/>
                    </a:lnTo>
                    <a:lnTo>
                      <a:pt x="221" y="238"/>
                    </a:lnTo>
                    <a:lnTo>
                      <a:pt x="224" y="236"/>
                    </a:lnTo>
                    <a:lnTo>
                      <a:pt x="230" y="233"/>
                    </a:lnTo>
                    <a:lnTo>
                      <a:pt x="230" y="233"/>
                    </a:lnTo>
                    <a:lnTo>
                      <a:pt x="227" y="230"/>
                    </a:lnTo>
                    <a:lnTo>
                      <a:pt x="224" y="230"/>
                    </a:lnTo>
                    <a:lnTo>
                      <a:pt x="222" y="227"/>
                    </a:lnTo>
                    <a:lnTo>
                      <a:pt x="225" y="225"/>
                    </a:lnTo>
                    <a:lnTo>
                      <a:pt x="229" y="224"/>
                    </a:lnTo>
                    <a:lnTo>
                      <a:pt x="233" y="222"/>
                    </a:lnTo>
                    <a:lnTo>
                      <a:pt x="237" y="220"/>
                    </a:lnTo>
                    <a:lnTo>
                      <a:pt x="240" y="217"/>
                    </a:lnTo>
                    <a:lnTo>
                      <a:pt x="241" y="214"/>
                    </a:lnTo>
                    <a:lnTo>
                      <a:pt x="244" y="216"/>
                    </a:lnTo>
                    <a:lnTo>
                      <a:pt x="248" y="216"/>
                    </a:lnTo>
                    <a:lnTo>
                      <a:pt x="252" y="217"/>
                    </a:lnTo>
                    <a:lnTo>
                      <a:pt x="252" y="214"/>
                    </a:lnTo>
                    <a:lnTo>
                      <a:pt x="256" y="214"/>
                    </a:lnTo>
                    <a:lnTo>
                      <a:pt x="259" y="216"/>
                    </a:lnTo>
                    <a:lnTo>
                      <a:pt x="262" y="219"/>
                    </a:lnTo>
                    <a:lnTo>
                      <a:pt x="263" y="222"/>
                    </a:lnTo>
                    <a:lnTo>
                      <a:pt x="271" y="220"/>
                    </a:lnTo>
                    <a:lnTo>
                      <a:pt x="275" y="217"/>
                    </a:lnTo>
                    <a:lnTo>
                      <a:pt x="276" y="214"/>
                    </a:lnTo>
                    <a:lnTo>
                      <a:pt x="279" y="209"/>
                    </a:lnTo>
                    <a:lnTo>
                      <a:pt x="276" y="198"/>
                    </a:lnTo>
                    <a:lnTo>
                      <a:pt x="275" y="190"/>
                    </a:lnTo>
                    <a:lnTo>
                      <a:pt x="273" y="187"/>
                    </a:lnTo>
                    <a:lnTo>
                      <a:pt x="275" y="184"/>
                    </a:lnTo>
                    <a:lnTo>
                      <a:pt x="278" y="181"/>
                    </a:lnTo>
                    <a:lnTo>
                      <a:pt x="278" y="176"/>
                    </a:lnTo>
                    <a:lnTo>
                      <a:pt x="278" y="173"/>
                    </a:lnTo>
                    <a:lnTo>
                      <a:pt x="279" y="170"/>
                    </a:lnTo>
                    <a:lnTo>
                      <a:pt x="278" y="166"/>
                    </a:lnTo>
                    <a:lnTo>
                      <a:pt x="279" y="163"/>
                    </a:lnTo>
                    <a:lnTo>
                      <a:pt x="279" y="162"/>
                    </a:lnTo>
                    <a:lnTo>
                      <a:pt x="283" y="162"/>
                    </a:lnTo>
                    <a:lnTo>
                      <a:pt x="287" y="160"/>
                    </a:lnTo>
                    <a:lnTo>
                      <a:pt x="290" y="162"/>
                    </a:lnTo>
                    <a:lnTo>
                      <a:pt x="294" y="160"/>
                    </a:lnTo>
                    <a:lnTo>
                      <a:pt x="294" y="160"/>
                    </a:lnTo>
                    <a:lnTo>
                      <a:pt x="297" y="157"/>
                    </a:lnTo>
                    <a:lnTo>
                      <a:pt x="302" y="154"/>
                    </a:lnTo>
                    <a:lnTo>
                      <a:pt x="303" y="151"/>
                    </a:lnTo>
                    <a:lnTo>
                      <a:pt x="300" y="147"/>
                    </a:lnTo>
                    <a:lnTo>
                      <a:pt x="298" y="146"/>
                    </a:lnTo>
                    <a:lnTo>
                      <a:pt x="297" y="143"/>
                    </a:lnTo>
                    <a:lnTo>
                      <a:pt x="297" y="139"/>
                    </a:lnTo>
                    <a:lnTo>
                      <a:pt x="292" y="136"/>
                    </a:lnTo>
                    <a:lnTo>
                      <a:pt x="289" y="135"/>
                    </a:lnTo>
                    <a:lnTo>
                      <a:pt x="287" y="133"/>
                    </a:lnTo>
                    <a:lnTo>
                      <a:pt x="283" y="127"/>
                    </a:lnTo>
                    <a:lnTo>
                      <a:pt x="283" y="124"/>
                    </a:lnTo>
                    <a:lnTo>
                      <a:pt x="284" y="124"/>
                    </a:lnTo>
                    <a:lnTo>
                      <a:pt x="287" y="122"/>
                    </a:lnTo>
                    <a:lnTo>
                      <a:pt x="290" y="124"/>
                    </a:lnTo>
                    <a:lnTo>
                      <a:pt x="302" y="127"/>
                    </a:lnTo>
                    <a:lnTo>
                      <a:pt x="311" y="127"/>
                    </a:lnTo>
                    <a:lnTo>
                      <a:pt x="314" y="127"/>
                    </a:lnTo>
                    <a:lnTo>
                      <a:pt x="319" y="124"/>
                    </a:lnTo>
                    <a:lnTo>
                      <a:pt x="322" y="122"/>
                    </a:lnTo>
                    <a:lnTo>
                      <a:pt x="324" y="119"/>
                    </a:lnTo>
                    <a:lnTo>
                      <a:pt x="324" y="116"/>
                    </a:lnTo>
                    <a:lnTo>
                      <a:pt x="324" y="114"/>
                    </a:lnTo>
                    <a:lnTo>
                      <a:pt x="324" y="111"/>
                    </a:lnTo>
                    <a:lnTo>
                      <a:pt x="321" y="108"/>
                    </a:lnTo>
                    <a:lnTo>
                      <a:pt x="317" y="105"/>
                    </a:lnTo>
                    <a:lnTo>
                      <a:pt x="316" y="101"/>
                    </a:lnTo>
                    <a:lnTo>
                      <a:pt x="319" y="101"/>
                    </a:lnTo>
                    <a:lnTo>
                      <a:pt x="319" y="98"/>
                    </a:lnTo>
                    <a:lnTo>
                      <a:pt x="322" y="93"/>
                    </a:lnTo>
                    <a:lnTo>
                      <a:pt x="324" y="90"/>
                    </a:lnTo>
                    <a:lnTo>
                      <a:pt x="325" y="87"/>
                    </a:lnTo>
                    <a:lnTo>
                      <a:pt x="329" y="86"/>
                    </a:lnTo>
                    <a:lnTo>
                      <a:pt x="330" y="86"/>
                    </a:lnTo>
                    <a:lnTo>
                      <a:pt x="330" y="84"/>
                    </a:lnTo>
                    <a:lnTo>
                      <a:pt x="330" y="82"/>
                    </a:lnTo>
                    <a:lnTo>
                      <a:pt x="332" y="79"/>
                    </a:lnTo>
                    <a:lnTo>
                      <a:pt x="333" y="74"/>
                    </a:lnTo>
                    <a:lnTo>
                      <a:pt x="330" y="73"/>
                    </a:lnTo>
                    <a:lnTo>
                      <a:pt x="329" y="70"/>
                    </a:lnTo>
                    <a:lnTo>
                      <a:pt x="329" y="70"/>
                    </a:lnTo>
                    <a:lnTo>
                      <a:pt x="332" y="67"/>
                    </a:lnTo>
                    <a:lnTo>
                      <a:pt x="329" y="63"/>
                    </a:lnTo>
                    <a:lnTo>
                      <a:pt x="329" y="60"/>
                    </a:lnTo>
                    <a:lnTo>
                      <a:pt x="325" y="59"/>
                    </a:lnTo>
                    <a:lnTo>
                      <a:pt x="325" y="54"/>
                    </a:lnTo>
                    <a:lnTo>
                      <a:pt x="322" y="51"/>
                    </a:lnTo>
                    <a:lnTo>
                      <a:pt x="319" y="47"/>
                    </a:lnTo>
                    <a:lnTo>
                      <a:pt x="316" y="44"/>
                    </a:lnTo>
                    <a:lnTo>
                      <a:pt x="313" y="43"/>
                    </a:lnTo>
                    <a:lnTo>
                      <a:pt x="309" y="41"/>
                    </a:lnTo>
                    <a:lnTo>
                      <a:pt x="311" y="38"/>
                    </a:lnTo>
                    <a:lnTo>
                      <a:pt x="314" y="35"/>
                    </a:lnTo>
                    <a:lnTo>
                      <a:pt x="317" y="32"/>
                    </a:lnTo>
                    <a:lnTo>
                      <a:pt x="321" y="28"/>
                    </a:lnTo>
                    <a:lnTo>
                      <a:pt x="321" y="24"/>
                    </a:lnTo>
                    <a:lnTo>
                      <a:pt x="325" y="25"/>
                    </a:lnTo>
                    <a:lnTo>
                      <a:pt x="329" y="25"/>
                    </a:lnTo>
                    <a:lnTo>
                      <a:pt x="330" y="22"/>
                    </a:lnTo>
                    <a:lnTo>
                      <a:pt x="336" y="16"/>
                    </a:lnTo>
                    <a:lnTo>
                      <a:pt x="340" y="13"/>
                    </a:lnTo>
                    <a:lnTo>
                      <a:pt x="343" y="13"/>
                    </a:lnTo>
                    <a:lnTo>
                      <a:pt x="346" y="11"/>
                    </a:lnTo>
                    <a:lnTo>
                      <a:pt x="351" y="9"/>
                    </a:lnTo>
                    <a:lnTo>
                      <a:pt x="354" y="9"/>
                    </a:lnTo>
                    <a:lnTo>
                      <a:pt x="370" y="8"/>
                    </a:lnTo>
                    <a:lnTo>
                      <a:pt x="386" y="6"/>
                    </a:lnTo>
                    <a:lnTo>
                      <a:pt x="386" y="6"/>
                    </a:lnTo>
                    <a:lnTo>
                      <a:pt x="389" y="6"/>
                    </a:lnTo>
                    <a:lnTo>
                      <a:pt x="392" y="6"/>
                    </a:lnTo>
                    <a:lnTo>
                      <a:pt x="400" y="9"/>
                    </a:lnTo>
                    <a:lnTo>
                      <a:pt x="403" y="6"/>
                    </a:lnTo>
                    <a:lnTo>
                      <a:pt x="406" y="6"/>
                    </a:lnTo>
                    <a:lnTo>
                      <a:pt x="409" y="3"/>
                    </a:lnTo>
                    <a:lnTo>
                      <a:pt x="413" y="2"/>
                    </a:lnTo>
                    <a:lnTo>
                      <a:pt x="416" y="0"/>
                    </a:lnTo>
                    <a:lnTo>
                      <a:pt x="419" y="0"/>
                    </a:lnTo>
                    <a:lnTo>
                      <a:pt x="422" y="2"/>
                    </a:lnTo>
                    <a:lnTo>
                      <a:pt x="425" y="2"/>
                    </a:lnTo>
                    <a:lnTo>
                      <a:pt x="427" y="5"/>
                    </a:lnTo>
                    <a:lnTo>
                      <a:pt x="430" y="3"/>
                    </a:lnTo>
                    <a:lnTo>
                      <a:pt x="433" y="2"/>
                    </a:lnTo>
                    <a:lnTo>
                      <a:pt x="438" y="3"/>
                    </a:lnTo>
                    <a:lnTo>
                      <a:pt x="444" y="5"/>
                    </a:lnTo>
                    <a:lnTo>
                      <a:pt x="446" y="9"/>
                    </a:lnTo>
                    <a:lnTo>
                      <a:pt x="447" y="13"/>
                    </a:lnTo>
                    <a:lnTo>
                      <a:pt x="451" y="11"/>
                    </a:lnTo>
                    <a:lnTo>
                      <a:pt x="451" y="11"/>
                    </a:lnTo>
                    <a:lnTo>
                      <a:pt x="455" y="11"/>
                    </a:lnTo>
                    <a:lnTo>
                      <a:pt x="459" y="13"/>
                    </a:lnTo>
                    <a:lnTo>
                      <a:pt x="462" y="14"/>
                    </a:lnTo>
                    <a:lnTo>
                      <a:pt x="465" y="19"/>
                    </a:lnTo>
                    <a:lnTo>
                      <a:pt x="466" y="21"/>
                    </a:lnTo>
                    <a:lnTo>
                      <a:pt x="470" y="24"/>
                    </a:lnTo>
                    <a:lnTo>
                      <a:pt x="471" y="27"/>
                    </a:lnTo>
                    <a:lnTo>
                      <a:pt x="471" y="30"/>
                    </a:lnTo>
                    <a:lnTo>
                      <a:pt x="473" y="33"/>
                    </a:lnTo>
                    <a:lnTo>
                      <a:pt x="471" y="36"/>
                    </a:lnTo>
                    <a:lnTo>
                      <a:pt x="471" y="41"/>
                    </a:lnTo>
                    <a:lnTo>
                      <a:pt x="474" y="43"/>
                    </a:lnTo>
                    <a:lnTo>
                      <a:pt x="478" y="44"/>
                    </a:lnTo>
                    <a:lnTo>
                      <a:pt x="481" y="47"/>
                    </a:lnTo>
                    <a:lnTo>
                      <a:pt x="484" y="51"/>
                    </a:lnTo>
                    <a:lnTo>
                      <a:pt x="487" y="51"/>
                    </a:lnTo>
                    <a:lnTo>
                      <a:pt x="490" y="47"/>
                    </a:lnTo>
                    <a:lnTo>
                      <a:pt x="495" y="46"/>
                    </a:lnTo>
                    <a:lnTo>
                      <a:pt x="495" y="51"/>
                    </a:lnTo>
                    <a:lnTo>
                      <a:pt x="498" y="54"/>
                    </a:lnTo>
                    <a:lnTo>
                      <a:pt x="501" y="55"/>
                    </a:lnTo>
                    <a:lnTo>
                      <a:pt x="505" y="57"/>
                    </a:lnTo>
                    <a:lnTo>
                      <a:pt x="508" y="59"/>
                    </a:lnTo>
                    <a:lnTo>
                      <a:pt x="516" y="60"/>
                    </a:lnTo>
                    <a:lnTo>
                      <a:pt x="519" y="62"/>
                    </a:lnTo>
                    <a:lnTo>
                      <a:pt x="522" y="62"/>
                    </a:lnTo>
                    <a:lnTo>
                      <a:pt x="525" y="63"/>
                    </a:lnTo>
                    <a:lnTo>
                      <a:pt x="528" y="63"/>
                    </a:lnTo>
                    <a:lnTo>
                      <a:pt x="533" y="63"/>
                    </a:lnTo>
                    <a:lnTo>
                      <a:pt x="536" y="65"/>
                    </a:lnTo>
                    <a:lnTo>
                      <a:pt x="539" y="63"/>
                    </a:lnTo>
                    <a:lnTo>
                      <a:pt x="541" y="63"/>
                    </a:lnTo>
                    <a:lnTo>
                      <a:pt x="530" y="71"/>
                    </a:lnTo>
                    <a:lnTo>
                      <a:pt x="517" y="79"/>
                    </a:lnTo>
                    <a:lnTo>
                      <a:pt x="519" y="82"/>
                    </a:lnTo>
                    <a:lnTo>
                      <a:pt x="519" y="84"/>
                    </a:lnTo>
                    <a:lnTo>
                      <a:pt x="516" y="87"/>
                    </a:lnTo>
                    <a:lnTo>
                      <a:pt x="516" y="87"/>
                    </a:lnTo>
                    <a:lnTo>
                      <a:pt x="516" y="87"/>
                    </a:lnTo>
                    <a:lnTo>
                      <a:pt x="514" y="86"/>
                    </a:lnTo>
                    <a:lnTo>
                      <a:pt x="511" y="86"/>
                    </a:lnTo>
                    <a:lnTo>
                      <a:pt x="511" y="90"/>
                    </a:lnTo>
                    <a:lnTo>
                      <a:pt x="511" y="93"/>
                    </a:lnTo>
                    <a:lnTo>
                      <a:pt x="501" y="93"/>
                    </a:lnTo>
                    <a:lnTo>
                      <a:pt x="498" y="93"/>
                    </a:lnTo>
                    <a:lnTo>
                      <a:pt x="497" y="95"/>
                    </a:lnTo>
                    <a:lnTo>
                      <a:pt x="490" y="97"/>
                    </a:lnTo>
                    <a:lnTo>
                      <a:pt x="490" y="97"/>
                    </a:lnTo>
                    <a:lnTo>
                      <a:pt x="487" y="98"/>
                    </a:lnTo>
                    <a:lnTo>
                      <a:pt x="484" y="100"/>
                    </a:lnTo>
                    <a:lnTo>
                      <a:pt x="481" y="103"/>
                    </a:lnTo>
                    <a:lnTo>
                      <a:pt x="476" y="103"/>
                    </a:lnTo>
                    <a:lnTo>
                      <a:pt x="470" y="103"/>
                    </a:lnTo>
                    <a:lnTo>
                      <a:pt x="466" y="101"/>
                    </a:lnTo>
                    <a:lnTo>
                      <a:pt x="455" y="98"/>
                    </a:lnTo>
                    <a:lnTo>
                      <a:pt x="444" y="97"/>
                    </a:lnTo>
                    <a:lnTo>
                      <a:pt x="441" y="97"/>
                    </a:lnTo>
                    <a:lnTo>
                      <a:pt x="438" y="95"/>
                    </a:lnTo>
                    <a:lnTo>
                      <a:pt x="435" y="93"/>
                    </a:lnTo>
                    <a:lnTo>
                      <a:pt x="430" y="92"/>
                    </a:lnTo>
                    <a:lnTo>
                      <a:pt x="428" y="92"/>
                    </a:lnTo>
                    <a:lnTo>
                      <a:pt x="425" y="93"/>
                    </a:lnTo>
                    <a:lnTo>
                      <a:pt x="422" y="97"/>
                    </a:lnTo>
                    <a:lnTo>
                      <a:pt x="417" y="97"/>
                    </a:lnTo>
                    <a:lnTo>
                      <a:pt x="417" y="100"/>
                    </a:lnTo>
                    <a:lnTo>
                      <a:pt x="416" y="103"/>
                    </a:lnTo>
                    <a:lnTo>
                      <a:pt x="414" y="108"/>
                    </a:lnTo>
                    <a:lnTo>
                      <a:pt x="414" y="109"/>
                    </a:lnTo>
                    <a:lnTo>
                      <a:pt x="417" y="111"/>
                    </a:lnTo>
                    <a:lnTo>
                      <a:pt x="421" y="113"/>
                    </a:lnTo>
                    <a:lnTo>
                      <a:pt x="422" y="117"/>
                    </a:lnTo>
                    <a:lnTo>
                      <a:pt x="421" y="120"/>
                    </a:lnTo>
                    <a:lnTo>
                      <a:pt x="421" y="120"/>
                    </a:lnTo>
                    <a:lnTo>
                      <a:pt x="422" y="124"/>
                    </a:lnTo>
                    <a:lnTo>
                      <a:pt x="425" y="124"/>
                    </a:lnTo>
                    <a:lnTo>
                      <a:pt x="427" y="124"/>
                    </a:lnTo>
                    <a:lnTo>
                      <a:pt x="430" y="124"/>
                    </a:lnTo>
                    <a:lnTo>
                      <a:pt x="433" y="124"/>
                    </a:lnTo>
                    <a:lnTo>
                      <a:pt x="435" y="128"/>
                    </a:lnTo>
                    <a:lnTo>
                      <a:pt x="430" y="130"/>
                    </a:lnTo>
                    <a:lnTo>
                      <a:pt x="428" y="132"/>
                    </a:lnTo>
                    <a:lnTo>
                      <a:pt x="425" y="135"/>
                    </a:lnTo>
                    <a:lnTo>
                      <a:pt x="425" y="135"/>
                    </a:lnTo>
                    <a:lnTo>
                      <a:pt x="425" y="136"/>
                    </a:lnTo>
                    <a:lnTo>
                      <a:pt x="427" y="138"/>
                    </a:lnTo>
                    <a:lnTo>
                      <a:pt x="432" y="141"/>
                    </a:lnTo>
                    <a:lnTo>
                      <a:pt x="433" y="143"/>
                    </a:lnTo>
                    <a:lnTo>
                      <a:pt x="435" y="144"/>
                    </a:lnTo>
                    <a:lnTo>
                      <a:pt x="435" y="147"/>
                    </a:lnTo>
                    <a:lnTo>
                      <a:pt x="433" y="151"/>
                    </a:lnTo>
                    <a:lnTo>
                      <a:pt x="432" y="157"/>
                    </a:lnTo>
                    <a:lnTo>
                      <a:pt x="435" y="160"/>
                    </a:lnTo>
                    <a:lnTo>
                      <a:pt x="435" y="160"/>
                    </a:lnTo>
                    <a:lnTo>
                      <a:pt x="440" y="163"/>
                    </a:lnTo>
                    <a:lnTo>
                      <a:pt x="443" y="165"/>
                    </a:lnTo>
                    <a:lnTo>
                      <a:pt x="444" y="168"/>
                    </a:lnTo>
                    <a:lnTo>
                      <a:pt x="446" y="171"/>
                    </a:lnTo>
                    <a:lnTo>
                      <a:pt x="444" y="173"/>
                    </a:lnTo>
                    <a:lnTo>
                      <a:pt x="449" y="174"/>
                    </a:lnTo>
                    <a:lnTo>
                      <a:pt x="452" y="176"/>
                    </a:lnTo>
                    <a:lnTo>
                      <a:pt x="452" y="176"/>
                    </a:lnTo>
                    <a:lnTo>
                      <a:pt x="455" y="174"/>
                    </a:lnTo>
                    <a:lnTo>
                      <a:pt x="459" y="178"/>
                    </a:lnTo>
                    <a:lnTo>
                      <a:pt x="459" y="182"/>
                    </a:lnTo>
                    <a:lnTo>
                      <a:pt x="459" y="182"/>
                    </a:lnTo>
                    <a:lnTo>
                      <a:pt x="459" y="182"/>
                    </a:lnTo>
                    <a:lnTo>
                      <a:pt x="460" y="187"/>
                    </a:lnTo>
                    <a:lnTo>
                      <a:pt x="463" y="187"/>
                    </a:lnTo>
                    <a:lnTo>
                      <a:pt x="468" y="187"/>
                    </a:lnTo>
                    <a:lnTo>
                      <a:pt x="471" y="187"/>
                    </a:lnTo>
                    <a:lnTo>
                      <a:pt x="474" y="187"/>
                    </a:lnTo>
                    <a:lnTo>
                      <a:pt x="481" y="192"/>
                    </a:lnTo>
                    <a:lnTo>
                      <a:pt x="482" y="192"/>
                    </a:lnTo>
                    <a:lnTo>
                      <a:pt x="486" y="195"/>
                    </a:lnTo>
                    <a:lnTo>
                      <a:pt x="484" y="200"/>
                    </a:lnTo>
                    <a:lnTo>
                      <a:pt x="481" y="201"/>
                    </a:lnTo>
                    <a:lnTo>
                      <a:pt x="478" y="203"/>
                    </a:lnTo>
                    <a:lnTo>
                      <a:pt x="474" y="203"/>
                    </a:lnTo>
                    <a:lnTo>
                      <a:pt x="471" y="204"/>
                    </a:lnTo>
                    <a:lnTo>
                      <a:pt x="468" y="209"/>
                    </a:lnTo>
                    <a:lnTo>
                      <a:pt x="463" y="211"/>
                    </a:lnTo>
                    <a:lnTo>
                      <a:pt x="460" y="214"/>
                    </a:lnTo>
                    <a:lnTo>
                      <a:pt x="460" y="217"/>
                    </a:lnTo>
                    <a:lnTo>
                      <a:pt x="460" y="219"/>
                    </a:lnTo>
                    <a:lnTo>
                      <a:pt x="463" y="222"/>
                    </a:lnTo>
                    <a:lnTo>
                      <a:pt x="463" y="222"/>
                    </a:lnTo>
                    <a:lnTo>
                      <a:pt x="465" y="225"/>
                    </a:lnTo>
                    <a:lnTo>
                      <a:pt x="466" y="228"/>
                    </a:lnTo>
                    <a:lnTo>
                      <a:pt x="465" y="231"/>
                    </a:lnTo>
                    <a:lnTo>
                      <a:pt x="465" y="235"/>
                    </a:lnTo>
                    <a:lnTo>
                      <a:pt x="465" y="238"/>
                    </a:lnTo>
                    <a:lnTo>
                      <a:pt x="465" y="241"/>
                    </a:lnTo>
                    <a:lnTo>
                      <a:pt x="466" y="243"/>
                    </a:lnTo>
                    <a:lnTo>
                      <a:pt x="471" y="243"/>
                    </a:lnTo>
                    <a:lnTo>
                      <a:pt x="470" y="246"/>
                    </a:lnTo>
                    <a:lnTo>
                      <a:pt x="468" y="246"/>
                    </a:lnTo>
                    <a:lnTo>
                      <a:pt x="466" y="246"/>
                    </a:lnTo>
                    <a:lnTo>
                      <a:pt x="466" y="247"/>
                    </a:lnTo>
                    <a:lnTo>
                      <a:pt x="466" y="247"/>
                    </a:lnTo>
                    <a:lnTo>
                      <a:pt x="466" y="249"/>
                    </a:lnTo>
                    <a:lnTo>
                      <a:pt x="463" y="252"/>
                    </a:lnTo>
                    <a:lnTo>
                      <a:pt x="459" y="252"/>
                    </a:lnTo>
                    <a:lnTo>
                      <a:pt x="459" y="255"/>
                    </a:lnTo>
                    <a:lnTo>
                      <a:pt x="457" y="260"/>
                    </a:lnTo>
                    <a:lnTo>
                      <a:pt x="454" y="262"/>
                    </a:lnTo>
                    <a:lnTo>
                      <a:pt x="454" y="265"/>
                    </a:lnTo>
                    <a:lnTo>
                      <a:pt x="451" y="270"/>
                    </a:lnTo>
                    <a:lnTo>
                      <a:pt x="447" y="273"/>
                    </a:lnTo>
                    <a:lnTo>
                      <a:pt x="447" y="273"/>
                    </a:lnTo>
                    <a:lnTo>
                      <a:pt x="451" y="274"/>
                    </a:lnTo>
                    <a:lnTo>
                      <a:pt x="451" y="276"/>
                    </a:lnTo>
                    <a:lnTo>
                      <a:pt x="451" y="276"/>
                    </a:lnTo>
                    <a:lnTo>
                      <a:pt x="452" y="281"/>
                    </a:lnTo>
                    <a:lnTo>
                      <a:pt x="446" y="285"/>
                    </a:lnTo>
                    <a:lnTo>
                      <a:pt x="440" y="289"/>
                    </a:lnTo>
                    <a:lnTo>
                      <a:pt x="438" y="289"/>
                    </a:lnTo>
                    <a:lnTo>
                      <a:pt x="435" y="292"/>
                    </a:lnTo>
                    <a:lnTo>
                      <a:pt x="435" y="296"/>
                    </a:lnTo>
                    <a:lnTo>
                      <a:pt x="433" y="300"/>
                    </a:lnTo>
                    <a:lnTo>
                      <a:pt x="433" y="300"/>
                    </a:lnTo>
                    <a:lnTo>
                      <a:pt x="432" y="309"/>
                    </a:lnTo>
                    <a:lnTo>
                      <a:pt x="428" y="317"/>
                    </a:lnTo>
                    <a:lnTo>
                      <a:pt x="427" y="320"/>
                    </a:lnTo>
                    <a:lnTo>
                      <a:pt x="425" y="325"/>
                    </a:lnTo>
                    <a:lnTo>
                      <a:pt x="424" y="328"/>
                    </a:lnTo>
                    <a:lnTo>
                      <a:pt x="421" y="330"/>
                    </a:lnTo>
                    <a:lnTo>
                      <a:pt x="416" y="331"/>
                    </a:lnTo>
                    <a:lnTo>
                      <a:pt x="413" y="335"/>
                    </a:lnTo>
                    <a:lnTo>
                      <a:pt x="408" y="338"/>
                    </a:lnTo>
                    <a:lnTo>
                      <a:pt x="405" y="341"/>
                    </a:lnTo>
                    <a:lnTo>
                      <a:pt x="405" y="346"/>
                    </a:lnTo>
                    <a:lnTo>
                      <a:pt x="403" y="352"/>
                    </a:lnTo>
                    <a:lnTo>
                      <a:pt x="401" y="355"/>
                    </a:lnTo>
                    <a:lnTo>
                      <a:pt x="398" y="358"/>
                    </a:lnTo>
                    <a:lnTo>
                      <a:pt x="397" y="361"/>
                    </a:lnTo>
                    <a:lnTo>
                      <a:pt x="395" y="366"/>
                    </a:lnTo>
                    <a:lnTo>
                      <a:pt x="395" y="369"/>
                    </a:lnTo>
                    <a:lnTo>
                      <a:pt x="392" y="373"/>
                    </a:lnTo>
                    <a:lnTo>
                      <a:pt x="387" y="374"/>
                    </a:lnTo>
                    <a:lnTo>
                      <a:pt x="382" y="374"/>
                    </a:lnTo>
                    <a:lnTo>
                      <a:pt x="376" y="376"/>
                    </a:lnTo>
                    <a:lnTo>
                      <a:pt x="373" y="376"/>
                    </a:lnTo>
                    <a:lnTo>
                      <a:pt x="370" y="377"/>
                    </a:lnTo>
                    <a:lnTo>
                      <a:pt x="367" y="379"/>
                    </a:lnTo>
                    <a:lnTo>
                      <a:pt x="363" y="381"/>
                    </a:lnTo>
                    <a:lnTo>
                      <a:pt x="360" y="382"/>
                    </a:lnTo>
                    <a:lnTo>
                      <a:pt x="357" y="382"/>
                    </a:lnTo>
                    <a:lnTo>
                      <a:pt x="354" y="377"/>
                    </a:lnTo>
                    <a:lnTo>
                      <a:pt x="352" y="374"/>
                    </a:lnTo>
                    <a:lnTo>
                      <a:pt x="351" y="371"/>
                    </a:lnTo>
                    <a:lnTo>
                      <a:pt x="346" y="368"/>
                    </a:lnTo>
                    <a:lnTo>
                      <a:pt x="343" y="368"/>
                    </a:lnTo>
                    <a:lnTo>
                      <a:pt x="340" y="371"/>
                    </a:lnTo>
                    <a:lnTo>
                      <a:pt x="336" y="374"/>
                    </a:lnTo>
                    <a:lnTo>
                      <a:pt x="333" y="379"/>
                    </a:lnTo>
                    <a:lnTo>
                      <a:pt x="333" y="384"/>
                    </a:lnTo>
                    <a:lnTo>
                      <a:pt x="327" y="393"/>
                    </a:lnTo>
                    <a:lnTo>
                      <a:pt x="321" y="401"/>
                    </a:lnTo>
                    <a:lnTo>
                      <a:pt x="319" y="404"/>
                    </a:lnTo>
                    <a:lnTo>
                      <a:pt x="317" y="409"/>
                    </a:lnTo>
                    <a:lnTo>
                      <a:pt x="317" y="412"/>
                    </a:lnTo>
                    <a:lnTo>
                      <a:pt x="317" y="419"/>
                    </a:lnTo>
                    <a:lnTo>
                      <a:pt x="321" y="422"/>
                    </a:lnTo>
                    <a:lnTo>
                      <a:pt x="325" y="425"/>
                    </a:lnTo>
                    <a:lnTo>
                      <a:pt x="329" y="426"/>
                    </a:lnTo>
                    <a:lnTo>
                      <a:pt x="332" y="428"/>
                    </a:lnTo>
                    <a:lnTo>
                      <a:pt x="336" y="428"/>
                    </a:lnTo>
                    <a:lnTo>
                      <a:pt x="336" y="426"/>
                    </a:lnTo>
                    <a:lnTo>
                      <a:pt x="341" y="428"/>
                    </a:lnTo>
                    <a:lnTo>
                      <a:pt x="343" y="431"/>
                    </a:lnTo>
                    <a:lnTo>
                      <a:pt x="343" y="438"/>
                    </a:lnTo>
                    <a:lnTo>
                      <a:pt x="344" y="442"/>
                    </a:lnTo>
                    <a:lnTo>
                      <a:pt x="343" y="447"/>
                    </a:lnTo>
                    <a:lnTo>
                      <a:pt x="343" y="450"/>
                    </a:lnTo>
                    <a:lnTo>
                      <a:pt x="343" y="453"/>
                    </a:lnTo>
                    <a:lnTo>
                      <a:pt x="348" y="460"/>
                    </a:lnTo>
                    <a:lnTo>
                      <a:pt x="351" y="463"/>
                    </a:lnTo>
                    <a:lnTo>
                      <a:pt x="351" y="463"/>
                    </a:lnTo>
                    <a:lnTo>
                      <a:pt x="354" y="465"/>
                    </a:lnTo>
                    <a:lnTo>
                      <a:pt x="357" y="465"/>
                    </a:lnTo>
                    <a:lnTo>
                      <a:pt x="362" y="463"/>
                    </a:lnTo>
                    <a:lnTo>
                      <a:pt x="365" y="465"/>
                    </a:lnTo>
                    <a:lnTo>
                      <a:pt x="365" y="471"/>
                    </a:lnTo>
                    <a:lnTo>
                      <a:pt x="367" y="476"/>
                    </a:lnTo>
                    <a:lnTo>
                      <a:pt x="368" y="479"/>
                    </a:lnTo>
                    <a:lnTo>
                      <a:pt x="375" y="485"/>
                    </a:lnTo>
                    <a:lnTo>
                      <a:pt x="379" y="496"/>
                    </a:lnTo>
                    <a:lnTo>
                      <a:pt x="384" y="506"/>
                    </a:lnTo>
                    <a:lnTo>
                      <a:pt x="381" y="507"/>
                    </a:lnTo>
                    <a:lnTo>
                      <a:pt x="381" y="511"/>
                    </a:lnTo>
                    <a:lnTo>
                      <a:pt x="382" y="515"/>
                    </a:lnTo>
                    <a:lnTo>
                      <a:pt x="386" y="517"/>
                    </a:lnTo>
                    <a:lnTo>
                      <a:pt x="382" y="518"/>
                    </a:lnTo>
                    <a:lnTo>
                      <a:pt x="379" y="520"/>
                    </a:lnTo>
                    <a:lnTo>
                      <a:pt x="376" y="523"/>
                    </a:lnTo>
                    <a:lnTo>
                      <a:pt x="373" y="523"/>
                    </a:lnTo>
                    <a:lnTo>
                      <a:pt x="370" y="523"/>
                    </a:lnTo>
                    <a:lnTo>
                      <a:pt x="368" y="518"/>
                    </a:lnTo>
                    <a:lnTo>
                      <a:pt x="365" y="515"/>
                    </a:lnTo>
                    <a:lnTo>
                      <a:pt x="362" y="517"/>
                    </a:lnTo>
                    <a:lnTo>
                      <a:pt x="359" y="518"/>
                    </a:lnTo>
                    <a:lnTo>
                      <a:pt x="355" y="520"/>
                    </a:lnTo>
                    <a:lnTo>
                      <a:pt x="352" y="520"/>
                    </a:lnTo>
                    <a:lnTo>
                      <a:pt x="351" y="525"/>
                    </a:lnTo>
                    <a:lnTo>
                      <a:pt x="351" y="525"/>
                    </a:lnTo>
                    <a:lnTo>
                      <a:pt x="348" y="526"/>
                    </a:lnTo>
                    <a:lnTo>
                      <a:pt x="341" y="526"/>
                    </a:lnTo>
                    <a:lnTo>
                      <a:pt x="336" y="525"/>
                    </a:lnTo>
                    <a:lnTo>
                      <a:pt x="335" y="523"/>
                    </a:lnTo>
                    <a:lnTo>
                      <a:pt x="332" y="522"/>
                    </a:lnTo>
                    <a:lnTo>
                      <a:pt x="327" y="522"/>
                    </a:lnTo>
                    <a:lnTo>
                      <a:pt x="324" y="522"/>
                    </a:lnTo>
                    <a:lnTo>
                      <a:pt x="321" y="522"/>
                    </a:lnTo>
                    <a:lnTo>
                      <a:pt x="319" y="523"/>
                    </a:lnTo>
                    <a:lnTo>
                      <a:pt x="316" y="522"/>
                    </a:lnTo>
                    <a:lnTo>
                      <a:pt x="314" y="522"/>
                    </a:lnTo>
                    <a:lnTo>
                      <a:pt x="309" y="520"/>
                    </a:lnTo>
                    <a:lnTo>
                      <a:pt x="306" y="522"/>
                    </a:lnTo>
                    <a:lnTo>
                      <a:pt x="303" y="520"/>
                    </a:lnTo>
                    <a:lnTo>
                      <a:pt x="303" y="520"/>
                    </a:lnTo>
                    <a:lnTo>
                      <a:pt x="303" y="523"/>
                    </a:lnTo>
                    <a:lnTo>
                      <a:pt x="305" y="528"/>
                    </a:lnTo>
                    <a:lnTo>
                      <a:pt x="305" y="531"/>
                    </a:lnTo>
                    <a:lnTo>
                      <a:pt x="303" y="534"/>
                    </a:lnTo>
                    <a:lnTo>
                      <a:pt x="295" y="534"/>
                    </a:lnTo>
                    <a:lnTo>
                      <a:pt x="292" y="536"/>
                    </a:lnTo>
                    <a:lnTo>
                      <a:pt x="289" y="536"/>
                    </a:lnTo>
                    <a:lnTo>
                      <a:pt x="286" y="539"/>
                    </a:lnTo>
                    <a:lnTo>
                      <a:pt x="286" y="542"/>
                    </a:lnTo>
                    <a:lnTo>
                      <a:pt x="286" y="539"/>
                    </a:lnTo>
                    <a:lnTo>
                      <a:pt x="284" y="544"/>
                    </a:lnTo>
                    <a:lnTo>
                      <a:pt x="281" y="539"/>
                    </a:lnTo>
                    <a:lnTo>
                      <a:pt x="279" y="536"/>
                    </a:lnTo>
                    <a:lnTo>
                      <a:pt x="279" y="536"/>
                    </a:lnTo>
                    <a:lnTo>
                      <a:pt x="281" y="539"/>
                    </a:lnTo>
                    <a:lnTo>
                      <a:pt x="279" y="542"/>
                    </a:lnTo>
                    <a:lnTo>
                      <a:pt x="276" y="541"/>
                    </a:lnTo>
                    <a:lnTo>
                      <a:pt x="275" y="538"/>
                    </a:lnTo>
                    <a:lnTo>
                      <a:pt x="273" y="538"/>
                    </a:lnTo>
                    <a:lnTo>
                      <a:pt x="273" y="538"/>
                    </a:lnTo>
                    <a:lnTo>
                      <a:pt x="273" y="541"/>
                    </a:lnTo>
                    <a:lnTo>
                      <a:pt x="270" y="541"/>
                    </a:lnTo>
                    <a:lnTo>
                      <a:pt x="267" y="542"/>
                    </a:lnTo>
                    <a:lnTo>
                      <a:pt x="267" y="536"/>
                    </a:lnTo>
                    <a:lnTo>
                      <a:pt x="262" y="538"/>
                    </a:lnTo>
                    <a:lnTo>
                      <a:pt x="262" y="536"/>
                    </a:lnTo>
                    <a:lnTo>
                      <a:pt x="259" y="533"/>
                    </a:lnTo>
                    <a:lnTo>
                      <a:pt x="262" y="531"/>
                    </a:lnTo>
                    <a:lnTo>
                      <a:pt x="262" y="531"/>
                    </a:lnTo>
                    <a:lnTo>
                      <a:pt x="257" y="531"/>
                    </a:lnTo>
                    <a:lnTo>
                      <a:pt x="254" y="528"/>
                    </a:lnTo>
                    <a:lnTo>
                      <a:pt x="252" y="525"/>
                    </a:lnTo>
                    <a:lnTo>
                      <a:pt x="252" y="522"/>
                    </a:lnTo>
                    <a:lnTo>
                      <a:pt x="254" y="518"/>
                    </a:lnTo>
                    <a:lnTo>
                      <a:pt x="251" y="517"/>
                    </a:lnTo>
                    <a:lnTo>
                      <a:pt x="249" y="512"/>
                    </a:lnTo>
                    <a:lnTo>
                      <a:pt x="249" y="509"/>
                    </a:lnTo>
                    <a:lnTo>
                      <a:pt x="246" y="506"/>
                    </a:lnTo>
                    <a:lnTo>
                      <a:pt x="246" y="503"/>
                    </a:lnTo>
                    <a:lnTo>
                      <a:pt x="243" y="501"/>
                    </a:lnTo>
                    <a:lnTo>
                      <a:pt x="240" y="499"/>
                    </a:lnTo>
                    <a:lnTo>
                      <a:pt x="237" y="499"/>
                    </a:lnTo>
                    <a:lnTo>
                      <a:pt x="233" y="499"/>
                    </a:lnTo>
                    <a:lnTo>
                      <a:pt x="229" y="496"/>
                    </a:lnTo>
                    <a:lnTo>
                      <a:pt x="227" y="496"/>
                    </a:lnTo>
                    <a:lnTo>
                      <a:pt x="229" y="490"/>
                    </a:lnTo>
                    <a:lnTo>
                      <a:pt x="229" y="485"/>
                    </a:lnTo>
                    <a:lnTo>
                      <a:pt x="227" y="482"/>
                    </a:lnTo>
                    <a:lnTo>
                      <a:pt x="222" y="479"/>
                    </a:lnTo>
                    <a:lnTo>
                      <a:pt x="222" y="474"/>
                    </a:lnTo>
                    <a:lnTo>
                      <a:pt x="221" y="471"/>
                    </a:lnTo>
                    <a:lnTo>
                      <a:pt x="216" y="468"/>
                    </a:lnTo>
                    <a:lnTo>
                      <a:pt x="213" y="468"/>
                    </a:lnTo>
                    <a:lnTo>
                      <a:pt x="210" y="468"/>
                    </a:lnTo>
                    <a:lnTo>
                      <a:pt x="206" y="469"/>
                    </a:lnTo>
                    <a:lnTo>
                      <a:pt x="205" y="474"/>
                    </a:lnTo>
                    <a:lnTo>
                      <a:pt x="208" y="472"/>
                    </a:lnTo>
                    <a:lnTo>
                      <a:pt x="213" y="469"/>
                    </a:lnTo>
                    <a:lnTo>
                      <a:pt x="216" y="472"/>
                    </a:lnTo>
                    <a:lnTo>
                      <a:pt x="217" y="476"/>
                    </a:lnTo>
                    <a:lnTo>
                      <a:pt x="214" y="474"/>
                    </a:lnTo>
                    <a:lnTo>
                      <a:pt x="211" y="474"/>
                    </a:lnTo>
                    <a:lnTo>
                      <a:pt x="208" y="474"/>
                    </a:lnTo>
                    <a:lnTo>
                      <a:pt x="205" y="474"/>
                    </a:lnTo>
                    <a:lnTo>
                      <a:pt x="200" y="476"/>
                    </a:lnTo>
                    <a:lnTo>
                      <a:pt x="197" y="476"/>
                    </a:lnTo>
                    <a:lnTo>
                      <a:pt x="194" y="477"/>
                    </a:lnTo>
                    <a:lnTo>
                      <a:pt x="191" y="479"/>
                    </a:lnTo>
                    <a:lnTo>
                      <a:pt x="187" y="477"/>
                    </a:lnTo>
                    <a:lnTo>
                      <a:pt x="183" y="477"/>
                    </a:lnTo>
                    <a:lnTo>
                      <a:pt x="181" y="477"/>
                    </a:lnTo>
                    <a:lnTo>
                      <a:pt x="178" y="477"/>
                    </a:lnTo>
                    <a:lnTo>
                      <a:pt x="175" y="479"/>
                    </a:lnTo>
                    <a:lnTo>
                      <a:pt x="171" y="480"/>
                    </a:lnTo>
                    <a:lnTo>
                      <a:pt x="167" y="479"/>
                    </a:lnTo>
                    <a:lnTo>
                      <a:pt x="159" y="479"/>
                    </a:lnTo>
                    <a:lnTo>
                      <a:pt x="156" y="482"/>
                    </a:lnTo>
                    <a:lnTo>
                      <a:pt x="157" y="485"/>
                    </a:lnTo>
                    <a:lnTo>
                      <a:pt x="154" y="485"/>
                    </a:lnTo>
                    <a:lnTo>
                      <a:pt x="152" y="482"/>
                    </a:lnTo>
                    <a:lnTo>
                      <a:pt x="149" y="484"/>
                    </a:lnTo>
                    <a:lnTo>
                      <a:pt x="146" y="482"/>
                    </a:lnTo>
                    <a:lnTo>
                      <a:pt x="143" y="480"/>
                    </a:lnTo>
                    <a:lnTo>
                      <a:pt x="138" y="480"/>
                    </a:lnTo>
                    <a:lnTo>
                      <a:pt x="135" y="477"/>
                    </a:lnTo>
                    <a:lnTo>
                      <a:pt x="135" y="474"/>
                    </a:lnTo>
                    <a:lnTo>
                      <a:pt x="132" y="476"/>
                    </a:lnTo>
                    <a:lnTo>
                      <a:pt x="133" y="479"/>
                    </a:lnTo>
                    <a:lnTo>
                      <a:pt x="130" y="479"/>
                    </a:lnTo>
                    <a:lnTo>
                      <a:pt x="127" y="477"/>
                    </a:lnTo>
                    <a:lnTo>
                      <a:pt x="122" y="477"/>
                    </a:lnTo>
                    <a:lnTo>
                      <a:pt x="119" y="477"/>
                    </a:lnTo>
                    <a:lnTo>
                      <a:pt x="116" y="479"/>
                    </a:lnTo>
                    <a:lnTo>
                      <a:pt x="114" y="480"/>
                    </a:lnTo>
                    <a:lnTo>
                      <a:pt x="114" y="485"/>
                    </a:lnTo>
                    <a:lnTo>
                      <a:pt x="106" y="482"/>
                    </a:lnTo>
                    <a:lnTo>
                      <a:pt x="97" y="484"/>
                    </a:lnTo>
                    <a:lnTo>
                      <a:pt x="89" y="482"/>
                    </a:lnTo>
                    <a:lnTo>
                      <a:pt x="86" y="482"/>
                    </a:lnTo>
                    <a:lnTo>
                      <a:pt x="81" y="482"/>
                    </a:lnTo>
                    <a:lnTo>
                      <a:pt x="76" y="485"/>
                    </a:lnTo>
                    <a:lnTo>
                      <a:pt x="76" y="488"/>
                    </a:lnTo>
                    <a:lnTo>
                      <a:pt x="73" y="488"/>
                    </a:lnTo>
                    <a:lnTo>
                      <a:pt x="73" y="484"/>
                    </a:lnTo>
                    <a:lnTo>
                      <a:pt x="68" y="484"/>
                    </a:lnTo>
                    <a:lnTo>
                      <a:pt x="65" y="484"/>
                    </a:lnTo>
                    <a:lnTo>
                      <a:pt x="64" y="488"/>
                    </a:lnTo>
                    <a:lnTo>
                      <a:pt x="60" y="488"/>
                    </a:lnTo>
                    <a:lnTo>
                      <a:pt x="57" y="492"/>
                    </a:lnTo>
                    <a:lnTo>
                      <a:pt x="54" y="490"/>
                    </a:lnTo>
                    <a:lnTo>
                      <a:pt x="54" y="488"/>
                    </a:lnTo>
                    <a:lnTo>
                      <a:pt x="53" y="485"/>
                    </a:lnTo>
                    <a:lnTo>
                      <a:pt x="49" y="484"/>
                    </a:lnTo>
                    <a:lnTo>
                      <a:pt x="49" y="480"/>
                    </a:lnTo>
                    <a:lnTo>
                      <a:pt x="49" y="477"/>
                    </a:lnTo>
                    <a:lnTo>
                      <a:pt x="49" y="474"/>
                    </a:lnTo>
                    <a:lnTo>
                      <a:pt x="49" y="469"/>
                    </a:lnTo>
                    <a:lnTo>
                      <a:pt x="49" y="466"/>
                    </a:lnTo>
                    <a:lnTo>
                      <a:pt x="49" y="463"/>
                    </a:lnTo>
                    <a:lnTo>
                      <a:pt x="49" y="460"/>
                    </a:lnTo>
                    <a:lnTo>
                      <a:pt x="53" y="457"/>
                    </a:lnTo>
                    <a:lnTo>
                      <a:pt x="53" y="452"/>
                    </a:lnTo>
                    <a:lnTo>
                      <a:pt x="53" y="449"/>
                    </a:lnTo>
                    <a:lnTo>
                      <a:pt x="53" y="449"/>
                    </a:lnTo>
                    <a:lnTo>
                      <a:pt x="53" y="444"/>
                    </a:lnTo>
                    <a:lnTo>
                      <a:pt x="54" y="441"/>
                    </a:lnTo>
                    <a:lnTo>
                      <a:pt x="57" y="441"/>
                    </a:lnTo>
                    <a:lnTo>
                      <a:pt x="60" y="439"/>
                    </a:lnTo>
                    <a:lnTo>
                      <a:pt x="65" y="436"/>
                    </a:lnTo>
                    <a:lnTo>
                      <a:pt x="67" y="438"/>
                    </a:lnTo>
                    <a:lnTo>
                      <a:pt x="67" y="434"/>
                    </a:lnTo>
                    <a:lnTo>
                      <a:pt x="67" y="431"/>
                    </a:lnTo>
                    <a:lnTo>
                      <a:pt x="68" y="430"/>
                    </a:lnTo>
                    <a:lnTo>
                      <a:pt x="70" y="430"/>
                    </a:lnTo>
                    <a:lnTo>
                      <a:pt x="75" y="428"/>
                    </a:lnTo>
                    <a:lnTo>
                      <a:pt x="78" y="428"/>
                    </a:lnTo>
                    <a:lnTo>
                      <a:pt x="84" y="426"/>
                    </a:lnTo>
                    <a:lnTo>
                      <a:pt x="86" y="425"/>
                    </a:lnTo>
                    <a:lnTo>
                      <a:pt x="89" y="425"/>
                    </a:lnTo>
                    <a:lnTo>
                      <a:pt x="95" y="425"/>
                    </a:lnTo>
                    <a:lnTo>
                      <a:pt x="97" y="422"/>
                    </a:lnTo>
                    <a:lnTo>
                      <a:pt x="97" y="419"/>
                    </a:lnTo>
                    <a:lnTo>
                      <a:pt x="100" y="415"/>
                    </a:lnTo>
                    <a:lnTo>
                      <a:pt x="99" y="411"/>
                    </a:lnTo>
                    <a:lnTo>
                      <a:pt x="99" y="409"/>
                    </a:lnTo>
                    <a:lnTo>
                      <a:pt x="99" y="406"/>
                    </a:lnTo>
                    <a:lnTo>
                      <a:pt x="99" y="406"/>
                    </a:lnTo>
                    <a:lnTo>
                      <a:pt x="100" y="406"/>
                    </a:lnTo>
                    <a:lnTo>
                      <a:pt x="100" y="406"/>
                    </a:lnTo>
                    <a:lnTo>
                      <a:pt x="100" y="406"/>
                    </a:lnTo>
                    <a:lnTo>
                      <a:pt x="100" y="404"/>
                    </a:lnTo>
                    <a:lnTo>
                      <a:pt x="97" y="401"/>
                    </a:lnTo>
                    <a:lnTo>
                      <a:pt x="94" y="401"/>
                    </a:lnTo>
                    <a:lnTo>
                      <a:pt x="91" y="401"/>
                    </a:lnTo>
                    <a:lnTo>
                      <a:pt x="87" y="401"/>
                    </a:lnTo>
                    <a:lnTo>
                      <a:pt x="84" y="401"/>
                    </a:lnTo>
                    <a:lnTo>
                      <a:pt x="83" y="401"/>
                    </a:lnTo>
                    <a:lnTo>
                      <a:pt x="83" y="400"/>
                    </a:lnTo>
                    <a:lnTo>
                      <a:pt x="81" y="395"/>
                    </a:lnTo>
                    <a:lnTo>
                      <a:pt x="81" y="390"/>
                    </a:lnTo>
                    <a:lnTo>
                      <a:pt x="78" y="376"/>
                    </a:lnTo>
                    <a:lnTo>
                      <a:pt x="76" y="360"/>
                    </a:lnTo>
                    <a:lnTo>
                      <a:pt x="65" y="357"/>
                    </a:lnTo>
                    <a:lnTo>
                      <a:pt x="56" y="352"/>
                    </a:lnTo>
                    <a:lnTo>
                      <a:pt x="53" y="350"/>
                    </a:lnTo>
                    <a:lnTo>
                      <a:pt x="49" y="349"/>
                    </a:lnTo>
                    <a:lnTo>
                      <a:pt x="45" y="349"/>
                    </a:lnTo>
                    <a:lnTo>
                      <a:pt x="41" y="346"/>
                    </a:lnTo>
                    <a:lnTo>
                      <a:pt x="35" y="339"/>
                    </a:lnTo>
                    <a:lnTo>
                      <a:pt x="32" y="336"/>
                    </a:lnTo>
                    <a:lnTo>
                      <a:pt x="30" y="333"/>
                    </a:lnTo>
                    <a:lnTo>
                      <a:pt x="29" y="330"/>
                    </a:lnTo>
                    <a:lnTo>
                      <a:pt x="29" y="330"/>
                    </a:lnTo>
                    <a:lnTo>
                      <a:pt x="27" y="325"/>
                    </a:lnTo>
                    <a:lnTo>
                      <a:pt x="24" y="322"/>
                    </a:lnTo>
                    <a:lnTo>
                      <a:pt x="21" y="319"/>
                    </a:lnTo>
                    <a:lnTo>
                      <a:pt x="21" y="315"/>
                    </a:lnTo>
                    <a:lnTo>
                      <a:pt x="11" y="304"/>
                    </a:lnTo>
                    <a:lnTo>
                      <a:pt x="0" y="29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39" name="Freeform 398"/>
              <p:cNvSpPr>
                <a:spLocks/>
              </p:cNvSpPr>
              <p:nvPr/>
            </p:nvSpPr>
            <p:spPr bwMode="auto">
              <a:xfrm>
                <a:off x="5739185" y="2722356"/>
                <a:ext cx="360878" cy="279371"/>
              </a:xfrm>
              <a:custGeom>
                <a:avLst/>
                <a:gdLst>
                  <a:gd name="T0" fmla="*/ 5 w 463"/>
                  <a:gd name="T1" fmla="*/ 158 h 369"/>
                  <a:gd name="T2" fmla="*/ 14 w 463"/>
                  <a:gd name="T3" fmla="*/ 141 h 369"/>
                  <a:gd name="T4" fmla="*/ 16 w 463"/>
                  <a:gd name="T5" fmla="*/ 116 h 369"/>
                  <a:gd name="T6" fmla="*/ 38 w 463"/>
                  <a:gd name="T7" fmla="*/ 122 h 369"/>
                  <a:gd name="T8" fmla="*/ 54 w 463"/>
                  <a:gd name="T9" fmla="*/ 135 h 369"/>
                  <a:gd name="T10" fmla="*/ 78 w 463"/>
                  <a:gd name="T11" fmla="*/ 124 h 369"/>
                  <a:gd name="T12" fmla="*/ 76 w 463"/>
                  <a:gd name="T13" fmla="*/ 106 h 369"/>
                  <a:gd name="T14" fmla="*/ 105 w 463"/>
                  <a:gd name="T15" fmla="*/ 98 h 369"/>
                  <a:gd name="T16" fmla="*/ 122 w 463"/>
                  <a:gd name="T17" fmla="*/ 79 h 369"/>
                  <a:gd name="T18" fmla="*/ 137 w 463"/>
                  <a:gd name="T19" fmla="*/ 49 h 369"/>
                  <a:gd name="T20" fmla="*/ 154 w 463"/>
                  <a:gd name="T21" fmla="*/ 36 h 369"/>
                  <a:gd name="T22" fmla="*/ 178 w 463"/>
                  <a:gd name="T23" fmla="*/ 46 h 369"/>
                  <a:gd name="T24" fmla="*/ 198 w 463"/>
                  <a:gd name="T25" fmla="*/ 44 h 369"/>
                  <a:gd name="T26" fmla="*/ 214 w 463"/>
                  <a:gd name="T27" fmla="*/ 47 h 369"/>
                  <a:gd name="T28" fmla="*/ 232 w 463"/>
                  <a:gd name="T29" fmla="*/ 60 h 369"/>
                  <a:gd name="T30" fmla="*/ 244 w 463"/>
                  <a:gd name="T31" fmla="*/ 55 h 369"/>
                  <a:gd name="T32" fmla="*/ 265 w 463"/>
                  <a:gd name="T33" fmla="*/ 49 h 369"/>
                  <a:gd name="T34" fmla="*/ 278 w 463"/>
                  <a:gd name="T35" fmla="*/ 47 h 369"/>
                  <a:gd name="T36" fmla="*/ 290 w 463"/>
                  <a:gd name="T37" fmla="*/ 33 h 369"/>
                  <a:gd name="T38" fmla="*/ 301 w 463"/>
                  <a:gd name="T39" fmla="*/ 27 h 369"/>
                  <a:gd name="T40" fmla="*/ 314 w 463"/>
                  <a:gd name="T41" fmla="*/ 0 h 369"/>
                  <a:gd name="T42" fmla="*/ 333 w 463"/>
                  <a:gd name="T43" fmla="*/ 14 h 369"/>
                  <a:gd name="T44" fmla="*/ 344 w 463"/>
                  <a:gd name="T45" fmla="*/ 28 h 369"/>
                  <a:gd name="T46" fmla="*/ 359 w 463"/>
                  <a:gd name="T47" fmla="*/ 73 h 369"/>
                  <a:gd name="T48" fmla="*/ 389 w 463"/>
                  <a:gd name="T49" fmla="*/ 57 h 369"/>
                  <a:gd name="T50" fmla="*/ 409 w 463"/>
                  <a:gd name="T51" fmla="*/ 41 h 369"/>
                  <a:gd name="T52" fmla="*/ 420 w 463"/>
                  <a:gd name="T53" fmla="*/ 49 h 369"/>
                  <a:gd name="T54" fmla="*/ 449 w 463"/>
                  <a:gd name="T55" fmla="*/ 43 h 369"/>
                  <a:gd name="T56" fmla="*/ 455 w 463"/>
                  <a:gd name="T57" fmla="*/ 47 h 369"/>
                  <a:gd name="T58" fmla="*/ 447 w 463"/>
                  <a:gd name="T59" fmla="*/ 60 h 369"/>
                  <a:gd name="T60" fmla="*/ 424 w 463"/>
                  <a:gd name="T61" fmla="*/ 63 h 369"/>
                  <a:gd name="T62" fmla="*/ 378 w 463"/>
                  <a:gd name="T63" fmla="*/ 70 h 369"/>
                  <a:gd name="T64" fmla="*/ 355 w 463"/>
                  <a:gd name="T65" fmla="*/ 89 h 369"/>
                  <a:gd name="T66" fmla="*/ 360 w 463"/>
                  <a:gd name="T67" fmla="*/ 108 h 369"/>
                  <a:gd name="T68" fmla="*/ 367 w 463"/>
                  <a:gd name="T69" fmla="*/ 127 h 369"/>
                  <a:gd name="T70" fmla="*/ 367 w 463"/>
                  <a:gd name="T71" fmla="*/ 143 h 369"/>
                  <a:gd name="T72" fmla="*/ 355 w 463"/>
                  <a:gd name="T73" fmla="*/ 162 h 369"/>
                  <a:gd name="T74" fmla="*/ 357 w 463"/>
                  <a:gd name="T75" fmla="*/ 181 h 369"/>
                  <a:gd name="T76" fmla="*/ 321 w 463"/>
                  <a:gd name="T77" fmla="*/ 184 h 369"/>
                  <a:gd name="T78" fmla="*/ 338 w 463"/>
                  <a:gd name="T79" fmla="*/ 204 h 369"/>
                  <a:gd name="T80" fmla="*/ 325 w 463"/>
                  <a:gd name="T81" fmla="*/ 217 h 369"/>
                  <a:gd name="T82" fmla="*/ 316 w 463"/>
                  <a:gd name="T83" fmla="*/ 233 h 369"/>
                  <a:gd name="T84" fmla="*/ 313 w 463"/>
                  <a:gd name="T85" fmla="*/ 274 h 369"/>
                  <a:gd name="T86" fmla="*/ 290 w 463"/>
                  <a:gd name="T87" fmla="*/ 274 h 369"/>
                  <a:gd name="T88" fmla="*/ 267 w 463"/>
                  <a:gd name="T89" fmla="*/ 281 h 369"/>
                  <a:gd name="T90" fmla="*/ 262 w 463"/>
                  <a:gd name="T91" fmla="*/ 293 h 369"/>
                  <a:gd name="T92" fmla="*/ 243 w 463"/>
                  <a:gd name="T93" fmla="*/ 292 h 369"/>
                  <a:gd name="T94" fmla="*/ 224 w 463"/>
                  <a:gd name="T95" fmla="*/ 306 h 369"/>
                  <a:gd name="T96" fmla="*/ 225 w 463"/>
                  <a:gd name="T97" fmla="*/ 327 h 369"/>
                  <a:gd name="T98" fmla="*/ 224 w 463"/>
                  <a:gd name="T99" fmla="*/ 352 h 369"/>
                  <a:gd name="T100" fmla="*/ 181 w 463"/>
                  <a:gd name="T101" fmla="*/ 363 h 369"/>
                  <a:gd name="T102" fmla="*/ 157 w 463"/>
                  <a:gd name="T103" fmla="*/ 365 h 369"/>
                  <a:gd name="T104" fmla="*/ 110 w 463"/>
                  <a:gd name="T105" fmla="*/ 368 h 369"/>
                  <a:gd name="T106" fmla="*/ 51 w 463"/>
                  <a:gd name="T107" fmla="*/ 355 h 369"/>
                  <a:gd name="T108" fmla="*/ 60 w 463"/>
                  <a:gd name="T109" fmla="*/ 319 h 369"/>
                  <a:gd name="T110" fmla="*/ 65 w 463"/>
                  <a:gd name="T111" fmla="*/ 301 h 369"/>
                  <a:gd name="T112" fmla="*/ 56 w 463"/>
                  <a:gd name="T113" fmla="*/ 288 h 369"/>
                  <a:gd name="T114" fmla="*/ 35 w 463"/>
                  <a:gd name="T115" fmla="*/ 285 h 369"/>
                  <a:gd name="T116" fmla="*/ 13 w 463"/>
                  <a:gd name="T117" fmla="*/ 230 h 369"/>
                  <a:gd name="T118" fmla="*/ 11 w 463"/>
                  <a:gd name="T119" fmla="*/ 200 h 369"/>
                  <a:gd name="T120" fmla="*/ 2 w 463"/>
                  <a:gd name="T121" fmla="*/ 182 h 3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63" h="369">
                    <a:moveTo>
                      <a:pt x="0" y="179"/>
                    </a:moveTo>
                    <a:lnTo>
                      <a:pt x="0" y="177"/>
                    </a:lnTo>
                    <a:lnTo>
                      <a:pt x="0" y="174"/>
                    </a:lnTo>
                    <a:lnTo>
                      <a:pt x="2" y="171"/>
                    </a:lnTo>
                    <a:lnTo>
                      <a:pt x="6" y="168"/>
                    </a:lnTo>
                    <a:lnTo>
                      <a:pt x="10" y="166"/>
                    </a:lnTo>
                    <a:lnTo>
                      <a:pt x="5" y="158"/>
                    </a:lnTo>
                    <a:lnTo>
                      <a:pt x="8" y="158"/>
                    </a:lnTo>
                    <a:lnTo>
                      <a:pt x="11" y="155"/>
                    </a:lnTo>
                    <a:lnTo>
                      <a:pt x="11" y="152"/>
                    </a:lnTo>
                    <a:lnTo>
                      <a:pt x="13" y="149"/>
                    </a:lnTo>
                    <a:lnTo>
                      <a:pt x="13" y="144"/>
                    </a:lnTo>
                    <a:lnTo>
                      <a:pt x="13" y="141"/>
                    </a:lnTo>
                    <a:lnTo>
                      <a:pt x="14" y="141"/>
                    </a:lnTo>
                    <a:lnTo>
                      <a:pt x="14" y="136"/>
                    </a:lnTo>
                    <a:lnTo>
                      <a:pt x="13" y="133"/>
                    </a:lnTo>
                    <a:lnTo>
                      <a:pt x="11" y="130"/>
                    </a:lnTo>
                    <a:lnTo>
                      <a:pt x="14" y="127"/>
                    </a:lnTo>
                    <a:lnTo>
                      <a:pt x="14" y="122"/>
                    </a:lnTo>
                    <a:lnTo>
                      <a:pt x="16" y="119"/>
                    </a:lnTo>
                    <a:lnTo>
                      <a:pt x="16" y="116"/>
                    </a:lnTo>
                    <a:lnTo>
                      <a:pt x="19" y="116"/>
                    </a:lnTo>
                    <a:lnTo>
                      <a:pt x="21" y="117"/>
                    </a:lnTo>
                    <a:lnTo>
                      <a:pt x="24" y="120"/>
                    </a:lnTo>
                    <a:lnTo>
                      <a:pt x="27" y="122"/>
                    </a:lnTo>
                    <a:lnTo>
                      <a:pt x="32" y="124"/>
                    </a:lnTo>
                    <a:lnTo>
                      <a:pt x="35" y="124"/>
                    </a:lnTo>
                    <a:lnTo>
                      <a:pt x="38" y="122"/>
                    </a:lnTo>
                    <a:lnTo>
                      <a:pt x="43" y="122"/>
                    </a:lnTo>
                    <a:lnTo>
                      <a:pt x="45" y="125"/>
                    </a:lnTo>
                    <a:lnTo>
                      <a:pt x="49" y="127"/>
                    </a:lnTo>
                    <a:lnTo>
                      <a:pt x="52" y="130"/>
                    </a:lnTo>
                    <a:lnTo>
                      <a:pt x="52" y="131"/>
                    </a:lnTo>
                    <a:lnTo>
                      <a:pt x="54" y="135"/>
                    </a:lnTo>
                    <a:lnTo>
                      <a:pt x="54" y="135"/>
                    </a:lnTo>
                    <a:lnTo>
                      <a:pt x="56" y="131"/>
                    </a:lnTo>
                    <a:lnTo>
                      <a:pt x="59" y="130"/>
                    </a:lnTo>
                    <a:lnTo>
                      <a:pt x="64" y="131"/>
                    </a:lnTo>
                    <a:lnTo>
                      <a:pt x="67" y="130"/>
                    </a:lnTo>
                    <a:lnTo>
                      <a:pt x="70" y="127"/>
                    </a:lnTo>
                    <a:lnTo>
                      <a:pt x="73" y="125"/>
                    </a:lnTo>
                    <a:lnTo>
                      <a:pt x="78" y="124"/>
                    </a:lnTo>
                    <a:lnTo>
                      <a:pt x="78" y="119"/>
                    </a:lnTo>
                    <a:lnTo>
                      <a:pt x="78" y="116"/>
                    </a:lnTo>
                    <a:lnTo>
                      <a:pt x="81" y="112"/>
                    </a:lnTo>
                    <a:lnTo>
                      <a:pt x="81" y="112"/>
                    </a:lnTo>
                    <a:lnTo>
                      <a:pt x="78" y="109"/>
                    </a:lnTo>
                    <a:lnTo>
                      <a:pt x="76" y="106"/>
                    </a:lnTo>
                    <a:lnTo>
                      <a:pt x="76" y="106"/>
                    </a:lnTo>
                    <a:lnTo>
                      <a:pt x="81" y="106"/>
                    </a:lnTo>
                    <a:lnTo>
                      <a:pt x="86" y="104"/>
                    </a:lnTo>
                    <a:lnTo>
                      <a:pt x="89" y="103"/>
                    </a:lnTo>
                    <a:lnTo>
                      <a:pt x="94" y="101"/>
                    </a:lnTo>
                    <a:lnTo>
                      <a:pt x="97" y="101"/>
                    </a:lnTo>
                    <a:lnTo>
                      <a:pt x="100" y="98"/>
                    </a:lnTo>
                    <a:lnTo>
                      <a:pt x="105" y="98"/>
                    </a:lnTo>
                    <a:lnTo>
                      <a:pt x="106" y="95"/>
                    </a:lnTo>
                    <a:lnTo>
                      <a:pt x="111" y="93"/>
                    </a:lnTo>
                    <a:lnTo>
                      <a:pt x="114" y="90"/>
                    </a:lnTo>
                    <a:lnTo>
                      <a:pt x="118" y="90"/>
                    </a:lnTo>
                    <a:lnTo>
                      <a:pt x="121" y="85"/>
                    </a:lnTo>
                    <a:lnTo>
                      <a:pt x="122" y="82"/>
                    </a:lnTo>
                    <a:lnTo>
                      <a:pt x="122" y="79"/>
                    </a:lnTo>
                    <a:lnTo>
                      <a:pt x="121" y="76"/>
                    </a:lnTo>
                    <a:lnTo>
                      <a:pt x="124" y="66"/>
                    </a:lnTo>
                    <a:lnTo>
                      <a:pt x="122" y="55"/>
                    </a:lnTo>
                    <a:lnTo>
                      <a:pt x="125" y="52"/>
                    </a:lnTo>
                    <a:lnTo>
                      <a:pt x="129" y="51"/>
                    </a:lnTo>
                    <a:lnTo>
                      <a:pt x="132" y="49"/>
                    </a:lnTo>
                    <a:lnTo>
                      <a:pt x="137" y="49"/>
                    </a:lnTo>
                    <a:lnTo>
                      <a:pt x="140" y="49"/>
                    </a:lnTo>
                    <a:lnTo>
                      <a:pt x="146" y="49"/>
                    </a:lnTo>
                    <a:lnTo>
                      <a:pt x="148" y="46"/>
                    </a:lnTo>
                    <a:lnTo>
                      <a:pt x="149" y="43"/>
                    </a:lnTo>
                    <a:lnTo>
                      <a:pt x="149" y="39"/>
                    </a:lnTo>
                    <a:lnTo>
                      <a:pt x="152" y="36"/>
                    </a:lnTo>
                    <a:lnTo>
                      <a:pt x="154" y="36"/>
                    </a:lnTo>
                    <a:lnTo>
                      <a:pt x="157" y="39"/>
                    </a:lnTo>
                    <a:lnTo>
                      <a:pt x="160" y="41"/>
                    </a:lnTo>
                    <a:lnTo>
                      <a:pt x="164" y="41"/>
                    </a:lnTo>
                    <a:lnTo>
                      <a:pt x="167" y="44"/>
                    </a:lnTo>
                    <a:lnTo>
                      <a:pt x="171" y="46"/>
                    </a:lnTo>
                    <a:lnTo>
                      <a:pt x="175" y="46"/>
                    </a:lnTo>
                    <a:lnTo>
                      <a:pt x="178" y="46"/>
                    </a:lnTo>
                    <a:lnTo>
                      <a:pt x="178" y="44"/>
                    </a:lnTo>
                    <a:lnTo>
                      <a:pt x="181" y="44"/>
                    </a:lnTo>
                    <a:lnTo>
                      <a:pt x="184" y="46"/>
                    </a:lnTo>
                    <a:lnTo>
                      <a:pt x="187" y="44"/>
                    </a:lnTo>
                    <a:lnTo>
                      <a:pt x="190" y="44"/>
                    </a:lnTo>
                    <a:lnTo>
                      <a:pt x="195" y="43"/>
                    </a:lnTo>
                    <a:lnTo>
                      <a:pt x="198" y="44"/>
                    </a:lnTo>
                    <a:lnTo>
                      <a:pt x="202" y="47"/>
                    </a:lnTo>
                    <a:lnTo>
                      <a:pt x="202" y="47"/>
                    </a:lnTo>
                    <a:lnTo>
                      <a:pt x="205" y="52"/>
                    </a:lnTo>
                    <a:lnTo>
                      <a:pt x="206" y="51"/>
                    </a:lnTo>
                    <a:lnTo>
                      <a:pt x="209" y="51"/>
                    </a:lnTo>
                    <a:lnTo>
                      <a:pt x="211" y="49"/>
                    </a:lnTo>
                    <a:lnTo>
                      <a:pt x="214" y="47"/>
                    </a:lnTo>
                    <a:lnTo>
                      <a:pt x="217" y="49"/>
                    </a:lnTo>
                    <a:lnTo>
                      <a:pt x="221" y="51"/>
                    </a:lnTo>
                    <a:lnTo>
                      <a:pt x="222" y="51"/>
                    </a:lnTo>
                    <a:lnTo>
                      <a:pt x="224" y="55"/>
                    </a:lnTo>
                    <a:lnTo>
                      <a:pt x="227" y="57"/>
                    </a:lnTo>
                    <a:lnTo>
                      <a:pt x="230" y="60"/>
                    </a:lnTo>
                    <a:lnTo>
                      <a:pt x="232" y="60"/>
                    </a:lnTo>
                    <a:lnTo>
                      <a:pt x="235" y="62"/>
                    </a:lnTo>
                    <a:lnTo>
                      <a:pt x="235" y="62"/>
                    </a:lnTo>
                    <a:lnTo>
                      <a:pt x="238" y="59"/>
                    </a:lnTo>
                    <a:lnTo>
                      <a:pt x="240" y="59"/>
                    </a:lnTo>
                    <a:lnTo>
                      <a:pt x="241" y="55"/>
                    </a:lnTo>
                    <a:lnTo>
                      <a:pt x="241" y="54"/>
                    </a:lnTo>
                    <a:lnTo>
                      <a:pt x="244" y="55"/>
                    </a:lnTo>
                    <a:lnTo>
                      <a:pt x="249" y="52"/>
                    </a:lnTo>
                    <a:lnTo>
                      <a:pt x="251" y="51"/>
                    </a:lnTo>
                    <a:lnTo>
                      <a:pt x="254" y="47"/>
                    </a:lnTo>
                    <a:lnTo>
                      <a:pt x="257" y="49"/>
                    </a:lnTo>
                    <a:lnTo>
                      <a:pt x="259" y="46"/>
                    </a:lnTo>
                    <a:lnTo>
                      <a:pt x="262" y="46"/>
                    </a:lnTo>
                    <a:lnTo>
                      <a:pt x="265" y="49"/>
                    </a:lnTo>
                    <a:lnTo>
                      <a:pt x="270" y="52"/>
                    </a:lnTo>
                    <a:lnTo>
                      <a:pt x="270" y="52"/>
                    </a:lnTo>
                    <a:lnTo>
                      <a:pt x="273" y="55"/>
                    </a:lnTo>
                    <a:lnTo>
                      <a:pt x="276" y="52"/>
                    </a:lnTo>
                    <a:lnTo>
                      <a:pt x="278" y="52"/>
                    </a:lnTo>
                    <a:lnTo>
                      <a:pt x="278" y="51"/>
                    </a:lnTo>
                    <a:lnTo>
                      <a:pt x="278" y="47"/>
                    </a:lnTo>
                    <a:lnTo>
                      <a:pt x="276" y="44"/>
                    </a:lnTo>
                    <a:lnTo>
                      <a:pt x="275" y="41"/>
                    </a:lnTo>
                    <a:lnTo>
                      <a:pt x="278" y="38"/>
                    </a:lnTo>
                    <a:lnTo>
                      <a:pt x="281" y="36"/>
                    </a:lnTo>
                    <a:lnTo>
                      <a:pt x="282" y="36"/>
                    </a:lnTo>
                    <a:lnTo>
                      <a:pt x="287" y="35"/>
                    </a:lnTo>
                    <a:lnTo>
                      <a:pt x="290" y="33"/>
                    </a:lnTo>
                    <a:lnTo>
                      <a:pt x="294" y="36"/>
                    </a:lnTo>
                    <a:lnTo>
                      <a:pt x="295" y="36"/>
                    </a:lnTo>
                    <a:lnTo>
                      <a:pt x="297" y="36"/>
                    </a:lnTo>
                    <a:lnTo>
                      <a:pt x="300" y="36"/>
                    </a:lnTo>
                    <a:lnTo>
                      <a:pt x="303" y="33"/>
                    </a:lnTo>
                    <a:lnTo>
                      <a:pt x="303" y="30"/>
                    </a:lnTo>
                    <a:lnTo>
                      <a:pt x="301" y="27"/>
                    </a:lnTo>
                    <a:lnTo>
                      <a:pt x="298" y="24"/>
                    </a:lnTo>
                    <a:lnTo>
                      <a:pt x="297" y="20"/>
                    </a:lnTo>
                    <a:lnTo>
                      <a:pt x="303" y="16"/>
                    </a:lnTo>
                    <a:lnTo>
                      <a:pt x="306" y="11"/>
                    </a:lnTo>
                    <a:lnTo>
                      <a:pt x="306" y="8"/>
                    </a:lnTo>
                    <a:lnTo>
                      <a:pt x="309" y="1"/>
                    </a:lnTo>
                    <a:lnTo>
                      <a:pt x="314" y="0"/>
                    </a:lnTo>
                    <a:lnTo>
                      <a:pt x="317" y="0"/>
                    </a:lnTo>
                    <a:lnTo>
                      <a:pt x="321" y="0"/>
                    </a:lnTo>
                    <a:lnTo>
                      <a:pt x="322" y="0"/>
                    </a:lnTo>
                    <a:lnTo>
                      <a:pt x="327" y="3"/>
                    </a:lnTo>
                    <a:lnTo>
                      <a:pt x="333" y="8"/>
                    </a:lnTo>
                    <a:lnTo>
                      <a:pt x="335" y="11"/>
                    </a:lnTo>
                    <a:lnTo>
                      <a:pt x="333" y="14"/>
                    </a:lnTo>
                    <a:lnTo>
                      <a:pt x="333" y="17"/>
                    </a:lnTo>
                    <a:lnTo>
                      <a:pt x="333" y="22"/>
                    </a:lnTo>
                    <a:lnTo>
                      <a:pt x="338" y="22"/>
                    </a:lnTo>
                    <a:lnTo>
                      <a:pt x="341" y="20"/>
                    </a:lnTo>
                    <a:lnTo>
                      <a:pt x="344" y="22"/>
                    </a:lnTo>
                    <a:lnTo>
                      <a:pt x="346" y="25"/>
                    </a:lnTo>
                    <a:lnTo>
                      <a:pt x="344" y="28"/>
                    </a:lnTo>
                    <a:lnTo>
                      <a:pt x="344" y="32"/>
                    </a:lnTo>
                    <a:lnTo>
                      <a:pt x="346" y="44"/>
                    </a:lnTo>
                    <a:lnTo>
                      <a:pt x="347" y="57"/>
                    </a:lnTo>
                    <a:lnTo>
                      <a:pt x="351" y="62"/>
                    </a:lnTo>
                    <a:lnTo>
                      <a:pt x="354" y="68"/>
                    </a:lnTo>
                    <a:lnTo>
                      <a:pt x="357" y="71"/>
                    </a:lnTo>
                    <a:lnTo>
                      <a:pt x="359" y="73"/>
                    </a:lnTo>
                    <a:lnTo>
                      <a:pt x="362" y="73"/>
                    </a:lnTo>
                    <a:lnTo>
                      <a:pt x="365" y="71"/>
                    </a:lnTo>
                    <a:lnTo>
                      <a:pt x="371" y="65"/>
                    </a:lnTo>
                    <a:lnTo>
                      <a:pt x="376" y="62"/>
                    </a:lnTo>
                    <a:lnTo>
                      <a:pt x="381" y="59"/>
                    </a:lnTo>
                    <a:lnTo>
                      <a:pt x="389" y="59"/>
                    </a:lnTo>
                    <a:lnTo>
                      <a:pt x="389" y="57"/>
                    </a:lnTo>
                    <a:lnTo>
                      <a:pt x="390" y="52"/>
                    </a:lnTo>
                    <a:lnTo>
                      <a:pt x="393" y="49"/>
                    </a:lnTo>
                    <a:lnTo>
                      <a:pt x="397" y="47"/>
                    </a:lnTo>
                    <a:lnTo>
                      <a:pt x="400" y="46"/>
                    </a:lnTo>
                    <a:lnTo>
                      <a:pt x="401" y="43"/>
                    </a:lnTo>
                    <a:lnTo>
                      <a:pt x="405" y="41"/>
                    </a:lnTo>
                    <a:lnTo>
                      <a:pt x="409" y="41"/>
                    </a:lnTo>
                    <a:lnTo>
                      <a:pt x="413" y="39"/>
                    </a:lnTo>
                    <a:lnTo>
                      <a:pt x="416" y="41"/>
                    </a:lnTo>
                    <a:lnTo>
                      <a:pt x="419" y="41"/>
                    </a:lnTo>
                    <a:lnTo>
                      <a:pt x="422" y="41"/>
                    </a:lnTo>
                    <a:lnTo>
                      <a:pt x="424" y="41"/>
                    </a:lnTo>
                    <a:lnTo>
                      <a:pt x="424" y="46"/>
                    </a:lnTo>
                    <a:lnTo>
                      <a:pt x="420" y="49"/>
                    </a:lnTo>
                    <a:lnTo>
                      <a:pt x="425" y="49"/>
                    </a:lnTo>
                    <a:lnTo>
                      <a:pt x="428" y="47"/>
                    </a:lnTo>
                    <a:lnTo>
                      <a:pt x="435" y="46"/>
                    </a:lnTo>
                    <a:lnTo>
                      <a:pt x="439" y="44"/>
                    </a:lnTo>
                    <a:lnTo>
                      <a:pt x="441" y="41"/>
                    </a:lnTo>
                    <a:lnTo>
                      <a:pt x="446" y="43"/>
                    </a:lnTo>
                    <a:lnTo>
                      <a:pt x="449" y="43"/>
                    </a:lnTo>
                    <a:lnTo>
                      <a:pt x="451" y="43"/>
                    </a:lnTo>
                    <a:lnTo>
                      <a:pt x="454" y="43"/>
                    </a:lnTo>
                    <a:lnTo>
                      <a:pt x="455" y="44"/>
                    </a:lnTo>
                    <a:lnTo>
                      <a:pt x="460" y="46"/>
                    </a:lnTo>
                    <a:lnTo>
                      <a:pt x="463" y="49"/>
                    </a:lnTo>
                    <a:lnTo>
                      <a:pt x="460" y="51"/>
                    </a:lnTo>
                    <a:lnTo>
                      <a:pt x="455" y="47"/>
                    </a:lnTo>
                    <a:lnTo>
                      <a:pt x="452" y="49"/>
                    </a:lnTo>
                    <a:lnTo>
                      <a:pt x="449" y="51"/>
                    </a:lnTo>
                    <a:lnTo>
                      <a:pt x="449" y="54"/>
                    </a:lnTo>
                    <a:lnTo>
                      <a:pt x="452" y="57"/>
                    </a:lnTo>
                    <a:lnTo>
                      <a:pt x="454" y="57"/>
                    </a:lnTo>
                    <a:lnTo>
                      <a:pt x="451" y="59"/>
                    </a:lnTo>
                    <a:lnTo>
                      <a:pt x="447" y="60"/>
                    </a:lnTo>
                    <a:lnTo>
                      <a:pt x="444" y="63"/>
                    </a:lnTo>
                    <a:lnTo>
                      <a:pt x="441" y="63"/>
                    </a:lnTo>
                    <a:lnTo>
                      <a:pt x="438" y="66"/>
                    </a:lnTo>
                    <a:lnTo>
                      <a:pt x="430" y="63"/>
                    </a:lnTo>
                    <a:lnTo>
                      <a:pt x="427" y="63"/>
                    </a:lnTo>
                    <a:lnTo>
                      <a:pt x="424" y="63"/>
                    </a:lnTo>
                    <a:lnTo>
                      <a:pt x="424" y="63"/>
                    </a:lnTo>
                    <a:lnTo>
                      <a:pt x="409" y="63"/>
                    </a:lnTo>
                    <a:lnTo>
                      <a:pt x="395" y="65"/>
                    </a:lnTo>
                    <a:lnTo>
                      <a:pt x="392" y="66"/>
                    </a:lnTo>
                    <a:lnTo>
                      <a:pt x="389" y="66"/>
                    </a:lnTo>
                    <a:lnTo>
                      <a:pt x="384" y="68"/>
                    </a:lnTo>
                    <a:lnTo>
                      <a:pt x="381" y="70"/>
                    </a:lnTo>
                    <a:lnTo>
                      <a:pt x="378" y="70"/>
                    </a:lnTo>
                    <a:lnTo>
                      <a:pt x="374" y="73"/>
                    </a:lnTo>
                    <a:lnTo>
                      <a:pt x="368" y="79"/>
                    </a:lnTo>
                    <a:lnTo>
                      <a:pt x="367" y="82"/>
                    </a:lnTo>
                    <a:lnTo>
                      <a:pt x="363" y="82"/>
                    </a:lnTo>
                    <a:lnTo>
                      <a:pt x="359" y="81"/>
                    </a:lnTo>
                    <a:lnTo>
                      <a:pt x="359" y="85"/>
                    </a:lnTo>
                    <a:lnTo>
                      <a:pt x="355" y="89"/>
                    </a:lnTo>
                    <a:lnTo>
                      <a:pt x="352" y="92"/>
                    </a:lnTo>
                    <a:lnTo>
                      <a:pt x="349" y="95"/>
                    </a:lnTo>
                    <a:lnTo>
                      <a:pt x="347" y="98"/>
                    </a:lnTo>
                    <a:lnTo>
                      <a:pt x="351" y="100"/>
                    </a:lnTo>
                    <a:lnTo>
                      <a:pt x="354" y="101"/>
                    </a:lnTo>
                    <a:lnTo>
                      <a:pt x="357" y="104"/>
                    </a:lnTo>
                    <a:lnTo>
                      <a:pt x="360" y="108"/>
                    </a:lnTo>
                    <a:lnTo>
                      <a:pt x="363" y="111"/>
                    </a:lnTo>
                    <a:lnTo>
                      <a:pt x="363" y="116"/>
                    </a:lnTo>
                    <a:lnTo>
                      <a:pt x="367" y="117"/>
                    </a:lnTo>
                    <a:lnTo>
                      <a:pt x="367" y="120"/>
                    </a:lnTo>
                    <a:lnTo>
                      <a:pt x="370" y="124"/>
                    </a:lnTo>
                    <a:lnTo>
                      <a:pt x="367" y="127"/>
                    </a:lnTo>
                    <a:lnTo>
                      <a:pt x="367" y="127"/>
                    </a:lnTo>
                    <a:lnTo>
                      <a:pt x="368" y="130"/>
                    </a:lnTo>
                    <a:lnTo>
                      <a:pt x="371" y="131"/>
                    </a:lnTo>
                    <a:lnTo>
                      <a:pt x="370" y="136"/>
                    </a:lnTo>
                    <a:lnTo>
                      <a:pt x="368" y="139"/>
                    </a:lnTo>
                    <a:lnTo>
                      <a:pt x="368" y="141"/>
                    </a:lnTo>
                    <a:lnTo>
                      <a:pt x="368" y="143"/>
                    </a:lnTo>
                    <a:lnTo>
                      <a:pt x="367" y="143"/>
                    </a:lnTo>
                    <a:lnTo>
                      <a:pt x="363" y="144"/>
                    </a:lnTo>
                    <a:lnTo>
                      <a:pt x="362" y="147"/>
                    </a:lnTo>
                    <a:lnTo>
                      <a:pt x="360" y="150"/>
                    </a:lnTo>
                    <a:lnTo>
                      <a:pt x="357" y="155"/>
                    </a:lnTo>
                    <a:lnTo>
                      <a:pt x="357" y="158"/>
                    </a:lnTo>
                    <a:lnTo>
                      <a:pt x="354" y="158"/>
                    </a:lnTo>
                    <a:lnTo>
                      <a:pt x="355" y="162"/>
                    </a:lnTo>
                    <a:lnTo>
                      <a:pt x="359" y="165"/>
                    </a:lnTo>
                    <a:lnTo>
                      <a:pt x="362" y="168"/>
                    </a:lnTo>
                    <a:lnTo>
                      <a:pt x="362" y="171"/>
                    </a:lnTo>
                    <a:lnTo>
                      <a:pt x="362" y="173"/>
                    </a:lnTo>
                    <a:lnTo>
                      <a:pt x="362" y="176"/>
                    </a:lnTo>
                    <a:lnTo>
                      <a:pt x="360" y="179"/>
                    </a:lnTo>
                    <a:lnTo>
                      <a:pt x="357" y="181"/>
                    </a:lnTo>
                    <a:lnTo>
                      <a:pt x="352" y="184"/>
                    </a:lnTo>
                    <a:lnTo>
                      <a:pt x="341" y="184"/>
                    </a:lnTo>
                    <a:lnTo>
                      <a:pt x="328" y="181"/>
                    </a:lnTo>
                    <a:lnTo>
                      <a:pt x="325" y="179"/>
                    </a:lnTo>
                    <a:lnTo>
                      <a:pt x="322" y="181"/>
                    </a:lnTo>
                    <a:lnTo>
                      <a:pt x="321" y="181"/>
                    </a:lnTo>
                    <a:lnTo>
                      <a:pt x="321" y="184"/>
                    </a:lnTo>
                    <a:lnTo>
                      <a:pt x="325" y="190"/>
                    </a:lnTo>
                    <a:lnTo>
                      <a:pt x="327" y="192"/>
                    </a:lnTo>
                    <a:lnTo>
                      <a:pt x="330" y="193"/>
                    </a:lnTo>
                    <a:lnTo>
                      <a:pt x="335" y="196"/>
                    </a:lnTo>
                    <a:lnTo>
                      <a:pt x="335" y="200"/>
                    </a:lnTo>
                    <a:lnTo>
                      <a:pt x="336" y="203"/>
                    </a:lnTo>
                    <a:lnTo>
                      <a:pt x="338" y="204"/>
                    </a:lnTo>
                    <a:lnTo>
                      <a:pt x="341" y="208"/>
                    </a:lnTo>
                    <a:lnTo>
                      <a:pt x="340" y="211"/>
                    </a:lnTo>
                    <a:lnTo>
                      <a:pt x="335" y="214"/>
                    </a:lnTo>
                    <a:lnTo>
                      <a:pt x="332" y="217"/>
                    </a:lnTo>
                    <a:lnTo>
                      <a:pt x="332" y="217"/>
                    </a:lnTo>
                    <a:lnTo>
                      <a:pt x="328" y="219"/>
                    </a:lnTo>
                    <a:lnTo>
                      <a:pt x="325" y="217"/>
                    </a:lnTo>
                    <a:lnTo>
                      <a:pt x="321" y="219"/>
                    </a:lnTo>
                    <a:lnTo>
                      <a:pt x="317" y="219"/>
                    </a:lnTo>
                    <a:lnTo>
                      <a:pt x="317" y="220"/>
                    </a:lnTo>
                    <a:lnTo>
                      <a:pt x="316" y="223"/>
                    </a:lnTo>
                    <a:lnTo>
                      <a:pt x="317" y="227"/>
                    </a:lnTo>
                    <a:lnTo>
                      <a:pt x="316" y="230"/>
                    </a:lnTo>
                    <a:lnTo>
                      <a:pt x="316" y="233"/>
                    </a:lnTo>
                    <a:lnTo>
                      <a:pt x="316" y="238"/>
                    </a:lnTo>
                    <a:lnTo>
                      <a:pt x="313" y="241"/>
                    </a:lnTo>
                    <a:lnTo>
                      <a:pt x="311" y="244"/>
                    </a:lnTo>
                    <a:lnTo>
                      <a:pt x="314" y="255"/>
                    </a:lnTo>
                    <a:lnTo>
                      <a:pt x="317" y="266"/>
                    </a:lnTo>
                    <a:lnTo>
                      <a:pt x="314" y="271"/>
                    </a:lnTo>
                    <a:lnTo>
                      <a:pt x="313" y="274"/>
                    </a:lnTo>
                    <a:lnTo>
                      <a:pt x="309" y="277"/>
                    </a:lnTo>
                    <a:lnTo>
                      <a:pt x="301" y="279"/>
                    </a:lnTo>
                    <a:lnTo>
                      <a:pt x="300" y="276"/>
                    </a:lnTo>
                    <a:lnTo>
                      <a:pt x="297" y="273"/>
                    </a:lnTo>
                    <a:lnTo>
                      <a:pt x="294" y="271"/>
                    </a:lnTo>
                    <a:lnTo>
                      <a:pt x="290" y="271"/>
                    </a:lnTo>
                    <a:lnTo>
                      <a:pt x="290" y="274"/>
                    </a:lnTo>
                    <a:lnTo>
                      <a:pt x="286" y="273"/>
                    </a:lnTo>
                    <a:lnTo>
                      <a:pt x="282" y="273"/>
                    </a:lnTo>
                    <a:lnTo>
                      <a:pt x="279" y="271"/>
                    </a:lnTo>
                    <a:lnTo>
                      <a:pt x="278" y="274"/>
                    </a:lnTo>
                    <a:lnTo>
                      <a:pt x="275" y="277"/>
                    </a:lnTo>
                    <a:lnTo>
                      <a:pt x="271" y="279"/>
                    </a:lnTo>
                    <a:lnTo>
                      <a:pt x="267" y="281"/>
                    </a:lnTo>
                    <a:lnTo>
                      <a:pt x="263" y="282"/>
                    </a:lnTo>
                    <a:lnTo>
                      <a:pt x="260" y="284"/>
                    </a:lnTo>
                    <a:lnTo>
                      <a:pt x="262" y="287"/>
                    </a:lnTo>
                    <a:lnTo>
                      <a:pt x="265" y="287"/>
                    </a:lnTo>
                    <a:lnTo>
                      <a:pt x="268" y="290"/>
                    </a:lnTo>
                    <a:lnTo>
                      <a:pt x="268" y="290"/>
                    </a:lnTo>
                    <a:lnTo>
                      <a:pt x="262" y="293"/>
                    </a:lnTo>
                    <a:lnTo>
                      <a:pt x="259" y="295"/>
                    </a:lnTo>
                    <a:lnTo>
                      <a:pt x="254" y="295"/>
                    </a:lnTo>
                    <a:lnTo>
                      <a:pt x="251" y="295"/>
                    </a:lnTo>
                    <a:lnTo>
                      <a:pt x="249" y="295"/>
                    </a:lnTo>
                    <a:lnTo>
                      <a:pt x="246" y="295"/>
                    </a:lnTo>
                    <a:lnTo>
                      <a:pt x="243" y="293"/>
                    </a:lnTo>
                    <a:lnTo>
                      <a:pt x="243" y="292"/>
                    </a:lnTo>
                    <a:lnTo>
                      <a:pt x="240" y="292"/>
                    </a:lnTo>
                    <a:lnTo>
                      <a:pt x="236" y="293"/>
                    </a:lnTo>
                    <a:lnTo>
                      <a:pt x="235" y="295"/>
                    </a:lnTo>
                    <a:lnTo>
                      <a:pt x="232" y="298"/>
                    </a:lnTo>
                    <a:lnTo>
                      <a:pt x="232" y="303"/>
                    </a:lnTo>
                    <a:lnTo>
                      <a:pt x="227" y="306"/>
                    </a:lnTo>
                    <a:lnTo>
                      <a:pt x="224" y="306"/>
                    </a:lnTo>
                    <a:lnTo>
                      <a:pt x="224" y="306"/>
                    </a:lnTo>
                    <a:lnTo>
                      <a:pt x="222" y="309"/>
                    </a:lnTo>
                    <a:lnTo>
                      <a:pt x="222" y="314"/>
                    </a:lnTo>
                    <a:lnTo>
                      <a:pt x="222" y="317"/>
                    </a:lnTo>
                    <a:lnTo>
                      <a:pt x="222" y="320"/>
                    </a:lnTo>
                    <a:lnTo>
                      <a:pt x="222" y="323"/>
                    </a:lnTo>
                    <a:lnTo>
                      <a:pt x="225" y="327"/>
                    </a:lnTo>
                    <a:lnTo>
                      <a:pt x="225" y="331"/>
                    </a:lnTo>
                    <a:lnTo>
                      <a:pt x="225" y="334"/>
                    </a:lnTo>
                    <a:lnTo>
                      <a:pt x="224" y="338"/>
                    </a:lnTo>
                    <a:lnTo>
                      <a:pt x="224" y="341"/>
                    </a:lnTo>
                    <a:lnTo>
                      <a:pt x="227" y="346"/>
                    </a:lnTo>
                    <a:lnTo>
                      <a:pt x="227" y="349"/>
                    </a:lnTo>
                    <a:lnTo>
                      <a:pt x="224" y="352"/>
                    </a:lnTo>
                    <a:lnTo>
                      <a:pt x="221" y="353"/>
                    </a:lnTo>
                    <a:lnTo>
                      <a:pt x="211" y="355"/>
                    </a:lnTo>
                    <a:lnTo>
                      <a:pt x="208" y="357"/>
                    </a:lnTo>
                    <a:lnTo>
                      <a:pt x="208" y="357"/>
                    </a:lnTo>
                    <a:lnTo>
                      <a:pt x="195" y="360"/>
                    </a:lnTo>
                    <a:lnTo>
                      <a:pt x="184" y="363"/>
                    </a:lnTo>
                    <a:lnTo>
                      <a:pt x="181" y="363"/>
                    </a:lnTo>
                    <a:lnTo>
                      <a:pt x="181" y="363"/>
                    </a:lnTo>
                    <a:lnTo>
                      <a:pt x="179" y="363"/>
                    </a:lnTo>
                    <a:lnTo>
                      <a:pt x="175" y="363"/>
                    </a:lnTo>
                    <a:lnTo>
                      <a:pt x="175" y="363"/>
                    </a:lnTo>
                    <a:lnTo>
                      <a:pt x="171" y="361"/>
                    </a:lnTo>
                    <a:lnTo>
                      <a:pt x="168" y="363"/>
                    </a:lnTo>
                    <a:lnTo>
                      <a:pt x="157" y="365"/>
                    </a:lnTo>
                    <a:lnTo>
                      <a:pt x="156" y="368"/>
                    </a:lnTo>
                    <a:lnTo>
                      <a:pt x="152" y="369"/>
                    </a:lnTo>
                    <a:lnTo>
                      <a:pt x="141" y="366"/>
                    </a:lnTo>
                    <a:lnTo>
                      <a:pt x="129" y="366"/>
                    </a:lnTo>
                    <a:lnTo>
                      <a:pt x="118" y="368"/>
                    </a:lnTo>
                    <a:lnTo>
                      <a:pt x="114" y="368"/>
                    </a:lnTo>
                    <a:lnTo>
                      <a:pt x="110" y="368"/>
                    </a:lnTo>
                    <a:lnTo>
                      <a:pt x="106" y="368"/>
                    </a:lnTo>
                    <a:lnTo>
                      <a:pt x="98" y="369"/>
                    </a:lnTo>
                    <a:lnTo>
                      <a:pt x="95" y="369"/>
                    </a:lnTo>
                    <a:lnTo>
                      <a:pt x="92" y="368"/>
                    </a:lnTo>
                    <a:lnTo>
                      <a:pt x="78" y="363"/>
                    </a:lnTo>
                    <a:lnTo>
                      <a:pt x="65" y="360"/>
                    </a:lnTo>
                    <a:lnTo>
                      <a:pt x="51" y="355"/>
                    </a:lnTo>
                    <a:lnTo>
                      <a:pt x="38" y="350"/>
                    </a:lnTo>
                    <a:lnTo>
                      <a:pt x="45" y="342"/>
                    </a:lnTo>
                    <a:lnTo>
                      <a:pt x="51" y="333"/>
                    </a:lnTo>
                    <a:lnTo>
                      <a:pt x="52" y="330"/>
                    </a:lnTo>
                    <a:lnTo>
                      <a:pt x="56" y="327"/>
                    </a:lnTo>
                    <a:lnTo>
                      <a:pt x="57" y="322"/>
                    </a:lnTo>
                    <a:lnTo>
                      <a:pt x="60" y="319"/>
                    </a:lnTo>
                    <a:lnTo>
                      <a:pt x="62" y="315"/>
                    </a:lnTo>
                    <a:lnTo>
                      <a:pt x="65" y="312"/>
                    </a:lnTo>
                    <a:lnTo>
                      <a:pt x="65" y="309"/>
                    </a:lnTo>
                    <a:lnTo>
                      <a:pt x="64" y="306"/>
                    </a:lnTo>
                    <a:lnTo>
                      <a:pt x="65" y="306"/>
                    </a:lnTo>
                    <a:lnTo>
                      <a:pt x="65" y="304"/>
                    </a:lnTo>
                    <a:lnTo>
                      <a:pt x="65" y="301"/>
                    </a:lnTo>
                    <a:lnTo>
                      <a:pt x="64" y="298"/>
                    </a:lnTo>
                    <a:lnTo>
                      <a:pt x="62" y="295"/>
                    </a:lnTo>
                    <a:lnTo>
                      <a:pt x="62" y="293"/>
                    </a:lnTo>
                    <a:lnTo>
                      <a:pt x="60" y="290"/>
                    </a:lnTo>
                    <a:lnTo>
                      <a:pt x="60" y="290"/>
                    </a:lnTo>
                    <a:lnTo>
                      <a:pt x="57" y="288"/>
                    </a:lnTo>
                    <a:lnTo>
                      <a:pt x="56" y="288"/>
                    </a:lnTo>
                    <a:lnTo>
                      <a:pt x="52" y="287"/>
                    </a:lnTo>
                    <a:lnTo>
                      <a:pt x="49" y="287"/>
                    </a:lnTo>
                    <a:lnTo>
                      <a:pt x="46" y="287"/>
                    </a:lnTo>
                    <a:lnTo>
                      <a:pt x="43" y="285"/>
                    </a:lnTo>
                    <a:lnTo>
                      <a:pt x="40" y="285"/>
                    </a:lnTo>
                    <a:lnTo>
                      <a:pt x="37" y="285"/>
                    </a:lnTo>
                    <a:lnTo>
                      <a:pt x="35" y="285"/>
                    </a:lnTo>
                    <a:lnTo>
                      <a:pt x="30" y="284"/>
                    </a:lnTo>
                    <a:lnTo>
                      <a:pt x="27" y="281"/>
                    </a:lnTo>
                    <a:lnTo>
                      <a:pt x="26" y="277"/>
                    </a:lnTo>
                    <a:lnTo>
                      <a:pt x="24" y="266"/>
                    </a:lnTo>
                    <a:lnTo>
                      <a:pt x="24" y="254"/>
                    </a:lnTo>
                    <a:lnTo>
                      <a:pt x="19" y="242"/>
                    </a:lnTo>
                    <a:lnTo>
                      <a:pt x="13" y="230"/>
                    </a:lnTo>
                    <a:lnTo>
                      <a:pt x="10" y="220"/>
                    </a:lnTo>
                    <a:lnTo>
                      <a:pt x="10" y="216"/>
                    </a:lnTo>
                    <a:lnTo>
                      <a:pt x="13" y="211"/>
                    </a:lnTo>
                    <a:lnTo>
                      <a:pt x="18" y="201"/>
                    </a:lnTo>
                    <a:lnTo>
                      <a:pt x="16" y="200"/>
                    </a:lnTo>
                    <a:lnTo>
                      <a:pt x="13" y="200"/>
                    </a:lnTo>
                    <a:lnTo>
                      <a:pt x="11" y="200"/>
                    </a:lnTo>
                    <a:lnTo>
                      <a:pt x="10" y="200"/>
                    </a:lnTo>
                    <a:lnTo>
                      <a:pt x="6" y="198"/>
                    </a:lnTo>
                    <a:lnTo>
                      <a:pt x="3" y="195"/>
                    </a:lnTo>
                    <a:lnTo>
                      <a:pt x="2" y="192"/>
                    </a:lnTo>
                    <a:lnTo>
                      <a:pt x="3" y="189"/>
                    </a:lnTo>
                    <a:lnTo>
                      <a:pt x="2" y="185"/>
                    </a:lnTo>
                    <a:lnTo>
                      <a:pt x="2" y="182"/>
                    </a:lnTo>
                    <a:lnTo>
                      <a:pt x="0" y="179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sp>
          <p:nvSpPr>
            <p:cNvPr id="238" name="Freeform 400"/>
            <p:cNvSpPr>
              <a:spLocks/>
            </p:cNvSpPr>
            <p:nvPr/>
          </p:nvSpPr>
          <p:spPr bwMode="auto">
            <a:xfrm>
              <a:off x="6250137" y="3678081"/>
              <a:ext cx="30878" cy="132010"/>
            </a:xfrm>
            <a:custGeom>
              <a:avLst/>
              <a:gdLst>
                <a:gd name="T0" fmla="*/ 0 w 43"/>
                <a:gd name="T1" fmla="*/ 84 h 155"/>
                <a:gd name="T2" fmla="*/ 6 w 43"/>
                <a:gd name="T3" fmla="*/ 73 h 155"/>
                <a:gd name="T4" fmla="*/ 6 w 43"/>
                <a:gd name="T5" fmla="*/ 70 h 155"/>
                <a:gd name="T6" fmla="*/ 10 w 43"/>
                <a:gd name="T7" fmla="*/ 63 h 155"/>
                <a:gd name="T8" fmla="*/ 13 w 43"/>
                <a:gd name="T9" fmla="*/ 54 h 155"/>
                <a:gd name="T10" fmla="*/ 17 w 43"/>
                <a:gd name="T11" fmla="*/ 36 h 155"/>
                <a:gd name="T12" fmla="*/ 17 w 43"/>
                <a:gd name="T13" fmla="*/ 25 h 155"/>
                <a:gd name="T14" fmla="*/ 22 w 43"/>
                <a:gd name="T15" fmla="*/ 16 h 155"/>
                <a:gd name="T16" fmla="*/ 22 w 43"/>
                <a:gd name="T17" fmla="*/ 8 h 155"/>
                <a:gd name="T18" fmla="*/ 29 w 43"/>
                <a:gd name="T19" fmla="*/ 8 h 155"/>
                <a:gd name="T20" fmla="*/ 36 w 43"/>
                <a:gd name="T21" fmla="*/ 6 h 155"/>
                <a:gd name="T22" fmla="*/ 38 w 43"/>
                <a:gd name="T23" fmla="*/ 0 h 155"/>
                <a:gd name="T24" fmla="*/ 41 w 43"/>
                <a:gd name="T25" fmla="*/ 1 h 155"/>
                <a:gd name="T26" fmla="*/ 40 w 43"/>
                <a:gd name="T27" fmla="*/ 11 h 155"/>
                <a:gd name="T28" fmla="*/ 41 w 43"/>
                <a:gd name="T29" fmla="*/ 16 h 155"/>
                <a:gd name="T30" fmla="*/ 43 w 43"/>
                <a:gd name="T31" fmla="*/ 19 h 155"/>
                <a:gd name="T32" fmla="*/ 43 w 43"/>
                <a:gd name="T33" fmla="*/ 22 h 155"/>
                <a:gd name="T34" fmla="*/ 41 w 43"/>
                <a:gd name="T35" fmla="*/ 22 h 155"/>
                <a:gd name="T36" fmla="*/ 43 w 43"/>
                <a:gd name="T37" fmla="*/ 24 h 155"/>
                <a:gd name="T38" fmla="*/ 40 w 43"/>
                <a:gd name="T39" fmla="*/ 25 h 155"/>
                <a:gd name="T40" fmla="*/ 40 w 43"/>
                <a:gd name="T41" fmla="*/ 36 h 155"/>
                <a:gd name="T42" fmla="*/ 35 w 43"/>
                <a:gd name="T43" fmla="*/ 31 h 155"/>
                <a:gd name="T44" fmla="*/ 29 w 43"/>
                <a:gd name="T45" fmla="*/ 30 h 155"/>
                <a:gd name="T46" fmla="*/ 22 w 43"/>
                <a:gd name="T47" fmla="*/ 36 h 155"/>
                <a:gd name="T48" fmla="*/ 22 w 43"/>
                <a:gd name="T49" fmla="*/ 39 h 155"/>
                <a:gd name="T50" fmla="*/ 21 w 43"/>
                <a:gd name="T51" fmla="*/ 44 h 155"/>
                <a:gd name="T52" fmla="*/ 22 w 43"/>
                <a:gd name="T53" fmla="*/ 54 h 155"/>
                <a:gd name="T54" fmla="*/ 22 w 43"/>
                <a:gd name="T55" fmla="*/ 58 h 155"/>
                <a:gd name="T56" fmla="*/ 24 w 43"/>
                <a:gd name="T57" fmla="*/ 60 h 155"/>
                <a:gd name="T58" fmla="*/ 32 w 43"/>
                <a:gd name="T59" fmla="*/ 60 h 155"/>
                <a:gd name="T60" fmla="*/ 27 w 43"/>
                <a:gd name="T61" fmla="*/ 63 h 155"/>
                <a:gd name="T62" fmla="*/ 22 w 43"/>
                <a:gd name="T63" fmla="*/ 68 h 155"/>
                <a:gd name="T64" fmla="*/ 22 w 43"/>
                <a:gd name="T65" fmla="*/ 79 h 155"/>
                <a:gd name="T66" fmla="*/ 33 w 43"/>
                <a:gd name="T67" fmla="*/ 77 h 155"/>
                <a:gd name="T68" fmla="*/ 38 w 43"/>
                <a:gd name="T69" fmla="*/ 73 h 155"/>
                <a:gd name="T70" fmla="*/ 40 w 43"/>
                <a:gd name="T71" fmla="*/ 79 h 155"/>
                <a:gd name="T72" fmla="*/ 38 w 43"/>
                <a:gd name="T73" fmla="*/ 84 h 155"/>
                <a:gd name="T74" fmla="*/ 41 w 43"/>
                <a:gd name="T75" fmla="*/ 89 h 155"/>
                <a:gd name="T76" fmla="*/ 40 w 43"/>
                <a:gd name="T77" fmla="*/ 93 h 155"/>
                <a:gd name="T78" fmla="*/ 32 w 43"/>
                <a:gd name="T79" fmla="*/ 116 h 155"/>
                <a:gd name="T80" fmla="*/ 33 w 43"/>
                <a:gd name="T81" fmla="*/ 125 h 155"/>
                <a:gd name="T82" fmla="*/ 32 w 43"/>
                <a:gd name="T83" fmla="*/ 135 h 155"/>
                <a:gd name="T84" fmla="*/ 30 w 43"/>
                <a:gd name="T85" fmla="*/ 146 h 155"/>
                <a:gd name="T86" fmla="*/ 29 w 43"/>
                <a:gd name="T87" fmla="*/ 152 h 155"/>
                <a:gd name="T88" fmla="*/ 27 w 43"/>
                <a:gd name="T89" fmla="*/ 155 h 155"/>
                <a:gd name="T90" fmla="*/ 24 w 43"/>
                <a:gd name="T91" fmla="*/ 150 h 155"/>
                <a:gd name="T92" fmla="*/ 22 w 43"/>
                <a:gd name="T93" fmla="*/ 141 h 155"/>
                <a:gd name="T94" fmla="*/ 13 w 43"/>
                <a:gd name="T95" fmla="*/ 117 h 155"/>
                <a:gd name="T96" fmla="*/ 10 w 43"/>
                <a:gd name="T97" fmla="*/ 108 h 155"/>
                <a:gd name="T98" fmla="*/ 3 w 43"/>
                <a:gd name="T99" fmla="*/ 9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" h="155">
                  <a:moveTo>
                    <a:pt x="0" y="84"/>
                  </a:moveTo>
                  <a:lnTo>
                    <a:pt x="0" y="84"/>
                  </a:lnTo>
                  <a:lnTo>
                    <a:pt x="0" y="84"/>
                  </a:lnTo>
                  <a:lnTo>
                    <a:pt x="3" y="79"/>
                  </a:lnTo>
                  <a:lnTo>
                    <a:pt x="3" y="76"/>
                  </a:lnTo>
                  <a:lnTo>
                    <a:pt x="6" y="73"/>
                  </a:lnTo>
                  <a:lnTo>
                    <a:pt x="8" y="73"/>
                  </a:lnTo>
                  <a:lnTo>
                    <a:pt x="8" y="70"/>
                  </a:lnTo>
                  <a:lnTo>
                    <a:pt x="6" y="70"/>
                  </a:lnTo>
                  <a:lnTo>
                    <a:pt x="6" y="68"/>
                  </a:lnTo>
                  <a:lnTo>
                    <a:pt x="8" y="65"/>
                  </a:lnTo>
                  <a:lnTo>
                    <a:pt x="10" y="63"/>
                  </a:lnTo>
                  <a:lnTo>
                    <a:pt x="11" y="60"/>
                  </a:lnTo>
                  <a:lnTo>
                    <a:pt x="11" y="58"/>
                  </a:lnTo>
                  <a:lnTo>
                    <a:pt x="13" y="54"/>
                  </a:lnTo>
                  <a:lnTo>
                    <a:pt x="14" y="47"/>
                  </a:lnTo>
                  <a:lnTo>
                    <a:pt x="16" y="43"/>
                  </a:lnTo>
                  <a:lnTo>
                    <a:pt x="17" y="36"/>
                  </a:lnTo>
                  <a:lnTo>
                    <a:pt x="17" y="31"/>
                  </a:lnTo>
                  <a:lnTo>
                    <a:pt x="17" y="28"/>
                  </a:lnTo>
                  <a:lnTo>
                    <a:pt x="17" y="25"/>
                  </a:lnTo>
                  <a:lnTo>
                    <a:pt x="19" y="22"/>
                  </a:lnTo>
                  <a:lnTo>
                    <a:pt x="21" y="19"/>
                  </a:lnTo>
                  <a:lnTo>
                    <a:pt x="22" y="16"/>
                  </a:lnTo>
                  <a:lnTo>
                    <a:pt x="22" y="14"/>
                  </a:lnTo>
                  <a:lnTo>
                    <a:pt x="22" y="11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7" y="8"/>
                  </a:lnTo>
                  <a:lnTo>
                    <a:pt x="29" y="8"/>
                  </a:lnTo>
                  <a:lnTo>
                    <a:pt x="32" y="9"/>
                  </a:lnTo>
                  <a:lnTo>
                    <a:pt x="35" y="8"/>
                  </a:lnTo>
                  <a:lnTo>
                    <a:pt x="36" y="6"/>
                  </a:lnTo>
                  <a:lnTo>
                    <a:pt x="36" y="5"/>
                  </a:lnTo>
                  <a:lnTo>
                    <a:pt x="38" y="1"/>
                  </a:lnTo>
                  <a:lnTo>
                    <a:pt x="38" y="0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6"/>
                  </a:lnTo>
                  <a:lnTo>
                    <a:pt x="40" y="11"/>
                  </a:lnTo>
                  <a:lnTo>
                    <a:pt x="41" y="14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1" y="19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20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1" y="22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3" y="24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0" y="25"/>
                  </a:lnTo>
                  <a:lnTo>
                    <a:pt x="41" y="28"/>
                  </a:lnTo>
                  <a:lnTo>
                    <a:pt x="41" y="35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6" y="35"/>
                  </a:lnTo>
                  <a:lnTo>
                    <a:pt x="35" y="31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29" y="30"/>
                  </a:lnTo>
                  <a:lnTo>
                    <a:pt x="25" y="31"/>
                  </a:lnTo>
                  <a:lnTo>
                    <a:pt x="24" y="35"/>
                  </a:lnTo>
                  <a:lnTo>
                    <a:pt x="22" y="36"/>
                  </a:lnTo>
                  <a:lnTo>
                    <a:pt x="22" y="38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43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2" y="47"/>
                  </a:lnTo>
                  <a:lnTo>
                    <a:pt x="22" y="49"/>
                  </a:lnTo>
                  <a:lnTo>
                    <a:pt x="22" y="54"/>
                  </a:lnTo>
                  <a:lnTo>
                    <a:pt x="22" y="55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2" y="58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7" y="58"/>
                  </a:lnTo>
                  <a:lnTo>
                    <a:pt x="30" y="60"/>
                  </a:lnTo>
                  <a:lnTo>
                    <a:pt x="32" y="60"/>
                  </a:lnTo>
                  <a:lnTo>
                    <a:pt x="32" y="62"/>
                  </a:lnTo>
                  <a:lnTo>
                    <a:pt x="30" y="63"/>
                  </a:lnTo>
                  <a:lnTo>
                    <a:pt x="27" y="63"/>
                  </a:lnTo>
                  <a:lnTo>
                    <a:pt x="24" y="66"/>
                  </a:lnTo>
                  <a:lnTo>
                    <a:pt x="24" y="66"/>
                  </a:lnTo>
                  <a:lnTo>
                    <a:pt x="22" y="68"/>
                  </a:lnTo>
                  <a:lnTo>
                    <a:pt x="22" y="73"/>
                  </a:lnTo>
                  <a:lnTo>
                    <a:pt x="21" y="76"/>
                  </a:lnTo>
                  <a:lnTo>
                    <a:pt x="22" y="79"/>
                  </a:lnTo>
                  <a:lnTo>
                    <a:pt x="29" y="79"/>
                  </a:lnTo>
                  <a:lnTo>
                    <a:pt x="30" y="77"/>
                  </a:lnTo>
                  <a:lnTo>
                    <a:pt x="33" y="77"/>
                  </a:lnTo>
                  <a:lnTo>
                    <a:pt x="38" y="73"/>
                  </a:lnTo>
                  <a:lnTo>
                    <a:pt x="38" y="73"/>
                  </a:lnTo>
                  <a:lnTo>
                    <a:pt x="38" y="73"/>
                  </a:lnTo>
                  <a:lnTo>
                    <a:pt x="41" y="73"/>
                  </a:lnTo>
                  <a:lnTo>
                    <a:pt x="41" y="76"/>
                  </a:lnTo>
                  <a:lnTo>
                    <a:pt x="40" y="79"/>
                  </a:lnTo>
                  <a:lnTo>
                    <a:pt x="40" y="81"/>
                  </a:lnTo>
                  <a:lnTo>
                    <a:pt x="38" y="84"/>
                  </a:lnTo>
                  <a:lnTo>
                    <a:pt x="38" y="84"/>
                  </a:lnTo>
                  <a:lnTo>
                    <a:pt x="40" y="84"/>
                  </a:lnTo>
                  <a:lnTo>
                    <a:pt x="41" y="89"/>
                  </a:lnTo>
                  <a:lnTo>
                    <a:pt x="41" y="89"/>
                  </a:lnTo>
                  <a:lnTo>
                    <a:pt x="40" y="92"/>
                  </a:lnTo>
                  <a:lnTo>
                    <a:pt x="40" y="93"/>
                  </a:lnTo>
                  <a:lnTo>
                    <a:pt x="40" y="93"/>
                  </a:lnTo>
                  <a:lnTo>
                    <a:pt x="36" y="104"/>
                  </a:lnTo>
                  <a:lnTo>
                    <a:pt x="33" y="112"/>
                  </a:lnTo>
                  <a:lnTo>
                    <a:pt x="32" y="116"/>
                  </a:lnTo>
                  <a:lnTo>
                    <a:pt x="33" y="117"/>
                  </a:lnTo>
                  <a:lnTo>
                    <a:pt x="33" y="120"/>
                  </a:lnTo>
                  <a:lnTo>
                    <a:pt x="33" y="125"/>
                  </a:lnTo>
                  <a:lnTo>
                    <a:pt x="33" y="128"/>
                  </a:lnTo>
                  <a:lnTo>
                    <a:pt x="32" y="131"/>
                  </a:lnTo>
                  <a:lnTo>
                    <a:pt x="32" y="135"/>
                  </a:lnTo>
                  <a:lnTo>
                    <a:pt x="32" y="138"/>
                  </a:lnTo>
                  <a:lnTo>
                    <a:pt x="30" y="142"/>
                  </a:lnTo>
                  <a:lnTo>
                    <a:pt x="30" y="146"/>
                  </a:lnTo>
                  <a:lnTo>
                    <a:pt x="30" y="149"/>
                  </a:lnTo>
                  <a:lnTo>
                    <a:pt x="29" y="149"/>
                  </a:lnTo>
                  <a:lnTo>
                    <a:pt x="29" y="152"/>
                  </a:lnTo>
                  <a:lnTo>
                    <a:pt x="29" y="152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27" y="155"/>
                  </a:lnTo>
                  <a:lnTo>
                    <a:pt x="25" y="152"/>
                  </a:lnTo>
                  <a:lnTo>
                    <a:pt x="24" y="150"/>
                  </a:lnTo>
                  <a:lnTo>
                    <a:pt x="24" y="147"/>
                  </a:lnTo>
                  <a:lnTo>
                    <a:pt x="24" y="144"/>
                  </a:lnTo>
                  <a:lnTo>
                    <a:pt x="22" y="141"/>
                  </a:lnTo>
                  <a:lnTo>
                    <a:pt x="19" y="131"/>
                  </a:lnTo>
                  <a:lnTo>
                    <a:pt x="14" y="122"/>
                  </a:lnTo>
                  <a:lnTo>
                    <a:pt x="13" y="117"/>
                  </a:lnTo>
                  <a:lnTo>
                    <a:pt x="11" y="114"/>
                  </a:lnTo>
                  <a:lnTo>
                    <a:pt x="10" y="111"/>
                  </a:lnTo>
                  <a:lnTo>
                    <a:pt x="10" y="108"/>
                  </a:lnTo>
                  <a:lnTo>
                    <a:pt x="10" y="106"/>
                  </a:lnTo>
                  <a:lnTo>
                    <a:pt x="8" y="103"/>
                  </a:lnTo>
                  <a:lnTo>
                    <a:pt x="3" y="93"/>
                  </a:lnTo>
                  <a:lnTo>
                    <a:pt x="0" y="84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39" name="Freeform 401"/>
            <p:cNvSpPr>
              <a:spLocks/>
            </p:cNvSpPr>
            <p:nvPr/>
          </p:nvSpPr>
          <p:spPr bwMode="auto">
            <a:xfrm>
              <a:off x="6360414" y="3537610"/>
              <a:ext cx="255843" cy="287713"/>
            </a:xfrm>
            <a:custGeom>
              <a:avLst/>
              <a:gdLst>
                <a:gd name="T0" fmla="*/ 48 w 349"/>
                <a:gd name="T1" fmla="*/ 133 h 340"/>
                <a:gd name="T2" fmla="*/ 73 w 349"/>
                <a:gd name="T3" fmla="*/ 113 h 340"/>
                <a:gd name="T4" fmla="*/ 76 w 349"/>
                <a:gd name="T5" fmla="*/ 97 h 340"/>
                <a:gd name="T6" fmla="*/ 75 w 349"/>
                <a:gd name="T7" fmla="*/ 84 h 340"/>
                <a:gd name="T8" fmla="*/ 76 w 349"/>
                <a:gd name="T9" fmla="*/ 60 h 340"/>
                <a:gd name="T10" fmla="*/ 73 w 349"/>
                <a:gd name="T11" fmla="*/ 40 h 340"/>
                <a:gd name="T12" fmla="*/ 84 w 349"/>
                <a:gd name="T13" fmla="*/ 32 h 340"/>
                <a:gd name="T14" fmla="*/ 106 w 349"/>
                <a:gd name="T15" fmla="*/ 10 h 340"/>
                <a:gd name="T16" fmla="*/ 117 w 349"/>
                <a:gd name="T17" fmla="*/ 0 h 340"/>
                <a:gd name="T18" fmla="*/ 135 w 349"/>
                <a:gd name="T19" fmla="*/ 2 h 340"/>
                <a:gd name="T20" fmla="*/ 152 w 349"/>
                <a:gd name="T21" fmla="*/ 5 h 340"/>
                <a:gd name="T22" fmla="*/ 168 w 349"/>
                <a:gd name="T23" fmla="*/ 7 h 340"/>
                <a:gd name="T24" fmla="*/ 178 w 349"/>
                <a:gd name="T25" fmla="*/ 10 h 340"/>
                <a:gd name="T26" fmla="*/ 190 w 349"/>
                <a:gd name="T27" fmla="*/ 13 h 340"/>
                <a:gd name="T28" fmla="*/ 195 w 349"/>
                <a:gd name="T29" fmla="*/ 26 h 340"/>
                <a:gd name="T30" fmla="*/ 206 w 349"/>
                <a:gd name="T31" fmla="*/ 41 h 340"/>
                <a:gd name="T32" fmla="*/ 211 w 349"/>
                <a:gd name="T33" fmla="*/ 56 h 340"/>
                <a:gd name="T34" fmla="*/ 221 w 349"/>
                <a:gd name="T35" fmla="*/ 57 h 340"/>
                <a:gd name="T36" fmla="*/ 243 w 349"/>
                <a:gd name="T37" fmla="*/ 64 h 340"/>
                <a:gd name="T38" fmla="*/ 235 w 349"/>
                <a:gd name="T39" fmla="*/ 73 h 340"/>
                <a:gd name="T40" fmla="*/ 243 w 349"/>
                <a:gd name="T41" fmla="*/ 89 h 340"/>
                <a:gd name="T42" fmla="*/ 235 w 349"/>
                <a:gd name="T43" fmla="*/ 92 h 340"/>
                <a:gd name="T44" fmla="*/ 228 w 349"/>
                <a:gd name="T45" fmla="*/ 105 h 340"/>
                <a:gd name="T46" fmla="*/ 224 w 349"/>
                <a:gd name="T47" fmla="*/ 113 h 340"/>
                <a:gd name="T48" fmla="*/ 228 w 349"/>
                <a:gd name="T49" fmla="*/ 127 h 340"/>
                <a:gd name="T50" fmla="*/ 224 w 349"/>
                <a:gd name="T51" fmla="*/ 140 h 340"/>
                <a:gd name="T52" fmla="*/ 236 w 349"/>
                <a:gd name="T53" fmla="*/ 152 h 340"/>
                <a:gd name="T54" fmla="*/ 247 w 349"/>
                <a:gd name="T55" fmla="*/ 160 h 340"/>
                <a:gd name="T56" fmla="*/ 249 w 349"/>
                <a:gd name="T57" fmla="*/ 175 h 340"/>
                <a:gd name="T58" fmla="*/ 271 w 349"/>
                <a:gd name="T59" fmla="*/ 186 h 340"/>
                <a:gd name="T60" fmla="*/ 290 w 349"/>
                <a:gd name="T61" fmla="*/ 200 h 340"/>
                <a:gd name="T62" fmla="*/ 300 w 349"/>
                <a:gd name="T63" fmla="*/ 205 h 340"/>
                <a:gd name="T64" fmla="*/ 306 w 349"/>
                <a:gd name="T65" fmla="*/ 214 h 340"/>
                <a:gd name="T66" fmla="*/ 311 w 349"/>
                <a:gd name="T67" fmla="*/ 221 h 340"/>
                <a:gd name="T68" fmla="*/ 314 w 349"/>
                <a:gd name="T69" fmla="*/ 251 h 340"/>
                <a:gd name="T70" fmla="*/ 328 w 349"/>
                <a:gd name="T71" fmla="*/ 268 h 340"/>
                <a:gd name="T72" fmla="*/ 333 w 349"/>
                <a:gd name="T73" fmla="*/ 283 h 340"/>
                <a:gd name="T74" fmla="*/ 344 w 349"/>
                <a:gd name="T75" fmla="*/ 294 h 340"/>
                <a:gd name="T76" fmla="*/ 349 w 349"/>
                <a:gd name="T77" fmla="*/ 303 h 340"/>
                <a:gd name="T78" fmla="*/ 328 w 349"/>
                <a:gd name="T79" fmla="*/ 300 h 340"/>
                <a:gd name="T80" fmla="*/ 301 w 349"/>
                <a:gd name="T81" fmla="*/ 300 h 340"/>
                <a:gd name="T82" fmla="*/ 297 w 349"/>
                <a:gd name="T83" fmla="*/ 316 h 340"/>
                <a:gd name="T84" fmla="*/ 284 w 349"/>
                <a:gd name="T85" fmla="*/ 336 h 340"/>
                <a:gd name="T86" fmla="*/ 268 w 349"/>
                <a:gd name="T87" fmla="*/ 338 h 340"/>
                <a:gd name="T88" fmla="*/ 216 w 349"/>
                <a:gd name="T89" fmla="*/ 330 h 340"/>
                <a:gd name="T90" fmla="*/ 190 w 349"/>
                <a:gd name="T91" fmla="*/ 311 h 340"/>
                <a:gd name="T92" fmla="*/ 121 w 349"/>
                <a:gd name="T93" fmla="*/ 256 h 340"/>
                <a:gd name="T94" fmla="*/ 102 w 349"/>
                <a:gd name="T95" fmla="*/ 248 h 340"/>
                <a:gd name="T96" fmla="*/ 78 w 349"/>
                <a:gd name="T97" fmla="*/ 233 h 340"/>
                <a:gd name="T98" fmla="*/ 35 w 349"/>
                <a:gd name="T99" fmla="*/ 217 h 340"/>
                <a:gd name="T100" fmla="*/ 19 w 349"/>
                <a:gd name="T101" fmla="*/ 205 h 340"/>
                <a:gd name="T102" fmla="*/ 10 w 349"/>
                <a:gd name="T103" fmla="*/ 202 h 340"/>
                <a:gd name="T104" fmla="*/ 13 w 349"/>
                <a:gd name="T105" fmla="*/ 198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49" h="340">
                  <a:moveTo>
                    <a:pt x="0" y="164"/>
                  </a:moveTo>
                  <a:lnTo>
                    <a:pt x="11" y="156"/>
                  </a:lnTo>
                  <a:lnTo>
                    <a:pt x="24" y="148"/>
                  </a:lnTo>
                  <a:lnTo>
                    <a:pt x="37" y="141"/>
                  </a:lnTo>
                  <a:lnTo>
                    <a:pt x="48" y="133"/>
                  </a:lnTo>
                  <a:lnTo>
                    <a:pt x="59" y="127"/>
                  </a:lnTo>
                  <a:lnTo>
                    <a:pt x="70" y="121"/>
                  </a:lnTo>
                  <a:lnTo>
                    <a:pt x="71" y="119"/>
                  </a:lnTo>
                  <a:lnTo>
                    <a:pt x="71" y="116"/>
                  </a:lnTo>
                  <a:lnTo>
                    <a:pt x="73" y="113"/>
                  </a:lnTo>
                  <a:lnTo>
                    <a:pt x="75" y="110"/>
                  </a:lnTo>
                  <a:lnTo>
                    <a:pt x="76" y="105"/>
                  </a:lnTo>
                  <a:lnTo>
                    <a:pt x="76" y="102"/>
                  </a:lnTo>
                  <a:lnTo>
                    <a:pt x="76" y="99"/>
                  </a:lnTo>
                  <a:lnTo>
                    <a:pt x="76" y="97"/>
                  </a:lnTo>
                  <a:lnTo>
                    <a:pt x="75" y="92"/>
                  </a:lnTo>
                  <a:lnTo>
                    <a:pt x="75" y="92"/>
                  </a:lnTo>
                  <a:lnTo>
                    <a:pt x="75" y="91"/>
                  </a:lnTo>
                  <a:lnTo>
                    <a:pt x="75" y="87"/>
                  </a:lnTo>
                  <a:lnTo>
                    <a:pt x="75" y="84"/>
                  </a:lnTo>
                  <a:lnTo>
                    <a:pt x="75" y="81"/>
                  </a:lnTo>
                  <a:lnTo>
                    <a:pt x="75" y="76"/>
                  </a:lnTo>
                  <a:lnTo>
                    <a:pt x="76" y="73"/>
                  </a:lnTo>
                  <a:lnTo>
                    <a:pt x="78" y="70"/>
                  </a:lnTo>
                  <a:lnTo>
                    <a:pt x="76" y="60"/>
                  </a:lnTo>
                  <a:lnTo>
                    <a:pt x="75" y="57"/>
                  </a:lnTo>
                  <a:lnTo>
                    <a:pt x="73" y="53"/>
                  </a:lnTo>
                  <a:lnTo>
                    <a:pt x="71" y="41"/>
                  </a:lnTo>
                  <a:lnTo>
                    <a:pt x="73" y="40"/>
                  </a:lnTo>
                  <a:lnTo>
                    <a:pt x="73" y="40"/>
                  </a:lnTo>
                  <a:lnTo>
                    <a:pt x="73" y="37"/>
                  </a:lnTo>
                  <a:lnTo>
                    <a:pt x="75" y="35"/>
                  </a:lnTo>
                  <a:lnTo>
                    <a:pt x="78" y="34"/>
                  </a:lnTo>
                  <a:lnTo>
                    <a:pt x="81" y="34"/>
                  </a:lnTo>
                  <a:lnTo>
                    <a:pt x="84" y="32"/>
                  </a:lnTo>
                  <a:lnTo>
                    <a:pt x="89" y="32"/>
                  </a:lnTo>
                  <a:lnTo>
                    <a:pt x="97" y="22"/>
                  </a:lnTo>
                  <a:lnTo>
                    <a:pt x="105" y="13"/>
                  </a:lnTo>
                  <a:lnTo>
                    <a:pt x="105" y="11"/>
                  </a:lnTo>
                  <a:lnTo>
                    <a:pt x="106" y="10"/>
                  </a:lnTo>
                  <a:lnTo>
                    <a:pt x="110" y="10"/>
                  </a:lnTo>
                  <a:lnTo>
                    <a:pt x="111" y="8"/>
                  </a:lnTo>
                  <a:lnTo>
                    <a:pt x="114" y="5"/>
                  </a:lnTo>
                  <a:lnTo>
                    <a:pt x="116" y="2"/>
                  </a:lnTo>
                  <a:lnTo>
                    <a:pt x="117" y="0"/>
                  </a:lnTo>
                  <a:lnTo>
                    <a:pt x="121" y="0"/>
                  </a:lnTo>
                  <a:lnTo>
                    <a:pt x="124" y="2"/>
                  </a:lnTo>
                  <a:lnTo>
                    <a:pt x="127" y="0"/>
                  </a:lnTo>
                  <a:lnTo>
                    <a:pt x="130" y="0"/>
                  </a:lnTo>
                  <a:lnTo>
                    <a:pt x="135" y="2"/>
                  </a:lnTo>
                  <a:lnTo>
                    <a:pt x="138" y="2"/>
                  </a:lnTo>
                  <a:lnTo>
                    <a:pt x="141" y="3"/>
                  </a:lnTo>
                  <a:lnTo>
                    <a:pt x="144" y="5"/>
                  </a:lnTo>
                  <a:lnTo>
                    <a:pt x="148" y="5"/>
                  </a:lnTo>
                  <a:lnTo>
                    <a:pt x="152" y="5"/>
                  </a:lnTo>
                  <a:lnTo>
                    <a:pt x="156" y="7"/>
                  </a:lnTo>
                  <a:lnTo>
                    <a:pt x="159" y="3"/>
                  </a:lnTo>
                  <a:lnTo>
                    <a:pt x="162" y="2"/>
                  </a:lnTo>
                  <a:lnTo>
                    <a:pt x="165" y="3"/>
                  </a:lnTo>
                  <a:lnTo>
                    <a:pt x="168" y="7"/>
                  </a:lnTo>
                  <a:lnTo>
                    <a:pt x="167" y="10"/>
                  </a:lnTo>
                  <a:lnTo>
                    <a:pt x="168" y="13"/>
                  </a:lnTo>
                  <a:lnTo>
                    <a:pt x="171" y="16"/>
                  </a:lnTo>
                  <a:lnTo>
                    <a:pt x="175" y="13"/>
                  </a:lnTo>
                  <a:lnTo>
                    <a:pt x="178" y="10"/>
                  </a:lnTo>
                  <a:lnTo>
                    <a:pt x="181" y="7"/>
                  </a:lnTo>
                  <a:lnTo>
                    <a:pt x="184" y="8"/>
                  </a:lnTo>
                  <a:lnTo>
                    <a:pt x="186" y="8"/>
                  </a:lnTo>
                  <a:lnTo>
                    <a:pt x="186" y="11"/>
                  </a:lnTo>
                  <a:lnTo>
                    <a:pt x="190" y="13"/>
                  </a:lnTo>
                  <a:lnTo>
                    <a:pt x="190" y="16"/>
                  </a:lnTo>
                  <a:lnTo>
                    <a:pt x="190" y="21"/>
                  </a:lnTo>
                  <a:lnTo>
                    <a:pt x="192" y="24"/>
                  </a:lnTo>
                  <a:lnTo>
                    <a:pt x="195" y="26"/>
                  </a:lnTo>
                  <a:lnTo>
                    <a:pt x="195" y="26"/>
                  </a:lnTo>
                  <a:lnTo>
                    <a:pt x="198" y="29"/>
                  </a:lnTo>
                  <a:lnTo>
                    <a:pt x="197" y="30"/>
                  </a:lnTo>
                  <a:lnTo>
                    <a:pt x="197" y="34"/>
                  </a:lnTo>
                  <a:lnTo>
                    <a:pt x="200" y="37"/>
                  </a:lnTo>
                  <a:lnTo>
                    <a:pt x="206" y="41"/>
                  </a:lnTo>
                  <a:lnTo>
                    <a:pt x="208" y="45"/>
                  </a:lnTo>
                  <a:lnTo>
                    <a:pt x="209" y="48"/>
                  </a:lnTo>
                  <a:lnTo>
                    <a:pt x="209" y="49"/>
                  </a:lnTo>
                  <a:lnTo>
                    <a:pt x="211" y="53"/>
                  </a:lnTo>
                  <a:lnTo>
                    <a:pt x="211" y="56"/>
                  </a:lnTo>
                  <a:lnTo>
                    <a:pt x="211" y="56"/>
                  </a:lnTo>
                  <a:lnTo>
                    <a:pt x="217" y="56"/>
                  </a:lnTo>
                  <a:lnTo>
                    <a:pt x="219" y="56"/>
                  </a:lnTo>
                  <a:lnTo>
                    <a:pt x="221" y="57"/>
                  </a:lnTo>
                  <a:lnTo>
                    <a:pt x="221" y="57"/>
                  </a:lnTo>
                  <a:lnTo>
                    <a:pt x="225" y="62"/>
                  </a:lnTo>
                  <a:lnTo>
                    <a:pt x="228" y="64"/>
                  </a:lnTo>
                  <a:lnTo>
                    <a:pt x="232" y="62"/>
                  </a:lnTo>
                  <a:lnTo>
                    <a:pt x="238" y="62"/>
                  </a:lnTo>
                  <a:lnTo>
                    <a:pt x="243" y="64"/>
                  </a:lnTo>
                  <a:lnTo>
                    <a:pt x="246" y="64"/>
                  </a:lnTo>
                  <a:lnTo>
                    <a:pt x="244" y="67"/>
                  </a:lnTo>
                  <a:lnTo>
                    <a:pt x="241" y="68"/>
                  </a:lnTo>
                  <a:lnTo>
                    <a:pt x="238" y="68"/>
                  </a:lnTo>
                  <a:lnTo>
                    <a:pt x="235" y="73"/>
                  </a:lnTo>
                  <a:lnTo>
                    <a:pt x="236" y="76"/>
                  </a:lnTo>
                  <a:lnTo>
                    <a:pt x="238" y="80"/>
                  </a:lnTo>
                  <a:lnTo>
                    <a:pt x="241" y="84"/>
                  </a:lnTo>
                  <a:lnTo>
                    <a:pt x="241" y="86"/>
                  </a:lnTo>
                  <a:lnTo>
                    <a:pt x="243" y="89"/>
                  </a:lnTo>
                  <a:lnTo>
                    <a:pt x="243" y="92"/>
                  </a:lnTo>
                  <a:lnTo>
                    <a:pt x="243" y="92"/>
                  </a:lnTo>
                  <a:lnTo>
                    <a:pt x="240" y="94"/>
                  </a:lnTo>
                  <a:lnTo>
                    <a:pt x="236" y="92"/>
                  </a:lnTo>
                  <a:lnTo>
                    <a:pt x="235" y="92"/>
                  </a:lnTo>
                  <a:lnTo>
                    <a:pt x="235" y="97"/>
                  </a:lnTo>
                  <a:lnTo>
                    <a:pt x="235" y="99"/>
                  </a:lnTo>
                  <a:lnTo>
                    <a:pt x="232" y="100"/>
                  </a:lnTo>
                  <a:lnTo>
                    <a:pt x="232" y="100"/>
                  </a:lnTo>
                  <a:lnTo>
                    <a:pt x="228" y="105"/>
                  </a:lnTo>
                  <a:lnTo>
                    <a:pt x="228" y="108"/>
                  </a:lnTo>
                  <a:lnTo>
                    <a:pt x="230" y="111"/>
                  </a:lnTo>
                  <a:lnTo>
                    <a:pt x="232" y="114"/>
                  </a:lnTo>
                  <a:lnTo>
                    <a:pt x="228" y="114"/>
                  </a:lnTo>
                  <a:lnTo>
                    <a:pt x="224" y="113"/>
                  </a:lnTo>
                  <a:lnTo>
                    <a:pt x="224" y="114"/>
                  </a:lnTo>
                  <a:lnTo>
                    <a:pt x="222" y="118"/>
                  </a:lnTo>
                  <a:lnTo>
                    <a:pt x="224" y="121"/>
                  </a:lnTo>
                  <a:lnTo>
                    <a:pt x="227" y="124"/>
                  </a:lnTo>
                  <a:lnTo>
                    <a:pt x="228" y="127"/>
                  </a:lnTo>
                  <a:lnTo>
                    <a:pt x="227" y="130"/>
                  </a:lnTo>
                  <a:lnTo>
                    <a:pt x="224" y="137"/>
                  </a:lnTo>
                  <a:lnTo>
                    <a:pt x="224" y="138"/>
                  </a:lnTo>
                  <a:lnTo>
                    <a:pt x="224" y="138"/>
                  </a:lnTo>
                  <a:lnTo>
                    <a:pt x="224" y="140"/>
                  </a:lnTo>
                  <a:lnTo>
                    <a:pt x="225" y="140"/>
                  </a:lnTo>
                  <a:lnTo>
                    <a:pt x="228" y="143"/>
                  </a:lnTo>
                  <a:lnTo>
                    <a:pt x="232" y="146"/>
                  </a:lnTo>
                  <a:lnTo>
                    <a:pt x="233" y="149"/>
                  </a:lnTo>
                  <a:lnTo>
                    <a:pt x="236" y="152"/>
                  </a:lnTo>
                  <a:lnTo>
                    <a:pt x="240" y="152"/>
                  </a:lnTo>
                  <a:lnTo>
                    <a:pt x="243" y="156"/>
                  </a:lnTo>
                  <a:lnTo>
                    <a:pt x="243" y="159"/>
                  </a:lnTo>
                  <a:lnTo>
                    <a:pt x="246" y="159"/>
                  </a:lnTo>
                  <a:lnTo>
                    <a:pt x="247" y="160"/>
                  </a:lnTo>
                  <a:lnTo>
                    <a:pt x="249" y="164"/>
                  </a:lnTo>
                  <a:lnTo>
                    <a:pt x="252" y="167"/>
                  </a:lnTo>
                  <a:lnTo>
                    <a:pt x="254" y="170"/>
                  </a:lnTo>
                  <a:lnTo>
                    <a:pt x="252" y="173"/>
                  </a:lnTo>
                  <a:lnTo>
                    <a:pt x="249" y="175"/>
                  </a:lnTo>
                  <a:lnTo>
                    <a:pt x="252" y="176"/>
                  </a:lnTo>
                  <a:lnTo>
                    <a:pt x="252" y="179"/>
                  </a:lnTo>
                  <a:lnTo>
                    <a:pt x="260" y="179"/>
                  </a:lnTo>
                  <a:lnTo>
                    <a:pt x="267" y="183"/>
                  </a:lnTo>
                  <a:lnTo>
                    <a:pt x="271" y="186"/>
                  </a:lnTo>
                  <a:lnTo>
                    <a:pt x="278" y="191"/>
                  </a:lnTo>
                  <a:lnTo>
                    <a:pt x="281" y="194"/>
                  </a:lnTo>
                  <a:lnTo>
                    <a:pt x="284" y="195"/>
                  </a:lnTo>
                  <a:lnTo>
                    <a:pt x="287" y="198"/>
                  </a:lnTo>
                  <a:lnTo>
                    <a:pt x="290" y="200"/>
                  </a:lnTo>
                  <a:lnTo>
                    <a:pt x="293" y="200"/>
                  </a:lnTo>
                  <a:lnTo>
                    <a:pt x="293" y="200"/>
                  </a:lnTo>
                  <a:lnTo>
                    <a:pt x="295" y="200"/>
                  </a:lnTo>
                  <a:lnTo>
                    <a:pt x="298" y="200"/>
                  </a:lnTo>
                  <a:lnTo>
                    <a:pt x="300" y="205"/>
                  </a:lnTo>
                  <a:lnTo>
                    <a:pt x="300" y="205"/>
                  </a:lnTo>
                  <a:lnTo>
                    <a:pt x="301" y="208"/>
                  </a:lnTo>
                  <a:lnTo>
                    <a:pt x="305" y="211"/>
                  </a:lnTo>
                  <a:lnTo>
                    <a:pt x="306" y="214"/>
                  </a:lnTo>
                  <a:lnTo>
                    <a:pt x="306" y="214"/>
                  </a:lnTo>
                  <a:lnTo>
                    <a:pt x="308" y="214"/>
                  </a:lnTo>
                  <a:lnTo>
                    <a:pt x="311" y="217"/>
                  </a:lnTo>
                  <a:lnTo>
                    <a:pt x="311" y="219"/>
                  </a:lnTo>
                  <a:lnTo>
                    <a:pt x="311" y="219"/>
                  </a:lnTo>
                  <a:lnTo>
                    <a:pt x="311" y="221"/>
                  </a:lnTo>
                  <a:lnTo>
                    <a:pt x="314" y="224"/>
                  </a:lnTo>
                  <a:lnTo>
                    <a:pt x="317" y="227"/>
                  </a:lnTo>
                  <a:lnTo>
                    <a:pt x="316" y="235"/>
                  </a:lnTo>
                  <a:lnTo>
                    <a:pt x="314" y="243"/>
                  </a:lnTo>
                  <a:lnTo>
                    <a:pt x="314" y="251"/>
                  </a:lnTo>
                  <a:lnTo>
                    <a:pt x="317" y="260"/>
                  </a:lnTo>
                  <a:lnTo>
                    <a:pt x="324" y="260"/>
                  </a:lnTo>
                  <a:lnTo>
                    <a:pt x="327" y="260"/>
                  </a:lnTo>
                  <a:lnTo>
                    <a:pt x="327" y="263"/>
                  </a:lnTo>
                  <a:lnTo>
                    <a:pt x="328" y="268"/>
                  </a:lnTo>
                  <a:lnTo>
                    <a:pt x="328" y="271"/>
                  </a:lnTo>
                  <a:lnTo>
                    <a:pt x="328" y="275"/>
                  </a:lnTo>
                  <a:lnTo>
                    <a:pt x="330" y="279"/>
                  </a:lnTo>
                  <a:lnTo>
                    <a:pt x="330" y="283"/>
                  </a:lnTo>
                  <a:lnTo>
                    <a:pt x="333" y="283"/>
                  </a:lnTo>
                  <a:lnTo>
                    <a:pt x="335" y="284"/>
                  </a:lnTo>
                  <a:lnTo>
                    <a:pt x="335" y="287"/>
                  </a:lnTo>
                  <a:lnTo>
                    <a:pt x="339" y="287"/>
                  </a:lnTo>
                  <a:lnTo>
                    <a:pt x="341" y="290"/>
                  </a:lnTo>
                  <a:lnTo>
                    <a:pt x="344" y="294"/>
                  </a:lnTo>
                  <a:lnTo>
                    <a:pt x="344" y="298"/>
                  </a:lnTo>
                  <a:lnTo>
                    <a:pt x="346" y="302"/>
                  </a:lnTo>
                  <a:lnTo>
                    <a:pt x="349" y="303"/>
                  </a:lnTo>
                  <a:lnTo>
                    <a:pt x="349" y="303"/>
                  </a:lnTo>
                  <a:lnTo>
                    <a:pt x="349" y="303"/>
                  </a:lnTo>
                  <a:lnTo>
                    <a:pt x="349" y="305"/>
                  </a:lnTo>
                  <a:lnTo>
                    <a:pt x="339" y="302"/>
                  </a:lnTo>
                  <a:lnTo>
                    <a:pt x="328" y="300"/>
                  </a:lnTo>
                  <a:lnTo>
                    <a:pt x="327" y="297"/>
                  </a:lnTo>
                  <a:lnTo>
                    <a:pt x="328" y="300"/>
                  </a:lnTo>
                  <a:lnTo>
                    <a:pt x="328" y="300"/>
                  </a:lnTo>
                  <a:lnTo>
                    <a:pt x="320" y="297"/>
                  </a:lnTo>
                  <a:lnTo>
                    <a:pt x="313" y="297"/>
                  </a:lnTo>
                  <a:lnTo>
                    <a:pt x="308" y="298"/>
                  </a:lnTo>
                  <a:lnTo>
                    <a:pt x="301" y="300"/>
                  </a:lnTo>
                  <a:lnTo>
                    <a:pt x="301" y="302"/>
                  </a:lnTo>
                  <a:lnTo>
                    <a:pt x="300" y="305"/>
                  </a:lnTo>
                  <a:lnTo>
                    <a:pt x="298" y="308"/>
                  </a:lnTo>
                  <a:lnTo>
                    <a:pt x="297" y="311"/>
                  </a:lnTo>
                  <a:lnTo>
                    <a:pt x="297" y="316"/>
                  </a:lnTo>
                  <a:lnTo>
                    <a:pt x="292" y="324"/>
                  </a:lnTo>
                  <a:lnTo>
                    <a:pt x="287" y="333"/>
                  </a:lnTo>
                  <a:lnTo>
                    <a:pt x="287" y="333"/>
                  </a:lnTo>
                  <a:lnTo>
                    <a:pt x="287" y="335"/>
                  </a:lnTo>
                  <a:lnTo>
                    <a:pt x="284" y="336"/>
                  </a:lnTo>
                  <a:lnTo>
                    <a:pt x="284" y="338"/>
                  </a:lnTo>
                  <a:lnTo>
                    <a:pt x="282" y="338"/>
                  </a:lnTo>
                  <a:lnTo>
                    <a:pt x="279" y="340"/>
                  </a:lnTo>
                  <a:lnTo>
                    <a:pt x="274" y="340"/>
                  </a:lnTo>
                  <a:lnTo>
                    <a:pt x="268" y="338"/>
                  </a:lnTo>
                  <a:lnTo>
                    <a:pt x="262" y="338"/>
                  </a:lnTo>
                  <a:lnTo>
                    <a:pt x="243" y="335"/>
                  </a:lnTo>
                  <a:lnTo>
                    <a:pt x="224" y="333"/>
                  </a:lnTo>
                  <a:lnTo>
                    <a:pt x="219" y="333"/>
                  </a:lnTo>
                  <a:lnTo>
                    <a:pt x="216" y="330"/>
                  </a:lnTo>
                  <a:lnTo>
                    <a:pt x="211" y="327"/>
                  </a:lnTo>
                  <a:lnTo>
                    <a:pt x="206" y="324"/>
                  </a:lnTo>
                  <a:lnTo>
                    <a:pt x="201" y="319"/>
                  </a:lnTo>
                  <a:lnTo>
                    <a:pt x="195" y="314"/>
                  </a:lnTo>
                  <a:lnTo>
                    <a:pt x="190" y="311"/>
                  </a:lnTo>
                  <a:lnTo>
                    <a:pt x="186" y="306"/>
                  </a:lnTo>
                  <a:lnTo>
                    <a:pt x="173" y="298"/>
                  </a:lnTo>
                  <a:lnTo>
                    <a:pt x="160" y="287"/>
                  </a:lnTo>
                  <a:lnTo>
                    <a:pt x="140" y="271"/>
                  </a:lnTo>
                  <a:lnTo>
                    <a:pt x="121" y="256"/>
                  </a:lnTo>
                  <a:lnTo>
                    <a:pt x="116" y="254"/>
                  </a:lnTo>
                  <a:lnTo>
                    <a:pt x="113" y="252"/>
                  </a:lnTo>
                  <a:lnTo>
                    <a:pt x="106" y="249"/>
                  </a:lnTo>
                  <a:lnTo>
                    <a:pt x="105" y="249"/>
                  </a:lnTo>
                  <a:lnTo>
                    <a:pt x="102" y="248"/>
                  </a:lnTo>
                  <a:lnTo>
                    <a:pt x="97" y="244"/>
                  </a:lnTo>
                  <a:lnTo>
                    <a:pt x="97" y="244"/>
                  </a:lnTo>
                  <a:lnTo>
                    <a:pt x="90" y="241"/>
                  </a:lnTo>
                  <a:lnTo>
                    <a:pt x="84" y="237"/>
                  </a:lnTo>
                  <a:lnTo>
                    <a:pt x="78" y="233"/>
                  </a:lnTo>
                  <a:lnTo>
                    <a:pt x="71" y="229"/>
                  </a:lnTo>
                  <a:lnTo>
                    <a:pt x="67" y="225"/>
                  </a:lnTo>
                  <a:lnTo>
                    <a:pt x="60" y="222"/>
                  </a:lnTo>
                  <a:lnTo>
                    <a:pt x="52" y="221"/>
                  </a:lnTo>
                  <a:lnTo>
                    <a:pt x="35" y="217"/>
                  </a:lnTo>
                  <a:lnTo>
                    <a:pt x="18" y="214"/>
                  </a:lnTo>
                  <a:lnTo>
                    <a:pt x="21" y="210"/>
                  </a:lnTo>
                  <a:lnTo>
                    <a:pt x="21" y="210"/>
                  </a:lnTo>
                  <a:lnTo>
                    <a:pt x="21" y="210"/>
                  </a:lnTo>
                  <a:lnTo>
                    <a:pt x="19" y="205"/>
                  </a:lnTo>
                  <a:lnTo>
                    <a:pt x="19" y="205"/>
                  </a:lnTo>
                  <a:lnTo>
                    <a:pt x="18" y="205"/>
                  </a:lnTo>
                  <a:lnTo>
                    <a:pt x="13" y="206"/>
                  </a:lnTo>
                  <a:lnTo>
                    <a:pt x="11" y="203"/>
                  </a:lnTo>
                  <a:lnTo>
                    <a:pt x="10" y="202"/>
                  </a:lnTo>
                  <a:lnTo>
                    <a:pt x="10" y="200"/>
                  </a:lnTo>
                  <a:lnTo>
                    <a:pt x="10" y="200"/>
                  </a:lnTo>
                  <a:lnTo>
                    <a:pt x="10" y="200"/>
                  </a:lnTo>
                  <a:lnTo>
                    <a:pt x="11" y="198"/>
                  </a:lnTo>
                  <a:lnTo>
                    <a:pt x="13" y="198"/>
                  </a:lnTo>
                  <a:lnTo>
                    <a:pt x="6" y="181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grpSp>
          <p:nvGrpSpPr>
            <p:cNvPr id="240" name="Group 402"/>
            <p:cNvGrpSpPr>
              <a:grpSpLocks/>
            </p:cNvGrpSpPr>
            <p:nvPr/>
          </p:nvGrpSpPr>
          <p:grpSpPr bwMode="auto">
            <a:xfrm>
              <a:off x="6732305" y="3918376"/>
              <a:ext cx="195554" cy="335098"/>
              <a:chOff x="3527" y="1951"/>
              <a:chExt cx="133" cy="198"/>
            </a:xfrm>
            <a:solidFill>
              <a:srgbClr val="A6A6A6"/>
            </a:solidFill>
          </p:grpSpPr>
          <p:sp>
            <p:nvSpPr>
              <p:cNvPr id="725" name="Freeform 403"/>
              <p:cNvSpPr>
                <a:spLocks/>
              </p:cNvSpPr>
              <p:nvPr/>
            </p:nvSpPr>
            <p:spPr bwMode="auto">
              <a:xfrm>
                <a:off x="3527" y="1979"/>
                <a:ext cx="133" cy="170"/>
              </a:xfrm>
              <a:custGeom>
                <a:avLst/>
                <a:gdLst>
                  <a:gd name="T0" fmla="*/ 105 w 266"/>
                  <a:gd name="T1" fmla="*/ 205 h 339"/>
                  <a:gd name="T2" fmla="*/ 102 w 266"/>
                  <a:gd name="T3" fmla="*/ 94 h 339"/>
                  <a:gd name="T4" fmla="*/ 102 w 266"/>
                  <a:gd name="T5" fmla="*/ 86 h 339"/>
                  <a:gd name="T6" fmla="*/ 105 w 266"/>
                  <a:gd name="T7" fmla="*/ 71 h 339"/>
                  <a:gd name="T8" fmla="*/ 108 w 266"/>
                  <a:gd name="T9" fmla="*/ 62 h 339"/>
                  <a:gd name="T10" fmla="*/ 111 w 266"/>
                  <a:gd name="T11" fmla="*/ 51 h 339"/>
                  <a:gd name="T12" fmla="*/ 109 w 266"/>
                  <a:gd name="T13" fmla="*/ 43 h 339"/>
                  <a:gd name="T14" fmla="*/ 119 w 266"/>
                  <a:gd name="T15" fmla="*/ 38 h 339"/>
                  <a:gd name="T16" fmla="*/ 125 w 266"/>
                  <a:gd name="T17" fmla="*/ 35 h 339"/>
                  <a:gd name="T18" fmla="*/ 119 w 266"/>
                  <a:gd name="T19" fmla="*/ 29 h 339"/>
                  <a:gd name="T20" fmla="*/ 117 w 266"/>
                  <a:gd name="T21" fmla="*/ 18 h 339"/>
                  <a:gd name="T22" fmla="*/ 117 w 266"/>
                  <a:gd name="T23" fmla="*/ 8 h 339"/>
                  <a:gd name="T24" fmla="*/ 121 w 266"/>
                  <a:gd name="T25" fmla="*/ 0 h 339"/>
                  <a:gd name="T26" fmla="*/ 125 w 266"/>
                  <a:gd name="T27" fmla="*/ 5 h 339"/>
                  <a:gd name="T28" fmla="*/ 127 w 266"/>
                  <a:gd name="T29" fmla="*/ 10 h 339"/>
                  <a:gd name="T30" fmla="*/ 130 w 266"/>
                  <a:gd name="T31" fmla="*/ 8 h 339"/>
                  <a:gd name="T32" fmla="*/ 135 w 266"/>
                  <a:gd name="T33" fmla="*/ 2 h 339"/>
                  <a:gd name="T34" fmla="*/ 136 w 266"/>
                  <a:gd name="T35" fmla="*/ 0 h 339"/>
                  <a:gd name="T36" fmla="*/ 151 w 266"/>
                  <a:gd name="T37" fmla="*/ 25 h 339"/>
                  <a:gd name="T38" fmla="*/ 174 w 266"/>
                  <a:gd name="T39" fmla="*/ 46 h 339"/>
                  <a:gd name="T40" fmla="*/ 186 w 266"/>
                  <a:gd name="T41" fmla="*/ 49 h 339"/>
                  <a:gd name="T42" fmla="*/ 198 w 266"/>
                  <a:gd name="T43" fmla="*/ 52 h 339"/>
                  <a:gd name="T44" fmla="*/ 209 w 266"/>
                  <a:gd name="T45" fmla="*/ 56 h 339"/>
                  <a:gd name="T46" fmla="*/ 220 w 266"/>
                  <a:gd name="T47" fmla="*/ 56 h 339"/>
                  <a:gd name="T48" fmla="*/ 228 w 266"/>
                  <a:gd name="T49" fmla="*/ 65 h 339"/>
                  <a:gd name="T50" fmla="*/ 236 w 266"/>
                  <a:gd name="T51" fmla="*/ 76 h 339"/>
                  <a:gd name="T52" fmla="*/ 244 w 266"/>
                  <a:gd name="T53" fmla="*/ 86 h 339"/>
                  <a:gd name="T54" fmla="*/ 255 w 266"/>
                  <a:gd name="T55" fmla="*/ 100 h 339"/>
                  <a:gd name="T56" fmla="*/ 266 w 266"/>
                  <a:gd name="T57" fmla="*/ 100 h 339"/>
                  <a:gd name="T58" fmla="*/ 266 w 266"/>
                  <a:gd name="T59" fmla="*/ 108 h 339"/>
                  <a:gd name="T60" fmla="*/ 265 w 266"/>
                  <a:gd name="T61" fmla="*/ 117 h 339"/>
                  <a:gd name="T62" fmla="*/ 260 w 266"/>
                  <a:gd name="T63" fmla="*/ 127 h 339"/>
                  <a:gd name="T64" fmla="*/ 255 w 266"/>
                  <a:gd name="T65" fmla="*/ 138 h 339"/>
                  <a:gd name="T66" fmla="*/ 247 w 266"/>
                  <a:gd name="T67" fmla="*/ 149 h 339"/>
                  <a:gd name="T68" fmla="*/ 233 w 266"/>
                  <a:gd name="T69" fmla="*/ 167 h 339"/>
                  <a:gd name="T70" fmla="*/ 220 w 266"/>
                  <a:gd name="T71" fmla="*/ 189 h 339"/>
                  <a:gd name="T72" fmla="*/ 214 w 266"/>
                  <a:gd name="T73" fmla="*/ 179 h 339"/>
                  <a:gd name="T74" fmla="*/ 206 w 266"/>
                  <a:gd name="T75" fmla="*/ 187 h 339"/>
                  <a:gd name="T76" fmla="*/ 203 w 266"/>
                  <a:gd name="T77" fmla="*/ 197 h 339"/>
                  <a:gd name="T78" fmla="*/ 203 w 266"/>
                  <a:gd name="T79" fmla="*/ 206 h 339"/>
                  <a:gd name="T80" fmla="*/ 200 w 266"/>
                  <a:gd name="T81" fmla="*/ 217 h 339"/>
                  <a:gd name="T82" fmla="*/ 201 w 266"/>
                  <a:gd name="T83" fmla="*/ 225 h 339"/>
                  <a:gd name="T84" fmla="*/ 203 w 266"/>
                  <a:gd name="T85" fmla="*/ 235 h 339"/>
                  <a:gd name="T86" fmla="*/ 206 w 266"/>
                  <a:gd name="T87" fmla="*/ 246 h 339"/>
                  <a:gd name="T88" fmla="*/ 197 w 266"/>
                  <a:gd name="T89" fmla="*/ 247 h 339"/>
                  <a:gd name="T90" fmla="*/ 179 w 266"/>
                  <a:gd name="T91" fmla="*/ 251 h 339"/>
                  <a:gd name="T92" fmla="*/ 167 w 266"/>
                  <a:gd name="T93" fmla="*/ 260 h 339"/>
                  <a:gd name="T94" fmla="*/ 165 w 266"/>
                  <a:gd name="T95" fmla="*/ 271 h 339"/>
                  <a:gd name="T96" fmla="*/ 160 w 266"/>
                  <a:gd name="T97" fmla="*/ 284 h 339"/>
                  <a:gd name="T98" fmla="*/ 149 w 266"/>
                  <a:gd name="T99" fmla="*/ 289 h 339"/>
                  <a:gd name="T100" fmla="*/ 138 w 266"/>
                  <a:gd name="T101" fmla="*/ 290 h 339"/>
                  <a:gd name="T102" fmla="*/ 127 w 266"/>
                  <a:gd name="T103" fmla="*/ 292 h 339"/>
                  <a:gd name="T104" fmla="*/ 119 w 266"/>
                  <a:gd name="T105" fmla="*/ 301 h 339"/>
                  <a:gd name="T106" fmla="*/ 121 w 266"/>
                  <a:gd name="T107" fmla="*/ 313 h 339"/>
                  <a:gd name="T108" fmla="*/ 116 w 266"/>
                  <a:gd name="T109" fmla="*/ 324 h 339"/>
                  <a:gd name="T110" fmla="*/ 105 w 266"/>
                  <a:gd name="T111" fmla="*/ 328 h 339"/>
                  <a:gd name="T112" fmla="*/ 94 w 266"/>
                  <a:gd name="T113" fmla="*/ 325 h 339"/>
                  <a:gd name="T114" fmla="*/ 84 w 266"/>
                  <a:gd name="T115" fmla="*/ 325 h 339"/>
                  <a:gd name="T116" fmla="*/ 75 w 266"/>
                  <a:gd name="T117" fmla="*/ 330 h 339"/>
                  <a:gd name="T118" fmla="*/ 62 w 266"/>
                  <a:gd name="T119" fmla="*/ 336 h 339"/>
                  <a:gd name="T120" fmla="*/ 51 w 266"/>
                  <a:gd name="T121" fmla="*/ 338 h 339"/>
                  <a:gd name="T122" fmla="*/ 33 w 266"/>
                  <a:gd name="T123" fmla="*/ 314 h 339"/>
                  <a:gd name="T124" fmla="*/ 32 w 266"/>
                  <a:gd name="T125" fmla="*/ 313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66" h="339">
                    <a:moveTo>
                      <a:pt x="0" y="244"/>
                    </a:moveTo>
                    <a:lnTo>
                      <a:pt x="2" y="244"/>
                    </a:lnTo>
                    <a:lnTo>
                      <a:pt x="105" y="205"/>
                    </a:lnTo>
                    <a:lnTo>
                      <a:pt x="122" y="122"/>
                    </a:lnTo>
                    <a:lnTo>
                      <a:pt x="103" y="95"/>
                    </a:lnTo>
                    <a:lnTo>
                      <a:pt x="102" y="94"/>
                    </a:lnTo>
                    <a:lnTo>
                      <a:pt x="103" y="92"/>
                    </a:lnTo>
                    <a:lnTo>
                      <a:pt x="103" y="90"/>
                    </a:lnTo>
                    <a:lnTo>
                      <a:pt x="102" y="86"/>
                    </a:lnTo>
                    <a:lnTo>
                      <a:pt x="102" y="79"/>
                    </a:lnTo>
                    <a:lnTo>
                      <a:pt x="103" y="76"/>
                    </a:lnTo>
                    <a:lnTo>
                      <a:pt x="105" y="71"/>
                    </a:lnTo>
                    <a:lnTo>
                      <a:pt x="106" y="68"/>
                    </a:lnTo>
                    <a:lnTo>
                      <a:pt x="106" y="65"/>
                    </a:lnTo>
                    <a:lnTo>
                      <a:pt x="108" y="62"/>
                    </a:lnTo>
                    <a:lnTo>
                      <a:pt x="109" y="57"/>
                    </a:lnTo>
                    <a:lnTo>
                      <a:pt x="109" y="54"/>
                    </a:lnTo>
                    <a:lnTo>
                      <a:pt x="111" y="51"/>
                    </a:lnTo>
                    <a:lnTo>
                      <a:pt x="111" y="48"/>
                    </a:lnTo>
                    <a:lnTo>
                      <a:pt x="111" y="45"/>
                    </a:lnTo>
                    <a:lnTo>
                      <a:pt x="109" y="43"/>
                    </a:lnTo>
                    <a:lnTo>
                      <a:pt x="113" y="40"/>
                    </a:lnTo>
                    <a:lnTo>
                      <a:pt x="116" y="40"/>
                    </a:lnTo>
                    <a:lnTo>
                      <a:pt x="119" y="38"/>
                    </a:lnTo>
                    <a:lnTo>
                      <a:pt x="122" y="40"/>
                    </a:lnTo>
                    <a:lnTo>
                      <a:pt x="125" y="38"/>
                    </a:lnTo>
                    <a:lnTo>
                      <a:pt x="125" y="35"/>
                    </a:lnTo>
                    <a:lnTo>
                      <a:pt x="124" y="32"/>
                    </a:lnTo>
                    <a:lnTo>
                      <a:pt x="121" y="32"/>
                    </a:lnTo>
                    <a:lnTo>
                      <a:pt x="119" y="29"/>
                    </a:lnTo>
                    <a:lnTo>
                      <a:pt x="119" y="24"/>
                    </a:lnTo>
                    <a:lnTo>
                      <a:pt x="117" y="21"/>
                    </a:lnTo>
                    <a:lnTo>
                      <a:pt x="117" y="18"/>
                    </a:lnTo>
                    <a:lnTo>
                      <a:pt x="119" y="14"/>
                    </a:lnTo>
                    <a:lnTo>
                      <a:pt x="117" y="11"/>
                    </a:lnTo>
                    <a:lnTo>
                      <a:pt x="117" y="8"/>
                    </a:lnTo>
                    <a:lnTo>
                      <a:pt x="117" y="5"/>
                    </a:lnTo>
                    <a:lnTo>
                      <a:pt x="117" y="3"/>
                    </a:lnTo>
                    <a:lnTo>
                      <a:pt x="121" y="0"/>
                    </a:lnTo>
                    <a:lnTo>
                      <a:pt x="122" y="0"/>
                    </a:lnTo>
                    <a:lnTo>
                      <a:pt x="125" y="3"/>
                    </a:lnTo>
                    <a:lnTo>
                      <a:pt x="125" y="5"/>
                    </a:lnTo>
                    <a:lnTo>
                      <a:pt x="125" y="6"/>
                    </a:lnTo>
                    <a:lnTo>
                      <a:pt x="125" y="8"/>
                    </a:lnTo>
                    <a:lnTo>
                      <a:pt x="127" y="10"/>
                    </a:lnTo>
                    <a:lnTo>
                      <a:pt x="127" y="10"/>
                    </a:lnTo>
                    <a:lnTo>
                      <a:pt x="130" y="8"/>
                    </a:lnTo>
                    <a:lnTo>
                      <a:pt x="130" y="8"/>
                    </a:lnTo>
                    <a:lnTo>
                      <a:pt x="130" y="6"/>
                    </a:lnTo>
                    <a:lnTo>
                      <a:pt x="133" y="5"/>
                    </a:lnTo>
                    <a:lnTo>
                      <a:pt x="135" y="2"/>
                    </a:lnTo>
                    <a:lnTo>
                      <a:pt x="135" y="0"/>
                    </a:lnTo>
                    <a:lnTo>
                      <a:pt x="136" y="0"/>
                    </a:lnTo>
                    <a:lnTo>
                      <a:pt x="136" y="0"/>
                    </a:lnTo>
                    <a:lnTo>
                      <a:pt x="141" y="10"/>
                    </a:lnTo>
                    <a:lnTo>
                      <a:pt x="144" y="18"/>
                    </a:lnTo>
                    <a:lnTo>
                      <a:pt x="151" y="25"/>
                    </a:lnTo>
                    <a:lnTo>
                      <a:pt x="157" y="33"/>
                    </a:lnTo>
                    <a:lnTo>
                      <a:pt x="167" y="41"/>
                    </a:lnTo>
                    <a:lnTo>
                      <a:pt x="174" y="46"/>
                    </a:lnTo>
                    <a:lnTo>
                      <a:pt x="179" y="46"/>
                    </a:lnTo>
                    <a:lnTo>
                      <a:pt x="182" y="48"/>
                    </a:lnTo>
                    <a:lnTo>
                      <a:pt x="186" y="49"/>
                    </a:lnTo>
                    <a:lnTo>
                      <a:pt x="189" y="49"/>
                    </a:lnTo>
                    <a:lnTo>
                      <a:pt x="193" y="51"/>
                    </a:lnTo>
                    <a:lnTo>
                      <a:pt x="198" y="52"/>
                    </a:lnTo>
                    <a:lnTo>
                      <a:pt x="200" y="52"/>
                    </a:lnTo>
                    <a:lnTo>
                      <a:pt x="203" y="52"/>
                    </a:lnTo>
                    <a:lnTo>
                      <a:pt x="209" y="56"/>
                    </a:lnTo>
                    <a:lnTo>
                      <a:pt x="213" y="56"/>
                    </a:lnTo>
                    <a:lnTo>
                      <a:pt x="216" y="56"/>
                    </a:lnTo>
                    <a:lnTo>
                      <a:pt x="220" y="56"/>
                    </a:lnTo>
                    <a:lnTo>
                      <a:pt x="224" y="59"/>
                    </a:lnTo>
                    <a:lnTo>
                      <a:pt x="227" y="62"/>
                    </a:lnTo>
                    <a:lnTo>
                      <a:pt x="228" y="65"/>
                    </a:lnTo>
                    <a:lnTo>
                      <a:pt x="233" y="70"/>
                    </a:lnTo>
                    <a:lnTo>
                      <a:pt x="235" y="73"/>
                    </a:lnTo>
                    <a:lnTo>
                      <a:pt x="236" y="76"/>
                    </a:lnTo>
                    <a:lnTo>
                      <a:pt x="238" y="79"/>
                    </a:lnTo>
                    <a:lnTo>
                      <a:pt x="243" y="83"/>
                    </a:lnTo>
                    <a:lnTo>
                      <a:pt x="244" y="86"/>
                    </a:lnTo>
                    <a:lnTo>
                      <a:pt x="246" y="89"/>
                    </a:lnTo>
                    <a:lnTo>
                      <a:pt x="249" y="92"/>
                    </a:lnTo>
                    <a:lnTo>
                      <a:pt x="255" y="100"/>
                    </a:lnTo>
                    <a:lnTo>
                      <a:pt x="259" y="98"/>
                    </a:lnTo>
                    <a:lnTo>
                      <a:pt x="262" y="100"/>
                    </a:lnTo>
                    <a:lnTo>
                      <a:pt x="266" y="100"/>
                    </a:lnTo>
                    <a:lnTo>
                      <a:pt x="266" y="102"/>
                    </a:lnTo>
                    <a:lnTo>
                      <a:pt x="266" y="105"/>
                    </a:lnTo>
                    <a:lnTo>
                      <a:pt x="266" y="108"/>
                    </a:lnTo>
                    <a:lnTo>
                      <a:pt x="266" y="113"/>
                    </a:lnTo>
                    <a:lnTo>
                      <a:pt x="266" y="113"/>
                    </a:lnTo>
                    <a:lnTo>
                      <a:pt x="265" y="117"/>
                    </a:lnTo>
                    <a:lnTo>
                      <a:pt x="263" y="121"/>
                    </a:lnTo>
                    <a:lnTo>
                      <a:pt x="262" y="124"/>
                    </a:lnTo>
                    <a:lnTo>
                      <a:pt x="260" y="127"/>
                    </a:lnTo>
                    <a:lnTo>
                      <a:pt x="257" y="132"/>
                    </a:lnTo>
                    <a:lnTo>
                      <a:pt x="257" y="135"/>
                    </a:lnTo>
                    <a:lnTo>
                      <a:pt x="255" y="138"/>
                    </a:lnTo>
                    <a:lnTo>
                      <a:pt x="254" y="141"/>
                    </a:lnTo>
                    <a:lnTo>
                      <a:pt x="252" y="144"/>
                    </a:lnTo>
                    <a:lnTo>
                      <a:pt x="247" y="149"/>
                    </a:lnTo>
                    <a:lnTo>
                      <a:pt x="241" y="154"/>
                    </a:lnTo>
                    <a:lnTo>
                      <a:pt x="236" y="160"/>
                    </a:lnTo>
                    <a:lnTo>
                      <a:pt x="233" y="167"/>
                    </a:lnTo>
                    <a:lnTo>
                      <a:pt x="228" y="178"/>
                    </a:lnTo>
                    <a:lnTo>
                      <a:pt x="224" y="189"/>
                    </a:lnTo>
                    <a:lnTo>
                      <a:pt x="220" y="189"/>
                    </a:lnTo>
                    <a:lnTo>
                      <a:pt x="217" y="187"/>
                    </a:lnTo>
                    <a:lnTo>
                      <a:pt x="217" y="182"/>
                    </a:lnTo>
                    <a:lnTo>
                      <a:pt x="214" y="179"/>
                    </a:lnTo>
                    <a:lnTo>
                      <a:pt x="211" y="181"/>
                    </a:lnTo>
                    <a:lnTo>
                      <a:pt x="211" y="184"/>
                    </a:lnTo>
                    <a:lnTo>
                      <a:pt x="206" y="187"/>
                    </a:lnTo>
                    <a:lnTo>
                      <a:pt x="208" y="190"/>
                    </a:lnTo>
                    <a:lnTo>
                      <a:pt x="203" y="194"/>
                    </a:lnTo>
                    <a:lnTo>
                      <a:pt x="203" y="197"/>
                    </a:lnTo>
                    <a:lnTo>
                      <a:pt x="203" y="200"/>
                    </a:lnTo>
                    <a:lnTo>
                      <a:pt x="203" y="205"/>
                    </a:lnTo>
                    <a:lnTo>
                      <a:pt x="203" y="206"/>
                    </a:lnTo>
                    <a:lnTo>
                      <a:pt x="201" y="211"/>
                    </a:lnTo>
                    <a:lnTo>
                      <a:pt x="200" y="214"/>
                    </a:lnTo>
                    <a:lnTo>
                      <a:pt x="200" y="217"/>
                    </a:lnTo>
                    <a:lnTo>
                      <a:pt x="201" y="217"/>
                    </a:lnTo>
                    <a:lnTo>
                      <a:pt x="201" y="221"/>
                    </a:lnTo>
                    <a:lnTo>
                      <a:pt x="201" y="225"/>
                    </a:lnTo>
                    <a:lnTo>
                      <a:pt x="203" y="228"/>
                    </a:lnTo>
                    <a:lnTo>
                      <a:pt x="203" y="232"/>
                    </a:lnTo>
                    <a:lnTo>
                      <a:pt x="203" y="235"/>
                    </a:lnTo>
                    <a:lnTo>
                      <a:pt x="206" y="238"/>
                    </a:lnTo>
                    <a:lnTo>
                      <a:pt x="206" y="243"/>
                    </a:lnTo>
                    <a:lnTo>
                      <a:pt x="206" y="246"/>
                    </a:lnTo>
                    <a:lnTo>
                      <a:pt x="203" y="247"/>
                    </a:lnTo>
                    <a:lnTo>
                      <a:pt x="200" y="247"/>
                    </a:lnTo>
                    <a:lnTo>
                      <a:pt x="197" y="247"/>
                    </a:lnTo>
                    <a:lnTo>
                      <a:pt x="192" y="247"/>
                    </a:lnTo>
                    <a:lnTo>
                      <a:pt x="189" y="247"/>
                    </a:lnTo>
                    <a:lnTo>
                      <a:pt x="179" y="251"/>
                    </a:lnTo>
                    <a:lnTo>
                      <a:pt x="171" y="255"/>
                    </a:lnTo>
                    <a:lnTo>
                      <a:pt x="170" y="257"/>
                    </a:lnTo>
                    <a:lnTo>
                      <a:pt x="167" y="260"/>
                    </a:lnTo>
                    <a:lnTo>
                      <a:pt x="165" y="263"/>
                    </a:lnTo>
                    <a:lnTo>
                      <a:pt x="167" y="268"/>
                    </a:lnTo>
                    <a:lnTo>
                      <a:pt x="165" y="271"/>
                    </a:lnTo>
                    <a:lnTo>
                      <a:pt x="163" y="278"/>
                    </a:lnTo>
                    <a:lnTo>
                      <a:pt x="163" y="281"/>
                    </a:lnTo>
                    <a:lnTo>
                      <a:pt x="160" y="284"/>
                    </a:lnTo>
                    <a:lnTo>
                      <a:pt x="155" y="289"/>
                    </a:lnTo>
                    <a:lnTo>
                      <a:pt x="152" y="287"/>
                    </a:lnTo>
                    <a:lnTo>
                      <a:pt x="149" y="289"/>
                    </a:lnTo>
                    <a:lnTo>
                      <a:pt x="144" y="289"/>
                    </a:lnTo>
                    <a:lnTo>
                      <a:pt x="141" y="290"/>
                    </a:lnTo>
                    <a:lnTo>
                      <a:pt x="138" y="290"/>
                    </a:lnTo>
                    <a:lnTo>
                      <a:pt x="135" y="290"/>
                    </a:lnTo>
                    <a:lnTo>
                      <a:pt x="130" y="290"/>
                    </a:lnTo>
                    <a:lnTo>
                      <a:pt x="127" y="292"/>
                    </a:lnTo>
                    <a:lnTo>
                      <a:pt x="124" y="295"/>
                    </a:lnTo>
                    <a:lnTo>
                      <a:pt x="122" y="298"/>
                    </a:lnTo>
                    <a:lnTo>
                      <a:pt x="119" y="301"/>
                    </a:lnTo>
                    <a:lnTo>
                      <a:pt x="117" y="306"/>
                    </a:lnTo>
                    <a:lnTo>
                      <a:pt x="121" y="309"/>
                    </a:lnTo>
                    <a:lnTo>
                      <a:pt x="121" y="313"/>
                    </a:lnTo>
                    <a:lnTo>
                      <a:pt x="119" y="316"/>
                    </a:lnTo>
                    <a:lnTo>
                      <a:pt x="117" y="319"/>
                    </a:lnTo>
                    <a:lnTo>
                      <a:pt x="116" y="324"/>
                    </a:lnTo>
                    <a:lnTo>
                      <a:pt x="113" y="327"/>
                    </a:lnTo>
                    <a:lnTo>
                      <a:pt x="108" y="327"/>
                    </a:lnTo>
                    <a:lnTo>
                      <a:pt x="105" y="328"/>
                    </a:lnTo>
                    <a:lnTo>
                      <a:pt x="102" y="328"/>
                    </a:lnTo>
                    <a:lnTo>
                      <a:pt x="98" y="325"/>
                    </a:lnTo>
                    <a:lnTo>
                      <a:pt x="94" y="325"/>
                    </a:lnTo>
                    <a:lnTo>
                      <a:pt x="90" y="325"/>
                    </a:lnTo>
                    <a:lnTo>
                      <a:pt x="87" y="325"/>
                    </a:lnTo>
                    <a:lnTo>
                      <a:pt x="84" y="325"/>
                    </a:lnTo>
                    <a:lnTo>
                      <a:pt x="81" y="327"/>
                    </a:lnTo>
                    <a:lnTo>
                      <a:pt x="78" y="327"/>
                    </a:lnTo>
                    <a:lnTo>
                      <a:pt x="75" y="330"/>
                    </a:lnTo>
                    <a:lnTo>
                      <a:pt x="68" y="332"/>
                    </a:lnTo>
                    <a:lnTo>
                      <a:pt x="65" y="335"/>
                    </a:lnTo>
                    <a:lnTo>
                      <a:pt x="62" y="336"/>
                    </a:lnTo>
                    <a:lnTo>
                      <a:pt x="57" y="336"/>
                    </a:lnTo>
                    <a:lnTo>
                      <a:pt x="54" y="338"/>
                    </a:lnTo>
                    <a:lnTo>
                      <a:pt x="51" y="338"/>
                    </a:lnTo>
                    <a:lnTo>
                      <a:pt x="48" y="339"/>
                    </a:lnTo>
                    <a:lnTo>
                      <a:pt x="44" y="339"/>
                    </a:lnTo>
                    <a:lnTo>
                      <a:pt x="33" y="314"/>
                    </a:lnTo>
                    <a:lnTo>
                      <a:pt x="30" y="314"/>
                    </a:lnTo>
                    <a:lnTo>
                      <a:pt x="30" y="314"/>
                    </a:lnTo>
                    <a:lnTo>
                      <a:pt x="32" y="313"/>
                    </a:lnTo>
                    <a:lnTo>
                      <a:pt x="2" y="247"/>
                    </a:lnTo>
                    <a:lnTo>
                      <a:pt x="0" y="24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26" name="Freeform 404"/>
              <p:cNvSpPr>
                <a:spLocks/>
              </p:cNvSpPr>
              <p:nvPr/>
            </p:nvSpPr>
            <p:spPr bwMode="auto">
              <a:xfrm>
                <a:off x="3588" y="1951"/>
                <a:ext cx="6" cy="15"/>
              </a:xfrm>
              <a:custGeom>
                <a:avLst/>
                <a:gdLst>
                  <a:gd name="T0" fmla="*/ 0 w 13"/>
                  <a:gd name="T1" fmla="*/ 13 h 30"/>
                  <a:gd name="T2" fmla="*/ 0 w 13"/>
                  <a:gd name="T3" fmla="*/ 13 h 30"/>
                  <a:gd name="T4" fmla="*/ 2 w 13"/>
                  <a:gd name="T5" fmla="*/ 8 h 30"/>
                  <a:gd name="T6" fmla="*/ 3 w 13"/>
                  <a:gd name="T7" fmla="*/ 5 h 30"/>
                  <a:gd name="T8" fmla="*/ 6 w 13"/>
                  <a:gd name="T9" fmla="*/ 6 h 30"/>
                  <a:gd name="T10" fmla="*/ 10 w 13"/>
                  <a:gd name="T11" fmla="*/ 5 h 30"/>
                  <a:gd name="T12" fmla="*/ 8 w 13"/>
                  <a:gd name="T13" fmla="*/ 2 h 30"/>
                  <a:gd name="T14" fmla="*/ 8 w 13"/>
                  <a:gd name="T15" fmla="*/ 0 h 30"/>
                  <a:gd name="T16" fmla="*/ 11 w 13"/>
                  <a:gd name="T17" fmla="*/ 3 h 30"/>
                  <a:gd name="T18" fmla="*/ 13 w 13"/>
                  <a:gd name="T19" fmla="*/ 6 h 30"/>
                  <a:gd name="T20" fmla="*/ 13 w 13"/>
                  <a:gd name="T21" fmla="*/ 10 h 30"/>
                  <a:gd name="T22" fmla="*/ 10 w 13"/>
                  <a:gd name="T23" fmla="*/ 10 h 30"/>
                  <a:gd name="T24" fmla="*/ 13 w 13"/>
                  <a:gd name="T25" fmla="*/ 13 h 30"/>
                  <a:gd name="T26" fmla="*/ 11 w 13"/>
                  <a:gd name="T27" fmla="*/ 16 h 30"/>
                  <a:gd name="T28" fmla="*/ 11 w 13"/>
                  <a:gd name="T29" fmla="*/ 21 h 30"/>
                  <a:gd name="T30" fmla="*/ 11 w 13"/>
                  <a:gd name="T31" fmla="*/ 24 h 30"/>
                  <a:gd name="T32" fmla="*/ 8 w 13"/>
                  <a:gd name="T33" fmla="*/ 27 h 30"/>
                  <a:gd name="T34" fmla="*/ 8 w 13"/>
                  <a:gd name="T35" fmla="*/ 30 h 30"/>
                  <a:gd name="T36" fmla="*/ 8 w 13"/>
                  <a:gd name="T37" fmla="*/ 30 h 30"/>
                  <a:gd name="T38" fmla="*/ 5 w 13"/>
                  <a:gd name="T39" fmla="*/ 30 h 30"/>
                  <a:gd name="T40" fmla="*/ 3 w 13"/>
                  <a:gd name="T41" fmla="*/ 29 h 30"/>
                  <a:gd name="T42" fmla="*/ 3 w 13"/>
                  <a:gd name="T43" fmla="*/ 17 h 30"/>
                  <a:gd name="T44" fmla="*/ 3 w 13"/>
                  <a:gd name="T45" fmla="*/ 14 h 30"/>
                  <a:gd name="T46" fmla="*/ 0 w 13"/>
                  <a:gd name="T47" fmla="*/ 1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3" h="30">
                    <a:moveTo>
                      <a:pt x="0" y="13"/>
                    </a:moveTo>
                    <a:lnTo>
                      <a:pt x="0" y="13"/>
                    </a:lnTo>
                    <a:lnTo>
                      <a:pt x="2" y="8"/>
                    </a:lnTo>
                    <a:lnTo>
                      <a:pt x="3" y="5"/>
                    </a:lnTo>
                    <a:lnTo>
                      <a:pt x="6" y="6"/>
                    </a:lnTo>
                    <a:lnTo>
                      <a:pt x="10" y="5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11" y="3"/>
                    </a:lnTo>
                    <a:lnTo>
                      <a:pt x="13" y="6"/>
                    </a:lnTo>
                    <a:lnTo>
                      <a:pt x="13" y="10"/>
                    </a:lnTo>
                    <a:lnTo>
                      <a:pt x="10" y="10"/>
                    </a:lnTo>
                    <a:lnTo>
                      <a:pt x="13" y="13"/>
                    </a:lnTo>
                    <a:lnTo>
                      <a:pt x="11" y="16"/>
                    </a:lnTo>
                    <a:lnTo>
                      <a:pt x="11" y="21"/>
                    </a:lnTo>
                    <a:lnTo>
                      <a:pt x="11" y="24"/>
                    </a:lnTo>
                    <a:lnTo>
                      <a:pt x="8" y="27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5" y="30"/>
                    </a:lnTo>
                    <a:lnTo>
                      <a:pt x="3" y="29"/>
                    </a:lnTo>
                    <a:lnTo>
                      <a:pt x="3" y="17"/>
                    </a:lnTo>
                    <a:lnTo>
                      <a:pt x="3" y="14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sp>
          <p:nvSpPr>
            <p:cNvPr id="241" name="Freeform 405"/>
            <p:cNvSpPr>
              <a:spLocks/>
            </p:cNvSpPr>
            <p:nvPr/>
          </p:nvSpPr>
          <p:spPr bwMode="auto">
            <a:xfrm>
              <a:off x="6489806" y="4172272"/>
              <a:ext cx="276429" cy="221707"/>
            </a:xfrm>
            <a:custGeom>
              <a:avLst/>
              <a:gdLst>
                <a:gd name="T0" fmla="*/ 360 w 376"/>
                <a:gd name="T1" fmla="*/ 70 h 262"/>
                <a:gd name="T2" fmla="*/ 358 w 376"/>
                <a:gd name="T3" fmla="*/ 69 h 262"/>
                <a:gd name="T4" fmla="*/ 284 w 376"/>
                <a:gd name="T5" fmla="*/ 7 h 262"/>
                <a:gd name="T6" fmla="*/ 174 w 376"/>
                <a:gd name="T7" fmla="*/ 62 h 262"/>
                <a:gd name="T8" fmla="*/ 154 w 376"/>
                <a:gd name="T9" fmla="*/ 83 h 262"/>
                <a:gd name="T10" fmla="*/ 120 w 376"/>
                <a:gd name="T11" fmla="*/ 70 h 262"/>
                <a:gd name="T12" fmla="*/ 68 w 376"/>
                <a:gd name="T13" fmla="*/ 64 h 262"/>
                <a:gd name="T14" fmla="*/ 54 w 376"/>
                <a:gd name="T15" fmla="*/ 65 h 262"/>
                <a:gd name="T16" fmla="*/ 43 w 376"/>
                <a:gd name="T17" fmla="*/ 69 h 262"/>
                <a:gd name="T18" fmla="*/ 33 w 376"/>
                <a:gd name="T19" fmla="*/ 64 h 262"/>
                <a:gd name="T20" fmla="*/ 23 w 376"/>
                <a:gd name="T21" fmla="*/ 64 h 262"/>
                <a:gd name="T22" fmla="*/ 19 w 376"/>
                <a:gd name="T23" fmla="*/ 70 h 262"/>
                <a:gd name="T24" fmla="*/ 17 w 376"/>
                <a:gd name="T25" fmla="*/ 80 h 262"/>
                <a:gd name="T26" fmla="*/ 20 w 376"/>
                <a:gd name="T27" fmla="*/ 91 h 262"/>
                <a:gd name="T28" fmla="*/ 14 w 376"/>
                <a:gd name="T29" fmla="*/ 99 h 262"/>
                <a:gd name="T30" fmla="*/ 9 w 376"/>
                <a:gd name="T31" fmla="*/ 107 h 262"/>
                <a:gd name="T32" fmla="*/ 8 w 376"/>
                <a:gd name="T33" fmla="*/ 118 h 262"/>
                <a:gd name="T34" fmla="*/ 3 w 376"/>
                <a:gd name="T35" fmla="*/ 135 h 262"/>
                <a:gd name="T36" fmla="*/ 6 w 376"/>
                <a:gd name="T37" fmla="*/ 146 h 262"/>
                <a:gd name="T38" fmla="*/ 4 w 376"/>
                <a:gd name="T39" fmla="*/ 153 h 262"/>
                <a:gd name="T40" fmla="*/ 4 w 376"/>
                <a:gd name="T41" fmla="*/ 156 h 262"/>
                <a:gd name="T42" fmla="*/ 11 w 376"/>
                <a:gd name="T43" fmla="*/ 164 h 262"/>
                <a:gd name="T44" fmla="*/ 14 w 376"/>
                <a:gd name="T45" fmla="*/ 175 h 262"/>
                <a:gd name="T46" fmla="*/ 16 w 376"/>
                <a:gd name="T47" fmla="*/ 186 h 262"/>
                <a:gd name="T48" fmla="*/ 19 w 376"/>
                <a:gd name="T49" fmla="*/ 195 h 262"/>
                <a:gd name="T50" fmla="*/ 20 w 376"/>
                <a:gd name="T51" fmla="*/ 206 h 262"/>
                <a:gd name="T52" fmla="*/ 25 w 376"/>
                <a:gd name="T53" fmla="*/ 214 h 262"/>
                <a:gd name="T54" fmla="*/ 25 w 376"/>
                <a:gd name="T55" fmla="*/ 233 h 262"/>
                <a:gd name="T56" fmla="*/ 28 w 376"/>
                <a:gd name="T57" fmla="*/ 241 h 262"/>
                <a:gd name="T58" fmla="*/ 35 w 376"/>
                <a:gd name="T59" fmla="*/ 251 h 262"/>
                <a:gd name="T60" fmla="*/ 36 w 376"/>
                <a:gd name="T61" fmla="*/ 259 h 262"/>
                <a:gd name="T62" fmla="*/ 47 w 376"/>
                <a:gd name="T63" fmla="*/ 259 h 262"/>
                <a:gd name="T64" fmla="*/ 57 w 376"/>
                <a:gd name="T65" fmla="*/ 260 h 262"/>
                <a:gd name="T66" fmla="*/ 68 w 376"/>
                <a:gd name="T67" fmla="*/ 259 h 262"/>
                <a:gd name="T68" fmla="*/ 79 w 376"/>
                <a:gd name="T69" fmla="*/ 254 h 262"/>
                <a:gd name="T70" fmla="*/ 85 w 376"/>
                <a:gd name="T71" fmla="*/ 254 h 262"/>
                <a:gd name="T72" fmla="*/ 89 w 376"/>
                <a:gd name="T73" fmla="*/ 256 h 262"/>
                <a:gd name="T74" fmla="*/ 96 w 376"/>
                <a:gd name="T75" fmla="*/ 245 h 262"/>
                <a:gd name="T76" fmla="*/ 106 w 376"/>
                <a:gd name="T77" fmla="*/ 240 h 262"/>
                <a:gd name="T78" fmla="*/ 114 w 376"/>
                <a:gd name="T79" fmla="*/ 232 h 262"/>
                <a:gd name="T80" fmla="*/ 149 w 376"/>
                <a:gd name="T81" fmla="*/ 229 h 262"/>
                <a:gd name="T82" fmla="*/ 157 w 376"/>
                <a:gd name="T83" fmla="*/ 224 h 262"/>
                <a:gd name="T84" fmla="*/ 177 w 376"/>
                <a:gd name="T85" fmla="*/ 214 h 262"/>
                <a:gd name="T86" fmla="*/ 188 w 376"/>
                <a:gd name="T87" fmla="*/ 208 h 262"/>
                <a:gd name="T88" fmla="*/ 198 w 376"/>
                <a:gd name="T89" fmla="*/ 203 h 262"/>
                <a:gd name="T90" fmla="*/ 207 w 376"/>
                <a:gd name="T91" fmla="*/ 205 h 262"/>
                <a:gd name="T92" fmla="*/ 219 w 376"/>
                <a:gd name="T93" fmla="*/ 203 h 262"/>
                <a:gd name="T94" fmla="*/ 228 w 376"/>
                <a:gd name="T95" fmla="*/ 194 h 262"/>
                <a:gd name="T96" fmla="*/ 231 w 376"/>
                <a:gd name="T97" fmla="*/ 186 h 262"/>
                <a:gd name="T98" fmla="*/ 255 w 376"/>
                <a:gd name="T99" fmla="*/ 173 h 262"/>
                <a:gd name="T100" fmla="*/ 266 w 376"/>
                <a:gd name="T101" fmla="*/ 172 h 262"/>
                <a:gd name="T102" fmla="*/ 279 w 376"/>
                <a:gd name="T103" fmla="*/ 165 h 262"/>
                <a:gd name="T104" fmla="*/ 298 w 376"/>
                <a:gd name="T105" fmla="*/ 159 h 262"/>
                <a:gd name="T106" fmla="*/ 306 w 376"/>
                <a:gd name="T107" fmla="*/ 157 h 262"/>
                <a:gd name="T108" fmla="*/ 315 w 376"/>
                <a:gd name="T109" fmla="*/ 154 h 262"/>
                <a:gd name="T110" fmla="*/ 325 w 376"/>
                <a:gd name="T111" fmla="*/ 148 h 262"/>
                <a:gd name="T112" fmla="*/ 334 w 376"/>
                <a:gd name="T113" fmla="*/ 141 h 262"/>
                <a:gd name="T114" fmla="*/ 342 w 376"/>
                <a:gd name="T115" fmla="*/ 135 h 262"/>
                <a:gd name="T116" fmla="*/ 341 w 376"/>
                <a:gd name="T117" fmla="*/ 127 h 262"/>
                <a:gd name="T118" fmla="*/ 341 w 376"/>
                <a:gd name="T119" fmla="*/ 116 h 262"/>
                <a:gd name="T120" fmla="*/ 349 w 376"/>
                <a:gd name="T121" fmla="*/ 107 h 262"/>
                <a:gd name="T122" fmla="*/ 360 w 376"/>
                <a:gd name="T123" fmla="*/ 102 h 262"/>
                <a:gd name="T124" fmla="*/ 371 w 376"/>
                <a:gd name="T125" fmla="*/ 97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6" h="262">
                  <a:moveTo>
                    <a:pt x="376" y="95"/>
                  </a:moveTo>
                  <a:lnTo>
                    <a:pt x="372" y="95"/>
                  </a:lnTo>
                  <a:lnTo>
                    <a:pt x="360" y="70"/>
                  </a:lnTo>
                  <a:lnTo>
                    <a:pt x="358" y="70"/>
                  </a:lnTo>
                  <a:lnTo>
                    <a:pt x="357" y="70"/>
                  </a:lnTo>
                  <a:lnTo>
                    <a:pt x="358" y="69"/>
                  </a:lnTo>
                  <a:lnTo>
                    <a:pt x="328" y="0"/>
                  </a:lnTo>
                  <a:lnTo>
                    <a:pt x="328" y="0"/>
                  </a:lnTo>
                  <a:lnTo>
                    <a:pt x="284" y="7"/>
                  </a:lnTo>
                  <a:lnTo>
                    <a:pt x="225" y="15"/>
                  </a:lnTo>
                  <a:lnTo>
                    <a:pt x="193" y="32"/>
                  </a:lnTo>
                  <a:lnTo>
                    <a:pt x="174" y="62"/>
                  </a:lnTo>
                  <a:lnTo>
                    <a:pt x="169" y="75"/>
                  </a:lnTo>
                  <a:lnTo>
                    <a:pt x="160" y="83"/>
                  </a:lnTo>
                  <a:lnTo>
                    <a:pt x="154" y="83"/>
                  </a:lnTo>
                  <a:lnTo>
                    <a:pt x="144" y="69"/>
                  </a:lnTo>
                  <a:lnTo>
                    <a:pt x="130" y="70"/>
                  </a:lnTo>
                  <a:lnTo>
                    <a:pt x="120" y="70"/>
                  </a:lnTo>
                  <a:lnTo>
                    <a:pt x="96" y="67"/>
                  </a:lnTo>
                  <a:lnTo>
                    <a:pt x="89" y="64"/>
                  </a:lnTo>
                  <a:lnTo>
                    <a:pt x="68" y="64"/>
                  </a:lnTo>
                  <a:lnTo>
                    <a:pt x="66" y="64"/>
                  </a:lnTo>
                  <a:lnTo>
                    <a:pt x="62" y="64"/>
                  </a:lnTo>
                  <a:lnTo>
                    <a:pt x="54" y="65"/>
                  </a:lnTo>
                  <a:lnTo>
                    <a:pt x="49" y="69"/>
                  </a:lnTo>
                  <a:lnTo>
                    <a:pt x="46" y="69"/>
                  </a:lnTo>
                  <a:lnTo>
                    <a:pt x="43" y="69"/>
                  </a:lnTo>
                  <a:lnTo>
                    <a:pt x="39" y="69"/>
                  </a:lnTo>
                  <a:lnTo>
                    <a:pt x="36" y="67"/>
                  </a:lnTo>
                  <a:lnTo>
                    <a:pt x="33" y="64"/>
                  </a:lnTo>
                  <a:lnTo>
                    <a:pt x="30" y="62"/>
                  </a:lnTo>
                  <a:lnTo>
                    <a:pt x="27" y="61"/>
                  </a:lnTo>
                  <a:lnTo>
                    <a:pt x="23" y="64"/>
                  </a:lnTo>
                  <a:lnTo>
                    <a:pt x="22" y="64"/>
                  </a:lnTo>
                  <a:lnTo>
                    <a:pt x="19" y="67"/>
                  </a:lnTo>
                  <a:lnTo>
                    <a:pt x="19" y="70"/>
                  </a:lnTo>
                  <a:lnTo>
                    <a:pt x="17" y="73"/>
                  </a:lnTo>
                  <a:lnTo>
                    <a:pt x="17" y="76"/>
                  </a:lnTo>
                  <a:lnTo>
                    <a:pt x="17" y="80"/>
                  </a:lnTo>
                  <a:lnTo>
                    <a:pt x="17" y="83"/>
                  </a:lnTo>
                  <a:lnTo>
                    <a:pt x="17" y="88"/>
                  </a:lnTo>
                  <a:lnTo>
                    <a:pt x="20" y="91"/>
                  </a:lnTo>
                  <a:lnTo>
                    <a:pt x="19" y="94"/>
                  </a:lnTo>
                  <a:lnTo>
                    <a:pt x="16" y="95"/>
                  </a:lnTo>
                  <a:lnTo>
                    <a:pt x="14" y="99"/>
                  </a:lnTo>
                  <a:lnTo>
                    <a:pt x="14" y="100"/>
                  </a:lnTo>
                  <a:lnTo>
                    <a:pt x="12" y="102"/>
                  </a:lnTo>
                  <a:lnTo>
                    <a:pt x="9" y="107"/>
                  </a:lnTo>
                  <a:lnTo>
                    <a:pt x="6" y="108"/>
                  </a:lnTo>
                  <a:lnTo>
                    <a:pt x="4" y="108"/>
                  </a:lnTo>
                  <a:lnTo>
                    <a:pt x="8" y="118"/>
                  </a:lnTo>
                  <a:lnTo>
                    <a:pt x="6" y="129"/>
                  </a:lnTo>
                  <a:lnTo>
                    <a:pt x="4" y="132"/>
                  </a:lnTo>
                  <a:lnTo>
                    <a:pt x="3" y="135"/>
                  </a:lnTo>
                  <a:lnTo>
                    <a:pt x="4" y="140"/>
                  </a:lnTo>
                  <a:lnTo>
                    <a:pt x="4" y="143"/>
                  </a:lnTo>
                  <a:lnTo>
                    <a:pt x="6" y="146"/>
                  </a:lnTo>
                  <a:lnTo>
                    <a:pt x="8" y="149"/>
                  </a:lnTo>
                  <a:lnTo>
                    <a:pt x="8" y="154"/>
                  </a:lnTo>
                  <a:lnTo>
                    <a:pt x="4" y="153"/>
                  </a:lnTo>
                  <a:lnTo>
                    <a:pt x="0" y="154"/>
                  </a:lnTo>
                  <a:lnTo>
                    <a:pt x="1" y="156"/>
                  </a:lnTo>
                  <a:lnTo>
                    <a:pt x="4" y="156"/>
                  </a:lnTo>
                  <a:lnTo>
                    <a:pt x="8" y="157"/>
                  </a:lnTo>
                  <a:lnTo>
                    <a:pt x="9" y="160"/>
                  </a:lnTo>
                  <a:lnTo>
                    <a:pt x="11" y="164"/>
                  </a:lnTo>
                  <a:lnTo>
                    <a:pt x="12" y="168"/>
                  </a:lnTo>
                  <a:lnTo>
                    <a:pt x="12" y="172"/>
                  </a:lnTo>
                  <a:lnTo>
                    <a:pt x="14" y="175"/>
                  </a:lnTo>
                  <a:lnTo>
                    <a:pt x="16" y="178"/>
                  </a:lnTo>
                  <a:lnTo>
                    <a:pt x="16" y="181"/>
                  </a:lnTo>
                  <a:lnTo>
                    <a:pt x="16" y="186"/>
                  </a:lnTo>
                  <a:lnTo>
                    <a:pt x="16" y="189"/>
                  </a:lnTo>
                  <a:lnTo>
                    <a:pt x="17" y="192"/>
                  </a:lnTo>
                  <a:lnTo>
                    <a:pt x="19" y="195"/>
                  </a:lnTo>
                  <a:lnTo>
                    <a:pt x="19" y="199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3" y="208"/>
                  </a:lnTo>
                  <a:lnTo>
                    <a:pt x="25" y="211"/>
                  </a:lnTo>
                  <a:lnTo>
                    <a:pt x="25" y="214"/>
                  </a:lnTo>
                  <a:lnTo>
                    <a:pt x="27" y="219"/>
                  </a:lnTo>
                  <a:lnTo>
                    <a:pt x="27" y="227"/>
                  </a:lnTo>
                  <a:lnTo>
                    <a:pt x="25" y="233"/>
                  </a:lnTo>
                  <a:lnTo>
                    <a:pt x="25" y="233"/>
                  </a:lnTo>
                  <a:lnTo>
                    <a:pt x="27" y="238"/>
                  </a:lnTo>
                  <a:lnTo>
                    <a:pt x="28" y="241"/>
                  </a:lnTo>
                  <a:lnTo>
                    <a:pt x="31" y="245"/>
                  </a:lnTo>
                  <a:lnTo>
                    <a:pt x="31" y="248"/>
                  </a:lnTo>
                  <a:lnTo>
                    <a:pt x="35" y="251"/>
                  </a:lnTo>
                  <a:lnTo>
                    <a:pt x="35" y="256"/>
                  </a:lnTo>
                  <a:lnTo>
                    <a:pt x="35" y="259"/>
                  </a:lnTo>
                  <a:lnTo>
                    <a:pt x="36" y="259"/>
                  </a:lnTo>
                  <a:lnTo>
                    <a:pt x="39" y="256"/>
                  </a:lnTo>
                  <a:lnTo>
                    <a:pt x="44" y="257"/>
                  </a:lnTo>
                  <a:lnTo>
                    <a:pt x="47" y="259"/>
                  </a:lnTo>
                  <a:lnTo>
                    <a:pt x="50" y="260"/>
                  </a:lnTo>
                  <a:lnTo>
                    <a:pt x="54" y="262"/>
                  </a:lnTo>
                  <a:lnTo>
                    <a:pt x="57" y="260"/>
                  </a:lnTo>
                  <a:lnTo>
                    <a:pt x="60" y="260"/>
                  </a:lnTo>
                  <a:lnTo>
                    <a:pt x="65" y="260"/>
                  </a:lnTo>
                  <a:lnTo>
                    <a:pt x="68" y="259"/>
                  </a:lnTo>
                  <a:lnTo>
                    <a:pt x="71" y="256"/>
                  </a:lnTo>
                  <a:lnTo>
                    <a:pt x="74" y="252"/>
                  </a:lnTo>
                  <a:lnTo>
                    <a:pt x="79" y="254"/>
                  </a:lnTo>
                  <a:lnTo>
                    <a:pt x="82" y="256"/>
                  </a:lnTo>
                  <a:lnTo>
                    <a:pt x="85" y="257"/>
                  </a:lnTo>
                  <a:lnTo>
                    <a:pt x="85" y="254"/>
                  </a:lnTo>
                  <a:lnTo>
                    <a:pt x="89" y="252"/>
                  </a:lnTo>
                  <a:lnTo>
                    <a:pt x="89" y="254"/>
                  </a:lnTo>
                  <a:lnTo>
                    <a:pt x="89" y="256"/>
                  </a:lnTo>
                  <a:lnTo>
                    <a:pt x="92" y="251"/>
                  </a:lnTo>
                  <a:lnTo>
                    <a:pt x="93" y="248"/>
                  </a:lnTo>
                  <a:lnTo>
                    <a:pt x="96" y="245"/>
                  </a:lnTo>
                  <a:lnTo>
                    <a:pt x="100" y="245"/>
                  </a:lnTo>
                  <a:lnTo>
                    <a:pt x="103" y="243"/>
                  </a:lnTo>
                  <a:lnTo>
                    <a:pt x="106" y="240"/>
                  </a:lnTo>
                  <a:lnTo>
                    <a:pt x="108" y="237"/>
                  </a:lnTo>
                  <a:lnTo>
                    <a:pt x="111" y="233"/>
                  </a:lnTo>
                  <a:lnTo>
                    <a:pt x="114" y="232"/>
                  </a:lnTo>
                  <a:lnTo>
                    <a:pt x="130" y="229"/>
                  </a:lnTo>
                  <a:lnTo>
                    <a:pt x="146" y="229"/>
                  </a:lnTo>
                  <a:lnTo>
                    <a:pt x="149" y="229"/>
                  </a:lnTo>
                  <a:lnTo>
                    <a:pt x="152" y="227"/>
                  </a:lnTo>
                  <a:lnTo>
                    <a:pt x="157" y="224"/>
                  </a:lnTo>
                  <a:lnTo>
                    <a:pt x="157" y="224"/>
                  </a:lnTo>
                  <a:lnTo>
                    <a:pt x="166" y="221"/>
                  </a:lnTo>
                  <a:lnTo>
                    <a:pt x="176" y="219"/>
                  </a:lnTo>
                  <a:lnTo>
                    <a:pt x="177" y="214"/>
                  </a:lnTo>
                  <a:lnTo>
                    <a:pt x="181" y="211"/>
                  </a:lnTo>
                  <a:lnTo>
                    <a:pt x="185" y="208"/>
                  </a:lnTo>
                  <a:lnTo>
                    <a:pt x="188" y="208"/>
                  </a:lnTo>
                  <a:lnTo>
                    <a:pt x="190" y="206"/>
                  </a:lnTo>
                  <a:lnTo>
                    <a:pt x="193" y="203"/>
                  </a:lnTo>
                  <a:lnTo>
                    <a:pt x="198" y="203"/>
                  </a:lnTo>
                  <a:lnTo>
                    <a:pt x="201" y="205"/>
                  </a:lnTo>
                  <a:lnTo>
                    <a:pt x="204" y="205"/>
                  </a:lnTo>
                  <a:lnTo>
                    <a:pt x="207" y="205"/>
                  </a:lnTo>
                  <a:lnTo>
                    <a:pt x="211" y="205"/>
                  </a:lnTo>
                  <a:lnTo>
                    <a:pt x="214" y="203"/>
                  </a:lnTo>
                  <a:lnTo>
                    <a:pt x="219" y="203"/>
                  </a:lnTo>
                  <a:lnTo>
                    <a:pt x="222" y="200"/>
                  </a:lnTo>
                  <a:lnTo>
                    <a:pt x="225" y="197"/>
                  </a:lnTo>
                  <a:lnTo>
                    <a:pt x="228" y="194"/>
                  </a:lnTo>
                  <a:lnTo>
                    <a:pt x="230" y="191"/>
                  </a:lnTo>
                  <a:lnTo>
                    <a:pt x="231" y="187"/>
                  </a:lnTo>
                  <a:lnTo>
                    <a:pt x="231" y="186"/>
                  </a:lnTo>
                  <a:lnTo>
                    <a:pt x="238" y="181"/>
                  </a:lnTo>
                  <a:lnTo>
                    <a:pt x="246" y="176"/>
                  </a:lnTo>
                  <a:lnTo>
                    <a:pt x="255" y="173"/>
                  </a:lnTo>
                  <a:lnTo>
                    <a:pt x="263" y="170"/>
                  </a:lnTo>
                  <a:lnTo>
                    <a:pt x="265" y="170"/>
                  </a:lnTo>
                  <a:lnTo>
                    <a:pt x="266" y="172"/>
                  </a:lnTo>
                  <a:lnTo>
                    <a:pt x="269" y="170"/>
                  </a:lnTo>
                  <a:lnTo>
                    <a:pt x="272" y="168"/>
                  </a:lnTo>
                  <a:lnTo>
                    <a:pt x="279" y="165"/>
                  </a:lnTo>
                  <a:lnTo>
                    <a:pt x="292" y="160"/>
                  </a:lnTo>
                  <a:lnTo>
                    <a:pt x="295" y="160"/>
                  </a:lnTo>
                  <a:lnTo>
                    <a:pt x="298" y="159"/>
                  </a:lnTo>
                  <a:lnTo>
                    <a:pt x="301" y="159"/>
                  </a:lnTo>
                  <a:lnTo>
                    <a:pt x="304" y="157"/>
                  </a:lnTo>
                  <a:lnTo>
                    <a:pt x="306" y="157"/>
                  </a:lnTo>
                  <a:lnTo>
                    <a:pt x="309" y="156"/>
                  </a:lnTo>
                  <a:lnTo>
                    <a:pt x="312" y="154"/>
                  </a:lnTo>
                  <a:lnTo>
                    <a:pt x="315" y="154"/>
                  </a:lnTo>
                  <a:lnTo>
                    <a:pt x="318" y="151"/>
                  </a:lnTo>
                  <a:lnTo>
                    <a:pt x="322" y="151"/>
                  </a:lnTo>
                  <a:lnTo>
                    <a:pt x="325" y="148"/>
                  </a:lnTo>
                  <a:lnTo>
                    <a:pt x="328" y="146"/>
                  </a:lnTo>
                  <a:lnTo>
                    <a:pt x="331" y="143"/>
                  </a:lnTo>
                  <a:lnTo>
                    <a:pt x="334" y="141"/>
                  </a:lnTo>
                  <a:lnTo>
                    <a:pt x="338" y="140"/>
                  </a:lnTo>
                  <a:lnTo>
                    <a:pt x="341" y="140"/>
                  </a:lnTo>
                  <a:lnTo>
                    <a:pt x="342" y="135"/>
                  </a:lnTo>
                  <a:lnTo>
                    <a:pt x="342" y="134"/>
                  </a:lnTo>
                  <a:lnTo>
                    <a:pt x="342" y="130"/>
                  </a:lnTo>
                  <a:lnTo>
                    <a:pt x="341" y="127"/>
                  </a:lnTo>
                  <a:lnTo>
                    <a:pt x="339" y="124"/>
                  </a:lnTo>
                  <a:lnTo>
                    <a:pt x="341" y="121"/>
                  </a:lnTo>
                  <a:lnTo>
                    <a:pt x="341" y="116"/>
                  </a:lnTo>
                  <a:lnTo>
                    <a:pt x="342" y="113"/>
                  </a:lnTo>
                  <a:lnTo>
                    <a:pt x="345" y="110"/>
                  </a:lnTo>
                  <a:lnTo>
                    <a:pt x="349" y="107"/>
                  </a:lnTo>
                  <a:lnTo>
                    <a:pt x="353" y="103"/>
                  </a:lnTo>
                  <a:lnTo>
                    <a:pt x="357" y="103"/>
                  </a:lnTo>
                  <a:lnTo>
                    <a:pt x="360" y="102"/>
                  </a:lnTo>
                  <a:lnTo>
                    <a:pt x="363" y="100"/>
                  </a:lnTo>
                  <a:lnTo>
                    <a:pt x="366" y="99"/>
                  </a:lnTo>
                  <a:lnTo>
                    <a:pt x="371" y="97"/>
                  </a:lnTo>
                  <a:lnTo>
                    <a:pt x="371" y="97"/>
                  </a:lnTo>
                  <a:lnTo>
                    <a:pt x="376" y="9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42" name="Freeform 406"/>
            <p:cNvSpPr>
              <a:spLocks/>
            </p:cNvSpPr>
            <p:nvPr/>
          </p:nvSpPr>
          <p:spPr bwMode="auto">
            <a:xfrm>
              <a:off x="6264840" y="3718700"/>
              <a:ext cx="557267" cy="546655"/>
            </a:xfrm>
            <a:custGeom>
              <a:avLst/>
              <a:gdLst>
                <a:gd name="T0" fmla="*/ 305 w 758"/>
                <a:gd name="T1" fmla="*/ 624 h 646"/>
                <a:gd name="T2" fmla="*/ 297 w 758"/>
                <a:gd name="T3" fmla="*/ 611 h 646"/>
                <a:gd name="T4" fmla="*/ 270 w 758"/>
                <a:gd name="T5" fmla="*/ 576 h 646"/>
                <a:gd name="T6" fmla="*/ 259 w 758"/>
                <a:gd name="T7" fmla="*/ 554 h 646"/>
                <a:gd name="T8" fmla="*/ 251 w 758"/>
                <a:gd name="T9" fmla="*/ 532 h 646"/>
                <a:gd name="T10" fmla="*/ 236 w 758"/>
                <a:gd name="T11" fmla="*/ 511 h 646"/>
                <a:gd name="T12" fmla="*/ 217 w 758"/>
                <a:gd name="T13" fmla="*/ 490 h 646"/>
                <a:gd name="T14" fmla="*/ 194 w 758"/>
                <a:gd name="T15" fmla="*/ 474 h 646"/>
                <a:gd name="T16" fmla="*/ 176 w 758"/>
                <a:gd name="T17" fmla="*/ 451 h 646"/>
                <a:gd name="T18" fmla="*/ 171 w 758"/>
                <a:gd name="T19" fmla="*/ 427 h 646"/>
                <a:gd name="T20" fmla="*/ 162 w 758"/>
                <a:gd name="T21" fmla="*/ 376 h 646"/>
                <a:gd name="T22" fmla="*/ 155 w 758"/>
                <a:gd name="T23" fmla="*/ 359 h 646"/>
                <a:gd name="T24" fmla="*/ 124 w 758"/>
                <a:gd name="T25" fmla="*/ 324 h 646"/>
                <a:gd name="T26" fmla="*/ 106 w 758"/>
                <a:gd name="T27" fmla="*/ 310 h 646"/>
                <a:gd name="T28" fmla="*/ 102 w 758"/>
                <a:gd name="T29" fmla="*/ 289 h 646"/>
                <a:gd name="T30" fmla="*/ 87 w 758"/>
                <a:gd name="T31" fmla="*/ 264 h 646"/>
                <a:gd name="T32" fmla="*/ 71 w 758"/>
                <a:gd name="T33" fmla="*/ 245 h 646"/>
                <a:gd name="T34" fmla="*/ 57 w 758"/>
                <a:gd name="T35" fmla="*/ 219 h 646"/>
                <a:gd name="T36" fmla="*/ 40 w 758"/>
                <a:gd name="T37" fmla="*/ 195 h 646"/>
                <a:gd name="T38" fmla="*/ 24 w 758"/>
                <a:gd name="T39" fmla="*/ 170 h 646"/>
                <a:gd name="T40" fmla="*/ 8 w 758"/>
                <a:gd name="T41" fmla="*/ 165 h 646"/>
                <a:gd name="T42" fmla="*/ 5 w 758"/>
                <a:gd name="T43" fmla="*/ 153 h 646"/>
                <a:gd name="T44" fmla="*/ 11 w 758"/>
                <a:gd name="T45" fmla="*/ 113 h 646"/>
                <a:gd name="T46" fmla="*/ 36 w 758"/>
                <a:gd name="T47" fmla="*/ 118 h 646"/>
                <a:gd name="T48" fmla="*/ 67 w 758"/>
                <a:gd name="T49" fmla="*/ 102 h 646"/>
                <a:gd name="T50" fmla="*/ 98 w 758"/>
                <a:gd name="T51" fmla="*/ 86 h 646"/>
                <a:gd name="T52" fmla="*/ 87 w 758"/>
                <a:gd name="T53" fmla="*/ 38 h 646"/>
                <a:gd name="T54" fmla="*/ 124 w 758"/>
                <a:gd name="T55" fmla="*/ 11 h 646"/>
                <a:gd name="T56" fmla="*/ 178 w 758"/>
                <a:gd name="T57" fmla="*/ 5 h 646"/>
                <a:gd name="T58" fmla="*/ 251 w 758"/>
                <a:gd name="T59" fmla="*/ 42 h 646"/>
                <a:gd name="T60" fmla="*/ 287 w 758"/>
                <a:gd name="T61" fmla="*/ 70 h 646"/>
                <a:gd name="T62" fmla="*/ 358 w 758"/>
                <a:gd name="T63" fmla="*/ 119 h 646"/>
                <a:gd name="T64" fmla="*/ 392 w 758"/>
                <a:gd name="T65" fmla="*/ 124 h 646"/>
                <a:gd name="T66" fmla="*/ 428 w 758"/>
                <a:gd name="T67" fmla="*/ 126 h 646"/>
                <a:gd name="T68" fmla="*/ 452 w 758"/>
                <a:gd name="T69" fmla="*/ 143 h 646"/>
                <a:gd name="T70" fmla="*/ 485 w 758"/>
                <a:gd name="T71" fmla="*/ 156 h 646"/>
                <a:gd name="T72" fmla="*/ 495 w 758"/>
                <a:gd name="T73" fmla="*/ 172 h 646"/>
                <a:gd name="T74" fmla="*/ 496 w 758"/>
                <a:gd name="T75" fmla="*/ 180 h 646"/>
                <a:gd name="T76" fmla="*/ 500 w 758"/>
                <a:gd name="T77" fmla="*/ 184 h 646"/>
                <a:gd name="T78" fmla="*/ 506 w 758"/>
                <a:gd name="T79" fmla="*/ 186 h 646"/>
                <a:gd name="T80" fmla="*/ 515 w 758"/>
                <a:gd name="T81" fmla="*/ 195 h 646"/>
                <a:gd name="T82" fmla="*/ 527 w 758"/>
                <a:gd name="T83" fmla="*/ 202 h 646"/>
                <a:gd name="T84" fmla="*/ 535 w 758"/>
                <a:gd name="T85" fmla="*/ 213 h 646"/>
                <a:gd name="T86" fmla="*/ 542 w 758"/>
                <a:gd name="T87" fmla="*/ 218 h 646"/>
                <a:gd name="T88" fmla="*/ 542 w 758"/>
                <a:gd name="T89" fmla="*/ 222 h 646"/>
                <a:gd name="T90" fmla="*/ 549 w 758"/>
                <a:gd name="T91" fmla="*/ 233 h 646"/>
                <a:gd name="T92" fmla="*/ 549 w 758"/>
                <a:gd name="T93" fmla="*/ 246 h 646"/>
                <a:gd name="T94" fmla="*/ 549 w 758"/>
                <a:gd name="T95" fmla="*/ 254 h 646"/>
                <a:gd name="T96" fmla="*/ 560 w 758"/>
                <a:gd name="T97" fmla="*/ 270 h 646"/>
                <a:gd name="T98" fmla="*/ 573 w 758"/>
                <a:gd name="T99" fmla="*/ 294 h 646"/>
                <a:gd name="T100" fmla="*/ 585 w 758"/>
                <a:gd name="T101" fmla="*/ 308 h 646"/>
                <a:gd name="T102" fmla="*/ 601 w 758"/>
                <a:gd name="T103" fmla="*/ 308 h 646"/>
                <a:gd name="T104" fmla="*/ 607 w 758"/>
                <a:gd name="T105" fmla="*/ 324 h 646"/>
                <a:gd name="T106" fmla="*/ 692 w 758"/>
                <a:gd name="T107" fmla="*/ 381 h 646"/>
                <a:gd name="T108" fmla="*/ 638 w 758"/>
                <a:gd name="T109" fmla="*/ 538 h 646"/>
                <a:gd name="T110" fmla="*/ 463 w 758"/>
                <a:gd name="T111" fmla="*/ 619 h 646"/>
                <a:gd name="T112" fmla="*/ 376 w 758"/>
                <a:gd name="T113" fmla="*/ 601 h 646"/>
                <a:gd name="T114" fmla="*/ 351 w 758"/>
                <a:gd name="T115" fmla="*/ 606 h 646"/>
                <a:gd name="T116" fmla="*/ 330 w 758"/>
                <a:gd name="T117" fmla="*/ 603 h 646"/>
                <a:gd name="T118" fmla="*/ 330 w 758"/>
                <a:gd name="T119" fmla="*/ 628 h 646"/>
                <a:gd name="T120" fmla="*/ 316 w 758"/>
                <a:gd name="T121" fmla="*/ 644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758" h="646">
                  <a:moveTo>
                    <a:pt x="314" y="643"/>
                  </a:moveTo>
                  <a:lnTo>
                    <a:pt x="314" y="639"/>
                  </a:lnTo>
                  <a:lnTo>
                    <a:pt x="311" y="636"/>
                  </a:lnTo>
                  <a:lnTo>
                    <a:pt x="311" y="633"/>
                  </a:lnTo>
                  <a:lnTo>
                    <a:pt x="311" y="630"/>
                  </a:lnTo>
                  <a:lnTo>
                    <a:pt x="308" y="627"/>
                  </a:lnTo>
                  <a:lnTo>
                    <a:pt x="305" y="624"/>
                  </a:lnTo>
                  <a:lnTo>
                    <a:pt x="305" y="620"/>
                  </a:lnTo>
                  <a:lnTo>
                    <a:pt x="303" y="617"/>
                  </a:lnTo>
                  <a:lnTo>
                    <a:pt x="300" y="616"/>
                  </a:lnTo>
                  <a:lnTo>
                    <a:pt x="300" y="614"/>
                  </a:lnTo>
                  <a:lnTo>
                    <a:pt x="297" y="611"/>
                  </a:lnTo>
                  <a:lnTo>
                    <a:pt x="297" y="614"/>
                  </a:lnTo>
                  <a:lnTo>
                    <a:pt x="297" y="611"/>
                  </a:lnTo>
                  <a:lnTo>
                    <a:pt x="295" y="608"/>
                  </a:lnTo>
                  <a:lnTo>
                    <a:pt x="295" y="605"/>
                  </a:lnTo>
                  <a:lnTo>
                    <a:pt x="295" y="600"/>
                  </a:lnTo>
                  <a:lnTo>
                    <a:pt x="292" y="597"/>
                  </a:lnTo>
                  <a:lnTo>
                    <a:pt x="282" y="587"/>
                  </a:lnTo>
                  <a:lnTo>
                    <a:pt x="271" y="579"/>
                  </a:lnTo>
                  <a:lnTo>
                    <a:pt x="270" y="576"/>
                  </a:lnTo>
                  <a:lnTo>
                    <a:pt x="268" y="571"/>
                  </a:lnTo>
                  <a:lnTo>
                    <a:pt x="266" y="571"/>
                  </a:lnTo>
                  <a:lnTo>
                    <a:pt x="265" y="568"/>
                  </a:lnTo>
                  <a:lnTo>
                    <a:pt x="263" y="565"/>
                  </a:lnTo>
                  <a:lnTo>
                    <a:pt x="262" y="560"/>
                  </a:lnTo>
                  <a:lnTo>
                    <a:pt x="260" y="557"/>
                  </a:lnTo>
                  <a:lnTo>
                    <a:pt x="259" y="554"/>
                  </a:lnTo>
                  <a:lnTo>
                    <a:pt x="255" y="552"/>
                  </a:lnTo>
                  <a:lnTo>
                    <a:pt x="254" y="549"/>
                  </a:lnTo>
                  <a:lnTo>
                    <a:pt x="252" y="546"/>
                  </a:lnTo>
                  <a:lnTo>
                    <a:pt x="254" y="543"/>
                  </a:lnTo>
                  <a:lnTo>
                    <a:pt x="251" y="539"/>
                  </a:lnTo>
                  <a:lnTo>
                    <a:pt x="251" y="535"/>
                  </a:lnTo>
                  <a:lnTo>
                    <a:pt x="251" y="532"/>
                  </a:lnTo>
                  <a:lnTo>
                    <a:pt x="246" y="530"/>
                  </a:lnTo>
                  <a:lnTo>
                    <a:pt x="246" y="525"/>
                  </a:lnTo>
                  <a:lnTo>
                    <a:pt x="243" y="522"/>
                  </a:lnTo>
                  <a:lnTo>
                    <a:pt x="243" y="519"/>
                  </a:lnTo>
                  <a:lnTo>
                    <a:pt x="241" y="516"/>
                  </a:lnTo>
                  <a:lnTo>
                    <a:pt x="238" y="514"/>
                  </a:lnTo>
                  <a:lnTo>
                    <a:pt x="236" y="511"/>
                  </a:lnTo>
                  <a:lnTo>
                    <a:pt x="236" y="506"/>
                  </a:lnTo>
                  <a:lnTo>
                    <a:pt x="233" y="503"/>
                  </a:lnTo>
                  <a:lnTo>
                    <a:pt x="228" y="501"/>
                  </a:lnTo>
                  <a:lnTo>
                    <a:pt x="227" y="498"/>
                  </a:lnTo>
                  <a:lnTo>
                    <a:pt x="224" y="495"/>
                  </a:lnTo>
                  <a:lnTo>
                    <a:pt x="220" y="492"/>
                  </a:lnTo>
                  <a:lnTo>
                    <a:pt x="217" y="490"/>
                  </a:lnTo>
                  <a:lnTo>
                    <a:pt x="214" y="487"/>
                  </a:lnTo>
                  <a:lnTo>
                    <a:pt x="211" y="484"/>
                  </a:lnTo>
                  <a:lnTo>
                    <a:pt x="208" y="484"/>
                  </a:lnTo>
                  <a:lnTo>
                    <a:pt x="201" y="482"/>
                  </a:lnTo>
                  <a:lnTo>
                    <a:pt x="198" y="481"/>
                  </a:lnTo>
                  <a:lnTo>
                    <a:pt x="195" y="478"/>
                  </a:lnTo>
                  <a:lnTo>
                    <a:pt x="194" y="474"/>
                  </a:lnTo>
                  <a:lnTo>
                    <a:pt x="190" y="470"/>
                  </a:lnTo>
                  <a:lnTo>
                    <a:pt x="189" y="467"/>
                  </a:lnTo>
                  <a:lnTo>
                    <a:pt x="186" y="463"/>
                  </a:lnTo>
                  <a:lnTo>
                    <a:pt x="184" y="460"/>
                  </a:lnTo>
                  <a:lnTo>
                    <a:pt x="182" y="457"/>
                  </a:lnTo>
                  <a:lnTo>
                    <a:pt x="179" y="454"/>
                  </a:lnTo>
                  <a:lnTo>
                    <a:pt x="176" y="451"/>
                  </a:lnTo>
                  <a:lnTo>
                    <a:pt x="176" y="448"/>
                  </a:lnTo>
                  <a:lnTo>
                    <a:pt x="174" y="443"/>
                  </a:lnTo>
                  <a:lnTo>
                    <a:pt x="174" y="440"/>
                  </a:lnTo>
                  <a:lnTo>
                    <a:pt x="176" y="436"/>
                  </a:lnTo>
                  <a:lnTo>
                    <a:pt x="173" y="433"/>
                  </a:lnTo>
                  <a:lnTo>
                    <a:pt x="173" y="430"/>
                  </a:lnTo>
                  <a:lnTo>
                    <a:pt x="171" y="427"/>
                  </a:lnTo>
                  <a:lnTo>
                    <a:pt x="170" y="422"/>
                  </a:lnTo>
                  <a:lnTo>
                    <a:pt x="168" y="414"/>
                  </a:lnTo>
                  <a:lnTo>
                    <a:pt x="170" y="405"/>
                  </a:lnTo>
                  <a:lnTo>
                    <a:pt x="171" y="397"/>
                  </a:lnTo>
                  <a:lnTo>
                    <a:pt x="170" y="389"/>
                  </a:lnTo>
                  <a:lnTo>
                    <a:pt x="167" y="382"/>
                  </a:lnTo>
                  <a:lnTo>
                    <a:pt x="162" y="376"/>
                  </a:lnTo>
                  <a:lnTo>
                    <a:pt x="165" y="378"/>
                  </a:lnTo>
                  <a:lnTo>
                    <a:pt x="163" y="375"/>
                  </a:lnTo>
                  <a:lnTo>
                    <a:pt x="160" y="373"/>
                  </a:lnTo>
                  <a:lnTo>
                    <a:pt x="160" y="368"/>
                  </a:lnTo>
                  <a:lnTo>
                    <a:pt x="159" y="365"/>
                  </a:lnTo>
                  <a:lnTo>
                    <a:pt x="155" y="362"/>
                  </a:lnTo>
                  <a:lnTo>
                    <a:pt x="155" y="359"/>
                  </a:lnTo>
                  <a:lnTo>
                    <a:pt x="154" y="356"/>
                  </a:lnTo>
                  <a:lnTo>
                    <a:pt x="152" y="352"/>
                  </a:lnTo>
                  <a:lnTo>
                    <a:pt x="149" y="348"/>
                  </a:lnTo>
                  <a:lnTo>
                    <a:pt x="148" y="344"/>
                  </a:lnTo>
                  <a:lnTo>
                    <a:pt x="138" y="333"/>
                  </a:lnTo>
                  <a:lnTo>
                    <a:pt x="127" y="324"/>
                  </a:lnTo>
                  <a:lnTo>
                    <a:pt x="124" y="324"/>
                  </a:lnTo>
                  <a:lnTo>
                    <a:pt x="124" y="324"/>
                  </a:lnTo>
                  <a:lnTo>
                    <a:pt x="119" y="321"/>
                  </a:lnTo>
                  <a:lnTo>
                    <a:pt x="116" y="321"/>
                  </a:lnTo>
                  <a:lnTo>
                    <a:pt x="113" y="321"/>
                  </a:lnTo>
                  <a:lnTo>
                    <a:pt x="109" y="316"/>
                  </a:lnTo>
                  <a:lnTo>
                    <a:pt x="109" y="313"/>
                  </a:lnTo>
                  <a:lnTo>
                    <a:pt x="106" y="310"/>
                  </a:lnTo>
                  <a:lnTo>
                    <a:pt x="106" y="308"/>
                  </a:lnTo>
                  <a:lnTo>
                    <a:pt x="103" y="305"/>
                  </a:lnTo>
                  <a:lnTo>
                    <a:pt x="102" y="302"/>
                  </a:lnTo>
                  <a:lnTo>
                    <a:pt x="98" y="297"/>
                  </a:lnTo>
                  <a:lnTo>
                    <a:pt x="102" y="295"/>
                  </a:lnTo>
                  <a:lnTo>
                    <a:pt x="102" y="291"/>
                  </a:lnTo>
                  <a:lnTo>
                    <a:pt x="102" y="289"/>
                  </a:lnTo>
                  <a:lnTo>
                    <a:pt x="102" y="284"/>
                  </a:lnTo>
                  <a:lnTo>
                    <a:pt x="98" y="281"/>
                  </a:lnTo>
                  <a:lnTo>
                    <a:pt x="95" y="278"/>
                  </a:lnTo>
                  <a:lnTo>
                    <a:pt x="94" y="275"/>
                  </a:lnTo>
                  <a:lnTo>
                    <a:pt x="92" y="271"/>
                  </a:lnTo>
                  <a:lnTo>
                    <a:pt x="90" y="268"/>
                  </a:lnTo>
                  <a:lnTo>
                    <a:pt x="87" y="264"/>
                  </a:lnTo>
                  <a:lnTo>
                    <a:pt x="84" y="262"/>
                  </a:lnTo>
                  <a:lnTo>
                    <a:pt x="79" y="259"/>
                  </a:lnTo>
                  <a:lnTo>
                    <a:pt x="79" y="254"/>
                  </a:lnTo>
                  <a:lnTo>
                    <a:pt x="79" y="252"/>
                  </a:lnTo>
                  <a:lnTo>
                    <a:pt x="78" y="248"/>
                  </a:lnTo>
                  <a:lnTo>
                    <a:pt x="75" y="248"/>
                  </a:lnTo>
                  <a:lnTo>
                    <a:pt x="71" y="245"/>
                  </a:lnTo>
                  <a:lnTo>
                    <a:pt x="70" y="240"/>
                  </a:lnTo>
                  <a:lnTo>
                    <a:pt x="68" y="237"/>
                  </a:lnTo>
                  <a:lnTo>
                    <a:pt x="67" y="233"/>
                  </a:lnTo>
                  <a:lnTo>
                    <a:pt x="65" y="229"/>
                  </a:lnTo>
                  <a:lnTo>
                    <a:pt x="62" y="225"/>
                  </a:lnTo>
                  <a:lnTo>
                    <a:pt x="60" y="222"/>
                  </a:lnTo>
                  <a:lnTo>
                    <a:pt x="57" y="219"/>
                  </a:lnTo>
                  <a:lnTo>
                    <a:pt x="56" y="214"/>
                  </a:lnTo>
                  <a:lnTo>
                    <a:pt x="52" y="211"/>
                  </a:lnTo>
                  <a:lnTo>
                    <a:pt x="49" y="208"/>
                  </a:lnTo>
                  <a:lnTo>
                    <a:pt x="46" y="205"/>
                  </a:lnTo>
                  <a:lnTo>
                    <a:pt x="46" y="202"/>
                  </a:lnTo>
                  <a:lnTo>
                    <a:pt x="43" y="199"/>
                  </a:lnTo>
                  <a:lnTo>
                    <a:pt x="40" y="195"/>
                  </a:lnTo>
                  <a:lnTo>
                    <a:pt x="36" y="191"/>
                  </a:lnTo>
                  <a:lnTo>
                    <a:pt x="35" y="187"/>
                  </a:lnTo>
                  <a:lnTo>
                    <a:pt x="33" y="184"/>
                  </a:lnTo>
                  <a:lnTo>
                    <a:pt x="32" y="181"/>
                  </a:lnTo>
                  <a:lnTo>
                    <a:pt x="29" y="176"/>
                  </a:lnTo>
                  <a:lnTo>
                    <a:pt x="27" y="173"/>
                  </a:lnTo>
                  <a:lnTo>
                    <a:pt x="24" y="170"/>
                  </a:lnTo>
                  <a:lnTo>
                    <a:pt x="24" y="170"/>
                  </a:lnTo>
                  <a:lnTo>
                    <a:pt x="22" y="167"/>
                  </a:lnTo>
                  <a:lnTo>
                    <a:pt x="19" y="165"/>
                  </a:lnTo>
                  <a:lnTo>
                    <a:pt x="14" y="164"/>
                  </a:lnTo>
                  <a:lnTo>
                    <a:pt x="14" y="165"/>
                  </a:lnTo>
                  <a:lnTo>
                    <a:pt x="11" y="164"/>
                  </a:lnTo>
                  <a:lnTo>
                    <a:pt x="8" y="165"/>
                  </a:lnTo>
                  <a:lnTo>
                    <a:pt x="3" y="164"/>
                  </a:lnTo>
                  <a:lnTo>
                    <a:pt x="3" y="167"/>
                  </a:lnTo>
                  <a:lnTo>
                    <a:pt x="0" y="164"/>
                  </a:lnTo>
                  <a:lnTo>
                    <a:pt x="2" y="162"/>
                  </a:lnTo>
                  <a:lnTo>
                    <a:pt x="3" y="159"/>
                  </a:lnTo>
                  <a:lnTo>
                    <a:pt x="5" y="156"/>
                  </a:lnTo>
                  <a:lnTo>
                    <a:pt x="5" y="153"/>
                  </a:lnTo>
                  <a:lnTo>
                    <a:pt x="6" y="148"/>
                  </a:lnTo>
                  <a:lnTo>
                    <a:pt x="8" y="145"/>
                  </a:lnTo>
                  <a:lnTo>
                    <a:pt x="8" y="143"/>
                  </a:lnTo>
                  <a:lnTo>
                    <a:pt x="6" y="140"/>
                  </a:lnTo>
                  <a:lnTo>
                    <a:pt x="8" y="127"/>
                  </a:lnTo>
                  <a:lnTo>
                    <a:pt x="11" y="113"/>
                  </a:lnTo>
                  <a:lnTo>
                    <a:pt x="11" y="113"/>
                  </a:lnTo>
                  <a:lnTo>
                    <a:pt x="13" y="113"/>
                  </a:lnTo>
                  <a:lnTo>
                    <a:pt x="16" y="114"/>
                  </a:lnTo>
                  <a:lnTo>
                    <a:pt x="19" y="114"/>
                  </a:lnTo>
                  <a:lnTo>
                    <a:pt x="22" y="114"/>
                  </a:lnTo>
                  <a:lnTo>
                    <a:pt x="29" y="116"/>
                  </a:lnTo>
                  <a:lnTo>
                    <a:pt x="32" y="118"/>
                  </a:lnTo>
                  <a:lnTo>
                    <a:pt x="36" y="118"/>
                  </a:lnTo>
                  <a:lnTo>
                    <a:pt x="40" y="118"/>
                  </a:lnTo>
                  <a:lnTo>
                    <a:pt x="43" y="119"/>
                  </a:lnTo>
                  <a:lnTo>
                    <a:pt x="46" y="119"/>
                  </a:lnTo>
                  <a:lnTo>
                    <a:pt x="49" y="119"/>
                  </a:lnTo>
                  <a:lnTo>
                    <a:pt x="49" y="119"/>
                  </a:lnTo>
                  <a:lnTo>
                    <a:pt x="54" y="118"/>
                  </a:lnTo>
                  <a:lnTo>
                    <a:pt x="67" y="102"/>
                  </a:lnTo>
                  <a:lnTo>
                    <a:pt x="75" y="92"/>
                  </a:lnTo>
                  <a:lnTo>
                    <a:pt x="78" y="91"/>
                  </a:lnTo>
                  <a:lnTo>
                    <a:pt x="81" y="91"/>
                  </a:lnTo>
                  <a:lnTo>
                    <a:pt x="84" y="89"/>
                  </a:lnTo>
                  <a:lnTo>
                    <a:pt x="90" y="88"/>
                  </a:lnTo>
                  <a:lnTo>
                    <a:pt x="95" y="88"/>
                  </a:lnTo>
                  <a:lnTo>
                    <a:pt x="98" y="86"/>
                  </a:lnTo>
                  <a:lnTo>
                    <a:pt x="102" y="73"/>
                  </a:lnTo>
                  <a:lnTo>
                    <a:pt x="111" y="67"/>
                  </a:lnTo>
                  <a:lnTo>
                    <a:pt x="95" y="48"/>
                  </a:lnTo>
                  <a:lnTo>
                    <a:pt x="97" y="48"/>
                  </a:lnTo>
                  <a:lnTo>
                    <a:pt x="94" y="45"/>
                  </a:lnTo>
                  <a:lnTo>
                    <a:pt x="90" y="42"/>
                  </a:lnTo>
                  <a:lnTo>
                    <a:pt x="87" y="38"/>
                  </a:lnTo>
                  <a:lnTo>
                    <a:pt x="76" y="26"/>
                  </a:lnTo>
                  <a:lnTo>
                    <a:pt x="111" y="15"/>
                  </a:lnTo>
                  <a:lnTo>
                    <a:pt x="116" y="13"/>
                  </a:lnTo>
                  <a:lnTo>
                    <a:pt x="116" y="13"/>
                  </a:lnTo>
                  <a:lnTo>
                    <a:pt x="116" y="13"/>
                  </a:lnTo>
                  <a:lnTo>
                    <a:pt x="121" y="11"/>
                  </a:lnTo>
                  <a:lnTo>
                    <a:pt x="124" y="11"/>
                  </a:lnTo>
                  <a:lnTo>
                    <a:pt x="127" y="10"/>
                  </a:lnTo>
                  <a:lnTo>
                    <a:pt x="133" y="8"/>
                  </a:lnTo>
                  <a:lnTo>
                    <a:pt x="138" y="7"/>
                  </a:lnTo>
                  <a:lnTo>
                    <a:pt x="143" y="3"/>
                  </a:lnTo>
                  <a:lnTo>
                    <a:pt x="148" y="0"/>
                  </a:lnTo>
                  <a:lnTo>
                    <a:pt x="163" y="2"/>
                  </a:lnTo>
                  <a:lnTo>
                    <a:pt x="178" y="5"/>
                  </a:lnTo>
                  <a:lnTo>
                    <a:pt x="190" y="8"/>
                  </a:lnTo>
                  <a:lnTo>
                    <a:pt x="201" y="13"/>
                  </a:lnTo>
                  <a:lnTo>
                    <a:pt x="211" y="21"/>
                  </a:lnTo>
                  <a:lnTo>
                    <a:pt x="222" y="27"/>
                  </a:lnTo>
                  <a:lnTo>
                    <a:pt x="235" y="34"/>
                  </a:lnTo>
                  <a:lnTo>
                    <a:pt x="247" y="40"/>
                  </a:lnTo>
                  <a:lnTo>
                    <a:pt x="251" y="42"/>
                  </a:lnTo>
                  <a:lnTo>
                    <a:pt x="257" y="46"/>
                  </a:lnTo>
                  <a:lnTo>
                    <a:pt x="263" y="51"/>
                  </a:lnTo>
                  <a:lnTo>
                    <a:pt x="266" y="54"/>
                  </a:lnTo>
                  <a:lnTo>
                    <a:pt x="273" y="59"/>
                  </a:lnTo>
                  <a:lnTo>
                    <a:pt x="279" y="65"/>
                  </a:lnTo>
                  <a:lnTo>
                    <a:pt x="282" y="67"/>
                  </a:lnTo>
                  <a:lnTo>
                    <a:pt x="287" y="70"/>
                  </a:lnTo>
                  <a:lnTo>
                    <a:pt x="301" y="81"/>
                  </a:lnTo>
                  <a:lnTo>
                    <a:pt x="316" y="92"/>
                  </a:lnTo>
                  <a:lnTo>
                    <a:pt x="331" y="105"/>
                  </a:lnTo>
                  <a:lnTo>
                    <a:pt x="346" y="116"/>
                  </a:lnTo>
                  <a:lnTo>
                    <a:pt x="349" y="119"/>
                  </a:lnTo>
                  <a:lnTo>
                    <a:pt x="354" y="119"/>
                  </a:lnTo>
                  <a:lnTo>
                    <a:pt x="358" y="119"/>
                  </a:lnTo>
                  <a:lnTo>
                    <a:pt x="360" y="121"/>
                  </a:lnTo>
                  <a:lnTo>
                    <a:pt x="363" y="121"/>
                  </a:lnTo>
                  <a:lnTo>
                    <a:pt x="370" y="121"/>
                  </a:lnTo>
                  <a:lnTo>
                    <a:pt x="376" y="121"/>
                  </a:lnTo>
                  <a:lnTo>
                    <a:pt x="381" y="122"/>
                  </a:lnTo>
                  <a:lnTo>
                    <a:pt x="387" y="122"/>
                  </a:lnTo>
                  <a:lnTo>
                    <a:pt x="392" y="124"/>
                  </a:lnTo>
                  <a:lnTo>
                    <a:pt x="398" y="124"/>
                  </a:lnTo>
                  <a:lnTo>
                    <a:pt x="406" y="126"/>
                  </a:lnTo>
                  <a:lnTo>
                    <a:pt x="409" y="126"/>
                  </a:lnTo>
                  <a:lnTo>
                    <a:pt x="412" y="124"/>
                  </a:lnTo>
                  <a:lnTo>
                    <a:pt x="414" y="124"/>
                  </a:lnTo>
                  <a:lnTo>
                    <a:pt x="414" y="122"/>
                  </a:lnTo>
                  <a:lnTo>
                    <a:pt x="428" y="126"/>
                  </a:lnTo>
                  <a:lnTo>
                    <a:pt x="443" y="127"/>
                  </a:lnTo>
                  <a:lnTo>
                    <a:pt x="446" y="129"/>
                  </a:lnTo>
                  <a:lnTo>
                    <a:pt x="449" y="132"/>
                  </a:lnTo>
                  <a:lnTo>
                    <a:pt x="449" y="132"/>
                  </a:lnTo>
                  <a:lnTo>
                    <a:pt x="450" y="135"/>
                  </a:lnTo>
                  <a:lnTo>
                    <a:pt x="450" y="140"/>
                  </a:lnTo>
                  <a:lnTo>
                    <a:pt x="452" y="143"/>
                  </a:lnTo>
                  <a:lnTo>
                    <a:pt x="455" y="146"/>
                  </a:lnTo>
                  <a:lnTo>
                    <a:pt x="457" y="146"/>
                  </a:lnTo>
                  <a:lnTo>
                    <a:pt x="469" y="146"/>
                  </a:lnTo>
                  <a:lnTo>
                    <a:pt x="481" y="146"/>
                  </a:lnTo>
                  <a:lnTo>
                    <a:pt x="484" y="148"/>
                  </a:lnTo>
                  <a:lnTo>
                    <a:pt x="485" y="153"/>
                  </a:lnTo>
                  <a:lnTo>
                    <a:pt x="485" y="156"/>
                  </a:lnTo>
                  <a:lnTo>
                    <a:pt x="489" y="159"/>
                  </a:lnTo>
                  <a:lnTo>
                    <a:pt x="489" y="162"/>
                  </a:lnTo>
                  <a:lnTo>
                    <a:pt x="490" y="165"/>
                  </a:lnTo>
                  <a:lnTo>
                    <a:pt x="493" y="167"/>
                  </a:lnTo>
                  <a:lnTo>
                    <a:pt x="495" y="168"/>
                  </a:lnTo>
                  <a:lnTo>
                    <a:pt x="495" y="170"/>
                  </a:lnTo>
                  <a:lnTo>
                    <a:pt x="495" y="172"/>
                  </a:lnTo>
                  <a:lnTo>
                    <a:pt x="500" y="175"/>
                  </a:lnTo>
                  <a:lnTo>
                    <a:pt x="500" y="175"/>
                  </a:lnTo>
                  <a:lnTo>
                    <a:pt x="500" y="180"/>
                  </a:lnTo>
                  <a:lnTo>
                    <a:pt x="498" y="176"/>
                  </a:lnTo>
                  <a:lnTo>
                    <a:pt x="496" y="176"/>
                  </a:lnTo>
                  <a:lnTo>
                    <a:pt x="496" y="180"/>
                  </a:lnTo>
                  <a:lnTo>
                    <a:pt x="496" y="180"/>
                  </a:lnTo>
                  <a:lnTo>
                    <a:pt x="496" y="181"/>
                  </a:lnTo>
                  <a:lnTo>
                    <a:pt x="496" y="180"/>
                  </a:lnTo>
                  <a:lnTo>
                    <a:pt x="498" y="181"/>
                  </a:lnTo>
                  <a:lnTo>
                    <a:pt x="500" y="184"/>
                  </a:lnTo>
                  <a:lnTo>
                    <a:pt x="498" y="184"/>
                  </a:lnTo>
                  <a:lnTo>
                    <a:pt x="500" y="184"/>
                  </a:lnTo>
                  <a:lnTo>
                    <a:pt x="500" y="184"/>
                  </a:lnTo>
                  <a:lnTo>
                    <a:pt x="500" y="184"/>
                  </a:lnTo>
                  <a:lnTo>
                    <a:pt x="498" y="184"/>
                  </a:lnTo>
                  <a:lnTo>
                    <a:pt x="500" y="184"/>
                  </a:lnTo>
                  <a:lnTo>
                    <a:pt x="500" y="184"/>
                  </a:lnTo>
                  <a:lnTo>
                    <a:pt x="501" y="184"/>
                  </a:lnTo>
                  <a:lnTo>
                    <a:pt x="504" y="184"/>
                  </a:lnTo>
                  <a:lnTo>
                    <a:pt x="506" y="186"/>
                  </a:lnTo>
                  <a:lnTo>
                    <a:pt x="506" y="187"/>
                  </a:lnTo>
                  <a:lnTo>
                    <a:pt x="508" y="187"/>
                  </a:lnTo>
                  <a:lnTo>
                    <a:pt x="508" y="187"/>
                  </a:lnTo>
                  <a:lnTo>
                    <a:pt x="512" y="187"/>
                  </a:lnTo>
                  <a:lnTo>
                    <a:pt x="515" y="189"/>
                  </a:lnTo>
                  <a:lnTo>
                    <a:pt x="512" y="194"/>
                  </a:lnTo>
                  <a:lnTo>
                    <a:pt x="515" y="195"/>
                  </a:lnTo>
                  <a:lnTo>
                    <a:pt x="517" y="199"/>
                  </a:lnTo>
                  <a:lnTo>
                    <a:pt x="517" y="200"/>
                  </a:lnTo>
                  <a:lnTo>
                    <a:pt x="520" y="200"/>
                  </a:lnTo>
                  <a:lnTo>
                    <a:pt x="520" y="203"/>
                  </a:lnTo>
                  <a:lnTo>
                    <a:pt x="522" y="203"/>
                  </a:lnTo>
                  <a:lnTo>
                    <a:pt x="525" y="205"/>
                  </a:lnTo>
                  <a:lnTo>
                    <a:pt x="527" y="202"/>
                  </a:lnTo>
                  <a:lnTo>
                    <a:pt x="525" y="203"/>
                  </a:lnTo>
                  <a:lnTo>
                    <a:pt x="528" y="206"/>
                  </a:lnTo>
                  <a:lnTo>
                    <a:pt x="530" y="208"/>
                  </a:lnTo>
                  <a:lnTo>
                    <a:pt x="530" y="210"/>
                  </a:lnTo>
                  <a:lnTo>
                    <a:pt x="530" y="210"/>
                  </a:lnTo>
                  <a:lnTo>
                    <a:pt x="533" y="213"/>
                  </a:lnTo>
                  <a:lnTo>
                    <a:pt x="535" y="213"/>
                  </a:lnTo>
                  <a:lnTo>
                    <a:pt x="538" y="214"/>
                  </a:lnTo>
                  <a:lnTo>
                    <a:pt x="538" y="214"/>
                  </a:lnTo>
                  <a:lnTo>
                    <a:pt x="541" y="216"/>
                  </a:lnTo>
                  <a:lnTo>
                    <a:pt x="541" y="216"/>
                  </a:lnTo>
                  <a:lnTo>
                    <a:pt x="542" y="218"/>
                  </a:lnTo>
                  <a:lnTo>
                    <a:pt x="542" y="218"/>
                  </a:lnTo>
                  <a:lnTo>
                    <a:pt x="542" y="218"/>
                  </a:lnTo>
                  <a:lnTo>
                    <a:pt x="546" y="221"/>
                  </a:lnTo>
                  <a:lnTo>
                    <a:pt x="549" y="224"/>
                  </a:lnTo>
                  <a:lnTo>
                    <a:pt x="546" y="222"/>
                  </a:lnTo>
                  <a:lnTo>
                    <a:pt x="544" y="222"/>
                  </a:lnTo>
                  <a:lnTo>
                    <a:pt x="544" y="222"/>
                  </a:lnTo>
                  <a:lnTo>
                    <a:pt x="542" y="219"/>
                  </a:lnTo>
                  <a:lnTo>
                    <a:pt x="542" y="222"/>
                  </a:lnTo>
                  <a:lnTo>
                    <a:pt x="542" y="224"/>
                  </a:lnTo>
                  <a:lnTo>
                    <a:pt x="544" y="224"/>
                  </a:lnTo>
                  <a:lnTo>
                    <a:pt x="542" y="225"/>
                  </a:lnTo>
                  <a:lnTo>
                    <a:pt x="542" y="227"/>
                  </a:lnTo>
                  <a:lnTo>
                    <a:pt x="544" y="227"/>
                  </a:lnTo>
                  <a:lnTo>
                    <a:pt x="546" y="232"/>
                  </a:lnTo>
                  <a:lnTo>
                    <a:pt x="549" y="233"/>
                  </a:lnTo>
                  <a:lnTo>
                    <a:pt x="549" y="233"/>
                  </a:lnTo>
                  <a:lnTo>
                    <a:pt x="550" y="233"/>
                  </a:lnTo>
                  <a:lnTo>
                    <a:pt x="552" y="237"/>
                  </a:lnTo>
                  <a:lnTo>
                    <a:pt x="552" y="240"/>
                  </a:lnTo>
                  <a:lnTo>
                    <a:pt x="552" y="241"/>
                  </a:lnTo>
                  <a:lnTo>
                    <a:pt x="552" y="243"/>
                  </a:lnTo>
                  <a:lnTo>
                    <a:pt x="549" y="246"/>
                  </a:lnTo>
                  <a:lnTo>
                    <a:pt x="544" y="243"/>
                  </a:lnTo>
                  <a:lnTo>
                    <a:pt x="544" y="246"/>
                  </a:lnTo>
                  <a:lnTo>
                    <a:pt x="546" y="248"/>
                  </a:lnTo>
                  <a:lnTo>
                    <a:pt x="544" y="251"/>
                  </a:lnTo>
                  <a:lnTo>
                    <a:pt x="546" y="251"/>
                  </a:lnTo>
                  <a:lnTo>
                    <a:pt x="549" y="251"/>
                  </a:lnTo>
                  <a:lnTo>
                    <a:pt x="549" y="254"/>
                  </a:lnTo>
                  <a:lnTo>
                    <a:pt x="550" y="257"/>
                  </a:lnTo>
                  <a:lnTo>
                    <a:pt x="554" y="260"/>
                  </a:lnTo>
                  <a:lnTo>
                    <a:pt x="555" y="265"/>
                  </a:lnTo>
                  <a:lnTo>
                    <a:pt x="550" y="260"/>
                  </a:lnTo>
                  <a:lnTo>
                    <a:pt x="554" y="265"/>
                  </a:lnTo>
                  <a:lnTo>
                    <a:pt x="557" y="268"/>
                  </a:lnTo>
                  <a:lnTo>
                    <a:pt x="560" y="270"/>
                  </a:lnTo>
                  <a:lnTo>
                    <a:pt x="563" y="273"/>
                  </a:lnTo>
                  <a:lnTo>
                    <a:pt x="565" y="276"/>
                  </a:lnTo>
                  <a:lnTo>
                    <a:pt x="566" y="279"/>
                  </a:lnTo>
                  <a:lnTo>
                    <a:pt x="568" y="284"/>
                  </a:lnTo>
                  <a:lnTo>
                    <a:pt x="568" y="287"/>
                  </a:lnTo>
                  <a:lnTo>
                    <a:pt x="571" y="291"/>
                  </a:lnTo>
                  <a:lnTo>
                    <a:pt x="573" y="294"/>
                  </a:lnTo>
                  <a:lnTo>
                    <a:pt x="574" y="297"/>
                  </a:lnTo>
                  <a:lnTo>
                    <a:pt x="576" y="300"/>
                  </a:lnTo>
                  <a:lnTo>
                    <a:pt x="579" y="302"/>
                  </a:lnTo>
                  <a:lnTo>
                    <a:pt x="579" y="302"/>
                  </a:lnTo>
                  <a:lnTo>
                    <a:pt x="579" y="303"/>
                  </a:lnTo>
                  <a:lnTo>
                    <a:pt x="582" y="306"/>
                  </a:lnTo>
                  <a:lnTo>
                    <a:pt x="585" y="308"/>
                  </a:lnTo>
                  <a:lnTo>
                    <a:pt x="588" y="310"/>
                  </a:lnTo>
                  <a:lnTo>
                    <a:pt x="590" y="308"/>
                  </a:lnTo>
                  <a:lnTo>
                    <a:pt x="592" y="306"/>
                  </a:lnTo>
                  <a:lnTo>
                    <a:pt x="596" y="306"/>
                  </a:lnTo>
                  <a:lnTo>
                    <a:pt x="596" y="311"/>
                  </a:lnTo>
                  <a:lnTo>
                    <a:pt x="598" y="308"/>
                  </a:lnTo>
                  <a:lnTo>
                    <a:pt x="601" y="308"/>
                  </a:lnTo>
                  <a:lnTo>
                    <a:pt x="600" y="313"/>
                  </a:lnTo>
                  <a:lnTo>
                    <a:pt x="596" y="316"/>
                  </a:lnTo>
                  <a:lnTo>
                    <a:pt x="598" y="319"/>
                  </a:lnTo>
                  <a:lnTo>
                    <a:pt x="601" y="319"/>
                  </a:lnTo>
                  <a:lnTo>
                    <a:pt x="604" y="321"/>
                  </a:lnTo>
                  <a:lnTo>
                    <a:pt x="606" y="321"/>
                  </a:lnTo>
                  <a:lnTo>
                    <a:pt x="607" y="324"/>
                  </a:lnTo>
                  <a:lnTo>
                    <a:pt x="607" y="327"/>
                  </a:lnTo>
                  <a:lnTo>
                    <a:pt x="611" y="332"/>
                  </a:lnTo>
                  <a:lnTo>
                    <a:pt x="619" y="341"/>
                  </a:lnTo>
                  <a:lnTo>
                    <a:pt x="631" y="359"/>
                  </a:lnTo>
                  <a:lnTo>
                    <a:pt x="647" y="375"/>
                  </a:lnTo>
                  <a:lnTo>
                    <a:pt x="669" y="378"/>
                  </a:lnTo>
                  <a:lnTo>
                    <a:pt x="692" y="381"/>
                  </a:lnTo>
                  <a:lnTo>
                    <a:pt x="714" y="384"/>
                  </a:lnTo>
                  <a:lnTo>
                    <a:pt x="736" y="387"/>
                  </a:lnTo>
                  <a:lnTo>
                    <a:pt x="738" y="384"/>
                  </a:lnTo>
                  <a:lnTo>
                    <a:pt x="758" y="413"/>
                  </a:lnTo>
                  <a:lnTo>
                    <a:pt x="741" y="495"/>
                  </a:lnTo>
                  <a:lnTo>
                    <a:pt x="636" y="536"/>
                  </a:lnTo>
                  <a:lnTo>
                    <a:pt x="638" y="538"/>
                  </a:lnTo>
                  <a:lnTo>
                    <a:pt x="593" y="544"/>
                  </a:lnTo>
                  <a:lnTo>
                    <a:pt x="535" y="551"/>
                  </a:lnTo>
                  <a:lnTo>
                    <a:pt x="503" y="570"/>
                  </a:lnTo>
                  <a:lnTo>
                    <a:pt x="484" y="598"/>
                  </a:lnTo>
                  <a:lnTo>
                    <a:pt x="479" y="612"/>
                  </a:lnTo>
                  <a:lnTo>
                    <a:pt x="469" y="619"/>
                  </a:lnTo>
                  <a:lnTo>
                    <a:pt x="463" y="619"/>
                  </a:lnTo>
                  <a:lnTo>
                    <a:pt x="454" y="606"/>
                  </a:lnTo>
                  <a:lnTo>
                    <a:pt x="441" y="608"/>
                  </a:lnTo>
                  <a:lnTo>
                    <a:pt x="431" y="608"/>
                  </a:lnTo>
                  <a:lnTo>
                    <a:pt x="406" y="605"/>
                  </a:lnTo>
                  <a:lnTo>
                    <a:pt x="398" y="600"/>
                  </a:lnTo>
                  <a:lnTo>
                    <a:pt x="379" y="600"/>
                  </a:lnTo>
                  <a:lnTo>
                    <a:pt x="376" y="601"/>
                  </a:lnTo>
                  <a:lnTo>
                    <a:pt x="373" y="601"/>
                  </a:lnTo>
                  <a:lnTo>
                    <a:pt x="363" y="603"/>
                  </a:lnTo>
                  <a:lnTo>
                    <a:pt x="363" y="603"/>
                  </a:lnTo>
                  <a:lnTo>
                    <a:pt x="360" y="606"/>
                  </a:lnTo>
                  <a:lnTo>
                    <a:pt x="357" y="605"/>
                  </a:lnTo>
                  <a:lnTo>
                    <a:pt x="354" y="605"/>
                  </a:lnTo>
                  <a:lnTo>
                    <a:pt x="351" y="606"/>
                  </a:lnTo>
                  <a:lnTo>
                    <a:pt x="346" y="605"/>
                  </a:lnTo>
                  <a:lnTo>
                    <a:pt x="344" y="600"/>
                  </a:lnTo>
                  <a:lnTo>
                    <a:pt x="339" y="600"/>
                  </a:lnTo>
                  <a:lnTo>
                    <a:pt x="336" y="598"/>
                  </a:lnTo>
                  <a:lnTo>
                    <a:pt x="333" y="600"/>
                  </a:lnTo>
                  <a:lnTo>
                    <a:pt x="333" y="600"/>
                  </a:lnTo>
                  <a:lnTo>
                    <a:pt x="330" y="603"/>
                  </a:lnTo>
                  <a:lnTo>
                    <a:pt x="330" y="606"/>
                  </a:lnTo>
                  <a:lnTo>
                    <a:pt x="328" y="611"/>
                  </a:lnTo>
                  <a:lnTo>
                    <a:pt x="327" y="614"/>
                  </a:lnTo>
                  <a:lnTo>
                    <a:pt x="327" y="617"/>
                  </a:lnTo>
                  <a:lnTo>
                    <a:pt x="327" y="620"/>
                  </a:lnTo>
                  <a:lnTo>
                    <a:pt x="327" y="625"/>
                  </a:lnTo>
                  <a:lnTo>
                    <a:pt x="330" y="628"/>
                  </a:lnTo>
                  <a:lnTo>
                    <a:pt x="330" y="631"/>
                  </a:lnTo>
                  <a:lnTo>
                    <a:pt x="325" y="633"/>
                  </a:lnTo>
                  <a:lnTo>
                    <a:pt x="325" y="636"/>
                  </a:lnTo>
                  <a:lnTo>
                    <a:pt x="325" y="638"/>
                  </a:lnTo>
                  <a:lnTo>
                    <a:pt x="322" y="639"/>
                  </a:lnTo>
                  <a:lnTo>
                    <a:pt x="320" y="643"/>
                  </a:lnTo>
                  <a:lnTo>
                    <a:pt x="316" y="644"/>
                  </a:lnTo>
                  <a:lnTo>
                    <a:pt x="314" y="646"/>
                  </a:lnTo>
                  <a:lnTo>
                    <a:pt x="314" y="64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43" name="Freeform 407"/>
            <p:cNvSpPr>
              <a:spLocks/>
            </p:cNvSpPr>
            <p:nvPr/>
          </p:nvSpPr>
          <p:spPr bwMode="auto">
            <a:xfrm>
              <a:off x="6708890" y="3928561"/>
              <a:ext cx="123511" cy="118471"/>
            </a:xfrm>
            <a:custGeom>
              <a:avLst/>
              <a:gdLst>
                <a:gd name="T0" fmla="*/ 3 w 166"/>
                <a:gd name="T1" fmla="*/ 76 h 141"/>
                <a:gd name="T2" fmla="*/ 8 w 166"/>
                <a:gd name="T3" fmla="*/ 79 h 141"/>
                <a:gd name="T4" fmla="*/ 13 w 166"/>
                <a:gd name="T5" fmla="*/ 85 h 141"/>
                <a:gd name="T6" fmla="*/ 28 w 166"/>
                <a:gd name="T7" fmla="*/ 84 h 141"/>
                <a:gd name="T8" fmla="*/ 40 w 166"/>
                <a:gd name="T9" fmla="*/ 77 h 141"/>
                <a:gd name="T10" fmla="*/ 47 w 166"/>
                <a:gd name="T11" fmla="*/ 79 h 141"/>
                <a:gd name="T12" fmla="*/ 59 w 166"/>
                <a:gd name="T13" fmla="*/ 81 h 141"/>
                <a:gd name="T14" fmla="*/ 70 w 166"/>
                <a:gd name="T15" fmla="*/ 81 h 141"/>
                <a:gd name="T16" fmla="*/ 81 w 166"/>
                <a:gd name="T17" fmla="*/ 82 h 141"/>
                <a:gd name="T18" fmla="*/ 92 w 166"/>
                <a:gd name="T19" fmla="*/ 77 h 141"/>
                <a:gd name="T20" fmla="*/ 90 w 166"/>
                <a:gd name="T21" fmla="*/ 73 h 141"/>
                <a:gd name="T22" fmla="*/ 101 w 166"/>
                <a:gd name="T23" fmla="*/ 71 h 141"/>
                <a:gd name="T24" fmla="*/ 106 w 166"/>
                <a:gd name="T25" fmla="*/ 62 h 141"/>
                <a:gd name="T26" fmla="*/ 108 w 166"/>
                <a:gd name="T27" fmla="*/ 54 h 141"/>
                <a:gd name="T28" fmla="*/ 119 w 166"/>
                <a:gd name="T29" fmla="*/ 44 h 141"/>
                <a:gd name="T30" fmla="*/ 122 w 166"/>
                <a:gd name="T31" fmla="*/ 41 h 141"/>
                <a:gd name="T32" fmla="*/ 128 w 166"/>
                <a:gd name="T33" fmla="*/ 33 h 141"/>
                <a:gd name="T34" fmla="*/ 128 w 166"/>
                <a:gd name="T35" fmla="*/ 31 h 141"/>
                <a:gd name="T36" fmla="*/ 132 w 166"/>
                <a:gd name="T37" fmla="*/ 27 h 141"/>
                <a:gd name="T38" fmla="*/ 135 w 166"/>
                <a:gd name="T39" fmla="*/ 23 h 141"/>
                <a:gd name="T40" fmla="*/ 138 w 166"/>
                <a:gd name="T41" fmla="*/ 20 h 141"/>
                <a:gd name="T42" fmla="*/ 146 w 166"/>
                <a:gd name="T43" fmla="*/ 12 h 141"/>
                <a:gd name="T44" fmla="*/ 152 w 166"/>
                <a:gd name="T45" fmla="*/ 3 h 141"/>
                <a:gd name="T46" fmla="*/ 155 w 166"/>
                <a:gd name="T47" fmla="*/ 4 h 141"/>
                <a:gd name="T48" fmla="*/ 160 w 166"/>
                <a:gd name="T49" fmla="*/ 17 h 141"/>
                <a:gd name="T50" fmla="*/ 165 w 166"/>
                <a:gd name="T51" fmla="*/ 22 h 141"/>
                <a:gd name="T52" fmla="*/ 166 w 166"/>
                <a:gd name="T53" fmla="*/ 30 h 141"/>
                <a:gd name="T54" fmla="*/ 166 w 166"/>
                <a:gd name="T55" fmla="*/ 44 h 141"/>
                <a:gd name="T56" fmla="*/ 163 w 166"/>
                <a:gd name="T57" fmla="*/ 49 h 141"/>
                <a:gd name="T58" fmla="*/ 160 w 166"/>
                <a:gd name="T59" fmla="*/ 52 h 141"/>
                <a:gd name="T60" fmla="*/ 155 w 166"/>
                <a:gd name="T61" fmla="*/ 52 h 141"/>
                <a:gd name="T62" fmla="*/ 155 w 166"/>
                <a:gd name="T63" fmla="*/ 47 h 141"/>
                <a:gd name="T64" fmla="*/ 147 w 166"/>
                <a:gd name="T65" fmla="*/ 47 h 141"/>
                <a:gd name="T66" fmla="*/ 147 w 166"/>
                <a:gd name="T67" fmla="*/ 55 h 141"/>
                <a:gd name="T68" fmla="*/ 147 w 166"/>
                <a:gd name="T69" fmla="*/ 65 h 141"/>
                <a:gd name="T70" fmla="*/ 151 w 166"/>
                <a:gd name="T71" fmla="*/ 76 h 141"/>
                <a:gd name="T72" fmla="*/ 155 w 166"/>
                <a:gd name="T73" fmla="*/ 82 h 141"/>
                <a:gd name="T74" fmla="*/ 146 w 166"/>
                <a:gd name="T75" fmla="*/ 84 h 141"/>
                <a:gd name="T76" fmla="*/ 141 w 166"/>
                <a:gd name="T77" fmla="*/ 89 h 141"/>
                <a:gd name="T78" fmla="*/ 139 w 166"/>
                <a:gd name="T79" fmla="*/ 98 h 141"/>
                <a:gd name="T80" fmla="*/ 136 w 166"/>
                <a:gd name="T81" fmla="*/ 109 h 141"/>
                <a:gd name="T82" fmla="*/ 133 w 166"/>
                <a:gd name="T83" fmla="*/ 120 h 141"/>
                <a:gd name="T84" fmla="*/ 133 w 166"/>
                <a:gd name="T85" fmla="*/ 136 h 141"/>
                <a:gd name="T86" fmla="*/ 86 w 166"/>
                <a:gd name="T87" fmla="*/ 133 h 141"/>
                <a:gd name="T88" fmla="*/ 27 w 166"/>
                <a:gd name="T89" fmla="*/ 111 h 141"/>
                <a:gd name="T90" fmla="*/ 5 w 166"/>
                <a:gd name="T91" fmla="*/ 84 h 141"/>
                <a:gd name="T92" fmla="*/ 0 w 166"/>
                <a:gd name="T93" fmla="*/ 7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66" h="141">
                  <a:moveTo>
                    <a:pt x="0" y="73"/>
                  </a:moveTo>
                  <a:lnTo>
                    <a:pt x="1" y="73"/>
                  </a:lnTo>
                  <a:lnTo>
                    <a:pt x="3" y="76"/>
                  </a:lnTo>
                  <a:lnTo>
                    <a:pt x="6" y="73"/>
                  </a:lnTo>
                  <a:lnTo>
                    <a:pt x="8" y="76"/>
                  </a:lnTo>
                  <a:lnTo>
                    <a:pt x="8" y="79"/>
                  </a:lnTo>
                  <a:lnTo>
                    <a:pt x="8" y="84"/>
                  </a:lnTo>
                  <a:lnTo>
                    <a:pt x="9" y="84"/>
                  </a:lnTo>
                  <a:lnTo>
                    <a:pt x="13" y="85"/>
                  </a:lnTo>
                  <a:lnTo>
                    <a:pt x="16" y="85"/>
                  </a:lnTo>
                  <a:lnTo>
                    <a:pt x="22" y="85"/>
                  </a:lnTo>
                  <a:lnTo>
                    <a:pt x="28" y="84"/>
                  </a:lnTo>
                  <a:lnTo>
                    <a:pt x="32" y="81"/>
                  </a:lnTo>
                  <a:lnTo>
                    <a:pt x="36" y="76"/>
                  </a:lnTo>
                  <a:lnTo>
                    <a:pt x="40" y="77"/>
                  </a:lnTo>
                  <a:lnTo>
                    <a:pt x="43" y="79"/>
                  </a:lnTo>
                  <a:lnTo>
                    <a:pt x="44" y="79"/>
                  </a:lnTo>
                  <a:lnTo>
                    <a:pt x="47" y="79"/>
                  </a:lnTo>
                  <a:lnTo>
                    <a:pt x="51" y="79"/>
                  </a:lnTo>
                  <a:lnTo>
                    <a:pt x="55" y="79"/>
                  </a:lnTo>
                  <a:lnTo>
                    <a:pt x="59" y="81"/>
                  </a:lnTo>
                  <a:lnTo>
                    <a:pt x="63" y="81"/>
                  </a:lnTo>
                  <a:lnTo>
                    <a:pt x="66" y="79"/>
                  </a:lnTo>
                  <a:lnTo>
                    <a:pt x="70" y="81"/>
                  </a:lnTo>
                  <a:lnTo>
                    <a:pt x="73" y="82"/>
                  </a:lnTo>
                  <a:lnTo>
                    <a:pt x="78" y="82"/>
                  </a:lnTo>
                  <a:lnTo>
                    <a:pt x="81" y="82"/>
                  </a:lnTo>
                  <a:lnTo>
                    <a:pt x="84" y="81"/>
                  </a:lnTo>
                  <a:lnTo>
                    <a:pt x="89" y="79"/>
                  </a:lnTo>
                  <a:lnTo>
                    <a:pt x="92" y="77"/>
                  </a:lnTo>
                  <a:lnTo>
                    <a:pt x="89" y="74"/>
                  </a:lnTo>
                  <a:lnTo>
                    <a:pt x="89" y="73"/>
                  </a:lnTo>
                  <a:lnTo>
                    <a:pt x="90" y="73"/>
                  </a:lnTo>
                  <a:lnTo>
                    <a:pt x="93" y="76"/>
                  </a:lnTo>
                  <a:lnTo>
                    <a:pt x="98" y="74"/>
                  </a:lnTo>
                  <a:lnTo>
                    <a:pt x="101" y="71"/>
                  </a:lnTo>
                  <a:lnTo>
                    <a:pt x="101" y="68"/>
                  </a:lnTo>
                  <a:lnTo>
                    <a:pt x="105" y="65"/>
                  </a:lnTo>
                  <a:lnTo>
                    <a:pt x="106" y="62"/>
                  </a:lnTo>
                  <a:lnTo>
                    <a:pt x="106" y="60"/>
                  </a:lnTo>
                  <a:lnTo>
                    <a:pt x="108" y="57"/>
                  </a:lnTo>
                  <a:lnTo>
                    <a:pt x="108" y="54"/>
                  </a:lnTo>
                  <a:lnTo>
                    <a:pt x="111" y="50"/>
                  </a:lnTo>
                  <a:lnTo>
                    <a:pt x="114" y="47"/>
                  </a:lnTo>
                  <a:lnTo>
                    <a:pt x="119" y="44"/>
                  </a:lnTo>
                  <a:lnTo>
                    <a:pt x="119" y="44"/>
                  </a:lnTo>
                  <a:lnTo>
                    <a:pt x="120" y="44"/>
                  </a:lnTo>
                  <a:lnTo>
                    <a:pt x="122" y="41"/>
                  </a:lnTo>
                  <a:lnTo>
                    <a:pt x="125" y="36"/>
                  </a:lnTo>
                  <a:lnTo>
                    <a:pt x="128" y="33"/>
                  </a:lnTo>
                  <a:lnTo>
                    <a:pt x="128" y="33"/>
                  </a:lnTo>
                  <a:lnTo>
                    <a:pt x="128" y="33"/>
                  </a:lnTo>
                  <a:lnTo>
                    <a:pt x="128" y="33"/>
                  </a:lnTo>
                  <a:lnTo>
                    <a:pt x="128" y="31"/>
                  </a:lnTo>
                  <a:lnTo>
                    <a:pt x="132" y="28"/>
                  </a:lnTo>
                  <a:lnTo>
                    <a:pt x="132" y="27"/>
                  </a:lnTo>
                  <a:lnTo>
                    <a:pt x="132" y="27"/>
                  </a:lnTo>
                  <a:lnTo>
                    <a:pt x="133" y="25"/>
                  </a:lnTo>
                  <a:lnTo>
                    <a:pt x="133" y="25"/>
                  </a:lnTo>
                  <a:lnTo>
                    <a:pt x="135" y="23"/>
                  </a:lnTo>
                  <a:lnTo>
                    <a:pt x="135" y="22"/>
                  </a:lnTo>
                  <a:lnTo>
                    <a:pt x="135" y="20"/>
                  </a:lnTo>
                  <a:lnTo>
                    <a:pt x="138" y="20"/>
                  </a:lnTo>
                  <a:lnTo>
                    <a:pt x="143" y="17"/>
                  </a:lnTo>
                  <a:lnTo>
                    <a:pt x="143" y="16"/>
                  </a:lnTo>
                  <a:lnTo>
                    <a:pt x="146" y="12"/>
                  </a:lnTo>
                  <a:lnTo>
                    <a:pt x="149" y="9"/>
                  </a:lnTo>
                  <a:lnTo>
                    <a:pt x="151" y="8"/>
                  </a:lnTo>
                  <a:lnTo>
                    <a:pt x="152" y="3"/>
                  </a:lnTo>
                  <a:lnTo>
                    <a:pt x="152" y="0"/>
                  </a:lnTo>
                  <a:lnTo>
                    <a:pt x="155" y="1"/>
                  </a:lnTo>
                  <a:lnTo>
                    <a:pt x="155" y="4"/>
                  </a:lnTo>
                  <a:lnTo>
                    <a:pt x="155" y="16"/>
                  </a:lnTo>
                  <a:lnTo>
                    <a:pt x="157" y="17"/>
                  </a:lnTo>
                  <a:lnTo>
                    <a:pt x="160" y="17"/>
                  </a:lnTo>
                  <a:lnTo>
                    <a:pt x="160" y="17"/>
                  </a:lnTo>
                  <a:lnTo>
                    <a:pt x="163" y="19"/>
                  </a:lnTo>
                  <a:lnTo>
                    <a:pt x="165" y="22"/>
                  </a:lnTo>
                  <a:lnTo>
                    <a:pt x="165" y="27"/>
                  </a:lnTo>
                  <a:lnTo>
                    <a:pt x="165" y="27"/>
                  </a:lnTo>
                  <a:lnTo>
                    <a:pt x="166" y="30"/>
                  </a:lnTo>
                  <a:lnTo>
                    <a:pt x="165" y="38"/>
                  </a:lnTo>
                  <a:lnTo>
                    <a:pt x="166" y="44"/>
                  </a:lnTo>
                  <a:lnTo>
                    <a:pt x="166" y="44"/>
                  </a:lnTo>
                  <a:lnTo>
                    <a:pt x="165" y="44"/>
                  </a:lnTo>
                  <a:lnTo>
                    <a:pt x="165" y="46"/>
                  </a:lnTo>
                  <a:lnTo>
                    <a:pt x="163" y="49"/>
                  </a:lnTo>
                  <a:lnTo>
                    <a:pt x="160" y="50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57" y="54"/>
                  </a:lnTo>
                  <a:lnTo>
                    <a:pt x="157" y="54"/>
                  </a:lnTo>
                  <a:lnTo>
                    <a:pt x="155" y="52"/>
                  </a:lnTo>
                  <a:lnTo>
                    <a:pt x="155" y="50"/>
                  </a:lnTo>
                  <a:lnTo>
                    <a:pt x="155" y="49"/>
                  </a:lnTo>
                  <a:lnTo>
                    <a:pt x="155" y="47"/>
                  </a:lnTo>
                  <a:lnTo>
                    <a:pt x="152" y="44"/>
                  </a:lnTo>
                  <a:lnTo>
                    <a:pt x="151" y="44"/>
                  </a:lnTo>
                  <a:lnTo>
                    <a:pt x="147" y="47"/>
                  </a:lnTo>
                  <a:lnTo>
                    <a:pt x="147" y="49"/>
                  </a:lnTo>
                  <a:lnTo>
                    <a:pt x="147" y="52"/>
                  </a:lnTo>
                  <a:lnTo>
                    <a:pt x="147" y="55"/>
                  </a:lnTo>
                  <a:lnTo>
                    <a:pt x="149" y="58"/>
                  </a:lnTo>
                  <a:lnTo>
                    <a:pt x="147" y="62"/>
                  </a:lnTo>
                  <a:lnTo>
                    <a:pt x="147" y="65"/>
                  </a:lnTo>
                  <a:lnTo>
                    <a:pt x="149" y="68"/>
                  </a:lnTo>
                  <a:lnTo>
                    <a:pt x="149" y="73"/>
                  </a:lnTo>
                  <a:lnTo>
                    <a:pt x="151" y="76"/>
                  </a:lnTo>
                  <a:lnTo>
                    <a:pt x="154" y="76"/>
                  </a:lnTo>
                  <a:lnTo>
                    <a:pt x="155" y="79"/>
                  </a:lnTo>
                  <a:lnTo>
                    <a:pt x="155" y="82"/>
                  </a:lnTo>
                  <a:lnTo>
                    <a:pt x="152" y="84"/>
                  </a:lnTo>
                  <a:lnTo>
                    <a:pt x="149" y="82"/>
                  </a:lnTo>
                  <a:lnTo>
                    <a:pt x="146" y="84"/>
                  </a:lnTo>
                  <a:lnTo>
                    <a:pt x="143" y="84"/>
                  </a:lnTo>
                  <a:lnTo>
                    <a:pt x="139" y="87"/>
                  </a:lnTo>
                  <a:lnTo>
                    <a:pt x="141" y="89"/>
                  </a:lnTo>
                  <a:lnTo>
                    <a:pt x="141" y="92"/>
                  </a:lnTo>
                  <a:lnTo>
                    <a:pt x="141" y="95"/>
                  </a:lnTo>
                  <a:lnTo>
                    <a:pt x="139" y="98"/>
                  </a:lnTo>
                  <a:lnTo>
                    <a:pt x="139" y="101"/>
                  </a:lnTo>
                  <a:lnTo>
                    <a:pt x="138" y="106"/>
                  </a:lnTo>
                  <a:lnTo>
                    <a:pt x="136" y="109"/>
                  </a:lnTo>
                  <a:lnTo>
                    <a:pt x="136" y="112"/>
                  </a:lnTo>
                  <a:lnTo>
                    <a:pt x="135" y="115"/>
                  </a:lnTo>
                  <a:lnTo>
                    <a:pt x="133" y="120"/>
                  </a:lnTo>
                  <a:lnTo>
                    <a:pt x="132" y="123"/>
                  </a:lnTo>
                  <a:lnTo>
                    <a:pt x="132" y="130"/>
                  </a:lnTo>
                  <a:lnTo>
                    <a:pt x="133" y="136"/>
                  </a:lnTo>
                  <a:lnTo>
                    <a:pt x="130" y="141"/>
                  </a:lnTo>
                  <a:lnTo>
                    <a:pt x="108" y="138"/>
                  </a:lnTo>
                  <a:lnTo>
                    <a:pt x="86" y="133"/>
                  </a:lnTo>
                  <a:lnTo>
                    <a:pt x="62" y="130"/>
                  </a:lnTo>
                  <a:lnTo>
                    <a:pt x="40" y="128"/>
                  </a:lnTo>
                  <a:lnTo>
                    <a:pt x="27" y="111"/>
                  </a:lnTo>
                  <a:lnTo>
                    <a:pt x="14" y="95"/>
                  </a:lnTo>
                  <a:lnTo>
                    <a:pt x="8" y="87"/>
                  </a:lnTo>
                  <a:lnTo>
                    <a:pt x="5" y="84"/>
                  </a:lnTo>
                  <a:lnTo>
                    <a:pt x="1" y="79"/>
                  </a:lnTo>
                  <a:lnTo>
                    <a:pt x="1" y="76"/>
                  </a:lnTo>
                  <a:lnTo>
                    <a:pt x="0" y="7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44" name="Freeform 408"/>
            <p:cNvSpPr>
              <a:spLocks/>
            </p:cNvSpPr>
            <p:nvPr/>
          </p:nvSpPr>
          <p:spPr bwMode="auto">
            <a:xfrm>
              <a:off x="6685365" y="3925175"/>
              <a:ext cx="23525" cy="55851"/>
            </a:xfrm>
            <a:custGeom>
              <a:avLst/>
              <a:gdLst>
                <a:gd name="T0" fmla="*/ 1 w 31"/>
                <a:gd name="T1" fmla="*/ 34 h 65"/>
                <a:gd name="T2" fmla="*/ 1 w 31"/>
                <a:gd name="T3" fmla="*/ 33 h 65"/>
                <a:gd name="T4" fmla="*/ 0 w 31"/>
                <a:gd name="T5" fmla="*/ 28 h 65"/>
                <a:gd name="T6" fmla="*/ 1 w 31"/>
                <a:gd name="T7" fmla="*/ 25 h 65"/>
                <a:gd name="T8" fmla="*/ 1 w 31"/>
                <a:gd name="T9" fmla="*/ 26 h 65"/>
                <a:gd name="T10" fmla="*/ 1 w 31"/>
                <a:gd name="T11" fmla="*/ 26 h 65"/>
                <a:gd name="T12" fmla="*/ 3 w 31"/>
                <a:gd name="T13" fmla="*/ 26 h 65"/>
                <a:gd name="T14" fmla="*/ 3 w 31"/>
                <a:gd name="T15" fmla="*/ 23 h 65"/>
                <a:gd name="T16" fmla="*/ 3 w 31"/>
                <a:gd name="T17" fmla="*/ 20 h 65"/>
                <a:gd name="T18" fmla="*/ 4 w 31"/>
                <a:gd name="T19" fmla="*/ 23 h 65"/>
                <a:gd name="T20" fmla="*/ 4 w 31"/>
                <a:gd name="T21" fmla="*/ 20 h 65"/>
                <a:gd name="T22" fmla="*/ 4 w 31"/>
                <a:gd name="T23" fmla="*/ 17 h 65"/>
                <a:gd name="T24" fmla="*/ 7 w 31"/>
                <a:gd name="T25" fmla="*/ 14 h 65"/>
                <a:gd name="T26" fmla="*/ 6 w 31"/>
                <a:gd name="T27" fmla="*/ 9 h 65"/>
                <a:gd name="T28" fmla="*/ 7 w 31"/>
                <a:gd name="T29" fmla="*/ 6 h 65"/>
                <a:gd name="T30" fmla="*/ 11 w 31"/>
                <a:gd name="T31" fmla="*/ 3 h 65"/>
                <a:gd name="T32" fmla="*/ 12 w 31"/>
                <a:gd name="T33" fmla="*/ 1 h 65"/>
                <a:gd name="T34" fmla="*/ 15 w 31"/>
                <a:gd name="T35" fmla="*/ 0 h 65"/>
                <a:gd name="T36" fmla="*/ 19 w 31"/>
                <a:gd name="T37" fmla="*/ 1 h 65"/>
                <a:gd name="T38" fmla="*/ 20 w 31"/>
                <a:gd name="T39" fmla="*/ 4 h 65"/>
                <a:gd name="T40" fmla="*/ 23 w 31"/>
                <a:gd name="T41" fmla="*/ 7 h 65"/>
                <a:gd name="T42" fmla="*/ 25 w 31"/>
                <a:gd name="T43" fmla="*/ 7 h 65"/>
                <a:gd name="T44" fmla="*/ 28 w 31"/>
                <a:gd name="T45" fmla="*/ 9 h 65"/>
                <a:gd name="T46" fmla="*/ 28 w 31"/>
                <a:gd name="T47" fmla="*/ 9 h 65"/>
                <a:gd name="T48" fmla="*/ 28 w 31"/>
                <a:gd name="T49" fmla="*/ 11 h 65"/>
                <a:gd name="T50" fmla="*/ 28 w 31"/>
                <a:gd name="T51" fmla="*/ 14 h 65"/>
                <a:gd name="T52" fmla="*/ 28 w 31"/>
                <a:gd name="T53" fmla="*/ 17 h 65"/>
                <a:gd name="T54" fmla="*/ 28 w 31"/>
                <a:gd name="T55" fmla="*/ 19 h 65"/>
                <a:gd name="T56" fmla="*/ 28 w 31"/>
                <a:gd name="T57" fmla="*/ 20 h 65"/>
                <a:gd name="T58" fmla="*/ 27 w 31"/>
                <a:gd name="T59" fmla="*/ 25 h 65"/>
                <a:gd name="T60" fmla="*/ 27 w 31"/>
                <a:gd name="T61" fmla="*/ 28 h 65"/>
                <a:gd name="T62" fmla="*/ 28 w 31"/>
                <a:gd name="T63" fmla="*/ 31 h 65"/>
                <a:gd name="T64" fmla="*/ 28 w 31"/>
                <a:gd name="T65" fmla="*/ 34 h 65"/>
                <a:gd name="T66" fmla="*/ 31 w 31"/>
                <a:gd name="T67" fmla="*/ 38 h 65"/>
                <a:gd name="T68" fmla="*/ 31 w 31"/>
                <a:gd name="T69" fmla="*/ 44 h 65"/>
                <a:gd name="T70" fmla="*/ 31 w 31"/>
                <a:gd name="T71" fmla="*/ 47 h 65"/>
                <a:gd name="T72" fmla="*/ 28 w 31"/>
                <a:gd name="T73" fmla="*/ 53 h 65"/>
                <a:gd name="T74" fmla="*/ 27 w 31"/>
                <a:gd name="T75" fmla="*/ 61 h 65"/>
                <a:gd name="T76" fmla="*/ 23 w 31"/>
                <a:gd name="T77" fmla="*/ 61 h 65"/>
                <a:gd name="T78" fmla="*/ 19 w 31"/>
                <a:gd name="T79" fmla="*/ 61 h 65"/>
                <a:gd name="T80" fmla="*/ 17 w 31"/>
                <a:gd name="T81" fmla="*/ 65 h 65"/>
                <a:gd name="T82" fmla="*/ 15 w 31"/>
                <a:gd name="T83" fmla="*/ 65 h 65"/>
                <a:gd name="T84" fmla="*/ 12 w 31"/>
                <a:gd name="T85" fmla="*/ 65 h 65"/>
                <a:gd name="T86" fmla="*/ 9 w 31"/>
                <a:gd name="T87" fmla="*/ 61 h 65"/>
                <a:gd name="T88" fmla="*/ 6 w 31"/>
                <a:gd name="T89" fmla="*/ 58 h 65"/>
                <a:gd name="T90" fmla="*/ 6 w 31"/>
                <a:gd name="T91" fmla="*/ 57 h 65"/>
                <a:gd name="T92" fmla="*/ 6 w 31"/>
                <a:gd name="T93" fmla="*/ 57 h 65"/>
                <a:gd name="T94" fmla="*/ 6 w 31"/>
                <a:gd name="T95" fmla="*/ 57 h 65"/>
                <a:gd name="T96" fmla="*/ 6 w 31"/>
                <a:gd name="T97" fmla="*/ 53 h 65"/>
                <a:gd name="T98" fmla="*/ 6 w 31"/>
                <a:gd name="T99" fmla="*/ 50 h 65"/>
                <a:gd name="T100" fmla="*/ 3 w 31"/>
                <a:gd name="T101" fmla="*/ 47 h 65"/>
                <a:gd name="T102" fmla="*/ 4 w 31"/>
                <a:gd name="T103" fmla="*/ 46 h 65"/>
                <a:gd name="T104" fmla="*/ 1 w 31"/>
                <a:gd name="T105" fmla="*/ 42 h 65"/>
                <a:gd name="T106" fmla="*/ 1 w 31"/>
                <a:gd name="T107" fmla="*/ 38 h 65"/>
                <a:gd name="T108" fmla="*/ 1 w 31"/>
                <a:gd name="T109" fmla="*/ 3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" h="65">
                  <a:moveTo>
                    <a:pt x="1" y="34"/>
                  </a:moveTo>
                  <a:lnTo>
                    <a:pt x="1" y="33"/>
                  </a:lnTo>
                  <a:lnTo>
                    <a:pt x="0" y="28"/>
                  </a:lnTo>
                  <a:lnTo>
                    <a:pt x="1" y="25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3" y="26"/>
                  </a:lnTo>
                  <a:lnTo>
                    <a:pt x="3" y="23"/>
                  </a:lnTo>
                  <a:lnTo>
                    <a:pt x="3" y="20"/>
                  </a:lnTo>
                  <a:lnTo>
                    <a:pt x="4" y="23"/>
                  </a:lnTo>
                  <a:lnTo>
                    <a:pt x="4" y="20"/>
                  </a:lnTo>
                  <a:lnTo>
                    <a:pt x="4" y="17"/>
                  </a:lnTo>
                  <a:lnTo>
                    <a:pt x="7" y="14"/>
                  </a:lnTo>
                  <a:lnTo>
                    <a:pt x="6" y="9"/>
                  </a:lnTo>
                  <a:lnTo>
                    <a:pt x="7" y="6"/>
                  </a:lnTo>
                  <a:lnTo>
                    <a:pt x="11" y="3"/>
                  </a:lnTo>
                  <a:lnTo>
                    <a:pt x="12" y="1"/>
                  </a:lnTo>
                  <a:lnTo>
                    <a:pt x="15" y="0"/>
                  </a:lnTo>
                  <a:lnTo>
                    <a:pt x="19" y="1"/>
                  </a:lnTo>
                  <a:lnTo>
                    <a:pt x="20" y="4"/>
                  </a:lnTo>
                  <a:lnTo>
                    <a:pt x="23" y="7"/>
                  </a:lnTo>
                  <a:lnTo>
                    <a:pt x="25" y="7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11"/>
                  </a:lnTo>
                  <a:lnTo>
                    <a:pt x="28" y="14"/>
                  </a:lnTo>
                  <a:lnTo>
                    <a:pt x="28" y="17"/>
                  </a:lnTo>
                  <a:lnTo>
                    <a:pt x="28" y="19"/>
                  </a:lnTo>
                  <a:lnTo>
                    <a:pt x="28" y="20"/>
                  </a:lnTo>
                  <a:lnTo>
                    <a:pt x="27" y="25"/>
                  </a:lnTo>
                  <a:lnTo>
                    <a:pt x="27" y="28"/>
                  </a:lnTo>
                  <a:lnTo>
                    <a:pt x="28" y="31"/>
                  </a:lnTo>
                  <a:lnTo>
                    <a:pt x="28" y="34"/>
                  </a:lnTo>
                  <a:lnTo>
                    <a:pt x="31" y="38"/>
                  </a:lnTo>
                  <a:lnTo>
                    <a:pt x="31" y="44"/>
                  </a:lnTo>
                  <a:lnTo>
                    <a:pt x="31" y="47"/>
                  </a:lnTo>
                  <a:lnTo>
                    <a:pt x="28" y="53"/>
                  </a:lnTo>
                  <a:lnTo>
                    <a:pt x="27" y="61"/>
                  </a:lnTo>
                  <a:lnTo>
                    <a:pt x="23" y="61"/>
                  </a:lnTo>
                  <a:lnTo>
                    <a:pt x="19" y="61"/>
                  </a:lnTo>
                  <a:lnTo>
                    <a:pt x="17" y="65"/>
                  </a:lnTo>
                  <a:lnTo>
                    <a:pt x="15" y="65"/>
                  </a:lnTo>
                  <a:lnTo>
                    <a:pt x="12" y="65"/>
                  </a:lnTo>
                  <a:lnTo>
                    <a:pt x="9" y="61"/>
                  </a:lnTo>
                  <a:lnTo>
                    <a:pt x="6" y="58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6" y="53"/>
                  </a:lnTo>
                  <a:lnTo>
                    <a:pt x="6" y="50"/>
                  </a:lnTo>
                  <a:lnTo>
                    <a:pt x="3" y="47"/>
                  </a:lnTo>
                  <a:lnTo>
                    <a:pt x="4" y="46"/>
                  </a:lnTo>
                  <a:lnTo>
                    <a:pt x="1" y="42"/>
                  </a:lnTo>
                  <a:lnTo>
                    <a:pt x="1" y="38"/>
                  </a:lnTo>
                  <a:lnTo>
                    <a:pt x="1" y="34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45" name="Freeform 409"/>
            <p:cNvSpPr>
              <a:spLocks/>
            </p:cNvSpPr>
            <p:nvPr/>
          </p:nvSpPr>
          <p:spPr bwMode="auto">
            <a:xfrm>
              <a:off x="6675072" y="3923484"/>
              <a:ext cx="5881" cy="13540"/>
            </a:xfrm>
            <a:custGeom>
              <a:avLst/>
              <a:gdLst>
                <a:gd name="T0" fmla="*/ 0 w 6"/>
                <a:gd name="T1" fmla="*/ 2 h 18"/>
                <a:gd name="T2" fmla="*/ 0 w 6"/>
                <a:gd name="T3" fmla="*/ 4 h 18"/>
                <a:gd name="T4" fmla="*/ 1 w 6"/>
                <a:gd name="T5" fmla="*/ 8 h 18"/>
                <a:gd name="T6" fmla="*/ 1 w 6"/>
                <a:gd name="T7" fmla="*/ 11 h 18"/>
                <a:gd name="T8" fmla="*/ 5 w 6"/>
                <a:gd name="T9" fmla="*/ 15 h 18"/>
                <a:gd name="T10" fmla="*/ 6 w 6"/>
                <a:gd name="T11" fmla="*/ 18 h 18"/>
                <a:gd name="T12" fmla="*/ 6 w 6"/>
                <a:gd name="T13" fmla="*/ 15 h 18"/>
                <a:gd name="T14" fmla="*/ 6 w 6"/>
                <a:gd name="T15" fmla="*/ 8 h 18"/>
                <a:gd name="T16" fmla="*/ 6 w 6"/>
                <a:gd name="T17" fmla="*/ 4 h 18"/>
                <a:gd name="T18" fmla="*/ 6 w 6"/>
                <a:gd name="T19" fmla="*/ 4 h 18"/>
                <a:gd name="T20" fmla="*/ 3 w 6"/>
                <a:gd name="T21" fmla="*/ 0 h 18"/>
                <a:gd name="T22" fmla="*/ 0 w 6"/>
                <a:gd name="T23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" h="18">
                  <a:moveTo>
                    <a:pt x="0" y="2"/>
                  </a:moveTo>
                  <a:lnTo>
                    <a:pt x="0" y="4"/>
                  </a:lnTo>
                  <a:lnTo>
                    <a:pt x="1" y="8"/>
                  </a:lnTo>
                  <a:lnTo>
                    <a:pt x="1" y="11"/>
                  </a:lnTo>
                  <a:lnTo>
                    <a:pt x="5" y="15"/>
                  </a:lnTo>
                  <a:lnTo>
                    <a:pt x="6" y="18"/>
                  </a:lnTo>
                  <a:lnTo>
                    <a:pt x="6" y="15"/>
                  </a:lnTo>
                  <a:lnTo>
                    <a:pt x="6" y="8"/>
                  </a:lnTo>
                  <a:lnTo>
                    <a:pt x="6" y="4"/>
                  </a:lnTo>
                  <a:lnTo>
                    <a:pt x="6" y="4"/>
                  </a:lnTo>
                  <a:lnTo>
                    <a:pt x="3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46" name="Freeform 410"/>
            <p:cNvSpPr>
              <a:spLocks/>
            </p:cNvSpPr>
            <p:nvPr/>
          </p:nvSpPr>
          <p:spPr bwMode="auto">
            <a:xfrm>
              <a:off x="6567736" y="3788089"/>
              <a:ext cx="49992" cy="54158"/>
            </a:xfrm>
            <a:custGeom>
              <a:avLst/>
              <a:gdLst>
                <a:gd name="T0" fmla="*/ 0 w 67"/>
                <a:gd name="T1" fmla="*/ 41 h 63"/>
                <a:gd name="T2" fmla="*/ 0 w 67"/>
                <a:gd name="T3" fmla="*/ 39 h 63"/>
                <a:gd name="T4" fmla="*/ 3 w 67"/>
                <a:gd name="T5" fmla="*/ 38 h 63"/>
                <a:gd name="T6" fmla="*/ 3 w 67"/>
                <a:gd name="T7" fmla="*/ 36 h 63"/>
                <a:gd name="T8" fmla="*/ 3 w 67"/>
                <a:gd name="T9" fmla="*/ 36 h 63"/>
                <a:gd name="T10" fmla="*/ 8 w 67"/>
                <a:gd name="T11" fmla="*/ 27 h 63"/>
                <a:gd name="T12" fmla="*/ 13 w 67"/>
                <a:gd name="T13" fmla="*/ 19 h 63"/>
                <a:gd name="T14" fmla="*/ 13 w 67"/>
                <a:gd name="T15" fmla="*/ 14 h 63"/>
                <a:gd name="T16" fmla="*/ 14 w 67"/>
                <a:gd name="T17" fmla="*/ 11 h 63"/>
                <a:gd name="T18" fmla="*/ 16 w 67"/>
                <a:gd name="T19" fmla="*/ 8 h 63"/>
                <a:gd name="T20" fmla="*/ 17 w 67"/>
                <a:gd name="T21" fmla="*/ 5 h 63"/>
                <a:gd name="T22" fmla="*/ 17 w 67"/>
                <a:gd name="T23" fmla="*/ 3 h 63"/>
                <a:gd name="T24" fmla="*/ 22 w 67"/>
                <a:gd name="T25" fmla="*/ 1 h 63"/>
                <a:gd name="T26" fmla="*/ 25 w 67"/>
                <a:gd name="T27" fmla="*/ 0 h 63"/>
                <a:gd name="T28" fmla="*/ 36 w 67"/>
                <a:gd name="T29" fmla="*/ 0 h 63"/>
                <a:gd name="T30" fmla="*/ 36 w 67"/>
                <a:gd name="T31" fmla="*/ 1 h 63"/>
                <a:gd name="T32" fmla="*/ 41 w 67"/>
                <a:gd name="T33" fmla="*/ 3 h 63"/>
                <a:gd name="T34" fmla="*/ 44 w 67"/>
                <a:gd name="T35" fmla="*/ 3 h 63"/>
                <a:gd name="T36" fmla="*/ 44 w 67"/>
                <a:gd name="T37" fmla="*/ 5 h 63"/>
                <a:gd name="T38" fmla="*/ 44 w 67"/>
                <a:gd name="T39" fmla="*/ 5 h 63"/>
                <a:gd name="T40" fmla="*/ 46 w 67"/>
                <a:gd name="T41" fmla="*/ 9 h 63"/>
                <a:gd name="T42" fmla="*/ 48 w 67"/>
                <a:gd name="T43" fmla="*/ 12 h 63"/>
                <a:gd name="T44" fmla="*/ 51 w 67"/>
                <a:gd name="T45" fmla="*/ 16 h 63"/>
                <a:gd name="T46" fmla="*/ 52 w 67"/>
                <a:gd name="T47" fmla="*/ 19 h 63"/>
                <a:gd name="T48" fmla="*/ 51 w 67"/>
                <a:gd name="T49" fmla="*/ 22 h 63"/>
                <a:gd name="T50" fmla="*/ 48 w 67"/>
                <a:gd name="T51" fmla="*/ 19 h 63"/>
                <a:gd name="T52" fmla="*/ 44 w 67"/>
                <a:gd name="T53" fmla="*/ 22 h 63"/>
                <a:gd name="T54" fmla="*/ 41 w 67"/>
                <a:gd name="T55" fmla="*/ 27 h 63"/>
                <a:gd name="T56" fmla="*/ 38 w 67"/>
                <a:gd name="T57" fmla="*/ 30 h 63"/>
                <a:gd name="T58" fmla="*/ 41 w 67"/>
                <a:gd name="T59" fmla="*/ 30 h 63"/>
                <a:gd name="T60" fmla="*/ 44 w 67"/>
                <a:gd name="T61" fmla="*/ 31 h 63"/>
                <a:gd name="T62" fmla="*/ 48 w 67"/>
                <a:gd name="T63" fmla="*/ 30 h 63"/>
                <a:gd name="T64" fmla="*/ 52 w 67"/>
                <a:gd name="T65" fmla="*/ 33 h 63"/>
                <a:gd name="T66" fmla="*/ 52 w 67"/>
                <a:gd name="T67" fmla="*/ 36 h 63"/>
                <a:gd name="T68" fmla="*/ 54 w 67"/>
                <a:gd name="T69" fmla="*/ 39 h 63"/>
                <a:gd name="T70" fmla="*/ 55 w 67"/>
                <a:gd name="T71" fmla="*/ 41 h 63"/>
                <a:gd name="T72" fmla="*/ 55 w 67"/>
                <a:gd name="T73" fmla="*/ 43 h 63"/>
                <a:gd name="T74" fmla="*/ 55 w 67"/>
                <a:gd name="T75" fmla="*/ 44 h 63"/>
                <a:gd name="T76" fmla="*/ 57 w 67"/>
                <a:gd name="T77" fmla="*/ 47 h 63"/>
                <a:gd name="T78" fmla="*/ 60 w 67"/>
                <a:gd name="T79" fmla="*/ 51 h 63"/>
                <a:gd name="T80" fmla="*/ 62 w 67"/>
                <a:gd name="T81" fmla="*/ 52 h 63"/>
                <a:gd name="T82" fmla="*/ 65 w 67"/>
                <a:gd name="T83" fmla="*/ 57 h 63"/>
                <a:gd name="T84" fmla="*/ 65 w 67"/>
                <a:gd name="T85" fmla="*/ 60 h 63"/>
                <a:gd name="T86" fmla="*/ 67 w 67"/>
                <a:gd name="T87" fmla="*/ 63 h 63"/>
                <a:gd name="T88" fmla="*/ 57 w 67"/>
                <a:gd name="T89" fmla="*/ 63 h 63"/>
                <a:gd name="T90" fmla="*/ 48 w 67"/>
                <a:gd name="T91" fmla="*/ 63 h 63"/>
                <a:gd name="T92" fmla="*/ 41 w 67"/>
                <a:gd name="T93" fmla="*/ 63 h 63"/>
                <a:gd name="T94" fmla="*/ 38 w 67"/>
                <a:gd name="T95" fmla="*/ 60 h 63"/>
                <a:gd name="T96" fmla="*/ 36 w 67"/>
                <a:gd name="T97" fmla="*/ 57 h 63"/>
                <a:gd name="T98" fmla="*/ 36 w 67"/>
                <a:gd name="T99" fmla="*/ 54 h 63"/>
                <a:gd name="T100" fmla="*/ 33 w 67"/>
                <a:gd name="T101" fmla="*/ 51 h 63"/>
                <a:gd name="T102" fmla="*/ 33 w 67"/>
                <a:gd name="T103" fmla="*/ 49 h 63"/>
                <a:gd name="T104" fmla="*/ 32 w 67"/>
                <a:gd name="T105" fmla="*/ 46 h 63"/>
                <a:gd name="T106" fmla="*/ 32 w 67"/>
                <a:gd name="T107" fmla="*/ 46 h 63"/>
                <a:gd name="T108" fmla="*/ 16 w 67"/>
                <a:gd name="T109" fmla="*/ 43 h 63"/>
                <a:gd name="T110" fmla="*/ 0 w 67"/>
                <a:gd name="T111" fmla="*/ 4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67" h="63">
                  <a:moveTo>
                    <a:pt x="0" y="41"/>
                  </a:moveTo>
                  <a:lnTo>
                    <a:pt x="0" y="39"/>
                  </a:lnTo>
                  <a:lnTo>
                    <a:pt x="3" y="38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8" y="27"/>
                  </a:lnTo>
                  <a:lnTo>
                    <a:pt x="13" y="19"/>
                  </a:lnTo>
                  <a:lnTo>
                    <a:pt x="13" y="14"/>
                  </a:lnTo>
                  <a:lnTo>
                    <a:pt x="14" y="11"/>
                  </a:lnTo>
                  <a:lnTo>
                    <a:pt x="16" y="8"/>
                  </a:lnTo>
                  <a:lnTo>
                    <a:pt x="17" y="5"/>
                  </a:lnTo>
                  <a:lnTo>
                    <a:pt x="17" y="3"/>
                  </a:lnTo>
                  <a:lnTo>
                    <a:pt x="22" y="1"/>
                  </a:lnTo>
                  <a:lnTo>
                    <a:pt x="25" y="0"/>
                  </a:lnTo>
                  <a:lnTo>
                    <a:pt x="36" y="0"/>
                  </a:lnTo>
                  <a:lnTo>
                    <a:pt x="36" y="1"/>
                  </a:lnTo>
                  <a:lnTo>
                    <a:pt x="41" y="3"/>
                  </a:lnTo>
                  <a:lnTo>
                    <a:pt x="44" y="3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6" y="9"/>
                  </a:lnTo>
                  <a:lnTo>
                    <a:pt x="48" y="12"/>
                  </a:lnTo>
                  <a:lnTo>
                    <a:pt x="51" y="16"/>
                  </a:lnTo>
                  <a:lnTo>
                    <a:pt x="52" y="19"/>
                  </a:lnTo>
                  <a:lnTo>
                    <a:pt x="51" y="22"/>
                  </a:lnTo>
                  <a:lnTo>
                    <a:pt x="48" y="19"/>
                  </a:lnTo>
                  <a:lnTo>
                    <a:pt x="44" y="22"/>
                  </a:lnTo>
                  <a:lnTo>
                    <a:pt x="41" y="27"/>
                  </a:lnTo>
                  <a:lnTo>
                    <a:pt x="38" y="30"/>
                  </a:lnTo>
                  <a:lnTo>
                    <a:pt x="41" y="30"/>
                  </a:lnTo>
                  <a:lnTo>
                    <a:pt x="44" y="31"/>
                  </a:lnTo>
                  <a:lnTo>
                    <a:pt x="48" y="30"/>
                  </a:lnTo>
                  <a:lnTo>
                    <a:pt x="52" y="33"/>
                  </a:lnTo>
                  <a:lnTo>
                    <a:pt x="52" y="36"/>
                  </a:lnTo>
                  <a:lnTo>
                    <a:pt x="54" y="39"/>
                  </a:lnTo>
                  <a:lnTo>
                    <a:pt x="55" y="41"/>
                  </a:lnTo>
                  <a:lnTo>
                    <a:pt x="55" y="43"/>
                  </a:lnTo>
                  <a:lnTo>
                    <a:pt x="55" y="44"/>
                  </a:lnTo>
                  <a:lnTo>
                    <a:pt x="57" y="47"/>
                  </a:lnTo>
                  <a:lnTo>
                    <a:pt x="60" y="51"/>
                  </a:lnTo>
                  <a:lnTo>
                    <a:pt x="62" y="52"/>
                  </a:lnTo>
                  <a:lnTo>
                    <a:pt x="65" y="57"/>
                  </a:lnTo>
                  <a:lnTo>
                    <a:pt x="65" y="60"/>
                  </a:lnTo>
                  <a:lnTo>
                    <a:pt x="67" y="63"/>
                  </a:lnTo>
                  <a:lnTo>
                    <a:pt x="57" y="63"/>
                  </a:lnTo>
                  <a:lnTo>
                    <a:pt x="48" y="63"/>
                  </a:lnTo>
                  <a:lnTo>
                    <a:pt x="41" y="63"/>
                  </a:lnTo>
                  <a:lnTo>
                    <a:pt x="38" y="60"/>
                  </a:lnTo>
                  <a:lnTo>
                    <a:pt x="36" y="57"/>
                  </a:lnTo>
                  <a:lnTo>
                    <a:pt x="36" y="54"/>
                  </a:lnTo>
                  <a:lnTo>
                    <a:pt x="33" y="51"/>
                  </a:lnTo>
                  <a:lnTo>
                    <a:pt x="33" y="49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16" y="43"/>
                  </a:lnTo>
                  <a:lnTo>
                    <a:pt x="0" y="4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47" name="Freeform 411"/>
            <p:cNvSpPr>
              <a:spLocks/>
            </p:cNvSpPr>
            <p:nvPr/>
          </p:nvSpPr>
          <p:spPr bwMode="auto">
            <a:xfrm>
              <a:off x="6270722" y="3676389"/>
              <a:ext cx="104395" cy="143856"/>
            </a:xfrm>
            <a:custGeom>
              <a:avLst/>
              <a:gdLst>
                <a:gd name="T0" fmla="*/ 1 w 141"/>
                <a:gd name="T1" fmla="*/ 157 h 171"/>
                <a:gd name="T2" fmla="*/ 0 w 141"/>
                <a:gd name="T3" fmla="*/ 155 h 171"/>
                <a:gd name="T4" fmla="*/ 1 w 141"/>
                <a:gd name="T5" fmla="*/ 149 h 171"/>
                <a:gd name="T6" fmla="*/ 3 w 141"/>
                <a:gd name="T7" fmla="*/ 138 h 171"/>
                <a:gd name="T8" fmla="*/ 4 w 141"/>
                <a:gd name="T9" fmla="*/ 128 h 171"/>
                <a:gd name="T10" fmla="*/ 3 w 141"/>
                <a:gd name="T11" fmla="*/ 119 h 171"/>
                <a:gd name="T12" fmla="*/ 6 w 141"/>
                <a:gd name="T13" fmla="*/ 109 h 171"/>
                <a:gd name="T14" fmla="*/ 11 w 141"/>
                <a:gd name="T15" fmla="*/ 98 h 171"/>
                <a:gd name="T16" fmla="*/ 11 w 141"/>
                <a:gd name="T17" fmla="*/ 95 h 171"/>
                <a:gd name="T18" fmla="*/ 11 w 141"/>
                <a:gd name="T19" fmla="*/ 87 h 171"/>
                <a:gd name="T20" fmla="*/ 11 w 141"/>
                <a:gd name="T21" fmla="*/ 80 h 171"/>
                <a:gd name="T22" fmla="*/ 14 w 141"/>
                <a:gd name="T23" fmla="*/ 65 h 171"/>
                <a:gd name="T24" fmla="*/ 12 w 141"/>
                <a:gd name="T25" fmla="*/ 58 h 171"/>
                <a:gd name="T26" fmla="*/ 12 w 141"/>
                <a:gd name="T27" fmla="*/ 50 h 171"/>
                <a:gd name="T28" fmla="*/ 12 w 141"/>
                <a:gd name="T29" fmla="*/ 42 h 171"/>
                <a:gd name="T30" fmla="*/ 12 w 141"/>
                <a:gd name="T31" fmla="*/ 31 h 171"/>
                <a:gd name="T32" fmla="*/ 12 w 141"/>
                <a:gd name="T33" fmla="*/ 28 h 171"/>
                <a:gd name="T34" fmla="*/ 14 w 141"/>
                <a:gd name="T35" fmla="*/ 27 h 171"/>
                <a:gd name="T36" fmla="*/ 19 w 141"/>
                <a:gd name="T37" fmla="*/ 25 h 171"/>
                <a:gd name="T38" fmla="*/ 22 w 141"/>
                <a:gd name="T39" fmla="*/ 25 h 171"/>
                <a:gd name="T40" fmla="*/ 33 w 141"/>
                <a:gd name="T41" fmla="*/ 34 h 171"/>
                <a:gd name="T42" fmla="*/ 42 w 141"/>
                <a:gd name="T43" fmla="*/ 39 h 171"/>
                <a:gd name="T44" fmla="*/ 49 w 141"/>
                <a:gd name="T45" fmla="*/ 41 h 171"/>
                <a:gd name="T46" fmla="*/ 58 w 141"/>
                <a:gd name="T47" fmla="*/ 41 h 171"/>
                <a:gd name="T48" fmla="*/ 104 w 141"/>
                <a:gd name="T49" fmla="*/ 9 h 171"/>
                <a:gd name="T50" fmla="*/ 133 w 141"/>
                <a:gd name="T51" fmla="*/ 34 h 171"/>
                <a:gd name="T52" fmla="*/ 130 w 141"/>
                <a:gd name="T53" fmla="*/ 36 h 171"/>
                <a:gd name="T54" fmla="*/ 131 w 141"/>
                <a:gd name="T55" fmla="*/ 39 h 171"/>
                <a:gd name="T56" fmla="*/ 139 w 141"/>
                <a:gd name="T57" fmla="*/ 41 h 171"/>
                <a:gd name="T58" fmla="*/ 141 w 141"/>
                <a:gd name="T59" fmla="*/ 46 h 171"/>
                <a:gd name="T60" fmla="*/ 134 w 141"/>
                <a:gd name="T61" fmla="*/ 52 h 171"/>
                <a:gd name="T62" fmla="*/ 126 w 141"/>
                <a:gd name="T63" fmla="*/ 57 h 171"/>
                <a:gd name="T64" fmla="*/ 106 w 141"/>
                <a:gd name="T65" fmla="*/ 63 h 171"/>
                <a:gd name="T66" fmla="*/ 101 w 141"/>
                <a:gd name="T67" fmla="*/ 65 h 171"/>
                <a:gd name="T68" fmla="*/ 96 w 141"/>
                <a:gd name="T69" fmla="*/ 66 h 171"/>
                <a:gd name="T70" fmla="*/ 72 w 141"/>
                <a:gd name="T71" fmla="*/ 73 h 171"/>
                <a:gd name="T72" fmla="*/ 69 w 141"/>
                <a:gd name="T73" fmla="*/ 74 h 171"/>
                <a:gd name="T74" fmla="*/ 66 w 141"/>
                <a:gd name="T75" fmla="*/ 77 h 171"/>
                <a:gd name="T76" fmla="*/ 76 w 141"/>
                <a:gd name="T77" fmla="*/ 87 h 171"/>
                <a:gd name="T78" fmla="*/ 82 w 141"/>
                <a:gd name="T79" fmla="*/ 95 h 171"/>
                <a:gd name="T80" fmla="*/ 88 w 141"/>
                <a:gd name="T81" fmla="*/ 103 h 171"/>
                <a:gd name="T82" fmla="*/ 98 w 141"/>
                <a:gd name="T83" fmla="*/ 112 h 171"/>
                <a:gd name="T84" fmla="*/ 98 w 141"/>
                <a:gd name="T85" fmla="*/ 119 h 171"/>
                <a:gd name="T86" fmla="*/ 90 w 141"/>
                <a:gd name="T87" fmla="*/ 126 h 171"/>
                <a:gd name="T88" fmla="*/ 85 w 141"/>
                <a:gd name="T89" fmla="*/ 138 h 171"/>
                <a:gd name="T90" fmla="*/ 71 w 141"/>
                <a:gd name="T91" fmla="*/ 141 h 171"/>
                <a:gd name="T92" fmla="*/ 58 w 141"/>
                <a:gd name="T93" fmla="*/ 145 h 171"/>
                <a:gd name="T94" fmla="*/ 52 w 141"/>
                <a:gd name="T95" fmla="*/ 158 h 171"/>
                <a:gd name="T96" fmla="*/ 42 w 141"/>
                <a:gd name="T97" fmla="*/ 168 h 171"/>
                <a:gd name="T98" fmla="*/ 36 w 141"/>
                <a:gd name="T99" fmla="*/ 169 h 171"/>
                <a:gd name="T100" fmla="*/ 20 w 141"/>
                <a:gd name="T101" fmla="*/ 166 h 171"/>
                <a:gd name="T102" fmla="*/ 4 w 141"/>
                <a:gd name="T103" fmla="*/ 164 h 171"/>
                <a:gd name="T104" fmla="*/ 0 w 141"/>
                <a:gd name="T105" fmla="*/ 163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1" h="171">
                  <a:moveTo>
                    <a:pt x="0" y="163"/>
                  </a:moveTo>
                  <a:lnTo>
                    <a:pt x="0" y="160"/>
                  </a:lnTo>
                  <a:lnTo>
                    <a:pt x="1" y="157"/>
                  </a:lnTo>
                  <a:lnTo>
                    <a:pt x="1" y="157"/>
                  </a:lnTo>
                  <a:lnTo>
                    <a:pt x="0" y="155"/>
                  </a:lnTo>
                  <a:lnTo>
                    <a:pt x="0" y="155"/>
                  </a:lnTo>
                  <a:lnTo>
                    <a:pt x="0" y="152"/>
                  </a:lnTo>
                  <a:lnTo>
                    <a:pt x="1" y="152"/>
                  </a:lnTo>
                  <a:lnTo>
                    <a:pt x="1" y="149"/>
                  </a:lnTo>
                  <a:lnTo>
                    <a:pt x="1" y="145"/>
                  </a:lnTo>
                  <a:lnTo>
                    <a:pt x="3" y="141"/>
                  </a:lnTo>
                  <a:lnTo>
                    <a:pt x="3" y="138"/>
                  </a:lnTo>
                  <a:lnTo>
                    <a:pt x="3" y="134"/>
                  </a:lnTo>
                  <a:lnTo>
                    <a:pt x="4" y="131"/>
                  </a:lnTo>
                  <a:lnTo>
                    <a:pt x="4" y="128"/>
                  </a:lnTo>
                  <a:lnTo>
                    <a:pt x="4" y="123"/>
                  </a:lnTo>
                  <a:lnTo>
                    <a:pt x="4" y="120"/>
                  </a:lnTo>
                  <a:lnTo>
                    <a:pt x="3" y="119"/>
                  </a:lnTo>
                  <a:lnTo>
                    <a:pt x="4" y="115"/>
                  </a:lnTo>
                  <a:lnTo>
                    <a:pt x="4" y="112"/>
                  </a:lnTo>
                  <a:lnTo>
                    <a:pt x="6" y="109"/>
                  </a:lnTo>
                  <a:lnTo>
                    <a:pt x="7" y="106"/>
                  </a:lnTo>
                  <a:lnTo>
                    <a:pt x="9" y="99"/>
                  </a:lnTo>
                  <a:lnTo>
                    <a:pt x="11" y="98"/>
                  </a:lnTo>
                  <a:lnTo>
                    <a:pt x="11" y="96"/>
                  </a:lnTo>
                  <a:lnTo>
                    <a:pt x="11" y="96"/>
                  </a:lnTo>
                  <a:lnTo>
                    <a:pt x="11" y="95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1" y="87"/>
                  </a:lnTo>
                  <a:lnTo>
                    <a:pt x="9" y="87"/>
                  </a:lnTo>
                  <a:lnTo>
                    <a:pt x="9" y="87"/>
                  </a:lnTo>
                  <a:lnTo>
                    <a:pt x="11" y="80"/>
                  </a:lnTo>
                  <a:lnTo>
                    <a:pt x="12" y="73"/>
                  </a:lnTo>
                  <a:lnTo>
                    <a:pt x="12" y="68"/>
                  </a:lnTo>
                  <a:lnTo>
                    <a:pt x="14" y="65"/>
                  </a:lnTo>
                  <a:lnTo>
                    <a:pt x="12" y="63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2" y="53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47"/>
                  </a:lnTo>
                  <a:lnTo>
                    <a:pt x="12" y="46"/>
                  </a:lnTo>
                  <a:lnTo>
                    <a:pt x="12" y="42"/>
                  </a:lnTo>
                  <a:lnTo>
                    <a:pt x="11" y="39"/>
                  </a:lnTo>
                  <a:lnTo>
                    <a:pt x="12" y="38"/>
                  </a:lnTo>
                  <a:lnTo>
                    <a:pt x="12" y="31"/>
                  </a:lnTo>
                  <a:lnTo>
                    <a:pt x="11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9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8" y="30"/>
                  </a:lnTo>
                  <a:lnTo>
                    <a:pt x="31" y="34"/>
                  </a:lnTo>
                  <a:lnTo>
                    <a:pt x="33" y="34"/>
                  </a:lnTo>
                  <a:lnTo>
                    <a:pt x="34" y="34"/>
                  </a:lnTo>
                  <a:lnTo>
                    <a:pt x="41" y="39"/>
                  </a:lnTo>
                  <a:lnTo>
                    <a:pt x="42" y="39"/>
                  </a:lnTo>
                  <a:lnTo>
                    <a:pt x="44" y="41"/>
                  </a:lnTo>
                  <a:lnTo>
                    <a:pt x="44" y="41"/>
                  </a:lnTo>
                  <a:lnTo>
                    <a:pt x="49" y="41"/>
                  </a:lnTo>
                  <a:lnTo>
                    <a:pt x="52" y="41"/>
                  </a:lnTo>
                  <a:lnTo>
                    <a:pt x="55" y="42"/>
                  </a:lnTo>
                  <a:lnTo>
                    <a:pt x="58" y="41"/>
                  </a:lnTo>
                  <a:lnTo>
                    <a:pt x="72" y="30"/>
                  </a:lnTo>
                  <a:lnTo>
                    <a:pt x="88" y="19"/>
                  </a:lnTo>
                  <a:lnTo>
                    <a:pt x="104" y="9"/>
                  </a:lnTo>
                  <a:lnTo>
                    <a:pt x="120" y="0"/>
                  </a:lnTo>
                  <a:lnTo>
                    <a:pt x="126" y="17"/>
                  </a:lnTo>
                  <a:lnTo>
                    <a:pt x="133" y="34"/>
                  </a:lnTo>
                  <a:lnTo>
                    <a:pt x="131" y="34"/>
                  </a:lnTo>
                  <a:lnTo>
                    <a:pt x="130" y="36"/>
                  </a:lnTo>
                  <a:lnTo>
                    <a:pt x="130" y="36"/>
                  </a:lnTo>
                  <a:lnTo>
                    <a:pt x="130" y="36"/>
                  </a:lnTo>
                  <a:lnTo>
                    <a:pt x="130" y="38"/>
                  </a:lnTo>
                  <a:lnTo>
                    <a:pt x="131" y="39"/>
                  </a:lnTo>
                  <a:lnTo>
                    <a:pt x="133" y="42"/>
                  </a:lnTo>
                  <a:lnTo>
                    <a:pt x="138" y="41"/>
                  </a:lnTo>
                  <a:lnTo>
                    <a:pt x="139" y="41"/>
                  </a:lnTo>
                  <a:lnTo>
                    <a:pt x="139" y="41"/>
                  </a:lnTo>
                  <a:lnTo>
                    <a:pt x="141" y="46"/>
                  </a:lnTo>
                  <a:lnTo>
                    <a:pt x="141" y="46"/>
                  </a:lnTo>
                  <a:lnTo>
                    <a:pt x="141" y="46"/>
                  </a:lnTo>
                  <a:lnTo>
                    <a:pt x="138" y="50"/>
                  </a:lnTo>
                  <a:lnTo>
                    <a:pt x="134" y="52"/>
                  </a:lnTo>
                  <a:lnTo>
                    <a:pt x="131" y="55"/>
                  </a:lnTo>
                  <a:lnTo>
                    <a:pt x="128" y="57"/>
                  </a:lnTo>
                  <a:lnTo>
                    <a:pt x="126" y="57"/>
                  </a:lnTo>
                  <a:lnTo>
                    <a:pt x="123" y="58"/>
                  </a:lnTo>
                  <a:lnTo>
                    <a:pt x="114" y="60"/>
                  </a:lnTo>
                  <a:lnTo>
                    <a:pt x="106" y="63"/>
                  </a:lnTo>
                  <a:lnTo>
                    <a:pt x="106" y="63"/>
                  </a:lnTo>
                  <a:lnTo>
                    <a:pt x="104" y="63"/>
                  </a:lnTo>
                  <a:lnTo>
                    <a:pt x="101" y="65"/>
                  </a:lnTo>
                  <a:lnTo>
                    <a:pt x="98" y="66"/>
                  </a:lnTo>
                  <a:lnTo>
                    <a:pt x="96" y="66"/>
                  </a:lnTo>
                  <a:lnTo>
                    <a:pt x="96" y="66"/>
                  </a:lnTo>
                  <a:lnTo>
                    <a:pt x="93" y="66"/>
                  </a:lnTo>
                  <a:lnTo>
                    <a:pt x="88" y="68"/>
                  </a:lnTo>
                  <a:lnTo>
                    <a:pt x="72" y="73"/>
                  </a:lnTo>
                  <a:lnTo>
                    <a:pt x="71" y="73"/>
                  </a:lnTo>
                  <a:lnTo>
                    <a:pt x="69" y="74"/>
                  </a:lnTo>
                  <a:lnTo>
                    <a:pt x="69" y="74"/>
                  </a:lnTo>
                  <a:lnTo>
                    <a:pt x="68" y="74"/>
                  </a:lnTo>
                  <a:lnTo>
                    <a:pt x="65" y="76"/>
                  </a:lnTo>
                  <a:lnTo>
                    <a:pt x="66" y="77"/>
                  </a:lnTo>
                  <a:lnTo>
                    <a:pt x="69" y="80"/>
                  </a:lnTo>
                  <a:lnTo>
                    <a:pt x="72" y="84"/>
                  </a:lnTo>
                  <a:lnTo>
                    <a:pt x="76" y="87"/>
                  </a:lnTo>
                  <a:lnTo>
                    <a:pt x="76" y="88"/>
                  </a:lnTo>
                  <a:lnTo>
                    <a:pt x="79" y="92"/>
                  </a:lnTo>
                  <a:lnTo>
                    <a:pt x="82" y="95"/>
                  </a:lnTo>
                  <a:lnTo>
                    <a:pt x="85" y="98"/>
                  </a:lnTo>
                  <a:lnTo>
                    <a:pt x="85" y="99"/>
                  </a:lnTo>
                  <a:lnTo>
                    <a:pt x="88" y="103"/>
                  </a:lnTo>
                  <a:lnTo>
                    <a:pt x="88" y="103"/>
                  </a:lnTo>
                  <a:lnTo>
                    <a:pt x="95" y="109"/>
                  </a:lnTo>
                  <a:lnTo>
                    <a:pt x="98" y="112"/>
                  </a:lnTo>
                  <a:lnTo>
                    <a:pt x="99" y="114"/>
                  </a:lnTo>
                  <a:lnTo>
                    <a:pt x="101" y="117"/>
                  </a:lnTo>
                  <a:lnTo>
                    <a:pt x="98" y="119"/>
                  </a:lnTo>
                  <a:lnTo>
                    <a:pt x="95" y="122"/>
                  </a:lnTo>
                  <a:lnTo>
                    <a:pt x="92" y="123"/>
                  </a:lnTo>
                  <a:lnTo>
                    <a:pt x="90" y="126"/>
                  </a:lnTo>
                  <a:lnTo>
                    <a:pt x="88" y="130"/>
                  </a:lnTo>
                  <a:lnTo>
                    <a:pt x="87" y="133"/>
                  </a:lnTo>
                  <a:lnTo>
                    <a:pt x="85" y="138"/>
                  </a:lnTo>
                  <a:lnTo>
                    <a:pt x="84" y="138"/>
                  </a:lnTo>
                  <a:lnTo>
                    <a:pt x="80" y="138"/>
                  </a:lnTo>
                  <a:lnTo>
                    <a:pt x="71" y="141"/>
                  </a:lnTo>
                  <a:lnTo>
                    <a:pt x="65" y="142"/>
                  </a:lnTo>
                  <a:lnTo>
                    <a:pt x="61" y="144"/>
                  </a:lnTo>
                  <a:lnTo>
                    <a:pt x="58" y="145"/>
                  </a:lnTo>
                  <a:lnTo>
                    <a:pt x="57" y="149"/>
                  </a:lnTo>
                  <a:lnTo>
                    <a:pt x="55" y="155"/>
                  </a:lnTo>
                  <a:lnTo>
                    <a:pt x="52" y="158"/>
                  </a:lnTo>
                  <a:lnTo>
                    <a:pt x="49" y="161"/>
                  </a:lnTo>
                  <a:lnTo>
                    <a:pt x="46" y="164"/>
                  </a:lnTo>
                  <a:lnTo>
                    <a:pt x="42" y="168"/>
                  </a:lnTo>
                  <a:lnTo>
                    <a:pt x="39" y="171"/>
                  </a:lnTo>
                  <a:lnTo>
                    <a:pt x="39" y="171"/>
                  </a:lnTo>
                  <a:lnTo>
                    <a:pt x="36" y="169"/>
                  </a:lnTo>
                  <a:lnTo>
                    <a:pt x="31" y="169"/>
                  </a:lnTo>
                  <a:lnTo>
                    <a:pt x="28" y="168"/>
                  </a:lnTo>
                  <a:lnTo>
                    <a:pt x="20" y="166"/>
                  </a:lnTo>
                  <a:lnTo>
                    <a:pt x="11" y="164"/>
                  </a:lnTo>
                  <a:lnTo>
                    <a:pt x="7" y="164"/>
                  </a:lnTo>
                  <a:lnTo>
                    <a:pt x="4" y="164"/>
                  </a:lnTo>
                  <a:lnTo>
                    <a:pt x="1" y="163"/>
                  </a:lnTo>
                  <a:lnTo>
                    <a:pt x="0" y="163"/>
                  </a:lnTo>
                  <a:lnTo>
                    <a:pt x="0" y="16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48" name="Freeform 412"/>
            <p:cNvSpPr>
              <a:spLocks/>
            </p:cNvSpPr>
            <p:nvPr/>
          </p:nvSpPr>
          <p:spPr bwMode="auto">
            <a:xfrm>
              <a:off x="6276604" y="3539302"/>
              <a:ext cx="160270" cy="172628"/>
            </a:xfrm>
            <a:custGeom>
              <a:avLst/>
              <a:gdLst>
                <a:gd name="T0" fmla="*/ 7 w 218"/>
                <a:gd name="T1" fmla="*/ 163 h 204"/>
                <a:gd name="T2" fmla="*/ 12 w 218"/>
                <a:gd name="T3" fmla="*/ 158 h 204"/>
                <a:gd name="T4" fmla="*/ 15 w 218"/>
                <a:gd name="T5" fmla="*/ 155 h 204"/>
                <a:gd name="T6" fmla="*/ 15 w 218"/>
                <a:gd name="T7" fmla="*/ 149 h 204"/>
                <a:gd name="T8" fmla="*/ 21 w 218"/>
                <a:gd name="T9" fmla="*/ 143 h 204"/>
                <a:gd name="T10" fmla="*/ 27 w 218"/>
                <a:gd name="T11" fmla="*/ 141 h 204"/>
                <a:gd name="T12" fmla="*/ 34 w 218"/>
                <a:gd name="T13" fmla="*/ 128 h 204"/>
                <a:gd name="T14" fmla="*/ 32 w 218"/>
                <a:gd name="T15" fmla="*/ 117 h 204"/>
                <a:gd name="T16" fmla="*/ 24 w 218"/>
                <a:gd name="T17" fmla="*/ 114 h 204"/>
                <a:gd name="T18" fmla="*/ 24 w 218"/>
                <a:gd name="T19" fmla="*/ 108 h 204"/>
                <a:gd name="T20" fmla="*/ 23 w 218"/>
                <a:gd name="T21" fmla="*/ 108 h 204"/>
                <a:gd name="T22" fmla="*/ 21 w 218"/>
                <a:gd name="T23" fmla="*/ 109 h 204"/>
                <a:gd name="T24" fmla="*/ 15 w 218"/>
                <a:gd name="T25" fmla="*/ 109 h 204"/>
                <a:gd name="T26" fmla="*/ 7 w 218"/>
                <a:gd name="T27" fmla="*/ 98 h 204"/>
                <a:gd name="T28" fmla="*/ 7 w 218"/>
                <a:gd name="T29" fmla="*/ 84 h 204"/>
                <a:gd name="T30" fmla="*/ 0 w 218"/>
                <a:gd name="T31" fmla="*/ 71 h 204"/>
                <a:gd name="T32" fmla="*/ 5 w 218"/>
                <a:gd name="T33" fmla="*/ 57 h 204"/>
                <a:gd name="T34" fmla="*/ 13 w 218"/>
                <a:gd name="T35" fmla="*/ 62 h 204"/>
                <a:gd name="T36" fmla="*/ 19 w 218"/>
                <a:gd name="T37" fmla="*/ 54 h 204"/>
                <a:gd name="T38" fmla="*/ 19 w 218"/>
                <a:gd name="T39" fmla="*/ 44 h 204"/>
                <a:gd name="T40" fmla="*/ 29 w 218"/>
                <a:gd name="T41" fmla="*/ 44 h 204"/>
                <a:gd name="T42" fmla="*/ 24 w 218"/>
                <a:gd name="T43" fmla="*/ 38 h 204"/>
                <a:gd name="T44" fmla="*/ 26 w 218"/>
                <a:gd name="T45" fmla="*/ 24 h 204"/>
                <a:gd name="T46" fmla="*/ 32 w 218"/>
                <a:gd name="T47" fmla="*/ 22 h 204"/>
                <a:gd name="T48" fmla="*/ 42 w 218"/>
                <a:gd name="T49" fmla="*/ 28 h 204"/>
                <a:gd name="T50" fmla="*/ 54 w 218"/>
                <a:gd name="T51" fmla="*/ 27 h 204"/>
                <a:gd name="T52" fmla="*/ 65 w 218"/>
                <a:gd name="T53" fmla="*/ 24 h 204"/>
                <a:gd name="T54" fmla="*/ 80 w 218"/>
                <a:gd name="T55" fmla="*/ 16 h 204"/>
                <a:gd name="T56" fmla="*/ 92 w 218"/>
                <a:gd name="T57" fmla="*/ 22 h 204"/>
                <a:gd name="T58" fmla="*/ 107 w 218"/>
                <a:gd name="T59" fmla="*/ 25 h 204"/>
                <a:gd name="T60" fmla="*/ 121 w 218"/>
                <a:gd name="T61" fmla="*/ 25 h 204"/>
                <a:gd name="T62" fmla="*/ 151 w 218"/>
                <a:gd name="T63" fmla="*/ 14 h 204"/>
                <a:gd name="T64" fmla="*/ 196 w 218"/>
                <a:gd name="T65" fmla="*/ 8 h 204"/>
                <a:gd name="T66" fmla="*/ 208 w 218"/>
                <a:gd name="T67" fmla="*/ 3 h 204"/>
                <a:gd name="T68" fmla="*/ 218 w 218"/>
                <a:gd name="T69" fmla="*/ 9 h 204"/>
                <a:gd name="T70" fmla="*/ 203 w 218"/>
                <a:gd name="T71" fmla="*/ 28 h 204"/>
                <a:gd name="T72" fmla="*/ 188 w 218"/>
                <a:gd name="T73" fmla="*/ 55 h 204"/>
                <a:gd name="T74" fmla="*/ 188 w 218"/>
                <a:gd name="T75" fmla="*/ 82 h 204"/>
                <a:gd name="T76" fmla="*/ 188 w 218"/>
                <a:gd name="T77" fmla="*/ 90 h 204"/>
                <a:gd name="T78" fmla="*/ 184 w 218"/>
                <a:gd name="T79" fmla="*/ 114 h 204"/>
                <a:gd name="T80" fmla="*/ 177 w 218"/>
                <a:gd name="T81" fmla="*/ 122 h 204"/>
                <a:gd name="T82" fmla="*/ 161 w 218"/>
                <a:gd name="T83" fmla="*/ 131 h 204"/>
                <a:gd name="T84" fmla="*/ 121 w 218"/>
                <a:gd name="T85" fmla="*/ 157 h 204"/>
                <a:gd name="T86" fmla="*/ 111 w 218"/>
                <a:gd name="T87" fmla="*/ 162 h 204"/>
                <a:gd name="T88" fmla="*/ 59 w 218"/>
                <a:gd name="T89" fmla="*/ 198 h 204"/>
                <a:gd name="T90" fmla="*/ 37 w 218"/>
                <a:gd name="T91" fmla="*/ 203 h 204"/>
                <a:gd name="T92" fmla="*/ 27 w 218"/>
                <a:gd name="T93" fmla="*/ 196 h 204"/>
                <a:gd name="T94" fmla="*/ 21 w 218"/>
                <a:gd name="T95" fmla="*/ 193 h 204"/>
                <a:gd name="T96" fmla="*/ 15 w 218"/>
                <a:gd name="T97" fmla="*/ 187 h 204"/>
                <a:gd name="T98" fmla="*/ 10 w 218"/>
                <a:gd name="T99" fmla="*/ 187 h 204"/>
                <a:gd name="T100" fmla="*/ 7 w 218"/>
                <a:gd name="T101" fmla="*/ 189 h 204"/>
                <a:gd name="T102" fmla="*/ 7 w 218"/>
                <a:gd name="T103" fmla="*/ 187 h 204"/>
                <a:gd name="T104" fmla="*/ 7 w 218"/>
                <a:gd name="T105" fmla="*/ 184 h 204"/>
                <a:gd name="T106" fmla="*/ 5 w 218"/>
                <a:gd name="T107" fmla="*/ 181 h 204"/>
                <a:gd name="T108" fmla="*/ 5 w 218"/>
                <a:gd name="T109" fmla="*/ 171 h 204"/>
                <a:gd name="T110" fmla="*/ 4 w 218"/>
                <a:gd name="T111" fmla="*/ 165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8" h="204">
                  <a:moveTo>
                    <a:pt x="4" y="165"/>
                  </a:moveTo>
                  <a:lnTo>
                    <a:pt x="4" y="165"/>
                  </a:lnTo>
                  <a:lnTo>
                    <a:pt x="5" y="165"/>
                  </a:lnTo>
                  <a:lnTo>
                    <a:pt x="7" y="163"/>
                  </a:lnTo>
                  <a:lnTo>
                    <a:pt x="8" y="163"/>
                  </a:lnTo>
                  <a:lnTo>
                    <a:pt x="10" y="162"/>
                  </a:lnTo>
                  <a:lnTo>
                    <a:pt x="12" y="160"/>
                  </a:lnTo>
                  <a:lnTo>
                    <a:pt x="12" y="158"/>
                  </a:lnTo>
                  <a:lnTo>
                    <a:pt x="13" y="158"/>
                  </a:lnTo>
                  <a:lnTo>
                    <a:pt x="15" y="157"/>
                  </a:lnTo>
                  <a:lnTo>
                    <a:pt x="15" y="155"/>
                  </a:lnTo>
                  <a:lnTo>
                    <a:pt x="15" y="155"/>
                  </a:lnTo>
                  <a:lnTo>
                    <a:pt x="18" y="152"/>
                  </a:lnTo>
                  <a:lnTo>
                    <a:pt x="18" y="152"/>
                  </a:lnTo>
                  <a:lnTo>
                    <a:pt x="16" y="150"/>
                  </a:lnTo>
                  <a:lnTo>
                    <a:pt x="15" y="149"/>
                  </a:lnTo>
                  <a:lnTo>
                    <a:pt x="15" y="146"/>
                  </a:lnTo>
                  <a:lnTo>
                    <a:pt x="18" y="143"/>
                  </a:lnTo>
                  <a:lnTo>
                    <a:pt x="19" y="141"/>
                  </a:lnTo>
                  <a:lnTo>
                    <a:pt x="21" y="143"/>
                  </a:lnTo>
                  <a:lnTo>
                    <a:pt x="21" y="143"/>
                  </a:lnTo>
                  <a:lnTo>
                    <a:pt x="24" y="141"/>
                  </a:lnTo>
                  <a:lnTo>
                    <a:pt x="27" y="143"/>
                  </a:lnTo>
                  <a:lnTo>
                    <a:pt x="27" y="141"/>
                  </a:lnTo>
                  <a:lnTo>
                    <a:pt x="24" y="138"/>
                  </a:lnTo>
                  <a:lnTo>
                    <a:pt x="29" y="135"/>
                  </a:lnTo>
                  <a:lnTo>
                    <a:pt x="34" y="130"/>
                  </a:lnTo>
                  <a:lnTo>
                    <a:pt x="34" y="128"/>
                  </a:lnTo>
                  <a:lnTo>
                    <a:pt x="35" y="127"/>
                  </a:lnTo>
                  <a:lnTo>
                    <a:pt x="34" y="124"/>
                  </a:lnTo>
                  <a:lnTo>
                    <a:pt x="31" y="120"/>
                  </a:lnTo>
                  <a:lnTo>
                    <a:pt x="32" y="117"/>
                  </a:lnTo>
                  <a:lnTo>
                    <a:pt x="29" y="117"/>
                  </a:lnTo>
                  <a:lnTo>
                    <a:pt x="27" y="114"/>
                  </a:lnTo>
                  <a:lnTo>
                    <a:pt x="24" y="116"/>
                  </a:lnTo>
                  <a:lnTo>
                    <a:pt x="24" y="114"/>
                  </a:lnTo>
                  <a:lnTo>
                    <a:pt x="26" y="111"/>
                  </a:lnTo>
                  <a:lnTo>
                    <a:pt x="26" y="109"/>
                  </a:lnTo>
                  <a:lnTo>
                    <a:pt x="26" y="109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3" y="108"/>
                  </a:lnTo>
                  <a:lnTo>
                    <a:pt x="23" y="108"/>
                  </a:lnTo>
                  <a:lnTo>
                    <a:pt x="23" y="108"/>
                  </a:lnTo>
                  <a:lnTo>
                    <a:pt x="23" y="108"/>
                  </a:lnTo>
                  <a:lnTo>
                    <a:pt x="23" y="109"/>
                  </a:lnTo>
                  <a:lnTo>
                    <a:pt x="21" y="109"/>
                  </a:lnTo>
                  <a:lnTo>
                    <a:pt x="18" y="109"/>
                  </a:lnTo>
                  <a:lnTo>
                    <a:pt x="16" y="109"/>
                  </a:lnTo>
                  <a:lnTo>
                    <a:pt x="16" y="109"/>
                  </a:lnTo>
                  <a:lnTo>
                    <a:pt x="15" y="109"/>
                  </a:lnTo>
                  <a:lnTo>
                    <a:pt x="12" y="109"/>
                  </a:lnTo>
                  <a:lnTo>
                    <a:pt x="12" y="109"/>
                  </a:lnTo>
                  <a:lnTo>
                    <a:pt x="8" y="103"/>
                  </a:lnTo>
                  <a:lnTo>
                    <a:pt x="7" y="98"/>
                  </a:lnTo>
                  <a:lnTo>
                    <a:pt x="7" y="93"/>
                  </a:lnTo>
                  <a:lnTo>
                    <a:pt x="7" y="87"/>
                  </a:lnTo>
                  <a:lnTo>
                    <a:pt x="7" y="84"/>
                  </a:lnTo>
                  <a:lnTo>
                    <a:pt x="7" y="84"/>
                  </a:lnTo>
                  <a:lnTo>
                    <a:pt x="7" y="81"/>
                  </a:lnTo>
                  <a:lnTo>
                    <a:pt x="7" y="78"/>
                  </a:lnTo>
                  <a:lnTo>
                    <a:pt x="2" y="74"/>
                  </a:lnTo>
                  <a:lnTo>
                    <a:pt x="0" y="71"/>
                  </a:lnTo>
                  <a:lnTo>
                    <a:pt x="0" y="66"/>
                  </a:lnTo>
                  <a:lnTo>
                    <a:pt x="2" y="63"/>
                  </a:lnTo>
                  <a:lnTo>
                    <a:pt x="0" y="60"/>
                  </a:lnTo>
                  <a:lnTo>
                    <a:pt x="5" y="57"/>
                  </a:lnTo>
                  <a:lnTo>
                    <a:pt x="5" y="57"/>
                  </a:lnTo>
                  <a:lnTo>
                    <a:pt x="8" y="57"/>
                  </a:lnTo>
                  <a:lnTo>
                    <a:pt x="10" y="58"/>
                  </a:lnTo>
                  <a:lnTo>
                    <a:pt x="13" y="62"/>
                  </a:lnTo>
                  <a:lnTo>
                    <a:pt x="13" y="58"/>
                  </a:lnTo>
                  <a:lnTo>
                    <a:pt x="16" y="55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9" y="51"/>
                  </a:lnTo>
                  <a:lnTo>
                    <a:pt x="19" y="46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21" y="44"/>
                  </a:lnTo>
                  <a:lnTo>
                    <a:pt x="24" y="44"/>
                  </a:lnTo>
                  <a:lnTo>
                    <a:pt x="26" y="44"/>
                  </a:lnTo>
                  <a:lnTo>
                    <a:pt x="29" y="44"/>
                  </a:lnTo>
                  <a:lnTo>
                    <a:pt x="29" y="41"/>
                  </a:lnTo>
                  <a:lnTo>
                    <a:pt x="26" y="39"/>
                  </a:lnTo>
                  <a:lnTo>
                    <a:pt x="26" y="38"/>
                  </a:lnTo>
                  <a:lnTo>
                    <a:pt x="24" y="38"/>
                  </a:lnTo>
                  <a:lnTo>
                    <a:pt x="24" y="33"/>
                  </a:lnTo>
                  <a:lnTo>
                    <a:pt x="24" y="30"/>
                  </a:lnTo>
                  <a:lnTo>
                    <a:pt x="24" y="27"/>
                  </a:lnTo>
                  <a:lnTo>
                    <a:pt x="26" y="24"/>
                  </a:lnTo>
                  <a:lnTo>
                    <a:pt x="26" y="20"/>
                  </a:lnTo>
                  <a:lnTo>
                    <a:pt x="27" y="20"/>
                  </a:lnTo>
                  <a:lnTo>
                    <a:pt x="29" y="20"/>
                  </a:lnTo>
                  <a:lnTo>
                    <a:pt x="32" y="22"/>
                  </a:lnTo>
                  <a:lnTo>
                    <a:pt x="35" y="22"/>
                  </a:lnTo>
                  <a:lnTo>
                    <a:pt x="37" y="22"/>
                  </a:lnTo>
                  <a:lnTo>
                    <a:pt x="40" y="25"/>
                  </a:lnTo>
                  <a:lnTo>
                    <a:pt x="42" y="28"/>
                  </a:lnTo>
                  <a:lnTo>
                    <a:pt x="45" y="27"/>
                  </a:lnTo>
                  <a:lnTo>
                    <a:pt x="48" y="27"/>
                  </a:lnTo>
                  <a:lnTo>
                    <a:pt x="51" y="27"/>
                  </a:lnTo>
                  <a:lnTo>
                    <a:pt x="54" y="27"/>
                  </a:lnTo>
                  <a:lnTo>
                    <a:pt x="56" y="27"/>
                  </a:lnTo>
                  <a:lnTo>
                    <a:pt x="58" y="25"/>
                  </a:lnTo>
                  <a:lnTo>
                    <a:pt x="61" y="24"/>
                  </a:lnTo>
                  <a:lnTo>
                    <a:pt x="65" y="24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5" y="17"/>
                  </a:lnTo>
                  <a:lnTo>
                    <a:pt x="80" y="16"/>
                  </a:lnTo>
                  <a:lnTo>
                    <a:pt x="83" y="17"/>
                  </a:lnTo>
                  <a:lnTo>
                    <a:pt x="86" y="17"/>
                  </a:lnTo>
                  <a:lnTo>
                    <a:pt x="89" y="19"/>
                  </a:lnTo>
                  <a:lnTo>
                    <a:pt x="92" y="22"/>
                  </a:lnTo>
                  <a:lnTo>
                    <a:pt x="94" y="24"/>
                  </a:lnTo>
                  <a:lnTo>
                    <a:pt x="97" y="25"/>
                  </a:lnTo>
                  <a:lnTo>
                    <a:pt x="104" y="25"/>
                  </a:lnTo>
                  <a:lnTo>
                    <a:pt x="107" y="25"/>
                  </a:lnTo>
                  <a:lnTo>
                    <a:pt x="107" y="25"/>
                  </a:lnTo>
                  <a:lnTo>
                    <a:pt x="110" y="25"/>
                  </a:lnTo>
                  <a:lnTo>
                    <a:pt x="113" y="27"/>
                  </a:lnTo>
                  <a:lnTo>
                    <a:pt x="121" y="25"/>
                  </a:lnTo>
                  <a:lnTo>
                    <a:pt x="123" y="25"/>
                  </a:lnTo>
                  <a:lnTo>
                    <a:pt x="132" y="24"/>
                  </a:lnTo>
                  <a:lnTo>
                    <a:pt x="142" y="19"/>
                  </a:lnTo>
                  <a:lnTo>
                    <a:pt x="151" y="14"/>
                  </a:lnTo>
                  <a:lnTo>
                    <a:pt x="161" y="9"/>
                  </a:lnTo>
                  <a:lnTo>
                    <a:pt x="177" y="9"/>
                  </a:lnTo>
                  <a:lnTo>
                    <a:pt x="196" y="8"/>
                  </a:lnTo>
                  <a:lnTo>
                    <a:pt x="196" y="8"/>
                  </a:lnTo>
                  <a:lnTo>
                    <a:pt x="199" y="8"/>
                  </a:lnTo>
                  <a:lnTo>
                    <a:pt x="202" y="6"/>
                  </a:lnTo>
                  <a:lnTo>
                    <a:pt x="205" y="6"/>
                  </a:lnTo>
                  <a:lnTo>
                    <a:pt x="208" y="3"/>
                  </a:lnTo>
                  <a:lnTo>
                    <a:pt x="211" y="0"/>
                  </a:lnTo>
                  <a:lnTo>
                    <a:pt x="215" y="1"/>
                  </a:lnTo>
                  <a:lnTo>
                    <a:pt x="216" y="6"/>
                  </a:lnTo>
                  <a:lnTo>
                    <a:pt x="218" y="9"/>
                  </a:lnTo>
                  <a:lnTo>
                    <a:pt x="218" y="11"/>
                  </a:lnTo>
                  <a:lnTo>
                    <a:pt x="215" y="16"/>
                  </a:lnTo>
                  <a:lnTo>
                    <a:pt x="210" y="20"/>
                  </a:lnTo>
                  <a:lnTo>
                    <a:pt x="203" y="28"/>
                  </a:lnTo>
                  <a:lnTo>
                    <a:pt x="199" y="30"/>
                  </a:lnTo>
                  <a:lnTo>
                    <a:pt x="194" y="32"/>
                  </a:lnTo>
                  <a:lnTo>
                    <a:pt x="188" y="33"/>
                  </a:lnTo>
                  <a:lnTo>
                    <a:pt x="188" y="55"/>
                  </a:lnTo>
                  <a:lnTo>
                    <a:pt x="189" y="71"/>
                  </a:lnTo>
                  <a:lnTo>
                    <a:pt x="188" y="74"/>
                  </a:lnTo>
                  <a:lnTo>
                    <a:pt x="188" y="79"/>
                  </a:lnTo>
                  <a:lnTo>
                    <a:pt x="188" y="82"/>
                  </a:lnTo>
                  <a:lnTo>
                    <a:pt x="188" y="85"/>
                  </a:lnTo>
                  <a:lnTo>
                    <a:pt x="188" y="89"/>
                  </a:lnTo>
                  <a:lnTo>
                    <a:pt x="188" y="90"/>
                  </a:lnTo>
                  <a:lnTo>
                    <a:pt x="188" y="90"/>
                  </a:lnTo>
                  <a:lnTo>
                    <a:pt x="189" y="101"/>
                  </a:lnTo>
                  <a:lnTo>
                    <a:pt x="189" y="104"/>
                  </a:lnTo>
                  <a:lnTo>
                    <a:pt x="188" y="106"/>
                  </a:lnTo>
                  <a:lnTo>
                    <a:pt x="184" y="114"/>
                  </a:lnTo>
                  <a:lnTo>
                    <a:pt x="184" y="117"/>
                  </a:lnTo>
                  <a:lnTo>
                    <a:pt x="183" y="119"/>
                  </a:lnTo>
                  <a:lnTo>
                    <a:pt x="180" y="120"/>
                  </a:lnTo>
                  <a:lnTo>
                    <a:pt x="177" y="122"/>
                  </a:lnTo>
                  <a:lnTo>
                    <a:pt x="177" y="124"/>
                  </a:lnTo>
                  <a:lnTo>
                    <a:pt x="175" y="124"/>
                  </a:lnTo>
                  <a:lnTo>
                    <a:pt x="172" y="125"/>
                  </a:lnTo>
                  <a:lnTo>
                    <a:pt x="161" y="131"/>
                  </a:lnTo>
                  <a:lnTo>
                    <a:pt x="150" y="139"/>
                  </a:lnTo>
                  <a:lnTo>
                    <a:pt x="138" y="146"/>
                  </a:lnTo>
                  <a:lnTo>
                    <a:pt x="127" y="152"/>
                  </a:lnTo>
                  <a:lnTo>
                    <a:pt x="121" y="157"/>
                  </a:lnTo>
                  <a:lnTo>
                    <a:pt x="116" y="158"/>
                  </a:lnTo>
                  <a:lnTo>
                    <a:pt x="116" y="158"/>
                  </a:lnTo>
                  <a:lnTo>
                    <a:pt x="113" y="162"/>
                  </a:lnTo>
                  <a:lnTo>
                    <a:pt x="111" y="162"/>
                  </a:lnTo>
                  <a:lnTo>
                    <a:pt x="111" y="162"/>
                  </a:lnTo>
                  <a:lnTo>
                    <a:pt x="89" y="176"/>
                  </a:lnTo>
                  <a:lnTo>
                    <a:pt x="70" y="190"/>
                  </a:lnTo>
                  <a:lnTo>
                    <a:pt x="59" y="198"/>
                  </a:lnTo>
                  <a:lnTo>
                    <a:pt x="48" y="204"/>
                  </a:lnTo>
                  <a:lnTo>
                    <a:pt x="45" y="203"/>
                  </a:lnTo>
                  <a:lnTo>
                    <a:pt x="42" y="203"/>
                  </a:lnTo>
                  <a:lnTo>
                    <a:pt x="37" y="203"/>
                  </a:lnTo>
                  <a:lnTo>
                    <a:pt x="37" y="203"/>
                  </a:lnTo>
                  <a:lnTo>
                    <a:pt x="35" y="201"/>
                  </a:lnTo>
                  <a:lnTo>
                    <a:pt x="34" y="201"/>
                  </a:lnTo>
                  <a:lnTo>
                    <a:pt x="27" y="196"/>
                  </a:lnTo>
                  <a:lnTo>
                    <a:pt x="26" y="196"/>
                  </a:lnTo>
                  <a:lnTo>
                    <a:pt x="24" y="196"/>
                  </a:lnTo>
                  <a:lnTo>
                    <a:pt x="24" y="196"/>
                  </a:lnTo>
                  <a:lnTo>
                    <a:pt x="21" y="193"/>
                  </a:lnTo>
                  <a:lnTo>
                    <a:pt x="19" y="192"/>
                  </a:lnTo>
                  <a:lnTo>
                    <a:pt x="18" y="190"/>
                  </a:lnTo>
                  <a:lnTo>
                    <a:pt x="16" y="189"/>
                  </a:lnTo>
                  <a:lnTo>
                    <a:pt x="15" y="187"/>
                  </a:lnTo>
                  <a:lnTo>
                    <a:pt x="15" y="187"/>
                  </a:lnTo>
                  <a:lnTo>
                    <a:pt x="15" y="187"/>
                  </a:lnTo>
                  <a:lnTo>
                    <a:pt x="12" y="187"/>
                  </a:lnTo>
                  <a:lnTo>
                    <a:pt x="10" y="187"/>
                  </a:lnTo>
                  <a:lnTo>
                    <a:pt x="10" y="187"/>
                  </a:lnTo>
                  <a:lnTo>
                    <a:pt x="7" y="189"/>
                  </a:lnTo>
                  <a:lnTo>
                    <a:pt x="7" y="189"/>
                  </a:lnTo>
                  <a:lnTo>
                    <a:pt x="7" y="189"/>
                  </a:lnTo>
                  <a:lnTo>
                    <a:pt x="5" y="189"/>
                  </a:lnTo>
                  <a:lnTo>
                    <a:pt x="5" y="189"/>
                  </a:lnTo>
                  <a:lnTo>
                    <a:pt x="5" y="187"/>
                  </a:lnTo>
                  <a:lnTo>
                    <a:pt x="7" y="187"/>
                  </a:lnTo>
                  <a:lnTo>
                    <a:pt x="7" y="187"/>
                  </a:lnTo>
                  <a:lnTo>
                    <a:pt x="7" y="187"/>
                  </a:lnTo>
                  <a:lnTo>
                    <a:pt x="7" y="185"/>
                  </a:lnTo>
                  <a:lnTo>
                    <a:pt x="7" y="184"/>
                  </a:lnTo>
                  <a:lnTo>
                    <a:pt x="7" y="184"/>
                  </a:lnTo>
                  <a:lnTo>
                    <a:pt x="5" y="184"/>
                  </a:lnTo>
                  <a:lnTo>
                    <a:pt x="5" y="181"/>
                  </a:lnTo>
                  <a:lnTo>
                    <a:pt x="5" y="181"/>
                  </a:lnTo>
                  <a:lnTo>
                    <a:pt x="5" y="181"/>
                  </a:lnTo>
                  <a:lnTo>
                    <a:pt x="5" y="179"/>
                  </a:lnTo>
                  <a:lnTo>
                    <a:pt x="4" y="176"/>
                  </a:lnTo>
                  <a:lnTo>
                    <a:pt x="5" y="171"/>
                  </a:lnTo>
                  <a:lnTo>
                    <a:pt x="5" y="166"/>
                  </a:lnTo>
                  <a:lnTo>
                    <a:pt x="5" y="166"/>
                  </a:lnTo>
                  <a:lnTo>
                    <a:pt x="4" y="166"/>
                  </a:lnTo>
                  <a:lnTo>
                    <a:pt x="4" y="16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49" name="Freeform 413"/>
            <p:cNvSpPr>
              <a:spLocks/>
            </p:cNvSpPr>
            <p:nvPr/>
          </p:nvSpPr>
          <p:spPr bwMode="auto">
            <a:xfrm>
              <a:off x="6266311" y="3630694"/>
              <a:ext cx="36759" cy="55851"/>
            </a:xfrm>
            <a:custGeom>
              <a:avLst/>
              <a:gdLst>
                <a:gd name="T0" fmla="*/ 0 w 49"/>
                <a:gd name="T1" fmla="*/ 63 h 66"/>
                <a:gd name="T2" fmla="*/ 3 w 49"/>
                <a:gd name="T3" fmla="*/ 57 h 66"/>
                <a:gd name="T4" fmla="*/ 5 w 49"/>
                <a:gd name="T5" fmla="*/ 54 h 66"/>
                <a:gd name="T6" fmla="*/ 7 w 49"/>
                <a:gd name="T7" fmla="*/ 49 h 66"/>
                <a:gd name="T8" fmla="*/ 8 w 49"/>
                <a:gd name="T9" fmla="*/ 44 h 66"/>
                <a:gd name="T10" fmla="*/ 10 w 49"/>
                <a:gd name="T11" fmla="*/ 38 h 66"/>
                <a:gd name="T12" fmla="*/ 11 w 49"/>
                <a:gd name="T13" fmla="*/ 33 h 66"/>
                <a:gd name="T14" fmla="*/ 16 w 49"/>
                <a:gd name="T15" fmla="*/ 27 h 66"/>
                <a:gd name="T16" fmla="*/ 16 w 49"/>
                <a:gd name="T17" fmla="*/ 19 h 66"/>
                <a:gd name="T18" fmla="*/ 18 w 49"/>
                <a:gd name="T19" fmla="*/ 14 h 66"/>
                <a:gd name="T20" fmla="*/ 21 w 49"/>
                <a:gd name="T21" fmla="*/ 9 h 66"/>
                <a:gd name="T22" fmla="*/ 26 w 49"/>
                <a:gd name="T23" fmla="*/ 6 h 66"/>
                <a:gd name="T24" fmla="*/ 26 w 49"/>
                <a:gd name="T25" fmla="*/ 1 h 66"/>
                <a:gd name="T26" fmla="*/ 29 w 49"/>
                <a:gd name="T27" fmla="*/ 1 h 66"/>
                <a:gd name="T28" fmla="*/ 30 w 49"/>
                <a:gd name="T29" fmla="*/ 1 h 66"/>
                <a:gd name="T30" fmla="*/ 35 w 49"/>
                <a:gd name="T31" fmla="*/ 1 h 66"/>
                <a:gd name="T32" fmla="*/ 37 w 49"/>
                <a:gd name="T33" fmla="*/ 0 h 66"/>
                <a:gd name="T34" fmla="*/ 37 w 49"/>
                <a:gd name="T35" fmla="*/ 0 h 66"/>
                <a:gd name="T36" fmla="*/ 38 w 49"/>
                <a:gd name="T37" fmla="*/ 0 h 66"/>
                <a:gd name="T38" fmla="*/ 38 w 49"/>
                <a:gd name="T39" fmla="*/ 0 h 66"/>
                <a:gd name="T40" fmla="*/ 40 w 49"/>
                <a:gd name="T41" fmla="*/ 1 h 66"/>
                <a:gd name="T42" fmla="*/ 38 w 49"/>
                <a:gd name="T43" fmla="*/ 6 h 66"/>
                <a:gd name="T44" fmla="*/ 41 w 49"/>
                <a:gd name="T45" fmla="*/ 6 h 66"/>
                <a:gd name="T46" fmla="*/ 46 w 49"/>
                <a:gd name="T47" fmla="*/ 9 h 66"/>
                <a:gd name="T48" fmla="*/ 48 w 49"/>
                <a:gd name="T49" fmla="*/ 16 h 66"/>
                <a:gd name="T50" fmla="*/ 48 w 49"/>
                <a:gd name="T51" fmla="*/ 20 h 66"/>
                <a:gd name="T52" fmla="*/ 43 w 49"/>
                <a:gd name="T53" fmla="*/ 27 h 66"/>
                <a:gd name="T54" fmla="*/ 41 w 49"/>
                <a:gd name="T55" fmla="*/ 33 h 66"/>
                <a:gd name="T56" fmla="*/ 38 w 49"/>
                <a:gd name="T57" fmla="*/ 33 h 66"/>
                <a:gd name="T58" fmla="*/ 35 w 49"/>
                <a:gd name="T59" fmla="*/ 35 h 66"/>
                <a:gd name="T60" fmla="*/ 32 w 49"/>
                <a:gd name="T61" fmla="*/ 35 h 66"/>
                <a:gd name="T62" fmla="*/ 29 w 49"/>
                <a:gd name="T63" fmla="*/ 41 h 66"/>
                <a:gd name="T64" fmla="*/ 32 w 49"/>
                <a:gd name="T65" fmla="*/ 44 h 66"/>
                <a:gd name="T66" fmla="*/ 29 w 49"/>
                <a:gd name="T67" fmla="*/ 47 h 66"/>
                <a:gd name="T68" fmla="*/ 29 w 49"/>
                <a:gd name="T69" fmla="*/ 49 h 66"/>
                <a:gd name="T70" fmla="*/ 26 w 49"/>
                <a:gd name="T71" fmla="*/ 50 h 66"/>
                <a:gd name="T72" fmla="*/ 24 w 49"/>
                <a:gd name="T73" fmla="*/ 54 h 66"/>
                <a:gd name="T74" fmla="*/ 21 w 49"/>
                <a:gd name="T75" fmla="*/ 55 h 66"/>
                <a:gd name="T76" fmla="*/ 18 w 49"/>
                <a:gd name="T77" fmla="*/ 57 h 66"/>
                <a:gd name="T78" fmla="*/ 18 w 49"/>
                <a:gd name="T79" fmla="*/ 58 h 66"/>
                <a:gd name="T80" fmla="*/ 16 w 49"/>
                <a:gd name="T81" fmla="*/ 57 h 66"/>
                <a:gd name="T82" fmla="*/ 14 w 49"/>
                <a:gd name="T83" fmla="*/ 62 h 66"/>
                <a:gd name="T84" fmla="*/ 13 w 49"/>
                <a:gd name="T85" fmla="*/ 65 h 66"/>
                <a:gd name="T86" fmla="*/ 7 w 49"/>
                <a:gd name="T87" fmla="*/ 65 h 66"/>
                <a:gd name="T88" fmla="*/ 0 w 49"/>
                <a:gd name="T89" fmla="*/ 65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9" h="66">
                  <a:moveTo>
                    <a:pt x="0" y="65"/>
                  </a:moveTo>
                  <a:lnTo>
                    <a:pt x="0" y="63"/>
                  </a:lnTo>
                  <a:lnTo>
                    <a:pt x="3" y="60"/>
                  </a:lnTo>
                  <a:lnTo>
                    <a:pt x="3" y="57"/>
                  </a:lnTo>
                  <a:lnTo>
                    <a:pt x="3" y="55"/>
                  </a:lnTo>
                  <a:lnTo>
                    <a:pt x="5" y="54"/>
                  </a:lnTo>
                  <a:lnTo>
                    <a:pt x="5" y="52"/>
                  </a:lnTo>
                  <a:lnTo>
                    <a:pt x="7" y="49"/>
                  </a:lnTo>
                  <a:lnTo>
                    <a:pt x="8" y="46"/>
                  </a:lnTo>
                  <a:lnTo>
                    <a:pt x="8" y="44"/>
                  </a:lnTo>
                  <a:lnTo>
                    <a:pt x="10" y="41"/>
                  </a:lnTo>
                  <a:lnTo>
                    <a:pt x="10" y="38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4" y="30"/>
                  </a:lnTo>
                  <a:lnTo>
                    <a:pt x="16" y="27"/>
                  </a:lnTo>
                  <a:lnTo>
                    <a:pt x="16" y="22"/>
                  </a:lnTo>
                  <a:lnTo>
                    <a:pt x="16" y="19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19" y="11"/>
                  </a:lnTo>
                  <a:lnTo>
                    <a:pt x="21" y="9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4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9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2" y="1"/>
                  </a:lnTo>
                  <a:lnTo>
                    <a:pt x="35" y="1"/>
                  </a:lnTo>
                  <a:lnTo>
                    <a:pt x="37" y="1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0" y="3"/>
                  </a:lnTo>
                  <a:lnTo>
                    <a:pt x="38" y="6"/>
                  </a:lnTo>
                  <a:lnTo>
                    <a:pt x="38" y="8"/>
                  </a:lnTo>
                  <a:lnTo>
                    <a:pt x="41" y="6"/>
                  </a:lnTo>
                  <a:lnTo>
                    <a:pt x="43" y="9"/>
                  </a:lnTo>
                  <a:lnTo>
                    <a:pt x="46" y="9"/>
                  </a:lnTo>
                  <a:lnTo>
                    <a:pt x="45" y="12"/>
                  </a:lnTo>
                  <a:lnTo>
                    <a:pt x="48" y="16"/>
                  </a:lnTo>
                  <a:lnTo>
                    <a:pt x="49" y="19"/>
                  </a:lnTo>
                  <a:lnTo>
                    <a:pt x="48" y="20"/>
                  </a:lnTo>
                  <a:lnTo>
                    <a:pt x="48" y="22"/>
                  </a:lnTo>
                  <a:lnTo>
                    <a:pt x="43" y="27"/>
                  </a:lnTo>
                  <a:lnTo>
                    <a:pt x="38" y="30"/>
                  </a:lnTo>
                  <a:lnTo>
                    <a:pt x="41" y="33"/>
                  </a:lnTo>
                  <a:lnTo>
                    <a:pt x="41" y="35"/>
                  </a:lnTo>
                  <a:lnTo>
                    <a:pt x="38" y="33"/>
                  </a:lnTo>
                  <a:lnTo>
                    <a:pt x="35" y="35"/>
                  </a:lnTo>
                  <a:lnTo>
                    <a:pt x="35" y="35"/>
                  </a:lnTo>
                  <a:lnTo>
                    <a:pt x="33" y="33"/>
                  </a:lnTo>
                  <a:lnTo>
                    <a:pt x="32" y="35"/>
                  </a:lnTo>
                  <a:lnTo>
                    <a:pt x="29" y="38"/>
                  </a:lnTo>
                  <a:lnTo>
                    <a:pt x="29" y="41"/>
                  </a:lnTo>
                  <a:lnTo>
                    <a:pt x="30" y="42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9" y="47"/>
                  </a:lnTo>
                  <a:lnTo>
                    <a:pt x="29" y="47"/>
                  </a:lnTo>
                  <a:lnTo>
                    <a:pt x="29" y="49"/>
                  </a:lnTo>
                  <a:lnTo>
                    <a:pt x="27" y="50"/>
                  </a:lnTo>
                  <a:lnTo>
                    <a:pt x="26" y="50"/>
                  </a:lnTo>
                  <a:lnTo>
                    <a:pt x="26" y="52"/>
                  </a:lnTo>
                  <a:lnTo>
                    <a:pt x="24" y="54"/>
                  </a:lnTo>
                  <a:lnTo>
                    <a:pt x="22" y="55"/>
                  </a:lnTo>
                  <a:lnTo>
                    <a:pt x="21" y="55"/>
                  </a:lnTo>
                  <a:lnTo>
                    <a:pt x="19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8"/>
                  </a:lnTo>
                  <a:lnTo>
                    <a:pt x="18" y="58"/>
                  </a:lnTo>
                  <a:lnTo>
                    <a:pt x="16" y="57"/>
                  </a:lnTo>
                  <a:lnTo>
                    <a:pt x="16" y="58"/>
                  </a:lnTo>
                  <a:lnTo>
                    <a:pt x="14" y="62"/>
                  </a:lnTo>
                  <a:lnTo>
                    <a:pt x="14" y="63"/>
                  </a:lnTo>
                  <a:lnTo>
                    <a:pt x="13" y="65"/>
                  </a:lnTo>
                  <a:lnTo>
                    <a:pt x="10" y="66"/>
                  </a:lnTo>
                  <a:lnTo>
                    <a:pt x="7" y="65"/>
                  </a:lnTo>
                  <a:lnTo>
                    <a:pt x="5" y="65"/>
                  </a:lnTo>
                  <a:lnTo>
                    <a:pt x="0" y="65"/>
                  </a:lnTo>
                  <a:lnTo>
                    <a:pt x="0" y="6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50" name="Freeform 414"/>
            <p:cNvSpPr>
              <a:spLocks/>
            </p:cNvSpPr>
            <p:nvPr/>
          </p:nvSpPr>
          <p:spPr bwMode="auto">
            <a:xfrm>
              <a:off x="6264840" y="3703468"/>
              <a:ext cx="16174" cy="42311"/>
            </a:xfrm>
            <a:custGeom>
              <a:avLst/>
              <a:gdLst>
                <a:gd name="T0" fmla="*/ 0 w 22"/>
                <a:gd name="T1" fmla="*/ 14 h 49"/>
                <a:gd name="T2" fmla="*/ 0 w 22"/>
                <a:gd name="T3" fmla="*/ 14 h 49"/>
                <a:gd name="T4" fmla="*/ 1 w 22"/>
                <a:gd name="T5" fmla="*/ 13 h 49"/>
                <a:gd name="T6" fmla="*/ 1 w 22"/>
                <a:gd name="T7" fmla="*/ 9 h 49"/>
                <a:gd name="T8" fmla="*/ 1 w 22"/>
                <a:gd name="T9" fmla="*/ 9 h 49"/>
                <a:gd name="T10" fmla="*/ 1 w 22"/>
                <a:gd name="T11" fmla="*/ 8 h 49"/>
                <a:gd name="T12" fmla="*/ 1 w 22"/>
                <a:gd name="T13" fmla="*/ 6 h 49"/>
                <a:gd name="T14" fmla="*/ 3 w 22"/>
                <a:gd name="T15" fmla="*/ 5 h 49"/>
                <a:gd name="T16" fmla="*/ 4 w 22"/>
                <a:gd name="T17" fmla="*/ 1 h 49"/>
                <a:gd name="T18" fmla="*/ 8 w 22"/>
                <a:gd name="T19" fmla="*/ 0 h 49"/>
                <a:gd name="T20" fmla="*/ 11 w 22"/>
                <a:gd name="T21" fmla="*/ 1 h 49"/>
                <a:gd name="T22" fmla="*/ 11 w 22"/>
                <a:gd name="T23" fmla="*/ 1 h 49"/>
                <a:gd name="T24" fmla="*/ 14 w 22"/>
                <a:gd name="T25" fmla="*/ 1 h 49"/>
                <a:gd name="T26" fmla="*/ 15 w 22"/>
                <a:gd name="T27" fmla="*/ 5 h 49"/>
                <a:gd name="T28" fmla="*/ 17 w 22"/>
                <a:gd name="T29" fmla="*/ 6 h 49"/>
                <a:gd name="T30" fmla="*/ 19 w 22"/>
                <a:gd name="T31" fmla="*/ 6 h 49"/>
                <a:gd name="T32" fmla="*/ 20 w 22"/>
                <a:gd name="T33" fmla="*/ 14 h 49"/>
                <a:gd name="T34" fmla="*/ 20 w 22"/>
                <a:gd name="T35" fmla="*/ 20 h 49"/>
                <a:gd name="T36" fmla="*/ 20 w 22"/>
                <a:gd name="T37" fmla="*/ 25 h 49"/>
                <a:gd name="T38" fmla="*/ 20 w 22"/>
                <a:gd name="T39" fmla="*/ 27 h 49"/>
                <a:gd name="T40" fmla="*/ 20 w 22"/>
                <a:gd name="T41" fmla="*/ 30 h 49"/>
                <a:gd name="T42" fmla="*/ 22 w 22"/>
                <a:gd name="T43" fmla="*/ 32 h 49"/>
                <a:gd name="T44" fmla="*/ 20 w 22"/>
                <a:gd name="T45" fmla="*/ 35 h 49"/>
                <a:gd name="T46" fmla="*/ 20 w 22"/>
                <a:gd name="T47" fmla="*/ 40 h 49"/>
                <a:gd name="T48" fmla="*/ 20 w 22"/>
                <a:gd name="T49" fmla="*/ 43 h 49"/>
                <a:gd name="T50" fmla="*/ 17 w 22"/>
                <a:gd name="T51" fmla="*/ 43 h 49"/>
                <a:gd name="T52" fmla="*/ 17 w 22"/>
                <a:gd name="T53" fmla="*/ 43 h 49"/>
                <a:gd name="T54" fmla="*/ 17 w 22"/>
                <a:gd name="T55" fmla="*/ 43 h 49"/>
                <a:gd name="T56" fmla="*/ 12 w 22"/>
                <a:gd name="T57" fmla="*/ 47 h 49"/>
                <a:gd name="T58" fmla="*/ 9 w 22"/>
                <a:gd name="T59" fmla="*/ 47 h 49"/>
                <a:gd name="T60" fmla="*/ 8 w 22"/>
                <a:gd name="T61" fmla="*/ 49 h 49"/>
                <a:gd name="T62" fmla="*/ 1 w 22"/>
                <a:gd name="T63" fmla="*/ 49 h 49"/>
                <a:gd name="T64" fmla="*/ 0 w 22"/>
                <a:gd name="T65" fmla="*/ 46 h 49"/>
                <a:gd name="T66" fmla="*/ 1 w 22"/>
                <a:gd name="T67" fmla="*/ 43 h 49"/>
                <a:gd name="T68" fmla="*/ 1 w 22"/>
                <a:gd name="T69" fmla="*/ 38 h 49"/>
                <a:gd name="T70" fmla="*/ 3 w 22"/>
                <a:gd name="T71" fmla="*/ 36 h 49"/>
                <a:gd name="T72" fmla="*/ 3 w 22"/>
                <a:gd name="T73" fmla="*/ 36 h 49"/>
                <a:gd name="T74" fmla="*/ 6 w 22"/>
                <a:gd name="T75" fmla="*/ 33 h 49"/>
                <a:gd name="T76" fmla="*/ 9 w 22"/>
                <a:gd name="T77" fmla="*/ 33 h 49"/>
                <a:gd name="T78" fmla="*/ 11 w 22"/>
                <a:gd name="T79" fmla="*/ 32 h 49"/>
                <a:gd name="T80" fmla="*/ 11 w 22"/>
                <a:gd name="T81" fmla="*/ 30 h 49"/>
                <a:gd name="T82" fmla="*/ 9 w 22"/>
                <a:gd name="T83" fmla="*/ 30 h 49"/>
                <a:gd name="T84" fmla="*/ 6 w 22"/>
                <a:gd name="T85" fmla="*/ 28 h 49"/>
                <a:gd name="T86" fmla="*/ 3 w 22"/>
                <a:gd name="T87" fmla="*/ 30 h 49"/>
                <a:gd name="T88" fmla="*/ 3 w 22"/>
                <a:gd name="T89" fmla="*/ 30 h 49"/>
                <a:gd name="T90" fmla="*/ 1 w 22"/>
                <a:gd name="T91" fmla="*/ 28 h 49"/>
                <a:gd name="T92" fmla="*/ 1 w 22"/>
                <a:gd name="T93" fmla="*/ 28 h 49"/>
                <a:gd name="T94" fmla="*/ 1 w 22"/>
                <a:gd name="T95" fmla="*/ 28 h 49"/>
                <a:gd name="T96" fmla="*/ 1 w 22"/>
                <a:gd name="T97" fmla="*/ 20 h 49"/>
                <a:gd name="T98" fmla="*/ 0 w 22"/>
                <a:gd name="T99" fmla="*/ 1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" h="49">
                  <a:moveTo>
                    <a:pt x="0" y="14"/>
                  </a:moveTo>
                  <a:lnTo>
                    <a:pt x="0" y="14"/>
                  </a:lnTo>
                  <a:lnTo>
                    <a:pt x="1" y="13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1" y="6"/>
                  </a:lnTo>
                  <a:lnTo>
                    <a:pt x="3" y="5"/>
                  </a:lnTo>
                  <a:lnTo>
                    <a:pt x="4" y="1"/>
                  </a:lnTo>
                  <a:lnTo>
                    <a:pt x="8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4" y="1"/>
                  </a:lnTo>
                  <a:lnTo>
                    <a:pt x="15" y="5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20" y="14"/>
                  </a:lnTo>
                  <a:lnTo>
                    <a:pt x="20" y="20"/>
                  </a:lnTo>
                  <a:lnTo>
                    <a:pt x="20" y="25"/>
                  </a:lnTo>
                  <a:lnTo>
                    <a:pt x="20" y="27"/>
                  </a:lnTo>
                  <a:lnTo>
                    <a:pt x="20" y="30"/>
                  </a:lnTo>
                  <a:lnTo>
                    <a:pt x="22" y="32"/>
                  </a:lnTo>
                  <a:lnTo>
                    <a:pt x="20" y="35"/>
                  </a:lnTo>
                  <a:lnTo>
                    <a:pt x="20" y="40"/>
                  </a:lnTo>
                  <a:lnTo>
                    <a:pt x="20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2" y="47"/>
                  </a:lnTo>
                  <a:lnTo>
                    <a:pt x="9" y="47"/>
                  </a:lnTo>
                  <a:lnTo>
                    <a:pt x="8" y="49"/>
                  </a:lnTo>
                  <a:lnTo>
                    <a:pt x="1" y="49"/>
                  </a:lnTo>
                  <a:lnTo>
                    <a:pt x="0" y="46"/>
                  </a:lnTo>
                  <a:lnTo>
                    <a:pt x="1" y="43"/>
                  </a:lnTo>
                  <a:lnTo>
                    <a:pt x="1" y="38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6" y="33"/>
                  </a:lnTo>
                  <a:lnTo>
                    <a:pt x="9" y="33"/>
                  </a:lnTo>
                  <a:lnTo>
                    <a:pt x="11" y="32"/>
                  </a:lnTo>
                  <a:lnTo>
                    <a:pt x="11" y="30"/>
                  </a:lnTo>
                  <a:lnTo>
                    <a:pt x="9" y="30"/>
                  </a:lnTo>
                  <a:lnTo>
                    <a:pt x="6" y="28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1" y="20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51" name="Freeform 416"/>
            <p:cNvSpPr>
              <a:spLocks/>
            </p:cNvSpPr>
            <p:nvPr/>
          </p:nvSpPr>
          <p:spPr bwMode="auto">
            <a:xfrm>
              <a:off x="6269251" y="4669845"/>
              <a:ext cx="210262" cy="323254"/>
            </a:xfrm>
            <a:custGeom>
              <a:avLst/>
              <a:gdLst>
                <a:gd name="T0" fmla="*/ 6 w 285"/>
                <a:gd name="T1" fmla="*/ 169 h 380"/>
                <a:gd name="T2" fmla="*/ 11 w 285"/>
                <a:gd name="T3" fmla="*/ 163 h 380"/>
                <a:gd name="T4" fmla="*/ 14 w 285"/>
                <a:gd name="T5" fmla="*/ 157 h 380"/>
                <a:gd name="T6" fmla="*/ 21 w 285"/>
                <a:gd name="T7" fmla="*/ 144 h 380"/>
                <a:gd name="T8" fmla="*/ 25 w 285"/>
                <a:gd name="T9" fmla="*/ 141 h 380"/>
                <a:gd name="T10" fmla="*/ 32 w 285"/>
                <a:gd name="T11" fmla="*/ 134 h 380"/>
                <a:gd name="T12" fmla="*/ 36 w 285"/>
                <a:gd name="T13" fmla="*/ 122 h 380"/>
                <a:gd name="T14" fmla="*/ 36 w 285"/>
                <a:gd name="T15" fmla="*/ 109 h 380"/>
                <a:gd name="T16" fmla="*/ 33 w 285"/>
                <a:gd name="T17" fmla="*/ 95 h 380"/>
                <a:gd name="T18" fmla="*/ 33 w 285"/>
                <a:gd name="T19" fmla="*/ 85 h 380"/>
                <a:gd name="T20" fmla="*/ 25 w 285"/>
                <a:gd name="T21" fmla="*/ 71 h 380"/>
                <a:gd name="T22" fmla="*/ 21 w 285"/>
                <a:gd name="T23" fmla="*/ 60 h 380"/>
                <a:gd name="T24" fmla="*/ 16 w 285"/>
                <a:gd name="T25" fmla="*/ 47 h 380"/>
                <a:gd name="T26" fmla="*/ 11 w 285"/>
                <a:gd name="T27" fmla="*/ 36 h 380"/>
                <a:gd name="T28" fmla="*/ 5 w 285"/>
                <a:gd name="T29" fmla="*/ 27 h 380"/>
                <a:gd name="T30" fmla="*/ 9 w 285"/>
                <a:gd name="T31" fmla="*/ 4 h 380"/>
                <a:gd name="T32" fmla="*/ 52 w 285"/>
                <a:gd name="T33" fmla="*/ 0 h 380"/>
                <a:gd name="T34" fmla="*/ 74 w 285"/>
                <a:gd name="T35" fmla="*/ 8 h 380"/>
                <a:gd name="T36" fmla="*/ 101 w 285"/>
                <a:gd name="T37" fmla="*/ 8 h 380"/>
                <a:gd name="T38" fmla="*/ 135 w 285"/>
                <a:gd name="T39" fmla="*/ 28 h 380"/>
                <a:gd name="T40" fmla="*/ 157 w 285"/>
                <a:gd name="T41" fmla="*/ 41 h 380"/>
                <a:gd name="T42" fmla="*/ 174 w 285"/>
                <a:gd name="T43" fmla="*/ 44 h 380"/>
                <a:gd name="T44" fmla="*/ 189 w 285"/>
                <a:gd name="T45" fmla="*/ 46 h 380"/>
                <a:gd name="T46" fmla="*/ 201 w 285"/>
                <a:gd name="T47" fmla="*/ 49 h 380"/>
                <a:gd name="T48" fmla="*/ 228 w 285"/>
                <a:gd name="T49" fmla="*/ 22 h 380"/>
                <a:gd name="T50" fmla="*/ 258 w 285"/>
                <a:gd name="T51" fmla="*/ 27 h 380"/>
                <a:gd name="T52" fmla="*/ 276 w 285"/>
                <a:gd name="T53" fmla="*/ 25 h 380"/>
                <a:gd name="T54" fmla="*/ 274 w 285"/>
                <a:gd name="T55" fmla="*/ 46 h 380"/>
                <a:gd name="T56" fmla="*/ 254 w 285"/>
                <a:gd name="T57" fmla="*/ 79 h 380"/>
                <a:gd name="T58" fmla="*/ 254 w 285"/>
                <a:gd name="T59" fmla="*/ 136 h 380"/>
                <a:gd name="T60" fmla="*/ 265 w 285"/>
                <a:gd name="T61" fmla="*/ 239 h 380"/>
                <a:gd name="T62" fmla="*/ 270 w 285"/>
                <a:gd name="T63" fmla="*/ 263 h 380"/>
                <a:gd name="T64" fmla="*/ 257 w 285"/>
                <a:gd name="T65" fmla="*/ 271 h 380"/>
                <a:gd name="T66" fmla="*/ 251 w 285"/>
                <a:gd name="T67" fmla="*/ 272 h 380"/>
                <a:gd name="T68" fmla="*/ 249 w 285"/>
                <a:gd name="T69" fmla="*/ 280 h 380"/>
                <a:gd name="T70" fmla="*/ 239 w 285"/>
                <a:gd name="T71" fmla="*/ 293 h 380"/>
                <a:gd name="T72" fmla="*/ 228 w 285"/>
                <a:gd name="T73" fmla="*/ 296 h 380"/>
                <a:gd name="T74" fmla="*/ 227 w 285"/>
                <a:gd name="T75" fmla="*/ 310 h 380"/>
                <a:gd name="T76" fmla="*/ 220 w 285"/>
                <a:gd name="T77" fmla="*/ 323 h 380"/>
                <a:gd name="T78" fmla="*/ 214 w 285"/>
                <a:gd name="T79" fmla="*/ 334 h 380"/>
                <a:gd name="T80" fmla="*/ 209 w 285"/>
                <a:gd name="T81" fmla="*/ 347 h 380"/>
                <a:gd name="T82" fmla="*/ 205 w 285"/>
                <a:gd name="T83" fmla="*/ 353 h 380"/>
                <a:gd name="T84" fmla="*/ 198 w 285"/>
                <a:gd name="T85" fmla="*/ 371 h 380"/>
                <a:gd name="T86" fmla="*/ 173 w 285"/>
                <a:gd name="T87" fmla="*/ 368 h 380"/>
                <a:gd name="T88" fmla="*/ 138 w 285"/>
                <a:gd name="T89" fmla="*/ 337 h 380"/>
                <a:gd name="T90" fmla="*/ 132 w 285"/>
                <a:gd name="T91" fmla="*/ 333 h 380"/>
                <a:gd name="T92" fmla="*/ 135 w 285"/>
                <a:gd name="T93" fmla="*/ 322 h 380"/>
                <a:gd name="T94" fmla="*/ 128 w 285"/>
                <a:gd name="T95" fmla="*/ 309 h 380"/>
                <a:gd name="T96" fmla="*/ 114 w 285"/>
                <a:gd name="T97" fmla="*/ 301 h 380"/>
                <a:gd name="T98" fmla="*/ 74 w 285"/>
                <a:gd name="T99" fmla="*/ 276 h 380"/>
                <a:gd name="T100" fmla="*/ 65 w 285"/>
                <a:gd name="T101" fmla="*/ 269 h 380"/>
                <a:gd name="T102" fmla="*/ 17 w 285"/>
                <a:gd name="T103" fmla="*/ 241 h 380"/>
                <a:gd name="T104" fmla="*/ 6 w 285"/>
                <a:gd name="T105" fmla="*/ 233 h 380"/>
                <a:gd name="T106" fmla="*/ 6 w 285"/>
                <a:gd name="T107" fmla="*/ 226 h 380"/>
                <a:gd name="T108" fmla="*/ 3 w 285"/>
                <a:gd name="T109" fmla="*/ 212 h 380"/>
                <a:gd name="T110" fmla="*/ 17 w 285"/>
                <a:gd name="T111" fmla="*/ 209 h 380"/>
                <a:gd name="T112" fmla="*/ 25 w 285"/>
                <a:gd name="T113" fmla="*/ 203 h 380"/>
                <a:gd name="T114" fmla="*/ 28 w 285"/>
                <a:gd name="T115" fmla="*/ 196 h 380"/>
                <a:gd name="T116" fmla="*/ 16 w 285"/>
                <a:gd name="T117" fmla="*/ 199 h 380"/>
                <a:gd name="T118" fmla="*/ 6 w 285"/>
                <a:gd name="T119" fmla="*/ 196 h 380"/>
                <a:gd name="T120" fmla="*/ 0 w 285"/>
                <a:gd name="T121" fmla="*/ 185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5" h="380">
                  <a:moveTo>
                    <a:pt x="2" y="179"/>
                  </a:moveTo>
                  <a:lnTo>
                    <a:pt x="3" y="177"/>
                  </a:lnTo>
                  <a:lnTo>
                    <a:pt x="5" y="172"/>
                  </a:lnTo>
                  <a:lnTo>
                    <a:pt x="6" y="169"/>
                  </a:lnTo>
                  <a:lnTo>
                    <a:pt x="6" y="168"/>
                  </a:lnTo>
                  <a:lnTo>
                    <a:pt x="6" y="165"/>
                  </a:lnTo>
                  <a:lnTo>
                    <a:pt x="8" y="163"/>
                  </a:lnTo>
                  <a:lnTo>
                    <a:pt x="11" y="163"/>
                  </a:lnTo>
                  <a:lnTo>
                    <a:pt x="11" y="163"/>
                  </a:lnTo>
                  <a:lnTo>
                    <a:pt x="13" y="160"/>
                  </a:lnTo>
                  <a:lnTo>
                    <a:pt x="13" y="157"/>
                  </a:lnTo>
                  <a:lnTo>
                    <a:pt x="14" y="157"/>
                  </a:lnTo>
                  <a:lnTo>
                    <a:pt x="16" y="153"/>
                  </a:lnTo>
                  <a:lnTo>
                    <a:pt x="19" y="150"/>
                  </a:lnTo>
                  <a:lnTo>
                    <a:pt x="19" y="147"/>
                  </a:lnTo>
                  <a:lnTo>
                    <a:pt x="21" y="144"/>
                  </a:lnTo>
                  <a:lnTo>
                    <a:pt x="21" y="144"/>
                  </a:lnTo>
                  <a:lnTo>
                    <a:pt x="22" y="144"/>
                  </a:lnTo>
                  <a:lnTo>
                    <a:pt x="22" y="144"/>
                  </a:lnTo>
                  <a:lnTo>
                    <a:pt x="25" y="141"/>
                  </a:lnTo>
                  <a:lnTo>
                    <a:pt x="28" y="139"/>
                  </a:lnTo>
                  <a:lnTo>
                    <a:pt x="30" y="139"/>
                  </a:lnTo>
                  <a:lnTo>
                    <a:pt x="32" y="136"/>
                  </a:lnTo>
                  <a:lnTo>
                    <a:pt x="32" y="134"/>
                  </a:lnTo>
                  <a:lnTo>
                    <a:pt x="30" y="131"/>
                  </a:lnTo>
                  <a:lnTo>
                    <a:pt x="30" y="131"/>
                  </a:lnTo>
                  <a:lnTo>
                    <a:pt x="35" y="125"/>
                  </a:lnTo>
                  <a:lnTo>
                    <a:pt x="36" y="122"/>
                  </a:lnTo>
                  <a:lnTo>
                    <a:pt x="38" y="119"/>
                  </a:lnTo>
                  <a:lnTo>
                    <a:pt x="38" y="112"/>
                  </a:lnTo>
                  <a:lnTo>
                    <a:pt x="38" y="109"/>
                  </a:lnTo>
                  <a:lnTo>
                    <a:pt x="36" y="109"/>
                  </a:lnTo>
                  <a:lnTo>
                    <a:pt x="36" y="106"/>
                  </a:lnTo>
                  <a:lnTo>
                    <a:pt x="36" y="101"/>
                  </a:lnTo>
                  <a:lnTo>
                    <a:pt x="35" y="98"/>
                  </a:lnTo>
                  <a:lnTo>
                    <a:pt x="33" y="95"/>
                  </a:lnTo>
                  <a:lnTo>
                    <a:pt x="33" y="92"/>
                  </a:lnTo>
                  <a:lnTo>
                    <a:pt x="33" y="90"/>
                  </a:lnTo>
                  <a:lnTo>
                    <a:pt x="35" y="87"/>
                  </a:lnTo>
                  <a:lnTo>
                    <a:pt x="33" y="85"/>
                  </a:lnTo>
                  <a:lnTo>
                    <a:pt x="32" y="82"/>
                  </a:lnTo>
                  <a:lnTo>
                    <a:pt x="30" y="77"/>
                  </a:lnTo>
                  <a:lnTo>
                    <a:pt x="28" y="74"/>
                  </a:lnTo>
                  <a:lnTo>
                    <a:pt x="25" y="71"/>
                  </a:lnTo>
                  <a:lnTo>
                    <a:pt x="22" y="68"/>
                  </a:lnTo>
                  <a:lnTo>
                    <a:pt x="22" y="65"/>
                  </a:lnTo>
                  <a:lnTo>
                    <a:pt x="21" y="61"/>
                  </a:lnTo>
                  <a:lnTo>
                    <a:pt x="21" y="60"/>
                  </a:lnTo>
                  <a:lnTo>
                    <a:pt x="17" y="57"/>
                  </a:lnTo>
                  <a:lnTo>
                    <a:pt x="17" y="54"/>
                  </a:lnTo>
                  <a:lnTo>
                    <a:pt x="16" y="50"/>
                  </a:lnTo>
                  <a:lnTo>
                    <a:pt x="16" y="47"/>
                  </a:lnTo>
                  <a:lnTo>
                    <a:pt x="17" y="44"/>
                  </a:lnTo>
                  <a:lnTo>
                    <a:pt x="17" y="39"/>
                  </a:lnTo>
                  <a:lnTo>
                    <a:pt x="14" y="36"/>
                  </a:lnTo>
                  <a:lnTo>
                    <a:pt x="11" y="36"/>
                  </a:lnTo>
                  <a:lnTo>
                    <a:pt x="8" y="33"/>
                  </a:lnTo>
                  <a:lnTo>
                    <a:pt x="8" y="30"/>
                  </a:lnTo>
                  <a:lnTo>
                    <a:pt x="5" y="30"/>
                  </a:lnTo>
                  <a:lnTo>
                    <a:pt x="5" y="27"/>
                  </a:lnTo>
                  <a:lnTo>
                    <a:pt x="5" y="23"/>
                  </a:lnTo>
                  <a:lnTo>
                    <a:pt x="3" y="20"/>
                  </a:lnTo>
                  <a:lnTo>
                    <a:pt x="0" y="15"/>
                  </a:lnTo>
                  <a:lnTo>
                    <a:pt x="9" y="4"/>
                  </a:lnTo>
                  <a:lnTo>
                    <a:pt x="14" y="0"/>
                  </a:lnTo>
                  <a:lnTo>
                    <a:pt x="21" y="0"/>
                  </a:lnTo>
                  <a:lnTo>
                    <a:pt x="35" y="0"/>
                  </a:lnTo>
                  <a:lnTo>
                    <a:pt x="52" y="0"/>
                  </a:lnTo>
                  <a:lnTo>
                    <a:pt x="70" y="0"/>
                  </a:lnTo>
                  <a:lnTo>
                    <a:pt x="71" y="1"/>
                  </a:lnTo>
                  <a:lnTo>
                    <a:pt x="71" y="4"/>
                  </a:lnTo>
                  <a:lnTo>
                    <a:pt x="74" y="8"/>
                  </a:lnTo>
                  <a:lnTo>
                    <a:pt x="81" y="8"/>
                  </a:lnTo>
                  <a:lnTo>
                    <a:pt x="82" y="6"/>
                  </a:lnTo>
                  <a:lnTo>
                    <a:pt x="82" y="8"/>
                  </a:lnTo>
                  <a:lnTo>
                    <a:pt x="101" y="8"/>
                  </a:lnTo>
                  <a:lnTo>
                    <a:pt x="108" y="9"/>
                  </a:lnTo>
                  <a:lnTo>
                    <a:pt x="114" y="14"/>
                  </a:lnTo>
                  <a:lnTo>
                    <a:pt x="130" y="25"/>
                  </a:lnTo>
                  <a:lnTo>
                    <a:pt x="135" y="28"/>
                  </a:lnTo>
                  <a:lnTo>
                    <a:pt x="144" y="36"/>
                  </a:lnTo>
                  <a:lnTo>
                    <a:pt x="147" y="39"/>
                  </a:lnTo>
                  <a:lnTo>
                    <a:pt x="151" y="41"/>
                  </a:lnTo>
                  <a:lnTo>
                    <a:pt x="157" y="41"/>
                  </a:lnTo>
                  <a:lnTo>
                    <a:pt x="162" y="41"/>
                  </a:lnTo>
                  <a:lnTo>
                    <a:pt x="165" y="41"/>
                  </a:lnTo>
                  <a:lnTo>
                    <a:pt x="170" y="41"/>
                  </a:lnTo>
                  <a:lnTo>
                    <a:pt x="174" y="44"/>
                  </a:lnTo>
                  <a:lnTo>
                    <a:pt x="179" y="46"/>
                  </a:lnTo>
                  <a:lnTo>
                    <a:pt x="184" y="44"/>
                  </a:lnTo>
                  <a:lnTo>
                    <a:pt x="184" y="44"/>
                  </a:lnTo>
                  <a:lnTo>
                    <a:pt x="189" y="46"/>
                  </a:lnTo>
                  <a:lnTo>
                    <a:pt x="192" y="47"/>
                  </a:lnTo>
                  <a:lnTo>
                    <a:pt x="193" y="47"/>
                  </a:lnTo>
                  <a:lnTo>
                    <a:pt x="198" y="47"/>
                  </a:lnTo>
                  <a:lnTo>
                    <a:pt x="201" y="49"/>
                  </a:lnTo>
                  <a:lnTo>
                    <a:pt x="203" y="46"/>
                  </a:lnTo>
                  <a:lnTo>
                    <a:pt x="209" y="38"/>
                  </a:lnTo>
                  <a:lnTo>
                    <a:pt x="212" y="31"/>
                  </a:lnTo>
                  <a:lnTo>
                    <a:pt x="228" y="22"/>
                  </a:lnTo>
                  <a:lnTo>
                    <a:pt x="246" y="14"/>
                  </a:lnTo>
                  <a:lnTo>
                    <a:pt x="252" y="19"/>
                  </a:lnTo>
                  <a:lnTo>
                    <a:pt x="255" y="23"/>
                  </a:lnTo>
                  <a:lnTo>
                    <a:pt x="258" y="27"/>
                  </a:lnTo>
                  <a:lnTo>
                    <a:pt x="265" y="27"/>
                  </a:lnTo>
                  <a:lnTo>
                    <a:pt x="270" y="27"/>
                  </a:lnTo>
                  <a:lnTo>
                    <a:pt x="273" y="27"/>
                  </a:lnTo>
                  <a:lnTo>
                    <a:pt x="276" y="25"/>
                  </a:lnTo>
                  <a:lnTo>
                    <a:pt x="279" y="25"/>
                  </a:lnTo>
                  <a:lnTo>
                    <a:pt x="282" y="27"/>
                  </a:lnTo>
                  <a:lnTo>
                    <a:pt x="285" y="27"/>
                  </a:lnTo>
                  <a:lnTo>
                    <a:pt x="274" y="46"/>
                  </a:lnTo>
                  <a:lnTo>
                    <a:pt x="262" y="65"/>
                  </a:lnTo>
                  <a:lnTo>
                    <a:pt x="255" y="71"/>
                  </a:lnTo>
                  <a:lnTo>
                    <a:pt x="254" y="74"/>
                  </a:lnTo>
                  <a:lnTo>
                    <a:pt x="254" y="79"/>
                  </a:lnTo>
                  <a:lnTo>
                    <a:pt x="254" y="90"/>
                  </a:lnTo>
                  <a:lnTo>
                    <a:pt x="254" y="98"/>
                  </a:lnTo>
                  <a:lnTo>
                    <a:pt x="254" y="107"/>
                  </a:lnTo>
                  <a:lnTo>
                    <a:pt x="254" y="136"/>
                  </a:lnTo>
                  <a:lnTo>
                    <a:pt x="254" y="166"/>
                  </a:lnTo>
                  <a:lnTo>
                    <a:pt x="254" y="195"/>
                  </a:lnTo>
                  <a:lnTo>
                    <a:pt x="254" y="225"/>
                  </a:lnTo>
                  <a:lnTo>
                    <a:pt x="265" y="239"/>
                  </a:lnTo>
                  <a:lnTo>
                    <a:pt x="274" y="255"/>
                  </a:lnTo>
                  <a:lnTo>
                    <a:pt x="274" y="257"/>
                  </a:lnTo>
                  <a:lnTo>
                    <a:pt x="273" y="260"/>
                  </a:lnTo>
                  <a:lnTo>
                    <a:pt x="270" y="263"/>
                  </a:lnTo>
                  <a:lnTo>
                    <a:pt x="268" y="266"/>
                  </a:lnTo>
                  <a:lnTo>
                    <a:pt x="263" y="269"/>
                  </a:lnTo>
                  <a:lnTo>
                    <a:pt x="260" y="271"/>
                  </a:lnTo>
                  <a:lnTo>
                    <a:pt x="257" y="271"/>
                  </a:lnTo>
                  <a:lnTo>
                    <a:pt x="252" y="269"/>
                  </a:lnTo>
                  <a:lnTo>
                    <a:pt x="252" y="272"/>
                  </a:lnTo>
                  <a:lnTo>
                    <a:pt x="249" y="269"/>
                  </a:lnTo>
                  <a:lnTo>
                    <a:pt x="251" y="272"/>
                  </a:lnTo>
                  <a:lnTo>
                    <a:pt x="251" y="277"/>
                  </a:lnTo>
                  <a:lnTo>
                    <a:pt x="252" y="280"/>
                  </a:lnTo>
                  <a:lnTo>
                    <a:pt x="251" y="283"/>
                  </a:lnTo>
                  <a:lnTo>
                    <a:pt x="249" y="280"/>
                  </a:lnTo>
                  <a:lnTo>
                    <a:pt x="246" y="283"/>
                  </a:lnTo>
                  <a:lnTo>
                    <a:pt x="247" y="287"/>
                  </a:lnTo>
                  <a:lnTo>
                    <a:pt x="244" y="290"/>
                  </a:lnTo>
                  <a:lnTo>
                    <a:pt x="239" y="293"/>
                  </a:lnTo>
                  <a:lnTo>
                    <a:pt x="236" y="293"/>
                  </a:lnTo>
                  <a:lnTo>
                    <a:pt x="235" y="293"/>
                  </a:lnTo>
                  <a:lnTo>
                    <a:pt x="232" y="295"/>
                  </a:lnTo>
                  <a:lnTo>
                    <a:pt x="228" y="296"/>
                  </a:lnTo>
                  <a:lnTo>
                    <a:pt x="225" y="299"/>
                  </a:lnTo>
                  <a:lnTo>
                    <a:pt x="224" y="303"/>
                  </a:lnTo>
                  <a:lnTo>
                    <a:pt x="224" y="307"/>
                  </a:lnTo>
                  <a:lnTo>
                    <a:pt x="227" y="310"/>
                  </a:lnTo>
                  <a:lnTo>
                    <a:pt x="224" y="314"/>
                  </a:lnTo>
                  <a:lnTo>
                    <a:pt x="222" y="317"/>
                  </a:lnTo>
                  <a:lnTo>
                    <a:pt x="222" y="320"/>
                  </a:lnTo>
                  <a:lnTo>
                    <a:pt x="220" y="323"/>
                  </a:lnTo>
                  <a:lnTo>
                    <a:pt x="217" y="326"/>
                  </a:lnTo>
                  <a:lnTo>
                    <a:pt x="216" y="326"/>
                  </a:lnTo>
                  <a:lnTo>
                    <a:pt x="216" y="329"/>
                  </a:lnTo>
                  <a:lnTo>
                    <a:pt x="214" y="334"/>
                  </a:lnTo>
                  <a:lnTo>
                    <a:pt x="212" y="337"/>
                  </a:lnTo>
                  <a:lnTo>
                    <a:pt x="212" y="337"/>
                  </a:lnTo>
                  <a:lnTo>
                    <a:pt x="212" y="339"/>
                  </a:lnTo>
                  <a:lnTo>
                    <a:pt x="209" y="347"/>
                  </a:lnTo>
                  <a:lnTo>
                    <a:pt x="206" y="353"/>
                  </a:lnTo>
                  <a:lnTo>
                    <a:pt x="205" y="353"/>
                  </a:lnTo>
                  <a:lnTo>
                    <a:pt x="205" y="353"/>
                  </a:lnTo>
                  <a:lnTo>
                    <a:pt x="205" y="353"/>
                  </a:lnTo>
                  <a:lnTo>
                    <a:pt x="205" y="355"/>
                  </a:lnTo>
                  <a:lnTo>
                    <a:pt x="205" y="356"/>
                  </a:lnTo>
                  <a:lnTo>
                    <a:pt x="203" y="361"/>
                  </a:lnTo>
                  <a:lnTo>
                    <a:pt x="198" y="371"/>
                  </a:lnTo>
                  <a:lnTo>
                    <a:pt x="195" y="379"/>
                  </a:lnTo>
                  <a:lnTo>
                    <a:pt x="192" y="377"/>
                  </a:lnTo>
                  <a:lnTo>
                    <a:pt x="189" y="380"/>
                  </a:lnTo>
                  <a:lnTo>
                    <a:pt x="173" y="368"/>
                  </a:lnTo>
                  <a:lnTo>
                    <a:pt x="159" y="355"/>
                  </a:lnTo>
                  <a:lnTo>
                    <a:pt x="151" y="349"/>
                  </a:lnTo>
                  <a:lnTo>
                    <a:pt x="141" y="341"/>
                  </a:lnTo>
                  <a:lnTo>
                    <a:pt x="138" y="337"/>
                  </a:lnTo>
                  <a:lnTo>
                    <a:pt x="136" y="337"/>
                  </a:lnTo>
                  <a:lnTo>
                    <a:pt x="136" y="334"/>
                  </a:lnTo>
                  <a:lnTo>
                    <a:pt x="135" y="333"/>
                  </a:lnTo>
                  <a:lnTo>
                    <a:pt x="132" y="333"/>
                  </a:lnTo>
                  <a:lnTo>
                    <a:pt x="130" y="329"/>
                  </a:lnTo>
                  <a:lnTo>
                    <a:pt x="133" y="325"/>
                  </a:lnTo>
                  <a:lnTo>
                    <a:pt x="135" y="323"/>
                  </a:lnTo>
                  <a:lnTo>
                    <a:pt x="135" y="322"/>
                  </a:lnTo>
                  <a:lnTo>
                    <a:pt x="135" y="317"/>
                  </a:lnTo>
                  <a:lnTo>
                    <a:pt x="133" y="312"/>
                  </a:lnTo>
                  <a:lnTo>
                    <a:pt x="132" y="312"/>
                  </a:lnTo>
                  <a:lnTo>
                    <a:pt x="128" y="309"/>
                  </a:lnTo>
                  <a:lnTo>
                    <a:pt x="124" y="307"/>
                  </a:lnTo>
                  <a:lnTo>
                    <a:pt x="120" y="306"/>
                  </a:lnTo>
                  <a:lnTo>
                    <a:pt x="117" y="303"/>
                  </a:lnTo>
                  <a:lnTo>
                    <a:pt x="114" y="301"/>
                  </a:lnTo>
                  <a:lnTo>
                    <a:pt x="95" y="288"/>
                  </a:lnTo>
                  <a:lnTo>
                    <a:pt x="76" y="277"/>
                  </a:lnTo>
                  <a:lnTo>
                    <a:pt x="76" y="277"/>
                  </a:lnTo>
                  <a:lnTo>
                    <a:pt x="74" y="276"/>
                  </a:lnTo>
                  <a:lnTo>
                    <a:pt x="74" y="276"/>
                  </a:lnTo>
                  <a:lnTo>
                    <a:pt x="71" y="274"/>
                  </a:lnTo>
                  <a:lnTo>
                    <a:pt x="68" y="272"/>
                  </a:lnTo>
                  <a:lnTo>
                    <a:pt x="65" y="269"/>
                  </a:lnTo>
                  <a:lnTo>
                    <a:pt x="52" y="263"/>
                  </a:lnTo>
                  <a:lnTo>
                    <a:pt x="41" y="255"/>
                  </a:lnTo>
                  <a:lnTo>
                    <a:pt x="30" y="247"/>
                  </a:lnTo>
                  <a:lnTo>
                    <a:pt x="17" y="241"/>
                  </a:lnTo>
                  <a:lnTo>
                    <a:pt x="17" y="241"/>
                  </a:lnTo>
                  <a:lnTo>
                    <a:pt x="14" y="238"/>
                  </a:lnTo>
                  <a:lnTo>
                    <a:pt x="11" y="236"/>
                  </a:lnTo>
                  <a:lnTo>
                    <a:pt x="6" y="233"/>
                  </a:lnTo>
                  <a:lnTo>
                    <a:pt x="3" y="231"/>
                  </a:lnTo>
                  <a:lnTo>
                    <a:pt x="6" y="230"/>
                  </a:lnTo>
                  <a:lnTo>
                    <a:pt x="6" y="226"/>
                  </a:lnTo>
                  <a:lnTo>
                    <a:pt x="6" y="226"/>
                  </a:lnTo>
                  <a:lnTo>
                    <a:pt x="5" y="222"/>
                  </a:lnTo>
                  <a:lnTo>
                    <a:pt x="3" y="218"/>
                  </a:lnTo>
                  <a:lnTo>
                    <a:pt x="3" y="215"/>
                  </a:lnTo>
                  <a:lnTo>
                    <a:pt x="3" y="212"/>
                  </a:lnTo>
                  <a:lnTo>
                    <a:pt x="6" y="209"/>
                  </a:lnTo>
                  <a:lnTo>
                    <a:pt x="11" y="207"/>
                  </a:lnTo>
                  <a:lnTo>
                    <a:pt x="14" y="209"/>
                  </a:lnTo>
                  <a:lnTo>
                    <a:pt x="17" y="209"/>
                  </a:lnTo>
                  <a:lnTo>
                    <a:pt x="19" y="206"/>
                  </a:lnTo>
                  <a:lnTo>
                    <a:pt x="17" y="203"/>
                  </a:lnTo>
                  <a:lnTo>
                    <a:pt x="21" y="203"/>
                  </a:lnTo>
                  <a:lnTo>
                    <a:pt x="25" y="203"/>
                  </a:lnTo>
                  <a:lnTo>
                    <a:pt x="28" y="201"/>
                  </a:lnTo>
                  <a:lnTo>
                    <a:pt x="32" y="201"/>
                  </a:lnTo>
                  <a:lnTo>
                    <a:pt x="32" y="199"/>
                  </a:lnTo>
                  <a:lnTo>
                    <a:pt x="28" y="196"/>
                  </a:lnTo>
                  <a:lnTo>
                    <a:pt x="25" y="193"/>
                  </a:lnTo>
                  <a:lnTo>
                    <a:pt x="22" y="195"/>
                  </a:lnTo>
                  <a:lnTo>
                    <a:pt x="19" y="196"/>
                  </a:lnTo>
                  <a:lnTo>
                    <a:pt x="16" y="199"/>
                  </a:lnTo>
                  <a:lnTo>
                    <a:pt x="14" y="203"/>
                  </a:lnTo>
                  <a:lnTo>
                    <a:pt x="9" y="203"/>
                  </a:lnTo>
                  <a:lnTo>
                    <a:pt x="9" y="198"/>
                  </a:lnTo>
                  <a:lnTo>
                    <a:pt x="6" y="196"/>
                  </a:lnTo>
                  <a:lnTo>
                    <a:pt x="3" y="193"/>
                  </a:lnTo>
                  <a:lnTo>
                    <a:pt x="2" y="190"/>
                  </a:lnTo>
                  <a:lnTo>
                    <a:pt x="2" y="188"/>
                  </a:lnTo>
                  <a:lnTo>
                    <a:pt x="0" y="185"/>
                  </a:lnTo>
                  <a:lnTo>
                    <a:pt x="2" y="182"/>
                  </a:lnTo>
                  <a:lnTo>
                    <a:pt x="2" y="17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52" name="Freeform 417"/>
            <p:cNvSpPr>
              <a:spLocks/>
            </p:cNvSpPr>
            <p:nvPr/>
          </p:nvSpPr>
          <p:spPr bwMode="auto">
            <a:xfrm>
              <a:off x="6164855" y="5194499"/>
              <a:ext cx="279368" cy="565271"/>
            </a:xfrm>
            <a:custGeom>
              <a:avLst/>
              <a:gdLst>
                <a:gd name="T0" fmla="*/ 26 w 381"/>
                <a:gd name="T1" fmla="*/ 175 h 669"/>
                <a:gd name="T2" fmla="*/ 76 w 381"/>
                <a:gd name="T3" fmla="*/ 155 h 669"/>
                <a:gd name="T4" fmla="*/ 122 w 381"/>
                <a:gd name="T5" fmla="*/ 163 h 669"/>
                <a:gd name="T6" fmla="*/ 152 w 381"/>
                <a:gd name="T7" fmla="*/ 163 h 669"/>
                <a:gd name="T8" fmla="*/ 154 w 381"/>
                <a:gd name="T9" fmla="*/ 200 h 669"/>
                <a:gd name="T10" fmla="*/ 149 w 381"/>
                <a:gd name="T11" fmla="*/ 230 h 669"/>
                <a:gd name="T12" fmla="*/ 170 w 381"/>
                <a:gd name="T13" fmla="*/ 259 h 669"/>
                <a:gd name="T14" fmla="*/ 179 w 381"/>
                <a:gd name="T15" fmla="*/ 262 h 669"/>
                <a:gd name="T16" fmla="*/ 176 w 381"/>
                <a:gd name="T17" fmla="*/ 246 h 669"/>
                <a:gd name="T18" fmla="*/ 198 w 381"/>
                <a:gd name="T19" fmla="*/ 228 h 669"/>
                <a:gd name="T20" fmla="*/ 203 w 381"/>
                <a:gd name="T21" fmla="*/ 184 h 669"/>
                <a:gd name="T22" fmla="*/ 176 w 381"/>
                <a:gd name="T23" fmla="*/ 132 h 669"/>
                <a:gd name="T24" fmla="*/ 159 w 381"/>
                <a:gd name="T25" fmla="*/ 110 h 669"/>
                <a:gd name="T26" fmla="*/ 159 w 381"/>
                <a:gd name="T27" fmla="*/ 54 h 669"/>
                <a:gd name="T28" fmla="*/ 208 w 381"/>
                <a:gd name="T29" fmla="*/ 38 h 669"/>
                <a:gd name="T30" fmla="*/ 238 w 381"/>
                <a:gd name="T31" fmla="*/ 48 h 669"/>
                <a:gd name="T32" fmla="*/ 267 w 381"/>
                <a:gd name="T33" fmla="*/ 48 h 669"/>
                <a:gd name="T34" fmla="*/ 297 w 381"/>
                <a:gd name="T35" fmla="*/ 37 h 669"/>
                <a:gd name="T36" fmla="*/ 329 w 381"/>
                <a:gd name="T37" fmla="*/ 27 h 669"/>
                <a:gd name="T38" fmla="*/ 370 w 381"/>
                <a:gd name="T39" fmla="*/ 2 h 669"/>
                <a:gd name="T40" fmla="*/ 375 w 381"/>
                <a:gd name="T41" fmla="*/ 24 h 669"/>
                <a:gd name="T42" fmla="*/ 370 w 381"/>
                <a:gd name="T43" fmla="*/ 49 h 669"/>
                <a:gd name="T44" fmla="*/ 373 w 381"/>
                <a:gd name="T45" fmla="*/ 89 h 669"/>
                <a:gd name="T46" fmla="*/ 373 w 381"/>
                <a:gd name="T47" fmla="*/ 132 h 669"/>
                <a:gd name="T48" fmla="*/ 375 w 381"/>
                <a:gd name="T49" fmla="*/ 159 h 669"/>
                <a:gd name="T50" fmla="*/ 381 w 381"/>
                <a:gd name="T51" fmla="*/ 176 h 669"/>
                <a:gd name="T52" fmla="*/ 375 w 381"/>
                <a:gd name="T53" fmla="*/ 195 h 669"/>
                <a:gd name="T54" fmla="*/ 352 w 381"/>
                <a:gd name="T55" fmla="*/ 227 h 669"/>
                <a:gd name="T56" fmla="*/ 335 w 381"/>
                <a:gd name="T57" fmla="*/ 249 h 669"/>
                <a:gd name="T58" fmla="*/ 298 w 381"/>
                <a:gd name="T59" fmla="*/ 270 h 669"/>
                <a:gd name="T60" fmla="*/ 270 w 381"/>
                <a:gd name="T61" fmla="*/ 281 h 669"/>
                <a:gd name="T62" fmla="*/ 237 w 381"/>
                <a:gd name="T63" fmla="*/ 305 h 669"/>
                <a:gd name="T64" fmla="*/ 219 w 381"/>
                <a:gd name="T65" fmla="*/ 330 h 669"/>
                <a:gd name="T66" fmla="*/ 206 w 381"/>
                <a:gd name="T67" fmla="*/ 343 h 669"/>
                <a:gd name="T68" fmla="*/ 184 w 381"/>
                <a:gd name="T69" fmla="*/ 360 h 669"/>
                <a:gd name="T70" fmla="*/ 159 w 381"/>
                <a:gd name="T71" fmla="*/ 382 h 669"/>
                <a:gd name="T72" fmla="*/ 156 w 381"/>
                <a:gd name="T73" fmla="*/ 385 h 669"/>
                <a:gd name="T74" fmla="*/ 159 w 381"/>
                <a:gd name="T75" fmla="*/ 416 h 669"/>
                <a:gd name="T76" fmla="*/ 165 w 381"/>
                <a:gd name="T77" fmla="*/ 441 h 669"/>
                <a:gd name="T78" fmla="*/ 173 w 381"/>
                <a:gd name="T79" fmla="*/ 466 h 669"/>
                <a:gd name="T80" fmla="*/ 175 w 381"/>
                <a:gd name="T81" fmla="*/ 482 h 669"/>
                <a:gd name="T82" fmla="*/ 178 w 381"/>
                <a:gd name="T83" fmla="*/ 492 h 669"/>
                <a:gd name="T84" fmla="*/ 171 w 381"/>
                <a:gd name="T85" fmla="*/ 550 h 669"/>
                <a:gd name="T86" fmla="*/ 168 w 381"/>
                <a:gd name="T87" fmla="*/ 568 h 669"/>
                <a:gd name="T88" fmla="*/ 94 w 381"/>
                <a:gd name="T89" fmla="*/ 604 h 669"/>
                <a:gd name="T90" fmla="*/ 75 w 381"/>
                <a:gd name="T91" fmla="*/ 626 h 669"/>
                <a:gd name="T92" fmla="*/ 75 w 381"/>
                <a:gd name="T93" fmla="*/ 642 h 669"/>
                <a:gd name="T94" fmla="*/ 51 w 381"/>
                <a:gd name="T95" fmla="*/ 668 h 669"/>
                <a:gd name="T96" fmla="*/ 48 w 381"/>
                <a:gd name="T97" fmla="*/ 633 h 669"/>
                <a:gd name="T98" fmla="*/ 51 w 381"/>
                <a:gd name="T99" fmla="*/ 607 h 669"/>
                <a:gd name="T100" fmla="*/ 48 w 381"/>
                <a:gd name="T101" fmla="*/ 550 h 669"/>
                <a:gd name="T102" fmla="*/ 37 w 381"/>
                <a:gd name="T103" fmla="*/ 512 h 669"/>
                <a:gd name="T104" fmla="*/ 70 w 381"/>
                <a:gd name="T105" fmla="*/ 436 h 669"/>
                <a:gd name="T106" fmla="*/ 84 w 381"/>
                <a:gd name="T107" fmla="*/ 406 h 669"/>
                <a:gd name="T108" fmla="*/ 89 w 381"/>
                <a:gd name="T109" fmla="*/ 376 h 669"/>
                <a:gd name="T110" fmla="*/ 84 w 381"/>
                <a:gd name="T111" fmla="*/ 347 h 669"/>
                <a:gd name="T112" fmla="*/ 92 w 381"/>
                <a:gd name="T113" fmla="*/ 328 h 669"/>
                <a:gd name="T114" fmla="*/ 95 w 381"/>
                <a:gd name="T115" fmla="*/ 305 h 669"/>
                <a:gd name="T116" fmla="*/ 97 w 381"/>
                <a:gd name="T117" fmla="*/ 274 h 669"/>
                <a:gd name="T118" fmla="*/ 87 w 381"/>
                <a:gd name="T119" fmla="*/ 249 h 669"/>
                <a:gd name="T120" fmla="*/ 53 w 381"/>
                <a:gd name="T121" fmla="*/ 233 h 669"/>
                <a:gd name="T122" fmla="*/ 11 w 381"/>
                <a:gd name="T123" fmla="*/ 225 h 669"/>
                <a:gd name="T124" fmla="*/ 0 w 381"/>
                <a:gd name="T125" fmla="*/ 184 h 6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81" h="669">
                  <a:moveTo>
                    <a:pt x="0" y="184"/>
                  </a:moveTo>
                  <a:lnTo>
                    <a:pt x="0" y="184"/>
                  </a:lnTo>
                  <a:lnTo>
                    <a:pt x="3" y="182"/>
                  </a:lnTo>
                  <a:lnTo>
                    <a:pt x="8" y="181"/>
                  </a:lnTo>
                  <a:lnTo>
                    <a:pt x="11" y="179"/>
                  </a:lnTo>
                  <a:lnTo>
                    <a:pt x="14" y="178"/>
                  </a:lnTo>
                  <a:lnTo>
                    <a:pt x="18" y="176"/>
                  </a:lnTo>
                  <a:lnTo>
                    <a:pt x="22" y="175"/>
                  </a:lnTo>
                  <a:lnTo>
                    <a:pt x="26" y="175"/>
                  </a:lnTo>
                  <a:lnTo>
                    <a:pt x="40" y="170"/>
                  </a:lnTo>
                  <a:lnTo>
                    <a:pt x="53" y="165"/>
                  </a:lnTo>
                  <a:lnTo>
                    <a:pt x="56" y="163"/>
                  </a:lnTo>
                  <a:lnTo>
                    <a:pt x="59" y="162"/>
                  </a:lnTo>
                  <a:lnTo>
                    <a:pt x="62" y="160"/>
                  </a:lnTo>
                  <a:lnTo>
                    <a:pt x="65" y="160"/>
                  </a:lnTo>
                  <a:lnTo>
                    <a:pt x="70" y="159"/>
                  </a:lnTo>
                  <a:lnTo>
                    <a:pt x="73" y="157"/>
                  </a:lnTo>
                  <a:lnTo>
                    <a:pt x="76" y="155"/>
                  </a:lnTo>
                  <a:lnTo>
                    <a:pt x="78" y="155"/>
                  </a:lnTo>
                  <a:lnTo>
                    <a:pt x="94" y="149"/>
                  </a:lnTo>
                  <a:lnTo>
                    <a:pt x="110" y="144"/>
                  </a:lnTo>
                  <a:lnTo>
                    <a:pt x="111" y="146"/>
                  </a:lnTo>
                  <a:lnTo>
                    <a:pt x="111" y="151"/>
                  </a:lnTo>
                  <a:lnTo>
                    <a:pt x="114" y="154"/>
                  </a:lnTo>
                  <a:lnTo>
                    <a:pt x="116" y="157"/>
                  </a:lnTo>
                  <a:lnTo>
                    <a:pt x="118" y="160"/>
                  </a:lnTo>
                  <a:lnTo>
                    <a:pt x="122" y="163"/>
                  </a:lnTo>
                  <a:lnTo>
                    <a:pt x="126" y="167"/>
                  </a:lnTo>
                  <a:lnTo>
                    <a:pt x="126" y="163"/>
                  </a:lnTo>
                  <a:lnTo>
                    <a:pt x="130" y="165"/>
                  </a:lnTo>
                  <a:lnTo>
                    <a:pt x="133" y="163"/>
                  </a:lnTo>
                  <a:lnTo>
                    <a:pt x="137" y="163"/>
                  </a:lnTo>
                  <a:lnTo>
                    <a:pt x="141" y="162"/>
                  </a:lnTo>
                  <a:lnTo>
                    <a:pt x="145" y="160"/>
                  </a:lnTo>
                  <a:lnTo>
                    <a:pt x="148" y="160"/>
                  </a:lnTo>
                  <a:lnTo>
                    <a:pt x="152" y="163"/>
                  </a:lnTo>
                  <a:lnTo>
                    <a:pt x="156" y="168"/>
                  </a:lnTo>
                  <a:lnTo>
                    <a:pt x="156" y="175"/>
                  </a:lnTo>
                  <a:lnTo>
                    <a:pt x="156" y="181"/>
                  </a:lnTo>
                  <a:lnTo>
                    <a:pt x="157" y="184"/>
                  </a:lnTo>
                  <a:lnTo>
                    <a:pt x="156" y="187"/>
                  </a:lnTo>
                  <a:lnTo>
                    <a:pt x="156" y="190"/>
                  </a:lnTo>
                  <a:lnTo>
                    <a:pt x="157" y="194"/>
                  </a:lnTo>
                  <a:lnTo>
                    <a:pt x="156" y="197"/>
                  </a:lnTo>
                  <a:lnTo>
                    <a:pt x="154" y="200"/>
                  </a:lnTo>
                  <a:lnTo>
                    <a:pt x="151" y="203"/>
                  </a:lnTo>
                  <a:lnTo>
                    <a:pt x="151" y="208"/>
                  </a:lnTo>
                  <a:lnTo>
                    <a:pt x="151" y="208"/>
                  </a:lnTo>
                  <a:lnTo>
                    <a:pt x="149" y="213"/>
                  </a:lnTo>
                  <a:lnTo>
                    <a:pt x="146" y="216"/>
                  </a:lnTo>
                  <a:lnTo>
                    <a:pt x="143" y="219"/>
                  </a:lnTo>
                  <a:lnTo>
                    <a:pt x="146" y="222"/>
                  </a:lnTo>
                  <a:lnTo>
                    <a:pt x="149" y="225"/>
                  </a:lnTo>
                  <a:lnTo>
                    <a:pt x="149" y="230"/>
                  </a:lnTo>
                  <a:lnTo>
                    <a:pt x="149" y="233"/>
                  </a:lnTo>
                  <a:lnTo>
                    <a:pt x="151" y="238"/>
                  </a:lnTo>
                  <a:lnTo>
                    <a:pt x="154" y="240"/>
                  </a:lnTo>
                  <a:lnTo>
                    <a:pt x="157" y="243"/>
                  </a:lnTo>
                  <a:lnTo>
                    <a:pt x="160" y="247"/>
                  </a:lnTo>
                  <a:lnTo>
                    <a:pt x="164" y="251"/>
                  </a:lnTo>
                  <a:lnTo>
                    <a:pt x="167" y="254"/>
                  </a:lnTo>
                  <a:lnTo>
                    <a:pt x="170" y="257"/>
                  </a:lnTo>
                  <a:lnTo>
                    <a:pt x="170" y="259"/>
                  </a:lnTo>
                  <a:lnTo>
                    <a:pt x="175" y="260"/>
                  </a:lnTo>
                  <a:lnTo>
                    <a:pt x="175" y="263"/>
                  </a:lnTo>
                  <a:lnTo>
                    <a:pt x="171" y="268"/>
                  </a:lnTo>
                  <a:lnTo>
                    <a:pt x="171" y="271"/>
                  </a:lnTo>
                  <a:lnTo>
                    <a:pt x="178" y="271"/>
                  </a:lnTo>
                  <a:lnTo>
                    <a:pt x="179" y="271"/>
                  </a:lnTo>
                  <a:lnTo>
                    <a:pt x="179" y="268"/>
                  </a:lnTo>
                  <a:lnTo>
                    <a:pt x="179" y="265"/>
                  </a:lnTo>
                  <a:lnTo>
                    <a:pt x="179" y="262"/>
                  </a:lnTo>
                  <a:lnTo>
                    <a:pt x="179" y="259"/>
                  </a:lnTo>
                  <a:lnTo>
                    <a:pt x="179" y="255"/>
                  </a:lnTo>
                  <a:lnTo>
                    <a:pt x="178" y="252"/>
                  </a:lnTo>
                  <a:lnTo>
                    <a:pt x="175" y="247"/>
                  </a:lnTo>
                  <a:lnTo>
                    <a:pt x="175" y="247"/>
                  </a:lnTo>
                  <a:lnTo>
                    <a:pt x="175" y="247"/>
                  </a:lnTo>
                  <a:lnTo>
                    <a:pt x="175" y="247"/>
                  </a:lnTo>
                  <a:lnTo>
                    <a:pt x="175" y="247"/>
                  </a:lnTo>
                  <a:lnTo>
                    <a:pt x="176" y="246"/>
                  </a:lnTo>
                  <a:lnTo>
                    <a:pt x="179" y="243"/>
                  </a:lnTo>
                  <a:lnTo>
                    <a:pt x="179" y="240"/>
                  </a:lnTo>
                  <a:lnTo>
                    <a:pt x="179" y="235"/>
                  </a:lnTo>
                  <a:lnTo>
                    <a:pt x="183" y="232"/>
                  </a:lnTo>
                  <a:lnTo>
                    <a:pt x="186" y="230"/>
                  </a:lnTo>
                  <a:lnTo>
                    <a:pt x="191" y="230"/>
                  </a:lnTo>
                  <a:lnTo>
                    <a:pt x="194" y="230"/>
                  </a:lnTo>
                  <a:lnTo>
                    <a:pt x="197" y="228"/>
                  </a:lnTo>
                  <a:lnTo>
                    <a:pt x="198" y="228"/>
                  </a:lnTo>
                  <a:lnTo>
                    <a:pt x="198" y="227"/>
                  </a:lnTo>
                  <a:lnTo>
                    <a:pt x="198" y="224"/>
                  </a:lnTo>
                  <a:lnTo>
                    <a:pt x="200" y="221"/>
                  </a:lnTo>
                  <a:lnTo>
                    <a:pt x="200" y="217"/>
                  </a:lnTo>
                  <a:lnTo>
                    <a:pt x="200" y="213"/>
                  </a:lnTo>
                  <a:lnTo>
                    <a:pt x="202" y="209"/>
                  </a:lnTo>
                  <a:lnTo>
                    <a:pt x="202" y="206"/>
                  </a:lnTo>
                  <a:lnTo>
                    <a:pt x="200" y="195"/>
                  </a:lnTo>
                  <a:lnTo>
                    <a:pt x="203" y="184"/>
                  </a:lnTo>
                  <a:lnTo>
                    <a:pt x="203" y="182"/>
                  </a:lnTo>
                  <a:lnTo>
                    <a:pt x="203" y="179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0" y="165"/>
                  </a:lnTo>
                  <a:lnTo>
                    <a:pt x="191" y="152"/>
                  </a:lnTo>
                  <a:lnTo>
                    <a:pt x="181" y="138"/>
                  </a:lnTo>
                  <a:lnTo>
                    <a:pt x="179" y="135"/>
                  </a:lnTo>
                  <a:lnTo>
                    <a:pt x="176" y="132"/>
                  </a:lnTo>
                  <a:lnTo>
                    <a:pt x="173" y="127"/>
                  </a:lnTo>
                  <a:lnTo>
                    <a:pt x="171" y="125"/>
                  </a:lnTo>
                  <a:lnTo>
                    <a:pt x="168" y="124"/>
                  </a:lnTo>
                  <a:lnTo>
                    <a:pt x="167" y="122"/>
                  </a:lnTo>
                  <a:lnTo>
                    <a:pt x="164" y="122"/>
                  </a:lnTo>
                  <a:lnTo>
                    <a:pt x="160" y="121"/>
                  </a:lnTo>
                  <a:lnTo>
                    <a:pt x="157" y="117"/>
                  </a:lnTo>
                  <a:lnTo>
                    <a:pt x="157" y="113"/>
                  </a:lnTo>
                  <a:lnTo>
                    <a:pt x="159" y="110"/>
                  </a:lnTo>
                  <a:lnTo>
                    <a:pt x="159" y="106"/>
                  </a:lnTo>
                  <a:lnTo>
                    <a:pt x="157" y="103"/>
                  </a:lnTo>
                  <a:lnTo>
                    <a:pt x="157" y="100"/>
                  </a:lnTo>
                  <a:lnTo>
                    <a:pt x="157" y="95"/>
                  </a:lnTo>
                  <a:lnTo>
                    <a:pt x="156" y="84"/>
                  </a:lnTo>
                  <a:lnTo>
                    <a:pt x="152" y="71"/>
                  </a:lnTo>
                  <a:lnTo>
                    <a:pt x="152" y="68"/>
                  </a:lnTo>
                  <a:lnTo>
                    <a:pt x="152" y="65"/>
                  </a:lnTo>
                  <a:lnTo>
                    <a:pt x="159" y="54"/>
                  </a:lnTo>
                  <a:lnTo>
                    <a:pt x="162" y="51"/>
                  </a:lnTo>
                  <a:lnTo>
                    <a:pt x="162" y="48"/>
                  </a:lnTo>
                  <a:lnTo>
                    <a:pt x="162" y="44"/>
                  </a:lnTo>
                  <a:lnTo>
                    <a:pt x="173" y="44"/>
                  </a:lnTo>
                  <a:lnTo>
                    <a:pt x="183" y="44"/>
                  </a:lnTo>
                  <a:lnTo>
                    <a:pt x="194" y="44"/>
                  </a:lnTo>
                  <a:lnTo>
                    <a:pt x="197" y="44"/>
                  </a:lnTo>
                  <a:lnTo>
                    <a:pt x="198" y="43"/>
                  </a:lnTo>
                  <a:lnTo>
                    <a:pt x="208" y="38"/>
                  </a:lnTo>
                  <a:lnTo>
                    <a:pt x="211" y="41"/>
                  </a:lnTo>
                  <a:lnTo>
                    <a:pt x="214" y="43"/>
                  </a:lnTo>
                  <a:lnTo>
                    <a:pt x="217" y="46"/>
                  </a:lnTo>
                  <a:lnTo>
                    <a:pt x="221" y="49"/>
                  </a:lnTo>
                  <a:lnTo>
                    <a:pt x="224" y="49"/>
                  </a:lnTo>
                  <a:lnTo>
                    <a:pt x="227" y="48"/>
                  </a:lnTo>
                  <a:lnTo>
                    <a:pt x="230" y="51"/>
                  </a:lnTo>
                  <a:lnTo>
                    <a:pt x="233" y="49"/>
                  </a:lnTo>
                  <a:lnTo>
                    <a:pt x="238" y="48"/>
                  </a:lnTo>
                  <a:lnTo>
                    <a:pt x="240" y="44"/>
                  </a:lnTo>
                  <a:lnTo>
                    <a:pt x="243" y="44"/>
                  </a:lnTo>
                  <a:lnTo>
                    <a:pt x="248" y="44"/>
                  </a:lnTo>
                  <a:lnTo>
                    <a:pt x="251" y="48"/>
                  </a:lnTo>
                  <a:lnTo>
                    <a:pt x="254" y="49"/>
                  </a:lnTo>
                  <a:lnTo>
                    <a:pt x="257" y="49"/>
                  </a:lnTo>
                  <a:lnTo>
                    <a:pt x="260" y="49"/>
                  </a:lnTo>
                  <a:lnTo>
                    <a:pt x="263" y="51"/>
                  </a:lnTo>
                  <a:lnTo>
                    <a:pt x="267" y="48"/>
                  </a:lnTo>
                  <a:lnTo>
                    <a:pt x="270" y="48"/>
                  </a:lnTo>
                  <a:lnTo>
                    <a:pt x="273" y="44"/>
                  </a:lnTo>
                  <a:lnTo>
                    <a:pt x="276" y="40"/>
                  </a:lnTo>
                  <a:lnTo>
                    <a:pt x="278" y="35"/>
                  </a:lnTo>
                  <a:lnTo>
                    <a:pt x="279" y="33"/>
                  </a:lnTo>
                  <a:lnTo>
                    <a:pt x="286" y="32"/>
                  </a:lnTo>
                  <a:lnTo>
                    <a:pt x="287" y="30"/>
                  </a:lnTo>
                  <a:lnTo>
                    <a:pt x="294" y="33"/>
                  </a:lnTo>
                  <a:lnTo>
                    <a:pt x="297" y="37"/>
                  </a:lnTo>
                  <a:lnTo>
                    <a:pt x="300" y="38"/>
                  </a:lnTo>
                  <a:lnTo>
                    <a:pt x="305" y="35"/>
                  </a:lnTo>
                  <a:lnTo>
                    <a:pt x="308" y="32"/>
                  </a:lnTo>
                  <a:lnTo>
                    <a:pt x="311" y="30"/>
                  </a:lnTo>
                  <a:lnTo>
                    <a:pt x="314" y="29"/>
                  </a:lnTo>
                  <a:lnTo>
                    <a:pt x="317" y="27"/>
                  </a:lnTo>
                  <a:lnTo>
                    <a:pt x="321" y="27"/>
                  </a:lnTo>
                  <a:lnTo>
                    <a:pt x="325" y="27"/>
                  </a:lnTo>
                  <a:lnTo>
                    <a:pt x="329" y="27"/>
                  </a:lnTo>
                  <a:lnTo>
                    <a:pt x="332" y="24"/>
                  </a:lnTo>
                  <a:lnTo>
                    <a:pt x="335" y="22"/>
                  </a:lnTo>
                  <a:lnTo>
                    <a:pt x="343" y="18"/>
                  </a:lnTo>
                  <a:lnTo>
                    <a:pt x="354" y="13"/>
                  </a:lnTo>
                  <a:lnTo>
                    <a:pt x="355" y="13"/>
                  </a:lnTo>
                  <a:lnTo>
                    <a:pt x="359" y="10"/>
                  </a:lnTo>
                  <a:lnTo>
                    <a:pt x="362" y="6"/>
                  </a:lnTo>
                  <a:lnTo>
                    <a:pt x="367" y="3"/>
                  </a:lnTo>
                  <a:lnTo>
                    <a:pt x="370" y="2"/>
                  </a:lnTo>
                  <a:lnTo>
                    <a:pt x="371" y="0"/>
                  </a:lnTo>
                  <a:lnTo>
                    <a:pt x="375" y="0"/>
                  </a:lnTo>
                  <a:lnTo>
                    <a:pt x="376" y="5"/>
                  </a:lnTo>
                  <a:lnTo>
                    <a:pt x="376" y="8"/>
                  </a:lnTo>
                  <a:lnTo>
                    <a:pt x="373" y="11"/>
                  </a:lnTo>
                  <a:lnTo>
                    <a:pt x="376" y="13"/>
                  </a:lnTo>
                  <a:lnTo>
                    <a:pt x="375" y="16"/>
                  </a:lnTo>
                  <a:lnTo>
                    <a:pt x="373" y="21"/>
                  </a:lnTo>
                  <a:lnTo>
                    <a:pt x="375" y="24"/>
                  </a:lnTo>
                  <a:lnTo>
                    <a:pt x="373" y="27"/>
                  </a:lnTo>
                  <a:lnTo>
                    <a:pt x="370" y="30"/>
                  </a:lnTo>
                  <a:lnTo>
                    <a:pt x="368" y="35"/>
                  </a:lnTo>
                  <a:lnTo>
                    <a:pt x="368" y="35"/>
                  </a:lnTo>
                  <a:lnTo>
                    <a:pt x="371" y="38"/>
                  </a:lnTo>
                  <a:lnTo>
                    <a:pt x="371" y="41"/>
                  </a:lnTo>
                  <a:lnTo>
                    <a:pt x="371" y="44"/>
                  </a:lnTo>
                  <a:lnTo>
                    <a:pt x="370" y="48"/>
                  </a:lnTo>
                  <a:lnTo>
                    <a:pt x="370" y="49"/>
                  </a:lnTo>
                  <a:lnTo>
                    <a:pt x="371" y="52"/>
                  </a:lnTo>
                  <a:lnTo>
                    <a:pt x="373" y="62"/>
                  </a:lnTo>
                  <a:lnTo>
                    <a:pt x="371" y="71"/>
                  </a:lnTo>
                  <a:lnTo>
                    <a:pt x="370" y="71"/>
                  </a:lnTo>
                  <a:lnTo>
                    <a:pt x="373" y="75"/>
                  </a:lnTo>
                  <a:lnTo>
                    <a:pt x="373" y="79"/>
                  </a:lnTo>
                  <a:lnTo>
                    <a:pt x="370" y="83"/>
                  </a:lnTo>
                  <a:lnTo>
                    <a:pt x="373" y="86"/>
                  </a:lnTo>
                  <a:lnTo>
                    <a:pt x="373" y="89"/>
                  </a:lnTo>
                  <a:lnTo>
                    <a:pt x="373" y="94"/>
                  </a:lnTo>
                  <a:lnTo>
                    <a:pt x="373" y="97"/>
                  </a:lnTo>
                  <a:lnTo>
                    <a:pt x="371" y="100"/>
                  </a:lnTo>
                  <a:lnTo>
                    <a:pt x="375" y="102"/>
                  </a:lnTo>
                  <a:lnTo>
                    <a:pt x="373" y="111"/>
                  </a:lnTo>
                  <a:lnTo>
                    <a:pt x="371" y="124"/>
                  </a:lnTo>
                  <a:lnTo>
                    <a:pt x="371" y="124"/>
                  </a:lnTo>
                  <a:lnTo>
                    <a:pt x="371" y="127"/>
                  </a:lnTo>
                  <a:lnTo>
                    <a:pt x="373" y="132"/>
                  </a:lnTo>
                  <a:lnTo>
                    <a:pt x="373" y="135"/>
                  </a:lnTo>
                  <a:lnTo>
                    <a:pt x="373" y="138"/>
                  </a:lnTo>
                  <a:lnTo>
                    <a:pt x="375" y="141"/>
                  </a:lnTo>
                  <a:lnTo>
                    <a:pt x="375" y="146"/>
                  </a:lnTo>
                  <a:lnTo>
                    <a:pt x="373" y="149"/>
                  </a:lnTo>
                  <a:lnTo>
                    <a:pt x="373" y="152"/>
                  </a:lnTo>
                  <a:lnTo>
                    <a:pt x="378" y="151"/>
                  </a:lnTo>
                  <a:lnTo>
                    <a:pt x="378" y="155"/>
                  </a:lnTo>
                  <a:lnTo>
                    <a:pt x="375" y="159"/>
                  </a:lnTo>
                  <a:lnTo>
                    <a:pt x="373" y="162"/>
                  </a:lnTo>
                  <a:lnTo>
                    <a:pt x="375" y="165"/>
                  </a:lnTo>
                  <a:lnTo>
                    <a:pt x="375" y="165"/>
                  </a:lnTo>
                  <a:lnTo>
                    <a:pt x="378" y="160"/>
                  </a:lnTo>
                  <a:lnTo>
                    <a:pt x="381" y="162"/>
                  </a:lnTo>
                  <a:lnTo>
                    <a:pt x="381" y="165"/>
                  </a:lnTo>
                  <a:lnTo>
                    <a:pt x="379" y="170"/>
                  </a:lnTo>
                  <a:lnTo>
                    <a:pt x="381" y="173"/>
                  </a:lnTo>
                  <a:lnTo>
                    <a:pt x="381" y="176"/>
                  </a:lnTo>
                  <a:lnTo>
                    <a:pt x="376" y="179"/>
                  </a:lnTo>
                  <a:lnTo>
                    <a:pt x="375" y="181"/>
                  </a:lnTo>
                  <a:lnTo>
                    <a:pt x="378" y="184"/>
                  </a:lnTo>
                  <a:lnTo>
                    <a:pt x="375" y="184"/>
                  </a:lnTo>
                  <a:lnTo>
                    <a:pt x="376" y="187"/>
                  </a:lnTo>
                  <a:lnTo>
                    <a:pt x="371" y="189"/>
                  </a:lnTo>
                  <a:lnTo>
                    <a:pt x="370" y="192"/>
                  </a:lnTo>
                  <a:lnTo>
                    <a:pt x="373" y="192"/>
                  </a:lnTo>
                  <a:lnTo>
                    <a:pt x="375" y="195"/>
                  </a:lnTo>
                  <a:lnTo>
                    <a:pt x="371" y="198"/>
                  </a:lnTo>
                  <a:lnTo>
                    <a:pt x="370" y="201"/>
                  </a:lnTo>
                  <a:lnTo>
                    <a:pt x="368" y="206"/>
                  </a:lnTo>
                  <a:lnTo>
                    <a:pt x="365" y="208"/>
                  </a:lnTo>
                  <a:lnTo>
                    <a:pt x="363" y="213"/>
                  </a:lnTo>
                  <a:lnTo>
                    <a:pt x="360" y="216"/>
                  </a:lnTo>
                  <a:lnTo>
                    <a:pt x="357" y="219"/>
                  </a:lnTo>
                  <a:lnTo>
                    <a:pt x="354" y="222"/>
                  </a:lnTo>
                  <a:lnTo>
                    <a:pt x="352" y="227"/>
                  </a:lnTo>
                  <a:lnTo>
                    <a:pt x="351" y="230"/>
                  </a:lnTo>
                  <a:lnTo>
                    <a:pt x="349" y="233"/>
                  </a:lnTo>
                  <a:lnTo>
                    <a:pt x="346" y="235"/>
                  </a:lnTo>
                  <a:lnTo>
                    <a:pt x="343" y="236"/>
                  </a:lnTo>
                  <a:lnTo>
                    <a:pt x="341" y="238"/>
                  </a:lnTo>
                  <a:lnTo>
                    <a:pt x="341" y="240"/>
                  </a:lnTo>
                  <a:lnTo>
                    <a:pt x="340" y="243"/>
                  </a:lnTo>
                  <a:lnTo>
                    <a:pt x="338" y="247"/>
                  </a:lnTo>
                  <a:lnTo>
                    <a:pt x="335" y="249"/>
                  </a:lnTo>
                  <a:lnTo>
                    <a:pt x="327" y="254"/>
                  </a:lnTo>
                  <a:lnTo>
                    <a:pt x="324" y="255"/>
                  </a:lnTo>
                  <a:lnTo>
                    <a:pt x="321" y="259"/>
                  </a:lnTo>
                  <a:lnTo>
                    <a:pt x="316" y="260"/>
                  </a:lnTo>
                  <a:lnTo>
                    <a:pt x="316" y="262"/>
                  </a:lnTo>
                  <a:lnTo>
                    <a:pt x="316" y="265"/>
                  </a:lnTo>
                  <a:lnTo>
                    <a:pt x="308" y="266"/>
                  </a:lnTo>
                  <a:lnTo>
                    <a:pt x="300" y="266"/>
                  </a:lnTo>
                  <a:lnTo>
                    <a:pt x="298" y="270"/>
                  </a:lnTo>
                  <a:lnTo>
                    <a:pt x="295" y="271"/>
                  </a:lnTo>
                  <a:lnTo>
                    <a:pt x="292" y="273"/>
                  </a:lnTo>
                  <a:lnTo>
                    <a:pt x="287" y="274"/>
                  </a:lnTo>
                  <a:lnTo>
                    <a:pt x="284" y="276"/>
                  </a:lnTo>
                  <a:lnTo>
                    <a:pt x="281" y="278"/>
                  </a:lnTo>
                  <a:lnTo>
                    <a:pt x="279" y="276"/>
                  </a:lnTo>
                  <a:lnTo>
                    <a:pt x="278" y="279"/>
                  </a:lnTo>
                  <a:lnTo>
                    <a:pt x="275" y="281"/>
                  </a:lnTo>
                  <a:lnTo>
                    <a:pt x="270" y="281"/>
                  </a:lnTo>
                  <a:lnTo>
                    <a:pt x="267" y="284"/>
                  </a:lnTo>
                  <a:lnTo>
                    <a:pt x="263" y="286"/>
                  </a:lnTo>
                  <a:lnTo>
                    <a:pt x="260" y="287"/>
                  </a:lnTo>
                  <a:lnTo>
                    <a:pt x="259" y="289"/>
                  </a:lnTo>
                  <a:lnTo>
                    <a:pt x="252" y="292"/>
                  </a:lnTo>
                  <a:lnTo>
                    <a:pt x="248" y="295"/>
                  </a:lnTo>
                  <a:lnTo>
                    <a:pt x="243" y="300"/>
                  </a:lnTo>
                  <a:lnTo>
                    <a:pt x="240" y="305"/>
                  </a:lnTo>
                  <a:lnTo>
                    <a:pt x="237" y="305"/>
                  </a:lnTo>
                  <a:lnTo>
                    <a:pt x="232" y="303"/>
                  </a:lnTo>
                  <a:lnTo>
                    <a:pt x="235" y="306"/>
                  </a:lnTo>
                  <a:lnTo>
                    <a:pt x="238" y="309"/>
                  </a:lnTo>
                  <a:lnTo>
                    <a:pt x="235" y="312"/>
                  </a:lnTo>
                  <a:lnTo>
                    <a:pt x="232" y="317"/>
                  </a:lnTo>
                  <a:lnTo>
                    <a:pt x="229" y="320"/>
                  </a:lnTo>
                  <a:lnTo>
                    <a:pt x="225" y="324"/>
                  </a:lnTo>
                  <a:lnTo>
                    <a:pt x="222" y="327"/>
                  </a:lnTo>
                  <a:lnTo>
                    <a:pt x="219" y="330"/>
                  </a:lnTo>
                  <a:lnTo>
                    <a:pt x="216" y="335"/>
                  </a:lnTo>
                  <a:lnTo>
                    <a:pt x="216" y="339"/>
                  </a:lnTo>
                  <a:lnTo>
                    <a:pt x="213" y="339"/>
                  </a:lnTo>
                  <a:lnTo>
                    <a:pt x="210" y="335"/>
                  </a:lnTo>
                  <a:lnTo>
                    <a:pt x="210" y="336"/>
                  </a:lnTo>
                  <a:lnTo>
                    <a:pt x="211" y="338"/>
                  </a:lnTo>
                  <a:lnTo>
                    <a:pt x="211" y="343"/>
                  </a:lnTo>
                  <a:lnTo>
                    <a:pt x="210" y="343"/>
                  </a:lnTo>
                  <a:lnTo>
                    <a:pt x="206" y="343"/>
                  </a:lnTo>
                  <a:lnTo>
                    <a:pt x="206" y="339"/>
                  </a:lnTo>
                  <a:lnTo>
                    <a:pt x="205" y="339"/>
                  </a:lnTo>
                  <a:lnTo>
                    <a:pt x="203" y="343"/>
                  </a:lnTo>
                  <a:lnTo>
                    <a:pt x="200" y="346"/>
                  </a:lnTo>
                  <a:lnTo>
                    <a:pt x="197" y="347"/>
                  </a:lnTo>
                  <a:lnTo>
                    <a:pt x="194" y="351"/>
                  </a:lnTo>
                  <a:lnTo>
                    <a:pt x="189" y="354"/>
                  </a:lnTo>
                  <a:lnTo>
                    <a:pt x="187" y="357"/>
                  </a:lnTo>
                  <a:lnTo>
                    <a:pt x="184" y="360"/>
                  </a:lnTo>
                  <a:lnTo>
                    <a:pt x="181" y="363"/>
                  </a:lnTo>
                  <a:lnTo>
                    <a:pt x="179" y="368"/>
                  </a:lnTo>
                  <a:lnTo>
                    <a:pt x="175" y="371"/>
                  </a:lnTo>
                  <a:lnTo>
                    <a:pt x="171" y="374"/>
                  </a:lnTo>
                  <a:lnTo>
                    <a:pt x="168" y="376"/>
                  </a:lnTo>
                  <a:lnTo>
                    <a:pt x="165" y="381"/>
                  </a:lnTo>
                  <a:lnTo>
                    <a:pt x="162" y="381"/>
                  </a:lnTo>
                  <a:lnTo>
                    <a:pt x="159" y="382"/>
                  </a:lnTo>
                  <a:lnTo>
                    <a:pt x="159" y="382"/>
                  </a:lnTo>
                  <a:lnTo>
                    <a:pt x="157" y="379"/>
                  </a:lnTo>
                  <a:lnTo>
                    <a:pt x="152" y="376"/>
                  </a:lnTo>
                  <a:lnTo>
                    <a:pt x="152" y="371"/>
                  </a:lnTo>
                  <a:lnTo>
                    <a:pt x="148" y="373"/>
                  </a:lnTo>
                  <a:lnTo>
                    <a:pt x="151" y="373"/>
                  </a:lnTo>
                  <a:lnTo>
                    <a:pt x="152" y="378"/>
                  </a:lnTo>
                  <a:lnTo>
                    <a:pt x="157" y="381"/>
                  </a:lnTo>
                  <a:lnTo>
                    <a:pt x="154" y="384"/>
                  </a:lnTo>
                  <a:lnTo>
                    <a:pt x="156" y="385"/>
                  </a:lnTo>
                  <a:lnTo>
                    <a:pt x="156" y="389"/>
                  </a:lnTo>
                  <a:lnTo>
                    <a:pt x="156" y="392"/>
                  </a:lnTo>
                  <a:lnTo>
                    <a:pt x="156" y="395"/>
                  </a:lnTo>
                  <a:lnTo>
                    <a:pt x="152" y="397"/>
                  </a:lnTo>
                  <a:lnTo>
                    <a:pt x="154" y="400"/>
                  </a:lnTo>
                  <a:lnTo>
                    <a:pt x="152" y="403"/>
                  </a:lnTo>
                  <a:lnTo>
                    <a:pt x="152" y="411"/>
                  </a:lnTo>
                  <a:lnTo>
                    <a:pt x="157" y="412"/>
                  </a:lnTo>
                  <a:lnTo>
                    <a:pt x="159" y="416"/>
                  </a:lnTo>
                  <a:lnTo>
                    <a:pt x="162" y="417"/>
                  </a:lnTo>
                  <a:lnTo>
                    <a:pt x="164" y="420"/>
                  </a:lnTo>
                  <a:lnTo>
                    <a:pt x="165" y="425"/>
                  </a:lnTo>
                  <a:lnTo>
                    <a:pt x="167" y="428"/>
                  </a:lnTo>
                  <a:lnTo>
                    <a:pt x="167" y="428"/>
                  </a:lnTo>
                  <a:lnTo>
                    <a:pt x="165" y="431"/>
                  </a:lnTo>
                  <a:lnTo>
                    <a:pt x="165" y="435"/>
                  </a:lnTo>
                  <a:lnTo>
                    <a:pt x="165" y="438"/>
                  </a:lnTo>
                  <a:lnTo>
                    <a:pt x="165" y="441"/>
                  </a:lnTo>
                  <a:lnTo>
                    <a:pt x="167" y="438"/>
                  </a:lnTo>
                  <a:lnTo>
                    <a:pt x="167" y="443"/>
                  </a:lnTo>
                  <a:lnTo>
                    <a:pt x="167" y="446"/>
                  </a:lnTo>
                  <a:lnTo>
                    <a:pt x="168" y="449"/>
                  </a:lnTo>
                  <a:lnTo>
                    <a:pt x="170" y="452"/>
                  </a:lnTo>
                  <a:lnTo>
                    <a:pt x="171" y="455"/>
                  </a:lnTo>
                  <a:lnTo>
                    <a:pt x="171" y="460"/>
                  </a:lnTo>
                  <a:lnTo>
                    <a:pt x="171" y="463"/>
                  </a:lnTo>
                  <a:lnTo>
                    <a:pt x="173" y="466"/>
                  </a:lnTo>
                  <a:lnTo>
                    <a:pt x="173" y="469"/>
                  </a:lnTo>
                  <a:lnTo>
                    <a:pt x="173" y="473"/>
                  </a:lnTo>
                  <a:lnTo>
                    <a:pt x="173" y="476"/>
                  </a:lnTo>
                  <a:lnTo>
                    <a:pt x="173" y="479"/>
                  </a:lnTo>
                  <a:lnTo>
                    <a:pt x="171" y="482"/>
                  </a:lnTo>
                  <a:lnTo>
                    <a:pt x="171" y="485"/>
                  </a:lnTo>
                  <a:lnTo>
                    <a:pt x="175" y="490"/>
                  </a:lnTo>
                  <a:lnTo>
                    <a:pt x="175" y="487"/>
                  </a:lnTo>
                  <a:lnTo>
                    <a:pt x="175" y="482"/>
                  </a:lnTo>
                  <a:lnTo>
                    <a:pt x="176" y="479"/>
                  </a:lnTo>
                  <a:lnTo>
                    <a:pt x="179" y="476"/>
                  </a:lnTo>
                  <a:lnTo>
                    <a:pt x="179" y="479"/>
                  </a:lnTo>
                  <a:lnTo>
                    <a:pt x="179" y="482"/>
                  </a:lnTo>
                  <a:lnTo>
                    <a:pt x="181" y="479"/>
                  </a:lnTo>
                  <a:lnTo>
                    <a:pt x="179" y="482"/>
                  </a:lnTo>
                  <a:lnTo>
                    <a:pt x="179" y="484"/>
                  </a:lnTo>
                  <a:lnTo>
                    <a:pt x="179" y="487"/>
                  </a:lnTo>
                  <a:lnTo>
                    <a:pt x="178" y="492"/>
                  </a:lnTo>
                  <a:lnTo>
                    <a:pt x="178" y="495"/>
                  </a:lnTo>
                  <a:lnTo>
                    <a:pt x="178" y="498"/>
                  </a:lnTo>
                  <a:lnTo>
                    <a:pt x="178" y="501"/>
                  </a:lnTo>
                  <a:lnTo>
                    <a:pt x="178" y="506"/>
                  </a:lnTo>
                  <a:lnTo>
                    <a:pt x="181" y="508"/>
                  </a:lnTo>
                  <a:lnTo>
                    <a:pt x="176" y="520"/>
                  </a:lnTo>
                  <a:lnTo>
                    <a:pt x="175" y="530"/>
                  </a:lnTo>
                  <a:lnTo>
                    <a:pt x="171" y="539"/>
                  </a:lnTo>
                  <a:lnTo>
                    <a:pt x="171" y="550"/>
                  </a:lnTo>
                  <a:lnTo>
                    <a:pt x="171" y="547"/>
                  </a:lnTo>
                  <a:lnTo>
                    <a:pt x="175" y="547"/>
                  </a:lnTo>
                  <a:lnTo>
                    <a:pt x="176" y="544"/>
                  </a:lnTo>
                  <a:lnTo>
                    <a:pt x="176" y="547"/>
                  </a:lnTo>
                  <a:lnTo>
                    <a:pt x="176" y="549"/>
                  </a:lnTo>
                  <a:lnTo>
                    <a:pt x="176" y="552"/>
                  </a:lnTo>
                  <a:lnTo>
                    <a:pt x="175" y="554"/>
                  </a:lnTo>
                  <a:lnTo>
                    <a:pt x="175" y="557"/>
                  </a:lnTo>
                  <a:lnTo>
                    <a:pt x="168" y="568"/>
                  </a:lnTo>
                  <a:lnTo>
                    <a:pt x="159" y="577"/>
                  </a:lnTo>
                  <a:lnTo>
                    <a:pt x="141" y="585"/>
                  </a:lnTo>
                  <a:lnTo>
                    <a:pt x="124" y="593"/>
                  </a:lnTo>
                  <a:lnTo>
                    <a:pt x="116" y="596"/>
                  </a:lnTo>
                  <a:lnTo>
                    <a:pt x="108" y="600"/>
                  </a:lnTo>
                  <a:lnTo>
                    <a:pt x="103" y="601"/>
                  </a:lnTo>
                  <a:lnTo>
                    <a:pt x="102" y="603"/>
                  </a:lnTo>
                  <a:lnTo>
                    <a:pt x="99" y="604"/>
                  </a:lnTo>
                  <a:lnTo>
                    <a:pt x="94" y="604"/>
                  </a:lnTo>
                  <a:lnTo>
                    <a:pt x="92" y="606"/>
                  </a:lnTo>
                  <a:lnTo>
                    <a:pt x="91" y="609"/>
                  </a:lnTo>
                  <a:lnTo>
                    <a:pt x="91" y="609"/>
                  </a:lnTo>
                  <a:lnTo>
                    <a:pt x="87" y="611"/>
                  </a:lnTo>
                  <a:lnTo>
                    <a:pt x="83" y="614"/>
                  </a:lnTo>
                  <a:lnTo>
                    <a:pt x="80" y="615"/>
                  </a:lnTo>
                  <a:lnTo>
                    <a:pt x="78" y="619"/>
                  </a:lnTo>
                  <a:lnTo>
                    <a:pt x="76" y="622"/>
                  </a:lnTo>
                  <a:lnTo>
                    <a:pt x="75" y="626"/>
                  </a:lnTo>
                  <a:lnTo>
                    <a:pt x="75" y="626"/>
                  </a:lnTo>
                  <a:lnTo>
                    <a:pt x="73" y="630"/>
                  </a:lnTo>
                  <a:lnTo>
                    <a:pt x="68" y="633"/>
                  </a:lnTo>
                  <a:lnTo>
                    <a:pt x="65" y="634"/>
                  </a:lnTo>
                  <a:lnTo>
                    <a:pt x="65" y="634"/>
                  </a:lnTo>
                  <a:lnTo>
                    <a:pt x="70" y="634"/>
                  </a:lnTo>
                  <a:lnTo>
                    <a:pt x="72" y="639"/>
                  </a:lnTo>
                  <a:lnTo>
                    <a:pt x="72" y="642"/>
                  </a:lnTo>
                  <a:lnTo>
                    <a:pt x="75" y="642"/>
                  </a:lnTo>
                  <a:lnTo>
                    <a:pt x="78" y="644"/>
                  </a:lnTo>
                  <a:lnTo>
                    <a:pt x="81" y="641"/>
                  </a:lnTo>
                  <a:lnTo>
                    <a:pt x="80" y="655"/>
                  </a:lnTo>
                  <a:lnTo>
                    <a:pt x="78" y="669"/>
                  </a:lnTo>
                  <a:lnTo>
                    <a:pt x="75" y="669"/>
                  </a:lnTo>
                  <a:lnTo>
                    <a:pt x="70" y="669"/>
                  </a:lnTo>
                  <a:lnTo>
                    <a:pt x="59" y="669"/>
                  </a:lnTo>
                  <a:lnTo>
                    <a:pt x="56" y="668"/>
                  </a:lnTo>
                  <a:lnTo>
                    <a:pt x="51" y="668"/>
                  </a:lnTo>
                  <a:lnTo>
                    <a:pt x="53" y="658"/>
                  </a:lnTo>
                  <a:lnTo>
                    <a:pt x="51" y="650"/>
                  </a:lnTo>
                  <a:lnTo>
                    <a:pt x="51" y="646"/>
                  </a:lnTo>
                  <a:lnTo>
                    <a:pt x="51" y="642"/>
                  </a:lnTo>
                  <a:lnTo>
                    <a:pt x="51" y="641"/>
                  </a:lnTo>
                  <a:lnTo>
                    <a:pt x="51" y="638"/>
                  </a:lnTo>
                  <a:lnTo>
                    <a:pt x="53" y="634"/>
                  </a:lnTo>
                  <a:lnTo>
                    <a:pt x="49" y="634"/>
                  </a:lnTo>
                  <a:lnTo>
                    <a:pt x="48" y="633"/>
                  </a:lnTo>
                  <a:lnTo>
                    <a:pt x="46" y="628"/>
                  </a:lnTo>
                  <a:lnTo>
                    <a:pt x="46" y="625"/>
                  </a:lnTo>
                  <a:lnTo>
                    <a:pt x="49" y="622"/>
                  </a:lnTo>
                  <a:lnTo>
                    <a:pt x="49" y="619"/>
                  </a:lnTo>
                  <a:lnTo>
                    <a:pt x="49" y="615"/>
                  </a:lnTo>
                  <a:lnTo>
                    <a:pt x="49" y="612"/>
                  </a:lnTo>
                  <a:lnTo>
                    <a:pt x="49" y="612"/>
                  </a:lnTo>
                  <a:lnTo>
                    <a:pt x="49" y="611"/>
                  </a:lnTo>
                  <a:lnTo>
                    <a:pt x="51" y="607"/>
                  </a:lnTo>
                  <a:lnTo>
                    <a:pt x="51" y="596"/>
                  </a:lnTo>
                  <a:lnTo>
                    <a:pt x="51" y="585"/>
                  </a:lnTo>
                  <a:lnTo>
                    <a:pt x="51" y="577"/>
                  </a:lnTo>
                  <a:lnTo>
                    <a:pt x="51" y="574"/>
                  </a:lnTo>
                  <a:lnTo>
                    <a:pt x="53" y="571"/>
                  </a:lnTo>
                  <a:lnTo>
                    <a:pt x="53" y="571"/>
                  </a:lnTo>
                  <a:lnTo>
                    <a:pt x="51" y="566"/>
                  </a:lnTo>
                  <a:lnTo>
                    <a:pt x="48" y="558"/>
                  </a:lnTo>
                  <a:lnTo>
                    <a:pt x="48" y="550"/>
                  </a:lnTo>
                  <a:lnTo>
                    <a:pt x="45" y="547"/>
                  </a:lnTo>
                  <a:lnTo>
                    <a:pt x="43" y="542"/>
                  </a:lnTo>
                  <a:lnTo>
                    <a:pt x="41" y="539"/>
                  </a:lnTo>
                  <a:lnTo>
                    <a:pt x="41" y="534"/>
                  </a:lnTo>
                  <a:lnTo>
                    <a:pt x="38" y="531"/>
                  </a:lnTo>
                  <a:lnTo>
                    <a:pt x="37" y="528"/>
                  </a:lnTo>
                  <a:lnTo>
                    <a:pt x="38" y="522"/>
                  </a:lnTo>
                  <a:lnTo>
                    <a:pt x="37" y="517"/>
                  </a:lnTo>
                  <a:lnTo>
                    <a:pt x="37" y="512"/>
                  </a:lnTo>
                  <a:lnTo>
                    <a:pt x="35" y="506"/>
                  </a:lnTo>
                  <a:lnTo>
                    <a:pt x="32" y="496"/>
                  </a:lnTo>
                  <a:lnTo>
                    <a:pt x="30" y="487"/>
                  </a:lnTo>
                  <a:lnTo>
                    <a:pt x="38" y="479"/>
                  </a:lnTo>
                  <a:lnTo>
                    <a:pt x="48" y="468"/>
                  </a:lnTo>
                  <a:lnTo>
                    <a:pt x="59" y="455"/>
                  </a:lnTo>
                  <a:lnTo>
                    <a:pt x="70" y="443"/>
                  </a:lnTo>
                  <a:lnTo>
                    <a:pt x="73" y="444"/>
                  </a:lnTo>
                  <a:lnTo>
                    <a:pt x="70" y="436"/>
                  </a:lnTo>
                  <a:lnTo>
                    <a:pt x="70" y="433"/>
                  </a:lnTo>
                  <a:lnTo>
                    <a:pt x="73" y="430"/>
                  </a:lnTo>
                  <a:lnTo>
                    <a:pt x="75" y="425"/>
                  </a:lnTo>
                  <a:lnTo>
                    <a:pt x="75" y="422"/>
                  </a:lnTo>
                  <a:lnTo>
                    <a:pt x="75" y="414"/>
                  </a:lnTo>
                  <a:lnTo>
                    <a:pt x="78" y="411"/>
                  </a:lnTo>
                  <a:lnTo>
                    <a:pt x="81" y="409"/>
                  </a:lnTo>
                  <a:lnTo>
                    <a:pt x="84" y="406"/>
                  </a:lnTo>
                  <a:lnTo>
                    <a:pt x="84" y="406"/>
                  </a:lnTo>
                  <a:lnTo>
                    <a:pt x="87" y="403"/>
                  </a:lnTo>
                  <a:lnTo>
                    <a:pt x="87" y="401"/>
                  </a:lnTo>
                  <a:lnTo>
                    <a:pt x="89" y="398"/>
                  </a:lnTo>
                  <a:lnTo>
                    <a:pt x="89" y="395"/>
                  </a:lnTo>
                  <a:lnTo>
                    <a:pt x="94" y="389"/>
                  </a:lnTo>
                  <a:lnTo>
                    <a:pt x="95" y="385"/>
                  </a:lnTo>
                  <a:lnTo>
                    <a:pt x="94" y="381"/>
                  </a:lnTo>
                  <a:lnTo>
                    <a:pt x="92" y="374"/>
                  </a:lnTo>
                  <a:lnTo>
                    <a:pt x="89" y="376"/>
                  </a:lnTo>
                  <a:lnTo>
                    <a:pt x="89" y="373"/>
                  </a:lnTo>
                  <a:lnTo>
                    <a:pt x="89" y="370"/>
                  </a:lnTo>
                  <a:lnTo>
                    <a:pt x="86" y="366"/>
                  </a:lnTo>
                  <a:lnTo>
                    <a:pt x="87" y="362"/>
                  </a:lnTo>
                  <a:lnTo>
                    <a:pt x="89" y="358"/>
                  </a:lnTo>
                  <a:lnTo>
                    <a:pt x="89" y="355"/>
                  </a:lnTo>
                  <a:lnTo>
                    <a:pt x="91" y="352"/>
                  </a:lnTo>
                  <a:lnTo>
                    <a:pt x="87" y="349"/>
                  </a:lnTo>
                  <a:lnTo>
                    <a:pt x="84" y="347"/>
                  </a:lnTo>
                  <a:lnTo>
                    <a:pt x="84" y="347"/>
                  </a:lnTo>
                  <a:lnTo>
                    <a:pt x="86" y="344"/>
                  </a:lnTo>
                  <a:lnTo>
                    <a:pt x="84" y="344"/>
                  </a:lnTo>
                  <a:lnTo>
                    <a:pt x="86" y="341"/>
                  </a:lnTo>
                  <a:lnTo>
                    <a:pt x="89" y="338"/>
                  </a:lnTo>
                  <a:lnTo>
                    <a:pt x="92" y="339"/>
                  </a:lnTo>
                  <a:lnTo>
                    <a:pt x="94" y="335"/>
                  </a:lnTo>
                  <a:lnTo>
                    <a:pt x="92" y="332"/>
                  </a:lnTo>
                  <a:lnTo>
                    <a:pt x="92" y="328"/>
                  </a:lnTo>
                  <a:lnTo>
                    <a:pt x="95" y="327"/>
                  </a:lnTo>
                  <a:lnTo>
                    <a:pt x="95" y="324"/>
                  </a:lnTo>
                  <a:lnTo>
                    <a:pt x="97" y="324"/>
                  </a:lnTo>
                  <a:lnTo>
                    <a:pt x="99" y="320"/>
                  </a:lnTo>
                  <a:lnTo>
                    <a:pt x="95" y="319"/>
                  </a:lnTo>
                  <a:lnTo>
                    <a:pt x="95" y="314"/>
                  </a:lnTo>
                  <a:lnTo>
                    <a:pt x="95" y="311"/>
                  </a:lnTo>
                  <a:lnTo>
                    <a:pt x="95" y="308"/>
                  </a:lnTo>
                  <a:lnTo>
                    <a:pt x="95" y="305"/>
                  </a:lnTo>
                  <a:lnTo>
                    <a:pt x="95" y="300"/>
                  </a:lnTo>
                  <a:lnTo>
                    <a:pt x="97" y="297"/>
                  </a:lnTo>
                  <a:lnTo>
                    <a:pt x="97" y="293"/>
                  </a:lnTo>
                  <a:lnTo>
                    <a:pt x="99" y="290"/>
                  </a:lnTo>
                  <a:lnTo>
                    <a:pt x="95" y="287"/>
                  </a:lnTo>
                  <a:lnTo>
                    <a:pt x="97" y="282"/>
                  </a:lnTo>
                  <a:lnTo>
                    <a:pt x="99" y="281"/>
                  </a:lnTo>
                  <a:lnTo>
                    <a:pt x="99" y="281"/>
                  </a:lnTo>
                  <a:lnTo>
                    <a:pt x="97" y="274"/>
                  </a:lnTo>
                  <a:lnTo>
                    <a:pt x="92" y="263"/>
                  </a:lnTo>
                  <a:lnTo>
                    <a:pt x="94" y="262"/>
                  </a:lnTo>
                  <a:lnTo>
                    <a:pt x="97" y="257"/>
                  </a:lnTo>
                  <a:lnTo>
                    <a:pt x="97" y="254"/>
                  </a:lnTo>
                  <a:lnTo>
                    <a:pt x="97" y="254"/>
                  </a:lnTo>
                  <a:lnTo>
                    <a:pt x="94" y="254"/>
                  </a:lnTo>
                  <a:lnTo>
                    <a:pt x="89" y="254"/>
                  </a:lnTo>
                  <a:lnTo>
                    <a:pt x="87" y="252"/>
                  </a:lnTo>
                  <a:lnTo>
                    <a:pt x="87" y="249"/>
                  </a:lnTo>
                  <a:lnTo>
                    <a:pt x="83" y="247"/>
                  </a:lnTo>
                  <a:lnTo>
                    <a:pt x="80" y="246"/>
                  </a:lnTo>
                  <a:lnTo>
                    <a:pt x="76" y="244"/>
                  </a:lnTo>
                  <a:lnTo>
                    <a:pt x="73" y="243"/>
                  </a:lnTo>
                  <a:lnTo>
                    <a:pt x="70" y="243"/>
                  </a:lnTo>
                  <a:lnTo>
                    <a:pt x="65" y="243"/>
                  </a:lnTo>
                  <a:lnTo>
                    <a:pt x="62" y="243"/>
                  </a:lnTo>
                  <a:lnTo>
                    <a:pt x="59" y="240"/>
                  </a:lnTo>
                  <a:lnTo>
                    <a:pt x="53" y="233"/>
                  </a:lnTo>
                  <a:lnTo>
                    <a:pt x="48" y="233"/>
                  </a:lnTo>
                  <a:lnTo>
                    <a:pt x="45" y="232"/>
                  </a:lnTo>
                  <a:lnTo>
                    <a:pt x="41" y="230"/>
                  </a:lnTo>
                  <a:lnTo>
                    <a:pt x="38" y="227"/>
                  </a:lnTo>
                  <a:lnTo>
                    <a:pt x="35" y="225"/>
                  </a:lnTo>
                  <a:lnTo>
                    <a:pt x="32" y="225"/>
                  </a:lnTo>
                  <a:lnTo>
                    <a:pt x="29" y="227"/>
                  </a:lnTo>
                  <a:lnTo>
                    <a:pt x="26" y="225"/>
                  </a:lnTo>
                  <a:lnTo>
                    <a:pt x="11" y="225"/>
                  </a:lnTo>
                  <a:lnTo>
                    <a:pt x="7" y="224"/>
                  </a:lnTo>
                  <a:lnTo>
                    <a:pt x="7" y="214"/>
                  </a:lnTo>
                  <a:lnTo>
                    <a:pt x="5" y="205"/>
                  </a:lnTo>
                  <a:lnTo>
                    <a:pt x="5" y="201"/>
                  </a:lnTo>
                  <a:lnTo>
                    <a:pt x="5" y="198"/>
                  </a:lnTo>
                  <a:lnTo>
                    <a:pt x="2" y="195"/>
                  </a:lnTo>
                  <a:lnTo>
                    <a:pt x="2" y="190"/>
                  </a:lnTo>
                  <a:lnTo>
                    <a:pt x="0" y="187"/>
                  </a:lnTo>
                  <a:lnTo>
                    <a:pt x="0" y="18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53" name="Freeform 418"/>
            <p:cNvSpPr>
              <a:spLocks/>
            </p:cNvSpPr>
            <p:nvPr/>
          </p:nvSpPr>
          <p:spPr bwMode="auto">
            <a:xfrm>
              <a:off x="5691399" y="4646152"/>
              <a:ext cx="507275" cy="649893"/>
            </a:xfrm>
            <a:custGeom>
              <a:avLst/>
              <a:gdLst>
                <a:gd name="T0" fmla="*/ 11 w 690"/>
                <a:gd name="T1" fmla="*/ 423 h 768"/>
                <a:gd name="T2" fmla="*/ 43 w 690"/>
                <a:gd name="T3" fmla="*/ 414 h 768"/>
                <a:gd name="T4" fmla="*/ 80 w 690"/>
                <a:gd name="T5" fmla="*/ 395 h 768"/>
                <a:gd name="T6" fmla="*/ 94 w 690"/>
                <a:gd name="T7" fmla="*/ 416 h 768"/>
                <a:gd name="T8" fmla="*/ 119 w 690"/>
                <a:gd name="T9" fmla="*/ 392 h 768"/>
                <a:gd name="T10" fmla="*/ 145 w 690"/>
                <a:gd name="T11" fmla="*/ 341 h 768"/>
                <a:gd name="T12" fmla="*/ 160 w 690"/>
                <a:gd name="T13" fmla="*/ 287 h 768"/>
                <a:gd name="T14" fmla="*/ 200 w 690"/>
                <a:gd name="T15" fmla="*/ 240 h 768"/>
                <a:gd name="T16" fmla="*/ 208 w 690"/>
                <a:gd name="T17" fmla="*/ 203 h 768"/>
                <a:gd name="T18" fmla="*/ 210 w 690"/>
                <a:gd name="T19" fmla="*/ 167 h 768"/>
                <a:gd name="T20" fmla="*/ 214 w 690"/>
                <a:gd name="T21" fmla="*/ 129 h 768"/>
                <a:gd name="T22" fmla="*/ 229 w 690"/>
                <a:gd name="T23" fmla="*/ 94 h 768"/>
                <a:gd name="T24" fmla="*/ 233 w 690"/>
                <a:gd name="T25" fmla="*/ 54 h 768"/>
                <a:gd name="T26" fmla="*/ 251 w 690"/>
                <a:gd name="T27" fmla="*/ 16 h 768"/>
                <a:gd name="T28" fmla="*/ 283 w 690"/>
                <a:gd name="T29" fmla="*/ 14 h 768"/>
                <a:gd name="T30" fmla="*/ 316 w 690"/>
                <a:gd name="T31" fmla="*/ 37 h 768"/>
                <a:gd name="T32" fmla="*/ 362 w 690"/>
                <a:gd name="T33" fmla="*/ 48 h 768"/>
                <a:gd name="T34" fmla="*/ 384 w 690"/>
                <a:gd name="T35" fmla="*/ 25 h 768"/>
                <a:gd name="T36" fmla="*/ 419 w 690"/>
                <a:gd name="T37" fmla="*/ 21 h 768"/>
                <a:gd name="T38" fmla="*/ 449 w 690"/>
                <a:gd name="T39" fmla="*/ 13 h 768"/>
                <a:gd name="T40" fmla="*/ 475 w 690"/>
                <a:gd name="T41" fmla="*/ 11 h 768"/>
                <a:gd name="T42" fmla="*/ 527 w 690"/>
                <a:gd name="T43" fmla="*/ 11 h 768"/>
                <a:gd name="T44" fmla="*/ 563 w 690"/>
                <a:gd name="T45" fmla="*/ 25 h 768"/>
                <a:gd name="T46" fmla="*/ 595 w 690"/>
                <a:gd name="T47" fmla="*/ 33 h 768"/>
                <a:gd name="T48" fmla="*/ 635 w 690"/>
                <a:gd name="T49" fmla="*/ 30 h 768"/>
                <a:gd name="T50" fmla="*/ 663 w 690"/>
                <a:gd name="T51" fmla="*/ 59 h 768"/>
                <a:gd name="T52" fmla="*/ 673 w 690"/>
                <a:gd name="T53" fmla="*/ 89 h 768"/>
                <a:gd name="T54" fmla="*/ 685 w 690"/>
                <a:gd name="T55" fmla="*/ 125 h 768"/>
                <a:gd name="T56" fmla="*/ 647 w 690"/>
                <a:gd name="T57" fmla="*/ 181 h 768"/>
                <a:gd name="T58" fmla="*/ 633 w 690"/>
                <a:gd name="T59" fmla="*/ 216 h 768"/>
                <a:gd name="T60" fmla="*/ 630 w 690"/>
                <a:gd name="T61" fmla="*/ 249 h 768"/>
                <a:gd name="T62" fmla="*/ 614 w 690"/>
                <a:gd name="T63" fmla="*/ 305 h 768"/>
                <a:gd name="T64" fmla="*/ 616 w 690"/>
                <a:gd name="T65" fmla="*/ 347 h 768"/>
                <a:gd name="T66" fmla="*/ 620 w 690"/>
                <a:gd name="T67" fmla="*/ 385 h 768"/>
                <a:gd name="T68" fmla="*/ 625 w 690"/>
                <a:gd name="T69" fmla="*/ 474 h 768"/>
                <a:gd name="T70" fmla="*/ 636 w 690"/>
                <a:gd name="T71" fmla="*/ 558 h 768"/>
                <a:gd name="T72" fmla="*/ 586 w 690"/>
                <a:gd name="T73" fmla="*/ 600 h 768"/>
                <a:gd name="T74" fmla="*/ 590 w 690"/>
                <a:gd name="T75" fmla="*/ 634 h 768"/>
                <a:gd name="T76" fmla="*/ 586 w 690"/>
                <a:gd name="T77" fmla="*/ 676 h 768"/>
                <a:gd name="T78" fmla="*/ 595 w 690"/>
                <a:gd name="T79" fmla="*/ 711 h 768"/>
                <a:gd name="T80" fmla="*/ 628 w 690"/>
                <a:gd name="T81" fmla="*/ 717 h 768"/>
                <a:gd name="T82" fmla="*/ 616 w 690"/>
                <a:gd name="T83" fmla="*/ 763 h 768"/>
                <a:gd name="T84" fmla="*/ 590 w 690"/>
                <a:gd name="T85" fmla="*/ 742 h 768"/>
                <a:gd name="T86" fmla="*/ 562 w 690"/>
                <a:gd name="T87" fmla="*/ 718 h 768"/>
                <a:gd name="T88" fmla="*/ 540 w 690"/>
                <a:gd name="T89" fmla="*/ 691 h 768"/>
                <a:gd name="T90" fmla="*/ 508 w 690"/>
                <a:gd name="T91" fmla="*/ 706 h 768"/>
                <a:gd name="T92" fmla="*/ 471 w 690"/>
                <a:gd name="T93" fmla="*/ 687 h 768"/>
                <a:gd name="T94" fmla="*/ 438 w 690"/>
                <a:gd name="T95" fmla="*/ 672 h 768"/>
                <a:gd name="T96" fmla="*/ 405 w 690"/>
                <a:gd name="T97" fmla="*/ 666 h 768"/>
                <a:gd name="T98" fmla="*/ 363 w 690"/>
                <a:gd name="T99" fmla="*/ 677 h 768"/>
                <a:gd name="T100" fmla="*/ 363 w 690"/>
                <a:gd name="T101" fmla="*/ 649 h 768"/>
                <a:gd name="T102" fmla="*/ 348 w 690"/>
                <a:gd name="T103" fmla="*/ 611 h 768"/>
                <a:gd name="T104" fmla="*/ 346 w 690"/>
                <a:gd name="T105" fmla="*/ 549 h 768"/>
                <a:gd name="T106" fmla="*/ 305 w 690"/>
                <a:gd name="T107" fmla="*/ 500 h 768"/>
                <a:gd name="T108" fmla="*/ 259 w 690"/>
                <a:gd name="T109" fmla="*/ 527 h 768"/>
                <a:gd name="T110" fmla="*/ 214 w 690"/>
                <a:gd name="T111" fmla="*/ 546 h 768"/>
                <a:gd name="T112" fmla="*/ 184 w 690"/>
                <a:gd name="T113" fmla="*/ 534 h 768"/>
                <a:gd name="T114" fmla="*/ 167 w 690"/>
                <a:gd name="T115" fmla="*/ 495 h 768"/>
                <a:gd name="T116" fmla="*/ 159 w 690"/>
                <a:gd name="T117" fmla="*/ 460 h 768"/>
                <a:gd name="T118" fmla="*/ 65 w 690"/>
                <a:gd name="T119" fmla="*/ 457 h 768"/>
                <a:gd name="T120" fmla="*/ 19 w 690"/>
                <a:gd name="T121" fmla="*/ 462 h 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90" h="768">
                  <a:moveTo>
                    <a:pt x="0" y="454"/>
                  </a:moveTo>
                  <a:lnTo>
                    <a:pt x="2" y="454"/>
                  </a:lnTo>
                  <a:lnTo>
                    <a:pt x="5" y="452"/>
                  </a:lnTo>
                  <a:lnTo>
                    <a:pt x="8" y="452"/>
                  </a:lnTo>
                  <a:lnTo>
                    <a:pt x="13" y="450"/>
                  </a:lnTo>
                  <a:lnTo>
                    <a:pt x="13" y="447"/>
                  </a:lnTo>
                  <a:lnTo>
                    <a:pt x="13" y="444"/>
                  </a:lnTo>
                  <a:lnTo>
                    <a:pt x="13" y="433"/>
                  </a:lnTo>
                  <a:lnTo>
                    <a:pt x="13" y="430"/>
                  </a:lnTo>
                  <a:lnTo>
                    <a:pt x="10" y="425"/>
                  </a:lnTo>
                  <a:lnTo>
                    <a:pt x="10" y="425"/>
                  </a:lnTo>
                  <a:lnTo>
                    <a:pt x="11" y="423"/>
                  </a:lnTo>
                  <a:lnTo>
                    <a:pt x="15" y="422"/>
                  </a:lnTo>
                  <a:lnTo>
                    <a:pt x="16" y="420"/>
                  </a:lnTo>
                  <a:lnTo>
                    <a:pt x="19" y="417"/>
                  </a:lnTo>
                  <a:lnTo>
                    <a:pt x="23" y="414"/>
                  </a:lnTo>
                  <a:lnTo>
                    <a:pt x="23" y="412"/>
                  </a:lnTo>
                  <a:lnTo>
                    <a:pt x="26" y="411"/>
                  </a:lnTo>
                  <a:lnTo>
                    <a:pt x="29" y="409"/>
                  </a:lnTo>
                  <a:lnTo>
                    <a:pt x="32" y="408"/>
                  </a:lnTo>
                  <a:lnTo>
                    <a:pt x="35" y="406"/>
                  </a:lnTo>
                  <a:lnTo>
                    <a:pt x="37" y="409"/>
                  </a:lnTo>
                  <a:lnTo>
                    <a:pt x="40" y="412"/>
                  </a:lnTo>
                  <a:lnTo>
                    <a:pt x="43" y="414"/>
                  </a:lnTo>
                  <a:lnTo>
                    <a:pt x="45" y="417"/>
                  </a:lnTo>
                  <a:lnTo>
                    <a:pt x="54" y="411"/>
                  </a:lnTo>
                  <a:lnTo>
                    <a:pt x="56" y="408"/>
                  </a:lnTo>
                  <a:lnTo>
                    <a:pt x="56" y="404"/>
                  </a:lnTo>
                  <a:lnTo>
                    <a:pt x="59" y="398"/>
                  </a:lnTo>
                  <a:lnTo>
                    <a:pt x="62" y="401"/>
                  </a:lnTo>
                  <a:lnTo>
                    <a:pt x="64" y="401"/>
                  </a:lnTo>
                  <a:lnTo>
                    <a:pt x="67" y="398"/>
                  </a:lnTo>
                  <a:lnTo>
                    <a:pt x="70" y="398"/>
                  </a:lnTo>
                  <a:lnTo>
                    <a:pt x="73" y="397"/>
                  </a:lnTo>
                  <a:lnTo>
                    <a:pt x="76" y="393"/>
                  </a:lnTo>
                  <a:lnTo>
                    <a:pt x="80" y="395"/>
                  </a:lnTo>
                  <a:lnTo>
                    <a:pt x="83" y="400"/>
                  </a:lnTo>
                  <a:lnTo>
                    <a:pt x="81" y="403"/>
                  </a:lnTo>
                  <a:lnTo>
                    <a:pt x="80" y="404"/>
                  </a:lnTo>
                  <a:lnTo>
                    <a:pt x="80" y="408"/>
                  </a:lnTo>
                  <a:lnTo>
                    <a:pt x="81" y="411"/>
                  </a:lnTo>
                  <a:lnTo>
                    <a:pt x="81" y="417"/>
                  </a:lnTo>
                  <a:lnTo>
                    <a:pt x="81" y="417"/>
                  </a:lnTo>
                  <a:lnTo>
                    <a:pt x="83" y="416"/>
                  </a:lnTo>
                  <a:lnTo>
                    <a:pt x="88" y="417"/>
                  </a:lnTo>
                  <a:lnTo>
                    <a:pt x="89" y="419"/>
                  </a:lnTo>
                  <a:lnTo>
                    <a:pt x="92" y="417"/>
                  </a:lnTo>
                  <a:lnTo>
                    <a:pt x="94" y="416"/>
                  </a:lnTo>
                  <a:lnTo>
                    <a:pt x="97" y="411"/>
                  </a:lnTo>
                  <a:lnTo>
                    <a:pt x="102" y="406"/>
                  </a:lnTo>
                  <a:lnTo>
                    <a:pt x="102" y="404"/>
                  </a:lnTo>
                  <a:lnTo>
                    <a:pt x="105" y="401"/>
                  </a:lnTo>
                  <a:lnTo>
                    <a:pt x="107" y="398"/>
                  </a:lnTo>
                  <a:lnTo>
                    <a:pt x="108" y="398"/>
                  </a:lnTo>
                  <a:lnTo>
                    <a:pt x="110" y="395"/>
                  </a:lnTo>
                  <a:lnTo>
                    <a:pt x="111" y="393"/>
                  </a:lnTo>
                  <a:lnTo>
                    <a:pt x="111" y="393"/>
                  </a:lnTo>
                  <a:lnTo>
                    <a:pt x="114" y="393"/>
                  </a:lnTo>
                  <a:lnTo>
                    <a:pt x="114" y="393"/>
                  </a:lnTo>
                  <a:lnTo>
                    <a:pt x="119" y="392"/>
                  </a:lnTo>
                  <a:lnTo>
                    <a:pt x="121" y="385"/>
                  </a:lnTo>
                  <a:lnTo>
                    <a:pt x="124" y="382"/>
                  </a:lnTo>
                  <a:lnTo>
                    <a:pt x="129" y="381"/>
                  </a:lnTo>
                  <a:lnTo>
                    <a:pt x="134" y="379"/>
                  </a:lnTo>
                  <a:lnTo>
                    <a:pt x="137" y="373"/>
                  </a:lnTo>
                  <a:lnTo>
                    <a:pt x="138" y="370"/>
                  </a:lnTo>
                  <a:lnTo>
                    <a:pt x="140" y="365"/>
                  </a:lnTo>
                  <a:lnTo>
                    <a:pt x="143" y="362"/>
                  </a:lnTo>
                  <a:lnTo>
                    <a:pt x="143" y="358"/>
                  </a:lnTo>
                  <a:lnTo>
                    <a:pt x="146" y="355"/>
                  </a:lnTo>
                  <a:lnTo>
                    <a:pt x="145" y="352"/>
                  </a:lnTo>
                  <a:lnTo>
                    <a:pt x="145" y="341"/>
                  </a:lnTo>
                  <a:lnTo>
                    <a:pt x="145" y="332"/>
                  </a:lnTo>
                  <a:lnTo>
                    <a:pt x="146" y="328"/>
                  </a:lnTo>
                  <a:lnTo>
                    <a:pt x="146" y="325"/>
                  </a:lnTo>
                  <a:lnTo>
                    <a:pt x="146" y="322"/>
                  </a:lnTo>
                  <a:lnTo>
                    <a:pt x="145" y="317"/>
                  </a:lnTo>
                  <a:lnTo>
                    <a:pt x="145" y="314"/>
                  </a:lnTo>
                  <a:lnTo>
                    <a:pt x="145" y="311"/>
                  </a:lnTo>
                  <a:lnTo>
                    <a:pt x="145" y="308"/>
                  </a:lnTo>
                  <a:lnTo>
                    <a:pt x="148" y="303"/>
                  </a:lnTo>
                  <a:lnTo>
                    <a:pt x="153" y="298"/>
                  </a:lnTo>
                  <a:lnTo>
                    <a:pt x="157" y="293"/>
                  </a:lnTo>
                  <a:lnTo>
                    <a:pt x="160" y="287"/>
                  </a:lnTo>
                  <a:lnTo>
                    <a:pt x="164" y="281"/>
                  </a:lnTo>
                  <a:lnTo>
                    <a:pt x="167" y="274"/>
                  </a:lnTo>
                  <a:lnTo>
                    <a:pt x="170" y="268"/>
                  </a:lnTo>
                  <a:lnTo>
                    <a:pt x="175" y="263"/>
                  </a:lnTo>
                  <a:lnTo>
                    <a:pt x="181" y="260"/>
                  </a:lnTo>
                  <a:lnTo>
                    <a:pt x="186" y="259"/>
                  </a:lnTo>
                  <a:lnTo>
                    <a:pt x="189" y="255"/>
                  </a:lnTo>
                  <a:lnTo>
                    <a:pt x="192" y="252"/>
                  </a:lnTo>
                  <a:lnTo>
                    <a:pt x="194" y="249"/>
                  </a:lnTo>
                  <a:lnTo>
                    <a:pt x="195" y="246"/>
                  </a:lnTo>
                  <a:lnTo>
                    <a:pt x="199" y="243"/>
                  </a:lnTo>
                  <a:lnTo>
                    <a:pt x="200" y="240"/>
                  </a:lnTo>
                  <a:lnTo>
                    <a:pt x="200" y="238"/>
                  </a:lnTo>
                  <a:lnTo>
                    <a:pt x="200" y="235"/>
                  </a:lnTo>
                  <a:lnTo>
                    <a:pt x="200" y="232"/>
                  </a:lnTo>
                  <a:lnTo>
                    <a:pt x="200" y="228"/>
                  </a:lnTo>
                  <a:lnTo>
                    <a:pt x="200" y="225"/>
                  </a:lnTo>
                  <a:lnTo>
                    <a:pt x="200" y="222"/>
                  </a:lnTo>
                  <a:lnTo>
                    <a:pt x="202" y="217"/>
                  </a:lnTo>
                  <a:lnTo>
                    <a:pt x="202" y="217"/>
                  </a:lnTo>
                  <a:lnTo>
                    <a:pt x="203" y="214"/>
                  </a:lnTo>
                  <a:lnTo>
                    <a:pt x="203" y="209"/>
                  </a:lnTo>
                  <a:lnTo>
                    <a:pt x="206" y="206"/>
                  </a:lnTo>
                  <a:lnTo>
                    <a:pt x="208" y="203"/>
                  </a:lnTo>
                  <a:lnTo>
                    <a:pt x="208" y="203"/>
                  </a:lnTo>
                  <a:lnTo>
                    <a:pt x="210" y="200"/>
                  </a:lnTo>
                  <a:lnTo>
                    <a:pt x="208" y="195"/>
                  </a:lnTo>
                  <a:lnTo>
                    <a:pt x="206" y="192"/>
                  </a:lnTo>
                  <a:lnTo>
                    <a:pt x="206" y="189"/>
                  </a:lnTo>
                  <a:lnTo>
                    <a:pt x="206" y="186"/>
                  </a:lnTo>
                  <a:lnTo>
                    <a:pt x="206" y="182"/>
                  </a:lnTo>
                  <a:lnTo>
                    <a:pt x="206" y="179"/>
                  </a:lnTo>
                  <a:lnTo>
                    <a:pt x="206" y="175"/>
                  </a:lnTo>
                  <a:lnTo>
                    <a:pt x="208" y="171"/>
                  </a:lnTo>
                  <a:lnTo>
                    <a:pt x="210" y="168"/>
                  </a:lnTo>
                  <a:lnTo>
                    <a:pt x="210" y="167"/>
                  </a:lnTo>
                  <a:lnTo>
                    <a:pt x="210" y="165"/>
                  </a:lnTo>
                  <a:lnTo>
                    <a:pt x="210" y="162"/>
                  </a:lnTo>
                  <a:lnTo>
                    <a:pt x="211" y="159"/>
                  </a:lnTo>
                  <a:lnTo>
                    <a:pt x="213" y="155"/>
                  </a:lnTo>
                  <a:lnTo>
                    <a:pt x="213" y="152"/>
                  </a:lnTo>
                  <a:lnTo>
                    <a:pt x="213" y="149"/>
                  </a:lnTo>
                  <a:lnTo>
                    <a:pt x="213" y="144"/>
                  </a:lnTo>
                  <a:lnTo>
                    <a:pt x="213" y="141"/>
                  </a:lnTo>
                  <a:lnTo>
                    <a:pt x="213" y="138"/>
                  </a:lnTo>
                  <a:lnTo>
                    <a:pt x="213" y="136"/>
                  </a:lnTo>
                  <a:lnTo>
                    <a:pt x="213" y="133"/>
                  </a:lnTo>
                  <a:lnTo>
                    <a:pt x="214" y="129"/>
                  </a:lnTo>
                  <a:lnTo>
                    <a:pt x="214" y="125"/>
                  </a:lnTo>
                  <a:lnTo>
                    <a:pt x="216" y="122"/>
                  </a:lnTo>
                  <a:lnTo>
                    <a:pt x="218" y="119"/>
                  </a:lnTo>
                  <a:lnTo>
                    <a:pt x="219" y="116"/>
                  </a:lnTo>
                  <a:lnTo>
                    <a:pt x="219" y="114"/>
                  </a:lnTo>
                  <a:lnTo>
                    <a:pt x="222" y="111"/>
                  </a:lnTo>
                  <a:lnTo>
                    <a:pt x="222" y="110"/>
                  </a:lnTo>
                  <a:lnTo>
                    <a:pt x="224" y="106"/>
                  </a:lnTo>
                  <a:lnTo>
                    <a:pt x="226" y="105"/>
                  </a:lnTo>
                  <a:lnTo>
                    <a:pt x="226" y="102"/>
                  </a:lnTo>
                  <a:lnTo>
                    <a:pt x="227" y="97"/>
                  </a:lnTo>
                  <a:lnTo>
                    <a:pt x="229" y="94"/>
                  </a:lnTo>
                  <a:lnTo>
                    <a:pt x="230" y="92"/>
                  </a:lnTo>
                  <a:lnTo>
                    <a:pt x="232" y="89"/>
                  </a:lnTo>
                  <a:lnTo>
                    <a:pt x="233" y="86"/>
                  </a:lnTo>
                  <a:lnTo>
                    <a:pt x="233" y="83"/>
                  </a:lnTo>
                  <a:lnTo>
                    <a:pt x="233" y="79"/>
                  </a:lnTo>
                  <a:lnTo>
                    <a:pt x="232" y="75"/>
                  </a:lnTo>
                  <a:lnTo>
                    <a:pt x="232" y="73"/>
                  </a:lnTo>
                  <a:lnTo>
                    <a:pt x="232" y="68"/>
                  </a:lnTo>
                  <a:lnTo>
                    <a:pt x="232" y="68"/>
                  </a:lnTo>
                  <a:lnTo>
                    <a:pt x="232" y="67"/>
                  </a:lnTo>
                  <a:lnTo>
                    <a:pt x="232" y="60"/>
                  </a:lnTo>
                  <a:lnTo>
                    <a:pt x="233" y="54"/>
                  </a:lnTo>
                  <a:lnTo>
                    <a:pt x="233" y="49"/>
                  </a:lnTo>
                  <a:lnTo>
                    <a:pt x="229" y="41"/>
                  </a:lnTo>
                  <a:lnTo>
                    <a:pt x="230" y="40"/>
                  </a:lnTo>
                  <a:lnTo>
                    <a:pt x="233" y="40"/>
                  </a:lnTo>
                  <a:lnTo>
                    <a:pt x="238" y="37"/>
                  </a:lnTo>
                  <a:lnTo>
                    <a:pt x="240" y="33"/>
                  </a:lnTo>
                  <a:lnTo>
                    <a:pt x="241" y="30"/>
                  </a:lnTo>
                  <a:lnTo>
                    <a:pt x="243" y="27"/>
                  </a:lnTo>
                  <a:lnTo>
                    <a:pt x="246" y="22"/>
                  </a:lnTo>
                  <a:lnTo>
                    <a:pt x="248" y="19"/>
                  </a:lnTo>
                  <a:lnTo>
                    <a:pt x="249" y="16"/>
                  </a:lnTo>
                  <a:lnTo>
                    <a:pt x="251" y="16"/>
                  </a:lnTo>
                  <a:lnTo>
                    <a:pt x="254" y="13"/>
                  </a:lnTo>
                  <a:lnTo>
                    <a:pt x="256" y="13"/>
                  </a:lnTo>
                  <a:lnTo>
                    <a:pt x="256" y="13"/>
                  </a:lnTo>
                  <a:lnTo>
                    <a:pt x="259" y="10"/>
                  </a:lnTo>
                  <a:lnTo>
                    <a:pt x="264" y="8"/>
                  </a:lnTo>
                  <a:lnTo>
                    <a:pt x="267" y="8"/>
                  </a:lnTo>
                  <a:lnTo>
                    <a:pt x="270" y="8"/>
                  </a:lnTo>
                  <a:lnTo>
                    <a:pt x="273" y="8"/>
                  </a:lnTo>
                  <a:lnTo>
                    <a:pt x="278" y="11"/>
                  </a:lnTo>
                  <a:lnTo>
                    <a:pt x="278" y="13"/>
                  </a:lnTo>
                  <a:lnTo>
                    <a:pt x="281" y="14"/>
                  </a:lnTo>
                  <a:lnTo>
                    <a:pt x="283" y="14"/>
                  </a:lnTo>
                  <a:lnTo>
                    <a:pt x="283" y="14"/>
                  </a:lnTo>
                  <a:lnTo>
                    <a:pt x="286" y="18"/>
                  </a:lnTo>
                  <a:lnTo>
                    <a:pt x="289" y="19"/>
                  </a:lnTo>
                  <a:lnTo>
                    <a:pt x="292" y="22"/>
                  </a:lnTo>
                  <a:lnTo>
                    <a:pt x="297" y="25"/>
                  </a:lnTo>
                  <a:lnTo>
                    <a:pt x="298" y="29"/>
                  </a:lnTo>
                  <a:lnTo>
                    <a:pt x="298" y="33"/>
                  </a:lnTo>
                  <a:lnTo>
                    <a:pt x="302" y="37"/>
                  </a:lnTo>
                  <a:lnTo>
                    <a:pt x="305" y="37"/>
                  </a:lnTo>
                  <a:lnTo>
                    <a:pt x="308" y="37"/>
                  </a:lnTo>
                  <a:lnTo>
                    <a:pt x="313" y="37"/>
                  </a:lnTo>
                  <a:lnTo>
                    <a:pt x="316" y="37"/>
                  </a:lnTo>
                  <a:lnTo>
                    <a:pt x="319" y="37"/>
                  </a:lnTo>
                  <a:lnTo>
                    <a:pt x="322" y="41"/>
                  </a:lnTo>
                  <a:lnTo>
                    <a:pt x="325" y="43"/>
                  </a:lnTo>
                  <a:lnTo>
                    <a:pt x="330" y="41"/>
                  </a:lnTo>
                  <a:lnTo>
                    <a:pt x="333" y="43"/>
                  </a:lnTo>
                  <a:lnTo>
                    <a:pt x="335" y="43"/>
                  </a:lnTo>
                  <a:lnTo>
                    <a:pt x="338" y="44"/>
                  </a:lnTo>
                  <a:lnTo>
                    <a:pt x="341" y="41"/>
                  </a:lnTo>
                  <a:lnTo>
                    <a:pt x="351" y="44"/>
                  </a:lnTo>
                  <a:lnTo>
                    <a:pt x="359" y="46"/>
                  </a:lnTo>
                  <a:lnTo>
                    <a:pt x="359" y="46"/>
                  </a:lnTo>
                  <a:lnTo>
                    <a:pt x="362" y="48"/>
                  </a:lnTo>
                  <a:lnTo>
                    <a:pt x="367" y="49"/>
                  </a:lnTo>
                  <a:lnTo>
                    <a:pt x="370" y="49"/>
                  </a:lnTo>
                  <a:lnTo>
                    <a:pt x="371" y="48"/>
                  </a:lnTo>
                  <a:lnTo>
                    <a:pt x="371" y="48"/>
                  </a:lnTo>
                  <a:lnTo>
                    <a:pt x="373" y="44"/>
                  </a:lnTo>
                  <a:lnTo>
                    <a:pt x="375" y="41"/>
                  </a:lnTo>
                  <a:lnTo>
                    <a:pt x="376" y="38"/>
                  </a:lnTo>
                  <a:lnTo>
                    <a:pt x="376" y="35"/>
                  </a:lnTo>
                  <a:lnTo>
                    <a:pt x="379" y="32"/>
                  </a:lnTo>
                  <a:lnTo>
                    <a:pt x="381" y="29"/>
                  </a:lnTo>
                  <a:lnTo>
                    <a:pt x="381" y="29"/>
                  </a:lnTo>
                  <a:lnTo>
                    <a:pt x="384" y="25"/>
                  </a:lnTo>
                  <a:lnTo>
                    <a:pt x="386" y="24"/>
                  </a:lnTo>
                  <a:lnTo>
                    <a:pt x="386" y="21"/>
                  </a:lnTo>
                  <a:lnTo>
                    <a:pt x="390" y="21"/>
                  </a:lnTo>
                  <a:lnTo>
                    <a:pt x="392" y="24"/>
                  </a:lnTo>
                  <a:lnTo>
                    <a:pt x="395" y="24"/>
                  </a:lnTo>
                  <a:lnTo>
                    <a:pt x="398" y="27"/>
                  </a:lnTo>
                  <a:lnTo>
                    <a:pt x="402" y="29"/>
                  </a:lnTo>
                  <a:lnTo>
                    <a:pt x="405" y="30"/>
                  </a:lnTo>
                  <a:lnTo>
                    <a:pt x="408" y="27"/>
                  </a:lnTo>
                  <a:lnTo>
                    <a:pt x="411" y="24"/>
                  </a:lnTo>
                  <a:lnTo>
                    <a:pt x="416" y="22"/>
                  </a:lnTo>
                  <a:lnTo>
                    <a:pt x="419" y="21"/>
                  </a:lnTo>
                  <a:lnTo>
                    <a:pt x="422" y="21"/>
                  </a:lnTo>
                  <a:lnTo>
                    <a:pt x="424" y="21"/>
                  </a:lnTo>
                  <a:lnTo>
                    <a:pt x="427" y="19"/>
                  </a:lnTo>
                  <a:lnTo>
                    <a:pt x="430" y="16"/>
                  </a:lnTo>
                  <a:lnTo>
                    <a:pt x="433" y="16"/>
                  </a:lnTo>
                  <a:lnTo>
                    <a:pt x="436" y="13"/>
                  </a:lnTo>
                  <a:lnTo>
                    <a:pt x="438" y="13"/>
                  </a:lnTo>
                  <a:lnTo>
                    <a:pt x="440" y="13"/>
                  </a:lnTo>
                  <a:lnTo>
                    <a:pt x="440" y="10"/>
                  </a:lnTo>
                  <a:lnTo>
                    <a:pt x="443" y="10"/>
                  </a:lnTo>
                  <a:lnTo>
                    <a:pt x="444" y="10"/>
                  </a:lnTo>
                  <a:lnTo>
                    <a:pt x="449" y="13"/>
                  </a:lnTo>
                  <a:lnTo>
                    <a:pt x="449" y="14"/>
                  </a:lnTo>
                  <a:lnTo>
                    <a:pt x="452" y="16"/>
                  </a:lnTo>
                  <a:lnTo>
                    <a:pt x="455" y="16"/>
                  </a:lnTo>
                  <a:lnTo>
                    <a:pt x="459" y="14"/>
                  </a:lnTo>
                  <a:lnTo>
                    <a:pt x="462" y="14"/>
                  </a:lnTo>
                  <a:lnTo>
                    <a:pt x="463" y="14"/>
                  </a:lnTo>
                  <a:lnTo>
                    <a:pt x="467" y="13"/>
                  </a:lnTo>
                  <a:lnTo>
                    <a:pt x="468" y="13"/>
                  </a:lnTo>
                  <a:lnTo>
                    <a:pt x="468" y="13"/>
                  </a:lnTo>
                  <a:lnTo>
                    <a:pt x="470" y="13"/>
                  </a:lnTo>
                  <a:lnTo>
                    <a:pt x="471" y="13"/>
                  </a:lnTo>
                  <a:lnTo>
                    <a:pt x="475" y="11"/>
                  </a:lnTo>
                  <a:lnTo>
                    <a:pt x="475" y="8"/>
                  </a:lnTo>
                  <a:lnTo>
                    <a:pt x="475" y="3"/>
                  </a:lnTo>
                  <a:lnTo>
                    <a:pt x="476" y="0"/>
                  </a:lnTo>
                  <a:lnTo>
                    <a:pt x="487" y="2"/>
                  </a:lnTo>
                  <a:lnTo>
                    <a:pt x="503" y="3"/>
                  </a:lnTo>
                  <a:lnTo>
                    <a:pt x="506" y="5"/>
                  </a:lnTo>
                  <a:lnTo>
                    <a:pt x="509" y="8"/>
                  </a:lnTo>
                  <a:lnTo>
                    <a:pt x="513" y="8"/>
                  </a:lnTo>
                  <a:lnTo>
                    <a:pt x="517" y="11"/>
                  </a:lnTo>
                  <a:lnTo>
                    <a:pt x="521" y="10"/>
                  </a:lnTo>
                  <a:lnTo>
                    <a:pt x="524" y="10"/>
                  </a:lnTo>
                  <a:lnTo>
                    <a:pt x="527" y="11"/>
                  </a:lnTo>
                  <a:lnTo>
                    <a:pt x="530" y="11"/>
                  </a:lnTo>
                  <a:lnTo>
                    <a:pt x="535" y="5"/>
                  </a:lnTo>
                  <a:lnTo>
                    <a:pt x="540" y="5"/>
                  </a:lnTo>
                  <a:lnTo>
                    <a:pt x="543" y="6"/>
                  </a:lnTo>
                  <a:lnTo>
                    <a:pt x="547" y="10"/>
                  </a:lnTo>
                  <a:lnTo>
                    <a:pt x="551" y="13"/>
                  </a:lnTo>
                  <a:lnTo>
                    <a:pt x="552" y="13"/>
                  </a:lnTo>
                  <a:lnTo>
                    <a:pt x="555" y="18"/>
                  </a:lnTo>
                  <a:lnTo>
                    <a:pt x="559" y="18"/>
                  </a:lnTo>
                  <a:lnTo>
                    <a:pt x="560" y="21"/>
                  </a:lnTo>
                  <a:lnTo>
                    <a:pt x="560" y="22"/>
                  </a:lnTo>
                  <a:lnTo>
                    <a:pt x="563" y="25"/>
                  </a:lnTo>
                  <a:lnTo>
                    <a:pt x="563" y="29"/>
                  </a:lnTo>
                  <a:lnTo>
                    <a:pt x="566" y="32"/>
                  </a:lnTo>
                  <a:lnTo>
                    <a:pt x="570" y="32"/>
                  </a:lnTo>
                  <a:lnTo>
                    <a:pt x="571" y="35"/>
                  </a:lnTo>
                  <a:lnTo>
                    <a:pt x="576" y="37"/>
                  </a:lnTo>
                  <a:lnTo>
                    <a:pt x="578" y="40"/>
                  </a:lnTo>
                  <a:lnTo>
                    <a:pt x="581" y="40"/>
                  </a:lnTo>
                  <a:lnTo>
                    <a:pt x="586" y="43"/>
                  </a:lnTo>
                  <a:lnTo>
                    <a:pt x="586" y="43"/>
                  </a:lnTo>
                  <a:lnTo>
                    <a:pt x="589" y="40"/>
                  </a:lnTo>
                  <a:lnTo>
                    <a:pt x="592" y="37"/>
                  </a:lnTo>
                  <a:lnTo>
                    <a:pt x="595" y="33"/>
                  </a:lnTo>
                  <a:lnTo>
                    <a:pt x="600" y="32"/>
                  </a:lnTo>
                  <a:lnTo>
                    <a:pt x="603" y="35"/>
                  </a:lnTo>
                  <a:lnTo>
                    <a:pt x="606" y="35"/>
                  </a:lnTo>
                  <a:lnTo>
                    <a:pt x="609" y="35"/>
                  </a:lnTo>
                  <a:lnTo>
                    <a:pt x="612" y="38"/>
                  </a:lnTo>
                  <a:lnTo>
                    <a:pt x="617" y="38"/>
                  </a:lnTo>
                  <a:lnTo>
                    <a:pt x="620" y="35"/>
                  </a:lnTo>
                  <a:lnTo>
                    <a:pt x="622" y="32"/>
                  </a:lnTo>
                  <a:lnTo>
                    <a:pt x="624" y="27"/>
                  </a:lnTo>
                  <a:lnTo>
                    <a:pt x="627" y="27"/>
                  </a:lnTo>
                  <a:lnTo>
                    <a:pt x="630" y="29"/>
                  </a:lnTo>
                  <a:lnTo>
                    <a:pt x="635" y="30"/>
                  </a:lnTo>
                  <a:lnTo>
                    <a:pt x="636" y="33"/>
                  </a:lnTo>
                  <a:lnTo>
                    <a:pt x="636" y="38"/>
                  </a:lnTo>
                  <a:lnTo>
                    <a:pt x="639" y="40"/>
                  </a:lnTo>
                  <a:lnTo>
                    <a:pt x="641" y="43"/>
                  </a:lnTo>
                  <a:lnTo>
                    <a:pt x="643" y="44"/>
                  </a:lnTo>
                  <a:lnTo>
                    <a:pt x="644" y="48"/>
                  </a:lnTo>
                  <a:lnTo>
                    <a:pt x="649" y="51"/>
                  </a:lnTo>
                  <a:lnTo>
                    <a:pt x="651" y="54"/>
                  </a:lnTo>
                  <a:lnTo>
                    <a:pt x="654" y="56"/>
                  </a:lnTo>
                  <a:lnTo>
                    <a:pt x="655" y="57"/>
                  </a:lnTo>
                  <a:lnTo>
                    <a:pt x="660" y="59"/>
                  </a:lnTo>
                  <a:lnTo>
                    <a:pt x="663" y="59"/>
                  </a:lnTo>
                  <a:lnTo>
                    <a:pt x="663" y="64"/>
                  </a:lnTo>
                  <a:lnTo>
                    <a:pt x="665" y="67"/>
                  </a:lnTo>
                  <a:lnTo>
                    <a:pt x="663" y="70"/>
                  </a:lnTo>
                  <a:lnTo>
                    <a:pt x="665" y="70"/>
                  </a:lnTo>
                  <a:lnTo>
                    <a:pt x="668" y="68"/>
                  </a:lnTo>
                  <a:lnTo>
                    <a:pt x="671" y="70"/>
                  </a:lnTo>
                  <a:lnTo>
                    <a:pt x="674" y="73"/>
                  </a:lnTo>
                  <a:lnTo>
                    <a:pt x="674" y="75"/>
                  </a:lnTo>
                  <a:lnTo>
                    <a:pt x="678" y="78"/>
                  </a:lnTo>
                  <a:lnTo>
                    <a:pt x="674" y="83"/>
                  </a:lnTo>
                  <a:lnTo>
                    <a:pt x="673" y="86"/>
                  </a:lnTo>
                  <a:lnTo>
                    <a:pt x="673" y="89"/>
                  </a:lnTo>
                  <a:lnTo>
                    <a:pt x="671" y="92"/>
                  </a:lnTo>
                  <a:lnTo>
                    <a:pt x="674" y="97"/>
                  </a:lnTo>
                  <a:lnTo>
                    <a:pt x="676" y="100"/>
                  </a:lnTo>
                  <a:lnTo>
                    <a:pt x="674" y="103"/>
                  </a:lnTo>
                  <a:lnTo>
                    <a:pt x="673" y="108"/>
                  </a:lnTo>
                  <a:lnTo>
                    <a:pt x="671" y="108"/>
                  </a:lnTo>
                  <a:lnTo>
                    <a:pt x="671" y="113"/>
                  </a:lnTo>
                  <a:lnTo>
                    <a:pt x="670" y="116"/>
                  </a:lnTo>
                  <a:lnTo>
                    <a:pt x="673" y="119"/>
                  </a:lnTo>
                  <a:lnTo>
                    <a:pt x="678" y="122"/>
                  </a:lnTo>
                  <a:lnTo>
                    <a:pt x="681" y="121"/>
                  </a:lnTo>
                  <a:lnTo>
                    <a:pt x="685" y="125"/>
                  </a:lnTo>
                  <a:lnTo>
                    <a:pt x="690" y="130"/>
                  </a:lnTo>
                  <a:lnTo>
                    <a:pt x="689" y="135"/>
                  </a:lnTo>
                  <a:lnTo>
                    <a:pt x="684" y="143"/>
                  </a:lnTo>
                  <a:lnTo>
                    <a:pt x="678" y="148"/>
                  </a:lnTo>
                  <a:lnTo>
                    <a:pt x="673" y="152"/>
                  </a:lnTo>
                  <a:lnTo>
                    <a:pt x="666" y="159"/>
                  </a:lnTo>
                  <a:lnTo>
                    <a:pt x="665" y="163"/>
                  </a:lnTo>
                  <a:lnTo>
                    <a:pt x="660" y="167"/>
                  </a:lnTo>
                  <a:lnTo>
                    <a:pt x="652" y="171"/>
                  </a:lnTo>
                  <a:lnTo>
                    <a:pt x="652" y="176"/>
                  </a:lnTo>
                  <a:lnTo>
                    <a:pt x="651" y="178"/>
                  </a:lnTo>
                  <a:lnTo>
                    <a:pt x="647" y="181"/>
                  </a:lnTo>
                  <a:lnTo>
                    <a:pt x="644" y="182"/>
                  </a:lnTo>
                  <a:lnTo>
                    <a:pt x="643" y="182"/>
                  </a:lnTo>
                  <a:lnTo>
                    <a:pt x="643" y="184"/>
                  </a:lnTo>
                  <a:lnTo>
                    <a:pt x="643" y="187"/>
                  </a:lnTo>
                  <a:lnTo>
                    <a:pt x="643" y="194"/>
                  </a:lnTo>
                  <a:lnTo>
                    <a:pt x="643" y="197"/>
                  </a:lnTo>
                  <a:lnTo>
                    <a:pt x="641" y="200"/>
                  </a:lnTo>
                  <a:lnTo>
                    <a:pt x="638" y="205"/>
                  </a:lnTo>
                  <a:lnTo>
                    <a:pt x="638" y="208"/>
                  </a:lnTo>
                  <a:lnTo>
                    <a:pt x="638" y="211"/>
                  </a:lnTo>
                  <a:lnTo>
                    <a:pt x="633" y="214"/>
                  </a:lnTo>
                  <a:lnTo>
                    <a:pt x="633" y="216"/>
                  </a:lnTo>
                  <a:lnTo>
                    <a:pt x="635" y="217"/>
                  </a:lnTo>
                  <a:lnTo>
                    <a:pt x="633" y="221"/>
                  </a:lnTo>
                  <a:lnTo>
                    <a:pt x="633" y="224"/>
                  </a:lnTo>
                  <a:lnTo>
                    <a:pt x="633" y="227"/>
                  </a:lnTo>
                  <a:lnTo>
                    <a:pt x="632" y="230"/>
                  </a:lnTo>
                  <a:lnTo>
                    <a:pt x="632" y="230"/>
                  </a:lnTo>
                  <a:lnTo>
                    <a:pt x="632" y="233"/>
                  </a:lnTo>
                  <a:lnTo>
                    <a:pt x="632" y="238"/>
                  </a:lnTo>
                  <a:lnTo>
                    <a:pt x="632" y="241"/>
                  </a:lnTo>
                  <a:lnTo>
                    <a:pt x="630" y="244"/>
                  </a:lnTo>
                  <a:lnTo>
                    <a:pt x="630" y="247"/>
                  </a:lnTo>
                  <a:lnTo>
                    <a:pt x="630" y="249"/>
                  </a:lnTo>
                  <a:lnTo>
                    <a:pt x="630" y="252"/>
                  </a:lnTo>
                  <a:lnTo>
                    <a:pt x="628" y="255"/>
                  </a:lnTo>
                  <a:lnTo>
                    <a:pt x="628" y="259"/>
                  </a:lnTo>
                  <a:lnTo>
                    <a:pt x="628" y="267"/>
                  </a:lnTo>
                  <a:lnTo>
                    <a:pt x="630" y="274"/>
                  </a:lnTo>
                  <a:lnTo>
                    <a:pt x="624" y="278"/>
                  </a:lnTo>
                  <a:lnTo>
                    <a:pt x="619" y="282"/>
                  </a:lnTo>
                  <a:lnTo>
                    <a:pt x="616" y="289"/>
                  </a:lnTo>
                  <a:lnTo>
                    <a:pt x="612" y="293"/>
                  </a:lnTo>
                  <a:lnTo>
                    <a:pt x="612" y="298"/>
                  </a:lnTo>
                  <a:lnTo>
                    <a:pt x="614" y="301"/>
                  </a:lnTo>
                  <a:lnTo>
                    <a:pt x="614" y="305"/>
                  </a:lnTo>
                  <a:lnTo>
                    <a:pt x="612" y="308"/>
                  </a:lnTo>
                  <a:lnTo>
                    <a:pt x="609" y="311"/>
                  </a:lnTo>
                  <a:lnTo>
                    <a:pt x="606" y="314"/>
                  </a:lnTo>
                  <a:lnTo>
                    <a:pt x="603" y="316"/>
                  </a:lnTo>
                  <a:lnTo>
                    <a:pt x="603" y="319"/>
                  </a:lnTo>
                  <a:lnTo>
                    <a:pt x="603" y="320"/>
                  </a:lnTo>
                  <a:lnTo>
                    <a:pt x="603" y="324"/>
                  </a:lnTo>
                  <a:lnTo>
                    <a:pt x="605" y="327"/>
                  </a:lnTo>
                  <a:lnTo>
                    <a:pt x="606" y="328"/>
                  </a:lnTo>
                  <a:lnTo>
                    <a:pt x="609" y="335"/>
                  </a:lnTo>
                  <a:lnTo>
                    <a:pt x="616" y="344"/>
                  </a:lnTo>
                  <a:lnTo>
                    <a:pt x="616" y="347"/>
                  </a:lnTo>
                  <a:lnTo>
                    <a:pt x="616" y="351"/>
                  </a:lnTo>
                  <a:lnTo>
                    <a:pt x="616" y="352"/>
                  </a:lnTo>
                  <a:lnTo>
                    <a:pt x="614" y="354"/>
                  </a:lnTo>
                  <a:lnTo>
                    <a:pt x="616" y="354"/>
                  </a:lnTo>
                  <a:lnTo>
                    <a:pt x="616" y="358"/>
                  </a:lnTo>
                  <a:lnTo>
                    <a:pt x="616" y="362"/>
                  </a:lnTo>
                  <a:lnTo>
                    <a:pt x="616" y="368"/>
                  </a:lnTo>
                  <a:lnTo>
                    <a:pt x="616" y="371"/>
                  </a:lnTo>
                  <a:lnTo>
                    <a:pt x="616" y="374"/>
                  </a:lnTo>
                  <a:lnTo>
                    <a:pt x="616" y="379"/>
                  </a:lnTo>
                  <a:lnTo>
                    <a:pt x="619" y="382"/>
                  </a:lnTo>
                  <a:lnTo>
                    <a:pt x="620" y="385"/>
                  </a:lnTo>
                  <a:lnTo>
                    <a:pt x="620" y="389"/>
                  </a:lnTo>
                  <a:lnTo>
                    <a:pt x="620" y="392"/>
                  </a:lnTo>
                  <a:lnTo>
                    <a:pt x="622" y="397"/>
                  </a:lnTo>
                  <a:lnTo>
                    <a:pt x="622" y="400"/>
                  </a:lnTo>
                  <a:lnTo>
                    <a:pt x="620" y="411"/>
                  </a:lnTo>
                  <a:lnTo>
                    <a:pt x="620" y="422"/>
                  </a:lnTo>
                  <a:lnTo>
                    <a:pt x="625" y="436"/>
                  </a:lnTo>
                  <a:lnTo>
                    <a:pt x="628" y="450"/>
                  </a:lnTo>
                  <a:lnTo>
                    <a:pt x="628" y="457"/>
                  </a:lnTo>
                  <a:lnTo>
                    <a:pt x="625" y="458"/>
                  </a:lnTo>
                  <a:lnTo>
                    <a:pt x="625" y="463"/>
                  </a:lnTo>
                  <a:lnTo>
                    <a:pt x="625" y="474"/>
                  </a:lnTo>
                  <a:lnTo>
                    <a:pt x="630" y="484"/>
                  </a:lnTo>
                  <a:lnTo>
                    <a:pt x="632" y="489"/>
                  </a:lnTo>
                  <a:lnTo>
                    <a:pt x="635" y="492"/>
                  </a:lnTo>
                  <a:lnTo>
                    <a:pt x="644" y="498"/>
                  </a:lnTo>
                  <a:lnTo>
                    <a:pt x="649" y="503"/>
                  </a:lnTo>
                  <a:lnTo>
                    <a:pt x="654" y="511"/>
                  </a:lnTo>
                  <a:lnTo>
                    <a:pt x="657" y="519"/>
                  </a:lnTo>
                  <a:lnTo>
                    <a:pt x="657" y="527"/>
                  </a:lnTo>
                  <a:lnTo>
                    <a:pt x="665" y="538"/>
                  </a:lnTo>
                  <a:lnTo>
                    <a:pt x="670" y="554"/>
                  </a:lnTo>
                  <a:lnTo>
                    <a:pt x="652" y="555"/>
                  </a:lnTo>
                  <a:lnTo>
                    <a:pt x="636" y="558"/>
                  </a:lnTo>
                  <a:lnTo>
                    <a:pt x="619" y="561"/>
                  </a:lnTo>
                  <a:lnTo>
                    <a:pt x="601" y="565"/>
                  </a:lnTo>
                  <a:lnTo>
                    <a:pt x="603" y="569"/>
                  </a:lnTo>
                  <a:lnTo>
                    <a:pt x="603" y="574"/>
                  </a:lnTo>
                  <a:lnTo>
                    <a:pt x="601" y="579"/>
                  </a:lnTo>
                  <a:lnTo>
                    <a:pt x="598" y="582"/>
                  </a:lnTo>
                  <a:lnTo>
                    <a:pt x="595" y="585"/>
                  </a:lnTo>
                  <a:lnTo>
                    <a:pt x="592" y="588"/>
                  </a:lnTo>
                  <a:lnTo>
                    <a:pt x="589" y="592"/>
                  </a:lnTo>
                  <a:lnTo>
                    <a:pt x="586" y="595"/>
                  </a:lnTo>
                  <a:lnTo>
                    <a:pt x="582" y="598"/>
                  </a:lnTo>
                  <a:lnTo>
                    <a:pt x="586" y="600"/>
                  </a:lnTo>
                  <a:lnTo>
                    <a:pt x="587" y="601"/>
                  </a:lnTo>
                  <a:lnTo>
                    <a:pt x="587" y="601"/>
                  </a:lnTo>
                  <a:lnTo>
                    <a:pt x="587" y="603"/>
                  </a:lnTo>
                  <a:lnTo>
                    <a:pt x="589" y="606"/>
                  </a:lnTo>
                  <a:lnTo>
                    <a:pt x="590" y="609"/>
                  </a:lnTo>
                  <a:lnTo>
                    <a:pt x="592" y="612"/>
                  </a:lnTo>
                  <a:lnTo>
                    <a:pt x="592" y="617"/>
                  </a:lnTo>
                  <a:lnTo>
                    <a:pt x="592" y="620"/>
                  </a:lnTo>
                  <a:lnTo>
                    <a:pt x="592" y="623"/>
                  </a:lnTo>
                  <a:lnTo>
                    <a:pt x="592" y="626"/>
                  </a:lnTo>
                  <a:lnTo>
                    <a:pt x="592" y="630"/>
                  </a:lnTo>
                  <a:lnTo>
                    <a:pt x="590" y="634"/>
                  </a:lnTo>
                  <a:lnTo>
                    <a:pt x="590" y="638"/>
                  </a:lnTo>
                  <a:lnTo>
                    <a:pt x="590" y="641"/>
                  </a:lnTo>
                  <a:lnTo>
                    <a:pt x="592" y="644"/>
                  </a:lnTo>
                  <a:lnTo>
                    <a:pt x="590" y="647"/>
                  </a:lnTo>
                  <a:lnTo>
                    <a:pt x="592" y="652"/>
                  </a:lnTo>
                  <a:lnTo>
                    <a:pt x="592" y="655"/>
                  </a:lnTo>
                  <a:lnTo>
                    <a:pt x="590" y="658"/>
                  </a:lnTo>
                  <a:lnTo>
                    <a:pt x="587" y="661"/>
                  </a:lnTo>
                  <a:lnTo>
                    <a:pt x="587" y="666"/>
                  </a:lnTo>
                  <a:lnTo>
                    <a:pt x="586" y="669"/>
                  </a:lnTo>
                  <a:lnTo>
                    <a:pt x="586" y="672"/>
                  </a:lnTo>
                  <a:lnTo>
                    <a:pt x="586" y="676"/>
                  </a:lnTo>
                  <a:lnTo>
                    <a:pt x="584" y="679"/>
                  </a:lnTo>
                  <a:lnTo>
                    <a:pt x="584" y="680"/>
                  </a:lnTo>
                  <a:lnTo>
                    <a:pt x="582" y="682"/>
                  </a:lnTo>
                  <a:lnTo>
                    <a:pt x="581" y="685"/>
                  </a:lnTo>
                  <a:lnTo>
                    <a:pt x="581" y="690"/>
                  </a:lnTo>
                  <a:lnTo>
                    <a:pt x="582" y="693"/>
                  </a:lnTo>
                  <a:lnTo>
                    <a:pt x="584" y="696"/>
                  </a:lnTo>
                  <a:lnTo>
                    <a:pt x="584" y="699"/>
                  </a:lnTo>
                  <a:lnTo>
                    <a:pt x="587" y="703"/>
                  </a:lnTo>
                  <a:lnTo>
                    <a:pt x="590" y="707"/>
                  </a:lnTo>
                  <a:lnTo>
                    <a:pt x="593" y="707"/>
                  </a:lnTo>
                  <a:lnTo>
                    <a:pt x="595" y="711"/>
                  </a:lnTo>
                  <a:lnTo>
                    <a:pt x="598" y="714"/>
                  </a:lnTo>
                  <a:lnTo>
                    <a:pt x="601" y="717"/>
                  </a:lnTo>
                  <a:lnTo>
                    <a:pt x="603" y="722"/>
                  </a:lnTo>
                  <a:lnTo>
                    <a:pt x="606" y="723"/>
                  </a:lnTo>
                  <a:lnTo>
                    <a:pt x="609" y="723"/>
                  </a:lnTo>
                  <a:lnTo>
                    <a:pt x="614" y="725"/>
                  </a:lnTo>
                  <a:lnTo>
                    <a:pt x="617" y="726"/>
                  </a:lnTo>
                  <a:lnTo>
                    <a:pt x="620" y="725"/>
                  </a:lnTo>
                  <a:lnTo>
                    <a:pt x="619" y="722"/>
                  </a:lnTo>
                  <a:lnTo>
                    <a:pt x="622" y="717"/>
                  </a:lnTo>
                  <a:lnTo>
                    <a:pt x="625" y="717"/>
                  </a:lnTo>
                  <a:lnTo>
                    <a:pt x="628" y="717"/>
                  </a:lnTo>
                  <a:lnTo>
                    <a:pt x="632" y="715"/>
                  </a:lnTo>
                  <a:lnTo>
                    <a:pt x="632" y="715"/>
                  </a:lnTo>
                  <a:lnTo>
                    <a:pt x="632" y="728"/>
                  </a:lnTo>
                  <a:lnTo>
                    <a:pt x="632" y="741"/>
                  </a:lnTo>
                  <a:lnTo>
                    <a:pt x="632" y="753"/>
                  </a:lnTo>
                  <a:lnTo>
                    <a:pt x="632" y="768"/>
                  </a:lnTo>
                  <a:lnTo>
                    <a:pt x="627" y="768"/>
                  </a:lnTo>
                  <a:lnTo>
                    <a:pt x="625" y="764"/>
                  </a:lnTo>
                  <a:lnTo>
                    <a:pt x="627" y="761"/>
                  </a:lnTo>
                  <a:lnTo>
                    <a:pt x="624" y="758"/>
                  </a:lnTo>
                  <a:lnTo>
                    <a:pt x="620" y="761"/>
                  </a:lnTo>
                  <a:lnTo>
                    <a:pt x="616" y="763"/>
                  </a:lnTo>
                  <a:lnTo>
                    <a:pt x="612" y="764"/>
                  </a:lnTo>
                  <a:lnTo>
                    <a:pt x="609" y="768"/>
                  </a:lnTo>
                  <a:lnTo>
                    <a:pt x="606" y="764"/>
                  </a:lnTo>
                  <a:lnTo>
                    <a:pt x="605" y="764"/>
                  </a:lnTo>
                  <a:lnTo>
                    <a:pt x="601" y="764"/>
                  </a:lnTo>
                  <a:lnTo>
                    <a:pt x="601" y="760"/>
                  </a:lnTo>
                  <a:lnTo>
                    <a:pt x="600" y="757"/>
                  </a:lnTo>
                  <a:lnTo>
                    <a:pt x="598" y="753"/>
                  </a:lnTo>
                  <a:lnTo>
                    <a:pt x="597" y="750"/>
                  </a:lnTo>
                  <a:lnTo>
                    <a:pt x="597" y="749"/>
                  </a:lnTo>
                  <a:lnTo>
                    <a:pt x="593" y="745"/>
                  </a:lnTo>
                  <a:lnTo>
                    <a:pt x="590" y="742"/>
                  </a:lnTo>
                  <a:lnTo>
                    <a:pt x="589" y="744"/>
                  </a:lnTo>
                  <a:lnTo>
                    <a:pt x="586" y="741"/>
                  </a:lnTo>
                  <a:lnTo>
                    <a:pt x="586" y="737"/>
                  </a:lnTo>
                  <a:lnTo>
                    <a:pt x="586" y="734"/>
                  </a:lnTo>
                  <a:lnTo>
                    <a:pt x="584" y="731"/>
                  </a:lnTo>
                  <a:lnTo>
                    <a:pt x="581" y="726"/>
                  </a:lnTo>
                  <a:lnTo>
                    <a:pt x="579" y="726"/>
                  </a:lnTo>
                  <a:lnTo>
                    <a:pt x="579" y="726"/>
                  </a:lnTo>
                  <a:lnTo>
                    <a:pt x="573" y="726"/>
                  </a:lnTo>
                  <a:lnTo>
                    <a:pt x="570" y="725"/>
                  </a:lnTo>
                  <a:lnTo>
                    <a:pt x="568" y="722"/>
                  </a:lnTo>
                  <a:lnTo>
                    <a:pt x="562" y="718"/>
                  </a:lnTo>
                  <a:lnTo>
                    <a:pt x="560" y="720"/>
                  </a:lnTo>
                  <a:lnTo>
                    <a:pt x="559" y="722"/>
                  </a:lnTo>
                  <a:lnTo>
                    <a:pt x="555" y="720"/>
                  </a:lnTo>
                  <a:lnTo>
                    <a:pt x="554" y="720"/>
                  </a:lnTo>
                  <a:lnTo>
                    <a:pt x="551" y="715"/>
                  </a:lnTo>
                  <a:lnTo>
                    <a:pt x="549" y="711"/>
                  </a:lnTo>
                  <a:lnTo>
                    <a:pt x="549" y="707"/>
                  </a:lnTo>
                  <a:lnTo>
                    <a:pt x="546" y="704"/>
                  </a:lnTo>
                  <a:lnTo>
                    <a:pt x="541" y="701"/>
                  </a:lnTo>
                  <a:lnTo>
                    <a:pt x="540" y="698"/>
                  </a:lnTo>
                  <a:lnTo>
                    <a:pt x="540" y="695"/>
                  </a:lnTo>
                  <a:lnTo>
                    <a:pt x="540" y="691"/>
                  </a:lnTo>
                  <a:lnTo>
                    <a:pt x="540" y="691"/>
                  </a:lnTo>
                  <a:lnTo>
                    <a:pt x="535" y="691"/>
                  </a:lnTo>
                  <a:lnTo>
                    <a:pt x="533" y="695"/>
                  </a:lnTo>
                  <a:lnTo>
                    <a:pt x="532" y="698"/>
                  </a:lnTo>
                  <a:lnTo>
                    <a:pt x="532" y="701"/>
                  </a:lnTo>
                  <a:lnTo>
                    <a:pt x="530" y="706"/>
                  </a:lnTo>
                  <a:lnTo>
                    <a:pt x="525" y="707"/>
                  </a:lnTo>
                  <a:lnTo>
                    <a:pt x="522" y="707"/>
                  </a:lnTo>
                  <a:lnTo>
                    <a:pt x="519" y="707"/>
                  </a:lnTo>
                  <a:lnTo>
                    <a:pt x="516" y="707"/>
                  </a:lnTo>
                  <a:lnTo>
                    <a:pt x="513" y="706"/>
                  </a:lnTo>
                  <a:lnTo>
                    <a:pt x="508" y="706"/>
                  </a:lnTo>
                  <a:lnTo>
                    <a:pt x="505" y="706"/>
                  </a:lnTo>
                  <a:lnTo>
                    <a:pt x="501" y="704"/>
                  </a:lnTo>
                  <a:lnTo>
                    <a:pt x="498" y="704"/>
                  </a:lnTo>
                  <a:lnTo>
                    <a:pt x="495" y="703"/>
                  </a:lnTo>
                  <a:lnTo>
                    <a:pt x="490" y="699"/>
                  </a:lnTo>
                  <a:lnTo>
                    <a:pt x="487" y="701"/>
                  </a:lnTo>
                  <a:lnTo>
                    <a:pt x="484" y="698"/>
                  </a:lnTo>
                  <a:lnTo>
                    <a:pt x="481" y="698"/>
                  </a:lnTo>
                  <a:lnTo>
                    <a:pt x="476" y="696"/>
                  </a:lnTo>
                  <a:lnTo>
                    <a:pt x="473" y="695"/>
                  </a:lnTo>
                  <a:lnTo>
                    <a:pt x="471" y="690"/>
                  </a:lnTo>
                  <a:lnTo>
                    <a:pt x="471" y="687"/>
                  </a:lnTo>
                  <a:lnTo>
                    <a:pt x="471" y="684"/>
                  </a:lnTo>
                  <a:lnTo>
                    <a:pt x="471" y="680"/>
                  </a:lnTo>
                  <a:lnTo>
                    <a:pt x="473" y="677"/>
                  </a:lnTo>
                  <a:lnTo>
                    <a:pt x="465" y="677"/>
                  </a:lnTo>
                  <a:lnTo>
                    <a:pt x="457" y="679"/>
                  </a:lnTo>
                  <a:lnTo>
                    <a:pt x="449" y="682"/>
                  </a:lnTo>
                  <a:lnTo>
                    <a:pt x="443" y="687"/>
                  </a:lnTo>
                  <a:lnTo>
                    <a:pt x="438" y="685"/>
                  </a:lnTo>
                  <a:lnTo>
                    <a:pt x="435" y="684"/>
                  </a:lnTo>
                  <a:lnTo>
                    <a:pt x="438" y="680"/>
                  </a:lnTo>
                  <a:lnTo>
                    <a:pt x="440" y="677"/>
                  </a:lnTo>
                  <a:lnTo>
                    <a:pt x="438" y="672"/>
                  </a:lnTo>
                  <a:lnTo>
                    <a:pt x="436" y="669"/>
                  </a:lnTo>
                  <a:lnTo>
                    <a:pt x="433" y="669"/>
                  </a:lnTo>
                  <a:lnTo>
                    <a:pt x="429" y="669"/>
                  </a:lnTo>
                  <a:lnTo>
                    <a:pt x="429" y="665"/>
                  </a:lnTo>
                  <a:lnTo>
                    <a:pt x="425" y="663"/>
                  </a:lnTo>
                  <a:lnTo>
                    <a:pt x="424" y="663"/>
                  </a:lnTo>
                  <a:lnTo>
                    <a:pt x="422" y="666"/>
                  </a:lnTo>
                  <a:lnTo>
                    <a:pt x="419" y="668"/>
                  </a:lnTo>
                  <a:lnTo>
                    <a:pt x="414" y="668"/>
                  </a:lnTo>
                  <a:lnTo>
                    <a:pt x="411" y="668"/>
                  </a:lnTo>
                  <a:lnTo>
                    <a:pt x="408" y="666"/>
                  </a:lnTo>
                  <a:lnTo>
                    <a:pt x="405" y="666"/>
                  </a:lnTo>
                  <a:lnTo>
                    <a:pt x="402" y="668"/>
                  </a:lnTo>
                  <a:lnTo>
                    <a:pt x="397" y="669"/>
                  </a:lnTo>
                  <a:lnTo>
                    <a:pt x="390" y="671"/>
                  </a:lnTo>
                  <a:lnTo>
                    <a:pt x="387" y="671"/>
                  </a:lnTo>
                  <a:lnTo>
                    <a:pt x="383" y="669"/>
                  </a:lnTo>
                  <a:lnTo>
                    <a:pt x="379" y="671"/>
                  </a:lnTo>
                  <a:lnTo>
                    <a:pt x="376" y="671"/>
                  </a:lnTo>
                  <a:lnTo>
                    <a:pt x="373" y="669"/>
                  </a:lnTo>
                  <a:lnTo>
                    <a:pt x="370" y="672"/>
                  </a:lnTo>
                  <a:lnTo>
                    <a:pt x="370" y="672"/>
                  </a:lnTo>
                  <a:lnTo>
                    <a:pt x="367" y="674"/>
                  </a:lnTo>
                  <a:lnTo>
                    <a:pt x="363" y="677"/>
                  </a:lnTo>
                  <a:lnTo>
                    <a:pt x="360" y="677"/>
                  </a:lnTo>
                  <a:lnTo>
                    <a:pt x="362" y="677"/>
                  </a:lnTo>
                  <a:lnTo>
                    <a:pt x="362" y="674"/>
                  </a:lnTo>
                  <a:lnTo>
                    <a:pt x="362" y="671"/>
                  </a:lnTo>
                  <a:lnTo>
                    <a:pt x="359" y="666"/>
                  </a:lnTo>
                  <a:lnTo>
                    <a:pt x="359" y="663"/>
                  </a:lnTo>
                  <a:lnTo>
                    <a:pt x="360" y="660"/>
                  </a:lnTo>
                  <a:lnTo>
                    <a:pt x="363" y="658"/>
                  </a:lnTo>
                  <a:lnTo>
                    <a:pt x="363" y="655"/>
                  </a:lnTo>
                  <a:lnTo>
                    <a:pt x="363" y="655"/>
                  </a:lnTo>
                  <a:lnTo>
                    <a:pt x="363" y="652"/>
                  </a:lnTo>
                  <a:lnTo>
                    <a:pt x="363" y="649"/>
                  </a:lnTo>
                  <a:lnTo>
                    <a:pt x="363" y="644"/>
                  </a:lnTo>
                  <a:lnTo>
                    <a:pt x="363" y="641"/>
                  </a:lnTo>
                  <a:lnTo>
                    <a:pt x="362" y="638"/>
                  </a:lnTo>
                  <a:lnTo>
                    <a:pt x="360" y="634"/>
                  </a:lnTo>
                  <a:lnTo>
                    <a:pt x="360" y="631"/>
                  </a:lnTo>
                  <a:lnTo>
                    <a:pt x="359" y="628"/>
                  </a:lnTo>
                  <a:lnTo>
                    <a:pt x="359" y="626"/>
                  </a:lnTo>
                  <a:lnTo>
                    <a:pt x="359" y="623"/>
                  </a:lnTo>
                  <a:lnTo>
                    <a:pt x="354" y="622"/>
                  </a:lnTo>
                  <a:lnTo>
                    <a:pt x="352" y="619"/>
                  </a:lnTo>
                  <a:lnTo>
                    <a:pt x="349" y="614"/>
                  </a:lnTo>
                  <a:lnTo>
                    <a:pt x="348" y="611"/>
                  </a:lnTo>
                  <a:lnTo>
                    <a:pt x="348" y="607"/>
                  </a:lnTo>
                  <a:lnTo>
                    <a:pt x="346" y="604"/>
                  </a:lnTo>
                  <a:lnTo>
                    <a:pt x="346" y="601"/>
                  </a:lnTo>
                  <a:lnTo>
                    <a:pt x="348" y="596"/>
                  </a:lnTo>
                  <a:lnTo>
                    <a:pt x="348" y="593"/>
                  </a:lnTo>
                  <a:lnTo>
                    <a:pt x="348" y="592"/>
                  </a:lnTo>
                  <a:lnTo>
                    <a:pt x="348" y="580"/>
                  </a:lnTo>
                  <a:lnTo>
                    <a:pt x="351" y="571"/>
                  </a:lnTo>
                  <a:lnTo>
                    <a:pt x="351" y="563"/>
                  </a:lnTo>
                  <a:lnTo>
                    <a:pt x="349" y="555"/>
                  </a:lnTo>
                  <a:lnTo>
                    <a:pt x="348" y="552"/>
                  </a:lnTo>
                  <a:lnTo>
                    <a:pt x="346" y="549"/>
                  </a:lnTo>
                  <a:lnTo>
                    <a:pt x="344" y="544"/>
                  </a:lnTo>
                  <a:lnTo>
                    <a:pt x="344" y="541"/>
                  </a:lnTo>
                  <a:lnTo>
                    <a:pt x="346" y="538"/>
                  </a:lnTo>
                  <a:lnTo>
                    <a:pt x="346" y="533"/>
                  </a:lnTo>
                  <a:lnTo>
                    <a:pt x="348" y="528"/>
                  </a:lnTo>
                  <a:lnTo>
                    <a:pt x="349" y="525"/>
                  </a:lnTo>
                  <a:lnTo>
                    <a:pt x="348" y="520"/>
                  </a:lnTo>
                  <a:lnTo>
                    <a:pt x="346" y="515"/>
                  </a:lnTo>
                  <a:lnTo>
                    <a:pt x="324" y="515"/>
                  </a:lnTo>
                  <a:lnTo>
                    <a:pt x="302" y="515"/>
                  </a:lnTo>
                  <a:lnTo>
                    <a:pt x="302" y="508"/>
                  </a:lnTo>
                  <a:lnTo>
                    <a:pt x="305" y="500"/>
                  </a:lnTo>
                  <a:lnTo>
                    <a:pt x="294" y="500"/>
                  </a:lnTo>
                  <a:lnTo>
                    <a:pt x="294" y="504"/>
                  </a:lnTo>
                  <a:lnTo>
                    <a:pt x="279" y="504"/>
                  </a:lnTo>
                  <a:lnTo>
                    <a:pt x="265" y="504"/>
                  </a:lnTo>
                  <a:lnTo>
                    <a:pt x="265" y="506"/>
                  </a:lnTo>
                  <a:lnTo>
                    <a:pt x="264" y="509"/>
                  </a:lnTo>
                  <a:lnTo>
                    <a:pt x="264" y="514"/>
                  </a:lnTo>
                  <a:lnTo>
                    <a:pt x="264" y="517"/>
                  </a:lnTo>
                  <a:lnTo>
                    <a:pt x="264" y="520"/>
                  </a:lnTo>
                  <a:lnTo>
                    <a:pt x="265" y="523"/>
                  </a:lnTo>
                  <a:lnTo>
                    <a:pt x="262" y="527"/>
                  </a:lnTo>
                  <a:lnTo>
                    <a:pt x="259" y="527"/>
                  </a:lnTo>
                  <a:lnTo>
                    <a:pt x="259" y="536"/>
                  </a:lnTo>
                  <a:lnTo>
                    <a:pt x="259" y="546"/>
                  </a:lnTo>
                  <a:lnTo>
                    <a:pt x="248" y="546"/>
                  </a:lnTo>
                  <a:lnTo>
                    <a:pt x="238" y="546"/>
                  </a:lnTo>
                  <a:lnTo>
                    <a:pt x="237" y="542"/>
                  </a:lnTo>
                  <a:lnTo>
                    <a:pt x="233" y="542"/>
                  </a:lnTo>
                  <a:lnTo>
                    <a:pt x="232" y="542"/>
                  </a:lnTo>
                  <a:lnTo>
                    <a:pt x="227" y="544"/>
                  </a:lnTo>
                  <a:lnTo>
                    <a:pt x="224" y="544"/>
                  </a:lnTo>
                  <a:lnTo>
                    <a:pt x="221" y="546"/>
                  </a:lnTo>
                  <a:lnTo>
                    <a:pt x="218" y="544"/>
                  </a:lnTo>
                  <a:lnTo>
                    <a:pt x="214" y="546"/>
                  </a:lnTo>
                  <a:lnTo>
                    <a:pt x="213" y="546"/>
                  </a:lnTo>
                  <a:lnTo>
                    <a:pt x="213" y="549"/>
                  </a:lnTo>
                  <a:lnTo>
                    <a:pt x="210" y="549"/>
                  </a:lnTo>
                  <a:lnTo>
                    <a:pt x="206" y="547"/>
                  </a:lnTo>
                  <a:lnTo>
                    <a:pt x="203" y="549"/>
                  </a:lnTo>
                  <a:lnTo>
                    <a:pt x="200" y="547"/>
                  </a:lnTo>
                  <a:lnTo>
                    <a:pt x="195" y="549"/>
                  </a:lnTo>
                  <a:lnTo>
                    <a:pt x="192" y="549"/>
                  </a:lnTo>
                  <a:lnTo>
                    <a:pt x="191" y="544"/>
                  </a:lnTo>
                  <a:lnTo>
                    <a:pt x="189" y="541"/>
                  </a:lnTo>
                  <a:lnTo>
                    <a:pt x="187" y="538"/>
                  </a:lnTo>
                  <a:lnTo>
                    <a:pt x="184" y="534"/>
                  </a:lnTo>
                  <a:lnTo>
                    <a:pt x="184" y="531"/>
                  </a:lnTo>
                  <a:lnTo>
                    <a:pt x="183" y="528"/>
                  </a:lnTo>
                  <a:lnTo>
                    <a:pt x="181" y="525"/>
                  </a:lnTo>
                  <a:lnTo>
                    <a:pt x="180" y="522"/>
                  </a:lnTo>
                  <a:lnTo>
                    <a:pt x="176" y="519"/>
                  </a:lnTo>
                  <a:lnTo>
                    <a:pt x="173" y="517"/>
                  </a:lnTo>
                  <a:lnTo>
                    <a:pt x="172" y="512"/>
                  </a:lnTo>
                  <a:lnTo>
                    <a:pt x="172" y="509"/>
                  </a:lnTo>
                  <a:lnTo>
                    <a:pt x="172" y="506"/>
                  </a:lnTo>
                  <a:lnTo>
                    <a:pt x="172" y="503"/>
                  </a:lnTo>
                  <a:lnTo>
                    <a:pt x="170" y="500"/>
                  </a:lnTo>
                  <a:lnTo>
                    <a:pt x="167" y="495"/>
                  </a:lnTo>
                  <a:lnTo>
                    <a:pt x="167" y="492"/>
                  </a:lnTo>
                  <a:lnTo>
                    <a:pt x="167" y="492"/>
                  </a:lnTo>
                  <a:lnTo>
                    <a:pt x="165" y="489"/>
                  </a:lnTo>
                  <a:lnTo>
                    <a:pt x="165" y="484"/>
                  </a:lnTo>
                  <a:lnTo>
                    <a:pt x="164" y="481"/>
                  </a:lnTo>
                  <a:lnTo>
                    <a:pt x="162" y="477"/>
                  </a:lnTo>
                  <a:lnTo>
                    <a:pt x="164" y="474"/>
                  </a:lnTo>
                  <a:lnTo>
                    <a:pt x="164" y="471"/>
                  </a:lnTo>
                  <a:lnTo>
                    <a:pt x="160" y="468"/>
                  </a:lnTo>
                  <a:lnTo>
                    <a:pt x="159" y="465"/>
                  </a:lnTo>
                  <a:lnTo>
                    <a:pt x="159" y="463"/>
                  </a:lnTo>
                  <a:lnTo>
                    <a:pt x="159" y="460"/>
                  </a:lnTo>
                  <a:lnTo>
                    <a:pt x="159" y="460"/>
                  </a:lnTo>
                  <a:lnTo>
                    <a:pt x="159" y="460"/>
                  </a:lnTo>
                  <a:lnTo>
                    <a:pt x="154" y="458"/>
                  </a:lnTo>
                  <a:lnTo>
                    <a:pt x="154" y="458"/>
                  </a:lnTo>
                  <a:lnTo>
                    <a:pt x="149" y="457"/>
                  </a:lnTo>
                  <a:lnTo>
                    <a:pt x="143" y="457"/>
                  </a:lnTo>
                  <a:lnTo>
                    <a:pt x="135" y="457"/>
                  </a:lnTo>
                  <a:lnTo>
                    <a:pt x="127" y="457"/>
                  </a:lnTo>
                  <a:lnTo>
                    <a:pt x="113" y="457"/>
                  </a:lnTo>
                  <a:lnTo>
                    <a:pt x="99" y="458"/>
                  </a:lnTo>
                  <a:lnTo>
                    <a:pt x="81" y="458"/>
                  </a:lnTo>
                  <a:lnTo>
                    <a:pt x="65" y="457"/>
                  </a:lnTo>
                  <a:lnTo>
                    <a:pt x="57" y="457"/>
                  </a:lnTo>
                  <a:lnTo>
                    <a:pt x="48" y="457"/>
                  </a:lnTo>
                  <a:lnTo>
                    <a:pt x="45" y="457"/>
                  </a:lnTo>
                  <a:lnTo>
                    <a:pt x="43" y="458"/>
                  </a:lnTo>
                  <a:lnTo>
                    <a:pt x="40" y="458"/>
                  </a:lnTo>
                  <a:lnTo>
                    <a:pt x="35" y="457"/>
                  </a:lnTo>
                  <a:lnTo>
                    <a:pt x="32" y="457"/>
                  </a:lnTo>
                  <a:lnTo>
                    <a:pt x="32" y="457"/>
                  </a:lnTo>
                  <a:lnTo>
                    <a:pt x="29" y="455"/>
                  </a:lnTo>
                  <a:lnTo>
                    <a:pt x="26" y="455"/>
                  </a:lnTo>
                  <a:lnTo>
                    <a:pt x="21" y="457"/>
                  </a:lnTo>
                  <a:lnTo>
                    <a:pt x="19" y="462"/>
                  </a:lnTo>
                  <a:lnTo>
                    <a:pt x="16" y="462"/>
                  </a:lnTo>
                  <a:lnTo>
                    <a:pt x="13" y="463"/>
                  </a:lnTo>
                  <a:lnTo>
                    <a:pt x="8" y="465"/>
                  </a:lnTo>
                  <a:lnTo>
                    <a:pt x="7" y="462"/>
                  </a:lnTo>
                  <a:lnTo>
                    <a:pt x="3" y="457"/>
                  </a:lnTo>
                  <a:lnTo>
                    <a:pt x="0" y="45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54" name="Freeform 419"/>
            <p:cNvSpPr>
              <a:spLocks/>
            </p:cNvSpPr>
            <p:nvPr/>
          </p:nvSpPr>
          <p:spPr bwMode="auto">
            <a:xfrm>
              <a:off x="5140014" y="4458292"/>
              <a:ext cx="161740" cy="221709"/>
            </a:xfrm>
            <a:custGeom>
              <a:avLst/>
              <a:gdLst>
                <a:gd name="T0" fmla="*/ 11 w 221"/>
                <a:gd name="T1" fmla="*/ 163 h 262"/>
                <a:gd name="T2" fmla="*/ 10 w 221"/>
                <a:gd name="T3" fmla="*/ 143 h 262"/>
                <a:gd name="T4" fmla="*/ 11 w 221"/>
                <a:gd name="T5" fmla="*/ 129 h 262"/>
                <a:gd name="T6" fmla="*/ 19 w 221"/>
                <a:gd name="T7" fmla="*/ 119 h 262"/>
                <a:gd name="T8" fmla="*/ 21 w 221"/>
                <a:gd name="T9" fmla="*/ 105 h 262"/>
                <a:gd name="T10" fmla="*/ 21 w 221"/>
                <a:gd name="T11" fmla="*/ 92 h 262"/>
                <a:gd name="T12" fmla="*/ 35 w 221"/>
                <a:gd name="T13" fmla="*/ 90 h 262"/>
                <a:gd name="T14" fmla="*/ 25 w 221"/>
                <a:gd name="T15" fmla="*/ 76 h 262"/>
                <a:gd name="T16" fmla="*/ 27 w 221"/>
                <a:gd name="T17" fmla="*/ 62 h 262"/>
                <a:gd name="T18" fmla="*/ 19 w 221"/>
                <a:gd name="T19" fmla="*/ 44 h 262"/>
                <a:gd name="T20" fmla="*/ 19 w 221"/>
                <a:gd name="T21" fmla="*/ 30 h 262"/>
                <a:gd name="T22" fmla="*/ 33 w 221"/>
                <a:gd name="T23" fmla="*/ 19 h 262"/>
                <a:gd name="T24" fmla="*/ 48 w 221"/>
                <a:gd name="T25" fmla="*/ 18 h 262"/>
                <a:gd name="T26" fmla="*/ 64 w 221"/>
                <a:gd name="T27" fmla="*/ 16 h 262"/>
                <a:gd name="T28" fmla="*/ 73 w 221"/>
                <a:gd name="T29" fmla="*/ 6 h 262"/>
                <a:gd name="T30" fmla="*/ 84 w 221"/>
                <a:gd name="T31" fmla="*/ 3 h 262"/>
                <a:gd name="T32" fmla="*/ 89 w 221"/>
                <a:gd name="T33" fmla="*/ 18 h 262"/>
                <a:gd name="T34" fmla="*/ 100 w 221"/>
                <a:gd name="T35" fmla="*/ 19 h 262"/>
                <a:gd name="T36" fmla="*/ 113 w 221"/>
                <a:gd name="T37" fmla="*/ 13 h 262"/>
                <a:gd name="T38" fmla="*/ 130 w 221"/>
                <a:gd name="T39" fmla="*/ 25 h 262"/>
                <a:gd name="T40" fmla="*/ 143 w 221"/>
                <a:gd name="T41" fmla="*/ 43 h 262"/>
                <a:gd name="T42" fmla="*/ 157 w 221"/>
                <a:gd name="T43" fmla="*/ 46 h 262"/>
                <a:gd name="T44" fmla="*/ 175 w 221"/>
                <a:gd name="T45" fmla="*/ 35 h 262"/>
                <a:gd name="T46" fmla="*/ 194 w 221"/>
                <a:gd name="T47" fmla="*/ 37 h 262"/>
                <a:gd name="T48" fmla="*/ 206 w 221"/>
                <a:gd name="T49" fmla="*/ 49 h 262"/>
                <a:gd name="T50" fmla="*/ 214 w 221"/>
                <a:gd name="T51" fmla="*/ 62 h 262"/>
                <a:gd name="T52" fmla="*/ 217 w 221"/>
                <a:gd name="T53" fmla="*/ 81 h 262"/>
                <a:gd name="T54" fmla="*/ 221 w 221"/>
                <a:gd name="T55" fmla="*/ 97 h 262"/>
                <a:gd name="T56" fmla="*/ 211 w 221"/>
                <a:gd name="T57" fmla="*/ 116 h 262"/>
                <a:gd name="T58" fmla="*/ 205 w 221"/>
                <a:gd name="T59" fmla="*/ 140 h 262"/>
                <a:gd name="T60" fmla="*/ 195 w 221"/>
                <a:gd name="T61" fmla="*/ 165 h 262"/>
                <a:gd name="T62" fmla="*/ 200 w 221"/>
                <a:gd name="T63" fmla="*/ 194 h 262"/>
                <a:gd name="T64" fmla="*/ 211 w 221"/>
                <a:gd name="T65" fmla="*/ 211 h 262"/>
                <a:gd name="T66" fmla="*/ 213 w 221"/>
                <a:gd name="T67" fmla="*/ 230 h 262"/>
                <a:gd name="T68" fmla="*/ 208 w 221"/>
                <a:gd name="T69" fmla="*/ 227 h 262"/>
                <a:gd name="T70" fmla="*/ 194 w 221"/>
                <a:gd name="T71" fmla="*/ 224 h 262"/>
                <a:gd name="T72" fmla="*/ 176 w 221"/>
                <a:gd name="T73" fmla="*/ 227 h 262"/>
                <a:gd name="T74" fmla="*/ 171 w 221"/>
                <a:gd name="T75" fmla="*/ 224 h 262"/>
                <a:gd name="T76" fmla="*/ 167 w 221"/>
                <a:gd name="T77" fmla="*/ 222 h 262"/>
                <a:gd name="T78" fmla="*/ 151 w 221"/>
                <a:gd name="T79" fmla="*/ 224 h 262"/>
                <a:gd name="T80" fmla="*/ 140 w 221"/>
                <a:gd name="T81" fmla="*/ 228 h 262"/>
                <a:gd name="T82" fmla="*/ 160 w 221"/>
                <a:gd name="T83" fmla="*/ 224 h 262"/>
                <a:gd name="T84" fmla="*/ 130 w 221"/>
                <a:gd name="T85" fmla="*/ 230 h 262"/>
                <a:gd name="T86" fmla="*/ 119 w 221"/>
                <a:gd name="T87" fmla="*/ 228 h 262"/>
                <a:gd name="T88" fmla="*/ 119 w 221"/>
                <a:gd name="T89" fmla="*/ 232 h 262"/>
                <a:gd name="T90" fmla="*/ 86 w 221"/>
                <a:gd name="T91" fmla="*/ 241 h 262"/>
                <a:gd name="T92" fmla="*/ 65 w 221"/>
                <a:gd name="T93" fmla="*/ 249 h 262"/>
                <a:gd name="T94" fmla="*/ 46 w 221"/>
                <a:gd name="T95" fmla="*/ 259 h 262"/>
                <a:gd name="T96" fmla="*/ 38 w 221"/>
                <a:gd name="T97" fmla="*/ 238 h 262"/>
                <a:gd name="T98" fmla="*/ 45 w 221"/>
                <a:gd name="T99" fmla="*/ 224 h 262"/>
                <a:gd name="T100" fmla="*/ 43 w 221"/>
                <a:gd name="T101" fmla="*/ 206 h 262"/>
                <a:gd name="T102" fmla="*/ 27 w 221"/>
                <a:gd name="T103" fmla="*/ 189 h 262"/>
                <a:gd name="T104" fmla="*/ 11 w 221"/>
                <a:gd name="T105" fmla="*/ 179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1" h="262">
                  <a:moveTo>
                    <a:pt x="0" y="173"/>
                  </a:moveTo>
                  <a:lnTo>
                    <a:pt x="0" y="173"/>
                  </a:lnTo>
                  <a:lnTo>
                    <a:pt x="3" y="170"/>
                  </a:lnTo>
                  <a:lnTo>
                    <a:pt x="6" y="168"/>
                  </a:lnTo>
                  <a:lnTo>
                    <a:pt x="8" y="167"/>
                  </a:lnTo>
                  <a:lnTo>
                    <a:pt x="11" y="163"/>
                  </a:lnTo>
                  <a:lnTo>
                    <a:pt x="11" y="160"/>
                  </a:lnTo>
                  <a:lnTo>
                    <a:pt x="11" y="155"/>
                  </a:lnTo>
                  <a:lnTo>
                    <a:pt x="13" y="152"/>
                  </a:lnTo>
                  <a:lnTo>
                    <a:pt x="11" y="149"/>
                  </a:lnTo>
                  <a:lnTo>
                    <a:pt x="11" y="146"/>
                  </a:lnTo>
                  <a:lnTo>
                    <a:pt x="10" y="143"/>
                  </a:lnTo>
                  <a:lnTo>
                    <a:pt x="8" y="138"/>
                  </a:lnTo>
                  <a:lnTo>
                    <a:pt x="8" y="135"/>
                  </a:lnTo>
                  <a:lnTo>
                    <a:pt x="6" y="132"/>
                  </a:lnTo>
                  <a:lnTo>
                    <a:pt x="6" y="130"/>
                  </a:lnTo>
                  <a:lnTo>
                    <a:pt x="8" y="129"/>
                  </a:lnTo>
                  <a:lnTo>
                    <a:pt x="11" y="129"/>
                  </a:lnTo>
                  <a:lnTo>
                    <a:pt x="14" y="130"/>
                  </a:lnTo>
                  <a:lnTo>
                    <a:pt x="16" y="132"/>
                  </a:lnTo>
                  <a:lnTo>
                    <a:pt x="16" y="127"/>
                  </a:lnTo>
                  <a:lnTo>
                    <a:pt x="19" y="124"/>
                  </a:lnTo>
                  <a:lnTo>
                    <a:pt x="21" y="121"/>
                  </a:lnTo>
                  <a:lnTo>
                    <a:pt x="19" y="119"/>
                  </a:lnTo>
                  <a:lnTo>
                    <a:pt x="21" y="114"/>
                  </a:lnTo>
                  <a:lnTo>
                    <a:pt x="21" y="111"/>
                  </a:lnTo>
                  <a:lnTo>
                    <a:pt x="21" y="111"/>
                  </a:lnTo>
                  <a:lnTo>
                    <a:pt x="25" y="113"/>
                  </a:lnTo>
                  <a:lnTo>
                    <a:pt x="22" y="110"/>
                  </a:lnTo>
                  <a:lnTo>
                    <a:pt x="21" y="105"/>
                  </a:lnTo>
                  <a:lnTo>
                    <a:pt x="18" y="105"/>
                  </a:lnTo>
                  <a:lnTo>
                    <a:pt x="14" y="102"/>
                  </a:lnTo>
                  <a:lnTo>
                    <a:pt x="16" y="98"/>
                  </a:lnTo>
                  <a:lnTo>
                    <a:pt x="14" y="95"/>
                  </a:lnTo>
                  <a:lnTo>
                    <a:pt x="18" y="92"/>
                  </a:lnTo>
                  <a:lnTo>
                    <a:pt x="21" y="92"/>
                  </a:lnTo>
                  <a:lnTo>
                    <a:pt x="25" y="92"/>
                  </a:lnTo>
                  <a:lnTo>
                    <a:pt x="29" y="95"/>
                  </a:lnTo>
                  <a:lnTo>
                    <a:pt x="32" y="95"/>
                  </a:lnTo>
                  <a:lnTo>
                    <a:pt x="35" y="97"/>
                  </a:lnTo>
                  <a:lnTo>
                    <a:pt x="37" y="97"/>
                  </a:lnTo>
                  <a:lnTo>
                    <a:pt x="35" y="90"/>
                  </a:lnTo>
                  <a:lnTo>
                    <a:pt x="35" y="86"/>
                  </a:lnTo>
                  <a:lnTo>
                    <a:pt x="33" y="84"/>
                  </a:lnTo>
                  <a:lnTo>
                    <a:pt x="32" y="83"/>
                  </a:lnTo>
                  <a:lnTo>
                    <a:pt x="29" y="81"/>
                  </a:lnTo>
                  <a:lnTo>
                    <a:pt x="25" y="79"/>
                  </a:lnTo>
                  <a:lnTo>
                    <a:pt x="25" y="76"/>
                  </a:lnTo>
                  <a:lnTo>
                    <a:pt x="25" y="73"/>
                  </a:lnTo>
                  <a:lnTo>
                    <a:pt x="30" y="70"/>
                  </a:lnTo>
                  <a:lnTo>
                    <a:pt x="33" y="68"/>
                  </a:lnTo>
                  <a:lnTo>
                    <a:pt x="30" y="67"/>
                  </a:lnTo>
                  <a:lnTo>
                    <a:pt x="27" y="65"/>
                  </a:lnTo>
                  <a:lnTo>
                    <a:pt x="27" y="62"/>
                  </a:lnTo>
                  <a:lnTo>
                    <a:pt x="27" y="57"/>
                  </a:lnTo>
                  <a:lnTo>
                    <a:pt x="29" y="54"/>
                  </a:lnTo>
                  <a:lnTo>
                    <a:pt x="24" y="56"/>
                  </a:lnTo>
                  <a:lnTo>
                    <a:pt x="21" y="54"/>
                  </a:lnTo>
                  <a:lnTo>
                    <a:pt x="19" y="49"/>
                  </a:lnTo>
                  <a:lnTo>
                    <a:pt x="19" y="44"/>
                  </a:lnTo>
                  <a:lnTo>
                    <a:pt x="19" y="41"/>
                  </a:lnTo>
                  <a:lnTo>
                    <a:pt x="19" y="38"/>
                  </a:lnTo>
                  <a:lnTo>
                    <a:pt x="19" y="35"/>
                  </a:lnTo>
                  <a:lnTo>
                    <a:pt x="19" y="32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22" y="27"/>
                  </a:lnTo>
                  <a:lnTo>
                    <a:pt x="25" y="24"/>
                  </a:lnTo>
                  <a:lnTo>
                    <a:pt x="27" y="24"/>
                  </a:lnTo>
                  <a:lnTo>
                    <a:pt x="30" y="22"/>
                  </a:lnTo>
                  <a:lnTo>
                    <a:pt x="33" y="19"/>
                  </a:lnTo>
                  <a:lnTo>
                    <a:pt x="33" y="14"/>
                  </a:lnTo>
                  <a:lnTo>
                    <a:pt x="37" y="13"/>
                  </a:lnTo>
                  <a:lnTo>
                    <a:pt x="40" y="13"/>
                  </a:lnTo>
                  <a:lnTo>
                    <a:pt x="45" y="13"/>
                  </a:lnTo>
                  <a:lnTo>
                    <a:pt x="45" y="14"/>
                  </a:lnTo>
                  <a:lnTo>
                    <a:pt x="48" y="18"/>
                  </a:lnTo>
                  <a:lnTo>
                    <a:pt x="48" y="21"/>
                  </a:lnTo>
                  <a:lnTo>
                    <a:pt x="54" y="21"/>
                  </a:lnTo>
                  <a:lnTo>
                    <a:pt x="59" y="24"/>
                  </a:lnTo>
                  <a:lnTo>
                    <a:pt x="62" y="24"/>
                  </a:lnTo>
                  <a:lnTo>
                    <a:pt x="60" y="21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71" y="18"/>
                  </a:lnTo>
                  <a:lnTo>
                    <a:pt x="73" y="16"/>
                  </a:lnTo>
                  <a:lnTo>
                    <a:pt x="73" y="14"/>
                  </a:lnTo>
                  <a:lnTo>
                    <a:pt x="71" y="11"/>
                  </a:lnTo>
                  <a:lnTo>
                    <a:pt x="73" y="6"/>
                  </a:lnTo>
                  <a:lnTo>
                    <a:pt x="73" y="3"/>
                  </a:lnTo>
                  <a:lnTo>
                    <a:pt x="75" y="3"/>
                  </a:lnTo>
                  <a:lnTo>
                    <a:pt x="78" y="8"/>
                  </a:lnTo>
                  <a:lnTo>
                    <a:pt x="81" y="8"/>
                  </a:lnTo>
                  <a:lnTo>
                    <a:pt x="81" y="6"/>
                  </a:lnTo>
                  <a:lnTo>
                    <a:pt x="84" y="3"/>
                  </a:lnTo>
                  <a:lnTo>
                    <a:pt x="87" y="0"/>
                  </a:lnTo>
                  <a:lnTo>
                    <a:pt x="89" y="5"/>
                  </a:lnTo>
                  <a:lnTo>
                    <a:pt x="89" y="8"/>
                  </a:lnTo>
                  <a:lnTo>
                    <a:pt x="91" y="11"/>
                  </a:lnTo>
                  <a:lnTo>
                    <a:pt x="89" y="14"/>
                  </a:lnTo>
                  <a:lnTo>
                    <a:pt x="89" y="18"/>
                  </a:lnTo>
                  <a:lnTo>
                    <a:pt x="87" y="21"/>
                  </a:lnTo>
                  <a:lnTo>
                    <a:pt x="89" y="21"/>
                  </a:lnTo>
                  <a:lnTo>
                    <a:pt x="89" y="21"/>
                  </a:lnTo>
                  <a:lnTo>
                    <a:pt x="92" y="22"/>
                  </a:lnTo>
                  <a:lnTo>
                    <a:pt x="97" y="22"/>
                  </a:lnTo>
                  <a:lnTo>
                    <a:pt x="100" y="19"/>
                  </a:lnTo>
                  <a:lnTo>
                    <a:pt x="100" y="16"/>
                  </a:lnTo>
                  <a:lnTo>
                    <a:pt x="103" y="13"/>
                  </a:lnTo>
                  <a:lnTo>
                    <a:pt x="105" y="13"/>
                  </a:lnTo>
                  <a:lnTo>
                    <a:pt x="110" y="13"/>
                  </a:lnTo>
                  <a:lnTo>
                    <a:pt x="110" y="13"/>
                  </a:lnTo>
                  <a:lnTo>
                    <a:pt x="113" y="13"/>
                  </a:lnTo>
                  <a:lnTo>
                    <a:pt x="114" y="16"/>
                  </a:lnTo>
                  <a:lnTo>
                    <a:pt x="119" y="19"/>
                  </a:lnTo>
                  <a:lnTo>
                    <a:pt x="122" y="18"/>
                  </a:lnTo>
                  <a:lnTo>
                    <a:pt x="125" y="19"/>
                  </a:lnTo>
                  <a:lnTo>
                    <a:pt x="127" y="22"/>
                  </a:lnTo>
                  <a:lnTo>
                    <a:pt x="130" y="25"/>
                  </a:lnTo>
                  <a:lnTo>
                    <a:pt x="132" y="27"/>
                  </a:lnTo>
                  <a:lnTo>
                    <a:pt x="133" y="30"/>
                  </a:lnTo>
                  <a:lnTo>
                    <a:pt x="133" y="35"/>
                  </a:lnTo>
                  <a:lnTo>
                    <a:pt x="137" y="37"/>
                  </a:lnTo>
                  <a:lnTo>
                    <a:pt x="140" y="40"/>
                  </a:lnTo>
                  <a:lnTo>
                    <a:pt x="143" y="43"/>
                  </a:lnTo>
                  <a:lnTo>
                    <a:pt x="146" y="43"/>
                  </a:lnTo>
                  <a:lnTo>
                    <a:pt x="146" y="43"/>
                  </a:lnTo>
                  <a:lnTo>
                    <a:pt x="151" y="44"/>
                  </a:lnTo>
                  <a:lnTo>
                    <a:pt x="154" y="46"/>
                  </a:lnTo>
                  <a:lnTo>
                    <a:pt x="157" y="48"/>
                  </a:lnTo>
                  <a:lnTo>
                    <a:pt x="157" y="46"/>
                  </a:lnTo>
                  <a:lnTo>
                    <a:pt x="157" y="43"/>
                  </a:lnTo>
                  <a:lnTo>
                    <a:pt x="162" y="40"/>
                  </a:lnTo>
                  <a:lnTo>
                    <a:pt x="165" y="38"/>
                  </a:lnTo>
                  <a:lnTo>
                    <a:pt x="168" y="38"/>
                  </a:lnTo>
                  <a:lnTo>
                    <a:pt x="171" y="35"/>
                  </a:lnTo>
                  <a:lnTo>
                    <a:pt x="175" y="35"/>
                  </a:lnTo>
                  <a:lnTo>
                    <a:pt x="178" y="33"/>
                  </a:lnTo>
                  <a:lnTo>
                    <a:pt x="181" y="33"/>
                  </a:lnTo>
                  <a:lnTo>
                    <a:pt x="184" y="33"/>
                  </a:lnTo>
                  <a:lnTo>
                    <a:pt x="189" y="35"/>
                  </a:lnTo>
                  <a:lnTo>
                    <a:pt x="190" y="35"/>
                  </a:lnTo>
                  <a:lnTo>
                    <a:pt x="194" y="37"/>
                  </a:lnTo>
                  <a:lnTo>
                    <a:pt x="197" y="33"/>
                  </a:lnTo>
                  <a:lnTo>
                    <a:pt x="198" y="38"/>
                  </a:lnTo>
                  <a:lnTo>
                    <a:pt x="200" y="41"/>
                  </a:lnTo>
                  <a:lnTo>
                    <a:pt x="205" y="43"/>
                  </a:lnTo>
                  <a:lnTo>
                    <a:pt x="205" y="46"/>
                  </a:lnTo>
                  <a:lnTo>
                    <a:pt x="206" y="49"/>
                  </a:lnTo>
                  <a:lnTo>
                    <a:pt x="209" y="52"/>
                  </a:lnTo>
                  <a:lnTo>
                    <a:pt x="213" y="56"/>
                  </a:lnTo>
                  <a:lnTo>
                    <a:pt x="214" y="52"/>
                  </a:lnTo>
                  <a:lnTo>
                    <a:pt x="216" y="56"/>
                  </a:lnTo>
                  <a:lnTo>
                    <a:pt x="214" y="59"/>
                  </a:lnTo>
                  <a:lnTo>
                    <a:pt x="214" y="62"/>
                  </a:lnTo>
                  <a:lnTo>
                    <a:pt x="213" y="65"/>
                  </a:lnTo>
                  <a:lnTo>
                    <a:pt x="213" y="68"/>
                  </a:lnTo>
                  <a:lnTo>
                    <a:pt x="216" y="71"/>
                  </a:lnTo>
                  <a:lnTo>
                    <a:pt x="216" y="75"/>
                  </a:lnTo>
                  <a:lnTo>
                    <a:pt x="217" y="78"/>
                  </a:lnTo>
                  <a:lnTo>
                    <a:pt x="217" y="81"/>
                  </a:lnTo>
                  <a:lnTo>
                    <a:pt x="217" y="81"/>
                  </a:lnTo>
                  <a:lnTo>
                    <a:pt x="219" y="83"/>
                  </a:lnTo>
                  <a:lnTo>
                    <a:pt x="219" y="87"/>
                  </a:lnTo>
                  <a:lnTo>
                    <a:pt x="221" y="90"/>
                  </a:lnTo>
                  <a:lnTo>
                    <a:pt x="221" y="94"/>
                  </a:lnTo>
                  <a:lnTo>
                    <a:pt x="221" y="97"/>
                  </a:lnTo>
                  <a:lnTo>
                    <a:pt x="221" y="102"/>
                  </a:lnTo>
                  <a:lnTo>
                    <a:pt x="221" y="105"/>
                  </a:lnTo>
                  <a:lnTo>
                    <a:pt x="217" y="108"/>
                  </a:lnTo>
                  <a:lnTo>
                    <a:pt x="217" y="111"/>
                  </a:lnTo>
                  <a:lnTo>
                    <a:pt x="214" y="113"/>
                  </a:lnTo>
                  <a:lnTo>
                    <a:pt x="211" y="116"/>
                  </a:lnTo>
                  <a:lnTo>
                    <a:pt x="209" y="121"/>
                  </a:lnTo>
                  <a:lnTo>
                    <a:pt x="208" y="125"/>
                  </a:lnTo>
                  <a:lnTo>
                    <a:pt x="206" y="129"/>
                  </a:lnTo>
                  <a:lnTo>
                    <a:pt x="205" y="133"/>
                  </a:lnTo>
                  <a:lnTo>
                    <a:pt x="205" y="136"/>
                  </a:lnTo>
                  <a:lnTo>
                    <a:pt x="205" y="140"/>
                  </a:lnTo>
                  <a:lnTo>
                    <a:pt x="205" y="143"/>
                  </a:lnTo>
                  <a:lnTo>
                    <a:pt x="203" y="148"/>
                  </a:lnTo>
                  <a:lnTo>
                    <a:pt x="200" y="151"/>
                  </a:lnTo>
                  <a:lnTo>
                    <a:pt x="198" y="152"/>
                  </a:lnTo>
                  <a:lnTo>
                    <a:pt x="195" y="159"/>
                  </a:lnTo>
                  <a:lnTo>
                    <a:pt x="195" y="165"/>
                  </a:lnTo>
                  <a:lnTo>
                    <a:pt x="195" y="173"/>
                  </a:lnTo>
                  <a:lnTo>
                    <a:pt x="195" y="181"/>
                  </a:lnTo>
                  <a:lnTo>
                    <a:pt x="197" y="184"/>
                  </a:lnTo>
                  <a:lnTo>
                    <a:pt x="198" y="187"/>
                  </a:lnTo>
                  <a:lnTo>
                    <a:pt x="200" y="190"/>
                  </a:lnTo>
                  <a:lnTo>
                    <a:pt x="200" y="194"/>
                  </a:lnTo>
                  <a:lnTo>
                    <a:pt x="202" y="198"/>
                  </a:lnTo>
                  <a:lnTo>
                    <a:pt x="202" y="201"/>
                  </a:lnTo>
                  <a:lnTo>
                    <a:pt x="205" y="206"/>
                  </a:lnTo>
                  <a:lnTo>
                    <a:pt x="203" y="209"/>
                  </a:lnTo>
                  <a:lnTo>
                    <a:pt x="208" y="209"/>
                  </a:lnTo>
                  <a:lnTo>
                    <a:pt x="211" y="211"/>
                  </a:lnTo>
                  <a:lnTo>
                    <a:pt x="211" y="214"/>
                  </a:lnTo>
                  <a:lnTo>
                    <a:pt x="213" y="217"/>
                  </a:lnTo>
                  <a:lnTo>
                    <a:pt x="213" y="221"/>
                  </a:lnTo>
                  <a:lnTo>
                    <a:pt x="209" y="224"/>
                  </a:lnTo>
                  <a:lnTo>
                    <a:pt x="211" y="227"/>
                  </a:lnTo>
                  <a:lnTo>
                    <a:pt x="213" y="230"/>
                  </a:lnTo>
                  <a:lnTo>
                    <a:pt x="208" y="230"/>
                  </a:lnTo>
                  <a:lnTo>
                    <a:pt x="206" y="230"/>
                  </a:lnTo>
                  <a:lnTo>
                    <a:pt x="205" y="232"/>
                  </a:lnTo>
                  <a:lnTo>
                    <a:pt x="205" y="232"/>
                  </a:lnTo>
                  <a:lnTo>
                    <a:pt x="205" y="232"/>
                  </a:lnTo>
                  <a:lnTo>
                    <a:pt x="208" y="227"/>
                  </a:lnTo>
                  <a:lnTo>
                    <a:pt x="203" y="230"/>
                  </a:lnTo>
                  <a:lnTo>
                    <a:pt x="198" y="228"/>
                  </a:lnTo>
                  <a:lnTo>
                    <a:pt x="197" y="228"/>
                  </a:lnTo>
                  <a:lnTo>
                    <a:pt x="197" y="227"/>
                  </a:lnTo>
                  <a:lnTo>
                    <a:pt x="195" y="221"/>
                  </a:lnTo>
                  <a:lnTo>
                    <a:pt x="194" y="224"/>
                  </a:lnTo>
                  <a:lnTo>
                    <a:pt x="189" y="230"/>
                  </a:lnTo>
                  <a:lnTo>
                    <a:pt x="186" y="230"/>
                  </a:lnTo>
                  <a:lnTo>
                    <a:pt x="183" y="228"/>
                  </a:lnTo>
                  <a:lnTo>
                    <a:pt x="179" y="228"/>
                  </a:lnTo>
                  <a:lnTo>
                    <a:pt x="176" y="227"/>
                  </a:lnTo>
                  <a:lnTo>
                    <a:pt x="176" y="227"/>
                  </a:lnTo>
                  <a:lnTo>
                    <a:pt x="176" y="225"/>
                  </a:lnTo>
                  <a:lnTo>
                    <a:pt x="176" y="227"/>
                  </a:lnTo>
                  <a:lnTo>
                    <a:pt x="175" y="227"/>
                  </a:lnTo>
                  <a:lnTo>
                    <a:pt x="171" y="227"/>
                  </a:lnTo>
                  <a:lnTo>
                    <a:pt x="168" y="225"/>
                  </a:lnTo>
                  <a:lnTo>
                    <a:pt x="171" y="224"/>
                  </a:lnTo>
                  <a:lnTo>
                    <a:pt x="175" y="225"/>
                  </a:lnTo>
                  <a:lnTo>
                    <a:pt x="176" y="224"/>
                  </a:lnTo>
                  <a:lnTo>
                    <a:pt x="173" y="221"/>
                  </a:lnTo>
                  <a:lnTo>
                    <a:pt x="175" y="224"/>
                  </a:lnTo>
                  <a:lnTo>
                    <a:pt x="170" y="222"/>
                  </a:lnTo>
                  <a:lnTo>
                    <a:pt x="167" y="222"/>
                  </a:lnTo>
                  <a:lnTo>
                    <a:pt x="168" y="224"/>
                  </a:lnTo>
                  <a:lnTo>
                    <a:pt x="165" y="224"/>
                  </a:lnTo>
                  <a:lnTo>
                    <a:pt x="162" y="222"/>
                  </a:lnTo>
                  <a:lnTo>
                    <a:pt x="157" y="224"/>
                  </a:lnTo>
                  <a:lnTo>
                    <a:pt x="154" y="224"/>
                  </a:lnTo>
                  <a:lnTo>
                    <a:pt x="151" y="224"/>
                  </a:lnTo>
                  <a:lnTo>
                    <a:pt x="148" y="225"/>
                  </a:lnTo>
                  <a:lnTo>
                    <a:pt x="144" y="225"/>
                  </a:lnTo>
                  <a:lnTo>
                    <a:pt x="141" y="224"/>
                  </a:lnTo>
                  <a:lnTo>
                    <a:pt x="138" y="227"/>
                  </a:lnTo>
                  <a:lnTo>
                    <a:pt x="138" y="228"/>
                  </a:lnTo>
                  <a:lnTo>
                    <a:pt x="140" y="228"/>
                  </a:lnTo>
                  <a:lnTo>
                    <a:pt x="143" y="227"/>
                  </a:lnTo>
                  <a:lnTo>
                    <a:pt x="146" y="227"/>
                  </a:lnTo>
                  <a:lnTo>
                    <a:pt x="149" y="227"/>
                  </a:lnTo>
                  <a:lnTo>
                    <a:pt x="152" y="225"/>
                  </a:lnTo>
                  <a:lnTo>
                    <a:pt x="157" y="225"/>
                  </a:lnTo>
                  <a:lnTo>
                    <a:pt x="160" y="224"/>
                  </a:lnTo>
                  <a:lnTo>
                    <a:pt x="163" y="224"/>
                  </a:lnTo>
                  <a:lnTo>
                    <a:pt x="167" y="225"/>
                  </a:lnTo>
                  <a:lnTo>
                    <a:pt x="157" y="227"/>
                  </a:lnTo>
                  <a:lnTo>
                    <a:pt x="148" y="227"/>
                  </a:lnTo>
                  <a:lnTo>
                    <a:pt x="140" y="228"/>
                  </a:lnTo>
                  <a:lnTo>
                    <a:pt x="130" y="230"/>
                  </a:lnTo>
                  <a:lnTo>
                    <a:pt x="130" y="227"/>
                  </a:lnTo>
                  <a:lnTo>
                    <a:pt x="125" y="227"/>
                  </a:lnTo>
                  <a:lnTo>
                    <a:pt x="122" y="227"/>
                  </a:lnTo>
                  <a:lnTo>
                    <a:pt x="121" y="227"/>
                  </a:lnTo>
                  <a:lnTo>
                    <a:pt x="116" y="230"/>
                  </a:lnTo>
                  <a:lnTo>
                    <a:pt x="119" y="228"/>
                  </a:lnTo>
                  <a:lnTo>
                    <a:pt x="124" y="227"/>
                  </a:lnTo>
                  <a:lnTo>
                    <a:pt x="127" y="228"/>
                  </a:lnTo>
                  <a:lnTo>
                    <a:pt x="130" y="230"/>
                  </a:lnTo>
                  <a:lnTo>
                    <a:pt x="129" y="230"/>
                  </a:lnTo>
                  <a:lnTo>
                    <a:pt x="125" y="230"/>
                  </a:lnTo>
                  <a:lnTo>
                    <a:pt x="119" y="232"/>
                  </a:lnTo>
                  <a:lnTo>
                    <a:pt x="114" y="232"/>
                  </a:lnTo>
                  <a:lnTo>
                    <a:pt x="113" y="232"/>
                  </a:lnTo>
                  <a:lnTo>
                    <a:pt x="110" y="232"/>
                  </a:lnTo>
                  <a:lnTo>
                    <a:pt x="98" y="235"/>
                  </a:lnTo>
                  <a:lnTo>
                    <a:pt x="89" y="240"/>
                  </a:lnTo>
                  <a:lnTo>
                    <a:pt x="86" y="241"/>
                  </a:lnTo>
                  <a:lnTo>
                    <a:pt x="83" y="241"/>
                  </a:lnTo>
                  <a:lnTo>
                    <a:pt x="78" y="244"/>
                  </a:lnTo>
                  <a:lnTo>
                    <a:pt x="75" y="244"/>
                  </a:lnTo>
                  <a:lnTo>
                    <a:pt x="71" y="246"/>
                  </a:lnTo>
                  <a:lnTo>
                    <a:pt x="68" y="247"/>
                  </a:lnTo>
                  <a:lnTo>
                    <a:pt x="65" y="249"/>
                  </a:lnTo>
                  <a:lnTo>
                    <a:pt x="60" y="249"/>
                  </a:lnTo>
                  <a:lnTo>
                    <a:pt x="57" y="252"/>
                  </a:lnTo>
                  <a:lnTo>
                    <a:pt x="54" y="255"/>
                  </a:lnTo>
                  <a:lnTo>
                    <a:pt x="51" y="255"/>
                  </a:lnTo>
                  <a:lnTo>
                    <a:pt x="49" y="257"/>
                  </a:lnTo>
                  <a:lnTo>
                    <a:pt x="46" y="259"/>
                  </a:lnTo>
                  <a:lnTo>
                    <a:pt x="41" y="262"/>
                  </a:lnTo>
                  <a:lnTo>
                    <a:pt x="38" y="262"/>
                  </a:lnTo>
                  <a:lnTo>
                    <a:pt x="38" y="252"/>
                  </a:lnTo>
                  <a:lnTo>
                    <a:pt x="37" y="243"/>
                  </a:lnTo>
                  <a:lnTo>
                    <a:pt x="37" y="241"/>
                  </a:lnTo>
                  <a:lnTo>
                    <a:pt x="38" y="238"/>
                  </a:lnTo>
                  <a:lnTo>
                    <a:pt x="38" y="235"/>
                  </a:lnTo>
                  <a:lnTo>
                    <a:pt x="40" y="232"/>
                  </a:lnTo>
                  <a:lnTo>
                    <a:pt x="41" y="227"/>
                  </a:lnTo>
                  <a:lnTo>
                    <a:pt x="41" y="224"/>
                  </a:lnTo>
                  <a:lnTo>
                    <a:pt x="43" y="225"/>
                  </a:lnTo>
                  <a:lnTo>
                    <a:pt x="45" y="224"/>
                  </a:lnTo>
                  <a:lnTo>
                    <a:pt x="43" y="221"/>
                  </a:lnTo>
                  <a:lnTo>
                    <a:pt x="43" y="216"/>
                  </a:lnTo>
                  <a:lnTo>
                    <a:pt x="45" y="213"/>
                  </a:lnTo>
                  <a:lnTo>
                    <a:pt x="45" y="209"/>
                  </a:lnTo>
                  <a:lnTo>
                    <a:pt x="43" y="209"/>
                  </a:lnTo>
                  <a:lnTo>
                    <a:pt x="43" y="206"/>
                  </a:lnTo>
                  <a:lnTo>
                    <a:pt x="41" y="201"/>
                  </a:lnTo>
                  <a:lnTo>
                    <a:pt x="38" y="198"/>
                  </a:lnTo>
                  <a:lnTo>
                    <a:pt x="35" y="197"/>
                  </a:lnTo>
                  <a:lnTo>
                    <a:pt x="30" y="197"/>
                  </a:lnTo>
                  <a:lnTo>
                    <a:pt x="30" y="194"/>
                  </a:lnTo>
                  <a:lnTo>
                    <a:pt x="27" y="189"/>
                  </a:lnTo>
                  <a:lnTo>
                    <a:pt x="29" y="186"/>
                  </a:lnTo>
                  <a:lnTo>
                    <a:pt x="25" y="182"/>
                  </a:lnTo>
                  <a:lnTo>
                    <a:pt x="22" y="181"/>
                  </a:lnTo>
                  <a:lnTo>
                    <a:pt x="18" y="182"/>
                  </a:lnTo>
                  <a:lnTo>
                    <a:pt x="14" y="182"/>
                  </a:lnTo>
                  <a:lnTo>
                    <a:pt x="11" y="179"/>
                  </a:lnTo>
                  <a:lnTo>
                    <a:pt x="8" y="179"/>
                  </a:lnTo>
                  <a:lnTo>
                    <a:pt x="8" y="176"/>
                  </a:lnTo>
                  <a:lnTo>
                    <a:pt x="5" y="176"/>
                  </a:lnTo>
                  <a:lnTo>
                    <a:pt x="3" y="176"/>
                  </a:lnTo>
                  <a:lnTo>
                    <a:pt x="0" y="17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55" name="Freeform 420"/>
            <p:cNvSpPr>
              <a:spLocks/>
            </p:cNvSpPr>
            <p:nvPr/>
          </p:nvSpPr>
          <p:spPr bwMode="auto">
            <a:xfrm>
              <a:off x="4929752" y="3886251"/>
              <a:ext cx="320538" cy="434955"/>
            </a:xfrm>
            <a:custGeom>
              <a:avLst/>
              <a:gdLst>
                <a:gd name="T0" fmla="*/ 3 w 438"/>
                <a:gd name="T1" fmla="*/ 244 h 513"/>
                <a:gd name="T2" fmla="*/ 62 w 438"/>
                <a:gd name="T3" fmla="*/ 242 h 513"/>
                <a:gd name="T4" fmla="*/ 144 w 438"/>
                <a:gd name="T5" fmla="*/ 242 h 513"/>
                <a:gd name="T6" fmla="*/ 141 w 438"/>
                <a:gd name="T7" fmla="*/ 180 h 513"/>
                <a:gd name="T8" fmla="*/ 160 w 438"/>
                <a:gd name="T9" fmla="*/ 163 h 513"/>
                <a:gd name="T10" fmla="*/ 184 w 438"/>
                <a:gd name="T11" fmla="*/ 130 h 513"/>
                <a:gd name="T12" fmla="*/ 216 w 438"/>
                <a:gd name="T13" fmla="*/ 52 h 513"/>
                <a:gd name="T14" fmla="*/ 305 w 438"/>
                <a:gd name="T15" fmla="*/ 38 h 513"/>
                <a:gd name="T16" fmla="*/ 339 w 438"/>
                <a:gd name="T17" fmla="*/ 22 h 513"/>
                <a:gd name="T18" fmla="*/ 422 w 438"/>
                <a:gd name="T19" fmla="*/ 93 h 513"/>
                <a:gd name="T20" fmla="*/ 379 w 438"/>
                <a:gd name="T21" fmla="*/ 136 h 513"/>
                <a:gd name="T22" fmla="*/ 392 w 438"/>
                <a:gd name="T23" fmla="*/ 309 h 513"/>
                <a:gd name="T24" fmla="*/ 408 w 438"/>
                <a:gd name="T25" fmla="*/ 445 h 513"/>
                <a:gd name="T26" fmla="*/ 406 w 438"/>
                <a:gd name="T27" fmla="*/ 471 h 513"/>
                <a:gd name="T28" fmla="*/ 352 w 438"/>
                <a:gd name="T29" fmla="*/ 480 h 513"/>
                <a:gd name="T30" fmla="*/ 289 w 438"/>
                <a:gd name="T31" fmla="*/ 482 h 513"/>
                <a:gd name="T32" fmla="*/ 265 w 438"/>
                <a:gd name="T33" fmla="*/ 475 h 513"/>
                <a:gd name="T34" fmla="*/ 254 w 438"/>
                <a:gd name="T35" fmla="*/ 485 h 513"/>
                <a:gd name="T36" fmla="*/ 243 w 438"/>
                <a:gd name="T37" fmla="*/ 486 h 513"/>
                <a:gd name="T38" fmla="*/ 232 w 438"/>
                <a:gd name="T39" fmla="*/ 483 h 513"/>
                <a:gd name="T40" fmla="*/ 214 w 438"/>
                <a:gd name="T41" fmla="*/ 490 h 513"/>
                <a:gd name="T42" fmla="*/ 192 w 438"/>
                <a:gd name="T43" fmla="*/ 475 h 513"/>
                <a:gd name="T44" fmla="*/ 179 w 438"/>
                <a:gd name="T45" fmla="*/ 488 h 513"/>
                <a:gd name="T46" fmla="*/ 175 w 438"/>
                <a:gd name="T47" fmla="*/ 509 h 513"/>
                <a:gd name="T48" fmla="*/ 159 w 438"/>
                <a:gd name="T49" fmla="*/ 509 h 513"/>
                <a:gd name="T50" fmla="*/ 154 w 438"/>
                <a:gd name="T51" fmla="*/ 501 h 513"/>
                <a:gd name="T52" fmla="*/ 144 w 438"/>
                <a:gd name="T53" fmla="*/ 496 h 513"/>
                <a:gd name="T54" fmla="*/ 138 w 438"/>
                <a:gd name="T55" fmla="*/ 485 h 513"/>
                <a:gd name="T56" fmla="*/ 127 w 438"/>
                <a:gd name="T57" fmla="*/ 475 h 513"/>
                <a:gd name="T58" fmla="*/ 124 w 438"/>
                <a:gd name="T59" fmla="*/ 461 h 513"/>
                <a:gd name="T60" fmla="*/ 113 w 438"/>
                <a:gd name="T61" fmla="*/ 453 h 513"/>
                <a:gd name="T62" fmla="*/ 102 w 438"/>
                <a:gd name="T63" fmla="*/ 447 h 513"/>
                <a:gd name="T64" fmla="*/ 89 w 438"/>
                <a:gd name="T65" fmla="*/ 434 h 513"/>
                <a:gd name="T66" fmla="*/ 67 w 438"/>
                <a:gd name="T67" fmla="*/ 432 h 513"/>
                <a:gd name="T68" fmla="*/ 52 w 438"/>
                <a:gd name="T69" fmla="*/ 437 h 513"/>
                <a:gd name="T70" fmla="*/ 37 w 438"/>
                <a:gd name="T71" fmla="*/ 440 h 513"/>
                <a:gd name="T72" fmla="*/ 19 w 438"/>
                <a:gd name="T73" fmla="*/ 440 h 513"/>
                <a:gd name="T74" fmla="*/ 13 w 438"/>
                <a:gd name="T75" fmla="*/ 455 h 513"/>
                <a:gd name="T76" fmla="*/ 11 w 438"/>
                <a:gd name="T77" fmla="*/ 448 h 513"/>
                <a:gd name="T78" fmla="*/ 25 w 438"/>
                <a:gd name="T79" fmla="*/ 409 h 513"/>
                <a:gd name="T80" fmla="*/ 30 w 438"/>
                <a:gd name="T81" fmla="*/ 371 h 513"/>
                <a:gd name="T82" fmla="*/ 30 w 438"/>
                <a:gd name="T83" fmla="*/ 360 h 513"/>
                <a:gd name="T84" fmla="*/ 24 w 438"/>
                <a:gd name="T85" fmla="*/ 333 h 513"/>
                <a:gd name="T86" fmla="*/ 16 w 438"/>
                <a:gd name="T87" fmla="*/ 321 h 513"/>
                <a:gd name="T88" fmla="*/ 21 w 438"/>
                <a:gd name="T89" fmla="*/ 318 h 513"/>
                <a:gd name="T90" fmla="*/ 24 w 438"/>
                <a:gd name="T91" fmla="*/ 310 h 513"/>
                <a:gd name="T92" fmla="*/ 29 w 438"/>
                <a:gd name="T93" fmla="*/ 298 h 513"/>
                <a:gd name="T94" fmla="*/ 24 w 438"/>
                <a:gd name="T95" fmla="*/ 279 h 513"/>
                <a:gd name="T96" fmla="*/ 11 w 438"/>
                <a:gd name="T97" fmla="*/ 263 h 513"/>
                <a:gd name="T98" fmla="*/ 0 w 438"/>
                <a:gd name="T99" fmla="*/ 260 h 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8" h="513">
                  <a:moveTo>
                    <a:pt x="0" y="266"/>
                  </a:moveTo>
                  <a:lnTo>
                    <a:pt x="0" y="256"/>
                  </a:lnTo>
                  <a:lnTo>
                    <a:pt x="3" y="249"/>
                  </a:lnTo>
                  <a:lnTo>
                    <a:pt x="3" y="244"/>
                  </a:lnTo>
                  <a:lnTo>
                    <a:pt x="6" y="242"/>
                  </a:lnTo>
                  <a:lnTo>
                    <a:pt x="22" y="242"/>
                  </a:lnTo>
                  <a:lnTo>
                    <a:pt x="43" y="242"/>
                  </a:lnTo>
                  <a:lnTo>
                    <a:pt x="62" y="242"/>
                  </a:lnTo>
                  <a:lnTo>
                    <a:pt x="83" y="242"/>
                  </a:lnTo>
                  <a:lnTo>
                    <a:pt x="103" y="242"/>
                  </a:lnTo>
                  <a:lnTo>
                    <a:pt x="124" y="242"/>
                  </a:lnTo>
                  <a:lnTo>
                    <a:pt x="144" y="242"/>
                  </a:lnTo>
                  <a:lnTo>
                    <a:pt x="144" y="223"/>
                  </a:lnTo>
                  <a:lnTo>
                    <a:pt x="143" y="203"/>
                  </a:lnTo>
                  <a:lnTo>
                    <a:pt x="141" y="188"/>
                  </a:lnTo>
                  <a:lnTo>
                    <a:pt x="141" y="180"/>
                  </a:lnTo>
                  <a:lnTo>
                    <a:pt x="144" y="177"/>
                  </a:lnTo>
                  <a:lnTo>
                    <a:pt x="148" y="174"/>
                  </a:lnTo>
                  <a:lnTo>
                    <a:pt x="152" y="169"/>
                  </a:lnTo>
                  <a:lnTo>
                    <a:pt x="160" y="163"/>
                  </a:lnTo>
                  <a:lnTo>
                    <a:pt x="160" y="163"/>
                  </a:lnTo>
                  <a:lnTo>
                    <a:pt x="173" y="160"/>
                  </a:lnTo>
                  <a:lnTo>
                    <a:pt x="182" y="155"/>
                  </a:lnTo>
                  <a:lnTo>
                    <a:pt x="184" y="130"/>
                  </a:lnTo>
                  <a:lnTo>
                    <a:pt x="184" y="104"/>
                  </a:lnTo>
                  <a:lnTo>
                    <a:pt x="186" y="77"/>
                  </a:lnTo>
                  <a:lnTo>
                    <a:pt x="187" y="52"/>
                  </a:lnTo>
                  <a:lnTo>
                    <a:pt x="216" y="52"/>
                  </a:lnTo>
                  <a:lnTo>
                    <a:pt x="246" y="52"/>
                  </a:lnTo>
                  <a:lnTo>
                    <a:pt x="274" y="52"/>
                  </a:lnTo>
                  <a:lnTo>
                    <a:pt x="303" y="52"/>
                  </a:lnTo>
                  <a:lnTo>
                    <a:pt x="305" y="38"/>
                  </a:lnTo>
                  <a:lnTo>
                    <a:pt x="305" y="25"/>
                  </a:lnTo>
                  <a:lnTo>
                    <a:pt x="305" y="12"/>
                  </a:lnTo>
                  <a:lnTo>
                    <a:pt x="306" y="0"/>
                  </a:lnTo>
                  <a:lnTo>
                    <a:pt x="339" y="22"/>
                  </a:lnTo>
                  <a:lnTo>
                    <a:pt x="373" y="46"/>
                  </a:lnTo>
                  <a:lnTo>
                    <a:pt x="404" y="68"/>
                  </a:lnTo>
                  <a:lnTo>
                    <a:pt x="438" y="93"/>
                  </a:lnTo>
                  <a:lnTo>
                    <a:pt x="422" y="93"/>
                  </a:lnTo>
                  <a:lnTo>
                    <a:pt x="406" y="93"/>
                  </a:lnTo>
                  <a:lnTo>
                    <a:pt x="390" y="93"/>
                  </a:lnTo>
                  <a:lnTo>
                    <a:pt x="376" y="93"/>
                  </a:lnTo>
                  <a:lnTo>
                    <a:pt x="379" y="136"/>
                  </a:lnTo>
                  <a:lnTo>
                    <a:pt x="382" y="179"/>
                  </a:lnTo>
                  <a:lnTo>
                    <a:pt x="385" y="223"/>
                  </a:lnTo>
                  <a:lnTo>
                    <a:pt x="389" y="266"/>
                  </a:lnTo>
                  <a:lnTo>
                    <a:pt x="392" y="309"/>
                  </a:lnTo>
                  <a:lnTo>
                    <a:pt x="395" y="353"/>
                  </a:lnTo>
                  <a:lnTo>
                    <a:pt x="398" y="396"/>
                  </a:lnTo>
                  <a:lnTo>
                    <a:pt x="401" y="440"/>
                  </a:lnTo>
                  <a:lnTo>
                    <a:pt x="408" y="445"/>
                  </a:lnTo>
                  <a:lnTo>
                    <a:pt x="411" y="448"/>
                  </a:lnTo>
                  <a:lnTo>
                    <a:pt x="409" y="451"/>
                  </a:lnTo>
                  <a:lnTo>
                    <a:pt x="408" y="459"/>
                  </a:lnTo>
                  <a:lnTo>
                    <a:pt x="406" y="471"/>
                  </a:lnTo>
                  <a:lnTo>
                    <a:pt x="404" y="482"/>
                  </a:lnTo>
                  <a:lnTo>
                    <a:pt x="387" y="480"/>
                  </a:lnTo>
                  <a:lnTo>
                    <a:pt x="370" y="480"/>
                  </a:lnTo>
                  <a:lnTo>
                    <a:pt x="352" y="480"/>
                  </a:lnTo>
                  <a:lnTo>
                    <a:pt x="335" y="480"/>
                  </a:lnTo>
                  <a:lnTo>
                    <a:pt x="316" y="480"/>
                  </a:lnTo>
                  <a:lnTo>
                    <a:pt x="297" y="482"/>
                  </a:lnTo>
                  <a:lnTo>
                    <a:pt x="289" y="482"/>
                  </a:lnTo>
                  <a:lnTo>
                    <a:pt x="279" y="482"/>
                  </a:lnTo>
                  <a:lnTo>
                    <a:pt x="271" y="482"/>
                  </a:lnTo>
                  <a:lnTo>
                    <a:pt x="267" y="478"/>
                  </a:lnTo>
                  <a:lnTo>
                    <a:pt x="265" y="475"/>
                  </a:lnTo>
                  <a:lnTo>
                    <a:pt x="263" y="477"/>
                  </a:lnTo>
                  <a:lnTo>
                    <a:pt x="263" y="480"/>
                  </a:lnTo>
                  <a:lnTo>
                    <a:pt x="262" y="483"/>
                  </a:lnTo>
                  <a:lnTo>
                    <a:pt x="254" y="485"/>
                  </a:lnTo>
                  <a:lnTo>
                    <a:pt x="254" y="485"/>
                  </a:lnTo>
                  <a:lnTo>
                    <a:pt x="251" y="486"/>
                  </a:lnTo>
                  <a:lnTo>
                    <a:pt x="247" y="485"/>
                  </a:lnTo>
                  <a:lnTo>
                    <a:pt x="243" y="486"/>
                  </a:lnTo>
                  <a:lnTo>
                    <a:pt x="241" y="486"/>
                  </a:lnTo>
                  <a:lnTo>
                    <a:pt x="238" y="485"/>
                  </a:lnTo>
                  <a:lnTo>
                    <a:pt x="235" y="485"/>
                  </a:lnTo>
                  <a:lnTo>
                    <a:pt x="232" y="483"/>
                  </a:lnTo>
                  <a:lnTo>
                    <a:pt x="224" y="483"/>
                  </a:lnTo>
                  <a:lnTo>
                    <a:pt x="217" y="483"/>
                  </a:lnTo>
                  <a:lnTo>
                    <a:pt x="217" y="486"/>
                  </a:lnTo>
                  <a:lnTo>
                    <a:pt x="214" y="490"/>
                  </a:lnTo>
                  <a:lnTo>
                    <a:pt x="213" y="494"/>
                  </a:lnTo>
                  <a:lnTo>
                    <a:pt x="211" y="497"/>
                  </a:lnTo>
                  <a:lnTo>
                    <a:pt x="203" y="486"/>
                  </a:lnTo>
                  <a:lnTo>
                    <a:pt x="192" y="475"/>
                  </a:lnTo>
                  <a:lnTo>
                    <a:pt x="189" y="477"/>
                  </a:lnTo>
                  <a:lnTo>
                    <a:pt x="186" y="480"/>
                  </a:lnTo>
                  <a:lnTo>
                    <a:pt x="182" y="478"/>
                  </a:lnTo>
                  <a:lnTo>
                    <a:pt x="179" y="488"/>
                  </a:lnTo>
                  <a:lnTo>
                    <a:pt x="178" y="496"/>
                  </a:lnTo>
                  <a:lnTo>
                    <a:pt x="179" y="502"/>
                  </a:lnTo>
                  <a:lnTo>
                    <a:pt x="178" y="505"/>
                  </a:lnTo>
                  <a:lnTo>
                    <a:pt x="175" y="509"/>
                  </a:lnTo>
                  <a:lnTo>
                    <a:pt x="170" y="513"/>
                  </a:lnTo>
                  <a:lnTo>
                    <a:pt x="165" y="510"/>
                  </a:lnTo>
                  <a:lnTo>
                    <a:pt x="162" y="510"/>
                  </a:lnTo>
                  <a:lnTo>
                    <a:pt x="159" y="509"/>
                  </a:lnTo>
                  <a:lnTo>
                    <a:pt x="155" y="505"/>
                  </a:lnTo>
                  <a:lnTo>
                    <a:pt x="155" y="505"/>
                  </a:lnTo>
                  <a:lnTo>
                    <a:pt x="154" y="502"/>
                  </a:lnTo>
                  <a:lnTo>
                    <a:pt x="154" y="501"/>
                  </a:lnTo>
                  <a:lnTo>
                    <a:pt x="151" y="499"/>
                  </a:lnTo>
                  <a:lnTo>
                    <a:pt x="148" y="497"/>
                  </a:lnTo>
                  <a:lnTo>
                    <a:pt x="148" y="497"/>
                  </a:lnTo>
                  <a:lnTo>
                    <a:pt x="144" y="496"/>
                  </a:lnTo>
                  <a:lnTo>
                    <a:pt x="143" y="494"/>
                  </a:lnTo>
                  <a:lnTo>
                    <a:pt x="140" y="491"/>
                  </a:lnTo>
                  <a:lnTo>
                    <a:pt x="141" y="488"/>
                  </a:lnTo>
                  <a:lnTo>
                    <a:pt x="138" y="485"/>
                  </a:lnTo>
                  <a:lnTo>
                    <a:pt x="136" y="482"/>
                  </a:lnTo>
                  <a:lnTo>
                    <a:pt x="132" y="480"/>
                  </a:lnTo>
                  <a:lnTo>
                    <a:pt x="132" y="477"/>
                  </a:lnTo>
                  <a:lnTo>
                    <a:pt x="127" y="475"/>
                  </a:lnTo>
                  <a:lnTo>
                    <a:pt x="127" y="472"/>
                  </a:lnTo>
                  <a:lnTo>
                    <a:pt x="127" y="467"/>
                  </a:lnTo>
                  <a:lnTo>
                    <a:pt x="125" y="464"/>
                  </a:lnTo>
                  <a:lnTo>
                    <a:pt x="124" y="461"/>
                  </a:lnTo>
                  <a:lnTo>
                    <a:pt x="122" y="458"/>
                  </a:lnTo>
                  <a:lnTo>
                    <a:pt x="119" y="455"/>
                  </a:lnTo>
                  <a:lnTo>
                    <a:pt x="116" y="455"/>
                  </a:lnTo>
                  <a:lnTo>
                    <a:pt x="113" y="453"/>
                  </a:lnTo>
                  <a:lnTo>
                    <a:pt x="109" y="455"/>
                  </a:lnTo>
                  <a:lnTo>
                    <a:pt x="106" y="453"/>
                  </a:lnTo>
                  <a:lnTo>
                    <a:pt x="103" y="450"/>
                  </a:lnTo>
                  <a:lnTo>
                    <a:pt x="102" y="447"/>
                  </a:lnTo>
                  <a:lnTo>
                    <a:pt x="98" y="444"/>
                  </a:lnTo>
                  <a:lnTo>
                    <a:pt x="95" y="440"/>
                  </a:lnTo>
                  <a:lnTo>
                    <a:pt x="92" y="437"/>
                  </a:lnTo>
                  <a:lnTo>
                    <a:pt x="89" y="434"/>
                  </a:lnTo>
                  <a:lnTo>
                    <a:pt x="86" y="434"/>
                  </a:lnTo>
                  <a:lnTo>
                    <a:pt x="81" y="434"/>
                  </a:lnTo>
                  <a:lnTo>
                    <a:pt x="75" y="434"/>
                  </a:lnTo>
                  <a:lnTo>
                    <a:pt x="67" y="432"/>
                  </a:lnTo>
                  <a:lnTo>
                    <a:pt x="67" y="434"/>
                  </a:lnTo>
                  <a:lnTo>
                    <a:pt x="62" y="432"/>
                  </a:lnTo>
                  <a:lnTo>
                    <a:pt x="62" y="437"/>
                  </a:lnTo>
                  <a:lnTo>
                    <a:pt x="52" y="437"/>
                  </a:lnTo>
                  <a:lnTo>
                    <a:pt x="44" y="439"/>
                  </a:lnTo>
                  <a:lnTo>
                    <a:pt x="41" y="440"/>
                  </a:lnTo>
                  <a:lnTo>
                    <a:pt x="38" y="440"/>
                  </a:lnTo>
                  <a:lnTo>
                    <a:pt x="37" y="440"/>
                  </a:lnTo>
                  <a:lnTo>
                    <a:pt x="33" y="440"/>
                  </a:lnTo>
                  <a:lnTo>
                    <a:pt x="30" y="440"/>
                  </a:lnTo>
                  <a:lnTo>
                    <a:pt x="25" y="439"/>
                  </a:lnTo>
                  <a:lnTo>
                    <a:pt x="19" y="440"/>
                  </a:lnTo>
                  <a:lnTo>
                    <a:pt x="18" y="444"/>
                  </a:lnTo>
                  <a:lnTo>
                    <a:pt x="18" y="448"/>
                  </a:lnTo>
                  <a:lnTo>
                    <a:pt x="16" y="451"/>
                  </a:lnTo>
                  <a:lnTo>
                    <a:pt x="13" y="455"/>
                  </a:lnTo>
                  <a:lnTo>
                    <a:pt x="13" y="458"/>
                  </a:lnTo>
                  <a:lnTo>
                    <a:pt x="11" y="458"/>
                  </a:lnTo>
                  <a:lnTo>
                    <a:pt x="11" y="458"/>
                  </a:lnTo>
                  <a:lnTo>
                    <a:pt x="11" y="448"/>
                  </a:lnTo>
                  <a:lnTo>
                    <a:pt x="13" y="444"/>
                  </a:lnTo>
                  <a:lnTo>
                    <a:pt x="14" y="436"/>
                  </a:lnTo>
                  <a:lnTo>
                    <a:pt x="18" y="426"/>
                  </a:lnTo>
                  <a:lnTo>
                    <a:pt x="25" y="409"/>
                  </a:lnTo>
                  <a:lnTo>
                    <a:pt x="30" y="391"/>
                  </a:lnTo>
                  <a:lnTo>
                    <a:pt x="32" y="382"/>
                  </a:lnTo>
                  <a:lnTo>
                    <a:pt x="32" y="374"/>
                  </a:lnTo>
                  <a:lnTo>
                    <a:pt x="30" y="371"/>
                  </a:lnTo>
                  <a:lnTo>
                    <a:pt x="30" y="366"/>
                  </a:lnTo>
                  <a:lnTo>
                    <a:pt x="30" y="363"/>
                  </a:lnTo>
                  <a:lnTo>
                    <a:pt x="30" y="360"/>
                  </a:lnTo>
                  <a:lnTo>
                    <a:pt x="30" y="360"/>
                  </a:lnTo>
                  <a:lnTo>
                    <a:pt x="29" y="350"/>
                  </a:lnTo>
                  <a:lnTo>
                    <a:pt x="27" y="340"/>
                  </a:lnTo>
                  <a:lnTo>
                    <a:pt x="25" y="337"/>
                  </a:lnTo>
                  <a:lnTo>
                    <a:pt x="24" y="333"/>
                  </a:lnTo>
                  <a:lnTo>
                    <a:pt x="22" y="329"/>
                  </a:lnTo>
                  <a:lnTo>
                    <a:pt x="18" y="326"/>
                  </a:lnTo>
                  <a:lnTo>
                    <a:pt x="18" y="326"/>
                  </a:lnTo>
                  <a:lnTo>
                    <a:pt x="16" y="321"/>
                  </a:lnTo>
                  <a:lnTo>
                    <a:pt x="19" y="321"/>
                  </a:lnTo>
                  <a:lnTo>
                    <a:pt x="24" y="320"/>
                  </a:lnTo>
                  <a:lnTo>
                    <a:pt x="24" y="317"/>
                  </a:lnTo>
                  <a:lnTo>
                    <a:pt x="21" y="318"/>
                  </a:lnTo>
                  <a:lnTo>
                    <a:pt x="18" y="321"/>
                  </a:lnTo>
                  <a:lnTo>
                    <a:pt x="19" y="318"/>
                  </a:lnTo>
                  <a:lnTo>
                    <a:pt x="21" y="314"/>
                  </a:lnTo>
                  <a:lnTo>
                    <a:pt x="24" y="310"/>
                  </a:lnTo>
                  <a:lnTo>
                    <a:pt x="25" y="307"/>
                  </a:lnTo>
                  <a:lnTo>
                    <a:pt x="27" y="304"/>
                  </a:lnTo>
                  <a:lnTo>
                    <a:pt x="25" y="301"/>
                  </a:lnTo>
                  <a:lnTo>
                    <a:pt x="29" y="298"/>
                  </a:lnTo>
                  <a:lnTo>
                    <a:pt x="29" y="294"/>
                  </a:lnTo>
                  <a:lnTo>
                    <a:pt x="29" y="291"/>
                  </a:lnTo>
                  <a:lnTo>
                    <a:pt x="29" y="288"/>
                  </a:lnTo>
                  <a:lnTo>
                    <a:pt x="24" y="279"/>
                  </a:lnTo>
                  <a:lnTo>
                    <a:pt x="19" y="268"/>
                  </a:lnTo>
                  <a:lnTo>
                    <a:pt x="18" y="271"/>
                  </a:lnTo>
                  <a:lnTo>
                    <a:pt x="18" y="274"/>
                  </a:lnTo>
                  <a:lnTo>
                    <a:pt x="11" y="263"/>
                  </a:lnTo>
                  <a:lnTo>
                    <a:pt x="3" y="250"/>
                  </a:lnTo>
                  <a:lnTo>
                    <a:pt x="3" y="253"/>
                  </a:lnTo>
                  <a:lnTo>
                    <a:pt x="2" y="256"/>
                  </a:lnTo>
                  <a:lnTo>
                    <a:pt x="0" y="260"/>
                  </a:lnTo>
                  <a:lnTo>
                    <a:pt x="0" y="263"/>
                  </a:lnTo>
                  <a:lnTo>
                    <a:pt x="0" y="26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56" name="Freeform 421"/>
            <p:cNvSpPr>
              <a:spLocks/>
            </p:cNvSpPr>
            <p:nvPr/>
          </p:nvSpPr>
          <p:spPr bwMode="auto">
            <a:xfrm>
              <a:off x="5616411" y="3683159"/>
              <a:ext cx="408761" cy="472188"/>
            </a:xfrm>
            <a:custGeom>
              <a:avLst/>
              <a:gdLst>
                <a:gd name="T0" fmla="*/ 6 w 555"/>
                <a:gd name="T1" fmla="*/ 120 h 558"/>
                <a:gd name="T2" fmla="*/ 20 w 555"/>
                <a:gd name="T3" fmla="*/ 112 h 558"/>
                <a:gd name="T4" fmla="*/ 32 w 555"/>
                <a:gd name="T5" fmla="*/ 95 h 558"/>
                <a:gd name="T6" fmla="*/ 30 w 555"/>
                <a:gd name="T7" fmla="*/ 79 h 558"/>
                <a:gd name="T8" fmla="*/ 32 w 555"/>
                <a:gd name="T9" fmla="*/ 60 h 558"/>
                <a:gd name="T10" fmla="*/ 46 w 555"/>
                <a:gd name="T11" fmla="*/ 49 h 558"/>
                <a:gd name="T12" fmla="*/ 58 w 555"/>
                <a:gd name="T13" fmla="*/ 39 h 558"/>
                <a:gd name="T14" fmla="*/ 74 w 555"/>
                <a:gd name="T15" fmla="*/ 31 h 558"/>
                <a:gd name="T16" fmla="*/ 73 w 555"/>
                <a:gd name="T17" fmla="*/ 15 h 558"/>
                <a:gd name="T18" fmla="*/ 74 w 555"/>
                <a:gd name="T19" fmla="*/ 3 h 558"/>
                <a:gd name="T20" fmla="*/ 82 w 555"/>
                <a:gd name="T21" fmla="*/ 3 h 558"/>
                <a:gd name="T22" fmla="*/ 103 w 555"/>
                <a:gd name="T23" fmla="*/ 14 h 558"/>
                <a:gd name="T24" fmla="*/ 122 w 555"/>
                <a:gd name="T25" fmla="*/ 14 h 558"/>
                <a:gd name="T26" fmla="*/ 147 w 555"/>
                <a:gd name="T27" fmla="*/ 15 h 558"/>
                <a:gd name="T28" fmla="*/ 168 w 555"/>
                <a:gd name="T29" fmla="*/ 20 h 558"/>
                <a:gd name="T30" fmla="*/ 185 w 555"/>
                <a:gd name="T31" fmla="*/ 28 h 558"/>
                <a:gd name="T32" fmla="*/ 201 w 555"/>
                <a:gd name="T33" fmla="*/ 31 h 558"/>
                <a:gd name="T34" fmla="*/ 208 w 555"/>
                <a:gd name="T35" fmla="*/ 50 h 558"/>
                <a:gd name="T36" fmla="*/ 214 w 555"/>
                <a:gd name="T37" fmla="*/ 65 h 558"/>
                <a:gd name="T38" fmla="*/ 246 w 555"/>
                <a:gd name="T39" fmla="*/ 79 h 558"/>
                <a:gd name="T40" fmla="*/ 274 w 555"/>
                <a:gd name="T41" fmla="*/ 84 h 558"/>
                <a:gd name="T42" fmla="*/ 287 w 555"/>
                <a:gd name="T43" fmla="*/ 88 h 558"/>
                <a:gd name="T44" fmla="*/ 314 w 555"/>
                <a:gd name="T45" fmla="*/ 104 h 558"/>
                <a:gd name="T46" fmla="*/ 339 w 555"/>
                <a:gd name="T47" fmla="*/ 118 h 558"/>
                <a:gd name="T48" fmla="*/ 366 w 555"/>
                <a:gd name="T49" fmla="*/ 101 h 558"/>
                <a:gd name="T50" fmla="*/ 374 w 555"/>
                <a:gd name="T51" fmla="*/ 84 h 558"/>
                <a:gd name="T52" fmla="*/ 368 w 555"/>
                <a:gd name="T53" fmla="*/ 69 h 558"/>
                <a:gd name="T54" fmla="*/ 365 w 555"/>
                <a:gd name="T55" fmla="*/ 55 h 558"/>
                <a:gd name="T56" fmla="*/ 385 w 555"/>
                <a:gd name="T57" fmla="*/ 25 h 558"/>
                <a:gd name="T58" fmla="*/ 407 w 555"/>
                <a:gd name="T59" fmla="*/ 15 h 558"/>
                <a:gd name="T60" fmla="*/ 428 w 555"/>
                <a:gd name="T61" fmla="*/ 9 h 558"/>
                <a:gd name="T62" fmla="*/ 442 w 555"/>
                <a:gd name="T63" fmla="*/ 11 h 558"/>
                <a:gd name="T64" fmla="*/ 472 w 555"/>
                <a:gd name="T65" fmla="*/ 22 h 558"/>
                <a:gd name="T66" fmla="*/ 479 w 555"/>
                <a:gd name="T67" fmla="*/ 38 h 558"/>
                <a:gd name="T68" fmla="*/ 503 w 555"/>
                <a:gd name="T69" fmla="*/ 44 h 558"/>
                <a:gd name="T70" fmla="*/ 525 w 555"/>
                <a:gd name="T71" fmla="*/ 47 h 558"/>
                <a:gd name="T72" fmla="*/ 541 w 555"/>
                <a:gd name="T73" fmla="*/ 52 h 558"/>
                <a:gd name="T74" fmla="*/ 541 w 555"/>
                <a:gd name="T75" fmla="*/ 68 h 558"/>
                <a:gd name="T76" fmla="*/ 536 w 555"/>
                <a:gd name="T77" fmla="*/ 82 h 558"/>
                <a:gd name="T78" fmla="*/ 542 w 555"/>
                <a:gd name="T79" fmla="*/ 98 h 558"/>
                <a:gd name="T80" fmla="*/ 537 w 555"/>
                <a:gd name="T81" fmla="*/ 112 h 558"/>
                <a:gd name="T82" fmla="*/ 534 w 555"/>
                <a:gd name="T83" fmla="*/ 126 h 558"/>
                <a:gd name="T84" fmla="*/ 541 w 555"/>
                <a:gd name="T85" fmla="*/ 152 h 558"/>
                <a:gd name="T86" fmla="*/ 545 w 555"/>
                <a:gd name="T87" fmla="*/ 214 h 558"/>
                <a:gd name="T88" fmla="*/ 552 w 555"/>
                <a:gd name="T89" fmla="*/ 386 h 558"/>
                <a:gd name="T90" fmla="*/ 518 w 555"/>
                <a:gd name="T91" fmla="*/ 539 h 558"/>
                <a:gd name="T92" fmla="*/ 449 w 555"/>
                <a:gd name="T93" fmla="*/ 516 h 558"/>
                <a:gd name="T94" fmla="*/ 269 w 555"/>
                <a:gd name="T95" fmla="*/ 417 h 558"/>
                <a:gd name="T96" fmla="*/ 198 w 555"/>
                <a:gd name="T97" fmla="*/ 415 h 558"/>
                <a:gd name="T98" fmla="*/ 179 w 555"/>
                <a:gd name="T99" fmla="*/ 426 h 558"/>
                <a:gd name="T100" fmla="*/ 152 w 555"/>
                <a:gd name="T101" fmla="*/ 412 h 558"/>
                <a:gd name="T102" fmla="*/ 92 w 555"/>
                <a:gd name="T103" fmla="*/ 394 h 558"/>
                <a:gd name="T104" fmla="*/ 78 w 555"/>
                <a:gd name="T105" fmla="*/ 363 h 558"/>
                <a:gd name="T106" fmla="*/ 51 w 555"/>
                <a:gd name="T107" fmla="*/ 353 h 558"/>
                <a:gd name="T108" fmla="*/ 32 w 555"/>
                <a:gd name="T109" fmla="*/ 350 h 558"/>
                <a:gd name="T110" fmla="*/ 25 w 555"/>
                <a:gd name="T111" fmla="*/ 340 h 558"/>
                <a:gd name="T112" fmla="*/ 6 w 555"/>
                <a:gd name="T113" fmla="*/ 294 h 558"/>
                <a:gd name="T114" fmla="*/ 11 w 555"/>
                <a:gd name="T115" fmla="*/ 275 h 558"/>
                <a:gd name="T116" fmla="*/ 19 w 555"/>
                <a:gd name="T117" fmla="*/ 260 h 558"/>
                <a:gd name="T118" fmla="*/ 12 w 555"/>
                <a:gd name="T119" fmla="*/ 241 h 558"/>
                <a:gd name="T120" fmla="*/ 19 w 555"/>
                <a:gd name="T121" fmla="*/ 222 h 558"/>
                <a:gd name="T122" fmla="*/ 16 w 555"/>
                <a:gd name="T123" fmla="*/ 198 h 558"/>
                <a:gd name="T124" fmla="*/ 17 w 555"/>
                <a:gd name="T125" fmla="*/ 161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55" h="558">
                  <a:moveTo>
                    <a:pt x="1" y="128"/>
                  </a:moveTo>
                  <a:lnTo>
                    <a:pt x="0" y="125"/>
                  </a:lnTo>
                  <a:lnTo>
                    <a:pt x="1" y="122"/>
                  </a:lnTo>
                  <a:lnTo>
                    <a:pt x="3" y="122"/>
                  </a:lnTo>
                  <a:lnTo>
                    <a:pt x="6" y="120"/>
                  </a:lnTo>
                  <a:lnTo>
                    <a:pt x="9" y="117"/>
                  </a:lnTo>
                  <a:lnTo>
                    <a:pt x="12" y="115"/>
                  </a:lnTo>
                  <a:lnTo>
                    <a:pt x="17" y="115"/>
                  </a:lnTo>
                  <a:lnTo>
                    <a:pt x="19" y="115"/>
                  </a:lnTo>
                  <a:lnTo>
                    <a:pt x="20" y="112"/>
                  </a:lnTo>
                  <a:lnTo>
                    <a:pt x="22" y="109"/>
                  </a:lnTo>
                  <a:lnTo>
                    <a:pt x="25" y="106"/>
                  </a:lnTo>
                  <a:lnTo>
                    <a:pt x="27" y="103"/>
                  </a:lnTo>
                  <a:lnTo>
                    <a:pt x="30" y="98"/>
                  </a:lnTo>
                  <a:lnTo>
                    <a:pt x="32" y="95"/>
                  </a:lnTo>
                  <a:lnTo>
                    <a:pt x="32" y="91"/>
                  </a:lnTo>
                  <a:lnTo>
                    <a:pt x="32" y="90"/>
                  </a:lnTo>
                  <a:lnTo>
                    <a:pt x="32" y="87"/>
                  </a:lnTo>
                  <a:lnTo>
                    <a:pt x="30" y="82"/>
                  </a:lnTo>
                  <a:lnTo>
                    <a:pt x="30" y="79"/>
                  </a:lnTo>
                  <a:lnTo>
                    <a:pt x="28" y="76"/>
                  </a:lnTo>
                  <a:lnTo>
                    <a:pt x="27" y="71"/>
                  </a:lnTo>
                  <a:lnTo>
                    <a:pt x="27" y="68"/>
                  </a:lnTo>
                  <a:lnTo>
                    <a:pt x="30" y="63"/>
                  </a:lnTo>
                  <a:lnTo>
                    <a:pt x="32" y="60"/>
                  </a:lnTo>
                  <a:lnTo>
                    <a:pt x="35" y="58"/>
                  </a:lnTo>
                  <a:lnTo>
                    <a:pt x="39" y="58"/>
                  </a:lnTo>
                  <a:lnTo>
                    <a:pt x="44" y="53"/>
                  </a:lnTo>
                  <a:lnTo>
                    <a:pt x="44" y="49"/>
                  </a:lnTo>
                  <a:lnTo>
                    <a:pt x="46" y="49"/>
                  </a:lnTo>
                  <a:lnTo>
                    <a:pt x="49" y="47"/>
                  </a:lnTo>
                  <a:lnTo>
                    <a:pt x="49" y="47"/>
                  </a:lnTo>
                  <a:lnTo>
                    <a:pt x="52" y="44"/>
                  </a:lnTo>
                  <a:lnTo>
                    <a:pt x="55" y="41"/>
                  </a:lnTo>
                  <a:lnTo>
                    <a:pt x="58" y="39"/>
                  </a:lnTo>
                  <a:lnTo>
                    <a:pt x="62" y="38"/>
                  </a:lnTo>
                  <a:lnTo>
                    <a:pt x="63" y="36"/>
                  </a:lnTo>
                  <a:lnTo>
                    <a:pt x="66" y="34"/>
                  </a:lnTo>
                  <a:lnTo>
                    <a:pt x="71" y="33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6" y="26"/>
                  </a:lnTo>
                  <a:lnTo>
                    <a:pt x="73" y="22"/>
                  </a:lnTo>
                  <a:lnTo>
                    <a:pt x="73" y="19"/>
                  </a:lnTo>
                  <a:lnTo>
                    <a:pt x="73" y="15"/>
                  </a:lnTo>
                  <a:lnTo>
                    <a:pt x="73" y="11"/>
                  </a:lnTo>
                  <a:lnTo>
                    <a:pt x="73" y="9"/>
                  </a:lnTo>
                  <a:lnTo>
                    <a:pt x="73" y="7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1"/>
                  </a:lnTo>
                  <a:lnTo>
                    <a:pt x="74" y="0"/>
                  </a:lnTo>
                  <a:lnTo>
                    <a:pt x="76" y="0"/>
                  </a:lnTo>
                  <a:lnTo>
                    <a:pt x="79" y="3"/>
                  </a:lnTo>
                  <a:lnTo>
                    <a:pt x="82" y="3"/>
                  </a:lnTo>
                  <a:lnTo>
                    <a:pt x="85" y="3"/>
                  </a:lnTo>
                  <a:lnTo>
                    <a:pt x="93" y="7"/>
                  </a:lnTo>
                  <a:lnTo>
                    <a:pt x="100" y="12"/>
                  </a:lnTo>
                  <a:lnTo>
                    <a:pt x="103" y="14"/>
                  </a:lnTo>
                  <a:lnTo>
                    <a:pt x="103" y="14"/>
                  </a:lnTo>
                  <a:lnTo>
                    <a:pt x="106" y="14"/>
                  </a:lnTo>
                  <a:lnTo>
                    <a:pt x="111" y="14"/>
                  </a:lnTo>
                  <a:lnTo>
                    <a:pt x="116" y="14"/>
                  </a:lnTo>
                  <a:lnTo>
                    <a:pt x="122" y="14"/>
                  </a:lnTo>
                  <a:lnTo>
                    <a:pt x="122" y="14"/>
                  </a:lnTo>
                  <a:lnTo>
                    <a:pt x="127" y="12"/>
                  </a:lnTo>
                  <a:lnTo>
                    <a:pt x="128" y="12"/>
                  </a:lnTo>
                  <a:lnTo>
                    <a:pt x="131" y="9"/>
                  </a:lnTo>
                  <a:lnTo>
                    <a:pt x="141" y="12"/>
                  </a:lnTo>
                  <a:lnTo>
                    <a:pt x="147" y="15"/>
                  </a:lnTo>
                  <a:lnTo>
                    <a:pt x="154" y="15"/>
                  </a:lnTo>
                  <a:lnTo>
                    <a:pt x="157" y="15"/>
                  </a:lnTo>
                  <a:lnTo>
                    <a:pt x="162" y="17"/>
                  </a:lnTo>
                  <a:lnTo>
                    <a:pt x="165" y="19"/>
                  </a:lnTo>
                  <a:lnTo>
                    <a:pt x="168" y="20"/>
                  </a:lnTo>
                  <a:lnTo>
                    <a:pt x="171" y="22"/>
                  </a:lnTo>
                  <a:lnTo>
                    <a:pt x="174" y="25"/>
                  </a:lnTo>
                  <a:lnTo>
                    <a:pt x="177" y="26"/>
                  </a:lnTo>
                  <a:lnTo>
                    <a:pt x="181" y="26"/>
                  </a:lnTo>
                  <a:lnTo>
                    <a:pt x="185" y="28"/>
                  </a:lnTo>
                  <a:lnTo>
                    <a:pt x="187" y="28"/>
                  </a:lnTo>
                  <a:lnTo>
                    <a:pt x="190" y="30"/>
                  </a:lnTo>
                  <a:lnTo>
                    <a:pt x="195" y="30"/>
                  </a:lnTo>
                  <a:lnTo>
                    <a:pt x="198" y="31"/>
                  </a:lnTo>
                  <a:lnTo>
                    <a:pt x="201" y="31"/>
                  </a:lnTo>
                  <a:lnTo>
                    <a:pt x="204" y="36"/>
                  </a:lnTo>
                  <a:lnTo>
                    <a:pt x="206" y="41"/>
                  </a:lnTo>
                  <a:lnTo>
                    <a:pt x="206" y="44"/>
                  </a:lnTo>
                  <a:lnTo>
                    <a:pt x="208" y="47"/>
                  </a:lnTo>
                  <a:lnTo>
                    <a:pt x="208" y="50"/>
                  </a:lnTo>
                  <a:lnTo>
                    <a:pt x="209" y="53"/>
                  </a:lnTo>
                  <a:lnTo>
                    <a:pt x="211" y="57"/>
                  </a:lnTo>
                  <a:lnTo>
                    <a:pt x="211" y="60"/>
                  </a:lnTo>
                  <a:lnTo>
                    <a:pt x="212" y="61"/>
                  </a:lnTo>
                  <a:lnTo>
                    <a:pt x="214" y="65"/>
                  </a:lnTo>
                  <a:lnTo>
                    <a:pt x="219" y="71"/>
                  </a:lnTo>
                  <a:lnTo>
                    <a:pt x="227" y="76"/>
                  </a:lnTo>
                  <a:lnTo>
                    <a:pt x="235" y="77"/>
                  </a:lnTo>
                  <a:lnTo>
                    <a:pt x="242" y="79"/>
                  </a:lnTo>
                  <a:lnTo>
                    <a:pt x="246" y="79"/>
                  </a:lnTo>
                  <a:lnTo>
                    <a:pt x="249" y="79"/>
                  </a:lnTo>
                  <a:lnTo>
                    <a:pt x="252" y="79"/>
                  </a:lnTo>
                  <a:lnTo>
                    <a:pt x="255" y="79"/>
                  </a:lnTo>
                  <a:lnTo>
                    <a:pt x="265" y="82"/>
                  </a:lnTo>
                  <a:lnTo>
                    <a:pt x="274" y="84"/>
                  </a:lnTo>
                  <a:lnTo>
                    <a:pt x="274" y="85"/>
                  </a:lnTo>
                  <a:lnTo>
                    <a:pt x="277" y="85"/>
                  </a:lnTo>
                  <a:lnTo>
                    <a:pt x="282" y="87"/>
                  </a:lnTo>
                  <a:lnTo>
                    <a:pt x="284" y="88"/>
                  </a:lnTo>
                  <a:lnTo>
                    <a:pt x="287" y="88"/>
                  </a:lnTo>
                  <a:lnTo>
                    <a:pt x="290" y="91"/>
                  </a:lnTo>
                  <a:lnTo>
                    <a:pt x="293" y="91"/>
                  </a:lnTo>
                  <a:lnTo>
                    <a:pt x="296" y="95"/>
                  </a:lnTo>
                  <a:lnTo>
                    <a:pt x="301" y="96"/>
                  </a:lnTo>
                  <a:lnTo>
                    <a:pt x="314" y="104"/>
                  </a:lnTo>
                  <a:lnTo>
                    <a:pt x="327" y="114"/>
                  </a:lnTo>
                  <a:lnTo>
                    <a:pt x="330" y="115"/>
                  </a:lnTo>
                  <a:lnTo>
                    <a:pt x="333" y="118"/>
                  </a:lnTo>
                  <a:lnTo>
                    <a:pt x="336" y="118"/>
                  </a:lnTo>
                  <a:lnTo>
                    <a:pt x="339" y="118"/>
                  </a:lnTo>
                  <a:lnTo>
                    <a:pt x="349" y="115"/>
                  </a:lnTo>
                  <a:lnTo>
                    <a:pt x="357" y="111"/>
                  </a:lnTo>
                  <a:lnTo>
                    <a:pt x="361" y="107"/>
                  </a:lnTo>
                  <a:lnTo>
                    <a:pt x="363" y="104"/>
                  </a:lnTo>
                  <a:lnTo>
                    <a:pt x="366" y="101"/>
                  </a:lnTo>
                  <a:lnTo>
                    <a:pt x="368" y="96"/>
                  </a:lnTo>
                  <a:lnTo>
                    <a:pt x="369" y="95"/>
                  </a:lnTo>
                  <a:lnTo>
                    <a:pt x="371" y="91"/>
                  </a:lnTo>
                  <a:lnTo>
                    <a:pt x="373" y="88"/>
                  </a:lnTo>
                  <a:lnTo>
                    <a:pt x="374" y="84"/>
                  </a:lnTo>
                  <a:lnTo>
                    <a:pt x="373" y="80"/>
                  </a:lnTo>
                  <a:lnTo>
                    <a:pt x="373" y="79"/>
                  </a:lnTo>
                  <a:lnTo>
                    <a:pt x="371" y="77"/>
                  </a:lnTo>
                  <a:lnTo>
                    <a:pt x="369" y="72"/>
                  </a:lnTo>
                  <a:lnTo>
                    <a:pt x="368" y="69"/>
                  </a:lnTo>
                  <a:lnTo>
                    <a:pt x="368" y="69"/>
                  </a:lnTo>
                  <a:lnTo>
                    <a:pt x="366" y="66"/>
                  </a:lnTo>
                  <a:lnTo>
                    <a:pt x="366" y="63"/>
                  </a:lnTo>
                  <a:lnTo>
                    <a:pt x="365" y="58"/>
                  </a:lnTo>
                  <a:lnTo>
                    <a:pt x="365" y="55"/>
                  </a:lnTo>
                  <a:lnTo>
                    <a:pt x="366" y="47"/>
                  </a:lnTo>
                  <a:lnTo>
                    <a:pt x="369" y="39"/>
                  </a:lnTo>
                  <a:lnTo>
                    <a:pt x="376" y="33"/>
                  </a:lnTo>
                  <a:lnTo>
                    <a:pt x="382" y="26"/>
                  </a:lnTo>
                  <a:lnTo>
                    <a:pt x="385" y="25"/>
                  </a:lnTo>
                  <a:lnTo>
                    <a:pt x="388" y="23"/>
                  </a:lnTo>
                  <a:lnTo>
                    <a:pt x="395" y="20"/>
                  </a:lnTo>
                  <a:lnTo>
                    <a:pt x="401" y="17"/>
                  </a:lnTo>
                  <a:lnTo>
                    <a:pt x="404" y="15"/>
                  </a:lnTo>
                  <a:lnTo>
                    <a:pt x="407" y="15"/>
                  </a:lnTo>
                  <a:lnTo>
                    <a:pt x="412" y="15"/>
                  </a:lnTo>
                  <a:lnTo>
                    <a:pt x="415" y="14"/>
                  </a:lnTo>
                  <a:lnTo>
                    <a:pt x="422" y="9"/>
                  </a:lnTo>
                  <a:lnTo>
                    <a:pt x="425" y="9"/>
                  </a:lnTo>
                  <a:lnTo>
                    <a:pt x="428" y="9"/>
                  </a:lnTo>
                  <a:lnTo>
                    <a:pt x="431" y="11"/>
                  </a:lnTo>
                  <a:lnTo>
                    <a:pt x="434" y="9"/>
                  </a:lnTo>
                  <a:lnTo>
                    <a:pt x="436" y="11"/>
                  </a:lnTo>
                  <a:lnTo>
                    <a:pt x="439" y="9"/>
                  </a:lnTo>
                  <a:lnTo>
                    <a:pt x="442" y="11"/>
                  </a:lnTo>
                  <a:lnTo>
                    <a:pt x="445" y="11"/>
                  </a:lnTo>
                  <a:lnTo>
                    <a:pt x="453" y="15"/>
                  </a:lnTo>
                  <a:lnTo>
                    <a:pt x="457" y="17"/>
                  </a:lnTo>
                  <a:lnTo>
                    <a:pt x="464" y="19"/>
                  </a:lnTo>
                  <a:lnTo>
                    <a:pt x="472" y="22"/>
                  </a:lnTo>
                  <a:lnTo>
                    <a:pt x="472" y="25"/>
                  </a:lnTo>
                  <a:lnTo>
                    <a:pt x="474" y="28"/>
                  </a:lnTo>
                  <a:lnTo>
                    <a:pt x="472" y="31"/>
                  </a:lnTo>
                  <a:lnTo>
                    <a:pt x="476" y="34"/>
                  </a:lnTo>
                  <a:lnTo>
                    <a:pt x="479" y="38"/>
                  </a:lnTo>
                  <a:lnTo>
                    <a:pt x="479" y="39"/>
                  </a:lnTo>
                  <a:lnTo>
                    <a:pt x="484" y="39"/>
                  </a:lnTo>
                  <a:lnTo>
                    <a:pt x="487" y="39"/>
                  </a:lnTo>
                  <a:lnTo>
                    <a:pt x="490" y="39"/>
                  </a:lnTo>
                  <a:lnTo>
                    <a:pt x="503" y="44"/>
                  </a:lnTo>
                  <a:lnTo>
                    <a:pt x="510" y="47"/>
                  </a:lnTo>
                  <a:lnTo>
                    <a:pt x="514" y="47"/>
                  </a:lnTo>
                  <a:lnTo>
                    <a:pt x="518" y="47"/>
                  </a:lnTo>
                  <a:lnTo>
                    <a:pt x="522" y="47"/>
                  </a:lnTo>
                  <a:lnTo>
                    <a:pt x="525" y="47"/>
                  </a:lnTo>
                  <a:lnTo>
                    <a:pt x="528" y="45"/>
                  </a:lnTo>
                  <a:lnTo>
                    <a:pt x="533" y="47"/>
                  </a:lnTo>
                  <a:lnTo>
                    <a:pt x="536" y="49"/>
                  </a:lnTo>
                  <a:lnTo>
                    <a:pt x="539" y="49"/>
                  </a:lnTo>
                  <a:lnTo>
                    <a:pt x="541" y="52"/>
                  </a:lnTo>
                  <a:lnTo>
                    <a:pt x="541" y="55"/>
                  </a:lnTo>
                  <a:lnTo>
                    <a:pt x="544" y="58"/>
                  </a:lnTo>
                  <a:lnTo>
                    <a:pt x="545" y="61"/>
                  </a:lnTo>
                  <a:lnTo>
                    <a:pt x="542" y="65"/>
                  </a:lnTo>
                  <a:lnTo>
                    <a:pt x="541" y="68"/>
                  </a:lnTo>
                  <a:lnTo>
                    <a:pt x="541" y="69"/>
                  </a:lnTo>
                  <a:lnTo>
                    <a:pt x="537" y="71"/>
                  </a:lnTo>
                  <a:lnTo>
                    <a:pt x="536" y="74"/>
                  </a:lnTo>
                  <a:lnTo>
                    <a:pt x="536" y="79"/>
                  </a:lnTo>
                  <a:lnTo>
                    <a:pt x="536" y="82"/>
                  </a:lnTo>
                  <a:lnTo>
                    <a:pt x="537" y="85"/>
                  </a:lnTo>
                  <a:lnTo>
                    <a:pt x="539" y="88"/>
                  </a:lnTo>
                  <a:lnTo>
                    <a:pt x="539" y="93"/>
                  </a:lnTo>
                  <a:lnTo>
                    <a:pt x="541" y="95"/>
                  </a:lnTo>
                  <a:lnTo>
                    <a:pt x="542" y="98"/>
                  </a:lnTo>
                  <a:lnTo>
                    <a:pt x="541" y="99"/>
                  </a:lnTo>
                  <a:lnTo>
                    <a:pt x="541" y="103"/>
                  </a:lnTo>
                  <a:lnTo>
                    <a:pt x="539" y="106"/>
                  </a:lnTo>
                  <a:lnTo>
                    <a:pt x="539" y="109"/>
                  </a:lnTo>
                  <a:lnTo>
                    <a:pt x="537" y="112"/>
                  </a:lnTo>
                  <a:lnTo>
                    <a:pt x="534" y="117"/>
                  </a:lnTo>
                  <a:lnTo>
                    <a:pt x="533" y="120"/>
                  </a:lnTo>
                  <a:lnTo>
                    <a:pt x="533" y="122"/>
                  </a:lnTo>
                  <a:lnTo>
                    <a:pt x="533" y="125"/>
                  </a:lnTo>
                  <a:lnTo>
                    <a:pt x="534" y="126"/>
                  </a:lnTo>
                  <a:lnTo>
                    <a:pt x="536" y="131"/>
                  </a:lnTo>
                  <a:lnTo>
                    <a:pt x="537" y="139"/>
                  </a:lnTo>
                  <a:lnTo>
                    <a:pt x="539" y="144"/>
                  </a:lnTo>
                  <a:lnTo>
                    <a:pt x="539" y="149"/>
                  </a:lnTo>
                  <a:lnTo>
                    <a:pt x="541" y="152"/>
                  </a:lnTo>
                  <a:lnTo>
                    <a:pt x="542" y="156"/>
                  </a:lnTo>
                  <a:lnTo>
                    <a:pt x="544" y="160"/>
                  </a:lnTo>
                  <a:lnTo>
                    <a:pt x="544" y="176"/>
                  </a:lnTo>
                  <a:lnTo>
                    <a:pt x="545" y="191"/>
                  </a:lnTo>
                  <a:lnTo>
                    <a:pt x="545" y="214"/>
                  </a:lnTo>
                  <a:lnTo>
                    <a:pt x="547" y="236"/>
                  </a:lnTo>
                  <a:lnTo>
                    <a:pt x="549" y="274"/>
                  </a:lnTo>
                  <a:lnTo>
                    <a:pt x="549" y="310"/>
                  </a:lnTo>
                  <a:lnTo>
                    <a:pt x="550" y="348"/>
                  </a:lnTo>
                  <a:lnTo>
                    <a:pt x="552" y="386"/>
                  </a:lnTo>
                  <a:lnTo>
                    <a:pt x="552" y="424"/>
                  </a:lnTo>
                  <a:lnTo>
                    <a:pt x="553" y="463"/>
                  </a:lnTo>
                  <a:lnTo>
                    <a:pt x="553" y="501"/>
                  </a:lnTo>
                  <a:lnTo>
                    <a:pt x="555" y="539"/>
                  </a:lnTo>
                  <a:lnTo>
                    <a:pt x="518" y="539"/>
                  </a:lnTo>
                  <a:lnTo>
                    <a:pt x="520" y="545"/>
                  </a:lnTo>
                  <a:lnTo>
                    <a:pt x="520" y="553"/>
                  </a:lnTo>
                  <a:lnTo>
                    <a:pt x="520" y="558"/>
                  </a:lnTo>
                  <a:lnTo>
                    <a:pt x="485" y="537"/>
                  </a:lnTo>
                  <a:lnTo>
                    <a:pt x="449" y="516"/>
                  </a:lnTo>
                  <a:lnTo>
                    <a:pt x="414" y="496"/>
                  </a:lnTo>
                  <a:lnTo>
                    <a:pt x="377" y="475"/>
                  </a:lnTo>
                  <a:lnTo>
                    <a:pt x="342" y="455"/>
                  </a:lnTo>
                  <a:lnTo>
                    <a:pt x="306" y="436"/>
                  </a:lnTo>
                  <a:lnTo>
                    <a:pt x="269" y="417"/>
                  </a:lnTo>
                  <a:lnTo>
                    <a:pt x="235" y="396"/>
                  </a:lnTo>
                  <a:lnTo>
                    <a:pt x="217" y="405"/>
                  </a:lnTo>
                  <a:lnTo>
                    <a:pt x="198" y="415"/>
                  </a:lnTo>
                  <a:lnTo>
                    <a:pt x="198" y="415"/>
                  </a:lnTo>
                  <a:lnTo>
                    <a:pt x="198" y="415"/>
                  </a:lnTo>
                  <a:lnTo>
                    <a:pt x="195" y="418"/>
                  </a:lnTo>
                  <a:lnTo>
                    <a:pt x="190" y="420"/>
                  </a:lnTo>
                  <a:lnTo>
                    <a:pt x="187" y="423"/>
                  </a:lnTo>
                  <a:lnTo>
                    <a:pt x="184" y="424"/>
                  </a:lnTo>
                  <a:lnTo>
                    <a:pt x="179" y="426"/>
                  </a:lnTo>
                  <a:lnTo>
                    <a:pt x="176" y="429"/>
                  </a:lnTo>
                  <a:lnTo>
                    <a:pt x="171" y="431"/>
                  </a:lnTo>
                  <a:lnTo>
                    <a:pt x="163" y="423"/>
                  </a:lnTo>
                  <a:lnTo>
                    <a:pt x="155" y="415"/>
                  </a:lnTo>
                  <a:lnTo>
                    <a:pt x="152" y="412"/>
                  </a:lnTo>
                  <a:lnTo>
                    <a:pt x="147" y="409"/>
                  </a:lnTo>
                  <a:lnTo>
                    <a:pt x="143" y="405"/>
                  </a:lnTo>
                  <a:lnTo>
                    <a:pt x="136" y="405"/>
                  </a:lnTo>
                  <a:lnTo>
                    <a:pt x="114" y="399"/>
                  </a:lnTo>
                  <a:lnTo>
                    <a:pt x="92" y="394"/>
                  </a:lnTo>
                  <a:lnTo>
                    <a:pt x="87" y="383"/>
                  </a:lnTo>
                  <a:lnTo>
                    <a:pt x="82" y="374"/>
                  </a:lnTo>
                  <a:lnTo>
                    <a:pt x="82" y="374"/>
                  </a:lnTo>
                  <a:lnTo>
                    <a:pt x="81" y="369"/>
                  </a:lnTo>
                  <a:lnTo>
                    <a:pt x="78" y="363"/>
                  </a:lnTo>
                  <a:lnTo>
                    <a:pt x="74" y="361"/>
                  </a:lnTo>
                  <a:lnTo>
                    <a:pt x="73" y="359"/>
                  </a:lnTo>
                  <a:lnTo>
                    <a:pt x="68" y="359"/>
                  </a:lnTo>
                  <a:lnTo>
                    <a:pt x="60" y="356"/>
                  </a:lnTo>
                  <a:lnTo>
                    <a:pt x="51" y="353"/>
                  </a:lnTo>
                  <a:lnTo>
                    <a:pt x="47" y="352"/>
                  </a:lnTo>
                  <a:lnTo>
                    <a:pt x="43" y="353"/>
                  </a:lnTo>
                  <a:lnTo>
                    <a:pt x="39" y="355"/>
                  </a:lnTo>
                  <a:lnTo>
                    <a:pt x="36" y="353"/>
                  </a:lnTo>
                  <a:lnTo>
                    <a:pt x="32" y="350"/>
                  </a:lnTo>
                  <a:lnTo>
                    <a:pt x="30" y="347"/>
                  </a:lnTo>
                  <a:lnTo>
                    <a:pt x="28" y="344"/>
                  </a:lnTo>
                  <a:lnTo>
                    <a:pt x="28" y="344"/>
                  </a:lnTo>
                  <a:lnTo>
                    <a:pt x="27" y="342"/>
                  </a:lnTo>
                  <a:lnTo>
                    <a:pt x="25" y="340"/>
                  </a:lnTo>
                  <a:lnTo>
                    <a:pt x="24" y="337"/>
                  </a:lnTo>
                  <a:lnTo>
                    <a:pt x="24" y="334"/>
                  </a:lnTo>
                  <a:lnTo>
                    <a:pt x="24" y="321"/>
                  </a:lnTo>
                  <a:lnTo>
                    <a:pt x="16" y="309"/>
                  </a:lnTo>
                  <a:lnTo>
                    <a:pt x="6" y="294"/>
                  </a:lnTo>
                  <a:lnTo>
                    <a:pt x="3" y="290"/>
                  </a:lnTo>
                  <a:lnTo>
                    <a:pt x="1" y="285"/>
                  </a:lnTo>
                  <a:lnTo>
                    <a:pt x="1" y="282"/>
                  </a:lnTo>
                  <a:lnTo>
                    <a:pt x="5" y="280"/>
                  </a:lnTo>
                  <a:lnTo>
                    <a:pt x="11" y="275"/>
                  </a:lnTo>
                  <a:lnTo>
                    <a:pt x="17" y="271"/>
                  </a:lnTo>
                  <a:lnTo>
                    <a:pt x="19" y="267"/>
                  </a:lnTo>
                  <a:lnTo>
                    <a:pt x="19" y="266"/>
                  </a:lnTo>
                  <a:lnTo>
                    <a:pt x="19" y="263"/>
                  </a:lnTo>
                  <a:lnTo>
                    <a:pt x="19" y="260"/>
                  </a:lnTo>
                  <a:lnTo>
                    <a:pt x="17" y="255"/>
                  </a:lnTo>
                  <a:lnTo>
                    <a:pt x="16" y="252"/>
                  </a:lnTo>
                  <a:lnTo>
                    <a:pt x="16" y="247"/>
                  </a:lnTo>
                  <a:lnTo>
                    <a:pt x="14" y="244"/>
                  </a:lnTo>
                  <a:lnTo>
                    <a:pt x="12" y="241"/>
                  </a:lnTo>
                  <a:lnTo>
                    <a:pt x="14" y="236"/>
                  </a:lnTo>
                  <a:lnTo>
                    <a:pt x="16" y="233"/>
                  </a:lnTo>
                  <a:lnTo>
                    <a:pt x="16" y="229"/>
                  </a:lnTo>
                  <a:lnTo>
                    <a:pt x="19" y="226"/>
                  </a:lnTo>
                  <a:lnTo>
                    <a:pt x="19" y="222"/>
                  </a:lnTo>
                  <a:lnTo>
                    <a:pt x="20" y="218"/>
                  </a:lnTo>
                  <a:lnTo>
                    <a:pt x="20" y="215"/>
                  </a:lnTo>
                  <a:lnTo>
                    <a:pt x="19" y="210"/>
                  </a:lnTo>
                  <a:lnTo>
                    <a:pt x="16" y="202"/>
                  </a:lnTo>
                  <a:lnTo>
                    <a:pt x="16" y="198"/>
                  </a:lnTo>
                  <a:lnTo>
                    <a:pt x="16" y="193"/>
                  </a:lnTo>
                  <a:lnTo>
                    <a:pt x="17" y="185"/>
                  </a:lnTo>
                  <a:lnTo>
                    <a:pt x="17" y="177"/>
                  </a:lnTo>
                  <a:lnTo>
                    <a:pt x="17" y="169"/>
                  </a:lnTo>
                  <a:lnTo>
                    <a:pt x="17" y="161"/>
                  </a:lnTo>
                  <a:lnTo>
                    <a:pt x="14" y="155"/>
                  </a:lnTo>
                  <a:lnTo>
                    <a:pt x="9" y="141"/>
                  </a:lnTo>
                  <a:lnTo>
                    <a:pt x="1" y="12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57" name="Freeform 422"/>
            <p:cNvSpPr>
              <a:spLocks/>
            </p:cNvSpPr>
            <p:nvPr/>
          </p:nvSpPr>
          <p:spPr bwMode="auto">
            <a:xfrm>
              <a:off x="5154718" y="3547766"/>
              <a:ext cx="529330" cy="626199"/>
            </a:xfrm>
            <a:custGeom>
              <a:avLst/>
              <a:gdLst>
                <a:gd name="T0" fmla="*/ 16 w 722"/>
                <a:gd name="T1" fmla="*/ 333 h 741"/>
                <a:gd name="T2" fmla="*/ 49 w 722"/>
                <a:gd name="T3" fmla="*/ 313 h 741"/>
                <a:gd name="T4" fmla="*/ 72 w 722"/>
                <a:gd name="T5" fmla="*/ 308 h 741"/>
                <a:gd name="T6" fmla="*/ 92 w 722"/>
                <a:gd name="T7" fmla="*/ 297 h 741"/>
                <a:gd name="T8" fmla="*/ 129 w 722"/>
                <a:gd name="T9" fmla="*/ 281 h 741"/>
                <a:gd name="T10" fmla="*/ 149 w 722"/>
                <a:gd name="T11" fmla="*/ 264 h 741"/>
                <a:gd name="T12" fmla="*/ 165 w 722"/>
                <a:gd name="T13" fmla="*/ 256 h 741"/>
                <a:gd name="T14" fmla="*/ 176 w 722"/>
                <a:gd name="T15" fmla="*/ 243 h 741"/>
                <a:gd name="T16" fmla="*/ 178 w 722"/>
                <a:gd name="T17" fmla="*/ 221 h 741"/>
                <a:gd name="T18" fmla="*/ 206 w 722"/>
                <a:gd name="T19" fmla="*/ 208 h 741"/>
                <a:gd name="T20" fmla="*/ 260 w 722"/>
                <a:gd name="T21" fmla="*/ 203 h 741"/>
                <a:gd name="T22" fmla="*/ 265 w 722"/>
                <a:gd name="T23" fmla="*/ 195 h 741"/>
                <a:gd name="T24" fmla="*/ 259 w 722"/>
                <a:gd name="T25" fmla="*/ 175 h 741"/>
                <a:gd name="T26" fmla="*/ 252 w 722"/>
                <a:gd name="T27" fmla="*/ 151 h 741"/>
                <a:gd name="T28" fmla="*/ 252 w 722"/>
                <a:gd name="T29" fmla="*/ 127 h 741"/>
                <a:gd name="T30" fmla="*/ 254 w 722"/>
                <a:gd name="T31" fmla="*/ 107 h 741"/>
                <a:gd name="T32" fmla="*/ 241 w 722"/>
                <a:gd name="T33" fmla="*/ 88 h 741"/>
                <a:gd name="T34" fmla="*/ 257 w 722"/>
                <a:gd name="T35" fmla="*/ 76 h 741"/>
                <a:gd name="T36" fmla="*/ 278 w 722"/>
                <a:gd name="T37" fmla="*/ 57 h 741"/>
                <a:gd name="T38" fmla="*/ 305 w 722"/>
                <a:gd name="T39" fmla="*/ 53 h 741"/>
                <a:gd name="T40" fmla="*/ 317 w 722"/>
                <a:gd name="T41" fmla="*/ 43 h 741"/>
                <a:gd name="T42" fmla="*/ 340 w 722"/>
                <a:gd name="T43" fmla="*/ 30 h 741"/>
                <a:gd name="T44" fmla="*/ 368 w 722"/>
                <a:gd name="T45" fmla="*/ 23 h 741"/>
                <a:gd name="T46" fmla="*/ 401 w 722"/>
                <a:gd name="T47" fmla="*/ 21 h 741"/>
                <a:gd name="T48" fmla="*/ 427 w 722"/>
                <a:gd name="T49" fmla="*/ 13 h 741"/>
                <a:gd name="T50" fmla="*/ 451 w 722"/>
                <a:gd name="T51" fmla="*/ 8 h 741"/>
                <a:gd name="T52" fmla="*/ 487 w 722"/>
                <a:gd name="T53" fmla="*/ 16 h 741"/>
                <a:gd name="T54" fmla="*/ 512 w 722"/>
                <a:gd name="T55" fmla="*/ 11 h 741"/>
                <a:gd name="T56" fmla="*/ 531 w 722"/>
                <a:gd name="T57" fmla="*/ 0 h 741"/>
                <a:gd name="T58" fmla="*/ 555 w 722"/>
                <a:gd name="T59" fmla="*/ 7 h 741"/>
                <a:gd name="T60" fmla="*/ 581 w 722"/>
                <a:gd name="T61" fmla="*/ 10 h 741"/>
                <a:gd name="T62" fmla="*/ 606 w 722"/>
                <a:gd name="T63" fmla="*/ 7 h 741"/>
                <a:gd name="T64" fmla="*/ 590 w 722"/>
                <a:gd name="T65" fmla="*/ 24 h 741"/>
                <a:gd name="T66" fmla="*/ 593 w 722"/>
                <a:gd name="T67" fmla="*/ 46 h 741"/>
                <a:gd name="T68" fmla="*/ 596 w 722"/>
                <a:gd name="T69" fmla="*/ 65 h 741"/>
                <a:gd name="T70" fmla="*/ 595 w 722"/>
                <a:gd name="T71" fmla="*/ 86 h 741"/>
                <a:gd name="T72" fmla="*/ 587 w 722"/>
                <a:gd name="T73" fmla="*/ 105 h 741"/>
                <a:gd name="T74" fmla="*/ 571 w 722"/>
                <a:gd name="T75" fmla="*/ 118 h 741"/>
                <a:gd name="T76" fmla="*/ 568 w 722"/>
                <a:gd name="T77" fmla="*/ 135 h 741"/>
                <a:gd name="T78" fmla="*/ 576 w 722"/>
                <a:gd name="T79" fmla="*/ 159 h 741"/>
                <a:gd name="T80" fmla="*/ 595 w 722"/>
                <a:gd name="T81" fmla="*/ 180 h 741"/>
                <a:gd name="T82" fmla="*/ 620 w 722"/>
                <a:gd name="T83" fmla="*/ 203 h 741"/>
                <a:gd name="T84" fmla="*/ 631 w 722"/>
                <a:gd name="T85" fmla="*/ 259 h 741"/>
                <a:gd name="T86" fmla="*/ 638 w 722"/>
                <a:gd name="T87" fmla="*/ 298 h 741"/>
                <a:gd name="T88" fmla="*/ 646 w 722"/>
                <a:gd name="T89" fmla="*/ 349 h 741"/>
                <a:gd name="T90" fmla="*/ 650 w 722"/>
                <a:gd name="T91" fmla="*/ 379 h 741"/>
                <a:gd name="T92" fmla="*/ 644 w 722"/>
                <a:gd name="T93" fmla="*/ 405 h 741"/>
                <a:gd name="T94" fmla="*/ 649 w 722"/>
                <a:gd name="T95" fmla="*/ 430 h 741"/>
                <a:gd name="T96" fmla="*/ 635 w 722"/>
                <a:gd name="T97" fmla="*/ 452 h 741"/>
                <a:gd name="T98" fmla="*/ 657 w 722"/>
                <a:gd name="T99" fmla="*/ 503 h 741"/>
                <a:gd name="T100" fmla="*/ 673 w 722"/>
                <a:gd name="T101" fmla="*/ 514 h 741"/>
                <a:gd name="T102" fmla="*/ 712 w 722"/>
                <a:gd name="T103" fmla="*/ 535 h 741"/>
                <a:gd name="T104" fmla="*/ 557 w 722"/>
                <a:gd name="T105" fmla="*/ 670 h 741"/>
                <a:gd name="T106" fmla="*/ 498 w 722"/>
                <a:gd name="T107" fmla="*/ 723 h 741"/>
                <a:gd name="T108" fmla="*/ 419 w 722"/>
                <a:gd name="T109" fmla="*/ 739 h 741"/>
                <a:gd name="T110" fmla="*/ 414 w 722"/>
                <a:gd name="T111" fmla="*/ 725 h 741"/>
                <a:gd name="T112" fmla="*/ 403 w 722"/>
                <a:gd name="T113" fmla="*/ 701 h 741"/>
                <a:gd name="T114" fmla="*/ 382 w 722"/>
                <a:gd name="T115" fmla="*/ 695 h 741"/>
                <a:gd name="T116" fmla="*/ 359 w 722"/>
                <a:gd name="T117" fmla="*/ 682 h 741"/>
                <a:gd name="T118" fmla="*/ 340 w 722"/>
                <a:gd name="T119" fmla="*/ 670 h 741"/>
                <a:gd name="T120" fmla="*/ 316 w 722"/>
                <a:gd name="T121" fmla="*/ 636 h 741"/>
                <a:gd name="T122" fmla="*/ 203 w 722"/>
                <a:gd name="T123" fmla="*/ 549 h 741"/>
                <a:gd name="T124" fmla="*/ 94 w 722"/>
                <a:gd name="T125" fmla="*/ 467 h 7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2" h="741">
                  <a:moveTo>
                    <a:pt x="0" y="402"/>
                  </a:moveTo>
                  <a:lnTo>
                    <a:pt x="0" y="383"/>
                  </a:lnTo>
                  <a:lnTo>
                    <a:pt x="2" y="365"/>
                  </a:lnTo>
                  <a:lnTo>
                    <a:pt x="2" y="348"/>
                  </a:lnTo>
                  <a:lnTo>
                    <a:pt x="2" y="343"/>
                  </a:lnTo>
                  <a:lnTo>
                    <a:pt x="6" y="341"/>
                  </a:lnTo>
                  <a:lnTo>
                    <a:pt x="16" y="333"/>
                  </a:lnTo>
                  <a:lnTo>
                    <a:pt x="24" y="327"/>
                  </a:lnTo>
                  <a:lnTo>
                    <a:pt x="33" y="321"/>
                  </a:lnTo>
                  <a:lnTo>
                    <a:pt x="35" y="319"/>
                  </a:lnTo>
                  <a:lnTo>
                    <a:pt x="38" y="316"/>
                  </a:lnTo>
                  <a:lnTo>
                    <a:pt x="41" y="314"/>
                  </a:lnTo>
                  <a:lnTo>
                    <a:pt x="45" y="314"/>
                  </a:lnTo>
                  <a:lnTo>
                    <a:pt x="49" y="313"/>
                  </a:lnTo>
                  <a:lnTo>
                    <a:pt x="51" y="310"/>
                  </a:lnTo>
                  <a:lnTo>
                    <a:pt x="54" y="306"/>
                  </a:lnTo>
                  <a:lnTo>
                    <a:pt x="59" y="305"/>
                  </a:lnTo>
                  <a:lnTo>
                    <a:pt x="62" y="305"/>
                  </a:lnTo>
                  <a:lnTo>
                    <a:pt x="65" y="306"/>
                  </a:lnTo>
                  <a:lnTo>
                    <a:pt x="68" y="306"/>
                  </a:lnTo>
                  <a:lnTo>
                    <a:pt x="72" y="308"/>
                  </a:lnTo>
                  <a:lnTo>
                    <a:pt x="76" y="308"/>
                  </a:lnTo>
                  <a:lnTo>
                    <a:pt x="79" y="305"/>
                  </a:lnTo>
                  <a:lnTo>
                    <a:pt x="79" y="302"/>
                  </a:lnTo>
                  <a:lnTo>
                    <a:pt x="83" y="298"/>
                  </a:lnTo>
                  <a:lnTo>
                    <a:pt x="86" y="298"/>
                  </a:lnTo>
                  <a:lnTo>
                    <a:pt x="89" y="298"/>
                  </a:lnTo>
                  <a:lnTo>
                    <a:pt x="92" y="297"/>
                  </a:lnTo>
                  <a:lnTo>
                    <a:pt x="95" y="297"/>
                  </a:lnTo>
                  <a:lnTo>
                    <a:pt x="97" y="297"/>
                  </a:lnTo>
                  <a:lnTo>
                    <a:pt x="105" y="295"/>
                  </a:lnTo>
                  <a:lnTo>
                    <a:pt x="108" y="295"/>
                  </a:lnTo>
                  <a:lnTo>
                    <a:pt x="114" y="292"/>
                  </a:lnTo>
                  <a:lnTo>
                    <a:pt x="122" y="287"/>
                  </a:lnTo>
                  <a:lnTo>
                    <a:pt x="129" y="281"/>
                  </a:lnTo>
                  <a:lnTo>
                    <a:pt x="132" y="276"/>
                  </a:lnTo>
                  <a:lnTo>
                    <a:pt x="133" y="273"/>
                  </a:lnTo>
                  <a:lnTo>
                    <a:pt x="135" y="270"/>
                  </a:lnTo>
                  <a:lnTo>
                    <a:pt x="138" y="268"/>
                  </a:lnTo>
                  <a:lnTo>
                    <a:pt x="143" y="267"/>
                  </a:lnTo>
                  <a:lnTo>
                    <a:pt x="146" y="265"/>
                  </a:lnTo>
                  <a:lnTo>
                    <a:pt x="149" y="264"/>
                  </a:lnTo>
                  <a:lnTo>
                    <a:pt x="152" y="264"/>
                  </a:lnTo>
                  <a:lnTo>
                    <a:pt x="152" y="264"/>
                  </a:lnTo>
                  <a:lnTo>
                    <a:pt x="156" y="262"/>
                  </a:lnTo>
                  <a:lnTo>
                    <a:pt x="160" y="260"/>
                  </a:lnTo>
                  <a:lnTo>
                    <a:pt x="160" y="259"/>
                  </a:lnTo>
                  <a:lnTo>
                    <a:pt x="162" y="259"/>
                  </a:lnTo>
                  <a:lnTo>
                    <a:pt x="165" y="256"/>
                  </a:lnTo>
                  <a:lnTo>
                    <a:pt x="168" y="252"/>
                  </a:lnTo>
                  <a:lnTo>
                    <a:pt x="171" y="252"/>
                  </a:lnTo>
                  <a:lnTo>
                    <a:pt x="176" y="251"/>
                  </a:lnTo>
                  <a:lnTo>
                    <a:pt x="179" y="251"/>
                  </a:lnTo>
                  <a:lnTo>
                    <a:pt x="183" y="248"/>
                  </a:lnTo>
                  <a:lnTo>
                    <a:pt x="179" y="245"/>
                  </a:lnTo>
                  <a:lnTo>
                    <a:pt x="176" y="243"/>
                  </a:lnTo>
                  <a:lnTo>
                    <a:pt x="176" y="240"/>
                  </a:lnTo>
                  <a:lnTo>
                    <a:pt x="176" y="237"/>
                  </a:lnTo>
                  <a:lnTo>
                    <a:pt x="178" y="232"/>
                  </a:lnTo>
                  <a:lnTo>
                    <a:pt x="175" y="230"/>
                  </a:lnTo>
                  <a:lnTo>
                    <a:pt x="175" y="227"/>
                  </a:lnTo>
                  <a:lnTo>
                    <a:pt x="175" y="224"/>
                  </a:lnTo>
                  <a:lnTo>
                    <a:pt x="178" y="221"/>
                  </a:lnTo>
                  <a:lnTo>
                    <a:pt x="183" y="221"/>
                  </a:lnTo>
                  <a:lnTo>
                    <a:pt x="186" y="221"/>
                  </a:lnTo>
                  <a:lnTo>
                    <a:pt x="195" y="218"/>
                  </a:lnTo>
                  <a:lnTo>
                    <a:pt x="205" y="214"/>
                  </a:lnTo>
                  <a:lnTo>
                    <a:pt x="205" y="214"/>
                  </a:lnTo>
                  <a:lnTo>
                    <a:pt x="206" y="211"/>
                  </a:lnTo>
                  <a:lnTo>
                    <a:pt x="206" y="208"/>
                  </a:lnTo>
                  <a:lnTo>
                    <a:pt x="210" y="205"/>
                  </a:lnTo>
                  <a:lnTo>
                    <a:pt x="213" y="205"/>
                  </a:lnTo>
                  <a:lnTo>
                    <a:pt x="224" y="202"/>
                  </a:lnTo>
                  <a:lnTo>
                    <a:pt x="235" y="202"/>
                  </a:lnTo>
                  <a:lnTo>
                    <a:pt x="243" y="203"/>
                  </a:lnTo>
                  <a:lnTo>
                    <a:pt x="252" y="203"/>
                  </a:lnTo>
                  <a:lnTo>
                    <a:pt x="260" y="203"/>
                  </a:lnTo>
                  <a:lnTo>
                    <a:pt x="263" y="205"/>
                  </a:lnTo>
                  <a:lnTo>
                    <a:pt x="267" y="205"/>
                  </a:lnTo>
                  <a:lnTo>
                    <a:pt x="267" y="203"/>
                  </a:lnTo>
                  <a:lnTo>
                    <a:pt x="263" y="202"/>
                  </a:lnTo>
                  <a:lnTo>
                    <a:pt x="263" y="202"/>
                  </a:lnTo>
                  <a:lnTo>
                    <a:pt x="265" y="199"/>
                  </a:lnTo>
                  <a:lnTo>
                    <a:pt x="265" y="195"/>
                  </a:lnTo>
                  <a:lnTo>
                    <a:pt x="267" y="192"/>
                  </a:lnTo>
                  <a:lnTo>
                    <a:pt x="270" y="191"/>
                  </a:lnTo>
                  <a:lnTo>
                    <a:pt x="273" y="187"/>
                  </a:lnTo>
                  <a:lnTo>
                    <a:pt x="270" y="184"/>
                  </a:lnTo>
                  <a:lnTo>
                    <a:pt x="265" y="181"/>
                  </a:lnTo>
                  <a:lnTo>
                    <a:pt x="262" y="180"/>
                  </a:lnTo>
                  <a:lnTo>
                    <a:pt x="259" y="175"/>
                  </a:lnTo>
                  <a:lnTo>
                    <a:pt x="257" y="172"/>
                  </a:lnTo>
                  <a:lnTo>
                    <a:pt x="259" y="168"/>
                  </a:lnTo>
                  <a:lnTo>
                    <a:pt x="259" y="164"/>
                  </a:lnTo>
                  <a:lnTo>
                    <a:pt x="255" y="161"/>
                  </a:lnTo>
                  <a:lnTo>
                    <a:pt x="252" y="157"/>
                  </a:lnTo>
                  <a:lnTo>
                    <a:pt x="252" y="154"/>
                  </a:lnTo>
                  <a:lnTo>
                    <a:pt x="252" y="151"/>
                  </a:lnTo>
                  <a:lnTo>
                    <a:pt x="254" y="146"/>
                  </a:lnTo>
                  <a:lnTo>
                    <a:pt x="255" y="143"/>
                  </a:lnTo>
                  <a:lnTo>
                    <a:pt x="252" y="140"/>
                  </a:lnTo>
                  <a:lnTo>
                    <a:pt x="251" y="138"/>
                  </a:lnTo>
                  <a:lnTo>
                    <a:pt x="252" y="135"/>
                  </a:lnTo>
                  <a:lnTo>
                    <a:pt x="251" y="132"/>
                  </a:lnTo>
                  <a:lnTo>
                    <a:pt x="252" y="127"/>
                  </a:lnTo>
                  <a:lnTo>
                    <a:pt x="254" y="124"/>
                  </a:lnTo>
                  <a:lnTo>
                    <a:pt x="254" y="122"/>
                  </a:lnTo>
                  <a:lnTo>
                    <a:pt x="252" y="118"/>
                  </a:lnTo>
                  <a:lnTo>
                    <a:pt x="252" y="115"/>
                  </a:lnTo>
                  <a:lnTo>
                    <a:pt x="249" y="111"/>
                  </a:lnTo>
                  <a:lnTo>
                    <a:pt x="252" y="107"/>
                  </a:lnTo>
                  <a:lnTo>
                    <a:pt x="254" y="107"/>
                  </a:lnTo>
                  <a:lnTo>
                    <a:pt x="249" y="103"/>
                  </a:lnTo>
                  <a:lnTo>
                    <a:pt x="249" y="100"/>
                  </a:lnTo>
                  <a:lnTo>
                    <a:pt x="251" y="97"/>
                  </a:lnTo>
                  <a:lnTo>
                    <a:pt x="249" y="94"/>
                  </a:lnTo>
                  <a:lnTo>
                    <a:pt x="249" y="94"/>
                  </a:lnTo>
                  <a:lnTo>
                    <a:pt x="244" y="91"/>
                  </a:lnTo>
                  <a:lnTo>
                    <a:pt x="241" y="88"/>
                  </a:lnTo>
                  <a:lnTo>
                    <a:pt x="238" y="86"/>
                  </a:lnTo>
                  <a:lnTo>
                    <a:pt x="236" y="81"/>
                  </a:lnTo>
                  <a:lnTo>
                    <a:pt x="238" y="81"/>
                  </a:lnTo>
                  <a:lnTo>
                    <a:pt x="238" y="81"/>
                  </a:lnTo>
                  <a:lnTo>
                    <a:pt x="244" y="83"/>
                  </a:lnTo>
                  <a:lnTo>
                    <a:pt x="251" y="81"/>
                  </a:lnTo>
                  <a:lnTo>
                    <a:pt x="257" y="76"/>
                  </a:lnTo>
                  <a:lnTo>
                    <a:pt x="262" y="73"/>
                  </a:lnTo>
                  <a:lnTo>
                    <a:pt x="265" y="72"/>
                  </a:lnTo>
                  <a:lnTo>
                    <a:pt x="268" y="70"/>
                  </a:lnTo>
                  <a:lnTo>
                    <a:pt x="270" y="67"/>
                  </a:lnTo>
                  <a:lnTo>
                    <a:pt x="271" y="64"/>
                  </a:lnTo>
                  <a:lnTo>
                    <a:pt x="275" y="61"/>
                  </a:lnTo>
                  <a:lnTo>
                    <a:pt x="278" y="57"/>
                  </a:lnTo>
                  <a:lnTo>
                    <a:pt x="282" y="56"/>
                  </a:lnTo>
                  <a:lnTo>
                    <a:pt x="286" y="54"/>
                  </a:lnTo>
                  <a:lnTo>
                    <a:pt x="289" y="56"/>
                  </a:lnTo>
                  <a:lnTo>
                    <a:pt x="292" y="56"/>
                  </a:lnTo>
                  <a:lnTo>
                    <a:pt x="300" y="49"/>
                  </a:lnTo>
                  <a:lnTo>
                    <a:pt x="303" y="51"/>
                  </a:lnTo>
                  <a:lnTo>
                    <a:pt x="305" y="53"/>
                  </a:lnTo>
                  <a:lnTo>
                    <a:pt x="309" y="54"/>
                  </a:lnTo>
                  <a:lnTo>
                    <a:pt x="309" y="53"/>
                  </a:lnTo>
                  <a:lnTo>
                    <a:pt x="313" y="51"/>
                  </a:lnTo>
                  <a:lnTo>
                    <a:pt x="313" y="51"/>
                  </a:lnTo>
                  <a:lnTo>
                    <a:pt x="316" y="48"/>
                  </a:lnTo>
                  <a:lnTo>
                    <a:pt x="316" y="46"/>
                  </a:lnTo>
                  <a:lnTo>
                    <a:pt x="317" y="43"/>
                  </a:lnTo>
                  <a:lnTo>
                    <a:pt x="317" y="43"/>
                  </a:lnTo>
                  <a:lnTo>
                    <a:pt x="325" y="37"/>
                  </a:lnTo>
                  <a:lnTo>
                    <a:pt x="328" y="35"/>
                  </a:lnTo>
                  <a:lnTo>
                    <a:pt x="332" y="34"/>
                  </a:lnTo>
                  <a:lnTo>
                    <a:pt x="335" y="32"/>
                  </a:lnTo>
                  <a:lnTo>
                    <a:pt x="338" y="30"/>
                  </a:lnTo>
                  <a:lnTo>
                    <a:pt x="340" y="30"/>
                  </a:lnTo>
                  <a:lnTo>
                    <a:pt x="344" y="29"/>
                  </a:lnTo>
                  <a:lnTo>
                    <a:pt x="347" y="26"/>
                  </a:lnTo>
                  <a:lnTo>
                    <a:pt x="354" y="24"/>
                  </a:lnTo>
                  <a:lnTo>
                    <a:pt x="357" y="24"/>
                  </a:lnTo>
                  <a:lnTo>
                    <a:pt x="362" y="23"/>
                  </a:lnTo>
                  <a:lnTo>
                    <a:pt x="365" y="24"/>
                  </a:lnTo>
                  <a:lnTo>
                    <a:pt x="368" y="23"/>
                  </a:lnTo>
                  <a:lnTo>
                    <a:pt x="371" y="23"/>
                  </a:lnTo>
                  <a:lnTo>
                    <a:pt x="373" y="23"/>
                  </a:lnTo>
                  <a:lnTo>
                    <a:pt x="382" y="21"/>
                  </a:lnTo>
                  <a:lnTo>
                    <a:pt x="390" y="19"/>
                  </a:lnTo>
                  <a:lnTo>
                    <a:pt x="395" y="19"/>
                  </a:lnTo>
                  <a:lnTo>
                    <a:pt x="398" y="21"/>
                  </a:lnTo>
                  <a:lnTo>
                    <a:pt x="401" y="21"/>
                  </a:lnTo>
                  <a:lnTo>
                    <a:pt x="408" y="16"/>
                  </a:lnTo>
                  <a:lnTo>
                    <a:pt x="413" y="13"/>
                  </a:lnTo>
                  <a:lnTo>
                    <a:pt x="416" y="11"/>
                  </a:lnTo>
                  <a:lnTo>
                    <a:pt x="417" y="13"/>
                  </a:lnTo>
                  <a:lnTo>
                    <a:pt x="422" y="15"/>
                  </a:lnTo>
                  <a:lnTo>
                    <a:pt x="424" y="11"/>
                  </a:lnTo>
                  <a:lnTo>
                    <a:pt x="427" y="13"/>
                  </a:lnTo>
                  <a:lnTo>
                    <a:pt x="430" y="13"/>
                  </a:lnTo>
                  <a:lnTo>
                    <a:pt x="433" y="13"/>
                  </a:lnTo>
                  <a:lnTo>
                    <a:pt x="436" y="11"/>
                  </a:lnTo>
                  <a:lnTo>
                    <a:pt x="441" y="8"/>
                  </a:lnTo>
                  <a:lnTo>
                    <a:pt x="444" y="8"/>
                  </a:lnTo>
                  <a:lnTo>
                    <a:pt x="447" y="8"/>
                  </a:lnTo>
                  <a:lnTo>
                    <a:pt x="451" y="8"/>
                  </a:lnTo>
                  <a:lnTo>
                    <a:pt x="463" y="8"/>
                  </a:lnTo>
                  <a:lnTo>
                    <a:pt x="476" y="8"/>
                  </a:lnTo>
                  <a:lnTo>
                    <a:pt x="479" y="10"/>
                  </a:lnTo>
                  <a:lnTo>
                    <a:pt x="484" y="11"/>
                  </a:lnTo>
                  <a:lnTo>
                    <a:pt x="484" y="11"/>
                  </a:lnTo>
                  <a:lnTo>
                    <a:pt x="485" y="15"/>
                  </a:lnTo>
                  <a:lnTo>
                    <a:pt x="487" y="16"/>
                  </a:lnTo>
                  <a:lnTo>
                    <a:pt x="490" y="18"/>
                  </a:lnTo>
                  <a:lnTo>
                    <a:pt x="493" y="19"/>
                  </a:lnTo>
                  <a:lnTo>
                    <a:pt x="498" y="18"/>
                  </a:lnTo>
                  <a:lnTo>
                    <a:pt x="501" y="16"/>
                  </a:lnTo>
                  <a:lnTo>
                    <a:pt x="504" y="13"/>
                  </a:lnTo>
                  <a:lnTo>
                    <a:pt x="508" y="11"/>
                  </a:lnTo>
                  <a:lnTo>
                    <a:pt x="512" y="11"/>
                  </a:lnTo>
                  <a:lnTo>
                    <a:pt x="516" y="11"/>
                  </a:lnTo>
                  <a:lnTo>
                    <a:pt x="519" y="10"/>
                  </a:lnTo>
                  <a:lnTo>
                    <a:pt x="522" y="8"/>
                  </a:lnTo>
                  <a:lnTo>
                    <a:pt x="525" y="7"/>
                  </a:lnTo>
                  <a:lnTo>
                    <a:pt x="525" y="5"/>
                  </a:lnTo>
                  <a:lnTo>
                    <a:pt x="528" y="2"/>
                  </a:lnTo>
                  <a:lnTo>
                    <a:pt x="531" y="0"/>
                  </a:lnTo>
                  <a:lnTo>
                    <a:pt x="536" y="2"/>
                  </a:lnTo>
                  <a:lnTo>
                    <a:pt x="539" y="5"/>
                  </a:lnTo>
                  <a:lnTo>
                    <a:pt x="543" y="7"/>
                  </a:lnTo>
                  <a:lnTo>
                    <a:pt x="546" y="7"/>
                  </a:lnTo>
                  <a:lnTo>
                    <a:pt x="549" y="8"/>
                  </a:lnTo>
                  <a:lnTo>
                    <a:pt x="552" y="8"/>
                  </a:lnTo>
                  <a:lnTo>
                    <a:pt x="555" y="7"/>
                  </a:lnTo>
                  <a:lnTo>
                    <a:pt x="558" y="5"/>
                  </a:lnTo>
                  <a:lnTo>
                    <a:pt x="560" y="0"/>
                  </a:lnTo>
                  <a:lnTo>
                    <a:pt x="568" y="2"/>
                  </a:lnTo>
                  <a:lnTo>
                    <a:pt x="577" y="5"/>
                  </a:lnTo>
                  <a:lnTo>
                    <a:pt x="577" y="8"/>
                  </a:lnTo>
                  <a:lnTo>
                    <a:pt x="577" y="10"/>
                  </a:lnTo>
                  <a:lnTo>
                    <a:pt x="581" y="10"/>
                  </a:lnTo>
                  <a:lnTo>
                    <a:pt x="585" y="10"/>
                  </a:lnTo>
                  <a:lnTo>
                    <a:pt x="589" y="8"/>
                  </a:lnTo>
                  <a:lnTo>
                    <a:pt x="592" y="7"/>
                  </a:lnTo>
                  <a:lnTo>
                    <a:pt x="595" y="7"/>
                  </a:lnTo>
                  <a:lnTo>
                    <a:pt x="598" y="8"/>
                  </a:lnTo>
                  <a:lnTo>
                    <a:pt x="603" y="7"/>
                  </a:lnTo>
                  <a:lnTo>
                    <a:pt x="606" y="7"/>
                  </a:lnTo>
                  <a:lnTo>
                    <a:pt x="606" y="8"/>
                  </a:lnTo>
                  <a:lnTo>
                    <a:pt x="604" y="11"/>
                  </a:lnTo>
                  <a:lnTo>
                    <a:pt x="604" y="11"/>
                  </a:lnTo>
                  <a:lnTo>
                    <a:pt x="601" y="15"/>
                  </a:lnTo>
                  <a:lnTo>
                    <a:pt x="598" y="19"/>
                  </a:lnTo>
                  <a:lnTo>
                    <a:pt x="595" y="21"/>
                  </a:lnTo>
                  <a:lnTo>
                    <a:pt x="590" y="24"/>
                  </a:lnTo>
                  <a:lnTo>
                    <a:pt x="593" y="26"/>
                  </a:lnTo>
                  <a:lnTo>
                    <a:pt x="598" y="27"/>
                  </a:lnTo>
                  <a:lnTo>
                    <a:pt x="598" y="29"/>
                  </a:lnTo>
                  <a:lnTo>
                    <a:pt x="596" y="30"/>
                  </a:lnTo>
                  <a:lnTo>
                    <a:pt x="596" y="32"/>
                  </a:lnTo>
                  <a:lnTo>
                    <a:pt x="595" y="37"/>
                  </a:lnTo>
                  <a:lnTo>
                    <a:pt x="593" y="46"/>
                  </a:lnTo>
                  <a:lnTo>
                    <a:pt x="593" y="49"/>
                  </a:lnTo>
                  <a:lnTo>
                    <a:pt x="593" y="53"/>
                  </a:lnTo>
                  <a:lnTo>
                    <a:pt x="595" y="57"/>
                  </a:lnTo>
                  <a:lnTo>
                    <a:pt x="596" y="61"/>
                  </a:lnTo>
                  <a:lnTo>
                    <a:pt x="596" y="62"/>
                  </a:lnTo>
                  <a:lnTo>
                    <a:pt x="596" y="64"/>
                  </a:lnTo>
                  <a:lnTo>
                    <a:pt x="596" y="65"/>
                  </a:lnTo>
                  <a:lnTo>
                    <a:pt x="595" y="70"/>
                  </a:lnTo>
                  <a:lnTo>
                    <a:pt x="595" y="73"/>
                  </a:lnTo>
                  <a:lnTo>
                    <a:pt x="598" y="75"/>
                  </a:lnTo>
                  <a:lnTo>
                    <a:pt x="598" y="78"/>
                  </a:lnTo>
                  <a:lnTo>
                    <a:pt x="598" y="78"/>
                  </a:lnTo>
                  <a:lnTo>
                    <a:pt x="595" y="81"/>
                  </a:lnTo>
                  <a:lnTo>
                    <a:pt x="595" y="86"/>
                  </a:lnTo>
                  <a:lnTo>
                    <a:pt x="593" y="89"/>
                  </a:lnTo>
                  <a:lnTo>
                    <a:pt x="593" y="92"/>
                  </a:lnTo>
                  <a:lnTo>
                    <a:pt x="593" y="95"/>
                  </a:lnTo>
                  <a:lnTo>
                    <a:pt x="592" y="97"/>
                  </a:lnTo>
                  <a:lnTo>
                    <a:pt x="590" y="100"/>
                  </a:lnTo>
                  <a:lnTo>
                    <a:pt x="587" y="105"/>
                  </a:lnTo>
                  <a:lnTo>
                    <a:pt x="587" y="105"/>
                  </a:lnTo>
                  <a:lnTo>
                    <a:pt x="584" y="107"/>
                  </a:lnTo>
                  <a:lnTo>
                    <a:pt x="581" y="108"/>
                  </a:lnTo>
                  <a:lnTo>
                    <a:pt x="579" y="110"/>
                  </a:lnTo>
                  <a:lnTo>
                    <a:pt x="577" y="110"/>
                  </a:lnTo>
                  <a:lnTo>
                    <a:pt x="577" y="113"/>
                  </a:lnTo>
                  <a:lnTo>
                    <a:pt x="574" y="118"/>
                  </a:lnTo>
                  <a:lnTo>
                    <a:pt x="571" y="118"/>
                  </a:lnTo>
                  <a:lnTo>
                    <a:pt x="568" y="122"/>
                  </a:lnTo>
                  <a:lnTo>
                    <a:pt x="568" y="122"/>
                  </a:lnTo>
                  <a:lnTo>
                    <a:pt x="568" y="124"/>
                  </a:lnTo>
                  <a:lnTo>
                    <a:pt x="568" y="124"/>
                  </a:lnTo>
                  <a:lnTo>
                    <a:pt x="566" y="129"/>
                  </a:lnTo>
                  <a:lnTo>
                    <a:pt x="566" y="132"/>
                  </a:lnTo>
                  <a:lnTo>
                    <a:pt x="568" y="135"/>
                  </a:lnTo>
                  <a:lnTo>
                    <a:pt x="568" y="135"/>
                  </a:lnTo>
                  <a:lnTo>
                    <a:pt x="568" y="140"/>
                  </a:lnTo>
                  <a:lnTo>
                    <a:pt x="571" y="143"/>
                  </a:lnTo>
                  <a:lnTo>
                    <a:pt x="573" y="146"/>
                  </a:lnTo>
                  <a:lnTo>
                    <a:pt x="574" y="149"/>
                  </a:lnTo>
                  <a:lnTo>
                    <a:pt x="574" y="156"/>
                  </a:lnTo>
                  <a:lnTo>
                    <a:pt x="576" y="159"/>
                  </a:lnTo>
                  <a:lnTo>
                    <a:pt x="581" y="161"/>
                  </a:lnTo>
                  <a:lnTo>
                    <a:pt x="584" y="162"/>
                  </a:lnTo>
                  <a:lnTo>
                    <a:pt x="587" y="164"/>
                  </a:lnTo>
                  <a:lnTo>
                    <a:pt x="590" y="167"/>
                  </a:lnTo>
                  <a:lnTo>
                    <a:pt x="592" y="172"/>
                  </a:lnTo>
                  <a:lnTo>
                    <a:pt x="595" y="175"/>
                  </a:lnTo>
                  <a:lnTo>
                    <a:pt x="595" y="180"/>
                  </a:lnTo>
                  <a:lnTo>
                    <a:pt x="595" y="183"/>
                  </a:lnTo>
                  <a:lnTo>
                    <a:pt x="595" y="186"/>
                  </a:lnTo>
                  <a:lnTo>
                    <a:pt x="598" y="187"/>
                  </a:lnTo>
                  <a:lnTo>
                    <a:pt x="601" y="191"/>
                  </a:lnTo>
                  <a:lnTo>
                    <a:pt x="612" y="199"/>
                  </a:lnTo>
                  <a:lnTo>
                    <a:pt x="617" y="202"/>
                  </a:lnTo>
                  <a:lnTo>
                    <a:pt x="620" y="203"/>
                  </a:lnTo>
                  <a:lnTo>
                    <a:pt x="620" y="206"/>
                  </a:lnTo>
                  <a:lnTo>
                    <a:pt x="622" y="213"/>
                  </a:lnTo>
                  <a:lnTo>
                    <a:pt x="625" y="230"/>
                  </a:lnTo>
                  <a:lnTo>
                    <a:pt x="630" y="248"/>
                  </a:lnTo>
                  <a:lnTo>
                    <a:pt x="630" y="252"/>
                  </a:lnTo>
                  <a:lnTo>
                    <a:pt x="631" y="256"/>
                  </a:lnTo>
                  <a:lnTo>
                    <a:pt x="631" y="259"/>
                  </a:lnTo>
                  <a:lnTo>
                    <a:pt x="633" y="264"/>
                  </a:lnTo>
                  <a:lnTo>
                    <a:pt x="635" y="272"/>
                  </a:lnTo>
                  <a:lnTo>
                    <a:pt x="636" y="281"/>
                  </a:lnTo>
                  <a:lnTo>
                    <a:pt x="633" y="283"/>
                  </a:lnTo>
                  <a:lnTo>
                    <a:pt x="631" y="283"/>
                  </a:lnTo>
                  <a:lnTo>
                    <a:pt x="630" y="286"/>
                  </a:lnTo>
                  <a:lnTo>
                    <a:pt x="638" y="298"/>
                  </a:lnTo>
                  <a:lnTo>
                    <a:pt x="644" y="311"/>
                  </a:lnTo>
                  <a:lnTo>
                    <a:pt x="647" y="325"/>
                  </a:lnTo>
                  <a:lnTo>
                    <a:pt x="647" y="340"/>
                  </a:lnTo>
                  <a:lnTo>
                    <a:pt x="647" y="343"/>
                  </a:lnTo>
                  <a:lnTo>
                    <a:pt x="647" y="346"/>
                  </a:lnTo>
                  <a:lnTo>
                    <a:pt x="647" y="346"/>
                  </a:lnTo>
                  <a:lnTo>
                    <a:pt x="646" y="349"/>
                  </a:lnTo>
                  <a:lnTo>
                    <a:pt x="646" y="354"/>
                  </a:lnTo>
                  <a:lnTo>
                    <a:pt x="646" y="357"/>
                  </a:lnTo>
                  <a:lnTo>
                    <a:pt x="646" y="362"/>
                  </a:lnTo>
                  <a:lnTo>
                    <a:pt x="646" y="365"/>
                  </a:lnTo>
                  <a:lnTo>
                    <a:pt x="647" y="368"/>
                  </a:lnTo>
                  <a:lnTo>
                    <a:pt x="650" y="376"/>
                  </a:lnTo>
                  <a:lnTo>
                    <a:pt x="650" y="379"/>
                  </a:lnTo>
                  <a:lnTo>
                    <a:pt x="649" y="383"/>
                  </a:lnTo>
                  <a:lnTo>
                    <a:pt x="649" y="387"/>
                  </a:lnTo>
                  <a:lnTo>
                    <a:pt x="646" y="390"/>
                  </a:lnTo>
                  <a:lnTo>
                    <a:pt x="646" y="394"/>
                  </a:lnTo>
                  <a:lnTo>
                    <a:pt x="644" y="397"/>
                  </a:lnTo>
                  <a:lnTo>
                    <a:pt x="642" y="402"/>
                  </a:lnTo>
                  <a:lnTo>
                    <a:pt x="644" y="405"/>
                  </a:lnTo>
                  <a:lnTo>
                    <a:pt x="646" y="408"/>
                  </a:lnTo>
                  <a:lnTo>
                    <a:pt x="646" y="413"/>
                  </a:lnTo>
                  <a:lnTo>
                    <a:pt x="647" y="416"/>
                  </a:lnTo>
                  <a:lnTo>
                    <a:pt x="649" y="421"/>
                  </a:lnTo>
                  <a:lnTo>
                    <a:pt x="649" y="424"/>
                  </a:lnTo>
                  <a:lnTo>
                    <a:pt x="649" y="427"/>
                  </a:lnTo>
                  <a:lnTo>
                    <a:pt x="649" y="430"/>
                  </a:lnTo>
                  <a:lnTo>
                    <a:pt x="646" y="433"/>
                  </a:lnTo>
                  <a:lnTo>
                    <a:pt x="641" y="436"/>
                  </a:lnTo>
                  <a:lnTo>
                    <a:pt x="638" y="438"/>
                  </a:lnTo>
                  <a:lnTo>
                    <a:pt x="635" y="441"/>
                  </a:lnTo>
                  <a:lnTo>
                    <a:pt x="631" y="443"/>
                  </a:lnTo>
                  <a:lnTo>
                    <a:pt x="631" y="448"/>
                  </a:lnTo>
                  <a:lnTo>
                    <a:pt x="635" y="452"/>
                  </a:lnTo>
                  <a:lnTo>
                    <a:pt x="644" y="465"/>
                  </a:lnTo>
                  <a:lnTo>
                    <a:pt x="652" y="479"/>
                  </a:lnTo>
                  <a:lnTo>
                    <a:pt x="654" y="482"/>
                  </a:lnTo>
                  <a:lnTo>
                    <a:pt x="654" y="495"/>
                  </a:lnTo>
                  <a:lnTo>
                    <a:pt x="654" y="498"/>
                  </a:lnTo>
                  <a:lnTo>
                    <a:pt x="655" y="501"/>
                  </a:lnTo>
                  <a:lnTo>
                    <a:pt x="657" y="503"/>
                  </a:lnTo>
                  <a:lnTo>
                    <a:pt x="658" y="505"/>
                  </a:lnTo>
                  <a:lnTo>
                    <a:pt x="658" y="505"/>
                  </a:lnTo>
                  <a:lnTo>
                    <a:pt x="662" y="511"/>
                  </a:lnTo>
                  <a:lnTo>
                    <a:pt x="665" y="514"/>
                  </a:lnTo>
                  <a:lnTo>
                    <a:pt x="668" y="516"/>
                  </a:lnTo>
                  <a:lnTo>
                    <a:pt x="669" y="516"/>
                  </a:lnTo>
                  <a:lnTo>
                    <a:pt x="673" y="514"/>
                  </a:lnTo>
                  <a:lnTo>
                    <a:pt x="677" y="513"/>
                  </a:lnTo>
                  <a:lnTo>
                    <a:pt x="688" y="516"/>
                  </a:lnTo>
                  <a:lnTo>
                    <a:pt x="698" y="520"/>
                  </a:lnTo>
                  <a:lnTo>
                    <a:pt x="706" y="522"/>
                  </a:lnTo>
                  <a:lnTo>
                    <a:pt x="708" y="525"/>
                  </a:lnTo>
                  <a:lnTo>
                    <a:pt x="709" y="528"/>
                  </a:lnTo>
                  <a:lnTo>
                    <a:pt x="712" y="535"/>
                  </a:lnTo>
                  <a:lnTo>
                    <a:pt x="717" y="544"/>
                  </a:lnTo>
                  <a:lnTo>
                    <a:pt x="722" y="555"/>
                  </a:lnTo>
                  <a:lnTo>
                    <a:pt x="685" y="579"/>
                  </a:lnTo>
                  <a:lnTo>
                    <a:pt x="649" y="603"/>
                  </a:lnTo>
                  <a:lnTo>
                    <a:pt x="614" y="628"/>
                  </a:lnTo>
                  <a:lnTo>
                    <a:pt x="577" y="654"/>
                  </a:lnTo>
                  <a:lnTo>
                    <a:pt x="557" y="670"/>
                  </a:lnTo>
                  <a:lnTo>
                    <a:pt x="538" y="687"/>
                  </a:lnTo>
                  <a:lnTo>
                    <a:pt x="527" y="698"/>
                  </a:lnTo>
                  <a:lnTo>
                    <a:pt x="516" y="711"/>
                  </a:lnTo>
                  <a:lnTo>
                    <a:pt x="506" y="719"/>
                  </a:lnTo>
                  <a:lnTo>
                    <a:pt x="503" y="722"/>
                  </a:lnTo>
                  <a:lnTo>
                    <a:pt x="501" y="722"/>
                  </a:lnTo>
                  <a:lnTo>
                    <a:pt x="498" y="723"/>
                  </a:lnTo>
                  <a:lnTo>
                    <a:pt x="493" y="723"/>
                  </a:lnTo>
                  <a:lnTo>
                    <a:pt x="471" y="728"/>
                  </a:lnTo>
                  <a:lnTo>
                    <a:pt x="447" y="735"/>
                  </a:lnTo>
                  <a:lnTo>
                    <a:pt x="438" y="736"/>
                  </a:lnTo>
                  <a:lnTo>
                    <a:pt x="427" y="738"/>
                  </a:lnTo>
                  <a:lnTo>
                    <a:pt x="424" y="739"/>
                  </a:lnTo>
                  <a:lnTo>
                    <a:pt x="419" y="739"/>
                  </a:lnTo>
                  <a:lnTo>
                    <a:pt x="416" y="741"/>
                  </a:lnTo>
                  <a:lnTo>
                    <a:pt x="416" y="741"/>
                  </a:lnTo>
                  <a:lnTo>
                    <a:pt x="413" y="738"/>
                  </a:lnTo>
                  <a:lnTo>
                    <a:pt x="408" y="735"/>
                  </a:lnTo>
                  <a:lnTo>
                    <a:pt x="409" y="731"/>
                  </a:lnTo>
                  <a:lnTo>
                    <a:pt x="411" y="728"/>
                  </a:lnTo>
                  <a:lnTo>
                    <a:pt x="414" y="725"/>
                  </a:lnTo>
                  <a:lnTo>
                    <a:pt x="411" y="719"/>
                  </a:lnTo>
                  <a:lnTo>
                    <a:pt x="411" y="716"/>
                  </a:lnTo>
                  <a:lnTo>
                    <a:pt x="411" y="712"/>
                  </a:lnTo>
                  <a:lnTo>
                    <a:pt x="413" y="706"/>
                  </a:lnTo>
                  <a:lnTo>
                    <a:pt x="409" y="704"/>
                  </a:lnTo>
                  <a:lnTo>
                    <a:pt x="405" y="703"/>
                  </a:lnTo>
                  <a:lnTo>
                    <a:pt x="403" y="701"/>
                  </a:lnTo>
                  <a:lnTo>
                    <a:pt x="400" y="701"/>
                  </a:lnTo>
                  <a:lnTo>
                    <a:pt x="395" y="700"/>
                  </a:lnTo>
                  <a:lnTo>
                    <a:pt x="393" y="700"/>
                  </a:lnTo>
                  <a:lnTo>
                    <a:pt x="389" y="698"/>
                  </a:lnTo>
                  <a:lnTo>
                    <a:pt x="386" y="698"/>
                  </a:lnTo>
                  <a:lnTo>
                    <a:pt x="382" y="696"/>
                  </a:lnTo>
                  <a:lnTo>
                    <a:pt x="382" y="695"/>
                  </a:lnTo>
                  <a:lnTo>
                    <a:pt x="381" y="692"/>
                  </a:lnTo>
                  <a:lnTo>
                    <a:pt x="376" y="687"/>
                  </a:lnTo>
                  <a:lnTo>
                    <a:pt x="371" y="690"/>
                  </a:lnTo>
                  <a:lnTo>
                    <a:pt x="368" y="689"/>
                  </a:lnTo>
                  <a:lnTo>
                    <a:pt x="365" y="689"/>
                  </a:lnTo>
                  <a:lnTo>
                    <a:pt x="362" y="687"/>
                  </a:lnTo>
                  <a:lnTo>
                    <a:pt x="359" y="682"/>
                  </a:lnTo>
                  <a:lnTo>
                    <a:pt x="357" y="679"/>
                  </a:lnTo>
                  <a:lnTo>
                    <a:pt x="355" y="676"/>
                  </a:lnTo>
                  <a:lnTo>
                    <a:pt x="352" y="674"/>
                  </a:lnTo>
                  <a:lnTo>
                    <a:pt x="349" y="673"/>
                  </a:lnTo>
                  <a:lnTo>
                    <a:pt x="344" y="670"/>
                  </a:lnTo>
                  <a:lnTo>
                    <a:pt x="344" y="668"/>
                  </a:lnTo>
                  <a:lnTo>
                    <a:pt x="340" y="670"/>
                  </a:lnTo>
                  <a:lnTo>
                    <a:pt x="340" y="665"/>
                  </a:lnTo>
                  <a:lnTo>
                    <a:pt x="340" y="662"/>
                  </a:lnTo>
                  <a:lnTo>
                    <a:pt x="340" y="658"/>
                  </a:lnTo>
                  <a:lnTo>
                    <a:pt x="340" y="657"/>
                  </a:lnTo>
                  <a:lnTo>
                    <a:pt x="340" y="654"/>
                  </a:lnTo>
                  <a:lnTo>
                    <a:pt x="328" y="646"/>
                  </a:lnTo>
                  <a:lnTo>
                    <a:pt x="316" y="636"/>
                  </a:lnTo>
                  <a:lnTo>
                    <a:pt x="295" y="620"/>
                  </a:lnTo>
                  <a:lnTo>
                    <a:pt x="275" y="605"/>
                  </a:lnTo>
                  <a:lnTo>
                    <a:pt x="252" y="587"/>
                  </a:lnTo>
                  <a:lnTo>
                    <a:pt x="229" y="568"/>
                  </a:lnTo>
                  <a:lnTo>
                    <a:pt x="217" y="560"/>
                  </a:lnTo>
                  <a:lnTo>
                    <a:pt x="208" y="552"/>
                  </a:lnTo>
                  <a:lnTo>
                    <a:pt x="203" y="549"/>
                  </a:lnTo>
                  <a:lnTo>
                    <a:pt x="200" y="546"/>
                  </a:lnTo>
                  <a:lnTo>
                    <a:pt x="197" y="543"/>
                  </a:lnTo>
                  <a:lnTo>
                    <a:pt x="194" y="541"/>
                  </a:lnTo>
                  <a:lnTo>
                    <a:pt x="186" y="535"/>
                  </a:lnTo>
                  <a:lnTo>
                    <a:pt x="186" y="535"/>
                  </a:lnTo>
                  <a:lnTo>
                    <a:pt x="140" y="500"/>
                  </a:lnTo>
                  <a:lnTo>
                    <a:pt x="94" y="467"/>
                  </a:lnTo>
                  <a:lnTo>
                    <a:pt x="48" y="433"/>
                  </a:lnTo>
                  <a:lnTo>
                    <a:pt x="0" y="40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58" name="Freeform 423"/>
            <p:cNvSpPr>
              <a:spLocks/>
            </p:cNvSpPr>
            <p:nvPr/>
          </p:nvSpPr>
          <p:spPr bwMode="auto">
            <a:xfrm>
              <a:off x="5570830" y="3539303"/>
              <a:ext cx="101455" cy="245402"/>
            </a:xfrm>
            <a:custGeom>
              <a:avLst/>
              <a:gdLst>
                <a:gd name="T0" fmla="*/ 5 w 140"/>
                <a:gd name="T1" fmla="*/ 127 h 290"/>
                <a:gd name="T2" fmla="*/ 13 w 140"/>
                <a:gd name="T3" fmla="*/ 119 h 290"/>
                <a:gd name="T4" fmla="*/ 21 w 140"/>
                <a:gd name="T5" fmla="*/ 114 h 290"/>
                <a:gd name="T6" fmla="*/ 27 w 140"/>
                <a:gd name="T7" fmla="*/ 101 h 290"/>
                <a:gd name="T8" fmla="*/ 32 w 140"/>
                <a:gd name="T9" fmla="*/ 87 h 290"/>
                <a:gd name="T10" fmla="*/ 29 w 140"/>
                <a:gd name="T11" fmla="*/ 79 h 290"/>
                <a:gd name="T12" fmla="*/ 30 w 140"/>
                <a:gd name="T13" fmla="*/ 70 h 290"/>
                <a:gd name="T14" fmla="*/ 27 w 140"/>
                <a:gd name="T15" fmla="*/ 55 h 290"/>
                <a:gd name="T16" fmla="*/ 29 w 140"/>
                <a:gd name="T17" fmla="*/ 44 h 290"/>
                <a:gd name="T18" fmla="*/ 24 w 140"/>
                <a:gd name="T19" fmla="*/ 33 h 290"/>
                <a:gd name="T20" fmla="*/ 40 w 140"/>
                <a:gd name="T21" fmla="*/ 16 h 290"/>
                <a:gd name="T22" fmla="*/ 51 w 140"/>
                <a:gd name="T23" fmla="*/ 9 h 290"/>
                <a:gd name="T24" fmla="*/ 64 w 140"/>
                <a:gd name="T25" fmla="*/ 3 h 290"/>
                <a:gd name="T26" fmla="*/ 78 w 140"/>
                <a:gd name="T27" fmla="*/ 0 h 290"/>
                <a:gd name="T28" fmla="*/ 80 w 140"/>
                <a:gd name="T29" fmla="*/ 6 h 290"/>
                <a:gd name="T30" fmla="*/ 86 w 140"/>
                <a:gd name="T31" fmla="*/ 3 h 290"/>
                <a:gd name="T32" fmla="*/ 94 w 140"/>
                <a:gd name="T33" fmla="*/ 9 h 290"/>
                <a:gd name="T34" fmla="*/ 96 w 140"/>
                <a:gd name="T35" fmla="*/ 20 h 290"/>
                <a:gd name="T36" fmla="*/ 97 w 140"/>
                <a:gd name="T37" fmla="*/ 24 h 290"/>
                <a:gd name="T38" fmla="*/ 122 w 140"/>
                <a:gd name="T39" fmla="*/ 13 h 290"/>
                <a:gd name="T40" fmla="*/ 118 w 140"/>
                <a:gd name="T41" fmla="*/ 25 h 290"/>
                <a:gd name="T42" fmla="*/ 108 w 140"/>
                <a:gd name="T43" fmla="*/ 38 h 290"/>
                <a:gd name="T44" fmla="*/ 103 w 140"/>
                <a:gd name="T45" fmla="*/ 52 h 290"/>
                <a:gd name="T46" fmla="*/ 115 w 140"/>
                <a:gd name="T47" fmla="*/ 65 h 290"/>
                <a:gd name="T48" fmla="*/ 121 w 140"/>
                <a:gd name="T49" fmla="*/ 73 h 290"/>
                <a:gd name="T50" fmla="*/ 121 w 140"/>
                <a:gd name="T51" fmla="*/ 90 h 290"/>
                <a:gd name="T52" fmla="*/ 116 w 140"/>
                <a:gd name="T53" fmla="*/ 101 h 290"/>
                <a:gd name="T54" fmla="*/ 105 w 140"/>
                <a:gd name="T55" fmla="*/ 112 h 290"/>
                <a:gd name="T56" fmla="*/ 88 w 140"/>
                <a:gd name="T57" fmla="*/ 127 h 290"/>
                <a:gd name="T58" fmla="*/ 89 w 140"/>
                <a:gd name="T59" fmla="*/ 138 h 290"/>
                <a:gd name="T60" fmla="*/ 102 w 140"/>
                <a:gd name="T61" fmla="*/ 150 h 290"/>
                <a:gd name="T62" fmla="*/ 110 w 140"/>
                <a:gd name="T63" fmla="*/ 154 h 290"/>
                <a:gd name="T64" fmla="*/ 118 w 140"/>
                <a:gd name="T65" fmla="*/ 150 h 290"/>
                <a:gd name="T66" fmla="*/ 124 w 140"/>
                <a:gd name="T67" fmla="*/ 162 h 290"/>
                <a:gd name="T68" fmla="*/ 129 w 140"/>
                <a:gd name="T69" fmla="*/ 168 h 290"/>
                <a:gd name="T70" fmla="*/ 138 w 140"/>
                <a:gd name="T71" fmla="*/ 171 h 290"/>
                <a:gd name="T72" fmla="*/ 137 w 140"/>
                <a:gd name="T73" fmla="*/ 179 h 290"/>
                <a:gd name="T74" fmla="*/ 137 w 140"/>
                <a:gd name="T75" fmla="*/ 192 h 290"/>
                <a:gd name="T76" fmla="*/ 135 w 140"/>
                <a:gd name="T77" fmla="*/ 203 h 290"/>
                <a:gd name="T78" fmla="*/ 122 w 140"/>
                <a:gd name="T79" fmla="*/ 209 h 290"/>
                <a:gd name="T80" fmla="*/ 113 w 140"/>
                <a:gd name="T81" fmla="*/ 217 h 290"/>
                <a:gd name="T82" fmla="*/ 103 w 140"/>
                <a:gd name="T83" fmla="*/ 228 h 290"/>
                <a:gd name="T84" fmla="*/ 94 w 140"/>
                <a:gd name="T85" fmla="*/ 235 h 290"/>
                <a:gd name="T86" fmla="*/ 94 w 140"/>
                <a:gd name="T87" fmla="*/ 249 h 290"/>
                <a:gd name="T88" fmla="*/ 96 w 140"/>
                <a:gd name="T89" fmla="*/ 261 h 290"/>
                <a:gd name="T90" fmla="*/ 89 w 140"/>
                <a:gd name="T91" fmla="*/ 276 h 290"/>
                <a:gd name="T92" fmla="*/ 81 w 140"/>
                <a:gd name="T93" fmla="*/ 285 h 290"/>
                <a:gd name="T94" fmla="*/ 70 w 140"/>
                <a:gd name="T95" fmla="*/ 288 h 290"/>
                <a:gd name="T96" fmla="*/ 67 w 140"/>
                <a:gd name="T97" fmla="*/ 273 h 290"/>
                <a:gd name="T98" fmla="*/ 59 w 140"/>
                <a:gd name="T99" fmla="*/ 233 h 290"/>
                <a:gd name="T100" fmla="*/ 50 w 140"/>
                <a:gd name="T101" fmla="*/ 209 h 290"/>
                <a:gd name="T102" fmla="*/ 29 w 140"/>
                <a:gd name="T103" fmla="*/ 195 h 290"/>
                <a:gd name="T104" fmla="*/ 24 w 140"/>
                <a:gd name="T105" fmla="*/ 176 h 290"/>
                <a:gd name="T106" fmla="*/ 10 w 140"/>
                <a:gd name="T107" fmla="*/ 168 h 290"/>
                <a:gd name="T108" fmla="*/ 5 w 140"/>
                <a:gd name="T109" fmla="*/ 152 h 290"/>
                <a:gd name="T110" fmla="*/ 2 w 140"/>
                <a:gd name="T111" fmla="*/ 133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0" h="290">
                  <a:moveTo>
                    <a:pt x="2" y="133"/>
                  </a:moveTo>
                  <a:lnTo>
                    <a:pt x="2" y="131"/>
                  </a:lnTo>
                  <a:lnTo>
                    <a:pt x="2" y="131"/>
                  </a:lnTo>
                  <a:lnTo>
                    <a:pt x="5" y="127"/>
                  </a:lnTo>
                  <a:lnTo>
                    <a:pt x="8" y="127"/>
                  </a:lnTo>
                  <a:lnTo>
                    <a:pt x="11" y="122"/>
                  </a:lnTo>
                  <a:lnTo>
                    <a:pt x="11" y="119"/>
                  </a:lnTo>
                  <a:lnTo>
                    <a:pt x="13" y="119"/>
                  </a:lnTo>
                  <a:lnTo>
                    <a:pt x="15" y="117"/>
                  </a:lnTo>
                  <a:lnTo>
                    <a:pt x="18" y="116"/>
                  </a:lnTo>
                  <a:lnTo>
                    <a:pt x="21" y="114"/>
                  </a:lnTo>
                  <a:lnTo>
                    <a:pt x="21" y="114"/>
                  </a:lnTo>
                  <a:lnTo>
                    <a:pt x="24" y="109"/>
                  </a:lnTo>
                  <a:lnTo>
                    <a:pt x="26" y="106"/>
                  </a:lnTo>
                  <a:lnTo>
                    <a:pt x="27" y="104"/>
                  </a:lnTo>
                  <a:lnTo>
                    <a:pt x="27" y="101"/>
                  </a:lnTo>
                  <a:lnTo>
                    <a:pt x="27" y="98"/>
                  </a:lnTo>
                  <a:lnTo>
                    <a:pt x="29" y="95"/>
                  </a:lnTo>
                  <a:lnTo>
                    <a:pt x="29" y="90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4"/>
                  </a:lnTo>
                  <a:lnTo>
                    <a:pt x="29" y="82"/>
                  </a:lnTo>
                  <a:lnTo>
                    <a:pt x="29" y="79"/>
                  </a:lnTo>
                  <a:lnTo>
                    <a:pt x="30" y="74"/>
                  </a:lnTo>
                  <a:lnTo>
                    <a:pt x="30" y="73"/>
                  </a:lnTo>
                  <a:lnTo>
                    <a:pt x="30" y="71"/>
                  </a:lnTo>
                  <a:lnTo>
                    <a:pt x="30" y="70"/>
                  </a:lnTo>
                  <a:lnTo>
                    <a:pt x="29" y="66"/>
                  </a:lnTo>
                  <a:lnTo>
                    <a:pt x="27" y="62"/>
                  </a:lnTo>
                  <a:lnTo>
                    <a:pt x="27" y="58"/>
                  </a:lnTo>
                  <a:lnTo>
                    <a:pt x="27" y="55"/>
                  </a:lnTo>
                  <a:lnTo>
                    <a:pt x="29" y="52"/>
                  </a:lnTo>
                  <a:lnTo>
                    <a:pt x="29" y="47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30" y="39"/>
                  </a:lnTo>
                  <a:lnTo>
                    <a:pt x="32" y="36"/>
                  </a:lnTo>
                  <a:lnTo>
                    <a:pt x="27" y="35"/>
                  </a:lnTo>
                  <a:lnTo>
                    <a:pt x="24" y="33"/>
                  </a:lnTo>
                  <a:lnTo>
                    <a:pt x="32" y="27"/>
                  </a:lnTo>
                  <a:lnTo>
                    <a:pt x="38" y="20"/>
                  </a:lnTo>
                  <a:lnTo>
                    <a:pt x="40" y="17"/>
                  </a:lnTo>
                  <a:lnTo>
                    <a:pt x="40" y="16"/>
                  </a:lnTo>
                  <a:lnTo>
                    <a:pt x="42" y="14"/>
                  </a:lnTo>
                  <a:lnTo>
                    <a:pt x="46" y="14"/>
                  </a:lnTo>
                  <a:lnTo>
                    <a:pt x="50" y="13"/>
                  </a:lnTo>
                  <a:lnTo>
                    <a:pt x="51" y="9"/>
                  </a:lnTo>
                  <a:lnTo>
                    <a:pt x="56" y="6"/>
                  </a:lnTo>
                  <a:lnTo>
                    <a:pt x="57" y="6"/>
                  </a:lnTo>
                  <a:lnTo>
                    <a:pt x="61" y="5"/>
                  </a:lnTo>
                  <a:lnTo>
                    <a:pt x="64" y="3"/>
                  </a:lnTo>
                  <a:lnTo>
                    <a:pt x="67" y="1"/>
                  </a:lnTo>
                  <a:lnTo>
                    <a:pt x="72" y="1"/>
                  </a:lnTo>
                  <a:lnTo>
                    <a:pt x="75" y="0"/>
                  </a:lnTo>
                  <a:lnTo>
                    <a:pt x="78" y="0"/>
                  </a:lnTo>
                  <a:lnTo>
                    <a:pt x="81" y="1"/>
                  </a:lnTo>
                  <a:lnTo>
                    <a:pt x="81" y="1"/>
                  </a:lnTo>
                  <a:lnTo>
                    <a:pt x="80" y="3"/>
                  </a:lnTo>
                  <a:lnTo>
                    <a:pt x="80" y="6"/>
                  </a:lnTo>
                  <a:lnTo>
                    <a:pt x="83" y="6"/>
                  </a:lnTo>
                  <a:lnTo>
                    <a:pt x="81" y="1"/>
                  </a:lnTo>
                  <a:lnTo>
                    <a:pt x="83" y="3"/>
                  </a:lnTo>
                  <a:lnTo>
                    <a:pt x="86" y="3"/>
                  </a:lnTo>
                  <a:lnTo>
                    <a:pt x="89" y="3"/>
                  </a:lnTo>
                  <a:lnTo>
                    <a:pt x="92" y="5"/>
                  </a:lnTo>
                  <a:lnTo>
                    <a:pt x="94" y="8"/>
                  </a:lnTo>
                  <a:lnTo>
                    <a:pt x="94" y="9"/>
                  </a:lnTo>
                  <a:lnTo>
                    <a:pt x="92" y="9"/>
                  </a:lnTo>
                  <a:lnTo>
                    <a:pt x="92" y="13"/>
                  </a:lnTo>
                  <a:lnTo>
                    <a:pt x="97" y="17"/>
                  </a:lnTo>
                  <a:lnTo>
                    <a:pt x="96" y="20"/>
                  </a:lnTo>
                  <a:lnTo>
                    <a:pt x="96" y="22"/>
                  </a:lnTo>
                  <a:lnTo>
                    <a:pt x="96" y="20"/>
                  </a:lnTo>
                  <a:lnTo>
                    <a:pt x="96" y="22"/>
                  </a:lnTo>
                  <a:lnTo>
                    <a:pt x="97" y="24"/>
                  </a:lnTo>
                  <a:lnTo>
                    <a:pt x="100" y="24"/>
                  </a:lnTo>
                  <a:lnTo>
                    <a:pt x="110" y="17"/>
                  </a:lnTo>
                  <a:lnTo>
                    <a:pt x="118" y="11"/>
                  </a:lnTo>
                  <a:lnTo>
                    <a:pt x="122" y="13"/>
                  </a:lnTo>
                  <a:lnTo>
                    <a:pt x="122" y="16"/>
                  </a:lnTo>
                  <a:lnTo>
                    <a:pt x="124" y="19"/>
                  </a:lnTo>
                  <a:lnTo>
                    <a:pt x="119" y="22"/>
                  </a:lnTo>
                  <a:lnTo>
                    <a:pt x="118" y="25"/>
                  </a:lnTo>
                  <a:lnTo>
                    <a:pt x="116" y="28"/>
                  </a:lnTo>
                  <a:lnTo>
                    <a:pt x="115" y="33"/>
                  </a:lnTo>
                  <a:lnTo>
                    <a:pt x="111" y="35"/>
                  </a:lnTo>
                  <a:lnTo>
                    <a:pt x="108" y="38"/>
                  </a:lnTo>
                  <a:lnTo>
                    <a:pt x="103" y="39"/>
                  </a:lnTo>
                  <a:lnTo>
                    <a:pt x="103" y="39"/>
                  </a:lnTo>
                  <a:lnTo>
                    <a:pt x="102" y="43"/>
                  </a:lnTo>
                  <a:lnTo>
                    <a:pt x="103" y="52"/>
                  </a:lnTo>
                  <a:lnTo>
                    <a:pt x="107" y="58"/>
                  </a:lnTo>
                  <a:lnTo>
                    <a:pt x="110" y="62"/>
                  </a:lnTo>
                  <a:lnTo>
                    <a:pt x="111" y="63"/>
                  </a:lnTo>
                  <a:lnTo>
                    <a:pt x="115" y="65"/>
                  </a:lnTo>
                  <a:lnTo>
                    <a:pt x="118" y="66"/>
                  </a:lnTo>
                  <a:lnTo>
                    <a:pt x="121" y="68"/>
                  </a:lnTo>
                  <a:lnTo>
                    <a:pt x="121" y="71"/>
                  </a:lnTo>
                  <a:lnTo>
                    <a:pt x="121" y="73"/>
                  </a:lnTo>
                  <a:lnTo>
                    <a:pt x="121" y="81"/>
                  </a:lnTo>
                  <a:lnTo>
                    <a:pt x="124" y="84"/>
                  </a:lnTo>
                  <a:lnTo>
                    <a:pt x="122" y="87"/>
                  </a:lnTo>
                  <a:lnTo>
                    <a:pt x="121" y="90"/>
                  </a:lnTo>
                  <a:lnTo>
                    <a:pt x="121" y="90"/>
                  </a:lnTo>
                  <a:lnTo>
                    <a:pt x="119" y="95"/>
                  </a:lnTo>
                  <a:lnTo>
                    <a:pt x="118" y="98"/>
                  </a:lnTo>
                  <a:lnTo>
                    <a:pt x="116" y="101"/>
                  </a:lnTo>
                  <a:lnTo>
                    <a:pt x="113" y="104"/>
                  </a:lnTo>
                  <a:lnTo>
                    <a:pt x="111" y="108"/>
                  </a:lnTo>
                  <a:lnTo>
                    <a:pt x="108" y="109"/>
                  </a:lnTo>
                  <a:lnTo>
                    <a:pt x="105" y="112"/>
                  </a:lnTo>
                  <a:lnTo>
                    <a:pt x="102" y="114"/>
                  </a:lnTo>
                  <a:lnTo>
                    <a:pt x="96" y="119"/>
                  </a:lnTo>
                  <a:lnTo>
                    <a:pt x="89" y="124"/>
                  </a:lnTo>
                  <a:lnTo>
                    <a:pt x="88" y="127"/>
                  </a:lnTo>
                  <a:lnTo>
                    <a:pt x="86" y="130"/>
                  </a:lnTo>
                  <a:lnTo>
                    <a:pt x="88" y="133"/>
                  </a:lnTo>
                  <a:lnTo>
                    <a:pt x="89" y="138"/>
                  </a:lnTo>
                  <a:lnTo>
                    <a:pt x="89" y="138"/>
                  </a:lnTo>
                  <a:lnTo>
                    <a:pt x="91" y="143"/>
                  </a:lnTo>
                  <a:lnTo>
                    <a:pt x="96" y="146"/>
                  </a:lnTo>
                  <a:lnTo>
                    <a:pt x="99" y="149"/>
                  </a:lnTo>
                  <a:lnTo>
                    <a:pt x="102" y="150"/>
                  </a:lnTo>
                  <a:lnTo>
                    <a:pt x="103" y="150"/>
                  </a:lnTo>
                  <a:lnTo>
                    <a:pt x="108" y="149"/>
                  </a:lnTo>
                  <a:lnTo>
                    <a:pt x="111" y="149"/>
                  </a:lnTo>
                  <a:lnTo>
                    <a:pt x="110" y="154"/>
                  </a:lnTo>
                  <a:lnTo>
                    <a:pt x="111" y="157"/>
                  </a:lnTo>
                  <a:lnTo>
                    <a:pt x="115" y="155"/>
                  </a:lnTo>
                  <a:lnTo>
                    <a:pt x="118" y="154"/>
                  </a:lnTo>
                  <a:lnTo>
                    <a:pt x="118" y="150"/>
                  </a:lnTo>
                  <a:lnTo>
                    <a:pt x="121" y="150"/>
                  </a:lnTo>
                  <a:lnTo>
                    <a:pt x="124" y="154"/>
                  </a:lnTo>
                  <a:lnTo>
                    <a:pt x="124" y="158"/>
                  </a:lnTo>
                  <a:lnTo>
                    <a:pt x="124" y="162"/>
                  </a:lnTo>
                  <a:lnTo>
                    <a:pt x="126" y="162"/>
                  </a:lnTo>
                  <a:lnTo>
                    <a:pt x="129" y="165"/>
                  </a:lnTo>
                  <a:lnTo>
                    <a:pt x="126" y="165"/>
                  </a:lnTo>
                  <a:lnTo>
                    <a:pt x="129" y="168"/>
                  </a:lnTo>
                  <a:lnTo>
                    <a:pt x="132" y="166"/>
                  </a:lnTo>
                  <a:lnTo>
                    <a:pt x="135" y="168"/>
                  </a:lnTo>
                  <a:lnTo>
                    <a:pt x="138" y="170"/>
                  </a:lnTo>
                  <a:lnTo>
                    <a:pt x="138" y="171"/>
                  </a:lnTo>
                  <a:lnTo>
                    <a:pt x="138" y="173"/>
                  </a:lnTo>
                  <a:lnTo>
                    <a:pt x="138" y="173"/>
                  </a:lnTo>
                  <a:lnTo>
                    <a:pt x="137" y="177"/>
                  </a:lnTo>
                  <a:lnTo>
                    <a:pt x="137" y="179"/>
                  </a:lnTo>
                  <a:lnTo>
                    <a:pt x="137" y="181"/>
                  </a:lnTo>
                  <a:lnTo>
                    <a:pt x="137" y="185"/>
                  </a:lnTo>
                  <a:lnTo>
                    <a:pt x="137" y="189"/>
                  </a:lnTo>
                  <a:lnTo>
                    <a:pt x="137" y="192"/>
                  </a:lnTo>
                  <a:lnTo>
                    <a:pt x="140" y="196"/>
                  </a:lnTo>
                  <a:lnTo>
                    <a:pt x="138" y="201"/>
                  </a:lnTo>
                  <a:lnTo>
                    <a:pt x="138" y="201"/>
                  </a:lnTo>
                  <a:lnTo>
                    <a:pt x="135" y="203"/>
                  </a:lnTo>
                  <a:lnTo>
                    <a:pt x="130" y="204"/>
                  </a:lnTo>
                  <a:lnTo>
                    <a:pt x="127" y="206"/>
                  </a:lnTo>
                  <a:lnTo>
                    <a:pt x="126" y="208"/>
                  </a:lnTo>
                  <a:lnTo>
                    <a:pt x="122" y="209"/>
                  </a:lnTo>
                  <a:lnTo>
                    <a:pt x="119" y="211"/>
                  </a:lnTo>
                  <a:lnTo>
                    <a:pt x="116" y="214"/>
                  </a:lnTo>
                  <a:lnTo>
                    <a:pt x="113" y="217"/>
                  </a:lnTo>
                  <a:lnTo>
                    <a:pt x="113" y="217"/>
                  </a:lnTo>
                  <a:lnTo>
                    <a:pt x="110" y="219"/>
                  </a:lnTo>
                  <a:lnTo>
                    <a:pt x="108" y="219"/>
                  </a:lnTo>
                  <a:lnTo>
                    <a:pt x="108" y="223"/>
                  </a:lnTo>
                  <a:lnTo>
                    <a:pt x="103" y="228"/>
                  </a:lnTo>
                  <a:lnTo>
                    <a:pt x="100" y="228"/>
                  </a:lnTo>
                  <a:lnTo>
                    <a:pt x="97" y="230"/>
                  </a:lnTo>
                  <a:lnTo>
                    <a:pt x="96" y="231"/>
                  </a:lnTo>
                  <a:lnTo>
                    <a:pt x="94" y="235"/>
                  </a:lnTo>
                  <a:lnTo>
                    <a:pt x="91" y="238"/>
                  </a:lnTo>
                  <a:lnTo>
                    <a:pt x="91" y="241"/>
                  </a:lnTo>
                  <a:lnTo>
                    <a:pt x="92" y="246"/>
                  </a:lnTo>
                  <a:lnTo>
                    <a:pt x="94" y="249"/>
                  </a:lnTo>
                  <a:lnTo>
                    <a:pt x="94" y="252"/>
                  </a:lnTo>
                  <a:lnTo>
                    <a:pt x="96" y="257"/>
                  </a:lnTo>
                  <a:lnTo>
                    <a:pt x="96" y="260"/>
                  </a:lnTo>
                  <a:lnTo>
                    <a:pt x="96" y="261"/>
                  </a:lnTo>
                  <a:lnTo>
                    <a:pt x="96" y="265"/>
                  </a:lnTo>
                  <a:lnTo>
                    <a:pt x="94" y="268"/>
                  </a:lnTo>
                  <a:lnTo>
                    <a:pt x="91" y="273"/>
                  </a:lnTo>
                  <a:lnTo>
                    <a:pt x="89" y="276"/>
                  </a:lnTo>
                  <a:lnTo>
                    <a:pt x="86" y="279"/>
                  </a:lnTo>
                  <a:lnTo>
                    <a:pt x="84" y="282"/>
                  </a:lnTo>
                  <a:lnTo>
                    <a:pt x="83" y="285"/>
                  </a:lnTo>
                  <a:lnTo>
                    <a:pt x="81" y="285"/>
                  </a:lnTo>
                  <a:lnTo>
                    <a:pt x="76" y="285"/>
                  </a:lnTo>
                  <a:lnTo>
                    <a:pt x="73" y="287"/>
                  </a:lnTo>
                  <a:lnTo>
                    <a:pt x="70" y="290"/>
                  </a:lnTo>
                  <a:lnTo>
                    <a:pt x="70" y="288"/>
                  </a:lnTo>
                  <a:lnTo>
                    <a:pt x="69" y="284"/>
                  </a:lnTo>
                  <a:lnTo>
                    <a:pt x="69" y="281"/>
                  </a:lnTo>
                  <a:lnTo>
                    <a:pt x="67" y="276"/>
                  </a:lnTo>
                  <a:lnTo>
                    <a:pt x="67" y="273"/>
                  </a:lnTo>
                  <a:lnTo>
                    <a:pt x="65" y="268"/>
                  </a:lnTo>
                  <a:lnTo>
                    <a:pt x="64" y="257"/>
                  </a:lnTo>
                  <a:lnTo>
                    <a:pt x="61" y="246"/>
                  </a:lnTo>
                  <a:lnTo>
                    <a:pt x="59" y="233"/>
                  </a:lnTo>
                  <a:lnTo>
                    <a:pt x="56" y="222"/>
                  </a:lnTo>
                  <a:lnTo>
                    <a:pt x="54" y="215"/>
                  </a:lnTo>
                  <a:lnTo>
                    <a:pt x="53" y="212"/>
                  </a:lnTo>
                  <a:lnTo>
                    <a:pt x="50" y="209"/>
                  </a:lnTo>
                  <a:lnTo>
                    <a:pt x="42" y="204"/>
                  </a:lnTo>
                  <a:lnTo>
                    <a:pt x="35" y="200"/>
                  </a:lnTo>
                  <a:lnTo>
                    <a:pt x="32" y="196"/>
                  </a:lnTo>
                  <a:lnTo>
                    <a:pt x="29" y="195"/>
                  </a:lnTo>
                  <a:lnTo>
                    <a:pt x="29" y="189"/>
                  </a:lnTo>
                  <a:lnTo>
                    <a:pt x="29" y="184"/>
                  </a:lnTo>
                  <a:lnTo>
                    <a:pt x="26" y="181"/>
                  </a:lnTo>
                  <a:lnTo>
                    <a:pt x="24" y="176"/>
                  </a:lnTo>
                  <a:lnTo>
                    <a:pt x="21" y="173"/>
                  </a:lnTo>
                  <a:lnTo>
                    <a:pt x="18" y="171"/>
                  </a:lnTo>
                  <a:lnTo>
                    <a:pt x="15" y="170"/>
                  </a:lnTo>
                  <a:lnTo>
                    <a:pt x="10" y="168"/>
                  </a:lnTo>
                  <a:lnTo>
                    <a:pt x="8" y="165"/>
                  </a:lnTo>
                  <a:lnTo>
                    <a:pt x="8" y="158"/>
                  </a:lnTo>
                  <a:lnTo>
                    <a:pt x="7" y="155"/>
                  </a:lnTo>
                  <a:lnTo>
                    <a:pt x="5" y="152"/>
                  </a:lnTo>
                  <a:lnTo>
                    <a:pt x="2" y="147"/>
                  </a:lnTo>
                  <a:lnTo>
                    <a:pt x="2" y="143"/>
                  </a:lnTo>
                  <a:lnTo>
                    <a:pt x="0" y="138"/>
                  </a:lnTo>
                  <a:lnTo>
                    <a:pt x="2" y="13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59" name="Freeform 424"/>
            <p:cNvSpPr>
              <a:spLocks/>
            </p:cNvSpPr>
            <p:nvPr/>
          </p:nvSpPr>
          <p:spPr bwMode="auto">
            <a:xfrm>
              <a:off x="6008997" y="3735625"/>
              <a:ext cx="292603" cy="343563"/>
            </a:xfrm>
            <a:custGeom>
              <a:avLst/>
              <a:gdLst>
                <a:gd name="T0" fmla="*/ 6 w 398"/>
                <a:gd name="T1" fmla="*/ 45 h 406"/>
                <a:gd name="T2" fmla="*/ 4 w 398"/>
                <a:gd name="T3" fmla="*/ 24 h 406"/>
                <a:gd name="T4" fmla="*/ 9 w 398"/>
                <a:gd name="T5" fmla="*/ 4 h 406"/>
                <a:gd name="T6" fmla="*/ 33 w 398"/>
                <a:gd name="T7" fmla="*/ 4 h 406"/>
                <a:gd name="T8" fmla="*/ 57 w 398"/>
                <a:gd name="T9" fmla="*/ 7 h 406"/>
                <a:gd name="T10" fmla="*/ 81 w 398"/>
                <a:gd name="T11" fmla="*/ 11 h 406"/>
                <a:gd name="T12" fmla="*/ 103 w 398"/>
                <a:gd name="T13" fmla="*/ 18 h 406"/>
                <a:gd name="T14" fmla="*/ 130 w 398"/>
                <a:gd name="T15" fmla="*/ 26 h 406"/>
                <a:gd name="T16" fmla="*/ 157 w 398"/>
                <a:gd name="T17" fmla="*/ 32 h 406"/>
                <a:gd name="T18" fmla="*/ 185 w 398"/>
                <a:gd name="T19" fmla="*/ 16 h 406"/>
                <a:gd name="T20" fmla="*/ 192 w 398"/>
                <a:gd name="T21" fmla="*/ 13 h 406"/>
                <a:gd name="T22" fmla="*/ 207 w 398"/>
                <a:gd name="T23" fmla="*/ 7 h 406"/>
                <a:gd name="T24" fmla="*/ 214 w 398"/>
                <a:gd name="T25" fmla="*/ 8 h 406"/>
                <a:gd name="T26" fmla="*/ 226 w 398"/>
                <a:gd name="T27" fmla="*/ 5 h 406"/>
                <a:gd name="T28" fmla="*/ 247 w 398"/>
                <a:gd name="T29" fmla="*/ 7 h 406"/>
                <a:gd name="T30" fmla="*/ 244 w 398"/>
                <a:gd name="T31" fmla="*/ 7 h 406"/>
                <a:gd name="T32" fmla="*/ 250 w 398"/>
                <a:gd name="T33" fmla="*/ 19 h 406"/>
                <a:gd name="T34" fmla="*/ 258 w 398"/>
                <a:gd name="T35" fmla="*/ 23 h 406"/>
                <a:gd name="T36" fmla="*/ 260 w 398"/>
                <a:gd name="T37" fmla="*/ 16 h 406"/>
                <a:gd name="T38" fmla="*/ 274 w 398"/>
                <a:gd name="T39" fmla="*/ 24 h 406"/>
                <a:gd name="T40" fmla="*/ 284 w 398"/>
                <a:gd name="T41" fmla="*/ 26 h 406"/>
                <a:gd name="T42" fmla="*/ 290 w 398"/>
                <a:gd name="T43" fmla="*/ 26 h 406"/>
                <a:gd name="T44" fmla="*/ 317 w 398"/>
                <a:gd name="T45" fmla="*/ 19 h 406"/>
                <a:gd name="T46" fmla="*/ 350 w 398"/>
                <a:gd name="T47" fmla="*/ 75 h 406"/>
                <a:gd name="T48" fmla="*/ 353 w 398"/>
                <a:gd name="T49" fmla="*/ 89 h 406"/>
                <a:gd name="T50" fmla="*/ 341 w 398"/>
                <a:gd name="T51" fmla="*/ 141 h 406"/>
                <a:gd name="T52" fmla="*/ 336 w 398"/>
                <a:gd name="T53" fmla="*/ 159 h 406"/>
                <a:gd name="T54" fmla="*/ 318 w 398"/>
                <a:gd name="T55" fmla="*/ 148 h 406"/>
                <a:gd name="T56" fmla="*/ 299 w 398"/>
                <a:gd name="T57" fmla="*/ 129 h 406"/>
                <a:gd name="T58" fmla="*/ 296 w 398"/>
                <a:gd name="T59" fmla="*/ 116 h 406"/>
                <a:gd name="T60" fmla="*/ 282 w 398"/>
                <a:gd name="T61" fmla="*/ 95 h 406"/>
                <a:gd name="T62" fmla="*/ 276 w 398"/>
                <a:gd name="T63" fmla="*/ 76 h 406"/>
                <a:gd name="T64" fmla="*/ 269 w 398"/>
                <a:gd name="T65" fmla="*/ 73 h 406"/>
                <a:gd name="T66" fmla="*/ 274 w 398"/>
                <a:gd name="T67" fmla="*/ 94 h 406"/>
                <a:gd name="T68" fmla="*/ 284 w 398"/>
                <a:gd name="T69" fmla="*/ 119 h 406"/>
                <a:gd name="T70" fmla="*/ 293 w 398"/>
                <a:gd name="T71" fmla="*/ 134 h 406"/>
                <a:gd name="T72" fmla="*/ 311 w 398"/>
                <a:gd name="T73" fmla="*/ 154 h 406"/>
                <a:gd name="T74" fmla="*/ 314 w 398"/>
                <a:gd name="T75" fmla="*/ 164 h 406"/>
                <a:gd name="T76" fmla="*/ 330 w 398"/>
                <a:gd name="T77" fmla="*/ 197 h 406"/>
                <a:gd name="T78" fmla="*/ 344 w 398"/>
                <a:gd name="T79" fmla="*/ 233 h 406"/>
                <a:gd name="T80" fmla="*/ 364 w 398"/>
                <a:gd name="T81" fmla="*/ 268 h 406"/>
                <a:gd name="T82" fmla="*/ 374 w 398"/>
                <a:gd name="T83" fmla="*/ 291 h 406"/>
                <a:gd name="T84" fmla="*/ 395 w 398"/>
                <a:gd name="T85" fmla="*/ 313 h 406"/>
                <a:gd name="T86" fmla="*/ 387 w 398"/>
                <a:gd name="T87" fmla="*/ 322 h 406"/>
                <a:gd name="T88" fmla="*/ 391 w 398"/>
                <a:gd name="T89" fmla="*/ 346 h 406"/>
                <a:gd name="T90" fmla="*/ 369 w 398"/>
                <a:gd name="T91" fmla="*/ 367 h 406"/>
                <a:gd name="T92" fmla="*/ 357 w 398"/>
                <a:gd name="T93" fmla="*/ 384 h 406"/>
                <a:gd name="T94" fmla="*/ 330 w 398"/>
                <a:gd name="T95" fmla="*/ 406 h 406"/>
                <a:gd name="T96" fmla="*/ 288 w 398"/>
                <a:gd name="T97" fmla="*/ 395 h 406"/>
                <a:gd name="T98" fmla="*/ 249 w 398"/>
                <a:gd name="T99" fmla="*/ 386 h 406"/>
                <a:gd name="T100" fmla="*/ 217 w 398"/>
                <a:gd name="T101" fmla="*/ 395 h 406"/>
                <a:gd name="T102" fmla="*/ 84 w 398"/>
                <a:gd name="T103" fmla="*/ 395 h 406"/>
                <a:gd name="T104" fmla="*/ 14 w 398"/>
                <a:gd name="T105" fmla="*/ 199 h 406"/>
                <a:gd name="T106" fmla="*/ 9 w 398"/>
                <a:gd name="T107" fmla="*/ 95 h 406"/>
                <a:gd name="T108" fmla="*/ 1 w 398"/>
                <a:gd name="T109" fmla="*/ 69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98" h="406">
                  <a:moveTo>
                    <a:pt x="1" y="69"/>
                  </a:moveTo>
                  <a:lnTo>
                    <a:pt x="0" y="64"/>
                  </a:lnTo>
                  <a:lnTo>
                    <a:pt x="0" y="61"/>
                  </a:lnTo>
                  <a:lnTo>
                    <a:pt x="0" y="57"/>
                  </a:lnTo>
                  <a:lnTo>
                    <a:pt x="4" y="51"/>
                  </a:lnTo>
                  <a:lnTo>
                    <a:pt x="6" y="48"/>
                  </a:lnTo>
                  <a:lnTo>
                    <a:pt x="6" y="45"/>
                  </a:lnTo>
                  <a:lnTo>
                    <a:pt x="8" y="42"/>
                  </a:lnTo>
                  <a:lnTo>
                    <a:pt x="8" y="38"/>
                  </a:lnTo>
                  <a:lnTo>
                    <a:pt x="9" y="37"/>
                  </a:lnTo>
                  <a:lnTo>
                    <a:pt x="8" y="34"/>
                  </a:lnTo>
                  <a:lnTo>
                    <a:pt x="6" y="32"/>
                  </a:lnTo>
                  <a:lnTo>
                    <a:pt x="6" y="27"/>
                  </a:lnTo>
                  <a:lnTo>
                    <a:pt x="4" y="24"/>
                  </a:lnTo>
                  <a:lnTo>
                    <a:pt x="3" y="21"/>
                  </a:lnTo>
                  <a:lnTo>
                    <a:pt x="3" y="18"/>
                  </a:lnTo>
                  <a:lnTo>
                    <a:pt x="3" y="13"/>
                  </a:lnTo>
                  <a:lnTo>
                    <a:pt x="4" y="10"/>
                  </a:lnTo>
                  <a:lnTo>
                    <a:pt x="8" y="8"/>
                  </a:lnTo>
                  <a:lnTo>
                    <a:pt x="8" y="7"/>
                  </a:lnTo>
                  <a:lnTo>
                    <a:pt x="9" y="4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5"/>
                  </a:lnTo>
                  <a:lnTo>
                    <a:pt x="17" y="7"/>
                  </a:lnTo>
                  <a:lnTo>
                    <a:pt x="20" y="7"/>
                  </a:lnTo>
                  <a:lnTo>
                    <a:pt x="27" y="5"/>
                  </a:lnTo>
                  <a:lnTo>
                    <a:pt x="33" y="4"/>
                  </a:lnTo>
                  <a:lnTo>
                    <a:pt x="36" y="2"/>
                  </a:lnTo>
                  <a:lnTo>
                    <a:pt x="39" y="2"/>
                  </a:lnTo>
                  <a:lnTo>
                    <a:pt x="43" y="2"/>
                  </a:lnTo>
                  <a:lnTo>
                    <a:pt x="47" y="4"/>
                  </a:lnTo>
                  <a:lnTo>
                    <a:pt x="50" y="5"/>
                  </a:lnTo>
                  <a:lnTo>
                    <a:pt x="52" y="5"/>
                  </a:lnTo>
                  <a:lnTo>
                    <a:pt x="57" y="7"/>
                  </a:lnTo>
                  <a:lnTo>
                    <a:pt x="60" y="7"/>
                  </a:lnTo>
                  <a:lnTo>
                    <a:pt x="63" y="7"/>
                  </a:lnTo>
                  <a:lnTo>
                    <a:pt x="66" y="8"/>
                  </a:lnTo>
                  <a:lnTo>
                    <a:pt x="71" y="10"/>
                  </a:lnTo>
                  <a:lnTo>
                    <a:pt x="74" y="8"/>
                  </a:lnTo>
                  <a:lnTo>
                    <a:pt x="77" y="10"/>
                  </a:lnTo>
                  <a:lnTo>
                    <a:pt x="81" y="11"/>
                  </a:lnTo>
                  <a:lnTo>
                    <a:pt x="85" y="11"/>
                  </a:lnTo>
                  <a:lnTo>
                    <a:pt x="89" y="13"/>
                  </a:lnTo>
                  <a:lnTo>
                    <a:pt x="90" y="16"/>
                  </a:lnTo>
                  <a:lnTo>
                    <a:pt x="93" y="18"/>
                  </a:lnTo>
                  <a:lnTo>
                    <a:pt x="96" y="19"/>
                  </a:lnTo>
                  <a:lnTo>
                    <a:pt x="100" y="19"/>
                  </a:lnTo>
                  <a:lnTo>
                    <a:pt x="103" y="18"/>
                  </a:lnTo>
                  <a:lnTo>
                    <a:pt x="108" y="19"/>
                  </a:lnTo>
                  <a:lnTo>
                    <a:pt x="109" y="23"/>
                  </a:lnTo>
                  <a:lnTo>
                    <a:pt x="115" y="24"/>
                  </a:lnTo>
                  <a:lnTo>
                    <a:pt x="119" y="24"/>
                  </a:lnTo>
                  <a:lnTo>
                    <a:pt x="122" y="24"/>
                  </a:lnTo>
                  <a:lnTo>
                    <a:pt x="127" y="24"/>
                  </a:lnTo>
                  <a:lnTo>
                    <a:pt x="130" y="26"/>
                  </a:lnTo>
                  <a:lnTo>
                    <a:pt x="133" y="27"/>
                  </a:lnTo>
                  <a:lnTo>
                    <a:pt x="136" y="27"/>
                  </a:lnTo>
                  <a:lnTo>
                    <a:pt x="141" y="30"/>
                  </a:lnTo>
                  <a:lnTo>
                    <a:pt x="141" y="30"/>
                  </a:lnTo>
                  <a:lnTo>
                    <a:pt x="146" y="34"/>
                  </a:lnTo>
                  <a:lnTo>
                    <a:pt x="152" y="34"/>
                  </a:lnTo>
                  <a:lnTo>
                    <a:pt x="157" y="32"/>
                  </a:lnTo>
                  <a:lnTo>
                    <a:pt x="163" y="29"/>
                  </a:lnTo>
                  <a:lnTo>
                    <a:pt x="173" y="23"/>
                  </a:lnTo>
                  <a:lnTo>
                    <a:pt x="182" y="13"/>
                  </a:lnTo>
                  <a:lnTo>
                    <a:pt x="184" y="16"/>
                  </a:lnTo>
                  <a:lnTo>
                    <a:pt x="185" y="16"/>
                  </a:lnTo>
                  <a:lnTo>
                    <a:pt x="187" y="16"/>
                  </a:lnTo>
                  <a:lnTo>
                    <a:pt x="185" y="16"/>
                  </a:lnTo>
                  <a:lnTo>
                    <a:pt x="187" y="18"/>
                  </a:lnTo>
                  <a:lnTo>
                    <a:pt x="190" y="18"/>
                  </a:lnTo>
                  <a:lnTo>
                    <a:pt x="190" y="16"/>
                  </a:lnTo>
                  <a:lnTo>
                    <a:pt x="187" y="16"/>
                  </a:lnTo>
                  <a:lnTo>
                    <a:pt x="187" y="16"/>
                  </a:lnTo>
                  <a:lnTo>
                    <a:pt x="187" y="16"/>
                  </a:lnTo>
                  <a:lnTo>
                    <a:pt x="192" y="13"/>
                  </a:lnTo>
                  <a:lnTo>
                    <a:pt x="193" y="8"/>
                  </a:lnTo>
                  <a:lnTo>
                    <a:pt x="193" y="7"/>
                  </a:lnTo>
                  <a:lnTo>
                    <a:pt x="196" y="8"/>
                  </a:lnTo>
                  <a:lnTo>
                    <a:pt x="204" y="7"/>
                  </a:lnTo>
                  <a:lnTo>
                    <a:pt x="207" y="5"/>
                  </a:lnTo>
                  <a:lnTo>
                    <a:pt x="211" y="5"/>
                  </a:lnTo>
                  <a:lnTo>
                    <a:pt x="207" y="7"/>
                  </a:lnTo>
                  <a:lnTo>
                    <a:pt x="204" y="8"/>
                  </a:lnTo>
                  <a:lnTo>
                    <a:pt x="200" y="11"/>
                  </a:lnTo>
                  <a:lnTo>
                    <a:pt x="203" y="10"/>
                  </a:lnTo>
                  <a:lnTo>
                    <a:pt x="207" y="8"/>
                  </a:lnTo>
                  <a:lnTo>
                    <a:pt x="207" y="10"/>
                  </a:lnTo>
                  <a:lnTo>
                    <a:pt x="211" y="10"/>
                  </a:lnTo>
                  <a:lnTo>
                    <a:pt x="214" y="8"/>
                  </a:lnTo>
                  <a:lnTo>
                    <a:pt x="217" y="4"/>
                  </a:lnTo>
                  <a:lnTo>
                    <a:pt x="214" y="4"/>
                  </a:lnTo>
                  <a:lnTo>
                    <a:pt x="217" y="2"/>
                  </a:lnTo>
                  <a:lnTo>
                    <a:pt x="220" y="4"/>
                  </a:lnTo>
                  <a:lnTo>
                    <a:pt x="223" y="4"/>
                  </a:lnTo>
                  <a:lnTo>
                    <a:pt x="226" y="5"/>
                  </a:lnTo>
                  <a:lnTo>
                    <a:pt x="226" y="5"/>
                  </a:lnTo>
                  <a:lnTo>
                    <a:pt x="230" y="8"/>
                  </a:lnTo>
                  <a:lnTo>
                    <a:pt x="233" y="8"/>
                  </a:lnTo>
                  <a:lnTo>
                    <a:pt x="234" y="8"/>
                  </a:lnTo>
                  <a:lnTo>
                    <a:pt x="236" y="8"/>
                  </a:lnTo>
                  <a:lnTo>
                    <a:pt x="239" y="8"/>
                  </a:lnTo>
                  <a:lnTo>
                    <a:pt x="242" y="5"/>
                  </a:lnTo>
                  <a:lnTo>
                    <a:pt x="247" y="7"/>
                  </a:lnTo>
                  <a:lnTo>
                    <a:pt x="249" y="10"/>
                  </a:lnTo>
                  <a:lnTo>
                    <a:pt x="252" y="13"/>
                  </a:lnTo>
                  <a:lnTo>
                    <a:pt x="255" y="15"/>
                  </a:lnTo>
                  <a:lnTo>
                    <a:pt x="252" y="13"/>
                  </a:lnTo>
                  <a:lnTo>
                    <a:pt x="249" y="11"/>
                  </a:lnTo>
                  <a:lnTo>
                    <a:pt x="247" y="8"/>
                  </a:lnTo>
                  <a:lnTo>
                    <a:pt x="244" y="7"/>
                  </a:lnTo>
                  <a:lnTo>
                    <a:pt x="244" y="10"/>
                  </a:lnTo>
                  <a:lnTo>
                    <a:pt x="244" y="13"/>
                  </a:lnTo>
                  <a:lnTo>
                    <a:pt x="244" y="13"/>
                  </a:lnTo>
                  <a:lnTo>
                    <a:pt x="242" y="16"/>
                  </a:lnTo>
                  <a:lnTo>
                    <a:pt x="244" y="18"/>
                  </a:lnTo>
                  <a:lnTo>
                    <a:pt x="247" y="19"/>
                  </a:lnTo>
                  <a:lnTo>
                    <a:pt x="250" y="19"/>
                  </a:lnTo>
                  <a:lnTo>
                    <a:pt x="252" y="23"/>
                  </a:lnTo>
                  <a:lnTo>
                    <a:pt x="252" y="23"/>
                  </a:lnTo>
                  <a:lnTo>
                    <a:pt x="253" y="26"/>
                  </a:lnTo>
                  <a:lnTo>
                    <a:pt x="253" y="23"/>
                  </a:lnTo>
                  <a:lnTo>
                    <a:pt x="255" y="24"/>
                  </a:lnTo>
                  <a:lnTo>
                    <a:pt x="255" y="24"/>
                  </a:lnTo>
                  <a:lnTo>
                    <a:pt x="258" y="23"/>
                  </a:lnTo>
                  <a:lnTo>
                    <a:pt x="258" y="23"/>
                  </a:lnTo>
                  <a:lnTo>
                    <a:pt x="260" y="21"/>
                  </a:lnTo>
                  <a:lnTo>
                    <a:pt x="260" y="18"/>
                  </a:lnTo>
                  <a:lnTo>
                    <a:pt x="258" y="16"/>
                  </a:lnTo>
                  <a:lnTo>
                    <a:pt x="257" y="16"/>
                  </a:lnTo>
                  <a:lnTo>
                    <a:pt x="258" y="16"/>
                  </a:lnTo>
                  <a:lnTo>
                    <a:pt x="260" y="16"/>
                  </a:lnTo>
                  <a:lnTo>
                    <a:pt x="260" y="18"/>
                  </a:lnTo>
                  <a:lnTo>
                    <a:pt x="261" y="18"/>
                  </a:lnTo>
                  <a:lnTo>
                    <a:pt x="265" y="21"/>
                  </a:lnTo>
                  <a:lnTo>
                    <a:pt x="266" y="23"/>
                  </a:lnTo>
                  <a:lnTo>
                    <a:pt x="268" y="23"/>
                  </a:lnTo>
                  <a:lnTo>
                    <a:pt x="271" y="24"/>
                  </a:lnTo>
                  <a:lnTo>
                    <a:pt x="274" y="24"/>
                  </a:lnTo>
                  <a:lnTo>
                    <a:pt x="272" y="26"/>
                  </a:lnTo>
                  <a:lnTo>
                    <a:pt x="276" y="26"/>
                  </a:lnTo>
                  <a:lnTo>
                    <a:pt x="277" y="24"/>
                  </a:lnTo>
                  <a:lnTo>
                    <a:pt x="280" y="23"/>
                  </a:lnTo>
                  <a:lnTo>
                    <a:pt x="280" y="23"/>
                  </a:lnTo>
                  <a:lnTo>
                    <a:pt x="280" y="24"/>
                  </a:lnTo>
                  <a:lnTo>
                    <a:pt x="284" y="26"/>
                  </a:lnTo>
                  <a:lnTo>
                    <a:pt x="285" y="23"/>
                  </a:lnTo>
                  <a:lnTo>
                    <a:pt x="284" y="23"/>
                  </a:lnTo>
                  <a:lnTo>
                    <a:pt x="284" y="23"/>
                  </a:lnTo>
                  <a:lnTo>
                    <a:pt x="285" y="21"/>
                  </a:lnTo>
                  <a:lnTo>
                    <a:pt x="290" y="23"/>
                  </a:lnTo>
                  <a:lnTo>
                    <a:pt x="290" y="26"/>
                  </a:lnTo>
                  <a:lnTo>
                    <a:pt x="290" y="26"/>
                  </a:lnTo>
                  <a:lnTo>
                    <a:pt x="293" y="23"/>
                  </a:lnTo>
                  <a:lnTo>
                    <a:pt x="296" y="23"/>
                  </a:lnTo>
                  <a:lnTo>
                    <a:pt x="298" y="21"/>
                  </a:lnTo>
                  <a:lnTo>
                    <a:pt x="301" y="23"/>
                  </a:lnTo>
                  <a:lnTo>
                    <a:pt x="304" y="23"/>
                  </a:lnTo>
                  <a:lnTo>
                    <a:pt x="309" y="23"/>
                  </a:lnTo>
                  <a:lnTo>
                    <a:pt x="317" y="19"/>
                  </a:lnTo>
                  <a:lnTo>
                    <a:pt x="326" y="13"/>
                  </a:lnTo>
                  <a:lnTo>
                    <a:pt x="333" y="29"/>
                  </a:lnTo>
                  <a:lnTo>
                    <a:pt x="338" y="45"/>
                  </a:lnTo>
                  <a:lnTo>
                    <a:pt x="342" y="56"/>
                  </a:lnTo>
                  <a:lnTo>
                    <a:pt x="347" y="69"/>
                  </a:lnTo>
                  <a:lnTo>
                    <a:pt x="349" y="72"/>
                  </a:lnTo>
                  <a:lnTo>
                    <a:pt x="350" y="75"/>
                  </a:lnTo>
                  <a:lnTo>
                    <a:pt x="352" y="78"/>
                  </a:lnTo>
                  <a:lnTo>
                    <a:pt x="352" y="81"/>
                  </a:lnTo>
                  <a:lnTo>
                    <a:pt x="352" y="84"/>
                  </a:lnTo>
                  <a:lnTo>
                    <a:pt x="353" y="86"/>
                  </a:lnTo>
                  <a:lnTo>
                    <a:pt x="355" y="89"/>
                  </a:lnTo>
                  <a:lnTo>
                    <a:pt x="355" y="89"/>
                  </a:lnTo>
                  <a:lnTo>
                    <a:pt x="353" y="89"/>
                  </a:lnTo>
                  <a:lnTo>
                    <a:pt x="352" y="92"/>
                  </a:lnTo>
                  <a:lnTo>
                    <a:pt x="349" y="95"/>
                  </a:lnTo>
                  <a:lnTo>
                    <a:pt x="349" y="100"/>
                  </a:lnTo>
                  <a:lnTo>
                    <a:pt x="347" y="110"/>
                  </a:lnTo>
                  <a:lnTo>
                    <a:pt x="345" y="121"/>
                  </a:lnTo>
                  <a:lnTo>
                    <a:pt x="342" y="130"/>
                  </a:lnTo>
                  <a:lnTo>
                    <a:pt x="341" y="141"/>
                  </a:lnTo>
                  <a:lnTo>
                    <a:pt x="342" y="143"/>
                  </a:lnTo>
                  <a:lnTo>
                    <a:pt x="342" y="148"/>
                  </a:lnTo>
                  <a:lnTo>
                    <a:pt x="342" y="148"/>
                  </a:lnTo>
                  <a:lnTo>
                    <a:pt x="341" y="153"/>
                  </a:lnTo>
                  <a:lnTo>
                    <a:pt x="338" y="156"/>
                  </a:lnTo>
                  <a:lnTo>
                    <a:pt x="336" y="156"/>
                  </a:lnTo>
                  <a:lnTo>
                    <a:pt x="336" y="159"/>
                  </a:lnTo>
                  <a:lnTo>
                    <a:pt x="336" y="161"/>
                  </a:lnTo>
                  <a:lnTo>
                    <a:pt x="334" y="159"/>
                  </a:lnTo>
                  <a:lnTo>
                    <a:pt x="331" y="157"/>
                  </a:lnTo>
                  <a:lnTo>
                    <a:pt x="328" y="157"/>
                  </a:lnTo>
                  <a:lnTo>
                    <a:pt x="325" y="154"/>
                  </a:lnTo>
                  <a:lnTo>
                    <a:pt x="322" y="151"/>
                  </a:lnTo>
                  <a:lnTo>
                    <a:pt x="318" y="148"/>
                  </a:lnTo>
                  <a:lnTo>
                    <a:pt x="315" y="145"/>
                  </a:lnTo>
                  <a:lnTo>
                    <a:pt x="314" y="141"/>
                  </a:lnTo>
                  <a:lnTo>
                    <a:pt x="311" y="138"/>
                  </a:lnTo>
                  <a:lnTo>
                    <a:pt x="309" y="137"/>
                  </a:lnTo>
                  <a:lnTo>
                    <a:pt x="306" y="135"/>
                  </a:lnTo>
                  <a:lnTo>
                    <a:pt x="304" y="132"/>
                  </a:lnTo>
                  <a:lnTo>
                    <a:pt x="299" y="129"/>
                  </a:lnTo>
                  <a:lnTo>
                    <a:pt x="299" y="129"/>
                  </a:lnTo>
                  <a:lnTo>
                    <a:pt x="299" y="127"/>
                  </a:lnTo>
                  <a:lnTo>
                    <a:pt x="298" y="124"/>
                  </a:lnTo>
                  <a:lnTo>
                    <a:pt x="298" y="124"/>
                  </a:lnTo>
                  <a:lnTo>
                    <a:pt x="296" y="122"/>
                  </a:lnTo>
                  <a:lnTo>
                    <a:pt x="298" y="119"/>
                  </a:lnTo>
                  <a:lnTo>
                    <a:pt x="296" y="116"/>
                  </a:lnTo>
                  <a:lnTo>
                    <a:pt x="296" y="111"/>
                  </a:lnTo>
                  <a:lnTo>
                    <a:pt x="295" y="108"/>
                  </a:lnTo>
                  <a:lnTo>
                    <a:pt x="293" y="107"/>
                  </a:lnTo>
                  <a:lnTo>
                    <a:pt x="292" y="105"/>
                  </a:lnTo>
                  <a:lnTo>
                    <a:pt x="288" y="102"/>
                  </a:lnTo>
                  <a:lnTo>
                    <a:pt x="285" y="99"/>
                  </a:lnTo>
                  <a:lnTo>
                    <a:pt x="282" y="95"/>
                  </a:lnTo>
                  <a:lnTo>
                    <a:pt x="282" y="92"/>
                  </a:lnTo>
                  <a:lnTo>
                    <a:pt x="279" y="91"/>
                  </a:lnTo>
                  <a:lnTo>
                    <a:pt x="279" y="88"/>
                  </a:lnTo>
                  <a:lnTo>
                    <a:pt x="277" y="84"/>
                  </a:lnTo>
                  <a:lnTo>
                    <a:pt x="277" y="81"/>
                  </a:lnTo>
                  <a:lnTo>
                    <a:pt x="276" y="78"/>
                  </a:lnTo>
                  <a:lnTo>
                    <a:pt x="276" y="76"/>
                  </a:lnTo>
                  <a:lnTo>
                    <a:pt x="276" y="76"/>
                  </a:lnTo>
                  <a:lnTo>
                    <a:pt x="274" y="73"/>
                  </a:lnTo>
                  <a:lnTo>
                    <a:pt x="272" y="70"/>
                  </a:lnTo>
                  <a:lnTo>
                    <a:pt x="272" y="69"/>
                  </a:lnTo>
                  <a:lnTo>
                    <a:pt x="272" y="69"/>
                  </a:lnTo>
                  <a:lnTo>
                    <a:pt x="271" y="70"/>
                  </a:lnTo>
                  <a:lnTo>
                    <a:pt x="269" y="73"/>
                  </a:lnTo>
                  <a:lnTo>
                    <a:pt x="268" y="76"/>
                  </a:lnTo>
                  <a:lnTo>
                    <a:pt x="266" y="80"/>
                  </a:lnTo>
                  <a:lnTo>
                    <a:pt x="266" y="83"/>
                  </a:lnTo>
                  <a:lnTo>
                    <a:pt x="266" y="83"/>
                  </a:lnTo>
                  <a:lnTo>
                    <a:pt x="266" y="86"/>
                  </a:lnTo>
                  <a:lnTo>
                    <a:pt x="268" y="89"/>
                  </a:lnTo>
                  <a:lnTo>
                    <a:pt x="274" y="94"/>
                  </a:lnTo>
                  <a:lnTo>
                    <a:pt x="276" y="97"/>
                  </a:lnTo>
                  <a:lnTo>
                    <a:pt x="276" y="100"/>
                  </a:lnTo>
                  <a:lnTo>
                    <a:pt x="277" y="103"/>
                  </a:lnTo>
                  <a:lnTo>
                    <a:pt x="276" y="107"/>
                  </a:lnTo>
                  <a:lnTo>
                    <a:pt x="276" y="110"/>
                  </a:lnTo>
                  <a:lnTo>
                    <a:pt x="280" y="116"/>
                  </a:lnTo>
                  <a:lnTo>
                    <a:pt x="284" y="119"/>
                  </a:lnTo>
                  <a:lnTo>
                    <a:pt x="285" y="124"/>
                  </a:lnTo>
                  <a:lnTo>
                    <a:pt x="287" y="127"/>
                  </a:lnTo>
                  <a:lnTo>
                    <a:pt x="290" y="130"/>
                  </a:lnTo>
                  <a:lnTo>
                    <a:pt x="290" y="130"/>
                  </a:lnTo>
                  <a:lnTo>
                    <a:pt x="292" y="130"/>
                  </a:lnTo>
                  <a:lnTo>
                    <a:pt x="292" y="132"/>
                  </a:lnTo>
                  <a:lnTo>
                    <a:pt x="293" y="134"/>
                  </a:lnTo>
                  <a:lnTo>
                    <a:pt x="293" y="135"/>
                  </a:lnTo>
                  <a:lnTo>
                    <a:pt x="295" y="135"/>
                  </a:lnTo>
                  <a:lnTo>
                    <a:pt x="298" y="141"/>
                  </a:lnTo>
                  <a:lnTo>
                    <a:pt x="303" y="146"/>
                  </a:lnTo>
                  <a:lnTo>
                    <a:pt x="306" y="148"/>
                  </a:lnTo>
                  <a:lnTo>
                    <a:pt x="309" y="151"/>
                  </a:lnTo>
                  <a:lnTo>
                    <a:pt x="311" y="154"/>
                  </a:lnTo>
                  <a:lnTo>
                    <a:pt x="312" y="156"/>
                  </a:lnTo>
                  <a:lnTo>
                    <a:pt x="312" y="159"/>
                  </a:lnTo>
                  <a:lnTo>
                    <a:pt x="309" y="157"/>
                  </a:lnTo>
                  <a:lnTo>
                    <a:pt x="312" y="161"/>
                  </a:lnTo>
                  <a:lnTo>
                    <a:pt x="312" y="161"/>
                  </a:lnTo>
                  <a:lnTo>
                    <a:pt x="312" y="164"/>
                  </a:lnTo>
                  <a:lnTo>
                    <a:pt x="314" y="164"/>
                  </a:lnTo>
                  <a:lnTo>
                    <a:pt x="312" y="165"/>
                  </a:lnTo>
                  <a:lnTo>
                    <a:pt x="312" y="168"/>
                  </a:lnTo>
                  <a:lnTo>
                    <a:pt x="315" y="172"/>
                  </a:lnTo>
                  <a:lnTo>
                    <a:pt x="317" y="176"/>
                  </a:lnTo>
                  <a:lnTo>
                    <a:pt x="320" y="180"/>
                  </a:lnTo>
                  <a:lnTo>
                    <a:pt x="325" y="189"/>
                  </a:lnTo>
                  <a:lnTo>
                    <a:pt x="330" y="197"/>
                  </a:lnTo>
                  <a:lnTo>
                    <a:pt x="328" y="200"/>
                  </a:lnTo>
                  <a:lnTo>
                    <a:pt x="328" y="205"/>
                  </a:lnTo>
                  <a:lnTo>
                    <a:pt x="331" y="208"/>
                  </a:lnTo>
                  <a:lnTo>
                    <a:pt x="333" y="211"/>
                  </a:lnTo>
                  <a:lnTo>
                    <a:pt x="338" y="221"/>
                  </a:lnTo>
                  <a:lnTo>
                    <a:pt x="342" y="230"/>
                  </a:lnTo>
                  <a:lnTo>
                    <a:pt x="344" y="233"/>
                  </a:lnTo>
                  <a:lnTo>
                    <a:pt x="345" y="237"/>
                  </a:lnTo>
                  <a:lnTo>
                    <a:pt x="349" y="240"/>
                  </a:lnTo>
                  <a:lnTo>
                    <a:pt x="352" y="245"/>
                  </a:lnTo>
                  <a:lnTo>
                    <a:pt x="355" y="252"/>
                  </a:lnTo>
                  <a:lnTo>
                    <a:pt x="360" y="262"/>
                  </a:lnTo>
                  <a:lnTo>
                    <a:pt x="361" y="265"/>
                  </a:lnTo>
                  <a:lnTo>
                    <a:pt x="364" y="268"/>
                  </a:lnTo>
                  <a:lnTo>
                    <a:pt x="366" y="273"/>
                  </a:lnTo>
                  <a:lnTo>
                    <a:pt x="368" y="276"/>
                  </a:lnTo>
                  <a:lnTo>
                    <a:pt x="368" y="279"/>
                  </a:lnTo>
                  <a:lnTo>
                    <a:pt x="369" y="279"/>
                  </a:lnTo>
                  <a:lnTo>
                    <a:pt x="371" y="284"/>
                  </a:lnTo>
                  <a:lnTo>
                    <a:pt x="372" y="287"/>
                  </a:lnTo>
                  <a:lnTo>
                    <a:pt x="374" y="291"/>
                  </a:lnTo>
                  <a:lnTo>
                    <a:pt x="376" y="294"/>
                  </a:lnTo>
                  <a:lnTo>
                    <a:pt x="379" y="297"/>
                  </a:lnTo>
                  <a:lnTo>
                    <a:pt x="382" y="302"/>
                  </a:lnTo>
                  <a:lnTo>
                    <a:pt x="385" y="305"/>
                  </a:lnTo>
                  <a:lnTo>
                    <a:pt x="387" y="308"/>
                  </a:lnTo>
                  <a:lnTo>
                    <a:pt x="390" y="310"/>
                  </a:lnTo>
                  <a:lnTo>
                    <a:pt x="395" y="313"/>
                  </a:lnTo>
                  <a:lnTo>
                    <a:pt x="396" y="313"/>
                  </a:lnTo>
                  <a:lnTo>
                    <a:pt x="398" y="316"/>
                  </a:lnTo>
                  <a:lnTo>
                    <a:pt x="395" y="316"/>
                  </a:lnTo>
                  <a:lnTo>
                    <a:pt x="391" y="316"/>
                  </a:lnTo>
                  <a:lnTo>
                    <a:pt x="388" y="314"/>
                  </a:lnTo>
                  <a:lnTo>
                    <a:pt x="387" y="319"/>
                  </a:lnTo>
                  <a:lnTo>
                    <a:pt x="387" y="322"/>
                  </a:lnTo>
                  <a:lnTo>
                    <a:pt x="388" y="325"/>
                  </a:lnTo>
                  <a:lnTo>
                    <a:pt x="388" y="329"/>
                  </a:lnTo>
                  <a:lnTo>
                    <a:pt x="388" y="332"/>
                  </a:lnTo>
                  <a:lnTo>
                    <a:pt x="388" y="335"/>
                  </a:lnTo>
                  <a:lnTo>
                    <a:pt x="390" y="340"/>
                  </a:lnTo>
                  <a:lnTo>
                    <a:pt x="391" y="343"/>
                  </a:lnTo>
                  <a:lnTo>
                    <a:pt x="391" y="346"/>
                  </a:lnTo>
                  <a:lnTo>
                    <a:pt x="393" y="349"/>
                  </a:lnTo>
                  <a:lnTo>
                    <a:pt x="387" y="357"/>
                  </a:lnTo>
                  <a:lnTo>
                    <a:pt x="379" y="363"/>
                  </a:lnTo>
                  <a:lnTo>
                    <a:pt x="376" y="362"/>
                  </a:lnTo>
                  <a:lnTo>
                    <a:pt x="372" y="360"/>
                  </a:lnTo>
                  <a:lnTo>
                    <a:pt x="371" y="362"/>
                  </a:lnTo>
                  <a:lnTo>
                    <a:pt x="369" y="367"/>
                  </a:lnTo>
                  <a:lnTo>
                    <a:pt x="368" y="370"/>
                  </a:lnTo>
                  <a:lnTo>
                    <a:pt x="368" y="370"/>
                  </a:lnTo>
                  <a:lnTo>
                    <a:pt x="366" y="373"/>
                  </a:lnTo>
                  <a:lnTo>
                    <a:pt x="364" y="378"/>
                  </a:lnTo>
                  <a:lnTo>
                    <a:pt x="363" y="381"/>
                  </a:lnTo>
                  <a:lnTo>
                    <a:pt x="360" y="384"/>
                  </a:lnTo>
                  <a:lnTo>
                    <a:pt x="357" y="384"/>
                  </a:lnTo>
                  <a:lnTo>
                    <a:pt x="352" y="386"/>
                  </a:lnTo>
                  <a:lnTo>
                    <a:pt x="349" y="386"/>
                  </a:lnTo>
                  <a:lnTo>
                    <a:pt x="345" y="387"/>
                  </a:lnTo>
                  <a:lnTo>
                    <a:pt x="344" y="387"/>
                  </a:lnTo>
                  <a:lnTo>
                    <a:pt x="341" y="397"/>
                  </a:lnTo>
                  <a:lnTo>
                    <a:pt x="338" y="405"/>
                  </a:lnTo>
                  <a:lnTo>
                    <a:pt x="330" y="406"/>
                  </a:lnTo>
                  <a:lnTo>
                    <a:pt x="325" y="406"/>
                  </a:lnTo>
                  <a:lnTo>
                    <a:pt x="322" y="405"/>
                  </a:lnTo>
                  <a:lnTo>
                    <a:pt x="317" y="400"/>
                  </a:lnTo>
                  <a:lnTo>
                    <a:pt x="312" y="398"/>
                  </a:lnTo>
                  <a:lnTo>
                    <a:pt x="309" y="395"/>
                  </a:lnTo>
                  <a:lnTo>
                    <a:pt x="301" y="395"/>
                  </a:lnTo>
                  <a:lnTo>
                    <a:pt x="288" y="395"/>
                  </a:lnTo>
                  <a:lnTo>
                    <a:pt x="276" y="395"/>
                  </a:lnTo>
                  <a:lnTo>
                    <a:pt x="261" y="395"/>
                  </a:lnTo>
                  <a:lnTo>
                    <a:pt x="249" y="395"/>
                  </a:lnTo>
                  <a:lnTo>
                    <a:pt x="249" y="390"/>
                  </a:lnTo>
                  <a:lnTo>
                    <a:pt x="250" y="387"/>
                  </a:lnTo>
                  <a:lnTo>
                    <a:pt x="249" y="387"/>
                  </a:lnTo>
                  <a:lnTo>
                    <a:pt x="249" y="386"/>
                  </a:lnTo>
                  <a:lnTo>
                    <a:pt x="246" y="387"/>
                  </a:lnTo>
                  <a:lnTo>
                    <a:pt x="244" y="390"/>
                  </a:lnTo>
                  <a:lnTo>
                    <a:pt x="242" y="392"/>
                  </a:lnTo>
                  <a:lnTo>
                    <a:pt x="242" y="394"/>
                  </a:lnTo>
                  <a:lnTo>
                    <a:pt x="239" y="395"/>
                  </a:lnTo>
                  <a:lnTo>
                    <a:pt x="231" y="395"/>
                  </a:lnTo>
                  <a:lnTo>
                    <a:pt x="217" y="395"/>
                  </a:lnTo>
                  <a:lnTo>
                    <a:pt x="203" y="395"/>
                  </a:lnTo>
                  <a:lnTo>
                    <a:pt x="190" y="395"/>
                  </a:lnTo>
                  <a:lnTo>
                    <a:pt x="176" y="395"/>
                  </a:lnTo>
                  <a:lnTo>
                    <a:pt x="161" y="395"/>
                  </a:lnTo>
                  <a:lnTo>
                    <a:pt x="147" y="395"/>
                  </a:lnTo>
                  <a:lnTo>
                    <a:pt x="115" y="395"/>
                  </a:lnTo>
                  <a:lnTo>
                    <a:pt x="84" y="395"/>
                  </a:lnTo>
                  <a:lnTo>
                    <a:pt x="52" y="395"/>
                  </a:lnTo>
                  <a:lnTo>
                    <a:pt x="20" y="395"/>
                  </a:lnTo>
                  <a:lnTo>
                    <a:pt x="19" y="351"/>
                  </a:lnTo>
                  <a:lnTo>
                    <a:pt x="17" y="306"/>
                  </a:lnTo>
                  <a:lnTo>
                    <a:pt x="16" y="262"/>
                  </a:lnTo>
                  <a:lnTo>
                    <a:pt x="16" y="218"/>
                  </a:lnTo>
                  <a:lnTo>
                    <a:pt x="14" y="199"/>
                  </a:lnTo>
                  <a:lnTo>
                    <a:pt x="14" y="181"/>
                  </a:lnTo>
                  <a:lnTo>
                    <a:pt x="12" y="164"/>
                  </a:lnTo>
                  <a:lnTo>
                    <a:pt x="12" y="145"/>
                  </a:lnTo>
                  <a:lnTo>
                    <a:pt x="12" y="124"/>
                  </a:lnTo>
                  <a:lnTo>
                    <a:pt x="11" y="102"/>
                  </a:lnTo>
                  <a:lnTo>
                    <a:pt x="11" y="99"/>
                  </a:lnTo>
                  <a:lnTo>
                    <a:pt x="9" y="95"/>
                  </a:lnTo>
                  <a:lnTo>
                    <a:pt x="8" y="91"/>
                  </a:lnTo>
                  <a:lnTo>
                    <a:pt x="6" y="88"/>
                  </a:lnTo>
                  <a:lnTo>
                    <a:pt x="6" y="83"/>
                  </a:lnTo>
                  <a:lnTo>
                    <a:pt x="4" y="78"/>
                  </a:lnTo>
                  <a:lnTo>
                    <a:pt x="4" y="75"/>
                  </a:lnTo>
                  <a:lnTo>
                    <a:pt x="3" y="72"/>
                  </a:lnTo>
                  <a:lnTo>
                    <a:pt x="1" y="6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60" name="Freeform 425"/>
            <p:cNvSpPr>
              <a:spLocks/>
            </p:cNvSpPr>
            <p:nvPr/>
          </p:nvSpPr>
          <p:spPr bwMode="auto">
            <a:xfrm>
              <a:off x="5038558" y="3586691"/>
              <a:ext cx="316128" cy="286020"/>
            </a:xfrm>
            <a:custGeom>
              <a:avLst/>
              <a:gdLst>
                <a:gd name="T0" fmla="*/ 6 w 430"/>
                <a:gd name="T1" fmla="*/ 330 h 338"/>
                <a:gd name="T2" fmla="*/ 27 w 430"/>
                <a:gd name="T3" fmla="*/ 323 h 338"/>
                <a:gd name="T4" fmla="*/ 68 w 430"/>
                <a:gd name="T5" fmla="*/ 301 h 338"/>
                <a:gd name="T6" fmla="*/ 100 w 430"/>
                <a:gd name="T7" fmla="*/ 276 h 338"/>
                <a:gd name="T8" fmla="*/ 111 w 430"/>
                <a:gd name="T9" fmla="*/ 263 h 338"/>
                <a:gd name="T10" fmla="*/ 129 w 430"/>
                <a:gd name="T11" fmla="*/ 235 h 338"/>
                <a:gd name="T12" fmla="*/ 121 w 430"/>
                <a:gd name="T13" fmla="*/ 216 h 338"/>
                <a:gd name="T14" fmla="*/ 124 w 430"/>
                <a:gd name="T15" fmla="*/ 203 h 338"/>
                <a:gd name="T16" fmla="*/ 125 w 430"/>
                <a:gd name="T17" fmla="*/ 190 h 338"/>
                <a:gd name="T18" fmla="*/ 130 w 430"/>
                <a:gd name="T19" fmla="*/ 176 h 338"/>
                <a:gd name="T20" fmla="*/ 140 w 430"/>
                <a:gd name="T21" fmla="*/ 162 h 338"/>
                <a:gd name="T22" fmla="*/ 146 w 430"/>
                <a:gd name="T23" fmla="*/ 151 h 338"/>
                <a:gd name="T24" fmla="*/ 149 w 430"/>
                <a:gd name="T25" fmla="*/ 135 h 338"/>
                <a:gd name="T26" fmla="*/ 170 w 430"/>
                <a:gd name="T27" fmla="*/ 113 h 338"/>
                <a:gd name="T28" fmla="*/ 183 w 430"/>
                <a:gd name="T29" fmla="*/ 105 h 338"/>
                <a:gd name="T30" fmla="*/ 194 w 430"/>
                <a:gd name="T31" fmla="*/ 100 h 338"/>
                <a:gd name="T32" fmla="*/ 208 w 430"/>
                <a:gd name="T33" fmla="*/ 93 h 338"/>
                <a:gd name="T34" fmla="*/ 229 w 430"/>
                <a:gd name="T35" fmla="*/ 81 h 338"/>
                <a:gd name="T36" fmla="*/ 255 w 430"/>
                <a:gd name="T37" fmla="*/ 36 h 338"/>
                <a:gd name="T38" fmla="*/ 276 w 430"/>
                <a:gd name="T39" fmla="*/ 3 h 338"/>
                <a:gd name="T40" fmla="*/ 287 w 430"/>
                <a:gd name="T41" fmla="*/ 0 h 338"/>
                <a:gd name="T42" fmla="*/ 305 w 430"/>
                <a:gd name="T43" fmla="*/ 27 h 338"/>
                <a:gd name="T44" fmla="*/ 319 w 430"/>
                <a:gd name="T45" fmla="*/ 32 h 338"/>
                <a:gd name="T46" fmla="*/ 335 w 430"/>
                <a:gd name="T47" fmla="*/ 28 h 338"/>
                <a:gd name="T48" fmla="*/ 347 w 430"/>
                <a:gd name="T49" fmla="*/ 27 h 338"/>
                <a:gd name="T50" fmla="*/ 363 w 430"/>
                <a:gd name="T51" fmla="*/ 27 h 338"/>
                <a:gd name="T52" fmla="*/ 370 w 430"/>
                <a:gd name="T53" fmla="*/ 27 h 338"/>
                <a:gd name="T54" fmla="*/ 371 w 430"/>
                <a:gd name="T55" fmla="*/ 28 h 338"/>
                <a:gd name="T56" fmla="*/ 386 w 430"/>
                <a:gd name="T57" fmla="*/ 32 h 338"/>
                <a:gd name="T58" fmla="*/ 395 w 430"/>
                <a:gd name="T59" fmla="*/ 38 h 338"/>
                <a:gd name="T60" fmla="*/ 406 w 430"/>
                <a:gd name="T61" fmla="*/ 46 h 338"/>
                <a:gd name="T62" fmla="*/ 411 w 430"/>
                <a:gd name="T63" fmla="*/ 59 h 338"/>
                <a:gd name="T64" fmla="*/ 409 w 430"/>
                <a:gd name="T65" fmla="*/ 70 h 338"/>
                <a:gd name="T66" fmla="*/ 408 w 430"/>
                <a:gd name="T67" fmla="*/ 84 h 338"/>
                <a:gd name="T68" fmla="*/ 412 w 430"/>
                <a:gd name="T69" fmla="*/ 95 h 338"/>
                <a:gd name="T70" fmla="*/ 409 w 430"/>
                <a:gd name="T71" fmla="*/ 109 h 338"/>
                <a:gd name="T72" fmla="*/ 414 w 430"/>
                <a:gd name="T73" fmla="*/ 124 h 338"/>
                <a:gd name="T74" fmla="*/ 427 w 430"/>
                <a:gd name="T75" fmla="*/ 136 h 338"/>
                <a:gd name="T76" fmla="*/ 422 w 430"/>
                <a:gd name="T77" fmla="*/ 147 h 338"/>
                <a:gd name="T78" fmla="*/ 424 w 430"/>
                <a:gd name="T79" fmla="*/ 155 h 338"/>
                <a:gd name="T80" fmla="*/ 412 w 430"/>
                <a:gd name="T81" fmla="*/ 155 h 338"/>
                <a:gd name="T82" fmla="*/ 374 w 430"/>
                <a:gd name="T83" fmla="*/ 155 h 338"/>
                <a:gd name="T84" fmla="*/ 363 w 430"/>
                <a:gd name="T85" fmla="*/ 163 h 338"/>
                <a:gd name="T86" fmla="*/ 346 w 430"/>
                <a:gd name="T87" fmla="*/ 173 h 338"/>
                <a:gd name="T88" fmla="*/ 332 w 430"/>
                <a:gd name="T89" fmla="*/ 176 h 338"/>
                <a:gd name="T90" fmla="*/ 333 w 430"/>
                <a:gd name="T91" fmla="*/ 189 h 338"/>
                <a:gd name="T92" fmla="*/ 340 w 430"/>
                <a:gd name="T93" fmla="*/ 200 h 338"/>
                <a:gd name="T94" fmla="*/ 325 w 430"/>
                <a:gd name="T95" fmla="*/ 204 h 338"/>
                <a:gd name="T96" fmla="*/ 317 w 430"/>
                <a:gd name="T97" fmla="*/ 212 h 338"/>
                <a:gd name="T98" fmla="*/ 306 w 430"/>
                <a:gd name="T99" fmla="*/ 216 h 338"/>
                <a:gd name="T100" fmla="*/ 292 w 430"/>
                <a:gd name="T101" fmla="*/ 222 h 338"/>
                <a:gd name="T102" fmla="*/ 275 w 430"/>
                <a:gd name="T103" fmla="*/ 243 h 338"/>
                <a:gd name="T104" fmla="*/ 254 w 430"/>
                <a:gd name="T105" fmla="*/ 249 h 338"/>
                <a:gd name="T106" fmla="*/ 236 w 430"/>
                <a:gd name="T107" fmla="*/ 257 h 338"/>
                <a:gd name="T108" fmla="*/ 222 w 430"/>
                <a:gd name="T109" fmla="*/ 258 h 338"/>
                <a:gd name="T110" fmla="*/ 208 w 430"/>
                <a:gd name="T111" fmla="*/ 262 h 338"/>
                <a:gd name="T112" fmla="*/ 195 w 430"/>
                <a:gd name="T113" fmla="*/ 268 h 338"/>
                <a:gd name="T114" fmla="*/ 183 w 430"/>
                <a:gd name="T115" fmla="*/ 279 h 338"/>
                <a:gd name="T116" fmla="*/ 162 w 430"/>
                <a:gd name="T117" fmla="*/ 293 h 338"/>
                <a:gd name="T118" fmla="*/ 159 w 430"/>
                <a:gd name="T119" fmla="*/ 319 h 338"/>
                <a:gd name="T120" fmla="*/ 40 w 430"/>
                <a:gd name="T121" fmla="*/ 338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30" h="338">
                  <a:moveTo>
                    <a:pt x="0" y="338"/>
                  </a:moveTo>
                  <a:lnTo>
                    <a:pt x="0" y="336"/>
                  </a:lnTo>
                  <a:lnTo>
                    <a:pt x="5" y="335"/>
                  </a:lnTo>
                  <a:lnTo>
                    <a:pt x="6" y="330"/>
                  </a:lnTo>
                  <a:lnTo>
                    <a:pt x="8" y="327"/>
                  </a:lnTo>
                  <a:lnTo>
                    <a:pt x="11" y="325"/>
                  </a:lnTo>
                  <a:lnTo>
                    <a:pt x="14" y="325"/>
                  </a:lnTo>
                  <a:lnTo>
                    <a:pt x="27" y="323"/>
                  </a:lnTo>
                  <a:lnTo>
                    <a:pt x="40" y="320"/>
                  </a:lnTo>
                  <a:lnTo>
                    <a:pt x="48" y="315"/>
                  </a:lnTo>
                  <a:lnTo>
                    <a:pt x="59" y="312"/>
                  </a:lnTo>
                  <a:lnTo>
                    <a:pt x="68" y="301"/>
                  </a:lnTo>
                  <a:lnTo>
                    <a:pt x="78" y="292"/>
                  </a:lnTo>
                  <a:lnTo>
                    <a:pt x="89" y="285"/>
                  </a:lnTo>
                  <a:lnTo>
                    <a:pt x="98" y="279"/>
                  </a:lnTo>
                  <a:lnTo>
                    <a:pt x="100" y="276"/>
                  </a:lnTo>
                  <a:lnTo>
                    <a:pt x="102" y="273"/>
                  </a:lnTo>
                  <a:lnTo>
                    <a:pt x="105" y="271"/>
                  </a:lnTo>
                  <a:lnTo>
                    <a:pt x="108" y="266"/>
                  </a:lnTo>
                  <a:lnTo>
                    <a:pt x="111" y="263"/>
                  </a:lnTo>
                  <a:lnTo>
                    <a:pt x="113" y="260"/>
                  </a:lnTo>
                  <a:lnTo>
                    <a:pt x="114" y="257"/>
                  </a:lnTo>
                  <a:lnTo>
                    <a:pt x="122" y="247"/>
                  </a:lnTo>
                  <a:lnTo>
                    <a:pt x="129" y="235"/>
                  </a:lnTo>
                  <a:lnTo>
                    <a:pt x="130" y="230"/>
                  </a:lnTo>
                  <a:lnTo>
                    <a:pt x="129" y="224"/>
                  </a:lnTo>
                  <a:lnTo>
                    <a:pt x="127" y="219"/>
                  </a:lnTo>
                  <a:lnTo>
                    <a:pt x="121" y="216"/>
                  </a:lnTo>
                  <a:lnTo>
                    <a:pt x="122" y="212"/>
                  </a:lnTo>
                  <a:lnTo>
                    <a:pt x="124" y="209"/>
                  </a:lnTo>
                  <a:lnTo>
                    <a:pt x="124" y="206"/>
                  </a:lnTo>
                  <a:lnTo>
                    <a:pt x="124" y="203"/>
                  </a:lnTo>
                  <a:lnTo>
                    <a:pt x="124" y="200"/>
                  </a:lnTo>
                  <a:lnTo>
                    <a:pt x="124" y="197"/>
                  </a:lnTo>
                  <a:lnTo>
                    <a:pt x="124" y="193"/>
                  </a:lnTo>
                  <a:lnTo>
                    <a:pt x="125" y="190"/>
                  </a:lnTo>
                  <a:lnTo>
                    <a:pt x="125" y="185"/>
                  </a:lnTo>
                  <a:lnTo>
                    <a:pt x="125" y="182"/>
                  </a:lnTo>
                  <a:lnTo>
                    <a:pt x="127" y="179"/>
                  </a:lnTo>
                  <a:lnTo>
                    <a:pt x="130" y="176"/>
                  </a:lnTo>
                  <a:lnTo>
                    <a:pt x="130" y="173"/>
                  </a:lnTo>
                  <a:lnTo>
                    <a:pt x="133" y="168"/>
                  </a:lnTo>
                  <a:lnTo>
                    <a:pt x="137" y="165"/>
                  </a:lnTo>
                  <a:lnTo>
                    <a:pt x="140" y="162"/>
                  </a:lnTo>
                  <a:lnTo>
                    <a:pt x="143" y="158"/>
                  </a:lnTo>
                  <a:lnTo>
                    <a:pt x="143" y="158"/>
                  </a:lnTo>
                  <a:lnTo>
                    <a:pt x="144" y="154"/>
                  </a:lnTo>
                  <a:lnTo>
                    <a:pt x="146" y="151"/>
                  </a:lnTo>
                  <a:lnTo>
                    <a:pt x="146" y="147"/>
                  </a:lnTo>
                  <a:lnTo>
                    <a:pt x="146" y="144"/>
                  </a:lnTo>
                  <a:lnTo>
                    <a:pt x="148" y="138"/>
                  </a:lnTo>
                  <a:lnTo>
                    <a:pt x="149" y="135"/>
                  </a:lnTo>
                  <a:lnTo>
                    <a:pt x="151" y="133"/>
                  </a:lnTo>
                  <a:lnTo>
                    <a:pt x="156" y="130"/>
                  </a:lnTo>
                  <a:lnTo>
                    <a:pt x="163" y="122"/>
                  </a:lnTo>
                  <a:lnTo>
                    <a:pt x="170" y="113"/>
                  </a:lnTo>
                  <a:lnTo>
                    <a:pt x="173" y="109"/>
                  </a:lnTo>
                  <a:lnTo>
                    <a:pt x="176" y="108"/>
                  </a:lnTo>
                  <a:lnTo>
                    <a:pt x="181" y="106"/>
                  </a:lnTo>
                  <a:lnTo>
                    <a:pt x="183" y="105"/>
                  </a:lnTo>
                  <a:lnTo>
                    <a:pt x="186" y="103"/>
                  </a:lnTo>
                  <a:lnTo>
                    <a:pt x="189" y="101"/>
                  </a:lnTo>
                  <a:lnTo>
                    <a:pt x="192" y="100"/>
                  </a:lnTo>
                  <a:lnTo>
                    <a:pt x="194" y="100"/>
                  </a:lnTo>
                  <a:lnTo>
                    <a:pt x="198" y="98"/>
                  </a:lnTo>
                  <a:lnTo>
                    <a:pt x="202" y="97"/>
                  </a:lnTo>
                  <a:lnTo>
                    <a:pt x="205" y="93"/>
                  </a:lnTo>
                  <a:lnTo>
                    <a:pt x="208" y="93"/>
                  </a:lnTo>
                  <a:lnTo>
                    <a:pt x="213" y="92"/>
                  </a:lnTo>
                  <a:lnTo>
                    <a:pt x="214" y="90"/>
                  </a:lnTo>
                  <a:lnTo>
                    <a:pt x="222" y="86"/>
                  </a:lnTo>
                  <a:lnTo>
                    <a:pt x="229" y="81"/>
                  </a:lnTo>
                  <a:lnTo>
                    <a:pt x="235" y="76"/>
                  </a:lnTo>
                  <a:lnTo>
                    <a:pt x="240" y="68"/>
                  </a:lnTo>
                  <a:lnTo>
                    <a:pt x="249" y="52"/>
                  </a:lnTo>
                  <a:lnTo>
                    <a:pt x="255" y="36"/>
                  </a:lnTo>
                  <a:lnTo>
                    <a:pt x="263" y="22"/>
                  </a:lnTo>
                  <a:lnTo>
                    <a:pt x="270" y="5"/>
                  </a:lnTo>
                  <a:lnTo>
                    <a:pt x="273" y="5"/>
                  </a:lnTo>
                  <a:lnTo>
                    <a:pt x="276" y="3"/>
                  </a:lnTo>
                  <a:lnTo>
                    <a:pt x="279" y="5"/>
                  </a:lnTo>
                  <a:lnTo>
                    <a:pt x="284" y="1"/>
                  </a:lnTo>
                  <a:lnTo>
                    <a:pt x="284" y="1"/>
                  </a:lnTo>
                  <a:lnTo>
                    <a:pt x="287" y="0"/>
                  </a:lnTo>
                  <a:lnTo>
                    <a:pt x="289" y="6"/>
                  </a:lnTo>
                  <a:lnTo>
                    <a:pt x="290" y="13"/>
                  </a:lnTo>
                  <a:lnTo>
                    <a:pt x="297" y="21"/>
                  </a:lnTo>
                  <a:lnTo>
                    <a:pt x="305" y="27"/>
                  </a:lnTo>
                  <a:lnTo>
                    <a:pt x="308" y="28"/>
                  </a:lnTo>
                  <a:lnTo>
                    <a:pt x="311" y="30"/>
                  </a:lnTo>
                  <a:lnTo>
                    <a:pt x="316" y="30"/>
                  </a:lnTo>
                  <a:lnTo>
                    <a:pt x="319" y="32"/>
                  </a:lnTo>
                  <a:lnTo>
                    <a:pt x="322" y="32"/>
                  </a:lnTo>
                  <a:lnTo>
                    <a:pt x="327" y="30"/>
                  </a:lnTo>
                  <a:lnTo>
                    <a:pt x="330" y="28"/>
                  </a:lnTo>
                  <a:lnTo>
                    <a:pt x="335" y="28"/>
                  </a:lnTo>
                  <a:lnTo>
                    <a:pt x="340" y="28"/>
                  </a:lnTo>
                  <a:lnTo>
                    <a:pt x="341" y="27"/>
                  </a:lnTo>
                  <a:lnTo>
                    <a:pt x="344" y="27"/>
                  </a:lnTo>
                  <a:lnTo>
                    <a:pt x="347" y="27"/>
                  </a:lnTo>
                  <a:lnTo>
                    <a:pt x="351" y="28"/>
                  </a:lnTo>
                  <a:lnTo>
                    <a:pt x="354" y="30"/>
                  </a:lnTo>
                  <a:lnTo>
                    <a:pt x="359" y="28"/>
                  </a:lnTo>
                  <a:lnTo>
                    <a:pt x="363" y="27"/>
                  </a:lnTo>
                  <a:lnTo>
                    <a:pt x="368" y="21"/>
                  </a:lnTo>
                  <a:lnTo>
                    <a:pt x="370" y="24"/>
                  </a:lnTo>
                  <a:lnTo>
                    <a:pt x="368" y="27"/>
                  </a:lnTo>
                  <a:lnTo>
                    <a:pt x="370" y="27"/>
                  </a:lnTo>
                  <a:lnTo>
                    <a:pt x="370" y="28"/>
                  </a:lnTo>
                  <a:lnTo>
                    <a:pt x="371" y="32"/>
                  </a:lnTo>
                  <a:lnTo>
                    <a:pt x="374" y="32"/>
                  </a:lnTo>
                  <a:lnTo>
                    <a:pt x="371" y="28"/>
                  </a:lnTo>
                  <a:lnTo>
                    <a:pt x="374" y="32"/>
                  </a:lnTo>
                  <a:lnTo>
                    <a:pt x="379" y="33"/>
                  </a:lnTo>
                  <a:lnTo>
                    <a:pt x="382" y="33"/>
                  </a:lnTo>
                  <a:lnTo>
                    <a:pt x="386" y="32"/>
                  </a:lnTo>
                  <a:lnTo>
                    <a:pt x="389" y="33"/>
                  </a:lnTo>
                  <a:lnTo>
                    <a:pt x="390" y="33"/>
                  </a:lnTo>
                  <a:lnTo>
                    <a:pt x="393" y="33"/>
                  </a:lnTo>
                  <a:lnTo>
                    <a:pt x="395" y="38"/>
                  </a:lnTo>
                  <a:lnTo>
                    <a:pt x="398" y="40"/>
                  </a:lnTo>
                  <a:lnTo>
                    <a:pt x="401" y="43"/>
                  </a:lnTo>
                  <a:lnTo>
                    <a:pt x="406" y="46"/>
                  </a:lnTo>
                  <a:lnTo>
                    <a:pt x="406" y="46"/>
                  </a:lnTo>
                  <a:lnTo>
                    <a:pt x="408" y="49"/>
                  </a:lnTo>
                  <a:lnTo>
                    <a:pt x="406" y="52"/>
                  </a:lnTo>
                  <a:lnTo>
                    <a:pt x="406" y="55"/>
                  </a:lnTo>
                  <a:lnTo>
                    <a:pt x="411" y="59"/>
                  </a:lnTo>
                  <a:lnTo>
                    <a:pt x="409" y="59"/>
                  </a:lnTo>
                  <a:lnTo>
                    <a:pt x="406" y="63"/>
                  </a:lnTo>
                  <a:lnTo>
                    <a:pt x="409" y="67"/>
                  </a:lnTo>
                  <a:lnTo>
                    <a:pt x="409" y="70"/>
                  </a:lnTo>
                  <a:lnTo>
                    <a:pt x="411" y="74"/>
                  </a:lnTo>
                  <a:lnTo>
                    <a:pt x="411" y="76"/>
                  </a:lnTo>
                  <a:lnTo>
                    <a:pt x="409" y="79"/>
                  </a:lnTo>
                  <a:lnTo>
                    <a:pt x="408" y="84"/>
                  </a:lnTo>
                  <a:lnTo>
                    <a:pt x="409" y="87"/>
                  </a:lnTo>
                  <a:lnTo>
                    <a:pt x="408" y="90"/>
                  </a:lnTo>
                  <a:lnTo>
                    <a:pt x="409" y="92"/>
                  </a:lnTo>
                  <a:lnTo>
                    <a:pt x="412" y="95"/>
                  </a:lnTo>
                  <a:lnTo>
                    <a:pt x="411" y="98"/>
                  </a:lnTo>
                  <a:lnTo>
                    <a:pt x="409" y="103"/>
                  </a:lnTo>
                  <a:lnTo>
                    <a:pt x="409" y="106"/>
                  </a:lnTo>
                  <a:lnTo>
                    <a:pt x="409" y="109"/>
                  </a:lnTo>
                  <a:lnTo>
                    <a:pt x="412" y="113"/>
                  </a:lnTo>
                  <a:lnTo>
                    <a:pt x="416" y="116"/>
                  </a:lnTo>
                  <a:lnTo>
                    <a:pt x="416" y="120"/>
                  </a:lnTo>
                  <a:lnTo>
                    <a:pt x="414" y="124"/>
                  </a:lnTo>
                  <a:lnTo>
                    <a:pt x="416" y="127"/>
                  </a:lnTo>
                  <a:lnTo>
                    <a:pt x="419" y="132"/>
                  </a:lnTo>
                  <a:lnTo>
                    <a:pt x="422" y="133"/>
                  </a:lnTo>
                  <a:lnTo>
                    <a:pt x="427" y="136"/>
                  </a:lnTo>
                  <a:lnTo>
                    <a:pt x="430" y="139"/>
                  </a:lnTo>
                  <a:lnTo>
                    <a:pt x="427" y="143"/>
                  </a:lnTo>
                  <a:lnTo>
                    <a:pt x="424" y="144"/>
                  </a:lnTo>
                  <a:lnTo>
                    <a:pt x="422" y="147"/>
                  </a:lnTo>
                  <a:lnTo>
                    <a:pt x="422" y="151"/>
                  </a:lnTo>
                  <a:lnTo>
                    <a:pt x="420" y="154"/>
                  </a:lnTo>
                  <a:lnTo>
                    <a:pt x="420" y="154"/>
                  </a:lnTo>
                  <a:lnTo>
                    <a:pt x="424" y="155"/>
                  </a:lnTo>
                  <a:lnTo>
                    <a:pt x="424" y="157"/>
                  </a:lnTo>
                  <a:lnTo>
                    <a:pt x="420" y="157"/>
                  </a:lnTo>
                  <a:lnTo>
                    <a:pt x="417" y="155"/>
                  </a:lnTo>
                  <a:lnTo>
                    <a:pt x="412" y="155"/>
                  </a:lnTo>
                  <a:lnTo>
                    <a:pt x="401" y="155"/>
                  </a:lnTo>
                  <a:lnTo>
                    <a:pt x="392" y="154"/>
                  </a:lnTo>
                  <a:lnTo>
                    <a:pt x="382" y="154"/>
                  </a:lnTo>
                  <a:lnTo>
                    <a:pt x="374" y="155"/>
                  </a:lnTo>
                  <a:lnTo>
                    <a:pt x="370" y="157"/>
                  </a:lnTo>
                  <a:lnTo>
                    <a:pt x="367" y="157"/>
                  </a:lnTo>
                  <a:lnTo>
                    <a:pt x="363" y="160"/>
                  </a:lnTo>
                  <a:lnTo>
                    <a:pt x="363" y="163"/>
                  </a:lnTo>
                  <a:lnTo>
                    <a:pt x="362" y="166"/>
                  </a:lnTo>
                  <a:lnTo>
                    <a:pt x="362" y="166"/>
                  </a:lnTo>
                  <a:lnTo>
                    <a:pt x="354" y="170"/>
                  </a:lnTo>
                  <a:lnTo>
                    <a:pt x="346" y="173"/>
                  </a:lnTo>
                  <a:lnTo>
                    <a:pt x="343" y="173"/>
                  </a:lnTo>
                  <a:lnTo>
                    <a:pt x="340" y="173"/>
                  </a:lnTo>
                  <a:lnTo>
                    <a:pt x="335" y="173"/>
                  </a:lnTo>
                  <a:lnTo>
                    <a:pt x="332" y="176"/>
                  </a:lnTo>
                  <a:lnTo>
                    <a:pt x="332" y="179"/>
                  </a:lnTo>
                  <a:lnTo>
                    <a:pt x="332" y="182"/>
                  </a:lnTo>
                  <a:lnTo>
                    <a:pt x="335" y="184"/>
                  </a:lnTo>
                  <a:lnTo>
                    <a:pt x="333" y="189"/>
                  </a:lnTo>
                  <a:lnTo>
                    <a:pt x="333" y="192"/>
                  </a:lnTo>
                  <a:lnTo>
                    <a:pt x="333" y="195"/>
                  </a:lnTo>
                  <a:lnTo>
                    <a:pt x="336" y="197"/>
                  </a:lnTo>
                  <a:lnTo>
                    <a:pt x="340" y="200"/>
                  </a:lnTo>
                  <a:lnTo>
                    <a:pt x="336" y="203"/>
                  </a:lnTo>
                  <a:lnTo>
                    <a:pt x="333" y="203"/>
                  </a:lnTo>
                  <a:lnTo>
                    <a:pt x="328" y="204"/>
                  </a:lnTo>
                  <a:lnTo>
                    <a:pt x="325" y="204"/>
                  </a:lnTo>
                  <a:lnTo>
                    <a:pt x="322" y="208"/>
                  </a:lnTo>
                  <a:lnTo>
                    <a:pt x="319" y="211"/>
                  </a:lnTo>
                  <a:lnTo>
                    <a:pt x="317" y="211"/>
                  </a:lnTo>
                  <a:lnTo>
                    <a:pt x="317" y="212"/>
                  </a:lnTo>
                  <a:lnTo>
                    <a:pt x="313" y="214"/>
                  </a:lnTo>
                  <a:lnTo>
                    <a:pt x="309" y="216"/>
                  </a:lnTo>
                  <a:lnTo>
                    <a:pt x="309" y="216"/>
                  </a:lnTo>
                  <a:lnTo>
                    <a:pt x="306" y="216"/>
                  </a:lnTo>
                  <a:lnTo>
                    <a:pt x="303" y="217"/>
                  </a:lnTo>
                  <a:lnTo>
                    <a:pt x="300" y="219"/>
                  </a:lnTo>
                  <a:lnTo>
                    <a:pt x="295" y="220"/>
                  </a:lnTo>
                  <a:lnTo>
                    <a:pt x="292" y="222"/>
                  </a:lnTo>
                  <a:lnTo>
                    <a:pt x="290" y="225"/>
                  </a:lnTo>
                  <a:lnTo>
                    <a:pt x="286" y="231"/>
                  </a:lnTo>
                  <a:lnTo>
                    <a:pt x="281" y="238"/>
                  </a:lnTo>
                  <a:lnTo>
                    <a:pt x="275" y="243"/>
                  </a:lnTo>
                  <a:lnTo>
                    <a:pt x="268" y="246"/>
                  </a:lnTo>
                  <a:lnTo>
                    <a:pt x="265" y="247"/>
                  </a:lnTo>
                  <a:lnTo>
                    <a:pt x="262" y="247"/>
                  </a:lnTo>
                  <a:lnTo>
                    <a:pt x="254" y="249"/>
                  </a:lnTo>
                  <a:lnTo>
                    <a:pt x="249" y="249"/>
                  </a:lnTo>
                  <a:lnTo>
                    <a:pt x="240" y="250"/>
                  </a:lnTo>
                  <a:lnTo>
                    <a:pt x="236" y="254"/>
                  </a:lnTo>
                  <a:lnTo>
                    <a:pt x="236" y="257"/>
                  </a:lnTo>
                  <a:lnTo>
                    <a:pt x="233" y="260"/>
                  </a:lnTo>
                  <a:lnTo>
                    <a:pt x="229" y="260"/>
                  </a:lnTo>
                  <a:lnTo>
                    <a:pt x="225" y="258"/>
                  </a:lnTo>
                  <a:lnTo>
                    <a:pt x="222" y="258"/>
                  </a:lnTo>
                  <a:lnTo>
                    <a:pt x="219" y="257"/>
                  </a:lnTo>
                  <a:lnTo>
                    <a:pt x="216" y="257"/>
                  </a:lnTo>
                  <a:lnTo>
                    <a:pt x="211" y="258"/>
                  </a:lnTo>
                  <a:lnTo>
                    <a:pt x="208" y="262"/>
                  </a:lnTo>
                  <a:lnTo>
                    <a:pt x="206" y="265"/>
                  </a:lnTo>
                  <a:lnTo>
                    <a:pt x="202" y="266"/>
                  </a:lnTo>
                  <a:lnTo>
                    <a:pt x="198" y="266"/>
                  </a:lnTo>
                  <a:lnTo>
                    <a:pt x="195" y="268"/>
                  </a:lnTo>
                  <a:lnTo>
                    <a:pt x="192" y="271"/>
                  </a:lnTo>
                  <a:lnTo>
                    <a:pt x="190" y="273"/>
                  </a:lnTo>
                  <a:lnTo>
                    <a:pt x="187" y="276"/>
                  </a:lnTo>
                  <a:lnTo>
                    <a:pt x="183" y="279"/>
                  </a:lnTo>
                  <a:lnTo>
                    <a:pt x="176" y="282"/>
                  </a:lnTo>
                  <a:lnTo>
                    <a:pt x="170" y="289"/>
                  </a:lnTo>
                  <a:lnTo>
                    <a:pt x="165" y="292"/>
                  </a:lnTo>
                  <a:lnTo>
                    <a:pt x="162" y="293"/>
                  </a:lnTo>
                  <a:lnTo>
                    <a:pt x="159" y="295"/>
                  </a:lnTo>
                  <a:lnTo>
                    <a:pt x="159" y="298"/>
                  </a:lnTo>
                  <a:lnTo>
                    <a:pt x="159" y="301"/>
                  </a:lnTo>
                  <a:lnTo>
                    <a:pt x="159" y="319"/>
                  </a:lnTo>
                  <a:lnTo>
                    <a:pt x="157" y="338"/>
                  </a:lnTo>
                  <a:lnTo>
                    <a:pt x="118" y="338"/>
                  </a:lnTo>
                  <a:lnTo>
                    <a:pt x="79" y="338"/>
                  </a:lnTo>
                  <a:lnTo>
                    <a:pt x="40" y="338"/>
                  </a:lnTo>
                  <a:lnTo>
                    <a:pt x="0" y="33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61" name="Freeform 426"/>
            <p:cNvSpPr>
              <a:spLocks/>
            </p:cNvSpPr>
            <p:nvPr/>
          </p:nvSpPr>
          <p:spPr bwMode="auto">
            <a:xfrm>
              <a:off x="5651699" y="3657774"/>
              <a:ext cx="8822" cy="8462"/>
            </a:xfrm>
            <a:custGeom>
              <a:avLst/>
              <a:gdLst>
                <a:gd name="T0" fmla="*/ 5 w 11"/>
                <a:gd name="T1" fmla="*/ 11 h 11"/>
                <a:gd name="T2" fmla="*/ 4 w 11"/>
                <a:gd name="T3" fmla="*/ 8 h 11"/>
                <a:gd name="T4" fmla="*/ 0 w 11"/>
                <a:gd name="T5" fmla="*/ 8 h 11"/>
                <a:gd name="T6" fmla="*/ 0 w 11"/>
                <a:gd name="T7" fmla="*/ 5 h 11"/>
                <a:gd name="T8" fmla="*/ 0 w 11"/>
                <a:gd name="T9" fmla="*/ 0 h 11"/>
                <a:gd name="T10" fmla="*/ 4 w 11"/>
                <a:gd name="T11" fmla="*/ 2 h 11"/>
                <a:gd name="T12" fmla="*/ 7 w 11"/>
                <a:gd name="T13" fmla="*/ 0 h 11"/>
                <a:gd name="T14" fmla="*/ 11 w 11"/>
                <a:gd name="T15" fmla="*/ 4 h 11"/>
                <a:gd name="T16" fmla="*/ 8 w 11"/>
                <a:gd name="T17" fmla="*/ 7 h 11"/>
                <a:gd name="T18" fmla="*/ 7 w 11"/>
                <a:gd name="T19" fmla="*/ 10 h 11"/>
                <a:gd name="T20" fmla="*/ 5 w 11"/>
                <a:gd name="T21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" h="11">
                  <a:moveTo>
                    <a:pt x="5" y="11"/>
                  </a:moveTo>
                  <a:lnTo>
                    <a:pt x="4" y="8"/>
                  </a:lnTo>
                  <a:lnTo>
                    <a:pt x="0" y="8"/>
                  </a:lnTo>
                  <a:lnTo>
                    <a:pt x="0" y="5"/>
                  </a:lnTo>
                  <a:lnTo>
                    <a:pt x="0" y="0"/>
                  </a:lnTo>
                  <a:lnTo>
                    <a:pt x="4" y="2"/>
                  </a:lnTo>
                  <a:lnTo>
                    <a:pt x="7" y="0"/>
                  </a:lnTo>
                  <a:lnTo>
                    <a:pt x="11" y="4"/>
                  </a:lnTo>
                  <a:lnTo>
                    <a:pt x="8" y="7"/>
                  </a:lnTo>
                  <a:lnTo>
                    <a:pt x="7" y="10"/>
                  </a:lnTo>
                  <a:lnTo>
                    <a:pt x="5" y="1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62" name="Freeform 427"/>
            <p:cNvSpPr>
              <a:spLocks/>
            </p:cNvSpPr>
            <p:nvPr/>
          </p:nvSpPr>
          <p:spPr bwMode="auto">
            <a:xfrm>
              <a:off x="4928281" y="3872712"/>
              <a:ext cx="226436" cy="238633"/>
            </a:xfrm>
            <a:custGeom>
              <a:avLst/>
              <a:gdLst>
                <a:gd name="T0" fmla="*/ 0 w 308"/>
                <a:gd name="T1" fmla="*/ 279 h 282"/>
                <a:gd name="T2" fmla="*/ 2 w 308"/>
                <a:gd name="T3" fmla="*/ 272 h 282"/>
                <a:gd name="T4" fmla="*/ 2 w 308"/>
                <a:gd name="T5" fmla="*/ 266 h 282"/>
                <a:gd name="T6" fmla="*/ 4 w 308"/>
                <a:gd name="T7" fmla="*/ 258 h 282"/>
                <a:gd name="T8" fmla="*/ 4 w 308"/>
                <a:gd name="T9" fmla="*/ 253 h 282"/>
                <a:gd name="T10" fmla="*/ 5 w 308"/>
                <a:gd name="T11" fmla="*/ 247 h 282"/>
                <a:gd name="T12" fmla="*/ 7 w 308"/>
                <a:gd name="T13" fmla="*/ 239 h 282"/>
                <a:gd name="T14" fmla="*/ 8 w 308"/>
                <a:gd name="T15" fmla="*/ 233 h 282"/>
                <a:gd name="T16" fmla="*/ 15 w 308"/>
                <a:gd name="T17" fmla="*/ 223 h 282"/>
                <a:gd name="T18" fmla="*/ 21 w 308"/>
                <a:gd name="T19" fmla="*/ 219 h 282"/>
                <a:gd name="T20" fmla="*/ 26 w 308"/>
                <a:gd name="T21" fmla="*/ 212 h 282"/>
                <a:gd name="T22" fmla="*/ 29 w 308"/>
                <a:gd name="T23" fmla="*/ 206 h 282"/>
                <a:gd name="T24" fmla="*/ 31 w 308"/>
                <a:gd name="T25" fmla="*/ 198 h 282"/>
                <a:gd name="T26" fmla="*/ 35 w 308"/>
                <a:gd name="T27" fmla="*/ 193 h 282"/>
                <a:gd name="T28" fmla="*/ 35 w 308"/>
                <a:gd name="T29" fmla="*/ 187 h 282"/>
                <a:gd name="T30" fmla="*/ 39 w 308"/>
                <a:gd name="T31" fmla="*/ 180 h 282"/>
                <a:gd name="T32" fmla="*/ 43 w 308"/>
                <a:gd name="T33" fmla="*/ 174 h 282"/>
                <a:gd name="T34" fmla="*/ 46 w 308"/>
                <a:gd name="T35" fmla="*/ 166 h 282"/>
                <a:gd name="T36" fmla="*/ 51 w 308"/>
                <a:gd name="T37" fmla="*/ 160 h 282"/>
                <a:gd name="T38" fmla="*/ 48 w 308"/>
                <a:gd name="T39" fmla="*/ 158 h 282"/>
                <a:gd name="T40" fmla="*/ 53 w 308"/>
                <a:gd name="T41" fmla="*/ 150 h 282"/>
                <a:gd name="T42" fmla="*/ 64 w 308"/>
                <a:gd name="T43" fmla="*/ 141 h 282"/>
                <a:gd name="T44" fmla="*/ 70 w 308"/>
                <a:gd name="T45" fmla="*/ 134 h 282"/>
                <a:gd name="T46" fmla="*/ 77 w 308"/>
                <a:gd name="T47" fmla="*/ 128 h 282"/>
                <a:gd name="T48" fmla="*/ 83 w 308"/>
                <a:gd name="T49" fmla="*/ 122 h 282"/>
                <a:gd name="T50" fmla="*/ 86 w 308"/>
                <a:gd name="T51" fmla="*/ 115 h 282"/>
                <a:gd name="T52" fmla="*/ 88 w 308"/>
                <a:gd name="T53" fmla="*/ 109 h 282"/>
                <a:gd name="T54" fmla="*/ 88 w 308"/>
                <a:gd name="T55" fmla="*/ 103 h 282"/>
                <a:gd name="T56" fmla="*/ 96 w 308"/>
                <a:gd name="T57" fmla="*/ 77 h 282"/>
                <a:gd name="T58" fmla="*/ 100 w 308"/>
                <a:gd name="T59" fmla="*/ 71 h 282"/>
                <a:gd name="T60" fmla="*/ 102 w 308"/>
                <a:gd name="T61" fmla="*/ 66 h 282"/>
                <a:gd name="T62" fmla="*/ 104 w 308"/>
                <a:gd name="T63" fmla="*/ 58 h 282"/>
                <a:gd name="T64" fmla="*/ 110 w 308"/>
                <a:gd name="T65" fmla="*/ 54 h 282"/>
                <a:gd name="T66" fmla="*/ 116 w 308"/>
                <a:gd name="T67" fmla="*/ 50 h 282"/>
                <a:gd name="T68" fmla="*/ 124 w 308"/>
                <a:gd name="T69" fmla="*/ 46 h 282"/>
                <a:gd name="T70" fmla="*/ 134 w 308"/>
                <a:gd name="T71" fmla="*/ 39 h 282"/>
                <a:gd name="T72" fmla="*/ 140 w 308"/>
                <a:gd name="T73" fmla="*/ 28 h 282"/>
                <a:gd name="T74" fmla="*/ 146 w 308"/>
                <a:gd name="T75" fmla="*/ 11 h 282"/>
                <a:gd name="T76" fmla="*/ 191 w 308"/>
                <a:gd name="T77" fmla="*/ 0 h 282"/>
                <a:gd name="T78" fmla="*/ 269 w 308"/>
                <a:gd name="T79" fmla="*/ 0 h 282"/>
                <a:gd name="T80" fmla="*/ 308 w 308"/>
                <a:gd name="T81" fmla="*/ 17 h 282"/>
                <a:gd name="T82" fmla="*/ 307 w 308"/>
                <a:gd name="T83" fmla="*/ 50 h 282"/>
                <a:gd name="T84" fmla="*/ 276 w 308"/>
                <a:gd name="T85" fmla="*/ 68 h 282"/>
                <a:gd name="T86" fmla="*/ 218 w 308"/>
                <a:gd name="T87" fmla="*/ 68 h 282"/>
                <a:gd name="T88" fmla="*/ 188 w 308"/>
                <a:gd name="T89" fmla="*/ 93 h 282"/>
                <a:gd name="T90" fmla="*/ 186 w 308"/>
                <a:gd name="T91" fmla="*/ 146 h 282"/>
                <a:gd name="T92" fmla="*/ 175 w 308"/>
                <a:gd name="T93" fmla="*/ 176 h 282"/>
                <a:gd name="T94" fmla="*/ 162 w 308"/>
                <a:gd name="T95" fmla="*/ 179 h 282"/>
                <a:gd name="T96" fmla="*/ 150 w 308"/>
                <a:gd name="T97" fmla="*/ 190 h 282"/>
                <a:gd name="T98" fmla="*/ 143 w 308"/>
                <a:gd name="T99" fmla="*/ 196 h 282"/>
                <a:gd name="T100" fmla="*/ 145 w 308"/>
                <a:gd name="T101" fmla="*/ 219 h 282"/>
                <a:gd name="T102" fmla="*/ 146 w 308"/>
                <a:gd name="T103" fmla="*/ 258 h 282"/>
                <a:gd name="T104" fmla="*/ 105 w 308"/>
                <a:gd name="T105" fmla="*/ 258 h 282"/>
                <a:gd name="T106" fmla="*/ 64 w 308"/>
                <a:gd name="T107" fmla="*/ 258 h 282"/>
                <a:gd name="T108" fmla="*/ 29 w 308"/>
                <a:gd name="T109" fmla="*/ 258 h 282"/>
                <a:gd name="T110" fmla="*/ 5 w 308"/>
                <a:gd name="T111" fmla="*/ 260 h 282"/>
                <a:gd name="T112" fmla="*/ 2 w 308"/>
                <a:gd name="T113" fmla="*/ 282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08" h="282">
                  <a:moveTo>
                    <a:pt x="2" y="282"/>
                  </a:moveTo>
                  <a:lnTo>
                    <a:pt x="0" y="279"/>
                  </a:lnTo>
                  <a:lnTo>
                    <a:pt x="0" y="276"/>
                  </a:lnTo>
                  <a:lnTo>
                    <a:pt x="2" y="272"/>
                  </a:lnTo>
                  <a:lnTo>
                    <a:pt x="2" y="269"/>
                  </a:lnTo>
                  <a:lnTo>
                    <a:pt x="2" y="266"/>
                  </a:lnTo>
                  <a:lnTo>
                    <a:pt x="4" y="263"/>
                  </a:lnTo>
                  <a:lnTo>
                    <a:pt x="4" y="258"/>
                  </a:lnTo>
                  <a:lnTo>
                    <a:pt x="4" y="258"/>
                  </a:lnTo>
                  <a:lnTo>
                    <a:pt x="4" y="253"/>
                  </a:lnTo>
                  <a:lnTo>
                    <a:pt x="5" y="250"/>
                  </a:lnTo>
                  <a:lnTo>
                    <a:pt x="5" y="247"/>
                  </a:lnTo>
                  <a:lnTo>
                    <a:pt x="7" y="244"/>
                  </a:lnTo>
                  <a:lnTo>
                    <a:pt x="7" y="239"/>
                  </a:lnTo>
                  <a:lnTo>
                    <a:pt x="7" y="236"/>
                  </a:lnTo>
                  <a:lnTo>
                    <a:pt x="8" y="233"/>
                  </a:lnTo>
                  <a:lnTo>
                    <a:pt x="12" y="226"/>
                  </a:lnTo>
                  <a:lnTo>
                    <a:pt x="15" y="223"/>
                  </a:lnTo>
                  <a:lnTo>
                    <a:pt x="18" y="219"/>
                  </a:lnTo>
                  <a:lnTo>
                    <a:pt x="21" y="219"/>
                  </a:lnTo>
                  <a:lnTo>
                    <a:pt x="26" y="215"/>
                  </a:lnTo>
                  <a:lnTo>
                    <a:pt x="26" y="212"/>
                  </a:lnTo>
                  <a:lnTo>
                    <a:pt x="27" y="209"/>
                  </a:lnTo>
                  <a:lnTo>
                    <a:pt x="29" y="206"/>
                  </a:lnTo>
                  <a:lnTo>
                    <a:pt x="31" y="203"/>
                  </a:lnTo>
                  <a:lnTo>
                    <a:pt x="31" y="198"/>
                  </a:lnTo>
                  <a:lnTo>
                    <a:pt x="32" y="195"/>
                  </a:lnTo>
                  <a:lnTo>
                    <a:pt x="35" y="193"/>
                  </a:lnTo>
                  <a:lnTo>
                    <a:pt x="37" y="190"/>
                  </a:lnTo>
                  <a:lnTo>
                    <a:pt x="35" y="187"/>
                  </a:lnTo>
                  <a:lnTo>
                    <a:pt x="39" y="184"/>
                  </a:lnTo>
                  <a:lnTo>
                    <a:pt x="39" y="180"/>
                  </a:lnTo>
                  <a:lnTo>
                    <a:pt x="40" y="177"/>
                  </a:lnTo>
                  <a:lnTo>
                    <a:pt x="43" y="174"/>
                  </a:lnTo>
                  <a:lnTo>
                    <a:pt x="45" y="169"/>
                  </a:lnTo>
                  <a:lnTo>
                    <a:pt x="46" y="166"/>
                  </a:lnTo>
                  <a:lnTo>
                    <a:pt x="50" y="163"/>
                  </a:lnTo>
                  <a:lnTo>
                    <a:pt x="51" y="160"/>
                  </a:lnTo>
                  <a:lnTo>
                    <a:pt x="51" y="155"/>
                  </a:lnTo>
                  <a:lnTo>
                    <a:pt x="48" y="158"/>
                  </a:lnTo>
                  <a:lnTo>
                    <a:pt x="45" y="161"/>
                  </a:lnTo>
                  <a:lnTo>
                    <a:pt x="53" y="150"/>
                  </a:lnTo>
                  <a:lnTo>
                    <a:pt x="61" y="144"/>
                  </a:lnTo>
                  <a:lnTo>
                    <a:pt x="64" y="141"/>
                  </a:lnTo>
                  <a:lnTo>
                    <a:pt x="67" y="138"/>
                  </a:lnTo>
                  <a:lnTo>
                    <a:pt x="70" y="134"/>
                  </a:lnTo>
                  <a:lnTo>
                    <a:pt x="73" y="131"/>
                  </a:lnTo>
                  <a:lnTo>
                    <a:pt x="77" y="128"/>
                  </a:lnTo>
                  <a:lnTo>
                    <a:pt x="80" y="125"/>
                  </a:lnTo>
                  <a:lnTo>
                    <a:pt x="83" y="122"/>
                  </a:lnTo>
                  <a:lnTo>
                    <a:pt x="85" y="119"/>
                  </a:lnTo>
                  <a:lnTo>
                    <a:pt x="86" y="115"/>
                  </a:lnTo>
                  <a:lnTo>
                    <a:pt x="88" y="112"/>
                  </a:lnTo>
                  <a:lnTo>
                    <a:pt x="88" y="109"/>
                  </a:lnTo>
                  <a:lnTo>
                    <a:pt x="88" y="106"/>
                  </a:lnTo>
                  <a:lnTo>
                    <a:pt x="88" y="103"/>
                  </a:lnTo>
                  <a:lnTo>
                    <a:pt x="91" y="90"/>
                  </a:lnTo>
                  <a:lnTo>
                    <a:pt x="96" y="77"/>
                  </a:lnTo>
                  <a:lnTo>
                    <a:pt x="97" y="74"/>
                  </a:lnTo>
                  <a:lnTo>
                    <a:pt x="100" y="71"/>
                  </a:lnTo>
                  <a:lnTo>
                    <a:pt x="102" y="68"/>
                  </a:lnTo>
                  <a:lnTo>
                    <a:pt x="102" y="66"/>
                  </a:lnTo>
                  <a:lnTo>
                    <a:pt x="102" y="63"/>
                  </a:lnTo>
                  <a:lnTo>
                    <a:pt x="104" y="58"/>
                  </a:lnTo>
                  <a:lnTo>
                    <a:pt x="107" y="57"/>
                  </a:lnTo>
                  <a:lnTo>
                    <a:pt x="110" y="54"/>
                  </a:lnTo>
                  <a:lnTo>
                    <a:pt x="113" y="50"/>
                  </a:lnTo>
                  <a:lnTo>
                    <a:pt x="116" y="50"/>
                  </a:lnTo>
                  <a:lnTo>
                    <a:pt x="119" y="49"/>
                  </a:lnTo>
                  <a:lnTo>
                    <a:pt x="124" y="46"/>
                  </a:lnTo>
                  <a:lnTo>
                    <a:pt x="127" y="44"/>
                  </a:lnTo>
                  <a:lnTo>
                    <a:pt x="134" y="39"/>
                  </a:lnTo>
                  <a:lnTo>
                    <a:pt x="137" y="35"/>
                  </a:lnTo>
                  <a:lnTo>
                    <a:pt x="140" y="28"/>
                  </a:lnTo>
                  <a:lnTo>
                    <a:pt x="142" y="22"/>
                  </a:lnTo>
                  <a:lnTo>
                    <a:pt x="146" y="11"/>
                  </a:lnTo>
                  <a:lnTo>
                    <a:pt x="151" y="0"/>
                  </a:lnTo>
                  <a:lnTo>
                    <a:pt x="191" y="0"/>
                  </a:lnTo>
                  <a:lnTo>
                    <a:pt x="230" y="0"/>
                  </a:lnTo>
                  <a:lnTo>
                    <a:pt x="269" y="0"/>
                  </a:lnTo>
                  <a:lnTo>
                    <a:pt x="308" y="0"/>
                  </a:lnTo>
                  <a:lnTo>
                    <a:pt x="308" y="17"/>
                  </a:lnTo>
                  <a:lnTo>
                    <a:pt x="307" y="33"/>
                  </a:lnTo>
                  <a:lnTo>
                    <a:pt x="307" y="50"/>
                  </a:lnTo>
                  <a:lnTo>
                    <a:pt x="305" y="68"/>
                  </a:lnTo>
                  <a:lnTo>
                    <a:pt x="276" y="68"/>
                  </a:lnTo>
                  <a:lnTo>
                    <a:pt x="248" y="68"/>
                  </a:lnTo>
                  <a:lnTo>
                    <a:pt x="218" y="68"/>
                  </a:lnTo>
                  <a:lnTo>
                    <a:pt x="189" y="68"/>
                  </a:lnTo>
                  <a:lnTo>
                    <a:pt x="188" y="93"/>
                  </a:lnTo>
                  <a:lnTo>
                    <a:pt x="186" y="120"/>
                  </a:lnTo>
                  <a:lnTo>
                    <a:pt x="186" y="146"/>
                  </a:lnTo>
                  <a:lnTo>
                    <a:pt x="184" y="171"/>
                  </a:lnTo>
                  <a:lnTo>
                    <a:pt x="175" y="176"/>
                  </a:lnTo>
                  <a:lnTo>
                    <a:pt x="162" y="179"/>
                  </a:lnTo>
                  <a:lnTo>
                    <a:pt x="162" y="179"/>
                  </a:lnTo>
                  <a:lnTo>
                    <a:pt x="154" y="185"/>
                  </a:lnTo>
                  <a:lnTo>
                    <a:pt x="150" y="190"/>
                  </a:lnTo>
                  <a:lnTo>
                    <a:pt x="146" y="193"/>
                  </a:lnTo>
                  <a:lnTo>
                    <a:pt x="143" y="196"/>
                  </a:lnTo>
                  <a:lnTo>
                    <a:pt x="143" y="204"/>
                  </a:lnTo>
                  <a:lnTo>
                    <a:pt x="145" y="219"/>
                  </a:lnTo>
                  <a:lnTo>
                    <a:pt x="146" y="239"/>
                  </a:lnTo>
                  <a:lnTo>
                    <a:pt x="146" y="258"/>
                  </a:lnTo>
                  <a:lnTo>
                    <a:pt x="126" y="258"/>
                  </a:lnTo>
                  <a:lnTo>
                    <a:pt x="105" y="258"/>
                  </a:lnTo>
                  <a:lnTo>
                    <a:pt x="85" y="258"/>
                  </a:lnTo>
                  <a:lnTo>
                    <a:pt x="64" y="258"/>
                  </a:lnTo>
                  <a:lnTo>
                    <a:pt x="46" y="258"/>
                  </a:lnTo>
                  <a:lnTo>
                    <a:pt x="29" y="258"/>
                  </a:lnTo>
                  <a:lnTo>
                    <a:pt x="8" y="258"/>
                  </a:lnTo>
                  <a:lnTo>
                    <a:pt x="5" y="260"/>
                  </a:lnTo>
                  <a:lnTo>
                    <a:pt x="2" y="271"/>
                  </a:lnTo>
                  <a:lnTo>
                    <a:pt x="2" y="28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63" name="Freeform 428"/>
            <p:cNvSpPr>
              <a:spLocks/>
            </p:cNvSpPr>
            <p:nvPr/>
          </p:nvSpPr>
          <p:spPr bwMode="auto">
            <a:xfrm>
              <a:off x="5047381" y="3965796"/>
              <a:ext cx="435227" cy="512806"/>
            </a:xfrm>
            <a:custGeom>
              <a:avLst/>
              <a:gdLst>
                <a:gd name="T0" fmla="*/ 17 w 591"/>
                <a:gd name="T1" fmla="*/ 408 h 606"/>
                <a:gd name="T2" fmla="*/ 24 w 591"/>
                <a:gd name="T3" fmla="*/ 387 h 606"/>
                <a:gd name="T4" fmla="*/ 55 w 591"/>
                <a:gd name="T5" fmla="*/ 393 h 606"/>
                <a:gd name="T6" fmla="*/ 76 w 591"/>
                <a:gd name="T7" fmla="*/ 392 h 606"/>
                <a:gd name="T8" fmla="*/ 100 w 591"/>
                <a:gd name="T9" fmla="*/ 390 h 606"/>
                <a:gd name="T10" fmla="*/ 125 w 591"/>
                <a:gd name="T11" fmla="*/ 389 h 606"/>
                <a:gd name="T12" fmla="*/ 242 w 591"/>
                <a:gd name="T13" fmla="*/ 389 h 606"/>
                <a:gd name="T14" fmla="*/ 236 w 591"/>
                <a:gd name="T15" fmla="*/ 303 h 606"/>
                <a:gd name="T16" fmla="*/ 214 w 591"/>
                <a:gd name="T17" fmla="*/ 0 h 606"/>
                <a:gd name="T18" fmla="*/ 284 w 591"/>
                <a:gd name="T19" fmla="*/ 5 h 606"/>
                <a:gd name="T20" fmla="*/ 380 w 591"/>
                <a:gd name="T21" fmla="*/ 79 h 606"/>
                <a:gd name="T22" fmla="*/ 484 w 591"/>
                <a:gd name="T23" fmla="*/ 159 h 606"/>
                <a:gd name="T24" fmla="*/ 488 w 591"/>
                <a:gd name="T25" fmla="*/ 175 h 606"/>
                <a:gd name="T26" fmla="*/ 509 w 591"/>
                <a:gd name="T27" fmla="*/ 194 h 606"/>
                <a:gd name="T28" fmla="*/ 530 w 591"/>
                <a:gd name="T29" fmla="*/ 203 h 606"/>
                <a:gd name="T30" fmla="*/ 553 w 591"/>
                <a:gd name="T31" fmla="*/ 209 h 606"/>
                <a:gd name="T32" fmla="*/ 553 w 591"/>
                <a:gd name="T33" fmla="*/ 236 h 606"/>
                <a:gd name="T34" fmla="*/ 571 w 591"/>
                <a:gd name="T35" fmla="*/ 243 h 606"/>
                <a:gd name="T36" fmla="*/ 591 w 591"/>
                <a:gd name="T37" fmla="*/ 325 h 606"/>
                <a:gd name="T38" fmla="*/ 582 w 591"/>
                <a:gd name="T39" fmla="*/ 365 h 606"/>
                <a:gd name="T40" fmla="*/ 568 w 591"/>
                <a:gd name="T41" fmla="*/ 387 h 606"/>
                <a:gd name="T42" fmla="*/ 518 w 591"/>
                <a:gd name="T43" fmla="*/ 395 h 606"/>
                <a:gd name="T44" fmla="*/ 474 w 591"/>
                <a:gd name="T45" fmla="*/ 408 h 606"/>
                <a:gd name="T46" fmla="*/ 457 w 591"/>
                <a:gd name="T47" fmla="*/ 408 h 606"/>
                <a:gd name="T48" fmla="*/ 438 w 591"/>
                <a:gd name="T49" fmla="*/ 408 h 606"/>
                <a:gd name="T50" fmla="*/ 396 w 591"/>
                <a:gd name="T51" fmla="*/ 419 h 606"/>
                <a:gd name="T52" fmla="*/ 366 w 591"/>
                <a:gd name="T53" fmla="*/ 435 h 606"/>
                <a:gd name="T54" fmla="*/ 350 w 591"/>
                <a:gd name="T55" fmla="*/ 438 h 606"/>
                <a:gd name="T56" fmla="*/ 331 w 591"/>
                <a:gd name="T57" fmla="*/ 465 h 606"/>
                <a:gd name="T58" fmla="*/ 320 w 591"/>
                <a:gd name="T59" fmla="*/ 468 h 606"/>
                <a:gd name="T60" fmla="*/ 314 w 591"/>
                <a:gd name="T61" fmla="*/ 484 h 606"/>
                <a:gd name="T62" fmla="*/ 296 w 591"/>
                <a:gd name="T63" fmla="*/ 469 h 606"/>
                <a:gd name="T64" fmla="*/ 284 w 591"/>
                <a:gd name="T65" fmla="*/ 487 h 606"/>
                <a:gd name="T66" fmla="*/ 277 w 591"/>
                <a:gd name="T67" fmla="*/ 504 h 606"/>
                <a:gd name="T68" fmla="*/ 271 w 591"/>
                <a:gd name="T69" fmla="*/ 528 h 606"/>
                <a:gd name="T70" fmla="*/ 257 w 591"/>
                <a:gd name="T71" fmla="*/ 531 h 606"/>
                <a:gd name="T72" fmla="*/ 249 w 591"/>
                <a:gd name="T73" fmla="*/ 542 h 606"/>
                <a:gd name="T74" fmla="*/ 241 w 591"/>
                <a:gd name="T75" fmla="*/ 576 h 606"/>
                <a:gd name="T76" fmla="*/ 228 w 591"/>
                <a:gd name="T77" fmla="*/ 595 h 606"/>
                <a:gd name="T78" fmla="*/ 212 w 591"/>
                <a:gd name="T79" fmla="*/ 603 h 606"/>
                <a:gd name="T80" fmla="*/ 209 w 591"/>
                <a:gd name="T81" fmla="*/ 585 h 606"/>
                <a:gd name="T82" fmla="*/ 196 w 591"/>
                <a:gd name="T83" fmla="*/ 593 h 606"/>
                <a:gd name="T84" fmla="*/ 187 w 591"/>
                <a:gd name="T85" fmla="*/ 606 h 606"/>
                <a:gd name="T86" fmla="*/ 165 w 591"/>
                <a:gd name="T87" fmla="*/ 595 h 606"/>
                <a:gd name="T88" fmla="*/ 150 w 591"/>
                <a:gd name="T89" fmla="*/ 603 h 606"/>
                <a:gd name="T90" fmla="*/ 139 w 591"/>
                <a:gd name="T91" fmla="*/ 588 h 606"/>
                <a:gd name="T92" fmla="*/ 131 w 591"/>
                <a:gd name="T93" fmla="*/ 569 h 606"/>
                <a:gd name="T94" fmla="*/ 133 w 591"/>
                <a:gd name="T95" fmla="*/ 560 h 606"/>
                <a:gd name="T96" fmla="*/ 125 w 591"/>
                <a:gd name="T97" fmla="*/ 547 h 606"/>
                <a:gd name="T98" fmla="*/ 122 w 591"/>
                <a:gd name="T99" fmla="*/ 538 h 606"/>
                <a:gd name="T100" fmla="*/ 116 w 591"/>
                <a:gd name="T101" fmla="*/ 519 h 606"/>
                <a:gd name="T102" fmla="*/ 101 w 591"/>
                <a:gd name="T103" fmla="*/ 511 h 606"/>
                <a:gd name="T104" fmla="*/ 90 w 591"/>
                <a:gd name="T105" fmla="*/ 528 h 606"/>
                <a:gd name="T106" fmla="*/ 55 w 591"/>
                <a:gd name="T107" fmla="*/ 536 h 606"/>
                <a:gd name="T108" fmla="*/ 39 w 591"/>
                <a:gd name="T109" fmla="*/ 527 h 606"/>
                <a:gd name="T110" fmla="*/ 27 w 591"/>
                <a:gd name="T111" fmla="*/ 522 h 606"/>
                <a:gd name="T112" fmla="*/ 28 w 591"/>
                <a:gd name="T113" fmla="*/ 498 h 606"/>
                <a:gd name="T114" fmla="*/ 20 w 591"/>
                <a:gd name="T115" fmla="*/ 474 h 606"/>
                <a:gd name="T116" fmla="*/ 6 w 591"/>
                <a:gd name="T117" fmla="*/ 462 h 606"/>
                <a:gd name="T118" fmla="*/ 9 w 591"/>
                <a:gd name="T119" fmla="*/ 441 h 606"/>
                <a:gd name="T120" fmla="*/ 0 w 591"/>
                <a:gd name="T121" fmla="*/ 417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91" h="606">
                  <a:moveTo>
                    <a:pt x="0" y="417"/>
                  </a:moveTo>
                  <a:lnTo>
                    <a:pt x="3" y="417"/>
                  </a:lnTo>
                  <a:lnTo>
                    <a:pt x="8" y="420"/>
                  </a:lnTo>
                  <a:lnTo>
                    <a:pt x="11" y="417"/>
                  </a:lnTo>
                  <a:lnTo>
                    <a:pt x="14" y="414"/>
                  </a:lnTo>
                  <a:lnTo>
                    <a:pt x="16" y="411"/>
                  </a:lnTo>
                  <a:lnTo>
                    <a:pt x="17" y="408"/>
                  </a:lnTo>
                  <a:lnTo>
                    <a:pt x="16" y="403"/>
                  </a:lnTo>
                  <a:lnTo>
                    <a:pt x="16" y="400"/>
                  </a:lnTo>
                  <a:lnTo>
                    <a:pt x="17" y="397"/>
                  </a:lnTo>
                  <a:lnTo>
                    <a:pt x="17" y="393"/>
                  </a:lnTo>
                  <a:lnTo>
                    <a:pt x="19" y="389"/>
                  </a:lnTo>
                  <a:lnTo>
                    <a:pt x="20" y="385"/>
                  </a:lnTo>
                  <a:lnTo>
                    <a:pt x="24" y="387"/>
                  </a:lnTo>
                  <a:lnTo>
                    <a:pt x="27" y="384"/>
                  </a:lnTo>
                  <a:lnTo>
                    <a:pt x="30" y="382"/>
                  </a:lnTo>
                  <a:lnTo>
                    <a:pt x="41" y="393"/>
                  </a:lnTo>
                  <a:lnTo>
                    <a:pt x="49" y="404"/>
                  </a:lnTo>
                  <a:lnTo>
                    <a:pt x="51" y="401"/>
                  </a:lnTo>
                  <a:lnTo>
                    <a:pt x="52" y="397"/>
                  </a:lnTo>
                  <a:lnTo>
                    <a:pt x="55" y="393"/>
                  </a:lnTo>
                  <a:lnTo>
                    <a:pt x="55" y="390"/>
                  </a:lnTo>
                  <a:lnTo>
                    <a:pt x="57" y="390"/>
                  </a:lnTo>
                  <a:lnTo>
                    <a:pt x="62" y="390"/>
                  </a:lnTo>
                  <a:lnTo>
                    <a:pt x="62" y="390"/>
                  </a:lnTo>
                  <a:lnTo>
                    <a:pt x="70" y="390"/>
                  </a:lnTo>
                  <a:lnTo>
                    <a:pt x="73" y="392"/>
                  </a:lnTo>
                  <a:lnTo>
                    <a:pt x="76" y="392"/>
                  </a:lnTo>
                  <a:lnTo>
                    <a:pt x="79" y="393"/>
                  </a:lnTo>
                  <a:lnTo>
                    <a:pt x="81" y="393"/>
                  </a:lnTo>
                  <a:lnTo>
                    <a:pt x="85" y="392"/>
                  </a:lnTo>
                  <a:lnTo>
                    <a:pt x="89" y="393"/>
                  </a:lnTo>
                  <a:lnTo>
                    <a:pt x="92" y="392"/>
                  </a:lnTo>
                  <a:lnTo>
                    <a:pt x="92" y="392"/>
                  </a:lnTo>
                  <a:lnTo>
                    <a:pt x="100" y="390"/>
                  </a:lnTo>
                  <a:lnTo>
                    <a:pt x="101" y="387"/>
                  </a:lnTo>
                  <a:lnTo>
                    <a:pt x="101" y="384"/>
                  </a:lnTo>
                  <a:lnTo>
                    <a:pt x="103" y="382"/>
                  </a:lnTo>
                  <a:lnTo>
                    <a:pt x="105" y="385"/>
                  </a:lnTo>
                  <a:lnTo>
                    <a:pt x="109" y="389"/>
                  </a:lnTo>
                  <a:lnTo>
                    <a:pt x="117" y="389"/>
                  </a:lnTo>
                  <a:lnTo>
                    <a:pt x="125" y="389"/>
                  </a:lnTo>
                  <a:lnTo>
                    <a:pt x="131" y="389"/>
                  </a:lnTo>
                  <a:lnTo>
                    <a:pt x="150" y="387"/>
                  </a:lnTo>
                  <a:lnTo>
                    <a:pt x="170" y="387"/>
                  </a:lnTo>
                  <a:lnTo>
                    <a:pt x="189" y="387"/>
                  </a:lnTo>
                  <a:lnTo>
                    <a:pt x="206" y="387"/>
                  </a:lnTo>
                  <a:lnTo>
                    <a:pt x="223" y="387"/>
                  </a:lnTo>
                  <a:lnTo>
                    <a:pt x="242" y="389"/>
                  </a:lnTo>
                  <a:lnTo>
                    <a:pt x="244" y="378"/>
                  </a:lnTo>
                  <a:lnTo>
                    <a:pt x="246" y="366"/>
                  </a:lnTo>
                  <a:lnTo>
                    <a:pt x="247" y="358"/>
                  </a:lnTo>
                  <a:lnTo>
                    <a:pt x="249" y="355"/>
                  </a:lnTo>
                  <a:lnTo>
                    <a:pt x="246" y="352"/>
                  </a:lnTo>
                  <a:lnTo>
                    <a:pt x="239" y="347"/>
                  </a:lnTo>
                  <a:lnTo>
                    <a:pt x="236" y="303"/>
                  </a:lnTo>
                  <a:lnTo>
                    <a:pt x="233" y="260"/>
                  </a:lnTo>
                  <a:lnTo>
                    <a:pt x="230" y="216"/>
                  </a:lnTo>
                  <a:lnTo>
                    <a:pt x="227" y="173"/>
                  </a:lnTo>
                  <a:lnTo>
                    <a:pt x="223" y="130"/>
                  </a:lnTo>
                  <a:lnTo>
                    <a:pt x="220" y="86"/>
                  </a:lnTo>
                  <a:lnTo>
                    <a:pt x="217" y="43"/>
                  </a:lnTo>
                  <a:lnTo>
                    <a:pt x="214" y="0"/>
                  </a:lnTo>
                  <a:lnTo>
                    <a:pt x="233" y="0"/>
                  </a:lnTo>
                  <a:lnTo>
                    <a:pt x="250" y="0"/>
                  </a:lnTo>
                  <a:lnTo>
                    <a:pt x="260" y="0"/>
                  </a:lnTo>
                  <a:lnTo>
                    <a:pt x="269" y="0"/>
                  </a:lnTo>
                  <a:lnTo>
                    <a:pt x="276" y="0"/>
                  </a:lnTo>
                  <a:lnTo>
                    <a:pt x="279" y="2"/>
                  </a:lnTo>
                  <a:lnTo>
                    <a:pt x="284" y="5"/>
                  </a:lnTo>
                  <a:lnTo>
                    <a:pt x="287" y="8"/>
                  </a:lnTo>
                  <a:lnTo>
                    <a:pt x="290" y="10"/>
                  </a:lnTo>
                  <a:lnTo>
                    <a:pt x="309" y="24"/>
                  </a:lnTo>
                  <a:lnTo>
                    <a:pt x="327" y="38"/>
                  </a:lnTo>
                  <a:lnTo>
                    <a:pt x="344" y="51"/>
                  </a:lnTo>
                  <a:lnTo>
                    <a:pt x="361" y="65"/>
                  </a:lnTo>
                  <a:lnTo>
                    <a:pt x="380" y="79"/>
                  </a:lnTo>
                  <a:lnTo>
                    <a:pt x="399" y="94"/>
                  </a:lnTo>
                  <a:lnTo>
                    <a:pt x="417" y="110"/>
                  </a:lnTo>
                  <a:lnTo>
                    <a:pt x="436" y="124"/>
                  </a:lnTo>
                  <a:lnTo>
                    <a:pt x="452" y="135"/>
                  </a:lnTo>
                  <a:lnTo>
                    <a:pt x="468" y="148"/>
                  </a:lnTo>
                  <a:lnTo>
                    <a:pt x="476" y="152"/>
                  </a:lnTo>
                  <a:lnTo>
                    <a:pt x="484" y="159"/>
                  </a:lnTo>
                  <a:lnTo>
                    <a:pt x="484" y="162"/>
                  </a:lnTo>
                  <a:lnTo>
                    <a:pt x="484" y="163"/>
                  </a:lnTo>
                  <a:lnTo>
                    <a:pt x="484" y="167"/>
                  </a:lnTo>
                  <a:lnTo>
                    <a:pt x="484" y="170"/>
                  </a:lnTo>
                  <a:lnTo>
                    <a:pt x="484" y="175"/>
                  </a:lnTo>
                  <a:lnTo>
                    <a:pt x="488" y="173"/>
                  </a:lnTo>
                  <a:lnTo>
                    <a:pt x="488" y="175"/>
                  </a:lnTo>
                  <a:lnTo>
                    <a:pt x="493" y="178"/>
                  </a:lnTo>
                  <a:lnTo>
                    <a:pt x="496" y="179"/>
                  </a:lnTo>
                  <a:lnTo>
                    <a:pt x="499" y="181"/>
                  </a:lnTo>
                  <a:lnTo>
                    <a:pt x="501" y="184"/>
                  </a:lnTo>
                  <a:lnTo>
                    <a:pt x="503" y="187"/>
                  </a:lnTo>
                  <a:lnTo>
                    <a:pt x="506" y="192"/>
                  </a:lnTo>
                  <a:lnTo>
                    <a:pt x="509" y="194"/>
                  </a:lnTo>
                  <a:lnTo>
                    <a:pt x="512" y="194"/>
                  </a:lnTo>
                  <a:lnTo>
                    <a:pt x="515" y="195"/>
                  </a:lnTo>
                  <a:lnTo>
                    <a:pt x="520" y="192"/>
                  </a:lnTo>
                  <a:lnTo>
                    <a:pt x="525" y="197"/>
                  </a:lnTo>
                  <a:lnTo>
                    <a:pt x="526" y="200"/>
                  </a:lnTo>
                  <a:lnTo>
                    <a:pt x="526" y="201"/>
                  </a:lnTo>
                  <a:lnTo>
                    <a:pt x="530" y="203"/>
                  </a:lnTo>
                  <a:lnTo>
                    <a:pt x="533" y="203"/>
                  </a:lnTo>
                  <a:lnTo>
                    <a:pt x="537" y="205"/>
                  </a:lnTo>
                  <a:lnTo>
                    <a:pt x="539" y="205"/>
                  </a:lnTo>
                  <a:lnTo>
                    <a:pt x="544" y="206"/>
                  </a:lnTo>
                  <a:lnTo>
                    <a:pt x="547" y="206"/>
                  </a:lnTo>
                  <a:lnTo>
                    <a:pt x="549" y="208"/>
                  </a:lnTo>
                  <a:lnTo>
                    <a:pt x="553" y="209"/>
                  </a:lnTo>
                  <a:lnTo>
                    <a:pt x="557" y="211"/>
                  </a:lnTo>
                  <a:lnTo>
                    <a:pt x="555" y="217"/>
                  </a:lnTo>
                  <a:lnTo>
                    <a:pt x="555" y="221"/>
                  </a:lnTo>
                  <a:lnTo>
                    <a:pt x="555" y="224"/>
                  </a:lnTo>
                  <a:lnTo>
                    <a:pt x="558" y="230"/>
                  </a:lnTo>
                  <a:lnTo>
                    <a:pt x="555" y="233"/>
                  </a:lnTo>
                  <a:lnTo>
                    <a:pt x="553" y="236"/>
                  </a:lnTo>
                  <a:lnTo>
                    <a:pt x="552" y="240"/>
                  </a:lnTo>
                  <a:lnTo>
                    <a:pt x="557" y="243"/>
                  </a:lnTo>
                  <a:lnTo>
                    <a:pt x="560" y="246"/>
                  </a:lnTo>
                  <a:lnTo>
                    <a:pt x="560" y="246"/>
                  </a:lnTo>
                  <a:lnTo>
                    <a:pt x="563" y="244"/>
                  </a:lnTo>
                  <a:lnTo>
                    <a:pt x="568" y="244"/>
                  </a:lnTo>
                  <a:lnTo>
                    <a:pt x="571" y="243"/>
                  </a:lnTo>
                  <a:lnTo>
                    <a:pt x="582" y="241"/>
                  </a:lnTo>
                  <a:lnTo>
                    <a:pt x="591" y="240"/>
                  </a:lnTo>
                  <a:lnTo>
                    <a:pt x="591" y="259"/>
                  </a:lnTo>
                  <a:lnTo>
                    <a:pt x="591" y="278"/>
                  </a:lnTo>
                  <a:lnTo>
                    <a:pt x="591" y="297"/>
                  </a:lnTo>
                  <a:lnTo>
                    <a:pt x="591" y="314"/>
                  </a:lnTo>
                  <a:lnTo>
                    <a:pt x="591" y="325"/>
                  </a:lnTo>
                  <a:lnTo>
                    <a:pt x="590" y="336"/>
                  </a:lnTo>
                  <a:lnTo>
                    <a:pt x="590" y="351"/>
                  </a:lnTo>
                  <a:lnTo>
                    <a:pt x="588" y="352"/>
                  </a:lnTo>
                  <a:lnTo>
                    <a:pt x="585" y="355"/>
                  </a:lnTo>
                  <a:lnTo>
                    <a:pt x="583" y="358"/>
                  </a:lnTo>
                  <a:lnTo>
                    <a:pt x="582" y="362"/>
                  </a:lnTo>
                  <a:lnTo>
                    <a:pt x="582" y="365"/>
                  </a:lnTo>
                  <a:lnTo>
                    <a:pt x="580" y="370"/>
                  </a:lnTo>
                  <a:lnTo>
                    <a:pt x="579" y="373"/>
                  </a:lnTo>
                  <a:lnTo>
                    <a:pt x="579" y="376"/>
                  </a:lnTo>
                  <a:lnTo>
                    <a:pt x="577" y="379"/>
                  </a:lnTo>
                  <a:lnTo>
                    <a:pt x="574" y="381"/>
                  </a:lnTo>
                  <a:lnTo>
                    <a:pt x="571" y="384"/>
                  </a:lnTo>
                  <a:lnTo>
                    <a:pt x="568" y="387"/>
                  </a:lnTo>
                  <a:lnTo>
                    <a:pt x="566" y="390"/>
                  </a:lnTo>
                  <a:lnTo>
                    <a:pt x="564" y="393"/>
                  </a:lnTo>
                  <a:lnTo>
                    <a:pt x="557" y="392"/>
                  </a:lnTo>
                  <a:lnTo>
                    <a:pt x="547" y="390"/>
                  </a:lnTo>
                  <a:lnTo>
                    <a:pt x="545" y="395"/>
                  </a:lnTo>
                  <a:lnTo>
                    <a:pt x="533" y="395"/>
                  </a:lnTo>
                  <a:lnTo>
                    <a:pt x="518" y="395"/>
                  </a:lnTo>
                  <a:lnTo>
                    <a:pt x="504" y="395"/>
                  </a:lnTo>
                  <a:lnTo>
                    <a:pt x="490" y="397"/>
                  </a:lnTo>
                  <a:lnTo>
                    <a:pt x="485" y="397"/>
                  </a:lnTo>
                  <a:lnTo>
                    <a:pt x="485" y="398"/>
                  </a:lnTo>
                  <a:lnTo>
                    <a:pt x="482" y="401"/>
                  </a:lnTo>
                  <a:lnTo>
                    <a:pt x="479" y="404"/>
                  </a:lnTo>
                  <a:lnTo>
                    <a:pt x="474" y="408"/>
                  </a:lnTo>
                  <a:lnTo>
                    <a:pt x="472" y="409"/>
                  </a:lnTo>
                  <a:lnTo>
                    <a:pt x="469" y="409"/>
                  </a:lnTo>
                  <a:lnTo>
                    <a:pt x="465" y="409"/>
                  </a:lnTo>
                  <a:lnTo>
                    <a:pt x="465" y="411"/>
                  </a:lnTo>
                  <a:lnTo>
                    <a:pt x="461" y="409"/>
                  </a:lnTo>
                  <a:lnTo>
                    <a:pt x="457" y="408"/>
                  </a:lnTo>
                  <a:lnTo>
                    <a:pt x="457" y="408"/>
                  </a:lnTo>
                  <a:lnTo>
                    <a:pt x="453" y="409"/>
                  </a:lnTo>
                  <a:lnTo>
                    <a:pt x="450" y="409"/>
                  </a:lnTo>
                  <a:lnTo>
                    <a:pt x="447" y="408"/>
                  </a:lnTo>
                  <a:lnTo>
                    <a:pt x="447" y="408"/>
                  </a:lnTo>
                  <a:lnTo>
                    <a:pt x="447" y="412"/>
                  </a:lnTo>
                  <a:lnTo>
                    <a:pt x="439" y="409"/>
                  </a:lnTo>
                  <a:lnTo>
                    <a:pt x="438" y="408"/>
                  </a:lnTo>
                  <a:lnTo>
                    <a:pt x="430" y="406"/>
                  </a:lnTo>
                  <a:lnTo>
                    <a:pt x="425" y="408"/>
                  </a:lnTo>
                  <a:lnTo>
                    <a:pt x="420" y="404"/>
                  </a:lnTo>
                  <a:lnTo>
                    <a:pt x="412" y="404"/>
                  </a:lnTo>
                  <a:lnTo>
                    <a:pt x="401" y="417"/>
                  </a:lnTo>
                  <a:lnTo>
                    <a:pt x="401" y="417"/>
                  </a:lnTo>
                  <a:lnTo>
                    <a:pt x="396" y="419"/>
                  </a:lnTo>
                  <a:lnTo>
                    <a:pt x="393" y="419"/>
                  </a:lnTo>
                  <a:lnTo>
                    <a:pt x="390" y="420"/>
                  </a:lnTo>
                  <a:lnTo>
                    <a:pt x="385" y="424"/>
                  </a:lnTo>
                  <a:lnTo>
                    <a:pt x="379" y="428"/>
                  </a:lnTo>
                  <a:lnTo>
                    <a:pt x="374" y="430"/>
                  </a:lnTo>
                  <a:lnTo>
                    <a:pt x="368" y="433"/>
                  </a:lnTo>
                  <a:lnTo>
                    <a:pt x="366" y="435"/>
                  </a:lnTo>
                  <a:lnTo>
                    <a:pt x="366" y="438"/>
                  </a:lnTo>
                  <a:lnTo>
                    <a:pt x="366" y="441"/>
                  </a:lnTo>
                  <a:lnTo>
                    <a:pt x="363" y="443"/>
                  </a:lnTo>
                  <a:lnTo>
                    <a:pt x="361" y="443"/>
                  </a:lnTo>
                  <a:lnTo>
                    <a:pt x="358" y="441"/>
                  </a:lnTo>
                  <a:lnTo>
                    <a:pt x="355" y="439"/>
                  </a:lnTo>
                  <a:lnTo>
                    <a:pt x="350" y="438"/>
                  </a:lnTo>
                  <a:lnTo>
                    <a:pt x="347" y="439"/>
                  </a:lnTo>
                  <a:lnTo>
                    <a:pt x="344" y="443"/>
                  </a:lnTo>
                  <a:lnTo>
                    <a:pt x="338" y="447"/>
                  </a:lnTo>
                  <a:lnTo>
                    <a:pt x="334" y="454"/>
                  </a:lnTo>
                  <a:lnTo>
                    <a:pt x="334" y="458"/>
                  </a:lnTo>
                  <a:lnTo>
                    <a:pt x="333" y="465"/>
                  </a:lnTo>
                  <a:lnTo>
                    <a:pt x="331" y="465"/>
                  </a:lnTo>
                  <a:lnTo>
                    <a:pt x="330" y="463"/>
                  </a:lnTo>
                  <a:lnTo>
                    <a:pt x="327" y="462"/>
                  </a:lnTo>
                  <a:lnTo>
                    <a:pt x="323" y="462"/>
                  </a:lnTo>
                  <a:lnTo>
                    <a:pt x="320" y="462"/>
                  </a:lnTo>
                  <a:lnTo>
                    <a:pt x="322" y="462"/>
                  </a:lnTo>
                  <a:lnTo>
                    <a:pt x="322" y="465"/>
                  </a:lnTo>
                  <a:lnTo>
                    <a:pt x="320" y="468"/>
                  </a:lnTo>
                  <a:lnTo>
                    <a:pt x="322" y="471"/>
                  </a:lnTo>
                  <a:lnTo>
                    <a:pt x="322" y="474"/>
                  </a:lnTo>
                  <a:lnTo>
                    <a:pt x="322" y="479"/>
                  </a:lnTo>
                  <a:lnTo>
                    <a:pt x="319" y="479"/>
                  </a:lnTo>
                  <a:lnTo>
                    <a:pt x="314" y="479"/>
                  </a:lnTo>
                  <a:lnTo>
                    <a:pt x="315" y="481"/>
                  </a:lnTo>
                  <a:lnTo>
                    <a:pt x="314" y="484"/>
                  </a:lnTo>
                  <a:lnTo>
                    <a:pt x="312" y="482"/>
                  </a:lnTo>
                  <a:lnTo>
                    <a:pt x="309" y="482"/>
                  </a:lnTo>
                  <a:lnTo>
                    <a:pt x="306" y="479"/>
                  </a:lnTo>
                  <a:lnTo>
                    <a:pt x="303" y="476"/>
                  </a:lnTo>
                  <a:lnTo>
                    <a:pt x="300" y="476"/>
                  </a:lnTo>
                  <a:lnTo>
                    <a:pt x="296" y="473"/>
                  </a:lnTo>
                  <a:lnTo>
                    <a:pt x="296" y="469"/>
                  </a:lnTo>
                  <a:lnTo>
                    <a:pt x="293" y="473"/>
                  </a:lnTo>
                  <a:lnTo>
                    <a:pt x="290" y="476"/>
                  </a:lnTo>
                  <a:lnTo>
                    <a:pt x="287" y="479"/>
                  </a:lnTo>
                  <a:lnTo>
                    <a:pt x="287" y="482"/>
                  </a:lnTo>
                  <a:lnTo>
                    <a:pt x="284" y="484"/>
                  </a:lnTo>
                  <a:lnTo>
                    <a:pt x="284" y="487"/>
                  </a:lnTo>
                  <a:lnTo>
                    <a:pt x="284" y="487"/>
                  </a:lnTo>
                  <a:lnTo>
                    <a:pt x="287" y="492"/>
                  </a:lnTo>
                  <a:lnTo>
                    <a:pt x="287" y="495"/>
                  </a:lnTo>
                  <a:lnTo>
                    <a:pt x="287" y="498"/>
                  </a:lnTo>
                  <a:lnTo>
                    <a:pt x="285" y="501"/>
                  </a:lnTo>
                  <a:lnTo>
                    <a:pt x="281" y="501"/>
                  </a:lnTo>
                  <a:lnTo>
                    <a:pt x="277" y="501"/>
                  </a:lnTo>
                  <a:lnTo>
                    <a:pt x="277" y="504"/>
                  </a:lnTo>
                  <a:lnTo>
                    <a:pt x="281" y="508"/>
                  </a:lnTo>
                  <a:lnTo>
                    <a:pt x="279" y="511"/>
                  </a:lnTo>
                  <a:lnTo>
                    <a:pt x="279" y="514"/>
                  </a:lnTo>
                  <a:lnTo>
                    <a:pt x="277" y="519"/>
                  </a:lnTo>
                  <a:lnTo>
                    <a:pt x="274" y="522"/>
                  </a:lnTo>
                  <a:lnTo>
                    <a:pt x="274" y="525"/>
                  </a:lnTo>
                  <a:lnTo>
                    <a:pt x="271" y="528"/>
                  </a:lnTo>
                  <a:lnTo>
                    <a:pt x="269" y="528"/>
                  </a:lnTo>
                  <a:lnTo>
                    <a:pt x="269" y="528"/>
                  </a:lnTo>
                  <a:lnTo>
                    <a:pt x="266" y="531"/>
                  </a:lnTo>
                  <a:lnTo>
                    <a:pt x="263" y="531"/>
                  </a:lnTo>
                  <a:lnTo>
                    <a:pt x="258" y="531"/>
                  </a:lnTo>
                  <a:lnTo>
                    <a:pt x="258" y="531"/>
                  </a:lnTo>
                  <a:lnTo>
                    <a:pt x="257" y="531"/>
                  </a:lnTo>
                  <a:lnTo>
                    <a:pt x="254" y="533"/>
                  </a:lnTo>
                  <a:lnTo>
                    <a:pt x="250" y="536"/>
                  </a:lnTo>
                  <a:lnTo>
                    <a:pt x="247" y="538"/>
                  </a:lnTo>
                  <a:lnTo>
                    <a:pt x="244" y="538"/>
                  </a:lnTo>
                  <a:lnTo>
                    <a:pt x="244" y="539"/>
                  </a:lnTo>
                  <a:lnTo>
                    <a:pt x="247" y="539"/>
                  </a:lnTo>
                  <a:lnTo>
                    <a:pt x="249" y="542"/>
                  </a:lnTo>
                  <a:lnTo>
                    <a:pt x="247" y="547"/>
                  </a:lnTo>
                  <a:lnTo>
                    <a:pt x="250" y="550"/>
                  </a:lnTo>
                  <a:lnTo>
                    <a:pt x="249" y="558"/>
                  </a:lnTo>
                  <a:lnTo>
                    <a:pt x="246" y="568"/>
                  </a:lnTo>
                  <a:lnTo>
                    <a:pt x="244" y="568"/>
                  </a:lnTo>
                  <a:lnTo>
                    <a:pt x="239" y="569"/>
                  </a:lnTo>
                  <a:lnTo>
                    <a:pt x="241" y="576"/>
                  </a:lnTo>
                  <a:lnTo>
                    <a:pt x="241" y="582"/>
                  </a:lnTo>
                  <a:lnTo>
                    <a:pt x="239" y="588"/>
                  </a:lnTo>
                  <a:lnTo>
                    <a:pt x="238" y="595"/>
                  </a:lnTo>
                  <a:lnTo>
                    <a:pt x="235" y="595"/>
                  </a:lnTo>
                  <a:lnTo>
                    <a:pt x="235" y="595"/>
                  </a:lnTo>
                  <a:lnTo>
                    <a:pt x="230" y="595"/>
                  </a:lnTo>
                  <a:lnTo>
                    <a:pt x="228" y="595"/>
                  </a:lnTo>
                  <a:lnTo>
                    <a:pt x="225" y="598"/>
                  </a:lnTo>
                  <a:lnTo>
                    <a:pt x="225" y="601"/>
                  </a:lnTo>
                  <a:lnTo>
                    <a:pt x="222" y="604"/>
                  </a:lnTo>
                  <a:lnTo>
                    <a:pt x="217" y="604"/>
                  </a:lnTo>
                  <a:lnTo>
                    <a:pt x="214" y="603"/>
                  </a:lnTo>
                  <a:lnTo>
                    <a:pt x="214" y="603"/>
                  </a:lnTo>
                  <a:lnTo>
                    <a:pt x="212" y="603"/>
                  </a:lnTo>
                  <a:lnTo>
                    <a:pt x="214" y="600"/>
                  </a:lnTo>
                  <a:lnTo>
                    <a:pt x="214" y="596"/>
                  </a:lnTo>
                  <a:lnTo>
                    <a:pt x="216" y="593"/>
                  </a:lnTo>
                  <a:lnTo>
                    <a:pt x="214" y="590"/>
                  </a:lnTo>
                  <a:lnTo>
                    <a:pt x="214" y="587"/>
                  </a:lnTo>
                  <a:lnTo>
                    <a:pt x="212" y="582"/>
                  </a:lnTo>
                  <a:lnTo>
                    <a:pt x="209" y="585"/>
                  </a:lnTo>
                  <a:lnTo>
                    <a:pt x="206" y="588"/>
                  </a:lnTo>
                  <a:lnTo>
                    <a:pt x="206" y="590"/>
                  </a:lnTo>
                  <a:lnTo>
                    <a:pt x="203" y="590"/>
                  </a:lnTo>
                  <a:lnTo>
                    <a:pt x="200" y="585"/>
                  </a:lnTo>
                  <a:lnTo>
                    <a:pt x="198" y="585"/>
                  </a:lnTo>
                  <a:lnTo>
                    <a:pt x="198" y="588"/>
                  </a:lnTo>
                  <a:lnTo>
                    <a:pt x="196" y="593"/>
                  </a:lnTo>
                  <a:lnTo>
                    <a:pt x="198" y="596"/>
                  </a:lnTo>
                  <a:lnTo>
                    <a:pt x="198" y="598"/>
                  </a:lnTo>
                  <a:lnTo>
                    <a:pt x="196" y="600"/>
                  </a:lnTo>
                  <a:lnTo>
                    <a:pt x="193" y="598"/>
                  </a:lnTo>
                  <a:lnTo>
                    <a:pt x="189" y="598"/>
                  </a:lnTo>
                  <a:lnTo>
                    <a:pt x="185" y="603"/>
                  </a:lnTo>
                  <a:lnTo>
                    <a:pt x="187" y="606"/>
                  </a:lnTo>
                  <a:lnTo>
                    <a:pt x="184" y="606"/>
                  </a:lnTo>
                  <a:lnTo>
                    <a:pt x="179" y="603"/>
                  </a:lnTo>
                  <a:lnTo>
                    <a:pt x="173" y="603"/>
                  </a:lnTo>
                  <a:lnTo>
                    <a:pt x="173" y="600"/>
                  </a:lnTo>
                  <a:lnTo>
                    <a:pt x="170" y="596"/>
                  </a:lnTo>
                  <a:lnTo>
                    <a:pt x="170" y="595"/>
                  </a:lnTo>
                  <a:lnTo>
                    <a:pt x="165" y="595"/>
                  </a:lnTo>
                  <a:lnTo>
                    <a:pt x="162" y="595"/>
                  </a:lnTo>
                  <a:lnTo>
                    <a:pt x="158" y="596"/>
                  </a:lnTo>
                  <a:lnTo>
                    <a:pt x="158" y="601"/>
                  </a:lnTo>
                  <a:lnTo>
                    <a:pt x="155" y="604"/>
                  </a:lnTo>
                  <a:lnTo>
                    <a:pt x="152" y="606"/>
                  </a:lnTo>
                  <a:lnTo>
                    <a:pt x="150" y="606"/>
                  </a:lnTo>
                  <a:lnTo>
                    <a:pt x="150" y="603"/>
                  </a:lnTo>
                  <a:lnTo>
                    <a:pt x="150" y="600"/>
                  </a:lnTo>
                  <a:lnTo>
                    <a:pt x="146" y="598"/>
                  </a:lnTo>
                  <a:lnTo>
                    <a:pt x="146" y="595"/>
                  </a:lnTo>
                  <a:lnTo>
                    <a:pt x="144" y="595"/>
                  </a:lnTo>
                  <a:lnTo>
                    <a:pt x="143" y="596"/>
                  </a:lnTo>
                  <a:lnTo>
                    <a:pt x="139" y="593"/>
                  </a:lnTo>
                  <a:lnTo>
                    <a:pt x="139" y="588"/>
                  </a:lnTo>
                  <a:lnTo>
                    <a:pt x="139" y="585"/>
                  </a:lnTo>
                  <a:lnTo>
                    <a:pt x="138" y="582"/>
                  </a:lnTo>
                  <a:lnTo>
                    <a:pt x="138" y="579"/>
                  </a:lnTo>
                  <a:lnTo>
                    <a:pt x="139" y="574"/>
                  </a:lnTo>
                  <a:lnTo>
                    <a:pt x="139" y="573"/>
                  </a:lnTo>
                  <a:lnTo>
                    <a:pt x="136" y="569"/>
                  </a:lnTo>
                  <a:lnTo>
                    <a:pt x="131" y="569"/>
                  </a:lnTo>
                  <a:lnTo>
                    <a:pt x="130" y="573"/>
                  </a:lnTo>
                  <a:lnTo>
                    <a:pt x="128" y="573"/>
                  </a:lnTo>
                  <a:lnTo>
                    <a:pt x="125" y="574"/>
                  </a:lnTo>
                  <a:lnTo>
                    <a:pt x="127" y="571"/>
                  </a:lnTo>
                  <a:lnTo>
                    <a:pt x="128" y="566"/>
                  </a:lnTo>
                  <a:lnTo>
                    <a:pt x="130" y="563"/>
                  </a:lnTo>
                  <a:lnTo>
                    <a:pt x="133" y="560"/>
                  </a:lnTo>
                  <a:lnTo>
                    <a:pt x="136" y="560"/>
                  </a:lnTo>
                  <a:lnTo>
                    <a:pt x="136" y="557"/>
                  </a:lnTo>
                  <a:lnTo>
                    <a:pt x="135" y="555"/>
                  </a:lnTo>
                  <a:lnTo>
                    <a:pt x="131" y="552"/>
                  </a:lnTo>
                  <a:lnTo>
                    <a:pt x="130" y="552"/>
                  </a:lnTo>
                  <a:lnTo>
                    <a:pt x="127" y="550"/>
                  </a:lnTo>
                  <a:lnTo>
                    <a:pt x="125" y="547"/>
                  </a:lnTo>
                  <a:lnTo>
                    <a:pt x="125" y="546"/>
                  </a:lnTo>
                  <a:lnTo>
                    <a:pt x="125" y="546"/>
                  </a:lnTo>
                  <a:lnTo>
                    <a:pt x="124" y="546"/>
                  </a:lnTo>
                  <a:lnTo>
                    <a:pt x="124" y="546"/>
                  </a:lnTo>
                  <a:lnTo>
                    <a:pt x="120" y="544"/>
                  </a:lnTo>
                  <a:lnTo>
                    <a:pt x="120" y="541"/>
                  </a:lnTo>
                  <a:lnTo>
                    <a:pt x="122" y="538"/>
                  </a:lnTo>
                  <a:lnTo>
                    <a:pt x="122" y="531"/>
                  </a:lnTo>
                  <a:lnTo>
                    <a:pt x="119" y="530"/>
                  </a:lnTo>
                  <a:lnTo>
                    <a:pt x="119" y="527"/>
                  </a:lnTo>
                  <a:lnTo>
                    <a:pt x="116" y="523"/>
                  </a:lnTo>
                  <a:lnTo>
                    <a:pt x="116" y="522"/>
                  </a:lnTo>
                  <a:lnTo>
                    <a:pt x="116" y="522"/>
                  </a:lnTo>
                  <a:lnTo>
                    <a:pt x="116" y="519"/>
                  </a:lnTo>
                  <a:lnTo>
                    <a:pt x="116" y="515"/>
                  </a:lnTo>
                  <a:lnTo>
                    <a:pt x="112" y="514"/>
                  </a:lnTo>
                  <a:lnTo>
                    <a:pt x="109" y="512"/>
                  </a:lnTo>
                  <a:lnTo>
                    <a:pt x="106" y="511"/>
                  </a:lnTo>
                  <a:lnTo>
                    <a:pt x="103" y="511"/>
                  </a:lnTo>
                  <a:lnTo>
                    <a:pt x="103" y="511"/>
                  </a:lnTo>
                  <a:lnTo>
                    <a:pt x="101" y="511"/>
                  </a:lnTo>
                  <a:lnTo>
                    <a:pt x="103" y="514"/>
                  </a:lnTo>
                  <a:lnTo>
                    <a:pt x="105" y="519"/>
                  </a:lnTo>
                  <a:lnTo>
                    <a:pt x="101" y="520"/>
                  </a:lnTo>
                  <a:lnTo>
                    <a:pt x="98" y="520"/>
                  </a:lnTo>
                  <a:lnTo>
                    <a:pt x="95" y="523"/>
                  </a:lnTo>
                  <a:lnTo>
                    <a:pt x="92" y="525"/>
                  </a:lnTo>
                  <a:lnTo>
                    <a:pt x="90" y="528"/>
                  </a:lnTo>
                  <a:lnTo>
                    <a:pt x="87" y="530"/>
                  </a:lnTo>
                  <a:lnTo>
                    <a:pt x="78" y="525"/>
                  </a:lnTo>
                  <a:lnTo>
                    <a:pt x="66" y="522"/>
                  </a:lnTo>
                  <a:lnTo>
                    <a:pt x="63" y="525"/>
                  </a:lnTo>
                  <a:lnTo>
                    <a:pt x="60" y="528"/>
                  </a:lnTo>
                  <a:lnTo>
                    <a:pt x="57" y="531"/>
                  </a:lnTo>
                  <a:lnTo>
                    <a:pt x="55" y="536"/>
                  </a:lnTo>
                  <a:lnTo>
                    <a:pt x="52" y="533"/>
                  </a:lnTo>
                  <a:lnTo>
                    <a:pt x="49" y="530"/>
                  </a:lnTo>
                  <a:lnTo>
                    <a:pt x="49" y="525"/>
                  </a:lnTo>
                  <a:lnTo>
                    <a:pt x="46" y="522"/>
                  </a:lnTo>
                  <a:lnTo>
                    <a:pt x="43" y="522"/>
                  </a:lnTo>
                  <a:lnTo>
                    <a:pt x="41" y="523"/>
                  </a:lnTo>
                  <a:lnTo>
                    <a:pt x="39" y="527"/>
                  </a:lnTo>
                  <a:lnTo>
                    <a:pt x="36" y="530"/>
                  </a:lnTo>
                  <a:lnTo>
                    <a:pt x="33" y="531"/>
                  </a:lnTo>
                  <a:lnTo>
                    <a:pt x="30" y="530"/>
                  </a:lnTo>
                  <a:lnTo>
                    <a:pt x="30" y="528"/>
                  </a:lnTo>
                  <a:lnTo>
                    <a:pt x="27" y="525"/>
                  </a:lnTo>
                  <a:lnTo>
                    <a:pt x="25" y="525"/>
                  </a:lnTo>
                  <a:lnTo>
                    <a:pt x="27" y="522"/>
                  </a:lnTo>
                  <a:lnTo>
                    <a:pt x="27" y="519"/>
                  </a:lnTo>
                  <a:lnTo>
                    <a:pt x="30" y="514"/>
                  </a:lnTo>
                  <a:lnTo>
                    <a:pt x="30" y="511"/>
                  </a:lnTo>
                  <a:lnTo>
                    <a:pt x="27" y="508"/>
                  </a:lnTo>
                  <a:lnTo>
                    <a:pt x="28" y="506"/>
                  </a:lnTo>
                  <a:lnTo>
                    <a:pt x="27" y="501"/>
                  </a:lnTo>
                  <a:lnTo>
                    <a:pt x="28" y="498"/>
                  </a:lnTo>
                  <a:lnTo>
                    <a:pt x="28" y="495"/>
                  </a:lnTo>
                  <a:lnTo>
                    <a:pt x="30" y="492"/>
                  </a:lnTo>
                  <a:lnTo>
                    <a:pt x="27" y="489"/>
                  </a:lnTo>
                  <a:lnTo>
                    <a:pt x="25" y="485"/>
                  </a:lnTo>
                  <a:lnTo>
                    <a:pt x="24" y="481"/>
                  </a:lnTo>
                  <a:lnTo>
                    <a:pt x="22" y="477"/>
                  </a:lnTo>
                  <a:lnTo>
                    <a:pt x="20" y="474"/>
                  </a:lnTo>
                  <a:lnTo>
                    <a:pt x="17" y="473"/>
                  </a:lnTo>
                  <a:lnTo>
                    <a:pt x="16" y="477"/>
                  </a:lnTo>
                  <a:lnTo>
                    <a:pt x="13" y="474"/>
                  </a:lnTo>
                  <a:lnTo>
                    <a:pt x="13" y="471"/>
                  </a:lnTo>
                  <a:lnTo>
                    <a:pt x="9" y="468"/>
                  </a:lnTo>
                  <a:lnTo>
                    <a:pt x="6" y="465"/>
                  </a:lnTo>
                  <a:lnTo>
                    <a:pt x="6" y="462"/>
                  </a:lnTo>
                  <a:lnTo>
                    <a:pt x="5" y="462"/>
                  </a:lnTo>
                  <a:lnTo>
                    <a:pt x="9" y="458"/>
                  </a:lnTo>
                  <a:lnTo>
                    <a:pt x="11" y="455"/>
                  </a:lnTo>
                  <a:lnTo>
                    <a:pt x="9" y="452"/>
                  </a:lnTo>
                  <a:lnTo>
                    <a:pt x="8" y="449"/>
                  </a:lnTo>
                  <a:lnTo>
                    <a:pt x="9" y="444"/>
                  </a:lnTo>
                  <a:lnTo>
                    <a:pt x="9" y="441"/>
                  </a:lnTo>
                  <a:lnTo>
                    <a:pt x="5" y="435"/>
                  </a:lnTo>
                  <a:lnTo>
                    <a:pt x="1" y="433"/>
                  </a:lnTo>
                  <a:lnTo>
                    <a:pt x="1" y="430"/>
                  </a:lnTo>
                  <a:lnTo>
                    <a:pt x="1" y="427"/>
                  </a:lnTo>
                  <a:lnTo>
                    <a:pt x="3" y="424"/>
                  </a:lnTo>
                  <a:lnTo>
                    <a:pt x="1" y="420"/>
                  </a:lnTo>
                  <a:lnTo>
                    <a:pt x="0" y="41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64" name="Freeform 429"/>
            <p:cNvSpPr>
              <a:spLocks/>
            </p:cNvSpPr>
            <p:nvPr/>
          </p:nvSpPr>
          <p:spPr bwMode="auto">
            <a:xfrm>
              <a:off x="4910637" y="4253508"/>
              <a:ext cx="158799" cy="150626"/>
            </a:xfrm>
            <a:custGeom>
              <a:avLst/>
              <a:gdLst>
                <a:gd name="T0" fmla="*/ 8 w 217"/>
                <a:gd name="T1" fmla="*/ 75 h 180"/>
                <a:gd name="T2" fmla="*/ 33 w 217"/>
                <a:gd name="T3" fmla="*/ 43 h 180"/>
                <a:gd name="T4" fmla="*/ 38 w 217"/>
                <a:gd name="T5" fmla="*/ 23 h 180"/>
                <a:gd name="T6" fmla="*/ 50 w 217"/>
                <a:gd name="T7" fmla="*/ 7 h 180"/>
                <a:gd name="T8" fmla="*/ 66 w 217"/>
                <a:gd name="T9" fmla="*/ 8 h 180"/>
                <a:gd name="T10" fmla="*/ 92 w 217"/>
                <a:gd name="T11" fmla="*/ 0 h 180"/>
                <a:gd name="T12" fmla="*/ 106 w 217"/>
                <a:gd name="T13" fmla="*/ 2 h 180"/>
                <a:gd name="T14" fmla="*/ 123 w 217"/>
                <a:gd name="T15" fmla="*/ 12 h 180"/>
                <a:gd name="T16" fmla="*/ 138 w 217"/>
                <a:gd name="T17" fmla="*/ 21 h 180"/>
                <a:gd name="T18" fmla="*/ 150 w 217"/>
                <a:gd name="T19" fmla="*/ 32 h 180"/>
                <a:gd name="T20" fmla="*/ 157 w 217"/>
                <a:gd name="T21" fmla="*/ 48 h 180"/>
                <a:gd name="T22" fmla="*/ 168 w 217"/>
                <a:gd name="T23" fmla="*/ 62 h 180"/>
                <a:gd name="T24" fmla="*/ 179 w 217"/>
                <a:gd name="T25" fmla="*/ 69 h 180"/>
                <a:gd name="T26" fmla="*/ 187 w 217"/>
                <a:gd name="T27" fmla="*/ 78 h 180"/>
                <a:gd name="T28" fmla="*/ 188 w 217"/>
                <a:gd name="T29" fmla="*/ 94 h 180"/>
                <a:gd name="T30" fmla="*/ 196 w 217"/>
                <a:gd name="T31" fmla="*/ 113 h 180"/>
                <a:gd name="T32" fmla="*/ 193 w 217"/>
                <a:gd name="T33" fmla="*/ 126 h 180"/>
                <a:gd name="T34" fmla="*/ 204 w 217"/>
                <a:gd name="T35" fmla="*/ 134 h 180"/>
                <a:gd name="T36" fmla="*/ 214 w 217"/>
                <a:gd name="T37" fmla="*/ 150 h 180"/>
                <a:gd name="T38" fmla="*/ 215 w 217"/>
                <a:gd name="T39" fmla="*/ 167 h 180"/>
                <a:gd name="T40" fmla="*/ 209 w 217"/>
                <a:gd name="T41" fmla="*/ 175 h 180"/>
                <a:gd name="T42" fmla="*/ 192 w 217"/>
                <a:gd name="T43" fmla="*/ 175 h 180"/>
                <a:gd name="T44" fmla="*/ 182 w 217"/>
                <a:gd name="T45" fmla="*/ 180 h 180"/>
                <a:gd name="T46" fmla="*/ 166 w 217"/>
                <a:gd name="T47" fmla="*/ 173 h 180"/>
                <a:gd name="T48" fmla="*/ 157 w 217"/>
                <a:gd name="T49" fmla="*/ 167 h 180"/>
                <a:gd name="T50" fmla="*/ 88 w 217"/>
                <a:gd name="T51" fmla="*/ 164 h 180"/>
                <a:gd name="T52" fmla="*/ 55 w 217"/>
                <a:gd name="T53" fmla="*/ 173 h 180"/>
                <a:gd name="T54" fmla="*/ 39 w 217"/>
                <a:gd name="T55" fmla="*/ 175 h 180"/>
                <a:gd name="T56" fmla="*/ 25 w 217"/>
                <a:gd name="T57" fmla="*/ 180 h 180"/>
                <a:gd name="T58" fmla="*/ 30 w 217"/>
                <a:gd name="T59" fmla="*/ 167 h 180"/>
                <a:gd name="T60" fmla="*/ 49 w 217"/>
                <a:gd name="T61" fmla="*/ 167 h 180"/>
                <a:gd name="T62" fmla="*/ 63 w 217"/>
                <a:gd name="T63" fmla="*/ 170 h 180"/>
                <a:gd name="T64" fmla="*/ 71 w 217"/>
                <a:gd name="T65" fmla="*/ 157 h 180"/>
                <a:gd name="T66" fmla="*/ 58 w 217"/>
                <a:gd name="T67" fmla="*/ 167 h 180"/>
                <a:gd name="T68" fmla="*/ 47 w 217"/>
                <a:gd name="T69" fmla="*/ 167 h 180"/>
                <a:gd name="T70" fmla="*/ 31 w 217"/>
                <a:gd name="T71" fmla="*/ 165 h 180"/>
                <a:gd name="T72" fmla="*/ 27 w 217"/>
                <a:gd name="T73" fmla="*/ 167 h 180"/>
                <a:gd name="T74" fmla="*/ 22 w 217"/>
                <a:gd name="T75" fmla="*/ 159 h 180"/>
                <a:gd name="T76" fmla="*/ 27 w 217"/>
                <a:gd name="T77" fmla="*/ 145 h 180"/>
                <a:gd name="T78" fmla="*/ 65 w 217"/>
                <a:gd name="T79" fmla="*/ 137 h 180"/>
                <a:gd name="T80" fmla="*/ 81 w 217"/>
                <a:gd name="T81" fmla="*/ 132 h 180"/>
                <a:gd name="T82" fmla="*/ 93 w 217"/>
                <a:gd name="T83" fmla="*/ 134 h 180"/>
                <a:gd name="T84" fmla="*/ 109 w 217"/>
                <a:gd name="T85" fmla="*/ 142 h 180"/>
                <a:gd name="T86" fmla="*/ 125 w 217"/>
                <a:gd name="T87" fmla="*/ 138 h 180"/>
                <a:gd name="T88" fmla="*/ 123 w 217"/>
                <a:gd name="T89" fmla="*/ 127 h 180"/>
                <a:gd name="T90" fmla="*/ 106 w 217"/>
                <a:gd name="T91" fmla="*/ 129 h 180"/>
                <a:gd name="T92" fmla="*/ 93 w 217"/>
                <a:gd name="T93" fmla="*/ 119 h 180"/>
                <a:gd name="T94" fmla="*/ 76 w 217"/>
                <a:gd name="T95" fmla="*/ 119 h 180"/>
                <a:gd name="T96" fmla="*/ 31 w 217"/>
                <a:gd name="T97" fmla="*/ 127 h 180"/>
                <a:gd name="T98" fmla="*/ 35 w 217"/>
                <a:gd name="T99" fmla="*/ 119 h 180"/>
                <a:gd name="T100" fmla="*/ 31 w 217"/>
                <a:gd name="T101" fmla="*/ 116 h 180"/>
                <a:gd name="T102" fmla="*/ 31 w 217"/>
                <a:gd name="T103" fmla="*/ 110 h 180"/>
                <a:gd name="T104" fmla="*/ 36 w 217"/>
                <a:gd name="T105" fmla="*/ 104 h 180"/>
                <a:gd name="T106" fmla="*/ 27 w 217"/>
                <a:gd name="T107" fmla="*/ 110 h 180"/>
                <a:gd name="T108" fmla="*/ 20 w 217"/>
                <a:gd name="T109" fmla="*/ 104 h 180"/>
                <a:gd name="T110" fmla="*/ 12 w 217"/>
                <a:gd name="T111" fmla="*/ 88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7" h="180">
                  <a:moveTo>
                    <a:pt x="6" y="80"/>
                  </a:moveTo>
                  <a:lnTo>
                    <a:pt x="3" y="80"/>
                  </a:lnTo>
                  <a:lnTo>
                    <a:pt x="0" y="83"/>
                  </a:lnTo>
                  <a:lnTo>
                    <a:pt x="1" y="78"/>
                  </a:lnTo>
                  <a:lnTo>
                    <a:pt x="8" y="75"/>
                  </a:lnTo>
                  <a:lnTo>
                    <a:pt x="14" y="70"/>
                  </a:lnTo>
                  <a:lnTo>
                    <a:pt x="19" y="64"/>
                  </a:lnTo>
                  <a:lnTo>
                    <a:pt x="23" y="58"/>
                  </a:lnTo>
                  <a:lnTo>
                    <a:pt x="28" y="48"/>
                  </a:lnTo>
                  <a:lnTo>
                    <a:pt x="33" y="43"/>
                  </a:lnTo>
                  <a:lnTo>
                    <a:pt x="35" y="35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8" y="26"/>
                  </a:lnTo>
                  <a:lnTo>
                    <a:pt x="38" y="23"/>
                  </a:lnTo>
                  <a:lnTo>
                    <a:pt x="41" y="19"/>
                  </a:lnTo>
                  <a:lnTo>
                    <a:pt x="43" y="16"/>
                  </a:lnTo>
                  <a:lnTo>
                    <a:pt x="43" y="12"/>
                  </a:lnTo>
                  <a:lnTo>
                    <a:pt x="44" y="8"/>
                  </a:lnTo>
                  <a:lnTo>
                    <a:pt x="50" y="7"/>
                  </a:lnTo>
                  <a:lnTo>
                    <a:pt x="55" y="8"/>
                  </a:lnTo>
                  <a:lnTo>
                    <a:pt x="58" y="8"/>
                  </a:lnTo>
                  <a:lnTo>
                    <a:pt x="62" y="8"/>
                  </a:lnTo>
                  <a:lnTo>
                    <a:pt x="63" y="8"/>
                  </a:lnTo>
                  <a:lnTo>
                    <a:pt x="66" y="8"/>
                  </a:lnTo>
                  <a:lnTo>
                    <a:pt x="76" y="5"/>
                  </a:lnTo>
                  <a:lnTo>
                    <a:pt x="87" y="5"/>
                  </a:lnTo>
                  <a:lnTo>
                    <a:pt x="87" y="0"/>
                  </a:lnTo>
                  <a:lnTo>
                    <a:pt x="92" y="2"/>
                  </a:lnTo>
                  <a:lnTo>
                    <a:pt x="92" y="0"/>
                  </a:lnTo>
                  <a:lnTo>
                    <a:pt x="93" y="0"/>
                  </a:lnTo>
                  <a:lnTo>
                    <a:pt x="96" y="2"/>
                  </a:lnTo>
                  <a:lnTo>
                    <a:pt x="100" y="2"/>
                  </a:lnTo>
                  <a:lnTo>
                    <a:pt x="103" y="2"/>
                  </a:lnTo>
                  <a:lnTo>
                    <a:pt x="106" y="2"/>
                  </a:lnTo>
                  <a:lnTo>
                    <a:pt x="111" y="2"/>
                  </a:lnTo>
                  <a:lnTo>
                    <a:pt x="114" y="2"/>
                  </a:lnTo>
                  <a:lnTo>
                    <a:pt x="117" y="5"/>
                  </a:lnTo>
                  <a:lnTo>
                    <a:pt x="120" y="8"/>
                  </a:lnTo>
                  <a:lnTo>
                    <a:pt x="123" y="12"/>
                  </a:lnTo>
                  <a:lnTo>
                    <a:pt x="127" y="15"/>
                  </a:lnTo>
                  <a:lnTo>
                    <a:pt x="128" y="18"/>
                  </a:lnTo>
                  <a:lnTo>
                    <a:pt x="131" y="21"/>
                  </a:lnTo>
                  <a:lnTo>
                    <a:pt x="134" y="23"/>
                  </a:lnTo>
                  <a:lnTo>
                    <a:pt x="138" y="21"/>
                  </a:lnTo>
                  <a:lnTo>
                    <a:pt x="141" y="23"/>
                  </a:lnTo>
                  <a:lnTo>
                    <a:pt x="144" y="23"/>
                  </a:lnTo>
                  <a:lnTo>
                    <a:pt x="147" y="26"/>
                  </a:lnTo>
                  <a:lnTo>
                    <a:pt x="149" y="29"/>
                  </a:lnTo>
                  <a:lnTo>
                    <a:pt x="150" y="32"/>
                  </a:lnTo>
                  <a:lnTo>
                    <a:pt x="152" y="35"/>
                  </a:lnTo>
                  <a:lnTo>
                    <a:pt x="152" y="40"/>
                  </a:lnTo>
                  <a:lnTo>
                    <a:pt x="152" y="43"/>
                  </a:lnTo>
                  <a:lnTo>
                    <a:pt x="157" y="45"/>
                  </a:lnTo>
                  <a:lnTo>
                    <a:pt x="157" y="48"/>
                  </a:lnTo>
                  <a:lnTo>
                    <a:pt x="161" y="50"/>
                  </a:lnTo>
                  <a:lnTo>
                    <a:pt x="163" y="53"/>
                  </a:lnTo>
                  <a:lnTo>
                    <a:pt x="166" y="56"/>
                  </a:lnTo>
                  <a:lnTo>
                    <a:pt x="165" y="59"/>
                  </a:lnTo>
                  <a:lnTo>
                    <a:pt x="168" y="62"/>
                  </a:lnTo>
                  <a:lnTo>
                    <a:pt x="169" y="64"/>
                  </a:lnTo>
                  <a:lnTo>
                    <a:pt x="173" y="65"/>
                  </a:lnTo>
                  <a:lnTo>
                    <a:pt x="173" y="65"/>
                  </a:lnTo>
                  <a:lnTo>
                    <a:pt x="176" y="67"/>
                  </a:lnTo>
                  <a:lnTo>
                    <a:pt x="179" y="69"/>
                  </a:lnTo>
                  <a:lnTo>
                    <a:pt x="179" y="70"/>
                  </a:lnTo>
                  <a:lnTo>
                    <a:pt x="180" y="73"/>
                  </a:lnTo>
                  <a:lnTo>
                    <a:pt x="180" y="73"/>
                  </a:lnTo>
                  <a:lnTo>
                    <a:pt x="184" y="77"/>
                  </a:lnTo>
                  <a:lnTo>
                    <a:pt x="187" y="78"/>
                  </a:lnTo>
                  <a:lnTo>
                    <a:pt x="188" y="81"/>
                  </a:lnTo>
                  <a:lnTo>
                    <a:pt x="190" y="85"/>
                  </a:lnTo>
                  <a:lnTo>
                    <a:pt x="188" y="88"/>
                  </a:lnTo>
                  <a:lnTo>
                    <a:pt x="188" y="91"/>
                  </a:lnTo>
                  <a:lnTo>
                    <a:pt x="188" y="94"/>
                  </a:lnTo>
                  <a:lnTo>
                    <a:pt x="192" y="96"/>
                  </a:lnTo>
                  <a:lnTo>
                    <a:pt x="196" y="102"/>
                  </a:lnTo>
                  <a:lnTo>
                    <a:pt x="196" y="105"/>
                  </a:lnTo>
                  <a:lnTo>
                    <a:pt x="195" y="110"/>
                  </a:lnTo>
                  <a:lnTo>
                    <a:pt x="196" y="113"/>
                  </a:lnTo>
                  <a:lnTo>
                    <a:pt x="198" y="116"/>
                  </a:lnTo>
                  <a:lnTo>
                    <a:pt x="196" y="119"/>
                  </a:lnTo>
                  <a:lnTo>
                    <a:pt x="192" y="123"/>
                  </a:lnTo>
                  <a:lnTo>
                    <a:pt x="193" y="123"/>
                  </a:lnTo>
                  <a:lnTo>
                    <a:pt x="193" y="126"/>
                  </a:lnTo>
                  <a:lnTo>
                    <a:pt x="196" y="129"/>
                  </a:lnTo>
                  <a:lnTo>
                    <a:pt x="200" y="132"/>
                  </a:lnTo>
                  <a:lnTo>
                    <a:pt x="200" y="135"/>
                  </a:lnTo>
                  <a:lnTo>
                    <a:pt x="203" y="138"/>
                  </a:lnTo>
                  <a:lnTo>
                    <a:pt x="204" y="134"/>
                  </a:lnTo>
                  <a:lnTo>
                    <a:pt x="207" y="135"/>
                  </a:lnTo>
                  <a:lnTo>
                    <a:pt x="209" y="138"/>
                  </a:lnTo>
                  <a:lnTo>
                    <a:pt x="211" y="142"/>
                  </a:lnTo>
                  <a:lnTo>
                    <a:pt x="212" y="146"/>
                  </a:lnTo>
                  <a:lnTo>
                    <a:pt x="214" y="150"/>
                  </a:lnTo>
                  <a:lnTo>
                    <a:pt x="217" y="153"/>
                  </a:lnTo>
                  <a:lnTo>
                    <a:pt x="215" y="156"/>
                  </a:lnTo>
                  <a:lnTo>
                    <a:pt x="215" y="159"/>
                  </a:lnTo>
                  <a:lnTo>
                    <a:pt x="214" y="162"/>
                  </a:lnTo>
                  <a:lnTo>
                    <a:pt x="215" y="167"/>
                  </a:lnTo>
                  <a:lnTo>
                    <a:pt x="214" y="169"/>
                  </a:lnTo>
                  <a:lnTo>
                    <a:pt x="217" y="172"/>
                  </a:lnTo>
                  <a:lnTo>
                    <a:pt x="217" y="175"/>
                  </a:lnTo>
                  <a:lnTo>
                    <a:pt x="212" y="175"/>
                  </a:lnTo>
                  <a:lnTo>
                    <a:pt x="209" y="175"/>
                  </a:lnTo>
                  <a:lnTo>
                    <a:pt x="206" y="175"/>
                  </a:lnTo>
                  <a:lnTo>
                    <a:pt x="203" y="176"/>
                  </a:lnTo>
                  <a:lnTo>
                    <a:pt x="200" y="176"/>
                  </a:lnTo>
                  <a:lnTo>
                    <a:pt x="195" y="176"/>
                  </a:lnTo>
                  <a:lnTo>
                    <a:pt x="192" y="175"/>
                  </a:lnTo>
                  <a:lnTo>
                    <a:pt x="188" y="176"/>
                  </a:lnTo>
                  <a:lnTo>
                    <a:pt x="188" y="178"/>
                  </a:lnTo>
                  <a:lnTo>
                    <a:pt x="184" y="178"/>
                  </a:lnTo>
                  <a:lnTo>
                    <a:pt x="184" y="180"/>
                  </a:lnTo>
                  <a:lnTo>
                    <a:pt x="182" y="180"/>
                  </a:lnTo>
                  <a:lnTo>
                    <a:pt x="179" y="176"/>
                  </a:lnTo>
                  <a:lnTo>
                    <a:pt x="174" y="176"/>
                  </a:lnTo>
                  <a:lnTo>
                    <a:pt x="173" y="176"/>
                  </a:lnTo>
                  <a:lnTo>
                    <a:pt x="169" y="175"/>
                  </a:lnTo>
                  <a:lnTo>
                    <a:pt x="166" y="173"/>
                  </a:lnTo>
                  <a:lnTo>
                    <a:pt x="163" y="170"/>
                  </a:lnTo>
                  <a:lnTo>
                    <a:pt x="160" y="173"/>
                  </a:lnTo>
                  <a:lnTo>
                    <a:pt x="155" y="172"/>
                  </a:lnTo>
                  <a:lnTo>
                    <a:pt x="155" y="170"/>
                  </a:lnTo>
                  <a:lnTo>
                    <a:pt x="157" y="167"/>
                  </a:lnTo>
                  <a:lnTo>
                    <a:pt x="142" y="165"/>
                  </a:lnTo>
                  <a:lnTo>
                    <a:pt x="127" y="164"/>
                  </a:lnTo>
                  <a:lnTo>
                    <a:pt x="109" y="164"/>
                  </a:lnTo>
                  <a:lnTo>
                    <a:pt x="92" y="164"/>
                  </a:lnTo>
                  <a:lnTo>
                    <a:pt x="88" y="164"/>
                  </a:lnTo>
                  <a:lnTo>
                    <a:pt x="79" y="164"/>
                  </a:lnTo>
                  <a:lnTo>
                    <a:pt x="76" y="167"/>
                  </a:lnTo>
                  <a:lnTo>
                    <a:pt x="68" y="172"/>
                  </a:lnTo>
                  <a:lnTo>
                    <a:pt x="60" y="175"/>
                  </a:lnTo>
                  <a:lnTo>
                    <a:pt x="55" y="173"/>
                  </a:lnTo>
                  <a:lnTo>
                    <a:pt x="50" y="173"/>
                  </a:lnTo>
                  <a:lnTo>
                    <a:pt x="47" y="173"/>
                  </a:lnTo>
                  <a:lnTo>
                    <a:pt x="44" y="173"/>
                  </a:lnTo>
                  <a:lnTo>
                    <a:pt x="43" y="173"/>
                  </a:lnTo>
                  <a:lnTo>
                    <a:pt x="39" y="175"/>
                  </a:lnTo>
                  <a:lnTo>
                    <a:pt x="35" y="176"/>
                  </a:lnTo>
                  <a:lnTo>
                    <a:pt x="31" y="178"/>
                  </a:lnTo>
                  <a:lnTo>
                    <a:pt x="28" y="178"/>
                  </a:lnTo>
                  <a:lnTo>
                    <a:pt x="25" y="178"/>
                  </a:lnTo>
                  <a:lnTo>
                    <a:pt x="25" y="180"/>
                  </a:lnTo>
                  <a:lnTo>
                    <a:pt x="23" y="176"/>
                  </a:lnTo>
                  <a:lnTo>
                    <a:pt x="22" y="173"/>
                  </a:lnTo>
                  <a:lnTo>
                    <a:pt x="25" y="170"/>
                  </a:lnTo>
                  <a:lnTo>
                    <a:pt x="28" y="167"/>
                  </a:lnTo>
                  <a:lnTo>
                    <a:pt x="30" y="167"/>
                  </a:lnTo>
                  <a:lnTo>
                    <a:pt x="33" y="169"/>
                  </a:lnTo>
                  <a:lnTo>
                    <a:pt x="38" y="170"/>
                  </a:lnTo>
                  <a:lnTo>
                    <a:pt x="41" y="169"/>
                  </a:lnTo>
                  <a:lnTo>
                    <a:pt x="44" y="169"/>
                  </a:lnTo>
                  <a:lnTo>
                    <a:pt x="49" y="167"/>
                  </a:lnTo>
                  <a:lnTo>
                    <a:pt x="52" y="167"/>
                  </a:lnTo>
                  <a:lnTo>
                    <a:pt x="54" y="169"/>
                  </a:lnTo>
                  <a:lnTo>
                    <a:pt x="57" y="170"/>
                  </a:lnTo>
                  <a:lnTo>
                    <a:pt x="60" y="169"/>
                  </a:lnTo>
                  <a:lnTo>
                    <a:pt x="63" y="170"/>
                  </a:lnTo>
                  <a:lnTo>
                    <a:pt x="68" y="167"/>
                  </a:lnTo>
                  <a:lnTo>
                    <a:pt x="68" y="164"/>
                  </a:lnTo>
                  <a:lnTo>
                    <a:pt x="69" y="161"/>
                  </a:lnTo>
                  <a:lnTo>
                    <a:pt x="73" y="157"/>
                  </a:lnTo>
                  <a:lnTo>
                    <a:pt x="71" y="157"/>
                  </a:lnTo>
                  <a:lnTo>
                    <a:pt x="66" y="161"/>
                  </a:lnTo>
                  <a:lnTo>
                    <a:pt x="66" y="164"/>
                  </a:lnTo>
                  <a:lnTo>
                    <a:pt x="65" y="167"/>
                  </a:lnTo>
                  <a:lnTo>
                    <a:pt x="62" y="167"/>
                  </a:lnTo>
                  <a:lnTo>
                    <a:pt x="58" y="167"/>
                  </a:lnTo>
                  <a:lnTo>
                    <a:pt x="55" y="167"/>
                  </a:lnTo>
                  <a:lnTo>
                    <a:pt x="50" y="165"/>
                  </a:lnTo>
                  <a:lnTo>
                    <a:pt x="50" y="162"/>
                  </a:lnTo>
                  <a:lnTo>
                    <a:pt x="50" y="162"/>
                  </a:lnTo>
                  <a:lnTo>
                    <a:pt x="47" y="167"/>
                  </a:lnTo>
                  <a:lnTo>
                    <a:pt x="44" y="167"/>
                  </a:lnTo>
                  <a:lnTo>
                    <a:pt x="41" y="167"/>
                  </a:lnTo>
                  <a:lnTo>
                    <a:pt x="38" y="167"/>
                  </a:lnTo>
                  <a:lnTo>
                    <a:pt x="35" y="167"/>
                  </a:lnTo>
                  <a:lnTo>
                    <a:pt x="31" y="165"/>
                  </a:lnTo>
                  <a:lnTo>
                    <a:pt x="28" y="164"/>
                  </a:lnTo>
                  <a:lnTo>
                    <a:pt x="30" y="159"/>
                  </a:lnTo>
                  <a:lnTo>
                    <a:pt x="30" y="161"/>
                  </a:lnTo>
                  <a:lnTo>
                    <a:pt x="27" y="164"/>
                  </a:lnTo>
                  <a:lnTo>
                    <a:pt x="27" y="167"/>
                  </a:lnTo>
                  <a:lnTo>
                    <a:pt x="23" y="169"/>
                  </a:lnTo>
                  <a:lnTo>
                    <a:pt x="22" y="165"/>
                  </a:lnTo>
                  <a:lnTo>
                    <a:pt x="25" y="162"/>
                  </a:lnTo>
                  <a:lnTo>
                    <a:pt x="22" y="162"/>
                  </a:lnTo>
                  <a:lnTo>
                    <a:pt x="22" y="159"/>
                  </a:lnTo>
                  <a:lnTo>
                    <a:pt x="23" y="156"/>
                  </a:lnTo>
                  <a:lnTo>
                    <a:pt x="23" y="153"/>
                  </a:lnTo>
                  <a:lnTo>
                    <a:pt x="25" y="148"/>
                  </a:lnTo>
                  <a:lnTo>
                    <a:pt x="25" y="148"/>
                  </a:lnTo>
                  <a:lnTo>
                    <a:pt x="27" y="145"/>
                  </a:lnTo>
                  <a:lnTo>
                    <a:pt x="43" y="145"/>
                  </a:lnTo>
                  <a:lnTo>
                    <a:pt x="58" y="145"/>
                  </a:lnTo>
                  <a:lnTo>
                    <a:pt x="58" y="140"/>
                  </a:lnTo>
                  <a:lnTo>
                    <a:pt x="62" y="137"/>
                  </a:lnTo>
                  <a:lnTo>
                    <a:pt x="65" y="137"/>
                  </a:lnTo>
                  <a:lnTo>
                    <a:pt x="68" y="135"/>
                  </a:lnTo>
                  <a:lnTo>
                    <a:pt x="71" y="135"/>
                  </a:lnTo>
                  <a:lnTo>
                    <a:pt x="74" y="137"/>
                  </a:lnTo>
                  <a:lnTo>
                    <a:pt x="77" y="135"/>
                  </a:lnTo>
                  <a:lnTo>
                    <a:pt x="81" y="132"/>
                  </a:lnTo>
                  <a:lnTo>
                    <a:pt x="81" y="129"/>
                  </a:lnTo>
                  <a:lnTo>
                    <a:pt x="84" y="127"/>
                  </a:lnTo>
                  <a:lnTo>
                    <a:pt x="87" y="130"/>
                  </a:lnTo>
                  <a:lnTo>
                    <a:pt x="90" y="132"/>
                  </a:lnTo>
                  <a:lnTo>
                    <a:pt x="93" y="134"/>
                  </a:lnTo>
                  <a:lnTo>
                    <a:pt x="96" y="135"/>
                  </a:lnTo>
                  <a:lnTo>
                    <a:pt x="100" y="137"/>
                  </a:lnTo>
                  <a:lnTo>
                    <a:pt x="103" y="137"/>
                  </a:lnTo>
                  <a:lnTo>
                    <a:pt x="104" y="138"/>
                  </a:lnTo>
                  <a:lnTo>
                    <a:pt x="109" y="142"/>
                  </a:lnTo>
                  <a:lnTo>
                    <a:pt x="112" y="142"/>
                  </a:lnTo>
                  <a:lnTo>
                    <a:pt x="115" y="142"/>
                  </a:lnTo>
                  <a:lnTo>
                    <a:pt x="117" y="142"/>
                  </a:lnTo>
                  <a:lnTo>
                    <a:pt x="120" y="138"/>
                  </a:lnTo>
                  <a:lnTo>
                    <a:pt x="125" y="138"/>
                  </a:lnTo>
                  <a:lnTo>
                    <a:pt x="128" y="138"/>
                  </a:lnTo>
                  <a:lnTo>
                    <a:pt x="128" y="137"/>
                  </a:lnTo>
                  <a:lnTo>
                    <a:pt x="130" y="134"/>
                  </a:lnTo>
                  <a:lnTo>
                    <a:pt x="127" y="129"/>
                  </a:lnTo>
                  <a:lnTo>
                    <a:pt x="123" y="127"/>
                  </a:lnTo>
                  <a:lnTo>
                    <a:pt x="120" y="129"/>
                  </a:lnTo>
                  <a:lnTo>
                    <a:pt x="114" y="132"/>
                  </a:lnTo>
                  <a:lnTo>
                    <a:pt x="111" y="132"/>
                  </a:lnTo>
                  <a:lnTo>
                    <a:pt x="108" y="129"/>
                  </a:lnTo>
                  <a:lnTo>
                    <a:pt x="106" y="129"/>
                  </a:lnTo>
                  <a:lnTo>
                    <a:pt x="106" y="126"/>
                  </a:lnTo>
                  <a:lnTo>
                    <a:pt x="101" y="124"/>
                  </a:lnTo>
                  <a:lnTo>
                    <a:pt x="98" y="126"/>
                  </a:lnTo>
                  <a:lnTo>
                    <a:pt x="95" y="123"/>
                  </a:lnTo>
                  <a:lnTo>
                    <a:pt x="93" y="119"/>
                  </a:lnTo>
                  <a:lnTo>
                    <a:pt x="92" y="118"/>
                  </a:lnTo>
                  <a:lnTo>
                    <a:pt x="87" y="118"/>
                  </a:lnTo>
                  <a:lnTo>
                    <a:pt x="84" y="118"/>
                  </a:lnTo>
                  <a:lnTo>
                    <a:pt x="79" y="121"/>
                  </a:lnTo>
                  <a:lnTo>
                    <a:pt x="76" y="119"/>
                  </a:lnTo>
                  <a:lnTo>
                    <a:pt x="73" y="121"/>
                  </a:lnTo>
                  <a:lnTo>
                    <a:pt x="71" y="124"/>
                  </a:lnTo>
                  <a:lnTo>
                    <a:pt x="69" y="127"/>
                  </a:lnTo>
                  <a:lnTo>
                    <a:pt x="50" y="127"/>
                  </a:lnTo>
                  <a:lnTo>
                    <a:pt x="31" y="127"/>
                  </a:lnTo>
                  <a:lnTo>
                    <a:pt x="31" y="124"/>
                  </a:lnTo>
                  <a:lnTo>
                    <a:pt x="33" y="123"/>
                  </a:lnTo>
                  <a:lnTo>
                    <a:pt x="30" y="121"/>
                  </a:lnTo>
                  <a:lnTo>
                    <a:pt x="31" y="118"/>
                  </a:lnTo>
                  <a:lnTo>
                    <a:pt x="35" y="119"/>
                  </a:lnTo>
                  <a:lnTo>
                    <a:pt x="35" y="118"/>
                  </a:lnTo>
                  <a:lnTo>
                    <a:pt x="35" y="115"/>
                  </a:lnTo>
                  <a:lnTo>
                    <a:pt x="35" y="110"/>
                  </a:lnTo>
                  <a:lnTo>
                    <a:pt x="33" y="113"/>
                  </a:lnTo>
                  <a:lnTo>
                    <a:pt x="31" y="116"/>
                  </a:lnTo>
                  <a:lnTo>
                    <a:pt x="30" y="116"/>
                  </a:lnTo>
                  <a:lnTo>
                    <a:pt x="25" y="118"/>
                  </a:lnTo>
                  <a:lnTo>
                    <a:pt x="25" y="115"/>
                  </a:lnTo>
                  <a:lnTo>
                    <a:pt x="28" y="111"/>
                  </a:lnTo>
                  <a:lnTo>
                    <a:pt x="31" y="110"/>
                  </a:lnTo>
                  <a:lnTo>
                    <a:pt x="31" y="108"/>
                  </a:lnTo>
                  <a:lnTo>
                    <a:pt x="36" y="105"/>
                  </a:lnTo>
                  <a:lnTo>
                    <a:pt x="39" y="104"/>
                  </a:lnTo>
                  <a:lnTo>
                    <a:pt x="39" y="104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5"/>
                  </a:lnTo>
                  <a:lnTo>
                    <a:pt x="33" y="107"/>
                  </a:lnTo>
                  <a:lnTo>
                    <a:pt x="30" y="110"/>
                  </a:lnTo>
                  <a:lnTo>
                    <a:pt x="27" y="110"/>
                  </a:lnTo>
                  <a:lnTo>
                    <a:pt x="25" y="113"/>
                  </a:lnTo>
                  <a:lnTo>
                    <a:pt x="23" y="116"/>
                  </a:lnTo>
                  <a:lnTo>
                    <a:pt x="23" y="108"/>
                  </a:lnTo>
                  <a:lnTo>
                    <a:pt x="23" y="105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19" y="96"/>
                  </a:lnTo>
                  <a:lnTo>
                    <a:pt x="17" y="92"/>
                  </a:lnTo>
                  <a:lnTo>
                    <a:pt x="16" y="92"/>
                  </a:lnTo>
                  <a:lnTo>
                    <a:pt x="12" y="88"/>
                  </a:lnTo>
                  <a:lnTo>
                    <a:pt x="12" y="85"/>
                  </a:lnTo>
                  <a:lnTo>
                    <a:pt x="9" y="81"/>
                  </a:lnTo>
                  <a:lnTo>
                    <a:pt x="6" y="8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65" name="Freeform 430"/>
            <p:cNvSpPr>
              <a:spLocks/>
            </p:cNvSpPr>
            <p:nvPr/>
          </p:nvSpPr>
          <p:spPr bwMode="auto">
            <a:xfrm>
              <a:off x="4926811" y="4351669"/>
              <a:ext cx="79400" cy="25387"/>
            </a:xfrm>
            <a:custGeom>
              <a:avLst/>
              <a:gdLst>
                <a:gd name="T0" fmla="*/ 1 w 108"/>
                <a:gd name="T1" fmla="*/ 17 h 30"/>
                <a:gd name="T2" fmla="*/ 8 w 108"/>
                <a:gd name="T3" fmla="*/ 14 h 30"/>
                <a:gd name="T4" fmla="*/ 9 w 108"/>
                <a:gd name="T5" fmla="*/ 22 h 30"/>
                <a:gd name="T6" fmla="*/ 17 w 108"/>
                <a:gd name="T7" fmla="*/ 22 h 30"/>
                <a:gd name="T8" fmla="*/ 24 w 108"/>
                <a:gd name="T9" fmla="*/ 22 h 30"/>
                <a:gd name="T10" fmla="*/ 24 w 108"/>
                <a:gd name="T11" fmla="*/ 16 h 30"/>
                <a:gd name="T12" fmla="*/ 32 w 108"/>
                <a:gd name="T13" fmla="*/ 16 h 30"/>
                <a:gd name="T14" fmla="*/ 38 w 108"/>
                <a:gd name="T15" fmla="*/ 16 h 30"/>
                <a:gd name="T16" fmla="*/ 43 w 108"/>
                <a:gd name="T17" fmla="*/ 14 h 30"/>
                <a:gd name="T18" fmla="*/ 22 w 108"/>
                <a:gd name="T19" fmla="*/ 16 h 30"/>
                <a:gd name="T20" fmla="*/ 14 w 108"/>
                <a:gd name="T21" fmla="*/ 19 h 30"/>
                <a:gd name="T22" fmla="*/ 9 w 108"/>
                <a:gd name="T23" fmla="*/ 12 h 30"/>
                <a:gd name="T24" fmla="*/ 28 w 108"/>
                <a:gd name="T25" fmla="*/ 9 h 30"/>
                <a:gd name="T26" fmla="*/ 49 w 108"/>
                <a:gd name="T27" fmla="*/ 6 h 30"/>
                <a:gd name="T28" fmla="*/ 54 w 108"/>
                <a:gd name="T29" fmla="*/ 1 h 30"/>
                <a:gd name="T30" fmla="*/ 62 w 108"/>
                <a:gd name="T31" fmla="*/ 0 h 30"/>
                <a:gd name="T32" fmla="*/ 70 w 108"/>
                <a:gd name="T33" fmla="*/ 0 h 30"/>
                <a:gd name="T34" fmla="*/ 73 w 108"/>
                <a:gd name="T35" fmla="*/ 5 h 30"/>
                <a:gd name="T36" fmla="*/ 79 w 108"/>
                <a:gd name="T37" fmla="*/ 6 h 30"/>
                <a:gd name="T38" fmla="*/ 84 w 108"/>
                <a:gd name="T39" fmla="*/ 11 h 30"/>
                <a:gd name="T40" fmla="*/ 89 w 108"/>
                <a:gd name="T41" fmla="*/ 14 h 30"/>
                <a:gd name="T42" fmla="*/ 100 w 108"/>
                <a:gd name="T43" fmla="*/ 9 h 30"/>
                <a:gd name="T44" fmla="*/ 105 w 108"/>
                <a:gd name="T45" fmla="*/ 11 h 30"/>
                <a:gd name="T46" fmla="*/ 108 w 108"/>
                <a:gd name="T47" fmla="*/ 16 h 30"/>
                <a:gd name="T48" fmla="*/ 106 w 108"/>
                <a:gd name="T49" fmla="*/ 20 h 30"/>
                <a:gd name="T50" fmla="*/ 98 w 108"/>
                <a:gd name="T51" fmla="*/ 20 h 30"/>
                <a:gd name="T52" fmla="*/ 93 w 108"/>
                <a:gd name="T53" fmla="*/ 24 h 30"/>
                <a:gd name="T54" fmla="*/ 87 w 108"/>
                <a:gd name="T55" fmla="*/ 24 h 30"/>
                <a:gd name="T56" fmla="*/ 81 w 108"/>
                <a:gd name="T57" fmla="*/ 19 h 30"/>
                <a:gd name="T58" fmla="*/ 74 w 108"/>
                <a:gd name="T59" fmla="*/ 17 h 30"/>
                <a:gd name="T60" fmla="*/ 68 w 108"/>
                <a:gd name="T61" fmla="*/ 14 h 30"/>
                <a:gd name="T62" fmla="*/ 62 w 108"/>
                <a:gd name="T63" fmla="*/ 9 h 30"/>
                <a:gd name="T64" fmla="*/ 59 w 108"/>
                <a:gd name="T65" fmla="*/ 14 h 30"/>
                <a:gd name="T66" fmla="*/ 52 w 108"/>
                <a:gd name="T67" fmla="*/ 19 h 30"/>
                <a:gd name="T68" fmla="*/ 46 w 108"/>
                <a:gd name="T69" fmla="*/ 17 h 30"/>
                <a:gd name="T70" fmla="*/ 40 w 108"/>
                <a:gd name="T71" fmla="*/ 19 h 30"/>
                <a:gd name="T72" fmla="*/ 36 w 108"/>
                <a:gd name="T73" fmla="*/ 27 h 30"/>
                <a:gd name="T74" fmla="*/ 5 w 108"/>
                <a:gd name="T75" fmla="*/ 27 h 30"/>
                <a:gd name="T76" fmla="*/ 3 w 108"/>
                <a:gd name="T77" fmla="*/ 30 h 30"/>
                <a:gd name="T78" fmla="*/ 0 w 108"/>
                <a:gd name="T79" fmla="*/ 25 h 30"/>
                <a:gd name="T80" fmla="*/ 0 w 108"/>
                <a:gd name="T81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8" h="30">
                  <a:moveTo>
                    <a:pt x="0" y="19"/>
                  </a:moveTo>
                  <a:lnTo>
                    <a:pt x="1" y="17"/>
                  </a:lnTo>
                  <a:lnTo>
                    <a:pt x="5" y="14"/>
                  </a:lnTo>
                  <a:lnTo>
                    <a:pt x="8" y="14"/>
                  </a:lnTo>
                  <a:lnTo>
                    <a:pt x="8" y="17"/>
                  </a:lnTo>
                  <a:lnTo>
                    <a:pt x="9" y="22"/>
                  </a:lnTo>
                  <a:lnTo>
                    <a:pt x="13" y="22"/>
                  </a:lnTo>
                  <a:lnTo>
                    <a:pt x="17" y="22"/>
                  </a:lnTo>
                  <a:lnTo>
                    <a:pt x="21" y="20"/>
                  </a:lnTo>
                  <a:lnTo>
                    <a:pt x="24" y="22"/>
                  </a:lnTo>
                  <a:lnTo>
                    <a:pt x="22" y="19"/>
                  </a:lnTo>
                  <a:lnTo>
                    <a:pt x="24" y="16"/>
                  </a:lnTo>
                  <a:lnTo>
                    <a:pt x="27" y="17"/>
                  </a:lnTo>
                  <a:lnTo>
                    <a:pt x="32" y="16"/>
                  </a:lnTo>
                  <a:lnTo>
                    <a:pt x="35" y="16"/>
                  </a:lnTo>
                  <a:lnTo>
                    <a:pt x="38" y="16"/>
                  </a:lnTo>
                  <a:lnTo>
                    <a:pt x="41" y="14"/>
                  </a:lnTo>
                  <a:lnTo>
                    <a:pt x="43" y="14"/>
                  </a:lnTo>
                  <a:lnTo>
                    <a:pt x="32" y="14"/>
                  </a:lnTo>
                  <a:lnTo>
                    <a:pt x="22" y="16"/>
                  </a:lnTo>
                  <a:lnTo>
                    <a:pt x="19" y="19"/>
                  </a:lnTo>
                  <a:lnTo>
                    <a:pt x="14" y="19"/>
                  </a:lnTo>
                  <a:lnTo>
                    <a:pt x="11" y="17"/>
                  </a:lnTo>
                  <a:lnTo>
                    <a:pt x="9" y="12"/>
                  </a:lnTo>
                  <a:lnTo>
                    <a:pt x="9" y="9"/>
                  </a:lnTo>
                  <a:lnTo>
                    <a:pt x="28" y="9"/>
                  </a:lnTo>
                  <a:lnTo>
                    <a:pt x="47" y="9"/>
                  </a:lnTo>
                  <a:lnTo>
                    <a:pt x="49" y="6"/>
                  </a:lnTo>
                  <a:lnTo>
                    <a:pt x="51" y="3"/>
                  </a:lnTo>
                  <a:lnTo>
                    <a:pt x="54" y="1"/>
                  </a:lnTo>
                  <a:lnTo>
                    <a:pt x="57" y="3"/>
                  </a:lnTo>
                  <a:lnTo>
                    <a:pt x="62" y="0"/>
                  </a:lnTo>
                  <a:lnTo>
                    <a:pt x="65" y="0"/>
                  </a:lnTo>
                  <a:lnTo>
                    <a:pt x="70" y="0"/>
                  </a:lnTo>
                  <a:lnTo>
                    <a:pt x="71" y="1"/>
                  </a:lnTo>
                  <a:lnTo>
                    <a:pt x="73" y="5"/>
                  </a:lnTo>
                  <a:lnTo>
                    <a:pt x="76" y="8"/>
                  </a:lnTo>
                  <a:lnTo>
                    <a:pt x="79" y="6"/>
                  </a:lnTo>
                  <a:lnTo>
                    <a:pt x="84" y="8"/>
                  </a:lnTo>
                  <a:lnTo>
                    <a:pt x="84" y="11"/>
                  </a:lnTo>
                  <a:lnTo>
                    <a:pt x="86" y="11"/>
                  </a:lnTo>
                  <a:lnTo>
                    <a:pt x="89" y="14"/>
                  </a:lnTo>
                  <a:lnTo>
                    <a:pt x="95" y="12"/>
                  </a:lnTo>
                  <a:lnTo>
                    <a:pt x="100" y="9"/>
                  </a:lnTo>
                  <a:lnTo>
                    <a:pt x="101" y="9"/>
                  </a:lnTo>
                  <a:lnTo>
                    <a:pt x="105" y="11"/>
                  </a:lnTo>
                  <a:lnTo>
                    <a:pt x="106" y="12"/>
                  </a:lnTo>
                  <a:lnTo>
                    <a:pt x="108" y="16"/>
                  </a:lnTo>
                  <a:lnTo>
                    <a:pt x="106" y="19"/>
                  </a:lnTo>
                  <a:lnTo>
                    <a:pt x="106" y="20"/>
                  </a:lnTo>
                  <a:lnTo>
                    <a:pt x="103" y="20"/>
                  </a:lnTo>
                  <a:lnTo>
                    <a:pt x="98" y="20"/>
                  </a:lnTo>
                  <a:lnTo>
                    <a:pt x="95" y="24"/>
                  </a:lnTo>
                  <a:lnTo>
                    <a:pt x="93" y="24"/>
                  </a:lnTo>
                  <a:lnTo>
                    <a:pt x="90" y="24"/>
                  </a:lnTo>
                  <a:lnTo>
                    <a:pt x="87" y="24"/>
                  </a:lnTo>
                  <a:lnTo>
                    <a:pt x="82" y="20"/>
                  </a:lnTo>
                  <a:lnTo>
                    <a:pt x="81" y="19"/>
                  </a:lnTo>
                  <a:lnTo>
                    <a:pt x="78" y="19"/>
                  </a:lnTo>
                  <a:lnTo>
                    <a:pt x="74" y="17"/>
                  </a:lnTo>
                  <a:lnTo>
                    <a:pt x="71" y="16"/>
                  </a:lnTo>
                  <a:lnTo>
                    <a:pt x="68" y="14"/>
                  </a:lnTo>
                  <a:lnTo>
                    <a:pt x="65" y="12"/>
                  </a:lnTo>
                  <a:lnTo>
                    <a:pt x="62" y="9"/>
                  </a:lnTo>
                  <a:lnTo>
                    <a:pt x="59" y="11"/>
                  </a:lnTo>
                  <a:lnTo>
                    <a:pt x="59" y="14"/>
                  </a:lnTo>
                  <a:lnTo>
                    <a:pt x="55" y="17"/>
                  </a:lnTo>
                  <a:lnTo>
                    <a:pt x="52" y="19"/>
                  </a:lnTo>
                  <a:lnTo>
                    <a:pt x="49" y="17"/>
                  </a:lnTo>
                  <a:lnTo>
                    <a:pt x="46" y="17"/>
                  </a:lnTo>
                  <a:lnTo>
                    <a:pt x="43" y="19"/>
                  </a:lnTo>
                  <a:lnTo>
                    <a:pt x="40" y="19"/>
                  </a:lnTo>
                  <a:lnTo>
                    <a:pt x="36" y="22"/>
                  </a:lnTo>
                  <a:lnTo>
                    <a:pt x="36" y="27"/>
                  </a:lnTo>
                  <a:lnTo>
                    <a:pt x="21" y="27"/>
                  </a:lnTo>
                  <a:lnTo>
                    <a:pt x="5" y="27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1" y="28"/>
                  </a:lnTo>
                  <a:lnTo>
                    <a:pt x="0" y="25"/>
                  </a:lnTo>
                  <a:lnTo>
                    <a:pt x="0" y="22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66" name="Freeform 431"/>
            <p:cNvSpPr>
              <a:spLocks/>
            </p:cNvSpPr>
            <p:nvPr/>
          </p:nvSpPr>
          <p:spPr bwMode="auto">
            <a:xfrm>
              <a:off x="4929752" y="4390595"/>
              <a:ext cx="79400" cy="60928"/>
            </a:xfrm>
            <a:custGeom>
              <a:avLst/>
              <a:gdLst>
                <a:gd name="T0" fmla="*/ 0 w 109"/>
                <a:gd name="T1" fmla="*/ 14 h 71"/>
                <a:gd name="T2" fmla="*/ 6 w 109"/>
                <a:gd name="T3" fmla="*/ 14 h 71"/>
                <a:gd name="T4" fmla="*/ 14 w 109"/>
                <a:gd name="T5" fmla="*/ 11 h 71"/>
                <a:gd name="T6" fmla="*/ 19 w 109"/>
                <a:gd name="T7" fmla="*/ 9 h 71"/>
                <a:gd name="T8" fmla="*/ 25 w 109"/>
                <a:gd name="T9" fmla="*/ 9 h 71"/>
                <a:gd name="T10" fmla="*/ 41 w 109"/>
                <a:gd name="T11" fmla="*/ 8 h 71"/>
                <a:gd name="T12" fmla="*/ 54 w 109"/>
                <a:gd name="T13" fmla="*/ 0 h 71"/>
                <a:gd name="T14" fmla="*/ 81 w 109"/>
                <a:gd name="T15" fmla="*/ 0 h 71"/>
                <a:gd name="T16" fmla="*/ 108 w 109"/>
                <a:gd name="T17" fmla="*/ 0 h 71"/>
                <a:gd name="T18" fmla="*/ 108 w 109"/>
                <a:gd name="T19" fmla="*/ 6 h 71"/>
                <a:gd name="T20" fmla="*/ 109 w 109"/>
                <a:gd name="T21" fmla="*/ 12 h 71"/>
                <a:gd name="T22" fmla="*/ 105 w 109"/>
                <a:gd name="T23" fmla="*/ 17 h 71"/>
                <a:gd name="T24" fmla="*/ 98 w 109"/>
                <a:gd name="T25" fmla="*/ 20 h 71"/>
                <a:gd name="T26" fmla="*/ 98 w 109"/>
                <a:gd name="T27" fmla="*/ 22 h 71"/>
                <a:gd name="T28" fmla="*/ 106 w 109"/>
                <a:gd name="T29" fmla="*/ 27 h 71"/>
                <a:gd name="T30" fmla="*/ 106 w 109"/>
                <a:gd name="T31" fmla="*/ 33 h 71"/>
                <a:gd name="T32" fmla="*/ 103 w 109"/>
                <a:gd name="T33" fmla="*/ 41 h 71"/>
                <a:gd name="T34" fmla="*/ 94 w 109"/>
                <a:gd name="T35" fmla="*/ 43 h 71"/>
                <a:gd name="T36" fmla="*/ 84 w 109"/>
                <a:gd name="T37" fmla="*/ 44 h 71"/>
                <a:gd name="T38" fmla="*/ 78 w 109"/>
                <a:gd name="T39" fmla="*/ 47 h 71"/>
                <a:gd name="T40" fmla="*/ 71 w 109"/>
                <a:gd name="T41" fmla="*/ 49 h 71"/>
                <a:gd name="T42" fmla="*/ 67 w 109"/>
                <a:gd name="T43" fmla="*/ 57 h 71"/>
                <a:gd name="T44" fmla="*/ 63 w 109"/>
                <a:gd name="T45" fmla="*/ 63 h 71"/>
                <a:gd name="T46" fmla="*/ 60 w 109"/>
                <a:gd name="T47" fmla="*/ 70 h 71"/>
                <a:gd name="T48" fmla="*/ 57 w 109"/>
                <a:gd name="T49" fmla="*/ 71 h 71"/>
                <a:gd name="T50" fmla="*/ 57 w 109"/>
                <a:gd name="T51" fmla="*/ 65 h 71"/>
                <a:gd name="T52" fmla="*/ 52 w 109"/>
                <a:gd name="T53" fmla="*/ 60 h 71"/>
                <a:gd name="T54" fmla="*/ 46 w 109"/>
                <a:gd name="T55" fmla="*/ 57 h 71"/>
                <a:gd name="T56" fmla="*/ 44 w 109"/>
                <a:gd name="T57" fmla="*/ 55 h 71"/>
                <a:gd name="T58" fmla="*/ 48 w 109"/>
                <a:gd name="T59" fmla="*/ 49 h 71"/>
                <a:gd name="T60" fmla="*/ 54 w 109"/>
                <a:gd name="T61" fmla="*/ 44 h 71"/>
                <a:gd name="T62" fmla="*/ 56 w 109"/>
                <a:gd name="T63" fmla="*/ 43 h 71"/>
                <a:gd name="T64" fmla="*/ 49 w 109"/>
                <a:gd name="T65" fmla="*/ 44 h 71"/>
                <a:gd name="T66" fmla="*/ 43 w 109"/>
                <a:gd name="T67" fmla="*/ 43 h 71"/>
                <a:gd name="T68" fmla="*/ 46 w 109"/>
                <a:gd name="T69" fmla="*/ 36 h 71"/>
                <a:gd name="T70" fmla="*/ 52 w 109"/>
                <a:gd name="T71" fmla="*/ 35 h 71"/>
                <a:gd name="T72" fmla="*/ 59 w 109"/>
                <a:gd name="T73" fmla="*/ 36 h 71"/>
                <a:gd name="T74" fmla="*/ 63 w 109"/>
                <a:gd name="T75" fmla="*/ 38 h 71"/>
                <a:gd name="T76" fmla="*/ 60 w 109"/>
                <a:gd name="T77" fmla="*/ 33 h 71"/>
                <a:gd name="T78" fmla="*/ 62 w 109"/>
                <a:gd name="T79" fmla="*/ 30 h 71"/>
                <a:gd name="T80" fmla="*/ 60 w 109"/>
                <a:gd name="T81" fmla="*/ 30 h 71"/>
                <a:gd name="T82" fmla="*/ 52 w 109"/>
                <a:gd name="T83" fmla="*/ 33 h 71"/>
                <a:gd name="T84" fmla="*/ 46 w 109"/>
                <a:gd name="T85" fmla="*/ 32 h 71"/>
                <a:gd name="T86" fmla="*/ 38 w 109"/>
                <a:gd name="T87" fmla="*/ 35 h 71"/>
                <a:gd name="T88" fmla="*/ 33 w 109"/>
                <a:gd name="T89" fmla="*/ 38 h 71"/>
                <a:gd name="T90" fmla="*/ 25 w 109"/>
                <a:gd name="T91" fmla="*/ 39 h 71"/>
                <a:gd name="T92" fmla="*/ 29 w 109"/>
                <a:gd name="T93" fmla="*/ 32 h 71"/>
                <a:gd name="T94" fmla="*/ 35 w 109"/>
                <a:gd name="T95" fmla="*/ 28 h 71"/>
                <a:gd name="T96" fmla="*/ 18 w 109"/>
                <a:gd name="T97" fmla="*/ 32 h 71"/>
                <a:gd name="T98" fmla="*/ 13 w 109"/>
                <a:gd name="T99" fmla="*/ 28 h 71"/>
                <a:gd name="T100" fmla="*/ 13 w 109"/>
                <a:gd name="T101" fmla="*/ 22 h 71"/>
                <a:gd name="T102" fmla="*/ 21 w 109"/>
                <a:gd name="T103" fmla="*/ 16 h 71"/>
                <a:gd name="T104" fmla="*/ 14 w 109"/>
                <a:gd name="T105" fmla="*/ 17 h 71"/>
                <a:gd name="T106" fmla="*/ 10 w 109"/>
                <a:gd name="T107" fmla="*/ 20 h 71"/>
                <a:gd name="T108" fmla="*/ 3 w 109"/>
                <a:gd name="T109" fmla="*/ 1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9" h="71">
                  <a:moveTo>
                    <a:pt x="0" y="16"/>
                  </a:moveTo>
                  <a:lnTo>
                    <a:pt x="0" y="14"/>
                  </a:lnTo>
                  <a:lnTo>
                    <a:pt x="3" y="14"/>
                  </a:lnTo>
                  <a:lnTo>
                    <a:pt x="6" y="14"/>
                  </a:lnTo>
                  <a:lnTo>
                    <a:pt x="10" y="12"/>
                  </a:lnTo>
                  <a:lnTo>
                    <a:pt x="14" y="11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22" y="9"/>
                  </a:lnTo>
                  <a:lnTo>
                    <a:pt x="25" y="9"/>
                  </a:lnTo>
                  <a:lnTo>
                    <a:pt x="35" y="9"/>
                  </a:lnTo>
                  <a:lnTo>
                    <a:pt x="41" y="8"/>
                  </a:lnTo>
                  <a:lnTo>
                    <a:pt x="46" y="5"/>
                  </a:lnTo>
                  <a:lnTo>
                    <a:pt x="54" y="0"/>
                  </a:lnTo>
                  <a:lnTo>
                    <a:pt x="67" y="0"/>
                  </a:lnTo>
                  <a:lnTo>
                    <a:pt x="81" y="0"/>
                  </a:lnTo>
                  <a:lnTo>
                    <a:pt x="94" y="0"/>
                  </a:lnTo>
                  <a:lnTo>
                    <a:pt x="108" y="0"/>
                  </a:lnTo>
                  <a:lnTo>
                    <a:pt x="108" y="3"/>
                  </a:lnTo>
                  <a:lnTo>
                    <a:pt x="108" y="6"/>
                  </a:lnTo>
                  <a:lnTo>
                    <a:pt x="109" y="11"/>
                  </a:lnTo>
                  <a:lnTo>
                    <a:pt x="109" y="12"/>
                  </a:lnTo>
                  <a:lnTo>
                    <a:pt x="108" y="16"/>
                  </a:lnTo>
                  <a:lnTo>
                    <a:pt x="105" y="17"/>
                  </a:lnTo>
                  <a:lnTo>
                    <a:pt x="100" y="17"/>
                  </a:lnTo>
                  <a:lnTo>
                    <a:pt x="98" y="20"/>
                  </a:lnTo>
                  <a:lnTo>
                    <a:pt x="98" y="22"/>
                  </a:lnTo>
                  <a:lnTo>
                    <a:pt x="98" y="22"/>
                  </a:lnTo>
                  <a:lnTo>
                    <a:pt x="103" y="24"/>
                  </a:lnTo>
                  <a:lnTo>
                    <a:pt x="106" y="27"/>
                  </a:lnTo>
                  <a:lnTo>
                    <a:pt x="106" y="30"/>
                  </a:lnTo>
                  <a:lnTo>
                    <a:pt x="106" y="33"/>
                  </a:lnTo>
                  <a:lnTo>
                    <a:pt x="108" y="38"/>
                  </a:lnTo>
                  <a:lnTo>
                    <a:pt x="103" y="41"/>
                  </a:lnTo>
                  <a:lnTo>
                    <a:pt x="98" y="43"/>
                  </a:lnTo>
                  <a:lnTo>
                    <a:pt x="94" y="43"/>
                  </a:lnTo>
                  <a:lnTo>
                    <a:pt x="87" y="41"/>
                  </a:lnTo>
                  <a:lnTo>
                    <a:pt x="84" y="44"/>
                  </a:lnTo>
                  <a:lnTo>
                    <a:pt x="81" y="46"/>
                  </a:lnTo>
                  <a:lnTo>
                    <a:pt x="78" y="47"/>
                  </a:lnTo>
                  <a:lnTo>
                    <a:pt x="75" y="47"/>
                  </a:lnTo>
                  <a:lnTo>
                    <a:pt x="71" y="49"/>
                  </a:lnTo>
                  <a:lnTo>
                    <a:pt x="68" y="52"/>
                  </a:lnTo>
                  <a:lnTo>
                    <a:pt x="67" y="57"/>
                  </a:lnTo>
                  <a:lnTo>
                    <a:pt x="65" y="60"/>
                  </a:lnTo>
                  <a:lnTo>
                    <a:pt x="63" y="63"/>
                  </a:lnTo>
                  <a:lnTo>
                    <a:pt x="62" y="66"/>
                  </a:lnTo>
                  <a:lnTo>
                    <a:pt x="60" y="70"/>
                  </a:lnTo>
                  <a:lnTo>
                    <a:pt x="59" y="71"/>
                  </a:lnTo>
                  <a:lnTo>
                    <a:pt x="57" y="71"/>
                  </a:lnTo>
                  <a:lnTo>
                    <a:pt x="57" y="68"/>
                  </a:lnTo>
                  <a:lnTo>
                    <a:pt x="57" y="65"/>
                  </a:lnTo>
                  <a:lnTo>
                    <a:pt x="52" y="63"/>
                  </a:lnTo>
                  <a:lnTo>
                    <a:pt x="52" y="60"/>
                  </a:lnTo>
                  <a:lnTo>
                    <a:pt x="49" y="58"/>
                  </a:lnTo>
                  <a:lnTo>
                    <a:pt x="46" y="57"/>
                  </a:lnTo>
                  <a:lnTo>
                    <a:pt x="48" y="54"/>
                  </a:lnTo>
                  <a:lnTo>
                    <a:pt x="44" y="55"/>
                  </a:lnTo>
                  <a:lnTo>
                    <a:pt x="43" y="52"/>
                  </a:lnTo>
                  <a:lnTo>
                    <a:pt x="48" y="49"/>
                  </a:lnTo>
                  <a:lnTo>
                    <a:pt x="51" y="44"/>
                  </a:lnTo>
                  <a:lnTo>
                    <a:pt x="54" y="44"/>
                  </a:lnTo>
                  <a:lnTo>
                    <a:pt x="57" y="46"/>
                  </a:lnTo>
                  <a:lnTo>
                    <a:pt x="56" y="43"/>
                  </a:lnTo>
                  <a:lnTo>
                    <a:pt x="51" y="43"/>
                  </a:lnTo>
                  <a:lnTo>
                    <a:pt x="49" y="44"/>
                  </a:lnTo>
                  <a:lnTo>
                    <a:pt x="46" y="46"/>
                  </a:lnTo>
                  <a:lnTo>
                    <a:pt x="43" y="43"/>
                  </a:lnTo>
                  <a:lnTo>
                    <a:pt x="41" y="39"/>
                  </a:lnTo>
                  <a:lnTo>
                    <a:pt x="46" y="36"/>
                  </a:lnTo>
                  <a:lnTo>
                    <a:pt x="49" y="33"/>
                  </a:lnTo>
                  <a:lnTo>
                    <a:pt x="52" y="35"/>
                  </a:lnTo>
                  <a:lnTo>
                    <a:pt x="56" y="33"/>
                  </a:lnTo>
                  <a:lnTo>
                    <a:pt x="59" y="36"/>
                  </a:lnTo>
                  <a:lnTo>
                    <a:pt x="60" y="38"/>
                  </a:lnTo>
                  <a:lnTo>
                    <a:pt x="63" y="38"/>
                  </a:lnTo>
                  <a:lnTo>
                    <a:pt x="60" y="36"/>
                  </a:lnTo>
                  <a:lnTo>
                    <a:pt x="60" y="33"/>
                  </a:lnTo>
                  <a:lnTo>
                    <a:pt x="60" y="30"/>
                  </a:lnTo>
                  <a:lnTo>
                    <a:pt x="62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56" y="30"/>
                  </a:lnTo>
                  <a:lnTo>
                    <a:pt x="52" y="33"/>
                  </a:lnTo>
                  <a:lnTo>
                    <a:pt x="49" y="30"/>
                  </a:lnTo>
                  <a:lnTo>
                    <a:pt x="46" y="32"/>
                  </a:lnTo>
                  <a:lnTo>
                    <a:pt x="41" y="33"/>
                  </a:lnTo>
                  <a:lnTo>
                    <a:pt x="38" y="35"/>
                  </a:lnTo>
                  <a:lnTo>
                    <a:pt x="37" y="36"/>
                  </a:lnTo>
                  <a:lnTo>
                    <a:pt x="33" y="38"/>
                  </a:lnTo>
                  <a:lnTo>
                    <a:pt x="29" y="38"/>
                  </a:lnTo>
                  <a:lnTo>
                    <a:pt x="25" y="39"/>
                  </a:lnTo>
                  <a:lnTo>
                    <a:pt x="27" y="35"/>
                  </a:lnTo>
                  <a:lnTo>
                    <a:pt x="29" y="32"/>
                  </a:lnTo>
                  <a:lnTo>
                    <a:pt x="33" y="30"/>
                  </a:lnTo>
                  <a:lnTo>
                    <a:pt x="35" y="28"/>
                  </a:lnTo>
                  <a:lnTo>
                    <a:pt x="25" y="30"/>
                  </a:lnTo>
                  <a:lnTo>
                    <a:pt x="18" y="32"/>
                  </a:lnTo>
                  <a:lnTo>
                    <a:pt x="14" y="28"/>
                  </a:lnTo>
                  <a:lnTo>
                    <a:pt x="13" y="28"/>
                  </a:lnTo>
                  <a:lnTo>
                    <a:pt x="13" y="25"/>
                  </a:lnTo>
                  <a:lnTo>
                    <a:pt x="13" y="22"/>
                  </a:lnTo>
                  <a:lnTo>
                    <a:pt x="16" y="19"/>
                  </a:lnTo>
                  <a:lnTo>
                    <a:pt x="21" y="16"/>
                  </a:lnTo>
                  <a:lnTo>
                    <a:pt x="18" y="16"/>
                  </a:lnTo>
                  <a:lnTo>
                    <a:pt x="14" y="17"/>
                  </a:lnTo>
                  <a:lnTo>
                    <a:pt x="11" y="20"/>
                  </a:lnTo>
                  <a:lnTo>
                    <a:pt x="10" y="20"/>
                  </a:lnTo>
                  <a:lnTo>
                    <a:pt x="6" y="19"/>
                  </a:lnTo>
                  <a:lnTo>
                    <a:pt x="3" y="16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67" name="Freeform 432"/>
            <p:cNvSpPr>
              <a:spLocks/>
            </p:cNvSpPr>
            <p:nvPr/>
          </p:nvSpPr>
          <p:spPr bwMode="auto">
            <a:xfrm>
              <a:off x="4973863" y="4390595"/>
              <a:ext cx="192618" cy="191245"/>
            </a:xfrm>
            <a:custGeom>
              <a:avLst/>
              <a:gdLst>
                <a:gd name="T0" fmla="*/ 18 w 264"/>
                <a:gd name="T1" fmla="*/ 47 h 225"/>
                <a:gd name="T2" fmla="*/ 43 w 264"/>
                <a:gd name="T3" fmla="*/ 41 h 225"/>
                <a:gd name="T4" fmla="*/ 38 w 264"/>
                <a:gd name="T5" fmla="*/ 22 h 225"/>
                <a:gd name="T6" fmla="*/ 49 w 264"/>
                <a:gd name="T7" fmla="*/ 12 h 225"/>
                <a:gd name="T8" fmla="*/ 72 w 264"/>
                <a:gd name="T9" fmla="*/ 3 h 225"/>
                <a:gd name="T10" fmla="*/ 84 w 264"/>
                <a:gd name="T11" fmla="*/ 11 h 225"/>
                <a:gd name="T12" fmla="*/ 99 w 264"/>
                <a:gd name="T13" fmla="*/ 14 h 225"/>
                <a:gd name="T14" fmla="*/ 118 w 264"/>
                <a:gd name="T15" fmla="*/ 12 h 225"/>
                <a:gd name="T16" fmla="*/ 129 w 264"/>
                <a:gd name="T17" fmla="*/ 19 h 225"/>
                <a:gd name="T18" fmla="*/ 138 w 264"/>
                <a:gd name="T19" fmla="*/ 27 h 225"/>
                <a:gd name="T20" fmla="*/ 151 w 264"/>
                <a:gd name="T21" fmla="*/ 27 h 225"/>
                <a:gd name="T22" fmla="*/ 168 w 264"/>
                <a:gd name="T23" fmla="*/ 19 h 225"/>
                <a:gd name="T24" fmla="*/ 197 w 264"/>
                <a:gd name="T25" fmla="*/ 20 h 225"/>
                <a:gd name="T26" fmla="*/ 205 w 264"/>
                <a:gd name="T27" fmla="*/ 8 h 225"/>
                <a:gd name="T28" fmla="*/ 218 w 264"/>
                <a:gd name="T29" fmla="*/ 16 h 225"/>
                <a:gd name="T30" fmla="*/ 224 w 264"/>
                <a:gd name="T31" fmla="*/ 28 h 225"/>
                <a:gd name="T32" fmla="*/ 227 w 264"/>
                <a:gd name="T33" fmla="*/ 43 h 225"/>
                <a:gd name="T34" fmla="*/ 237 w 264"/>
                <a:gd name="T35" fmla="*/ 52 h 225"/>
                <a:gd name="T36" fmla="*/ 229 w 264"/>
                <a:gd name="T37" fmla="*/ 68 h 225"/>
                <a:gd name="T38" fmla="*/ 241 w 264"/>
                <a:gd name="T39" fmla="*/ 70 h 225"/>
                <a:gd name="T40" fmla="*/ 241 w 264"/>
                <a:gd name="T41" fmla="*/ 90 h 225"/>
                <a:gd name="T42" fmla="*/ 252 w 264"/>
                <a:gd name="T43" fmla="*/ 100 h 225"/>
                <a:gd name="T44" fmla="*/ 246 w 264"/>
                <a:gd name="T45" fmla="*/ 111 h 225"/>
                <a:gd name="T46" fmla="*/ 246 w 264"/>
                <a:gd name="T47" fmla="*/ 130 h 225"/>
                <a:gd name="T48" fmla="*/ 254 w 264"/>
                <a:gd name="T49" fmla="*/ 144 h 225"/>
                <a:gd name="T50" fmla="*/ 252 w 264"/>
                <a:gd name="T51" fmla="*/ 158 h 225"/>
                <a:gd name="T52" fmla="*/ 264 w 264"/>
                <a:gd name="T53" fmla="*/ 176 h 225"/>
                <a:gd name="T54" fmla="*/ 245 w 264"/>
                <a:gd name="T55" fmla="*/ 171 h 225"/>
                <a:gd name="T56" fmla="*/ 249 w 264"/>
                <a:gd name="T57" fmla="*/ 189 h 225"/>
                <a:gd name="T58" fmla="*/ 248 w 264"/>
                <a:gd name="T59" fmla="*/ 200 h 225"/>
                <a:gd name="T60" fmla="*/ 235 w 264"/>
                <a:gd name="T61" fmla="*/ 208 h 225"/>
                <a:gd name="T62" fmla="*/ 224 w 264"/>
                <a:gd name="T63" fmla="*/ 208 h 225"/>
                <a:gd name="T64" fmla="*/ 214 w 264"/>
                <a:gd name="T65" fmla="*/ 222 h 225"/>
                <a:gd name="T66" fmla="*/ 203 w 264"/>
                <a:gd name="T67" fmla="*/ 215 h 225"/>
                <a:gd name="T68" fmla="*/ 200 w 264"/>
                <a:gd name="T69" fmla="*/ 206 h 225"/>
                <a:gd name="T70" fmla="*/ 197 w 264"/>
                <a:gd name="T71" fmla="*/ 190 h 225"/>
                <a:gd name="T72" fmla="*/ 194 w 264"/>
                <a:gd name="T73" fmla="*/ 174 h 225"/>
                <a:gd name="T74" fmla="*/ 178 w 264"/>
                <a:gd name="T75" fmla="*/ 174 h 225"/>
                <a:gd name="T76" fmla="*/ 161 w 264"/>
                <a:gd name="T77" fmla="*/ 177 h 225"/>
                <a:gd name="T78" fmla="*/ 156 w 264"/>
                <a:gd name="T79" fmla="*/ 169 h 225"/>
                <a:gd name="T80" fmla="*/ 157 w 264"/>
                <a:gd name="T81" fmla="*/ 149 h 225"/>
                <a:gd name="T82" fmla="*/ 149 w 264"/>
                <a:gd name="T83" fmla="*/ 135 h 225"/>
                <a:gd name="T84" fmla="*/ 137 w 264"/>
                <a:gd name="T85" fmla="*/ 116 h 225"/>
                <a:gd name="T86" fmla="*/ 103 w 264"/>
                <a:gd name="T87" fmla="*/ 114 h 225"/>
                <a:gd name="T88" fmla="*/ 86 w 264"/>
                <a:gd name="T89" fmla="*/ 122 h 225"/>
                <a:gd name="T90" fmla="*/ 75 w 264"/>
                <a:gd name="T91" fmla="*/ 139 h 225"/>
                <a:gd name="T92" fmla="*/ 61 w 264"/>
                <a:gd name="T93" fmla="*/ 149 h 225"/>
                <a:gd name="T94" fmla="*/ 59 w 264"/>
                <a:gd name="T95" fmla="*/ 141 h 225"/>
                <a:gd name="T96" fmla="*/ 51 w 264"/>
                <a:gd name="T97" fmla="*/ 130 h 225"/>
                <a:gd name="T98" fmla="*/ 43 w 264"/>
                <a:gd name="T99" fmla="*/ 119 h 225"/>
                <a:gd name="T100" fmla="*/ 38 w 264"/>
                <a:gd name="T101" fmla="*/ 112 h 225"/>
                <a:gd name="T102" fmla="*/ 30 w 264"/>
                <a:gd name="T103" fmla="*/ 108 h 225"/>
                <a:gd name="T104" fmla="*/ 16 w 264"/>
                <a:gd name="T105" fmla="*/ 93 h 225"/>
                <a:gd name="T106" fmla="*/ 15 w 264"/>
                <a:gd name="T107" fmla="*/ 77 h 225"/>
                <a:gd name="T108" fmla="*/ 8 w 264"/>
                <a:gd name="T109" fmla="*/ 71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64" h="225">
                  <a:moveTo>
                    <a:pt x="0" y="70"/>
                  </a:moveTo>
                  <a:lnTo>
                    <a:pt x="5" y="62"/>
                  </a:lnTo>
                  <a:lnTo>
                    <a:pt x="8" y="52"/>
                  </a:lnTo>
                  <a:lnTo>
                    <a:pt x="11" y="49"/>
                  </a:lnTo>
                  <a:lnTo>
                    <a:pt x="15" y="47"/>
                  </a:lnTo>
                  <a:lnTo>
                    <a:pt x="18" y="47"/>
                  </a:lnTo>
                  <a:lnTo>
                    <a:pt x="21" y="46"/>
                  </a:lnTo>
                  <a:lnTo>
                    <a:pt x="24" y="44"/>
                  </a:lnTo>
                  <a:lnTo>
                    <a:pt x="27" y="41"/>
                  </a:lnTo>
                  <a:lnTo>
                    <a:pt x="34" y="43"/>
                  </a:lnTo>
                  <a:lnTo>
                    <a:pt x="38" y="43"/>
                  </a:lnTo>
                  <a:lnTo>
                    <a:pt x="43" y="41"/>
                  </a:lnTo>
                  <a:lnTo>
                    <a:pt x="48" y="38"/>
                  </a:lnTo>
                  <a:lnTo>
                    <a:pt x="46" y="33"/>
                  </a:lnTo>
                  <a:lnTo>
                    <a:pt x="46" y="30"/>
                  </a:lnTo>
                  <a:lnTo>
                    <a:pt x="46" y="27"/>
                  </a:lnTo>
                  <a:lnTo>
                    <a:pt x="43" y="24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0"/>
                  </a:lnTo>
                  <a:lnTo>
                    <a:pt x="40" y="17"/>
                  </a:lnTo>
                  <a:lnTo>
                    <a:pt x="45" y="17"/>
                  </a:lnTo>
                  <a:lnTo>
                    <a:pt x="48" y="16"/>
                  </a:lnTo>
                  <a:lnTo>
                    <a:pt x="49" y="12"/>
                  </a:lnTo>
                  <a:lnTo>
                    <a:pt x="49" y="11"/>
                  </a:lnTo>
                  <a:lnTo>
                    <a:pt x="48" y="6"/>
                  </a:lnTo>
                  <a:lnTo>
                    <a:pt x="48" y="3"/>
                  </a:lnTo>
                  <a:lnTo>
                    <a:pt x="48" y="0"/>
                  </a:lnTo>
                  <a:lnTo>
                    <a:pt x="59" y="1"/>
                  </a:lnTo>
                  <a:lnTo>
                    <a:pt x="72" y="3"/>
                  </a:lnTo>
                  <a:lnTo>
                    <a:pt x="70" y="6"/>
                  </a:lnTo>
                  <a:lnTo>
                    <a:pt x="70" y="8"/>
                  </a:lnTo>
                  <a:lnTo>
                    <a:pt x="75" y="9"/>
                  </a:lnTo>
                  <a:lnTo>
                    <a:pt x="78" y="6"/>
                  </a:lnTo>
                  <a:lnTo>
                    <a:pt x="81" y="9"/>
                  </a:lnTo>
                  <a:lnTo>
                    <a:pt x="84" y="11"/>
                  </a:lnTo>
                  <a:lnTo>
                    <a:pt x="88" y="12"/>
                  </a:lnTo>
                  <a:lnTo>
                    <a:pt x="89" y="12"/>
                  </a:lnTo>
                  <a:lnTo>
                    <a:pt x="94" y="12"/>
                  </a:lnTo>
                  <a:lnTo>
                    <a:pt x="97" y="16"/>
                  </a:lnTo>
                  <a:lnTo>
                    <a:pt x="99" y="16"/>
                  </a:lnTo>
                  <a:lnTo>
                    <a:pt x="99" y="14"/>
                  </a:lnTo>
                  <a:lnTo>
                    <a:pt x="103" y="14"/>
                  </a:lnTo>
                  <a:lnTo>
                    <a:pt x="103" y="12"/>
                  </a:lnTo>
                  <a:lnTo>
                    <a:pt x="107" y="11"/>
                  </a:lnTo>
                  <a:lnTo>
                    <a:pt x="110" y="12"/>
                  </a:lnTo>
                  <a:lnTo>
                    <a:pt x="115" y="12"/>
                  </a:lnTo>
                  <a:lnTo>
                    <a:pt x="118" y="12"/>
                  </a:lnTo>
                  <a:lnTo>
                    <a:pt x="121" y="11"/>
                  </a:lnTo>
                  <a:lnTo>
                    <a:pt x="124" y="11"/>
                  </a:lnTo>
                  <a:lnTo>
                    <a:pt x="127" y="11"/>
                  </a:lnTo>
                  <a:lnTo>
                    <a:pt x="132" y="11"/>
                  </a:lnTo>
                  <a:lnTo>
                    <a:pt x="129" y="16"/>
                  </a:lnTo>
                  <a:lnTo>
                    <a:pt x="129" y="19"/>
                  </a:lnTo>
                  <a:lnTo>
                    <a:pt x="127" y="22"/>
                  </a:lnTo>
                  <a:lnTo>
                    <a:pt x="129" y="22"/>
                  </a:lnTo>
                  <a:lnTo>
                    <a:pt x="132" y="25"/>
                  </a:lnTo>
                  <a:lnTo>
                    <a:pt x="132" y="27"/>
                  </a:lnTo>
                  <a:lnTo>
                    <a:pt x="135" y="28"/>
                  </a:lnTo>
                  <a:lnTo>
                    <a:pt x="138" y="27"/>
                  </a:lnTo>
                  <a:lnTo>
                    <a:pt x="141" y="24"/>
                  </a:lnTo>
                  <a:lnTo>
                    <a:pt x="143" y="20"/>
                  </a:lnTo>
                  <a:lnTo>
                    <a:pt x="145" y="19"/>
                  </a:lnTo>
                  <a:lnTo>
                    <a:pt x="148" y="19"/>
                  </a:lnTo>
                  <a:lnTo>
                    <a:pt x="151" y="22"/>
                  </a:lnTo>
                  <a:lnTo>
                    <a:pt x="151" y="27"/>
                  </a:lnTo>
                  <a:lnTo>
                    <a:pt x="154" y="30"/>
                  </a:lnTo>
                  <a:lnTo>
                    <a:pt x="157" y="33"/>
                  </a:lnTo>
                  <a:lnTo>
                    <a:pt x="159" y="28"/>
                  </a:lnTo>
                  <a:lnTo>
                    <a:pt x="162" y="25"/>
                  </a:lnTo>
                  <a:lnTo>
                    <a:pt x="165" y="22"/>
                  </a:lnTo>
                  <a:lnTo>
                    <a:pt x="168" y="19"/>
                  </a:lnTo>
                  <a:lnTo>
                    <a:pt x="178" y="22"/>
                  </a:lnTo>
                  <a:lnTo>
                    <a:pt x="186" y="25"/>
                  </a:lnTo>
                  <a:lnTo>
                    <a:pt x="189" y="27"/>
                  </a:lnTo>
                  <a:lnTo>
                    <a:pt x="192" y="25"/>
                  </a:lnTo>
                  <a:lnTo>
                    <a:pt x="194" y="22"/>
                  </a:lnTo>
                  <a:lnTo>
                    <a:pt x="197" y="20"/>
                  </a:lnTo>
                  <a:lnTo>
                    <a:pt x="200" y="17"/>
                  </a:lnTo>
                  <a:lnTo>
                    <a:pt x="203" y="17"/>
                  </a:lnTo>
                  <a:lnTo>
                    <a:pt x="207" y="16"/>
                  </a:lnTo>
                  <a:lnTo>
                    <a:pt x="205" y="11"/>
                  </a:lnTo>
                  <a:lnTo>
                    <a:pt x="203" y="8"/>
                  </a:lnTo>
                  <a:lnTo>
                    <a:pt x="205" y="8"/>
                  </a:lnTo>
                  <a:lnTo>
                    <a:pt x="205" y="8"/>
                  </a:lnTo>
                  <a:lnTo>
                    <a:pt x="208" y="8"/>
                  </a:lnTo>
                  <a:lnTo>
                    <a:pt x="211" y="9"/>
                  </a:lnTo>
                  <a:lnTo>
                    <a:pt x="214" y="11"/>
                  </a:lnTo>
                  <a:lnTo>
                    <a:pt x="218" y="12"/>
                  </a:lnTo>
                  <a:lnTo>
                    <a:pt x="218" y="16"/>
                  </a:lnTo>
                  <a:lnTo>
                    <a:pt x="218" y="19"/>
                  </a:lnTo>
                  <a:lnTo>
                    <a:pt x="218" y="19"/>
                  </a:lnTo>
                  <a:lnTo>
                    <a:pt x="218" y="20"/>
                  </a:lnTo>
                  <a:lnTo>
                    <a:pt x="221" y="24"/>
                  </a:lnTo>
                  <a:lnTo>
                    <a:pt x="221" y="27"/>
                  </a:lnTo>
                  <a:lnTo>
                    <a:pt x="224" y="28"/>
                  </a:lnTo>
                  <a:lnTo>
                    <a:pt x="224" y="35"/>
                  </a:lnTo>
                  <a:lnTo>
                    <a:pt x="222" y="38"/>
                  </a:lnTo>
                  <a:lnTo>
                    <a:pt x="222" y="41"/>
                  </a:lnTo>
                  <a:lnTo>
                    <a:pt x="226" y="43"/>
                  </a:lnTo>
                  <a:lnTo>
                    <a:pt x="226" y="43"/>
                  </a:lnTo>
                  <a:lnTo>
                    <a:pt x="227" y="43"/>
                  </a:lnTo>
                  <a:lnTo>
                    <a:pt x="227" y="43"/>
                  </a:lnTo>
                  <a:lnTo>
                    <a:pt x="227" y="44"/>
                  </a:lnTo>
                  <a:lnTo>
                    <a:pt x="229" y="47"/>
                  </a:lnTo>
                  <a:lnTo>
                    <a:pt x="232" y="49"/>
                  </a:lnTo>
                  <a:lnTo>
                    <a:pt x="233" y="49"/>
                  </a:lnTo>
                  <a:lnTo>
                    <a:pt x="237" y="52"/>
                  </a:lnTo>
                  <a:lnTo>
                    <a:pt x="238" y="54"/>
                  </a:lnTo>
                  <a:lnTo>
                    <a:pt x="238" y="57"/>
                  </a:lnTo>
                  <a:lnTo>
                    <a:pt x="235" y="57"/>
                  </a:lnTo>
                  <a:lnTo>
                    <a:pt x="232" y="60"/>
                  </a:lnTo>
                  <a:lnTo>
                    <a:pt x="230" y="63"/>
                  </a:lnTo>
                  <a:lnTo>
                    <a:pt x="229" y="68"/>
                  </a:lnTo>
                  <a:lnTo>
                    <a:pt x="227" y="71"/>
                  </a:lnTo>
                  <a:lnTo>
                    <a:pt x="230" y="70"/>
                  </a:lnTo>
                  <a:lnTo>
                    <a:pt x="232" y="70"/>
                  </a:lnTo>
                  <a:lnTo>
                    <a:pt x="233" y="66"/>
                  </a:lnTo>
                  <a:lnTo>
                    <a:pt x="238" y="66"/>
                  </a:lnTo>
                  <a:lnTo>
                    <a:pt x="241" y="70"/>
                  </a:lnTo>
                  <a:lnTo>
                    <a:pt x="241" y="71"/>
                  </a:lnTo>
                  <a:lnTo>
                    <a:pt x="240" y="76"/>
                  </a:lnTo>
                  <a:lnTo>
                    <a:pt x="240" y="79"/>
                  </a:lnTo>
                  <a:lnTo>
                    <a:pt x="241" y="82"/>
                  </a:lnTo>
                  <a:lnTo>
                    <a:pt x="241" y="85"/>
                  </a:lnTo>
                  <a:lnTo>
                    <a:pt x="241" y="90"/>
                  </a:lnTo>
                  <a:lnTo>
                    <a:pt x="245" y="93"/>
                  </a:lnTo>
                  <a:lnTo>
                    <a:pt x="246" y="92"/>
                  </a:lnTo>
                  <a:lnTo>
                    <a:pt x="248" y="92"/>
                  </a:lnTo>
                  <a:lnTo>
                    <a:pt x="248" y="95"/>
                  </a:lnTo>
                  <a:lnTo>
                    <a:pt x="252" y="97"/>
                  </a:lnTo>
                  <a:lnTo>
                    <a:pt x="252" y="100"/>
                  </a:lnTo>
                  <a:lnTo>
                    <a:pt x="252" y="103"/>
                  </a:lnTo>
                  <a:lnTo>
                    <a:pt x="249" y="106"/>
                  </a:lnTo>
                  <a:lnTo>
                    <a:pt x="246" y="109"/>
                  </a:lnTo>
                  <a:lnTo>
                    <a:pt x="246" y="109"/>
                  </a:lnTo>
                  <a:lnTo>
                    <a:pt x="246" y="109"/>
                  </a:lnTo>
                  <a:lnTo>
                    <a:pt x="246" y="111"/>
                  </a:lnTo>
                  <a:lnTo>
                    <a:pt x="246" y="114"/>
                  </a:lnTo>
                  <a:lnTo>
                    <a:pt x="246" y="117"/>
                  </a:lnTo>
                  <a:lnTo>
                    <a:pt x="246" y="120"/>
                  </a:lnTo>
                  <a:lnTo>
                    <a:pt x="246" y="123"/>
                  </a:lnTo>
                  <a:lnTo>
                    <a:pt x="246" y="127"/>
                  </a:lnTo>
                  <a:lnTo>
                    <a:pt x="246" y="130"/>
                  </a:lnTo>
                  <a:lnTo>
                    <a:pt x="248" y="133"/>
                  </a:lnTo>
                  <a:lnTo>
                    <a:pt x="252" y="135"/>
                  </a:lnTo>
                  <a:lnTo>
                    <a:pt x="256" y="133"/>
                  </a:lnTo>
                  <a:lnTo>
                    <a:pt x="254" y="136"/>
                  </a:lnTo>
                  <a:lnTo>
                    <a:pt x="254" y="141"/>
                  </a:lnTo>
                  <a:lnTo>
                    <a:pt x="254" y="144"/>
                  </a:lnTo>
                  <a:lnTo>
                    <a:pt x="257" y="146"/>
                  </a:lnTo>
                  <a:lnTo>
                    <a:pt x="260" y="147"/>
                  </a:lnTo>
                  <a:lnTo>
                    <a:pt x="257" y="149"/>
                  </a:lnTo>
                  <a:lnTo>
                    <a:pt x="252" y="152"/>
                  </a:lnTo>
                  <a:lnTo>
                    <a:pt x="252" y="155"/>
                  </a:lnTo>
                  <a:lnTo>
                    <a:pt x="252" y="158"/>
                  </a:lnTo>
                  <a:lnTo>
                    <a:pt x="256" y="160"/>
                  </a:lnTo>
                  <a:lnTo>
                    <a:pt x="259" y="162"/>
                  </a:lnTo>
                  <a:lnTo>
                    <a:pt x="260" y="163"/>
                  </a:lnTo>
                  <a:lnTo>
                    <a:pt x="262" y="165"/>
                  </a:lnTo>
                  <a:lnTo>
                    <a:pt x="262" y="169"/>
                  </a:lnTo>
                  <a:lnTo>
                    <a:pt x="264" y="176"/>
                  </a:lnTo>
                  <a:lnTo>
                    <a:pt x="262" y="176"/>
                  </a:lnTo>
                  <a:lnTo>
                    <a:pt x="259" y="174"/>
                  </a:lnTo>
                  <a:lnTo>
                    <a:pt x="256" y="174"/>
                  </a:lnTo>
                  <a:lnTo>
                    <a:pt x="252" y="171"/>
                  </a:lnTo>
                  <a:lnTo>
                    <a:pt x="248" y="171"/>
                  </a:lnTo>
                  <a:lnTo>
                    <a:pt x="245" y="171"/>
                  </a:lnTo>
                  <a:lnTo>
                    <a:pt x="241" y="174"/>
                  </a:lnTo>
                  <a:lnTo>
                    <a:pt x="243" y="177"/>
                  </a:lnTo>
                  <a:lnTo>
                    <a:pt x="241" y="181"/>
                  </a:lnTo>
                  <a:lnTo>
                    <a:pt x="245" y="184"/>
                  </a:lnTo>
                  <a:lnTo>
                    <a:pt x="248" y="184"/>
                  </a:lnTo>
                  <a:lnTo>
                    <a:pt x="249" y="189"/>
                  </a:lnTo>
                  <a:lnTo>
                    <a:pt x="252" y="192"/>
                  </a:lnTo>
                  <a:lnTo>
                    <a:pt x="248" y="190"/>
                  </a:lnTo>
                  <a:lnTo>
                    <a:pt x="248" y="190"/>
                  </a:lnTo>
                  <a:lnTo>
                    <a:pt x="248" y="193"/>
                  </a:lnTo>
                  <a:lnTo>
                    <a:pt x="246" y="198"/>
                  </a:lnTo>
                  <a:lnTo>
                    <a:pt x="248" y="200"/>
                  </a:lnTo>
                  <a:lnTo>
                    <a:pt x="246" y="203"/>
                  </a:lnTo>
                  <a:lnTo>
                    <a:pt x="243" y="206"/>
                  </a:lnTo>
                  <a:lnTo>
                    <a:pt x="243" y="211"/>
                  </a:lnTo>
                  <a:lnTo>
                    <a:pt x="241" y="209"/>
                  </a:lnTo>
                  <a:lnTo>
                    <a:pt x="238" y="208"/>
                  </a:lnTo>
                  <a:lnTo>
                    <a:pt x="235" y="208"/>
                  </a:lnTo>
                  <a:lnTo>
                    <a:pt x="233" y="209"/>
                  </a:lnTo>
                  <a:lnTo>
                    <a:pt x="230" y="208"/>
                  </a:lnTo>
                  <a:lnTo>
                    <a:pt x="230" y="204"/>
                  </a:lnTo>
                  <a:lnTo>
                    <a:pt x="229" y="204"/>
                  </a:lnTo>
                  <a:lnTo>
                    <a:pt x="226" y="204"/>
                  </a:lnTo>
                  <a:lnTo>
                    <a:pt x="224" y="208"/>
                  </a:lnTo>
                  <a:lnTo>
                    <a:pt x="224" y="209"/>
                  </a:lnTo>
                  <a:lnTo>
                    <a:pt x="224" y="212"/>
                  </a:lnTo>
                  <a:lnTo>
                    <a:pt x="221" y="217"/>
                  </a:lnTo>
                  <a:lnTo>
                    <a:pt x="219" y="220"/>
                  </a:lnTo>
                  <a:lnTo>
                    <a:pt x="216" y="220"/>
                  </a:lnTo>
                  <a:lnTo>
                    <a:pt x="214" y="222"/>
                  </a:lnTo>
                  <a:lnTo>
                    <a:pt x="211" y="223"/>
                  </a:lnTo>
                  <a:lnTo>
                    <a:pt x="210" y="225"/>
                  </a:lnTo>
                  <a:lnTo>
                    <a:pt x="208" y="222"/>
                  </a:lnTo>
                  <a:lnTo>
                    <a:pt x="207" y="217"/>
                  </a:lnTo>
                  <a:lnTo>
                    <a:pt x="203" y="215"/>
                  </a:lnTo>
                  <a:lnTo>
                    <a:pt x="203" y="215"/>
                  </a:lnTo>
                  <a:lnTo>
                    <a:pt x="199" y="217"/>
                  </a:lnTo>
                  <a:lnTo>
                    <a:pt x="197" y="217"/>
                  </a:lnTo>
                  <a:lnTo>
                    <a:pt x="197" y="217"/>
                  </a:lnTo>
                  <a:lnTo>
                    <a:pt x="199" y="212"/>
                  </a:lnTo>
                  <a:lnTo>
                    <a:pt x="200" y="209"/>
                  </a:lnTo>
                  <a:lnTo>
                    <a:pt x="200" y="206"/>
                  </a:lnTo>
                  <a:lnTo>
                    <a:pt x="202" y="203"/>
                  </a:lnTo>
                  <a:lnTo>
                    <a:pt x="199" y="198"/>
                  </a:lnTo>
                  <a:lnTo>
                    <a:pt x="199" y="195"/>
                  </a:lnTo>
                  <a:lnTo>
                    <a:pt x="199" y="192"/>
                  </a:lnTo>
                  <a:lnTo>
                    <a:pt x="199" y="189"/>
                  </a:lnTo>
                  <a:lnTo>
                    <a:pt x="197" y="190"/>
                  </a:lnTo>
                  <a:lnTo>
                    <a:pt x="197" y="187"/>
                  </a:lnTo>
                  <a:lnTo>
                    <a:pt x="195" y="184"/>
                  </a:lnTo>
                  <a:lnTo>
                    <a:pt x="195" y="179"/>
                  </a:lnTo>
                  <a:lnTo>
                    <a:pt x="195" y="179"/>
                  </a:lnTo>
                  <a:lnTo>
                    <a:pt x="197" y="177"/>
                  </a:lnTo>
                  <a:lnTo>
                    <a:pt x="194" y="174"/>
                  </a:lnTo>
                  <a:lnTo>
                    <a:pt x="189" y="171"/>
                  </a:lnTo>
                  <a:lnTo>
                    <a:pt x="186" y="168"/>
                  </a:lnTo>
                  <a:lnTo>
                    <a:pt x="183" y="171"/>
                  </a:lnTo>
                  <a:lnTo>
                    <a:pt x="183" y="171"/>
                  </a:lnTo>
                  <a:lnTo>
                    <a:pt x="178" y="174"/>
                  </a:lnTo>
                  <a:lnTo>
                    <a:pt x="178" y="174"/>
                  </a:lnTo>
                  <a:lnTo>
                    <a:pt x="175" y="171"/>
                  </a:lnTo>
                  <a:lnTo>
                    <a:pt x="172" y="171"/>
                  </a:lnTo>
                  <a:lnTo>
                    <a:pt x="168" y="171"/>
                  </a:lnTo>
                  <a:lnTo>
                    <a:pt x="167" y="171"/>
                  </a:lnTo>
                  <a:lnTo>
                    <a:pt x="164" y="174"/>
                  </a:lnTo>
                  <a:lnTo>
                    <a:pt x="161" y="177"/>
                  </a:lnTo>
                  <a:lnTo>
                    <a:pt x="157" y="179"/>
                  </a:lnTo>
                  <a:lnTo>
                    <a:pt x="154" y="179"/>
                  </a:lnTo>
                  <a:lnTo>
                    <a:pt x="153" y="181"/>
                  </a:lnTo>
                  <a:lnTo>
                    <a:pt x="153" y="177"/>
                  </a:lnTo>
                  <a:lnTo>
                    <a:pt x="154" y="174"/>
                  </a:lnTo>
                  <a:lnTo>
                    <a:pt x="156" y="169"/>
                  </a:lnTo>
                  <a:lnTo>
                    <a:pt x="159" y="166"/>
                  </a:lnTo>
                  <a:lnTo>
                    <a:pt x="161" y="163"/>
                  </a:lnTo>
                  <a:lnTo>
                    <a:pt x="159" y="160"/>
                  </a:lnTo>
                  <a:lnTo>
                    <a:pt x="157" y="157"/>
                  </a:lnTo>
                  <a:lnTo>
                    <a:pt x="157" y="152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4" y="147"/>
                  </a:lnTo>
                  <a:lnTo>
                    <a:pt x="153" y="144"/>
                  </a:lnTo>
                  <a:lnTo>
                    <a:pt x="154" y="141"/>
                  </a:lnTo>
                  <a:lnTo>
                    <a:pt x="154" y="136"/>
                  </a:lnTo>
                  <a:lnTo>
                    <a:pt x="149" y="135"/>
                  </a:lnTo>
                  <a:lnTo>
                    <a:pt x="149" y="131"/>
                  </a:lnTo>
                  <a:lnTo>
                    <a:pt x="148" y="128"/>
                  </a:lnTo>
                  <a:lnTo>
                    <a:pt x="145" y="123"/>
                  </a:lnTo>
                  <a:lnTo>
                    <a:pt x="143" y="120"/>
                  </a:lnTo>
                  <a:lnTo>
                    <a:pt x="141" y="117"/>
                  </a:lnTo>
                  <a:lnTo>
                    <a:pt x="137" y="116"/>
                  </a:lnTo>
                  <a:lnTo>
                    <a:pt x="137" y="112"/>
                  </a:lnTo>
                  <a:lnTo>
                    <a:pt x="134" y="109"/>
                  </a:lnTo>
                  <a:lnTo>
                    <a:pt x="111" y="109"/>
                  </a:lnTo>
                  <a:lnTo>
                    <a:pt x="108" y="114"/>
                  </a:lnTo>
                  <a:lnTo>
                    <a:pt x="105" y="114"/>
                  </a:lnTo>
                  <a:lnTo>
                    <a:pt x="103" y="114"/>
                  </a:lnTo>
                  <a:lnTo>
                    <a:pt x="100" y="114"/>
                  </a:lnTo>
                  <a:lnTo>
                    <a:pt x="95" y="112"/>
                  </a:lnTo>
                  <a:lnTo>
                    <a:pt x="92" y="114"/>
                  </a:lnTo>
                  <a:lnTo>
                    <a:pt x="89" y="116"/>
                  </a:lnTo>
                  <a:lnTo>
                    <a:pt x="89" y="119"/>
                  </a:lnTo>
                  <a:lnTo>
                    <a:pt x="86" y="122"/>
                  </a:lnTo>
                  <a:lnTo>
                    <a:pt x="86" y="125"/>
                  </a:lnTo>
                  <a:lnTo>
                    <a:pt x="83" y="128"/>
                  </a:lnTo>
                  <a:lnTo>
                    <a:pt x="83" y="131"/>
                  </a:lnTo>
                  <a:lnTo>
                    <a:pt x="80" y="136"/>
                  </a:lnTo>
                  <a:lnTo>
                    <a:pt x="78" y="139"/>
                  </a:lnTo>
                  <a:lnTo>
                    <a:pt x="75" y="139"/>
                  </a:lnTo>
                  <a:lnTo>
                    <a:pt x="73" y="143"/>
                  </a:lnTo>
                  <a:lnTo>
                    <a:pt x="72" y="143"/>
                  </a:lnTo>
                  <a:lnTo>
                    <a:pt x="70" y="147"/>
                  </a:lnTo>
                  <a:lnTo>
                    <a:pt x="67" y="149"/>
                  </a:lnTo>
                  <a:lnTo>
                    <a:pt x="62" y="147"/>
                  </a:lnTo>
                  <a:lnTo>
                    <a:pt x="61" y="149"/>
                  </a:lnTo>
                  <a:lnTo>
                    <a:pt x="61" y="147"/>
                  </a:lnTo>
                  <a:lnTo>
                    <a:pt x="61" y="146"/>
                  </a:lnTo>
                  <a:lnTo>
                    <a:pt x="65" y="144"/>
                  </a:lnTo>
                  <a:lnTo>
                    <a:pt x="62" y="141"/>
                  </a:lnTo>
                  <a:lnTo>
                    <a:pt x="59" y="144"/>
                  </a:lnTo>
                  <a:lnTo>
                    <a:pt x="59" y="141"/>
                  </a:lnTo>
                  <a:lnTo>
                    <a:pt x="59" y="136"/>
                  </a:lnTo>
                  <a:lnTo>
                    <a:pt x="56" y="138"/>
                  </a:lnTo>
                  <a:lnTo>
                    <a:pt x="56" y="133"/>
                  </a:lnTo>
                  <a:lnTo>
                    <a:pt x="53" y="131"/>
                  </a:lnTo>
                  <a:lnTo>
                    <a:pt x="53" y="128"/>
                  </a:lnTo>
                  <a:lnTo>
                    <a:pt x="51" y="130"/>
                  </a:lnTo>
                  <a:lnTo>
                    <a:pt x="48" y="127"/>
                  </a:lnTo>
                  <a:lnTo>
                    <a:pt x="48" y="123"/>
                  </a:lnTo>
                  <a:lnTo>
                    <a:pt x="49" y="120"/>
                  </a:lnTo>
                  <a:lnTo>
                    <a:pt x="48" y="117"/>
                  </a:lnTo>
                  <a:lnTo>
                    <a:pt x="48" y="119"/>
                  </a:lnTo>
                  <a:lnTo>
                    <a:pt x="43" y="119"/>
                  </a:lnTo>
                  <a:lnTo>
                    <a:pt x="45" y="116"/>
                  </a:lnTo>
                  <a:lnTo>
                    <a:pt x="46" y="112"/>
                  </a:lnTo>
                  <a:lnTo>
                    <a:pt x="46" y="112"/>
                  </a:lnTo>
                  <a:lnTo>
                    <a:pt x="45" y="114"/>
                  </a:lnTo>
                  <a:lnTo>
                    <a:pt x="42" y="116"/>
                  </a:lnTo>
                  <a:lnTo>
                    <a:pt x="38" y="112"/>
                  </a:lnTo>
                  <a:lnTo>
                    <a:pt x="35" y="109"/>
                  </a:lnTo>
                  <a:lnTo>
                    <a:pt x="34" y="109"/>
                  </a:lnTo>
                  <a:lnTo>
                    <a:pt x="35" y="108"/>
                  </a:lnTo>
                  <a:lnTo>
                    <a:pt x="35" y="103"/>
                  </a:lnTo>
                  <a:lnTo>
                    <a:pt x="32" y="104"/>
                  </a:lnTo>
                  <a:lnTo>
                    <a:pt x="30" y="108"/>
                  </a:lnTo>
                  <a:lnTo>
                    <a:pt x="29" y="104"/>
                  </a:lnTo>
                  <a:lnTo>
                    <a:pt x="26" y="103"/>
                  </a:lnTo>
                  <a:lnTo>
                    <a:pt x="23" y="100"/>
                  </a:lnTo>
                  <a:lnTo>
                    <a:pt x="19" y="100"/>
                  </a:lnTo>
                  <a:lnTo>
                    <a:pt x="19" y="97"/>
                  </a:lnTo>
                  <a:lnTo>
                    <a:pt x="16" y="93"/>
                  </a:lnTo>
                  <a:lnTo>
                    <a:pt x="16" y="89"/>
                  </a:lnTo>
                  <a:lnTo>
                    <a:pt x="15" y="90"/>
                  </a:lnTo>
                  <a:lnTo>
                    <a:pt x="11" y="90"/>
                  </a:lnTo>
                  <a:lnTo>
                    <a:pt x="15" y="82"/>
                  </a:lnTo>
                  <a:lnTo>
                    <a:pt x="18" y="74"/>
                  </a:lnTo>
                  <a:lnTo>
                    <a:pt x="15" y="77"/>
                  </a:lnTo>
                  <a:lnTo>
                    <a:pt x="13" y="81"/>
                  </a:lnTo>
                  <a:lnTo>
                    <a:pt x="11" y="77"/>
                  </a:lnTo>
                  <a:lnTo>
                    <a:pt x="8" y="81"/>
                  </a:lnTo>
                  <a:lnTo>
                    <a:pt x="8" y="77"/>
                  </a:lnTo>
                  <a:lnTo>
                    <a:pt x="10" y="74"/>
                  </a:lnTo>
                  <a:lnTo>
                    <a:pt x="8" y="71"/>
                  </a:lnTo>
                  <a:lnTo>
                    <a:pt x="11" y="68"/>
                  </a:lnTo>
                  <a:lnTo>
                    <a:pt x="8" y="70"/>
                  </a:lnTo>
                  <a:lnTo>
                    <a:pt x="5" y="71"/>
                  </a:lnTo>
                  <a:lnTo>
                    <a:pt x="2" y="70"/>
                  </a:lnTo>
                  <a:lnTo>
                    <a:pt x="0" y="7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68" name="Freeform 433"/>
            <p:cNvSpPr>
              <a:spLocks/>
            </p:cNvSpPr>
            <p:nvPr/>
          </p:nvSpPr>
          <p:spPr bwMode="auto">
            <a:xfrm>
              <a:off x="5017974" y="4483678"/>
              <a:ext cx="79400" cy="108315"/>
            </a:xfrm>
            <a:custGeom>
              <a:avLst/>
              <a:gdLst>
                <a:gd name="T0" fmla="*/ 1 w 107"/>
                <a:gd name="T1" fmla="*/ 38 h 127"/>
                <a:gd name="T2" fmla="*/ 9 w 107"/>
                <a:gd name="T3" fmla="*/ 38 h 127"/>
                <a:gd name="T4" fmla="*/ 12 w 107"/>
                <a:gd name="T5" fmla="*/ 34 h 127"/>
                <a:gd name="T6" fmla="*/ 17 w 107"/>
                <a:gd name="T7" fmla="*/ 30 h 127"/>
                <a:gd name="T8" fmla="*/ 22 w 107"/>
                <a:gd name="T9" fmla="*/ 22 h 127"/>
                <a:gd name="T10" fmla="*/ 25 w 107"/>
                <a:gd name="T11" fmla="*/ 16 h 127"/>
                <a:gd name="T12" fmla="*/ 28 w 107"/>
                <a:gd name="T13" fmla="*/ 10 h 127"/>
                <a:gd name="T14" fmla="*/ 31 w 107"/>
                <a:gd name="T15" fmla="*/ 5 h 127"/>
                <a:gd name="T16" fmla="*/ 39 w 107"/>
                <a:gd name="T17" fmla="*/ 5 h 127"/>
                <a:gd name="T18" fmla="*/ 44 w 107"/>
                <a:gd name="T19" fmla="*/ 5 h 127"/>
                <a:gd name="T20" fmla="*/ 50 w 107"/>
                <a:gd name="T21" fmla="*/ 0 h 127"/>
                <a:gd name="T22" fmla="*/ 76 w 107"/>
                <a:gd name="T23" fmla="*/ 3 h 127"/>
                <a:gd name="T24" fmla="*/ 80 w 107"/>
                <a:gd name="T25" fmla="*/ 8 h 127"/>
                <a:gd name="T26" fmla="*/ 84 w 107"/>
                <a:gd name="T27" fmla="*/ 14 h 127"/>
                <a:gd name="T28" fmla="*/ 88 w 107"/>
                <a:gd name="T29" fmla="*/ 22 h 127"/>
                <a:gd name="T30" fmla="*/ 93 w 107"/>
                <a:gd name="T31" fmla="*/ 27 h 127"/>
                <a:gd name="T32" fmla="*/ 92 w 107"/>
                <a:gd name="T33" fmla="*/ 35 h 127"/>
                <a:gd name="T34" fmla="*/ 96 w 107"/>
                <a:gd name="T35" fmla="*/ 40 h 127"/>
                <a:gd name="T36" fmla="*/ 96 w 107"/>
                <a:gd name="T37" fmla="*/ 43 h 127"/>
                <a:gd name="T38" fmla="*/ 98 w 107"/>
                <a:gd name="T39" fmla="*/ 51 h 127"/>
                <a:gd name="T40" fmla="*/ 98 w 107"/>
                <a:gd name="T41" fmla="*/ 57 h 127"/>
                <a:gd name="T42" fmla="*/ 93 w 107"/>
                <a:gd name="T43" fmla="*/ 65 h 127"/>
                <a:gd name="T44" fmla="*/ 92 w 107"/>
                <a:gd name="T45" fmla="*/ 72 h 127"/>
                <a:gd name="T46" fmla="*/ 96 w 107"/>
                <a:gd name="T47" fmla="*/ 70 h 127"/>
                <a:gd name="T48" fmla="*/ 103 w 107"/>
                <a:gd name="T49" fmla="*/ 65 h 127"/>
                <a:gd name="T50" fmla="*/ 107 w 107"/>
                <a:gd name="T51" fmla="*/ 62 h 127"/>
                <a:gd name="T52" fmla="*/ 104 w 107"/>
                <a:gd name="T53" fmla="*/ 76 h 127"/>
                <a:gd name="T54" fmla="*/ 98 w 107"/>
                <a:gd name="T55" fmla="*/ 78 h 127"/>
                <a:gd name="T56" fmla="*/ 95 w 107"/>
                <a:gd name="T57" fmla="*/ 92 h 127"/>
                <a:gd name="T58" fmla="*/ 90 w 107"/>
                <a:gd name="T59" fmla="*/ 97 h 127"/>
                <a:gd name="T60" fmla="*/ 85 w 107"/>
                <a:gd name="T61" fmla="*/ 102 h 127"/>
                <a:gd name="T62" fmla="*/ 79 w 107"/>
                <a:gd name="T63" fmla="*/ 106 h 127"/>
                <a:gd name="T64" fmla="*/ 76 w 107"/>
                <a:gd name="T65" fmla="*/ 110 h 127"/>
                <a:gd name="T66" fmla="*/ 71 w 107"/>
                <a:gd name="T67" fmla="*/ 114 h 127"/>
                <a:gd name="T68" fmla="*/ 66 w 107"/>
                <a:gd name="T69" fmla="*/ 121 h 127"/>
                <a:gd name="T70" fmla="*/ 63 w 107"/>
                <a:gd name="T71" fmla="*/ 127 h 127"/>
                <a:gd name="T72" fmla="*/ 60 w 107"/>
                <a:gd name="T73" fmla="*/ 125 h 127"/>
                <a:gd name="T74" fmla="*/ 60 w 107"/>
                <a:gd name="T75" fmla="*/ 124 h 127"/>
                <a:gd name="T76" fmla="*/ 28 w 107"/>
                <a:gd name="T77" fmla="*/ 106 h 127"/>
                <a:gd name="T78" fmla="*/ 31 w 107"/>
                <a:gd name="T79" fmla="*/ 106 h 127"/>
                <a:gd name="T80" fmla="*/ 31 w 107"/>
                <a:gd name="T81" fmla="*/ 102 h 127"/>
                <a:gd name="T82" fmla="*/ 38 w 107"/>
                <a:gd name="T83" fmla="*/ 99 h 127"/>
                <a:gd name="T84" fmla="*/ 33 w 107"/>
                <a:gd name="T85" fmla="*/ 100 h 127"/>
                <a:gd name="T86" fmla="*/ 27 w 107"/>
                <a:gd name="T87" fmla="*/ 99 h 127"/>
                <a:gd name="T88" fmla="*/ 28 w 107"/>
                <a:gd name="T89" fmla="*/ 92 h 127"/>
                <a:gd name="T90" fmla="*/ 22 w 107"/>
                <a:gd name="T91" fmla="*/ 95 h 127"/>
                <a:gd name="T92" fmla="*/ 17 w 107"/>
                <a:gd name="T93" fmla="*/ 91 h 127"/>
                <a:gd name="T94" fmla="*/ 11 w 107"/>
                <a:gd name="T95" fmla="*/ 86 h 127"/>
                <a:gd name="T96" fmla="*/ 12 w 107"/>
                <a:gd name="T97" fmla="*/ 80 h 127"/>
                <a:gd name="T98" fmla="*/ 11 w 107"/>
                <a:gd name="T99" fmla="*/ 72 h 127"/>
                <a:gd name="T100" fmla="*/ 3 w 107"/>
                <a:gd name="T101" fmla="*/ 73 h 127"/>
                <a:gd name="T102" fmla="*/ 0 w 107"/>
                <a:gd name="T103" fmla="*/ 67 h 127"/>
                <a:gd name="T104" fmla="*/ 4 w 107"/>
                <a:gd name="T105" fmla="*/ 65 h 127"/>
                <a:gd name="T106" fmla="*/ 4 w 107"/>
                <a:gd name="T107" fmla="*/ 65 h 127"/>
                <a:gd name="T108" fmla="*/ 11 w 107"/>
                <a:gd name="T109" fmla="*/ 60 h 127"/>
                <a:gd name="T110" fmla="*/ 12 w 107"/>
                <a:gd name="T111" fmla="*/ 59 h 127"/>
                <a:gd name="T112" fmla="*/ 11 w 107"/>
                <a:gd name="T113" fmla="*/ 59 h 127"/>
                <a:gd name="T114" fmla="*/ 8 w 107"/>
                <a:gd name="T115" fmla="*/ 57 h 127"/>
                <a:gd name="T116" fmla="*/ 3 w 107"/>
                <a:gd name="T117" fmla="*/ 59 h 127"/>
                <a:gd name="T118" fmla="*/ 1 w 107"/>
                <a:gd name="T119" fmla="*/ 56 h 127"/>
                <a:gd name="T120" fmla="*/ 1 w 107"/>
                <a:gd name="T121" fmla="*/ 48 h 127"/>
                <a:gd name="T122" fmla="*/ 8 w 107"/>
                <a:gd name="T123" fmla="*/ 48 h 127"/>
                <a:gd name="T124" fmla="*/ 1 w 107"/>
                <a:gd name="T125" fmla="*/ 43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7" h="127">
                  <a:moveTo>
                    <a:pt x="0" y="40"/>
                  </a:moveTo>
                  <a:lnTo>
                    <a:pt x="1" y="38"/>
                  </a:lnTo>
                  <a:lnTo>
                    <a:pt x="6" y="40"/>
                  </a:lnTo>
                  <a:lnTo>
                    <a:pt x="9" y="38"/>
                  </a:lnTo>
                  <a:lnTo>
                    <a:pt x="11" y="34"/>
                  </a:lnTo>
                  <a:lnTo>
                    <a:pt x="12" y="34"/>
                  </a:lnTo>
                  <a:lnTo>
                    <a:pt x="14" y="30"/>
                  </a:lnTo>
                  <a:lnTo>
                    <a:pt x="17" y="30"/>
                  </a:lnTo>
                  <a:lnTo>
                    <a:pt x="19" y="27"/>
                  </a:lnTo>
                  <a:lnTo>
                    <a:pt x="22" y="22"/>
                  </a:lnTo>
                  <a:lnTo>
                    <a:pt x="22" y="19"/>
                  </a:lnTo>
                  <a:lnTo>
                    <a:pt x="25" y="16"/>
                  </a:lnTo>
                  <a:lnTo>
                    <a:pt x="25" y="13"/>
                  </a:lnTo>
                  <a:lnTo>
                    <a:pt x="28" y="10"/>
                  </a:lnTo>
                  <a:lnTo>
                    <a:pt x="28" y="7"/>
                  </a:lnTo>
                  <a:lnTo>
                    <a:pt x="31" y="5"/>
                  </a:lnTo>
                  <a:lnTo>
                    <a:pt x="34" y="3"/>
                  </a:lnTo>
                  <a:lnTo>
                    <a:pt x="39" y="5"/>
                  </a:lnTo>
                  <a:lnTo>
                    <a:pt x="42" y="5"/>
                  </a:lnTo>
                  <a:lnTo>
                    <a:pt x="44" y="5"/>
                  </a:lnTo>
                  <a:lnTo>
                    <a:pt x="47" y="5"/>
                  </a:lnTo>
                  <a:lnTo>
                    <a:pt x="50" y="0"/>
                  </a:lnTo>
                  <a:lnTo>
                    <a:pt x="73" y="0"/>
                  </a:lnTo>
                  <a:lnTo>
                    <a:pt x="76" y="3"/>
                  </a:lnTo>
                  <a:lnTo>
                    <a:pt x="76" y="7"/>
                  </a:lnTo>
                  <a:lnTo>
                    <a:pt x="80" y="8"/>
                  </a:lnTo>
                  <a:lnTo>
                    <a:pt x="82" y="11"/>
                  </a:lnTo>
                  <a:lnTo>
                    <a:pt x="84" y="14"/>
                  </a:lnTo>
                  <a:lnTo>
                    <a:pt x="87" y="19"/>
                  </a:lnTo>
                  <a:lnTo>
                    <a:pt x="88" y="22"/>
                  </a:lnTo>
                  <a:lnTo>
                    <a:pt x="88" y="26"/>
                  </a:lnTo>
                  <a:lnTo>
                    <a:pt x="93" y="27"/>
                  </a:lnTo>
                  <a:lnTo>
                    <a:pt x="93" y="32"/>
                  </a:lnTo>
                  <a:lnTo>
                    <a:pt x="92" y="35"/>
                  </a:lnTo>
                  <a:lnTo>
                    <a:pt x="93" y="38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3"/>
                  </a:lnTo>
                  <a:lnTo>
                    <a:pt x="96" y="48"/>
                  </a:lnTo>
                  <a:lnTo>
                    <a:pt x="98" y="51"/>
                  </a:lnTo>
                  <a:lnTo>
                    <a:pt x="100" y="54"/>
                  </a:lnTo>
                  <a:lnTo>
                    <a:pt x="98" y="57"/>
                  </a:lnTo>
                  <a:lnTo>
                    <a:pt x="95" y="60"/>
                  </a:lnTo>
                  <a:lnTo>
                    <a:pt x="93" y="65"/>
                  </a:lnTo>
                  <a:lnTo>
                    <a:pt x="92" y="68"/>
                  </a:lnTo>
                  <a:lnTo>
                    <a:pt x="92" y="72"/>
                  </a:lnTo>
                  <a:lnTo>
                    <a:pt x="93" y="70"/>
                  </a:lnTo>
                  <a:lnTo>
                    <a:pt x="96" y="70"/>
                  </a:lnTo>
                  <a:lnTo>
                    <a:pt x="100" y="68"/>
                  </a:lnTo>
                  <a:lnTo>
                    <a:pt x="103" y="65"/>
                  </a:lnTo>
                  <a:lnTo>
                    <a:pt x="106" y="62"/>
                  </a:lnTo>
                  <a:lnTo>
                    <a:pt x="107" y="62"/>
                  </a:lnTo>
                  <a:lnTo>
                    <a:pt x="106" y="70"/>
                  </a:lnTo>
                  <a:lnTo>
                    <a:pt x="104" y="76"/>
                  </a:lnTo>
                  <a:lnTo>
                    <a:pt x="101" y="76"/>
                  </a:lnTo>
                  <a:lnTo>
                    <a:pt x="98" y="78"/>
                  </a:lnTo>
                  <a:lnTo>
                    <a:pt x="95" y="81"/>
                  </a:lnTo>
                  <a:lnTo>
                    <a:pt x="95" y="92"/>
                  </a:lnTo>
                  <a:lnTo>
                    <a:pt x="92" y="94"/>
                  </a:lnTo>
                  <a:lnTo>
                    <a:pt x="90" y="97"/>
                  </a:lnTo>
                  <a:lnTo>
                    <a:pt x="87" y="100"/>
                  </a:lnTo>
                  <a:lnTo>
                    <a:pt x="85" y="102"/>
                  </a:lnTo>
                  <a:lnTo>
                    <a:pt x="82" y="103"/>
                  </a:lnTo>
                  <a:lnTo>
                    <a:pt x="79" y="106"/>
                  </a:lnTo>
                  <a:lnTo>
                    <a:pt x="79" y="106"/>
                  </a:lnTo>
                  <a:lnTo>
                    <a:pt x="76" y="110"/>
                  </a:lnTo>
                  <a:lnTo>
                    <a:pt x="74" y="113"/>
                  </a:lnTo>
                  <a:lnTo>
                    <a:pt x="71" y="114"/>
                  </a:lnTo>
                  <a:lnTo>
                    <a:pt x="68" y="118"/>
                  </a:lnTo>
                  <a:lnTo>
                    <a:pt x="66" y="121"/>
                  </a:lnTo>
                  <a:lnTo>
                    <a:pt x="66" y="122"/>
                  </a:lnTo>
                  <a:lnTo>
                    <a:pt x="63" y="127"/>
                  </a:lnTo>
                  <a:lnTo>
                    <a:pt x="63" y="127"/>
                  </a:lnTo>
                  <a:lnTo>
                    <a:pt x="60" y="125"/>
                  </a:lnTo>
                  <a:lnTo>
                    <a:pt x="60" y="124"/>
                  </a:lnTo>
                  <a:lnTo>
                    <a:pt x="60" y="124"/>
                  </a:lnTo>
                  <a:lnTo>
                    <a:pt x="44" y="114"/>
                  </a:lnTo>
                  <a:lnTo>
                    <a:pt x="28" y="106"/>
                  </a:lnTo>
                  <a:lnTo>
                    <a:pt x="31" y="108"/>
                  </a:lnTo>
                  <a:lnTo>
                    <a:pt x="31" y="106"/>
                  </a:lnTo>
                  <a:lnTo>
                    <a:pt x="28" y="103"/>
                  </a:lnTo>
                  <a:lnTo>
                    <a:pt x="31" y="102"/>
                  </a:lnTo>
                  <a:lnTo>
                    <a:pt x="34" y="102"/>
                  </a:lnTo>
                  <a:lnTo>
                    <a:pt x="38" y="99"/>
                  </a:lnTo>
                  <a:lnTo>
                    <a:pt x="36" y="99"/>
                  </a:lnTo>
                  <a:lnTo>
                    <a:pt x="33" y="100"/>
                  </a:lnTo>
                  <a:lnTo>
                    <a:pt x="30" y="102"/>
                  </a:lnTo>
                  <a:lnTo>
                    <a:pt x="27" y="99"/>
                  </a:lnTo>
                  <a:lnTo>
                    <a:pt x="27" y="94"/>
                  </a:lnTo>
                  <a:lnTo>
                    <a:pt x="28" y="92"/>
                  </a:lnTo>
                  <a:lnTo>
                    <a:pt x="25" y="95"/>
                  </a:lnTo>
                  <a:lnTo>
                    <a:pt x="22" y="95"/>
                  </a:lnTo>
                  <a:lnTo>
                    <a:pt x="19" y="94"/>
                  </a:lnTo>
                  <a:lnTo>
                    <a:pt x="17" y="91"/>
                  </a:lnTo>
                  <a:lnTo>
                    <a:pt x="14" y="91"/>
                  </a:lnTo>
                  <a:lnTo>
                    <a:pt x="11" y="86"/>
                  </a:lnTo>
                  <a:lnTo>
                    <a:pt x="12" y="83"/>
                  </a:lnTo>
                  <a:lnTo>
                    <a:pt x="12" y="80"/>
                  </a:lnTo>
                  <a:lnTo>
                    <a:pt x="11" y="76"/>
                  </a:lnTo>
                  <a:lnTo>
                    <a:pt x="11" y="72"/>
                  </a:lnTo>
                  <a:lnTo>
                    <a:pt x="6" y="73"/>
                  </a:lnTo>
                  <a:lnTo>
                    <a:pt x="3" y="73"/>
                  </a:lnTo>
                  <a:lnTo>
                    <a:pt x="3" y="70"/>
                  </a:lnTo>
                  <a:lnTo>
                    <a:pt x="0" y="67"/>
                  </a:lnTo>
                  <a:lnTo>
                    <a:pt x="1" y="62"/>
                  </a:lnTo>
                  <a:lnTo>
                    <a:pt x="4" y="65"/>
                  </a:lnTo>
                  <a:lnTo>
                    <a:pt x="8" y="67"/>
                  </a:lnTo>
                  <a:lnTo>
                    <a:pt x="4" y="65"/>
                  </a:lnTo>
                  <a:lnTo>
                    <a:pt x="8" y="62"/>
                  </a:lnTo>
                  <a:lnTo>
                    <a:pt x="11" y="60"/>
                  </a:lnTo>
                  <a:lnTo>
                    <a:pt x="14" y="59"/>
                  </a:lnTo>
                  <a:lnTo>
                    <a:pt x="12" y="59"/>
                  </a:lnTo>
                  <a:lnTo>
                    <a:pt x="14" y="56"/>
                  </a:lnTo>
                  <a:lnTo>
                    <a:pt x="11" y="59"/>
                  </a:lnTo>
                  <a:lnTo>
                    <a:pt x="8" y="59"/>
                  </a:lnTo>
                  <a:lnTo>
                    <a:pt x="8" y="57"/>
                  </a:lnTo>
                  <a:lnTo>
                    <a:pt x="4" y="56"/>
                  </a:lnTo>
                  <a:lnTo>
                    <a:pt x="3" y="59"/>
                  </a:lnTo>
                  <a:lnTo>
                    <a:pt x="1" y="56"/>
                  </a:lnTo>
                  <a:lnTo>
                    <a:pt x="1" y="56"/>
                  </a:lnTo>
                  <a:lnTo>
                    <a:pt x="1" y="53"/>
                  </a:lnTo>
                  <a:lnTo>
                    <a:pt x="1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4" y="45"/>
                  </a:lnTo>
                  <a:lnTo>
                    <a:pt x="1" y="43"/>
                  </a:lnTo>
                  <a:lnTo>
                    <a:pt x="0" y="4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69" name="Freeform 434"/>
            <p:cNvSpPr>
              <a:spLocks/>
            </p:cNvSpPr>
            <p:nvPr/>
          </p:nvSpPr>
          <p:spPr bwMode="auto">
            <a:xfrm>
              <a:off x="5065026" y="4532759"/>
              <a:ext cx="107336" cy="147241"/>
            </a:xfrm>
            <a:custGeom>
              <a:avLst/>
              <a:gdLst>
                <a:gd name="T0" fmla="*/ 3 w 148"/>
                <a:gd name="T1" fmla="*/ 63 h 173"/>
                <a:gd name="T2" fmla="*/ 8 w 148"/>
                <a:gd name="T3" fmla="*/ 55 h 173"/>
                <a:gd name="T4" fmla="*/ 16 w 148"/>
                <a:gd name="T5" fmla="*/ 47 h 173"/>
                <a:gd name="T6" fmla="*/ 22 w 148"/>
                <a:gd name="T7" fmla="*/ 43 h 173"/>
                <a:gd name="T8" fmla="*/ 29 w 148"/>
                <a:gd name="T9" fmla="*/ 35 h 173"/>
                <a:gd name="T10" fmla="*/ 35 w 148"/>
                <a:gd name="T11" fmla="*/ 19 h 173"/>
                <a:gd name="T12" fmla="*/ 43 w 148"/>
                <a:gd name="T13" fmla="*/ 11 h 173"/>
                <a:gd name="T14" fmla="*/ 51 w 148"/>
                <a:gd name="T15" fmla="*/ 3 h 173"/>
                <a:gd name="T16" fmla="*/ 59 w 148"/>
                <a:gd name="T17" fmla="*/ 3 h 173"/>
                <a:gd name="T18" fmla="*/ 65 w 148"/>
                <a:gd name="T19" fmla="*/ 3 h 173"/>
                <a:gd name="T20" fmla="*/ 71 w 148"/>
                <a:gd name="T21" fmla="*/ 11 h 173"/>
                <a:gd name="T22" fmla="*/ 73 w 148"/>
                <a:gd name="T23" fmla="*/ 19 h 173"/>
                <a:gd name="T24" fmla="*/ 75 w 148"/>
                <a:gd name="T25" fmla="*/ 24 h 173"/>
                <a:gd name="T26" fmla="*/ 78 w 148"/>
                <a:gd name="T27" fmla="*/ 35 h 173"/>
                <a:gd name="T28" fmla="*/ 75 w 148"/>
                <a:gd name="T29" fmla="*/ 44 h 173"/>
                <a:gd name="T30" fmla="*/ 75 w 148"/>
                <a:gd name="T31" fmla="*/ 49 h 173"/>
                <a:gd name="T32" fmla="*/ 83 w 148"/>
                <a:gd name="T33" fmla="*/ 49 h 173"/>
                <a:gd name="T34" fmla="*/ 87 w 148"/>
                <a:gd name="T35" fmla="*/ 55 h 173"/>
                <a:gd name="T36" fmla="*/ 95 w 148"/>
                <a:gd name="T37" fmla="*/ 52 h 173"/>
                <a:gd name="T38" fmla="*/ 100 w 148"/>
                <a:gd name="T39" fmla="*/ 41 h 173"/>
                <a:gd name="T40" fmla="*/ 105 w 148"/>
                <a:gd name="T41" fmla="*/ 36 h 173"/>
                <a:gd name="T42" fmla="*/ 109 w 148"/>
                <a:gd name="T43" fmla="*/ 41 h 173"/>
                <a:gd name="T44" fmla="*/ 111 w 148"/>
                <a:gd name="T45" fmla="*/ 49 h 173"/>
                <a:gd name="T46" fmla="*/ 114 w 148"/>
                <a:gd name="T47" fmla="*/ 60 h 173"/>
                <a:gd name="T48" fmla="*/ 114 w 148"/>
                <a:gd name="T49" fmla="*/ 71 h 173"/>
                <a:gd name="T50" fmla="*/ 109 w 148"/>
                <a:gd name="T51" fmla="*/ 79 h 173"/>
                <a:gd name="T52" fmla="*/ 103 w 148"/>
                <a:gd name="T53" fmla="*/ 84 h 173"/>
                <a:gd name="T54" fmla="*/ 111 w 148"/>
                <a:gd name="T55" fmla="*/ 87 h 173"/>
                <a:gd name="T56" fmla="*/ 117 w 148"/>
                <a:gd name="T57" fmla="*/ 93 h 173"/>
                <a:gd name="T58" fmla="*/ 128 w 148"/>
                <a:gd name="T59" fmla="*/ 93 h 173"/>
                <a:gd name="T60" fmla="*/ 133 w 148"/>
                <a:gd name="T61" fmla="*/ 105 h 173"/>
                <a:gd name="T62" fmla="*/ 143 w 148"/>
                <a:gd name="T63" fmla="*/ 111 h 173"/>
                <a:gd name="T64" fmla="*/ 148 w 148"/>
                <a:gd name="T65" fmla="*/ 120 h 173"/>
                <a:gd name="T66" fmla="*/ 146 w 148"/>
                <a:gd name="T67" fmla="*/ 132 h 173"/>
                <a:gd name="T68" fmla="*/ 144 w 148"/>
                <a:gd name="T69" fmla="*/ 135 h 173"/>
                <a:gd name="T70" fmla="*/ 141 w 148"/>
                <a:gd name="T71" fmla="*/ 146 h 173"/>
                <a:gd name="T72" fmla="*/ 140 w 148"/>
                <a:gd name="T73" fmla="*/ 154 h 173"/>
                <a:gd name="T74" fmla="*/ 138 w 148"/>
                <a:gd name="T75" fmla="*/ 173 h 173"/>
                <a:gd name="T76" fmla="*/ 130 w 148"/>
                <a:gd name="T77" fmla="*/ 168 h 173"/>
                <a:gd name="T78" fmla="*/ 116 w 148"/>
                <a:gd name="T79" fmla="*/ 165 h 173"/>
                <a:gd name="T80" fmla="*/ 106 w 148"/>
                <a:gd name="T81" fmla="*/ 157 h 173"/>
                <a:gd name="T82" fmla="*/ 98 w 148"/>
                <a:gd name="T83" fmla="*/ 152 h 173"/>
                <a:gd name="T84" fmla="*/ 67 w 148"/>
                <a:gd name="T85" fmla="*/ 127 h 173"/>
                <a:gd name="T86" fmla="*/ 51 w 148"/>
                <a:gd name="T87" fmla="*/ 108 h 173"/>
                <a:gd name="T88" fmla="*/ 40 w 148"/>
                <a:gd name="T89" fmla="*/ 100 h 173"/>
                <a:gd name="T90" fmla="*/ 25 w 148"/>
                <a:gd name="T91" fmla="*/ 90 h 173"/>
                <a:gd name="T92" fmla="*/ 25 w 148"/>
                <a:gd name="T93" fmla="*/ 89 h 173"/>
                <a:gd name="T94" fmla="*/ 17 w 148"/>
                <a:gd name="T95" fmla="*/ 82 h 173"/>
                <a:gd name="T96" fmla="*/ 8 w 148"/>
                <a:gd name="T97" fmla="*/ 79 h 173"/>
                <a:gd name="T98" fmla="*/ 2 w 148"/>
                <a:gd name="T99" fmla="*/ 7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48" h="173">
                  <a:moveTo>
                    <a:pt x="0" y="68"/>
                  </a:moveTo>
                  <a:lnTo>
                    <a:pt x="0" y="68"/>
                  </a:lnTo>
                  <a:lnTo>
                    <a:pt x="3" y="63"/>
                  </a:lnTo>
                  <a:lnTo>
                    <a:pt x="3" y="62"/>
                  </a:lnTo>
                  <a:lnTo>
                    <a:pt x="5" y="59"/>
                  </a:lnTo>
                  <a:lnTo>
                    <a:pt x="8" y="55"/>
                  </a:lnTo>
                  <a:lnTo>
                    <a:pt x="11" y="54"/>
                  </a:lnTo>
                  <a:lnTo>
                    <a:pt x="13" y="51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9" y="44"/>
                  </a:lnTo>
                  <a:lnTo>
                    <a:pt x="22" y="43"/>
                  </a:lnTo>
                  <a:lnTo>
                    <a:pt x="24" y="41"/>
                  </a:lnTo>
                  <a:lnTo>
                    <a:pt x="27" y="38"/>
                  </a:lnTo>
                  <a:lnTo>
                    <a:pt x="29" y="35"/>
                  </a:lnTo>
                  <a:lnTo>
                    <a:pt x="32" y="33"/>
                  </a:lnTo>
                  <a:lnTo>
                    <a:pt x="32" y="22"/>
                  </a:lnTo>
                  <a:lnTo>
                    <a:pt x="35" y="19"/>
                  </a:lnTo>
                  <a:lnTo>
                    <a:pt x="38" y="17"/>
                  </a:lnTo>
                  <a:lnTo>
                    <a:pt x="41" y="17"/>
                  </a:lnTo>
                  <a:lnTo>
                    <a:pt x="43" y="11"/>
                  </a:lnTo>
                  <a:lnTo>
                    <a:pt x="44" y="3"/>
                  </a:lnTo>
                  <a:lnTo>
                    <a:pt x="48" y="3"/>
                  </a:lnTo>
                  <a:lnTo>
                    <a:pt x="51" y="3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62" y="0"/>
                  </a:lnTo>
                  <a:lnTo>
                    <a:pt x="65" y="3"/>
                  </a:lnTo>
                  <a:lnTo>
                    <a:pt x="70" y="6"/>
                  </a:lnTo>
                  <a:lnTo>
                    <a:pt x="73" y="9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6"/>
                  </a:lnTo>
                  <a:lnTo>
                    <a:pt x="73" y="19"/>
                  </a:lnTo>
                  <a:lnTo>
                    <a:pt x="73" y="22"/>
                  </a:lnTo>
                  <a:lnTo>
                    <a:pt x="75" y="21"/>
                  </a:lnTo>
                  <a:lnTo>
                    <a:pt x="75" y="24"/>
                  </a:lnTo>
                  <a:lnTo>
                    <a:pt x="75" y="27"/>
                  </a:lnTo>
                  <a:lnTo>
                    <a:pt x="75" y="30"/>
                  </a:lnTo>
                  <a:lnTo>
                    <a:pt x="78" y="35"/>
                  </a:lnTo>
                  <a:lnTo>
                    <a:pt x="76" y="38"/>
                  </a:lnTo>
                  <a:lnTo>
                    <a:pt x="76" y="41"/>
                  </a:lnTo>
                  <a:lnTo>
                    <a:pt x="75" y="44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5" y="49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83" y="49"/>
                  </a:lnTo>
                  <a:lnTo>
                    <a:pt x="84" y="54"/>
                  </a:lnTo>
                  <a:lnTo>
                    <a:pt x="86" y="57"/>
                  </a:lnTo>
                  <a:lnTo>
                    <a:pt x="87" y="55"/>
                  </a:lnTo>
                  <a:lnTo>
                    <a:pt x="90" y="54"/>
                  </a:lnTo>
                  <a:lnTo>
                    <a:pt x="92" y="52"/>
                  </a:lnTo>
                  <a:lnTo>
                    <a:pt x="95" y="52"/>
                  </a:lnTo>
                  <a:lnTo>
                    <a:pt x="97" y="49"/>
                  </a:lnTo>
                  <a:lnTo>
                    <a:pt x="100" y="44"/>
                  </a:lnTo>
                  <a:lnTo>
                    <a:pt x="100" y="41"/>
                  </a:lnTo>
                  <a:lnTo>
                    <a:pt x="100" y="40"/>
                  </a:lnTo>
                  <a:lnTo>
                    <a:pt x="102" y="36"/>
                  </a:lnTo>
                  <a:lnTo>
                    <a:pt x="105" y="36"/>
                  </a:lnTo>
                  <a:lnTo>
                    <a:pt x="106" y="36"/>
                  </a:lnTo>
                  <a:lnTo>
                    <a:pt x="106" y="40"/>
                  </a:lnTo>
                  <a:lnTo>
                    <a:pt x="109" y="41"/>
                  </a:lnTo>
                  <a:lnTo>
                    <a:pt x="109" y="43"/>
                  </a:lnTo>
                  <a:lnTo>
                    <a:pt x="111" y="46"/>
                  </a:lnTo>
                  <a:lnTo>
                    <a:pt x="111" y="49"/>
                  </a:lnTo>
                  <a:lnTo>
                    <a:pt x="113" y="54"/>
                  </a:lnTo>
                  <a:lnTo>
                    <a:pt x="114" y="57"/>
                  </a:lnTo>
                  <a:lnTo>
                    <a:pt x="114" y="60"/>
                  </a:lnTo>
                  <a:lnTo>
                    <a:pt x="116" y="63"/>
                  </a:lnTo>
                  <a:lnTo>
                    <a:pt x="114" y="66"/>
                  </a:lnTo>
                  <a:lnTo>
                    <a:pt x="114" y="71"/>
                  </a:lnTo>
                  <a:lnTo>
                    <a:pt x="114" y="74"/>
                  </a:lnTo>
                  <a:lnTo>
                    <a:pt x="111" y="78"/>
                  </a:lnTo>
                  <a:lnTo>
                    <a:pt x="109" y="79"/>
                  </a:lnTo>
                  <a:lnTo>
                    <a:pt x="106" y="81"/>
                  </a:lnTo>
                  <a:lnTo>
                    <a:pt x="103" y="84"/>
                  </a:lnTo>
                  <a:lnTo>
                    <a:pt x="103" y="84"/>
                  </a:lnTo>
                  <a:lnTo>
                    <a:pt x="106" y="87"/>
                  </a:lnTo>
                  <a:lnTo>
                    <a:pt x="108" y="87"/>
                  </a:lnTo>
                  <a:lnTo>
                    <a:pt x="111" y="87"/>
                  </a:lnTo>
                  <a:lnTo>
                    <a:pt x="111" y="90"/>
                  </a:lnTo>
                  <a:lnTo>
                    <a:pt x="114" y="90"/>
                  </a:lnTo>
                  <a:lnTo>
                    <a:pt x="117" y="93"/>
                  </a:lnTo>
                  <a:lnTo>
                    <a:pt x="121" y="93"/>
                  </a:lnTo>
                  <a:lnTo>
                    <a:pt x="125" y="92"/>
                  </a:lnTo>
                  <a:lnTo>
                    <a:pt x="128" y="93"/>
                  </a:lnTo>
                  <a:lnTo>
                    <a:pt x="132" y="97"/>
                  </a:lnTo>
                  <a:lnTo>
                    <a:pt x="130" y="100"/>
                  </a:lnTo>
                  <a:lnTo>
                    <a:pt x="133" y="105"/>
                  </a:lnTo>
                  <a:lnTo>
                    <a:pt x="133" y="108"/>
                  </a:lnTo>
                  <a:lnTo>
                    <a:pt x="138" y="108"/>
                  </a:lnTo>
                  <a:lnTo>
                    <a:pt x="143" y="111"/>
                  </a:lnTo>
                  <a:lnTo>
                    <a:pt x="146" y="116"/>
                  </a:lnTo>
                  <a:lnTo>
                    <a:pt x="146" y="120"/>
                  </a:lnTo>
                  <a:lnTo>
                    <a:pt x="148" y="120"/>
                  </a:lnTo>
                  <a:lnTo>
                    <a:pt x="148" y="124"/>
                  </a:lnTo>
                  <a:lnTo>
                    <a:pt x="146" y="127"/>
                  </a:lnTo>
                  <a:lnTo>
                    <a:pt x="146" y="132"/>
                  </a:lnTo>
                  <a:lnTo>
                    <a:pt x="148" y="135"/>
                  </a:lnTo>
                  <a:lnTo>
                    <a:pt x="146" y="136"/>
                  </a:lnTo>
                  <a:lnTo>
                    <a:pt x="144" y="135"/>
                  </a:lnTo>
                  <a:lnTo>
                    <a:pt x="144" y="138"/>
                  </a:lnTo>
                  <a:lnTo>
                    <a:pt x="143" y="143"/>
                  </a:lnTo>
                  <a:lnTo>
                    <a:pt x="141" y="146"/>
                  </a:lnTo>
                  <a:lnTo>
                    <a:pt x="141" y="149"/>
                  </a:lnTo>
                  <a:lnTo>
                    <a:pt x="140" y="152"/>
                  </a:lnTo>
                  <a:lnTo>
                    <a:pt x="140" y="154"/>
                  </a:lnTo>
                  <a:lnTo>
                    <a:pt x="141" y="163"/>
                  </a:lnTo>
                  <a:lnTo>
                    <a:pt x="141" y="173"/>
                  </a:lnTo>
                  <a:lnTo>
                    <a:pt x="138" y="173"/>
                  </a:lnTo>
                  <a:lnTo>
                    <a:pt x="135" y="173"/>
                  </a:lnTo>
                  <a:lnTo>
                    <a:pt x="133" y="171"/>
                  </a:lnTo>
                  <a:lnTo>
                    <a:pt x="130" y="168"/>
                  </a:lnTo>
                  <a:lnTo>
                    <a:pt x="127" y="166"/>
                  </a:lnTo>
                  <a:lnTo>
                    <a:pt x="121" y="165"/>
                  </a:lnTo>
                  <a:lnTo>
                    <a:pt x="116" y="165"/>
                  </a:lnTo>
                  <a:lnTo>
                    <a:pt x="113" y="162"/>
                  </a:lnTo>
                  <a:lnTo>
                    <a:pt x="109" y="160"/>
                  </a:lnTo>
                  <a:lnTo>
                    <a:pt x="106" y="157"/>
                  </a:lnTo>
                  <a:lnTo>
                    <a:pt x="103" y="155"/>
                  </a:lnTo>
                  <a:lnTo>
                    <a:pt x="100" y="154"/>
                  </a:lnTo>
                  <a:lnTo>
                    <a:pt x="98" y="152"/>
                  </a:lnTo>
                  <a:lnTo>
                    <a:pt x="89" y="147"/>
                  </a:lnTo>
                  <a:lnTo>
                    <a:pt x="81" y="141"/>
                  </a:lnTo>
                  <a:lnTo>
                    <a:pt x="67" y="127"/>
                  </a:lnTo>
                  <a:lnTo>
                    <a:pt x="52" y="112"/>
                  </a:lnTo>
                  <a:lnTo>
                    <a:pt x="51" y="109"/>
                  </a:lnTo>
                  <a:lnTo>
                    <a:pt x="51" y="108"/>
                  </a:lnTo>
                  <a:lnTo>
                    <a:pt x="46" y="106"/>
                  </a:lnTo>
                  <a:lnTo>
                    <a:pt x="43" y="103"/>
                  </a:lnTo>
                  <a:lnTo>
                    <a:pt x="40" y="100"/>
                  </a:lnTo>
                  <a:lnTo>
                    <a:pt x="32" y="97"/>
                  </a:lnTo>
                  <a:lnTo>
                    <a:pt x="25" y="93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1" y="86"/>
                  </a:lnTo>
                  <a:lnTo>
                    <a:pt x="17" y="82"/>
                  </a:lnTo>
                  <a:lnTo>
                    <a:pt x="14" y="81"/>
                  </a:lnTo>
                  <a:lnTo>
                    <a:pt x="13" y="81"/>
                  </a:lnTo>
                  <a:lnTo>
                    <a:pt x="8" y="79"/>
                  </a:lnTo>
                  <a:lnTo>
                    <a:pt x="5" y="78"/>
                  </a:lnTo>
                  <a:lnTo>
                    <a:pt x="3" y="73"/>
                  </a:lnTo>
                  <a:lnTo>
                    <a:pt x="2" y="70"/>
                  </a:lnTo>
                  <a:lnTo>
                    <a:pt x="0" y="6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70" name="Freeform 435"/>
            <p:cNvSpPr>
              <a:spLocks/>
            </p:cNvSpPr>
            <p:nvPr/>
          </p:nvSpPr>
          <p:spPr bwMode="auto">
            <a:xfrm>
              <a:off x="5222354" y="4307665"/>
              <a:ext cx="210262" cy="198014"/>
            </a:xfrm>
            <a:custGeom>
              <a:avLst/>
              <a:gdLst>
                <a:gd name="T0" fmla="*/ 3 w 285"/>
                <a:gd name="T1" fmla="*/ 172 h 234"/>
                <a:gd name="T2" fmla="*/ 11 w 285"/>
                <a:gd name="T3" fmla="*/ 154 h 234"/>
                <a:gd name="T4" fmla="*/ 9 w 285"/>
                <a:gd name="T5" fmla="*/ 135 h 234"/>
                <a:gd name="T6" fmla="*/ 12 w 285"/>
                <a:gd name="T7" fmla="*/ 132 h 234"/>
                <a:gd name="T8" fmla="*/ 20 w 285"/>
                <a:gd name="T9" fmla="*/ 127 h 234"/>
                <a:gd name="T10" fmla="*/ 31 w 285"/>
                <a:gd name="T11" fmla="*/ 124 h 234"/>
                <a:gd name="T12" fmla="*/ 39 w 285"/>
                <a:gd name="T13" fmla="*/ 115 h 234"/>
                <a:gd name="T14" fmla="*/ 39 w 285"/>
                <a:gd name="T15" fmla="*/ 100 h 234"/>
                <a:gd name="T16" fmla="*/ 49 w 285"/>
                <a:gd name="T17" fmla="*/ 94 h 234"/>
                <a:gd name="T18" fmla="*/ 46 w 285"/>
                <a:gd name="T19" fmla="*/ 83 h 234"/>
                <a:gd name="T20" fmla="*/ 52 w 285"/>
                <a:gd name="T21" fmla="*/ 72 h 234"/>
                <a:gd name="T22" fmla="*/ 62 w 285"/>
                <a:gd name="T23" fmla="*/ 72 h 234"/>
                <a:gd name="T24" fmla="*/ 74 w 285"/>
                <a:gd name="T25" fmla="*/ 78 h 234"/>
                <a:gd name="T26" fmla="*/ 81 w 285"/>
                <a:gd name="T27" fmla="*/ 75 h 234"/>
                <a:gd name="T28" fmla="*/ 82 w 285"/>
                <a:gd name="T29" fmla="*/ 64 h 234"/>
                <a:gd name="T30" fmla="*/ 85 w 285"/>
                <a:gd name="T31" fmla="*/ 58 h 234"/>
                <a:gd name="T32" fmla="*/ 95 w 285"/>
                <a:gd name="T33" fmla="*/ 61 h 234"/>
                <a:gd name="T34" fmla="*/ 106 w 285"/>
                <a:gd name="T35" fmla="*/ 39 h 234"/>
                <a:gd name="T36" fmla="*/ 120 w 285"/>
                <a:gd name="T37" fmla="*/ 37 h 234"/>
                <a:gd name="T38" fmla="*/ 128 w 285"/>
                <a:gd name="T39" fmla="*/ 34 h 234"/>
                <a:gd name="T40" fmla="*/ 141 w 285"/>
                <a:gd name="T41" fmla="*/ 24 h 234"/>
                <a:gd name="T42" fmla="*/ 158 w 285"/>
                <a:gd name="T43" fmla="*/ 15 h 234"/>
                <a:gd name="T44" fmla="*/ 182 w 285"/>
                <a:gd name="T45" fmla="*/ 0 h 234"/>
                <a:gd name="T46" fmla="*/ 201 w 285"/>
                <a:gd name="T47" fmla="*/ 5 h 234"/>
                <a:gd name="T48" fmla="*/ 209 w 285"/>
                <a:gd name="T49" fmla="*/ 16 h 234"/>
                <a:gd name="T50" fmla="*/ 209 w 285"/>
                <a:gd name="T51" fmla="*/ 27 h 234"/>
                <a:gd name="T52" fmla="*/ 214 w 285"/>
                <a:gd name="T53" fmla="*/ 42 h 234"/>
                <a:gd name="T54" fmla="*/ 222 w 285"/>
                <a:gd name="T55" fmla="*/ 54 h 234"/>
                <a:gd name="T56" fmla="*/ 230 w 285"/>
                <a:gd name="T57" fmla="*/ 61 h 234"/>
                <a:gd name="T58" fmla="*/ 241 w 285"/>
                <a:gd name="T59" fmla="*/ 69 h 234"/>
                <a:gd name="T60" fmla="*/ 242 w 285"/>
                <a:gd name="T61" fmla="*/ 72 h 234"/>
                <a:gd name="T62" fmla="*/ 236 w 285"/>
                <a:gd name="T63" fmla="*/ 73 h 234"/>
                <a:gd name="T64" fmla="*/ 239 w 285"/>
                <a:gd name="T65" fmla="*/ 86 h 234"/>
                <a:gd name="T66" fmla="*/ 258 w 285"/>
                <a:gd name="T67" fmla="*/ 102 h 234"/>
                <a:gd name="T68" fmla="*/ 271 w 285"/>
                <a:gd name="T69" fmla="*/ 97 h 234"/>
                <a:gd name="T70" fmla="*/ 279 w 285"/>
                <a:gd name="T71" fmla="*/ 105 h 234"/>
                <a:gd name="T72" fmla="*/ 279 w 285"/>
                <a:gd name="T73" fmla="*/ 121 h 234"/>
                <a:gd name="T74" fmla="*/ 284 w 285"/>
                <a:gd name="T75" fmla="*/ 137 h 234"/>
                <a:gd name="T76" fmla="*/ 274 w 285"/>
                <a:gd name="T77" fmla="*/ 148 h 234"/>
                <a:gd name="T78" fmla="*/ 260 w 285"/>
                <a:gd name="T79" fmla="*/ 151 h 234"/>
                <a:gd name="T80" fmla="*/ 247 w 285"/>
                <a:gd name="T81" fmla="*/ 153 h 234"/>
                <a:gd name="T82" fmla="*/ 239 w 285"/>
                <a:gd name="T83" fmla="*/ 164 h 234"/>
                <a:gd name="T84" fmla="*/ 227 w 285"/>
                <a:gd name="T85" fmla="*/ 169 h 234"/>
                <a:gd name="T86" fmla="*/ 211 w 285"/>
                <a:gd name="T87" fmla="*/ 167 h 234"/>
                <a:gd name="T88" fmla="*/ 196 w 285"/>
                <a:gd name="T89" fmla="*/ 164 h 234"/>
                <a:gd name="T90" fmla="*/ 182 w 285"/>
                <a:gd name="T91" fmla="*/ 167 h 234"/>
                <a:gd name="T92" fmla="*/ 174 w 285"/>
                <a:gd name="T93" fmla="*/ 169 h 234"/>
                <a:gd name="T94" fmla="*/ 160 w 285"/>
                <a:gd name="T95" fmla="*/ 167 h 234"/>
                <a:gd name="T96" fmla="*/ 144 w 285"/>
                <a:gd name="T97" fmla="*/ 167 h 234"/>
                <a:gd name="T98" fmla="*/ 96 w 285"/>
                <a:gd name="T99" fmla="*/ 167 h 234"/>
                <a:gd name="T100" fmla="*/ 93 w 285"/>
                <a:gd name="T101" fmla="*/ 180 h 234"/>
                <a:gd name="T102" fmla="*/ 100 w 285"/>
                <a:gd name="T103" fmla="*/ 208 h 234"/>
                <a:gd name="T104" fmla="*/ 100 w 285"/>
                <a:gd name="T105" fmla="*/ 227 h 234"/>
                <a:gd name="T106" fmla="*/ 96 w 285"/>
                <a:gd name="T107" fmla="*/ 230 h 234"/>
                <a:gd name="T108" fmla="*/ 87 w 285"/>
                <a:gd name="T109" fmla="*/ 219 h 234"/>
                <a:gd name="T110" fmla="*/ 77 w 285"/>
                <a:gd name="T111" fmla="*/ 213 h 234"/>
                <a:gd name="T112" fmla="*/ 65 w 285"/>
                <a:gd name="T113" fmla="*/ 211 h 234"/>
                <a:gd name="T114" fmla="*/ 52 w 285"/>
                <a:gd name="T115" fmla="*/ 216 h 234"/>
                <a:gd name="T116" fmla="*/ 44 w 285"/>
                <a:gd name="T117" fmla="*/ 226 h 234"/>
                <a:gd name="T118" fmla="*/ 33 w 285"/>
                <a:gd name="T119" fmla="*/ 221 h 234"/>
                <a:gd name="T120" fmla="*/ 20 w 285"/>
                <a:gd name="T121" fmla="*/ 213 h 234"/>
                <a:gd name="T122" fmla="*/ 14 w 285"/>
                <a:gd name="T123" fmla="*/ 200 h 234"/>
                <a:gd name="T124" fmla="*/ 1 w 285"/>
                <a:gd name="T125" fmla="*/ 194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5" h="234">
                  <a:moveTo>
                    <a:pt x="0" y="191"/>
                  </a:moveTo>
                  <a:lnTo>
                    <a:pt x="1" y="184"/>
                  </a:lnTo>
                  <a:lnTo>
                    <a:pt x="3" y="178"/>
                  </a:lnTo>
                  <a:lnTo>
                    <a:pt x="3" y="172"/>
                  </a:lnTo>
                  <a:lnTo>
                    <a:pt x="1" y="165"/>
                  </a:lnTo>
                  <a:lnTo>
                    <a:pt x="6" y="164"/>
                  </a:lnTo>
                  <a:lnTo>
                    <a:pt x="8" y="164"/>
                  </a:lnTo>
                  <a:lnTo>
                    <a:pt x="11" y="154"/>
                  </a:lnTo>
                  <a:lnTo>
                    <a:pt x="12" y="146"/>
                  </a:lnTo>
                  <a:lnTo>
                    <a:pt x="9" y="143"/>
                  </a:lnTo>
                  <a:lnTo>
                    <a:pt x="11" y="138"/>
                  </a:lnTo>
                  <a:lnTo>
                    <a:pt x="9" y="135"/>
                  </a:lnTo>
                  <a:lnTo>
                    <a:pt x="6" y="135"/>
                  </a:lnTo>
                  <a:lnTo>
                    <a:pt x="6" y="134"/>
                  </a:lnTo>
                  <a:lnTo>
                    <a:pt x="9" y="134"/>
                  </a:lnTo>
                  <a:lnTo>
                    <a:pt x="12" y="132"/>
                  </a:lnTo>
                  <a:lnTo>
                    <a:pt x="16" y="129"/>
                  </a:lnTo>
                  <a:lnTo>
                    <a:pt x="19" y="127"/>
                  </a:lnTo>
                  <a:lnTo>
                    <a:pt x="20" y="127"/>
                  </a:lnTo>
                  <a:lnTo>
                    <a:pt x="20" y="127"/>
                  </a:lnTo>
                  <a:lnTo>
                    <a:pt x="25" y="127"/>
                  </a:lnTo>
                  <a:lnTo>
                    <a:pt x="28" y="127"/>
                  </a:lnTo>
                  <a:lnTo>
                    <a:pt x="31" y="124"/>
                  </a:lnTo>
                  <a:lnTo>
                    <a:pt x="31" y="124"/>
                  </a:lnTo>
                  <a:lnTo>
                    <a:pt x="33" y="124"/>
                  </a:lnTo>
                  <a:lnTo>
                    <a:pt x="36" y="121"/>
                  </a:lnTo>
                  <a:lnTo>
                    <a:pt x="36" y="118"/>
                  </a:lnTo>
                  <a:lnTo>
                    <a:pt x="39" y="115"/>
                  </a:lnTo>
                  <a:lnTo>
                    <a:pt x="41" y="110"/>
                  </a:lnTo>
                  <a:lnTo>
                    <a:pt x="41" y="107"/>
                  </a:lnTo>
                  <a:lnTo>
                    <a:pt x="43" y="104"/>
                  </a:lnTo>
                  <a:lnTo>
                    <a:pt x="39" y="100"/>
                  </a:lnTo>
                  <a:lnTo>
                    <a:pt x="39" y="97"/>
                  </a:lnTo>
                  <a:lnTo>
                    <a:pt x="43" y="97"/>
                  </a:lnTo>
                  <a:lnTo>
                    <a:pt x="47" y="97"/>
                  </a:lnTo>
                  <a:lnTo>
                    <a:pt x="49" y="94"/>
                  </a:lnTo>
                  <a:lnTo>
                    <a:pt x="49" y="91"/>
                  </a:lnTo>
                  <a:lnTo>
                    <a:pt x="49" y="88"/>
                  </a:lnTo>
                  <a:lnTo>
                    <a:pt x="46" y="83"/>
                  </a:lnTo>
                  <a:lnTo>
                    <a:pt x="46" y="83"/>
                  </a:lnTo>
                  <a:lnTo>
                    <a:pt x="46" y="80"/>
                  </a:lnTo>
                  <a:lnTo>
                    <a:pt x="49" y="78"/>
                  </a:lnTo>
                  <a:lnTo>
                    <a:pt x="49" y="75"/>
                  </a:lnTo>
                  <a:lnTo>
                    <a:pt x="52" y="72"/>
                  </a:lnTo>
                  <a:lnTo>
                    <a:pt x="55" y="69"/>
                  </a:lnTo>
                  <a:lnTo>
                    <a:pt x="58" y="65"/>
                  </a:lnTo>
                  <a:lnTo>
                    <a:pt x="58" y="69"/>
                  </a:lnTo>
                  <a:lnTo>
                    <a:pt x="62" y="72"/>
                  </a:lnTo>
                  <a:lnTo>
                    <a:pt x="65" y="72"/>
                  </a:lnTo>
                  <a:lnTo>
                    <a:pt x="68" y="75"/>
                  </a:lnTo>
                  <a:lnTo>
                    <a:pt x="71" y="78"/>
                  </a:lnTo>
                  <a:lnTo>
                    <a:pt x="74" y="78"/>
                  </a:lnTo>
                  <a:lnTo>
                    <a:pt x="76" y="80"/>
                  </a:lnTo>
                  <a:lnTo>
                    <a:pt x="77" y="77"/>
                  </a:lnTo>
                  <a:lnTo>
                    <a:pt x="76" y="75"/>
                  </a:lnTo>
                  <a:lnTo>
                    <a:pt x="81" y="75"/>
                  </a:lnTo>
                  <a:lnTo>
                    <a:pt x="84" y="75"/>
                  </a:lnTo>
                  <a:lnTo>
                    <a:pt x="84" y="70"/>
                  </a:lnTo>
                  <a:lnTo>
                    <a:pt x="84" y="67"/>
                  </a:lnTo>
                  <a:lnTo>
                    <a:pt x="82" y="64"/>
                  </a:lnTo>
                  <a:lnTo>
                    <a:pt x="84" y="61"/>
                  </a:lnTo>
                  <a:lnTo>
                    <a:pt x="84" y="58"/>
                  </a:lnTo>
                  <a:lnTo>
                    <a:pt x="82" y="58"/>
                  </a:lnTo>
                  <a:lnTo>
                    <a:pt x="85" y="58"/>
                  </a:lnTo>
                  <a:lnTo>
                    <a:pt x="89" y="58"/>
                  </a:lnTo>
                  <a:lnTo>
                    <a:pt x="92" y="59"/>
                  </a:lnTo>
                  <a:lnTo>
                    <a:pt x="93" y="61"/>
                  </a:lnTo>
                  <a:lnTo>
                    <a:pt x="95" y="61"/>
                  </a:lnTo>
                  <a:lnTo>
                    <a:pt x="96" y="54"/>
                  </a:lnTo>
                  <a:lnTo>
                    <a:pt x="96" y="50"/>
                  </a:lnTo>
                  <a:lnTo>
                    <a:pt x="100" y="43"/>
                  </a:lnTo>
                  <a:lnTo>
                    <a:pt x="106" y="39"/>
                  </a:lnTo>
                  <a:lnTo>
                    <a:pt x="109" y="35"/>
                  </a:lnTo>
                  <a:lnTo>
                    <a:pt x="112" y="34"/>
                  </a:lnTo>
                  <a:lnTo>
                    <a:pt x="117" y="35"/>
                  </a:lnTo>
                  <a:lnTo>
                    <a:pt x="120" y="37"/>
                  </a:lnTo>
                  <a:lnTo>
                    <a:pt x="123" y="39"/>
                  </a:lnTo>
                  <a:lnTo>
                    <a:pt x="125" y="39"/>
                  </a:lnTo>
                  <a:lnTo>
                    <a:pt x="128" y="37"/>
                  </a:lnTo>
                  <a:lnTo>
                    <a:pt x="128" y="34"/>
                  </a:lnTo>
                  <a:lnTo>
                    <a:pt x="128" y="31"/>
                  </a:lnTo>
                  <a:lnTo>
                    <a:pt x="130" y="29"/>
                  </a:lnTo>
                  <a:lnTo>
                    <a:pt x="136" y="26"/>
                  </a:lnTo>
                  <a:lnTo>
                    <a:pt x="141" y="24"/>
                  </a:lnTo>
                  <a:lnTo>
                    <a:pt x="147" y="20"/>
                  </a:lnTo>
                  <a:lnTo>
                    <a:pt x="152" y="16"/>
                  </a:lnTo>
                  <a:lnTo>
                    <a:pt x="155" y="15"/>
                  </a:lnTo>
                  <a:lnTo>
                    <a:pt x="158" y="15"/>
                  </a:lnTo>
                  <a:lnTo>
                    <a:pt x="163" y="13"/>
                  </a:lnTo>
                  <a:lnTo>
                    <a:pt x="163" y="13"/>
                  </a:lnTo>
                  <a:lnTo>
                    <a:pt x="174" y="0"/>
                  </a:lnTo>
                  <a:lnTo>
                    <a:pt x="182" y="0"/>
                  </a:lnTo>
                  <a:lnTo>
                    <a:pt x="187" y="4"/>
                  </a:lnTo>
                  <a:lnTo>
                    <a:pt x="192" y="2"/>
                  </a:lnTo>
                  <a:lnTo>
                    <a:pt x="200" y="4"/>
                  </a:lnTo>
                  <a:lnTo>
                    <a:pt x="201" y="5"/>
                  </a:lnTo>
                  <a:lnTo>
                    <a:pt x="209" y="8"/>
                  </a:lnTo>
                  <a:lnTo>
                    <a:pt x="209" y="8"/>
                  </a:lnTo>
                  <a:lnTo>
                    <a:pt x="207" y="13"/>
                  </a:lnTo>
                  <a:lnTo>
                    <a:pt x="209" y="16"/>
                  </a:lnTo>
                  <a:lnTo>
                    <a:pt x="207" y="20"/>
                  </a:lnTo>
                  <a:lnTo>
                    <a:pt x="206" y="23"/>
                  </a:lnTo>
                  <a:lnTo>
                    <a:pt x="207" y="27"/>
                  </a:lnTo>
                  <a:lnTo>
                    <a:pt x="209" y="27"/>
                  </a:lnTo>
                  <a:lnTo>
                    <a:pt x="212" y="31"/>
                  </a:lnTo>
                  <a:lnTo>
                    <a:pt x="214" y="35"/>
                  </a:lnTo>
                  <a:lnTo>
                    <a:pt x="214" y="39"/>
                  </a:lnTo>
                  <a:lnTo>
                    <a:pt x="214" y="42"/>
                  </a:lnTo>
                  <a:lnTo>
                    <a:pt x="215" y="45"/>
                  </a:lnTo>
                  <a:lnTo>
                    <a:pt x="217" y="46"/>
                  </a:lnTo>
                  <a:lnTo>
                    <a:pt x="219" y="51"/>
                  </a:lnTo>
                  <a:lnTo>
                    <a:pt x="222" y="54"/>
                  </a:lnTo>
                  <a:lnTo>
                    <a:pt x="222" y="54"/>
                  </a:lnTo>
                  <a:lnTo>
                    <a:pt x="222" y="58"/>
                  </a:lnTo>
                  <a:lnTo>
                    <a:pt x="225" y="58"/>
                  </a:lnTo>
                  <a:lnTo>
                    <a:pt x="230" y="61"/>
                  </a:lnTo>
                  <a:lnTo>
                    <a:pt x="233" y="61"/>
                  </a:lnTo>
                  <a:lnTo>
                    <a:pt x="236" y="64"/>
                  </a:lnTo>
                  <a:lnTo>
                    <a:pt x="236" y="67"/>
                  </a:lnTo>
                  <a:lnTo>
                    <a:pt x="241" y="69"/>
                  </a:lnTo>
                  <a:lnTo>
                    <a:pt x="241" y="69"/>
                  </a:lnTo>
                  <a:lnTo>
                    <a:pt x="244" y="70"/>
                  </a:lnTo>
                  <a:lnTo>
                    <a:pt x="246" y="72"/>
                  </a:lnTo>
                  <a:lnTo>
                    <a:pt x="242" y="72"/>
                  </a:lnTo>
                  <a:lnTo>
                    <a:pt x="242" y="73"/>
                  </a:lnTo>
                  <a:lnTo>
                    <a:pt x="239" y="73"/>
                  </a:lnTo>
                  <a:lnTo>
                    <a:pt x="236" y="72"/>
                  </a:lnTo>
                  <a:lnTo>
                    <a:pt x="236" y="73"/>
                  </a:lnTo>
                  <a:lnTo>
                    <a:pt x="236" y="78"/>
                  </a:lnTo>
                  <a:lnTo>
                    <a:pt x="234" y="81"/>
                  </a:lnTo>
                  <a:lnTo>
                    <a:pt x="234" y="83"/>
                  </a:lnTo>
                  <a:lnTo>
                    <a:pt x="239" y="86"/>
                  </a:lnTo>
                  <a:lnTo>
                    <a:pt x="242" y="88"/>
                  </a:lnTo>
                  <a:lnTo>
                    <a:pt x="247" y="92"/>
                  </a:lnTo>
                  <a:lnTo>
                    <a:pt x="252" y="97"/>
                  </a:lnTo>
                  <a:lnTo>
                    <a:pt x="258" y="102"/>
                  </a:lnTo>
                  <a:lnTo>
                    <a:pt x="261" y="102"/>
                  </a:lnTo>
                  <a:lnTo>
                    <a:pt x="265" y="102"/>
                  </a:lnTo>
                  <a:lnTo>
                    <a:pt x="268" y="100"/>
                  </a:lnTo>
                  <a:lnTo>
                    <a:pt x="271" y="97"/>
                  </a:lnTo>
                  <a:lnTo>
                    <a:pt x="273" y="97"/>
                  </a:lnTo>
                  <a:lnTo>
                    <a:pt x="276" y="99"/>
                  </a:lnTo>
                  <a:lnTo>
                    <a:pt x="279" y="102"/>
                  </a:lnTo>
                  <a:lnTo>
                    <a:pt x="279" y="105"/>
                  </a:lnTo>
                  <a:lnTo>
                    <a:pt x="280" y="108"/>
                  </a:lnTo>
                  <a:lnTo>
                    <a:pt x="277" y="110"/>
                  </a:lnTo>
                  <a:lnTo>
                    <a:pt x="274" y="111"/>
                  </a:lnTo>
                  <a:lnTo>
                    <a:pt x="279" y="121"/>
                  </a:lnTo>
                  <a:lnTo>
                    <a:pt x="285" y="132"/>
                  </a:lnTo>
                  <a:lnTo>
                    <a:pt x="285" y="132"/>
                  </a:lnTo>
                  <a:lnTo>
                    <a:pt x="285" y="134"/>
                  </a:lnTo>
                  <a:lnTo>
                    <a:pt x="284" y="137"/>
                  </a:lnTo>
                  <a:lnTo>
                    <a:pt x="282" y="140"/>
                  </a:lnTo>
                  <a:lnTo>
                    <a:pt x="279" y="143"/>
                  </a:lnTo>
                  <a:lnTo>
                    <a:pt x="276" y="146"/>
                  </a:lnTo>
                  <a:lnTo>
                    <a:pt x="274" y="148"/>
                  </a:lnTo>
                  <a:lnTo>
                    <a:pt x="271" y="151"/>
                  </a:lnTo>
                  <a:lnTo>
                    <a:pt x="268" y="151"/>
                  </a:lnTo>
                  <a:lnTo>
                    <a:pt x="265" y="150"/>
                  </a:lnTo>
                  <a:lnTo>
                    <a:pt x="260" y="151"/>
                  </a:lnTo>
                  <a:lnTo>
                    <a:pt x="257" y="153"/>
                  </a:lnTo>
                  <a:lnTo>
                    <a:pt x="253" y="150"/>
                  </a:lnTo>
                  <a:lnTo>
                    <a:pt x="250" y="150"/>
                  </a:lnTo>
                  <a:lnTo>
                    <a:pt x="247" y="153"/>
                  </a:lnTo>
                  <a:lnTo>
                    <a:pt x="246" y="156"/>
                  </a:lnTo>
                  <a:lnTo>
                    <a:pt x="241" y="157"/>
                  </a:lnTo>
                  <a:lnTo>
                    <a:pt x="241" y="161"/>
                  </a:lnTo>
                  <a:lnTo>
                    <a:pt x="239" y="164"/>
                  </a:lnTo>
                  <a:lnTo>
                    <a:pt x="234" y="165"/>
                  </a:lnTo>
                  <a:lnTo>
                    <a:pt x="233" y="165"/>
                  </a:lnTo>
                  <a:lnTo>
                    <a:pt x="234" y="169"/>
                  </a:lnTo>
                  <a:lnTo>
                    <a:pt x="227" y="169"/>
                  </a:lnTo>
                  <a:lnTo>
                    <a:pt x="222" y="169"/>
                  </a:lnTo>
                  <a:lnTo>
                    <a:pt x="219" y="170"/>
                  </a:lnTo>
                  <a:lnTo>
                    <a:pt x="215" y="167"/>
                  </a:lnTo>
                  <a:lnTo>
                    <a:pt x="211" y="167"/>
                  </a:lnTo>
                  <a:lnTo>
                    <a:pt x="207" y="165"/>
                  </a:lnTo>
                  <a:lnTo>
                    <a:pt x="207" y="165"/>
                  </a:lnTo>
                  <a:lnTo>
                    <a:pt x="203" y="164"/>
                  </a:lnTo>
                  <a:lnTo>
                    <a:pt x="196" y="164"/>
                  </a:lnTo>
                  <a:lnTo>
                    <a:pt x="190" y="162"/>
                  </a:lnTo>
                  <a:lnTo>
                    <a:pt x="188" y="162"/>
                  </a:lnTo>
                  <a:lnTo>
                    <a:pt x="187" y="165"/>
                  </a:lnTo>
                  <a:lnTo>
                    <a:pt x="182" y="167"/>
                  </a:lnTo>
                  <a:lnTo>
                    <a:pt x="181" y="169"/>
                  </a:lnTo>
                  <a:lnTo>
                    <a:pt x="177" y="172"/>
                  </a:lnTo>
                  <a:lnTo>
                    <a:pt x="176" y="172"/>
                  </a:lnTo>
                  <a:lnTo>
                    <a:pt x="174" y="169"/>
                  </a:lnTo>
                  <a:lnTo>
                    <a:pt x="171" y="169"/>
                  </a:lnTo>
                  <a:lnTo>
                    <a:pt x="166" y="169"/>
                  </a:lnTo>
                  <a:lnTo>
                    <a:pt x="163" y="167"/>
                  </a:lnTo>
                  <a:lnTo>
                    <a:pt x="160" y="167"/>
                  </a:lnTo>
                  <a:lnTo>
                    <a:pt x="160" y="169"/>
                  </a:lnTo>
                  <a:lnTo>
                    <a:pt x="152" y="169"/>
                  </a:lnTo>
                  <a:lnTo>
                    <a:pt x="149" y="167"/>
                  </a:lnTo>
                  <a:lnTo>
                    <a:pt x="144" y="167"/>
                  </a:lnTo>
                  <a:lnTo>
                    <a:pt x="141" y="169"/>
                  </a:lnTo>
                  <a:lnTo>
                    <a:pt x="136" y="169"/>
                  </a:lnTo>
                  <a:lnTo>
                    <a:pt x="117" y="169"/>
                  </a:lnTo>
                  <a:lnTo>
                    <a:pt x="96" y="167"/>
                  </a:lnTo>
                  <a:lnTo>
                    <a:pt x="98" y="172"/>
                  </a:lnTo>
                  <a:lnTo>
                    <a:pt x="95" y="175"/>
                  </a:lnTo>
                  <a:lnTo>
                    <a:pt x="95" y="178"/>
                  </a:lnTo>
                  <a:lnTo>
                    <a:pt x="93" y="180"/>
                  </a:lnTo>
                  <a:lnTo>
                    <a:pt x="93" y="183"/>
                  </a:lnTo>
                  <a:lnTo>
                    <a:pt x="96" y="192"/>
                  </a:lnTo>
                  <a:lnTo>
                    <a:pt x="98" y="200"/>
                  </a:lnTo>
                  <a:lnTo>
                    <a:pt x="100" y="208"/>
                  </a:lnTo>
                  <a:lnTo>
                    <a:pt x="100" y="216"/>
                  </a:lnTo>
                  <a:lnTo>
                    <a:pt x="98" y="219"/>
                  </a:lnTo>
                  <a:lnTo>
                    <a:pt x="100" y="222"/>
                  </a:lnTo>
                  <a:lnTo>
                    <a:pt x="100" y="227"/>
                  </a:lnTo>
                  <a:lnTo>
                    <a:pt x="101" y="230"/>
                  </a:lnTo>
                  <a:lnTo>
                    <a:pt x="101" y="230"/>
                  </a:lnTo>
                  <a:lnTo>
                    <a:pt x="100" y="234"/>
                  </a:lnTo>
                  <a:lnTo>
                    <a:pt x="96" y="230"/>
                  </a:lnTo>
                  <a:lnTo>
                    <a:pt x="93" y="227"/>
                  </a:lnTo>
                  <a:lnTo>
                    <a:pt x="92" y="224"/>
                  </a:lnTo>
                  <a:lnTo>
                    <a:pt x="92" y="221"/>
                  </a:lnTo>
                  <a:lnTo>
                    <a:pt x="87" y="219"/>
                  </a:lnTo>
                  <a:lnTo>
                    <a:pt x="85" y="216"/>
                  </a:lnTo>
                  <a:lnTo>
                    <a:pt x="84" y="211"/>
                  </a:lnTo>
                  <a:lnTo>
                    <a:pt x="81" y="215"/>
                  </a:lnTo>
                  <a:lnTo>
                    <a:pt x="77" y="213"/>
                  </a:lnTo>
                  <a:lnTo>
                    <a:pt x="76" y="213"/>
                  </a:lnTo>
                  <a:lnTo>
                    <a:pt x="71" y="211"/>
                  </a:lnTo>
                  <a:lnTo>
                    <a:pt x="68" y="211"/>
                  </a:lnTo>
                  <a:lnTo>
                    <a:pt x="65" y="211"/>
                  </a:lnTo>
                  <a:lnTo>
                    <a:pt x="62" y="213"/>
                  </a:lnTo>
                  <a:lnTo>
                    <a:pt x="58" y="213"/>
                  </a:lnTo>
                  <a:lnTo>
                    <a:pt x="55" y="216"/>
                  </a:lnTo>
                  <a:lnTo>
                    <a:pt x="52" y="216"/>
                  </a:lnTo>
                  <a:lnTo>
                    <a:pt x="49" y="218"/>
                  </a:lnTo>
                  <a:lnTo>
                    <a:pt x="44" y="221"/>
                  </a:lnTo>
                  <a:lnTo>
                    <a:pt x="44" y="224"/>
                  </a:lnTo>
                  <a:lnTo>
                    <a:pt x="44" y="226"/>
                  </a:lnTo>
                  <a:lnTo>
                    <a:pt x="41" y="224"/>
                  </a:lnTo>
                  <a:lnTo>
                    <a:pt x="38" y="222"/>
                  </a:lnTo>
                  <a:lnTo>
                    <a:pt x="33" y="221"/>
                  </a:lnTo>
                  <a:lnTo>
                    <a:pt x="33" y="221"/>
                  </a:lnTo>
                  <a:lnTo>
                    <a:pt x="30" y="221"/>
                  </a:lnTo>
                  <a:lnTo>
                    <a:pt x="27" y="218"/>
                  </a:lnTo>
                  <a:lnTo>
                    <a:pt x="24" y="215"/>
                  </a:lnTo>
                  <a:lnTo>
                    <a:pt x="20" y="213"/>
                  </a:lnTo>
                  <a:lnTo>
                    <a:pt x="20" y="208"/>
                  </a:lnTo>
                  <a:lnTo>
                    <a:pt x="19" y="205"/>
                  </a:lnTo>
                  <a:lnTo>
                    <a:pt x="17" y="203"/>
                  </a:lnTo>
                  <a:lnTo>
                    <a:pt x="14" y="200"/>
                  </a:lnTo>
                  <a:lnTo>
                    <a:pt x="12" y="197"/>
                  </a:lnTo>
                  <a:lnTo>
                    <a:pt x="9" y="196"/>
                  </a:lnTo>
                  <a:lnTo>
                    <a:pt x="6" y="197"/>
                  </a:lnTo>
                  <a:lnTo>
                    <a:pt x="1" y="194"/>
                  </a:lnTo>
                  <a:lnTo>
                    <a:pt x="0" y="19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71" name="Freeform 436"/>
            <p:cNvSpPr>
              <a:spLocks/>
            </p:cNvSpPr>
            <p:nvPr/>
          </p:nvSpPr>
          <p:spPr bwMode="auto">
            <a:xfrm>
              <a:off x="5284109" y="4444752"/>
              <a:ext cx="116158" cy="221709"/>
            </a:xfrm>
            <a:custGeom>
              <a:avLst/>
              <a:gdLst>
                <a:gd name="T0" fmla="*/ 3 w 159"/>
                <a:gd name="T1" fmla="*/ 168 h 262"/>
                <a:gd name="T2" fmla="*/ 14 w 159"/>
                <a:gd name="T3" fmla="*/ 137 h 262"/>
                <a:gd name="T4" fmla="*/ 22 w 159"/>
                <a:gd name="T5" fmla="*/ 124 h 262"/>
                <a:gd name="T6" fmla="*/ 26 w 159"/>
                <a:gd name="T7" fmla="*/ 110 h 262"/>
                <a:gd name="T8" fmla="*/ 22 w 159"/>
                <a:gd name="T9" fmla="*/ 97 h 262"/>
                <a:gd name="T10" fmla="*/ 21 w 159"/>
                <a:gd name="T11" fmla="*/ 87 h 262"/>
                <a:gd name="T12" fmla="*/ 19 w 159"/>
                <a:gd name="T13" fmla="*/ 75 h 262"/>
                <a:gd name="T14" fmla="*/ 18 w 159"/>
                <a:gd name="T15" fmla="*/ 65 h 262"/>
                <a:gd name="T16" fmla="*/ 18 w 159"/>
                <a:gd name="T17" fmla="*/ 46 h 262"/>
                <a:gd name="T18" fmla="*/ 11 w 159"/>
                <a:gd name="T19" fmla="*/ 18 h 262"/>
                <a:gd name="T20" fmla="*/ 14 w 159"/>
                <a:gd name="T21" fmla="*/ 5 h 262"/>
                <a:gd name="T22" fmla="*/ 62 w 159"/>
                <a:gd name="T23" fmla="*/ 5 h 262"/>
                <a:gd name="T24" fmla="*/ 78 w 159"/>
                <a:gd name="T25" fmla="*/ 5 h 262"/>
                <a:gd name="T26" fmla="*/ 92 w 159"/>
                <a:gd name="T27" fmla="*/ 7 h 262"/>
                <a:gd name="T28" fmla="*/ 100 w 159"/>
                <a:gd name="T29" fmla="*/ 5 h 262"/>
                <a:gd name="T30" fmla="*/ 111 w 159"/>
                <a:gd name="T31" fmla="*/ 0 h 262"/>
                <a:gd name="T32" fmla="*/ 118 w 159"/>
                <a:gd name="T33" fmla="*/ 7 h 262"/>
                <a:gd name="T34" fmla="*/ 114 w 159"/>
                <a:gd name="T35" fmla="*/ 18 h 262"/>
                <a:gd name="T36" fmla="*/ 121 w 159"/>
                <a:gd name="T37" fmla="*/ 26 h 262"/>
                <a:gd name="T38" fmla="*/ 130 w 159"/>
                <a:gd name="T39" fmla="*/ 34 h 262"/>
                <a:gd name="T40" fmla="*/ 130 w 159"/>
                <a:gd name="T41" fmla="*/ 45 h 262"/>
                <a:gd name="T42" fmla="*/ 129 w 159"/>
                <a:gd name="T43" fmla="*/ 54 h 262"/>
                <a:gd name="T44" fmla="*/ 125 w 159"/>
                <a:gd name="T45" fmla="*/ 65 h 262"/>
                <a:gd name="T46" fmla="*/ 132 w 159"/>
                <a:gd name="T47" fmla="*/ 67 h 262"/>
                <a:gd name="T48" fmla="*/ 135 w 159"/>
                <a:gd name="T49" fmla="*/ 80 h 262"/>
                <a:gd name="T50" fmla="*/ 135 w 159"/>
                <a:gd name="T51" fmla="*/ 94 h 262"/>
                <a:gd name="T52" fmla="*/ 130 w 159"/>
                <a:gd name="T53" fmla="*/ 99 h 262"/>
                <a:gd name="T54" fmla="*/ 140 w 159"/>
                <a:gd name="T55" fmla="*/ 111 h 262"/>
                <a:gd name="T56" fmla="*/ 138 w 159"/>
                <a:gd name="T57" fmla="*/ 126 h 262"/>
                <a:gd name="T58" fmla="*/ 137 w 159"/>
                <a:gd name="T59" fmla="*/ 143 h 262"/>
                <a:gd name="T60" fmla="*/ 140 w 159"/>
                <a:gd name="T61" fmla="*/ 154 h 262"/>
                <a:gd name="T62" fmla="*/ 138 w 159"/>
                <a:gd name="T63" fmla="*/ 168 h 262"/>
                <a:gd name="T64" fmla="*/ 137 w 159"/>
                <a:gd name="T65" fmla="*/ 179 h 262"/>
                <a:gd name="T66" fmla="*/ 143 w 159"/>
                <a:gd name="T67" fmla="*/ 191 h 262"/>
                <a:gd name="T68" fmla="*/ 156 w 159"/>
                <a:gd name="T69" fmla="*/ 203 h 262"/>
                <a:gd name="T70" fmla="*/ 152 w 159"/>
                <a:gd name="T71" fmla="*/ 213 h 262"/>
                <a:gd name="T72" fmla="*/ 145 w 159"/>
                <a:gd name="T73" fmla="*/ 221 h 262"/>
                <a:gd name="T74" fmla="*/ 138 w 159"/>
                <a:gd name="T75" fmla="*/ 213 h 262"/>
                <a:gd name="T76" fmla="*/ 130 w 159"/>
                <a:gd name="T77" fmla="*/ 208 h 262"/>
                <a:gd name="T78" fmla="*/ 124 w 159"/>
                <a:gd name="T79" fmla="*/ 206 h 262"/>
                <a:gd name="T80" fmla="*/ 127 w 159"/>
                <a:gd name="T81" fmla="*/ 210 h 262"/>
                <a:gd name="T82" fmla="*/ 138 w 159"/>
                <a:gd name="T83" fmla="*/ 217 h 262"/>
                <a:gd name="T84" fmla="*/ 119 w 159"/>
                <a:gd name="T85" fmla="*/ 222 h 262"/>
                <a:gd name="T86" fmla="*/ 103 w 159"/>
                <a:gd name="T87" fmla="*/ 232 h 262"/>
                <a:gd name="T88" fmla="*/ 92 w 159"/>
                <a:gd name="T89" fmla="*/ 238 h 262"/>
                <a:gd name="T90" fmla="*/ 79 w 159"/>
                <a:gd name="T91" fmla="*/ 243 h 262"/>
                <a:gd name="T92" fmla="*/ 65 w 159"/>
                <a:gd name="T93" fmla="*/ 248 h 262"/>
                <a:gd name="T94" fmla="*/ 54 w 159"/>
                <a:gd name="T95" fmla="*/ 254 h 262"/>
                <a:gd name="T96" fmla="*/ 40 w 159"/>
                <a:gd name="T97" fmla="*/ 262 h 262"/>
                <a:gd name="T98" fmla="*/ 24 w 159"/>
                <a:gd name="T99" fmla="*/ 252 h 262"/>
                <a:gd name="T100" fmla="*/ 7 w 159"/>
                <a:gd name="T101" fmla="*/ 246 h 262"/>
                <a:gd name="T102" fmla="*/ 13 w 159"/>
                <a:gd name="T103" fmla="*/ 246 h 262"/>
                <a:gd name="T104" fmla="*/ 18 w 159"/>
                <a:gd name="T105" fmla="*/ 237 h 262"/>
                <a:gd name="T106" fmla="*/ 13 w 159"/>
                <a:gd name="T107" fmla="*/ 225 h 262"/>
                <a:gd name="T108" fmla="*/ 7 w 159"/>
                <a:gd name="T109" fmla="*/ 214 h 262"/>
                <a:gd name="T110" fmla="*/ 2 w 159"/>
                <a:gd name="T111" fmla="*/ 20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9" h="262">
                  <a:moveTo>
                    <a:pt x="2" y="200"/>
                  </a:moveTo>
                  <a:lnTo>
                    <a:pt x="0" y="189"/>
                  </a:lnTo>
                  <a:lnTo>
                    <a:pt x="0" y="179"/>
                  </a:lnTo>
                  <a:lnTo>
                    <a:pt x="3" y="168"/>
                  </a:lnTo>
                  <a:lnTo>
                    <a:pt x="10" y="159"/>
                  </a:lnTo>
                  <a:lnTo>
                    <a:pt x="10" y="151"/>
                  </a:lnTo>
                  <a:lnTo>
                    <a:pt x="13" y="141"/>
                  </a:lnTo>
                  <a:lnTo>
                    <a:pt x="14" y="137"/>
                  </a:lnTo>
                  <a:lnTo>
                    <a:pt x="16" y="132"/>
                  </a:lnTo>
                  <a:lnTo>
                    <a:pt x="19" y="129"/>
                  </a:lnTo>
                  <a:lnTo>
                    <a:pt x="22" y="127"/>
                  </a:lnTo>
                  <a:lnTo>
                    <a:pt x="22" y="124"/>
                  </a:lnTo>
                  <a:lnTo>
                    <a:pt x="26" y="121"/>
                  </a:lnTo>
                  <a:lnTo>
                    <a:pt x="26" y="118"/>
                  </a:lnTo>
                  <a:lnTo>
                    <a:pt x="26" y="113"/>
                  </a:lnTo>
                  <a:lnTo>
                    <a:pt x="26" y="110"/>
                  </a:lnTo>
                  <a:lnTo>
                    <a:pt x="26" y="106"/>
                  </a:lnTo>
                  <a:lnTo>
                    <a:pt x="24" y="103"/>
                  </a:lnTo>
                  <a:lnTo>
                    <a:pt x="24" y="99"/>
                  </a:lnTo>
                  <a:lnTo>
                    <a:pt x="22" y="97"/>
                  </a:lnTo>
                  <a:lnTo>
                    <a:pt x="22" y="97"/>
                  </a:lnTo>
                  <a:lnTo>
                    <a:pt x="22" y="94"/>
                  </a:lnTo>
                  <a:lnTo>
                    <a:pt x="21" y="91"/>
                  </a:lnTo>
                  <a:lnTo>
                    <a:pt x="21" y="87"/>
                  </a:lnTo>
                  <a:lnTo>
                    <a:pt x="18" y="84"/>
                  </a:lnTo>
                  <a:lnTo>
                    <a:pt x="18" y="81"/>
                  </a:lnTo>
                  <a:lnTo>
                    <a:pt x="19" y="78"/>
                  </a:lnTo>
                  <a:lnTo>
                    <a:pt x="19" y="75"/>
                  </a:lnTo>
                  <a:lnTo>
                    <a:pt x="21" y="72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18" y="65"/>
                  </a:lnTo>
                  <a:lnTo>
                    <a:pt x="18" y="60"/>
                  </a:lnTo>
                  <a:lnTo>
                    <a:pt x="16" y="57"/>
                  </a:lnTo>
                  <a:lnTo>
                    <a:pt x="18" y="54"/>
                  </a:lnTo>
                  <a:lnTo>
                    <a:pt x="18" y="46"/>
                  </a:lnTo>
                  <a:lnTo>
                    <a:pt x="16" y="38"/>
                  </a:lnTo>
                  <a:lnTo>
                    <a:pt x="14" y="30"/>
                  </a:lnTo>
                  <a:lnTo>
                    <a:pt x="11" y="21"/>
                  </a:lnTo>
                  <a:lnTo>
                    <a:pt x="11" y="18"/>
                  </a:lnTo>
                  <a:lnTo>
                    <a:pt x="13" y="16"/>
                  </a:lnTo>
                  <a:lnTo>
                    <a:pt x="13" y="13"/>
                  </a:lnTo>
                  <a:lnTo>
                    <a:pt x="16" y="10"/>
                  </a:lnTo>
                  <a:lnTo>
                    <a:pt x="14" y="5"/>
                  </a:lnTo>
                  <a:lnTo>
                    <a:pt x="35" y="7"/>
                  </a:lnTo>
                  <a:lnTo>
                    <a:pt x="54" y="7"/>
                  </a:lnTo>
                  <a:lnTo>
                    <a:pt x="59" y="7"/>
                  </a:lnTo>
                  <a:lnTo>
                    <a:pt x="62" y="5"/>
                  </a:lnTo>
                  <a:lnTo>
                    <a:pt x="67" y="5"/>
                  </a:lnTo>
                  <a:lnTo>
                    <a:pt x="70" y="7"/>
                  </a:lnTo>
                  <a:lnTo>
                    <a:pt x="78" y="7"/>
                  </a:lnTo>
                  <a:lnTo>
                    <a:pt x="78" y="5"/>
                  </a:lnTo>
                  <a:lnTo>
                    <a:pt x="81" y="5"/>
                  </a:lnTo>
                  <a:lnTo>
                    <a:pt x="84" y="7"/>
                  </a:lnTo>
                  <a:lnTo>
                    <a:pt x="89" y="7"/>
                  </a:lnTo>
                  <a:lnTo>
                    <a:pt x="92" y="7"/>
                  </a:lnTo>
                  <a:lnTo>
                    <a:pt x="94" y="10"/>
                  </a:lnTo>
                  <a:lnTo>
                    <a:pt x="95" y="10"/>
                  </a:lnTo>
                  <a:lnTo>
                    <a:pt x="99" y="7"/>
                  </a:lnTo>
                  <a:lnTo>
                    <a:pt x="100" y="5"/>
                  </a:lnTo>
                  <a:lnTo>
                    <a:pt x="105" y="3"/>
                  </a:lnTo>
                  <a:lnTo>
                    <a:pt x="106" y="0"/>
                  </a:lnTo>
                  <a:lnTo>
                    <a:pt x="108" y="0"/>
                  </a:lnTo>
                  <a:lnTo>
                    <a:pt x="111" y="0"/>
                  </a:lnTo>
                  <a:lnTo>
                    <a:pt x="114" y="2"/>
                  </a:lnTo>
                  <a:lnTo>
                    <a:pt x="118" y="2"/>
                  </a:lnTo>
                  <a:lnTo>
                    <a:pt x="119" y="3"/>
                  </a:lnTo>
                  <a:lnTo>
                    <a:pt x="118" y="7"/>
                  </a:lnTo>
                  <a:lnTo>
                    <a:pt x="118" y="8"/>
                  </a:lnTo>
                  <a:lnTo>
                    <a:pt x="116" y="11"/>
                  </a:lnTo>
                  <a:lnTo>
                    <a:pt x="114" y="14"/>
                  </a:lnTo>
                  <a:lnTo>
                    <a:pt x="114" y="18"/>
                  </a:lnTo>
                  <a:lnTo>
                    <a:pt x="114" y="19"/>
                  </a:lnTo>
                  <a:lnTo>
                    <a:pt x="116" y="22"/>
                  </a:lnTo>
                  <a:lnTo>
                    <a:pt x="118" y="22"/>
                  </a:lnTo>
                  <a:lnTo>
                    <a:pt x="121" y="26"/>
                  </a:lnTo>
                  <a:lnTo>
                    <a:pt x="122" y="27"/>
                  </a:lnTo>
                  <a:lnTo>
                    <a:pt x="124" y="30"/>
                  </a:lnTo>
                  <a:lnTo>
                    <a:pt x="127" y="32"/>
                  </a:lnTo>
                  <a:lnTo>
                    <a:pt x="130" y="34"/>
                  </a:lnTo>
                  <a:lnTo>
                    <a:pt x="130" y="35"/>
                  </a:lnTo>
                  <a:lnTo>
                    <a:pt x="129" y="38"/>
                  </a:lnTo>
                  <a:lnTo>
                    <a:pt x="130" y="41"/>
                  </a:lnTo>
                  <a:lnTo>
                    <a:pt x="130" y="45"/>
                  </a:lnTo>
                  <a:lnTo>
                    <a:pt x="130" y="46"/>
                  </a:lnTo>
                  <a:lnTo>
                    <a:pt x="129" y="46"/>
                  </a:lnTo>
                  <a:lnTo>
                    <a:pt x="129" y="51"/>
                  </a:lnTo>
                  <a:lnTo>
                    <a:pt x="129" y="54"/>
                  </a:lnTo>
                  <a:lnTo>
                    <a:pt x="129" y="57"/>
                  </a:lnTo>
                  <a:lnTo>
                    <a:pt x="129" y="60"/>
                  </a:lnTo>
                  <a:lnTo>
                    <a:pt x="130" y="64"/>
                  </a:lnTo>
                  <a:lnTo>
                    <a:pt x="125" y="65"/>
                  </a:lnTo>
                  <a:lnTo>
                    <a:pt x="127" y="68"/>
                  </a:lnTo>
                  <a:lnTo>
                    <a:pt x="124" y="70"/>
                  </a:lnTo>
                  <a:lnTo>
                    <a:pt x="127" y="70"/>
                  </a:lnTo>
                  <a:lnTo>
                    <a:pt x="132" y="67"/>
                  </a:lnTo>
                  <a:lnTo>
                    <a:pt x="135" y="70"/>
                  </a:lnTo>
                  <a:lnTo>
                    <a:pt x="137" y="73"/>
                  </a:lnTo>
                  <a:lnTo>
                    <a:pt x="135" y="76"/>
                  </a:lnTo>
                  <a:lnTo>
                    <a:pt x="135" y="80"/>
                  </a:lnTo>
                  <a:lnTo>
                    <a:pt x="133" y="83"/>
                  </a:lnTo>
                  <a:lnTo>
                    <a:pt x="132" y="87"/>
                  </a:lnTo>
                  <a:lnTo>
                    <a:pt x="135" y="91"/>
                  </a:lnTo>
                  <a:lnTo>
                    <a:pt x="135" y="94"/>
                  </a:lnTo>
                  <a:lnTo>
                    <a:pt x="133" y="95"/>
                  </a:lnTo>
                  <a:lnTo>
                    <a:pt x="133" y="97"/>
                  </a:lnTo>
                  <a:lnTo>
                    <a:pt x="130" y="97"/>
                  </a:lnTo>
                  <a:lnTo>
                    <a:pt x="130" y="99"/>
                  </a:lnTo>
                  <a:lnTo>
                    <a:pt x="132" y="102"/>
                  </a:lnTo>
                  <a:lnTo>
                    <a:pt x="135" y="106"/>
                  </a:lnTo>
                  <a:lnTo>
                    <a:pt x="138" y="108"/>
                  </a:lnTo>
                  <a:lnTo>
                    <a:pt x="140" y="111"/>
                  </a:lnTo>
                  <a:lnTo>
                    <a:pt x="143" y="116"/>
                  </a:lnTo>
                  <a:lnTo>
                    <a:pt x="140" y="119"/>
                  </a:lnTo>
                  <a:lnTo>
                    <a:pt x="138" y="122"/>
                  </a:lnTo>
                  <a:lnTo>
                    <a:pt x="138" y="126"/>
                  </a:lnTo>
                  <a:lnTo>
                    <a:pt x="138" y="129"/>
                  </a:lnTo>
                  <a:lnTo>
                    <a:pt x="138" y="133"/>
                  </a:lnTo>
                  <a:lnTo>
                    <a:pt x="138" y="138"/>
                  </a:lnTo>
                  <a:lnTo>
                    <a:pt x="137" y="143"/>
                  </a:lnTo>
                  <a:lnTo>
                    <a:pt x="135" y="146"/>
                  </a:lnTo>
                  <a:lnTo>
                    <a:pt x="135" y="149"/>
                  </a:lnTo>
                  <a:lnTo>
                    <a:pt x="137" y="154"/>
                  </a:lnTo>
                  <a:lnTo>
                    <a:pt x="140" y="154"/>
                  </a:lnTo>
                  <a:lnTo>
                    <a:pt x="140" y="157"/>
                  </a:lnTo>
                  <a:lnTo>
                    <a:pt x="138" y="162"/>
                  </a:lnTo>
                  <a:lnTo>
                    <a:pt x="138" y="165"/>
                  </a:lnTo>
                  <a:lnTo>
                    <a:pt x="138" y="168"/>
                  </a:lnTo>
                  <a:lnTo>
                    <a:pt x="135" y="171"/>
                  </a:lnTo>
                  <a:lnTo>
                    <a:pt x="137" y="173"/>
                  </a:lnTo>
                  <a:lnTo>
                    <a:pt x="135" y="176"/>
                  </a:lnTo>
                  <a:lnTo>
                    <a:pt x="137" y="179"/>
                  </a:lnTo>
                  <a:lnTo>
                    <a:pt x="140" y="183"/>
                  </a:lnTo>
                  <a:lnTo>
                    <a:pt x="140" y="186"/>
                  </a:lnTo>
                  <a:lnTo>
                    <a:pt x="141" y="189"/>
                  </a:lnTo>
                  <a:lnTo>
                    <a:pt x="143" y="191"/>
                  </a:lnTo>
                  <a:lnTo>
                    <a:pt x="145" y="194"/>
                  </a:lnTo>
                  <a:lnTo>
                    <a:pt x="149" y="197"/>
                  </a:lnTo>
                  <a:lnTo>
                    <a:pt x="152" y="200"/>
                  </a:lnTo>
                  <a:lnTo>
                    <a:pt x="156" y="203"/>
                  </a:lnTo>
                  <a:lnTo>
                    <a:pt x="159" y="203"/>
                  </a:lnTo>
                  <a:lnTo>
                    <a:pt x="159" y="206"/>
                  </a:lnTo>
                  <a:lnTo>
                    <a:pt x="156" y="208"/>
                  </a:lnTo>
                  <a:lnTo>
                    <a:pt x="152" y="213"/>
                  </a:lnTo>
                  <a:lnTo>
                    <a:pt x="152" y="216"/>
                  </a:lnTo>
                  <a:lnTo>
                    <a:pt x="149" y="219"/>
                  </a:lnTo>
                  <a:lnTo>
                    <a:pt x="146" y="219"/>
                  </a:lnTo>
                  <a:lnTo>
                    <a:pt x="145" y="221"/>
                  </a:lnTo>
                  <a:lnTo>
                    <a:pt x="140" y="219"/>
                  </a:lnTo>
                  <a:lnTo>
                    <a:pt x="140" y="217"/>
                  </a:lnTo>
                  <a:lnTo>
                    <a:pt x="140" y="216"/>
                  </a:lnTo>
                  <a:lnTo>
                    <a:pt x="138" y="213"/>
                  </a:lnTo>
                  <a:lnTo>
                    <a:pt x="137" y="211"/>
                  </a:lnTo>
                  <a:lnTo>
                    <a:pt x="133" y="208"/>
                  </a:lnTo>
                  <a:lnTo>
                    <a:pt x="133" y="208"/>
                  </a:lnTo>
                  <a:lnTo>
                    <a:pt x="130" y="208"/>
                  </a:lnTo>
                  <a:lnTo>
                    <a:pt x="130" y="208"/>
                  </a:lnTo>
                  <a:lnTo>
                    <a:pt x="127" y="208"/>
                  </a:lnTo>
                  <a:lnTo>
                    <a:pt x="124" y="208"/>
                  </a:lnTo>
                  <a:lnTo>
                    <a:pt x="124" y="206"/>
                  </a:lnTo>
                  <a:lnTo>
                    <a:pt x="124" y="206"/>
                  </a:lnTo>
                  <a:lnTo>
                    <a:pt x="124" y="208"/>
                  </a:lnTo>
                  <a:lnTo>
                    <a:pt x="127" y="210"/>
                  </a:lnTo>
                  <a:lnTo>
                    <a:pt x="127" y="210"/>
                  </a:lnTo>
                  <a:lnTo>
                    <a:pt x="130" y="208"/>
                  </a:lnTo>
                  <a:lnTo>
                    <a:pt x="135" y="210"/>
                  </a:lnTo>
                  <a:lnTo>
                    <a:pt x="138" y="213"/>
                  </a:lnTo>
                  <a:lnTo>
                    <a:pt x="138" y="217"/>
                  </a:lnTo>
                  <a:lnTo>
                    <a:pt x="137" y="221"/>
                  </a:lnTo>
                  <a:lnTo>
                    <a:pt x="129" y="221"/>
                  </a:lnTo>
                  <a:lnTo>
                    <a:pt x="124" y="221"/>
                  </a:lnTo>
                  <a:lnTo>
                    <a:pt x="119" y="222"/>
                  </a:lnTo>
                  <a:lnTo>
                    <a:pt x="113" y="227"/>
                  </a:lnTo>
                  <a:lnTo>
                    <a:pt x="110" y="229"/>
                  </a:lnTo>
                  <a:lnTo>
                    <a:pt x="106" y="230"/>
                  </a:lnTo>
                  <a:lnTo>
                    <a:pt x="103" y="232"/>
                  </a:lnTo>
                  <a:lnTo>
                    <a:pt x="102" y="232"/>
                  </a:lnTo>
                  <a:lnTo>
                    <a:pt x="99" y="235"/>
                  </a:lnTo>
                  <a:lnTo>
                    <a:pt x="95" y="237"/>
                  </a:lnTo>
                  <a:lnTo>
                    <a:pt x="92" y="238"/>
                  </a:lnTo>
                  <a:lnTo>
                    <a:pt x="89" y="241"/>
                  </a:lnTo>
                  <a:lnTo>
                    <a:pt x="87" y="243"/>
                  </a:lnTo>
                  <a:lnTo>
                    <a:pt x="83" y="243"/>
                  </a:lnTo>
                  <a:lnTo>
                    <a:pt x="79" y="243"/>
                  </a:lnTo>
                  <a:lnTo>
                    <a:pt x="76" y="244"/>
                  </a:lnTo>
                  <a:lnTo>
                    <a:pt x="73" y="246"/>
                  </a:lnTo>
                  <a:lnTo>
                    <a:pt x="70" y="248"/>
                  </a:lnTo>
                  <a:lnTo>
                    <a:pt x="65" y="248"/>
                  </a:lnTo>
                  <a:lnTo>
                    <a:pt x="62" y="249"/>
                  </a:lnTo>
                  <a:lnTo>
                    <a:pt x="59" y="251"/>
                  </a:lnTo>
                  <a:lnTo>
                    <a:pt x="57" y="251"/>
                  </a:lnTo>
                  <a:lnTo>
                    <a:pt x="54" y="254"/>
                  </a:lnTo>
                  <a:lnTo>
                    <a:pt x="51" y="257"/>
                  </a:lnTo>
                  <a:lnTo>
                    <a:pt x="48" y="259"/>
                  </a:lnTo>
                  <a:lnTo>
                    <a:pt x="45" y="262"/>
                  </a:lnTo>
                  <a:lnTo>
                    <a:pt x="40" y="262"/>
                  </a:lnTo>
                  <a:lnTo>
                    <a:pt x="37" y="257"/>
                  </a:lnTo>
                  <a:lnTo>
                    <a:pt x="34" y="256"/>
                  </a:lnTo>
                  <a:lnTo>
                    <a:pt x="30" y="254"/>
                  </a:lnTo>
                  <a:lnTo>
                    <a:pt x="24" y="252"/>
                  </a:lnTo>
                  <a:lnTo>
                    <a:pt x="14" y="251"/>
                  </a:lnTo>
                  <a:lnTo>
                    <a:pt x="3" y="248"/>
                  </a:lnTo>
                  <a:lnTo>
                    <a:pt x="3" y="246"/>
                  </a:lnTo>
                  <a:lnTo>
                    <a:pt x="7" y="246"/>
                  </a:lnTo>
                  <a:lnTo>
                    <a:pt x="10" y="248"/>
                  </a:lnTo>
                  <a:lnTo>
                    <a:pt x="10" y="248"/>
                  </a:lnTo>
                  <a:lnTo>
                    <a:pt x="11" y="246"/>
                  </a:lnTo>
                  <a:lnTo>
                    <a:pt x="13" y="246"/>
                  </a:lnTo>
                  <a:lnTo>
                    <a:pt x="18" y="246"/>
                  </a:lnTo>
                  <a:lnTo>
                    <a:pt x="16" y="243"/>
                  </a:lnTo>
                  <a:lnTo>
                    <a:pt x="14" y="240"/>
                  </a:lnTo>
                  <a:lnTo>
                    <a:pt x="18" y="237"/>
                  </a:lnTo>
                  <a:lnTo>
                    <a:pt x="18" y="233"/>
                  </a:lnTo>
                  <a:lnTo>
                    <a:pt x="16" y="230"/>
                  </a:lnTo>
                  <a:lnTo>
                    <a:pt x="16" y="227"/>
                  </a:lnTo>
                  <a:lnTo>
                    <a:pt x="13" y="225"/>
                  </a:lnTo>
                  <a:lnTo>
                    <a:pt x="8" y="225"/>
                  </a:lnTo>
                  <a:lnTo>
                    <a:pt x="10" y="222"/>
                  </a:lnTo>
                  <a:lnTo>
                    <a:pt x="7" y="217"/>
                  </a:lnTo>
                  <a:lnTo>
                    <a:pt x="7" y="214"/>
                  </a:lnTo>
                  <a:lnTo>
                    <a:pt x="5" y="210"/>
                  </a:lnTo>
                  <a:lnTo>
                    <a:pt x="5" y="206"/>
                  </a:lnTo>
                  <a:lnTo>
                    <a:pt x="3" y="203"/>
                  </a:lnTo>
                  <a:lnTo>
                    <a:pt x="2" y="20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72" name="Freeform 437"/>
            <p:cNvSpPr>
              <a:spLocks/>
            </p:cNvSpPr>
            <p:nvPr/>
          </p:nvSpPr>
          <p:spPr bwMode="auto">
            <a:xfrm>
              <a:off x="5364980" y="4444752"/>
              <a:ext cx="51463" cy="174319"/>
            </a:xfrm>
            <a:custGeom>
              <a:avLst/>
              <a:gdLst>
                <a:gd name="T0" fmla="*/ 26 w 70"/>
                <a:gd name="T1" fmla="*/ 8 h 206"/>
                <a:gd name="T2" fmla="*/ 38 w 70"/>
                <a:gd name="T3" fmla="*/ 7 h 206"/>
                <a:gd name="T4" fmla="*/ 35 w 70"/>
                <a:gd name="T5" fmla="*/ 18 h 206"/>
                <a:gd name="T6" fmla="*/ 34 w 70"/>
                <a:gd name="T7" fmla="*/ 24 h 206"/>
                <a:gd name="T8" fmla="*/ 35 w 70"/>
                <a:gd name="T9" fmla="*/ 32 h 206"/>
                <a:gd name="T10" fmla="*/ 48 w 70"/>
                <a:gd name="T11" fmla="*/ 43 h 206"/>
                <a:gd name="T12" fmla="*/ 54 w 70"/>
                <a:gd name="T13" fmla="*/ 51 h 206"/>
                <a:gd name="T14" fmla="*/ 54 w 70"/>
                <a:gd name="T15" fmla="*/ 65 h 206"/>
                <a:gd name="T16" fmla="*/ 56 w 70"/>
                <a:gd name="T17" fmla="*/ 73 h 206"/>
                <a:gd name="T18" fmla="*/ 60 w 70"/>
                <a:gd name="T19" fmla="*/ 80 h 206"/>
                <a:gd name="T20" fmla="*/ 64 w 70"/>
                <a:gd name="T21" fmla="*/ 103 h 206"/>
                <a:gd name="T22" fmla="*/ 64 w 70"/>
                <a:gd name="T23" fmla="*/ 111 h 206"/>
                <a:gd name="T24" fmla="*/ 64 w 70"/>
                <a:gd name="T25" fmla="*/ 121 h 206"/>
                <a:gd name="T26" fmla="*/ 64 w 70"/>
                <a:gd name="T27" fmla="*/ 170 h 206"/>
                <a:gd name="T28" fmla="*/ 62 w 70"/>
                <a:gd name="T29" fmla="*/ 176 h 206"/>
                <a:gd name="T30" fmla="*/ 65 w 70"/>
                <a:gd name="T31" fmla="*/ 187 h 206"/>
                <a:gd name="T32" fmla="*/ 68 w 70"/>
                <a:gd name="T33" fmla="*/ 194 h 206"/>
                <a:gd name="T34" fmla="*/ 65 w 70"/>
                <a:gd name="T35" fmla="*/ 200 h 206"/>
                <a:gd name="T36" fmla="*/ 62 w 70"/>
                <a:gd name="T37" fmla="*/ 202 h 206"/>
                <a:gd name="T38" fmla="*/ 56 w 70"/>
                <a:gd name="T39" fmla="*/ 203 h 206"/>
                <a:gd name="T40" fmla="*/ 48 w 70"/>
                <a:gd name="T41" fmla="*/ 203 h 206"/>
                <a:gd name="T42" fmla="*/ 38 w 70"/>
                <a:gd name="T43" fmla="*/ 197 h 206"/>
                <a:gd name="T44" fmla="*/ 30 w 70"/>
                <a:gd name="T45" fmla="*/ 189 h 206"/>
                <a:gd name="T46" fmla="*/ 26 w 70"/>
                <a:gd name="T47" fmla="*/ 179 h 206"/>
                <a:gd name="T48" fmla="*/ 24 w 70"/>
                <a:gd name="T49" fmla="*/ 171 h 206"/>
                <a:gd name="T50" fmla="*/ 27 w 70"/>
                <a:gd name="T51" fmla="*/ 162 h 206"/>
                <a:gd name="T52" fmla="*/ 26 w 70"/>
                <a:gd name="T53" fmla="*/ 154 h 206"/>
                <a:gd name="T54" fmla="*/ 26 w 70"/>
                <a:gd name="T55" fmla="*/ 143 h 206"/>
                <a:gd name="T56" fmla="*/ 27 w 70"/>
                <a:gd name="T57" fmla="*/ 129 h 206"/>
                <a:gd name="T58" fmla="*/ 29 w 70"/>
                <a:gd name="T59" fmla="*/ 119 h 206"/>
                <a:gd name="T60" fmla="*/ 27 w 70"/>
                <a:gd name="T61" fmla="*/ 108 h 206"/>
                <a:gd name="T62" fmla="*/ 19 w 70"/>
                <a:gd name="T63" fmla="*/ 99 h 206"/>
                <a:gd name="T64" fmla="*/ 22 w 70"/>
                <a:gd name="T65" fmla="*/ 95 h 206"/>
                <a:gd name="T66" fmla="*/ 21 w 70"/>
                <a:gd name="T67" fmla="*/ 87 h 206"/>
                <a:gd name="T68" fmla="*/ 24 w 70"/>
                <a:gd name="T69" fmla="*/ 76 h 206"/>
                <a:gd name="T70" fmla="*/ 21 w 70"/>
                <a:gd name="T71" fmla="*/ 67 h 206"/>
                <a:gd name="T72" fmla="*/ 16 w 70"/>
                <a:gd name="T73" fmla="*/ 68 h 206"/>
                <a:gd name="T74" fmla="*/ 18 w 70"/>
                <a:gd name="T75" fmla="*/ 56 h 206"/>
                <a:gd name="T76" fmla="*/ 19 w 70"/>
                <a:gd name="T77" fmla="*/ 45 h 206"/>
                <a:gd name="T78" fmla="*/ 19 w 70"/>
                <a:gd name="T79" fmla="*/ 35 h 206"/>
                <a:gd name="T80" fmla="*/ 13 w 70"/>
                <a:gd name="T81" fmla="*/ 30 h 206"/>
                <a:gd name="T82" fmla="*/ 7 w 70"/>
                <a:gd name="T83" fmla="*/ 22 h 206"/>
                <a:gd name="T84" fmla="*/ 3 w 70"/>
                <a:gd name="T85" fmla="*/ 18 h 206"/>
                <a:gd name="T86" fmla="*/ 7 w 70"/>
                <a:gd name="T87" fmla="*/ 8 h 206"/>
                <a:gd name="T88" fmla="*/ 7 w 70"/>
                <a:gd name="T89" fmla="*/ 2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70" h="206">
                  <a:moveTo>
                    <a:pt x="0" y="0"/>
                  </a:moveTo>
                  <a:lnTo>
                    <a:pt x="13" y="3"/>
                  </a:lnTo>
                  <a:lnTo>
                    <a:pt x="26" y="8"/>
                  </a:lnTo>
                  <a:lnTo>
                    <a:pt x="29" y="7"/>
                  </a:lnTo>
                  <a:lnTo>
                    <a:pt x="34" y="7"/>
                  </a:lnTo>
                  <a:lnTo>
                    <a:pt x="38" y="7"/>
                  </a:lnTo>
                  <a:lnTo>
                    <a:pt x="38" y="10"/>
                  </a:lnTo>
                  <a:lnTo>
                    <a:pt x="38" y="13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5" y="21"/>
                  </a:lnTo>
                  <a:lnTo>
                    <a:pt x="34" y="24"/>
                  </a:lnTo>
                  <a:lnTo>
                    <a:pt x="34" y="29"/>
                  </a:lnTo>
                  <a:lnTo>
                    <a:pt x="34" y="30"/>
                  </a:lnTo>
                  <a:lnTo>
                    <a:pt x="35" y="32"/>
                  </a:lnTo>
                  <a:lnTo>
                    <a:pt x="37" y="34"/>
                  </a:lnTo>
                  <a:lnTo>
                    <a:pt x="41" y="38"/>
                  </a:lnTo>
                  <a:lnTo>
                    <a:pt x="48" y="43"/>
                  </a:lnTo>
                  <a:lnTo>
                    <a:pt x="51" y="45"/>
                  </a:lnTo>
                  <a:lnTo>
                    <a:pt x="54" y="46"/>
                  </a:lnTo>
                  <a:lnTo>
                    <a:pt x="54" y="51"/>
                  </a:lnTo>
                  <a:lnTo>
                    <a:pt x="54" y="54"/>
                  </a:lnTo>
                  <a:lnTo>
                    <a:pt x="54" y="60"/>
                  </a:lnTo>
                  <a:lnTo>
                    <a:pt x="54" y="65"/>
                  </a:lnTo>
                  <a:lnTo>
                    <a:pt x="54" y="68"/>
                  </a:lnTo>
                  <a:lnTo>
                    <a:pt x="56" y="70"/>
                  </a:lnTo>
                  <a:lnTo>
                    <a:pt x="56" y="73"/>
                  </a:lnTo>
                  <a:lnTo>
                    <a:pt x="57" y="75"/>
                  </a:lnTo>
                  <a:lnTo>
                    <a:pt x="57" y="76"/>
                  </a:lnTo>
                  <a:lnTo>
                    <a:pt x="60" y="80"/>
                  </a:lnTo>
                  <a:lnTo>
                    <a:pt x="62" y="83"/>
                  </a:lnTo>
                  <a:lnTo>
                    <a:pt x="64" y="94"/>
                  </a:lnTo>
                  <a:lnTo>
                    <a:pt x="64" y="103"/>
                  </a:lnTo>
                  <a:lnTo>
                    <a:pt x="64" y="105"/>
                  </a:lnTo>
                  <a:lnTo>
                    <a:pt x="65" y="108"/>
                  </a:lnTo>
                  <a:lnTo>
                    <a:pt x="64" y="111"/>
                  </a:lnTo>
                  <a:lnTo>
                    <a:pt x="64" y="113"/>
                  </a:lnTo>
                  <a:lnTo>
                    <a:pt x="64" y="118"/>
                  </a:lnTo>
                  <a:lnTo>
                    <a:pt x="64" y="121"/>
                  </a:lnTo>
                  <a:lnTo>
                    <a:pt x="64" y="124"/>
                  </a:lnTo>
                  <a:lnTo>
                    <a:pt x="64" y="148"/>
                  </a:lnTo>
                  <a:lnTo>
                    <a:pt x="64" y="170"/>
                  </a:lnTo>
                  <a:lnTo>
                    <a:pt x="60" y="170"/>
                  </a:lnTo>
                  <a:lnTo>
                    <a:pt x="62" y="173"/>
                  </a:lnTo>
                  <a:lnTo>
                    <a:pt x="62" y="176"/>
                  </a:lnTo>
                  <a:lnTo>
                    <a:pt x="64" y="181"/>
                  </a:lnTo>
                  <a:lnTo>
                    <a:pt x="62" y="184"/>
                  </a:lnTo>
                  <a:lnTo>
                    <a:pt x="65" y="187"/>
                  </a:lnTo>
                  <a:lnTo>
                    <a:pt x="65" y="187"/>
                  </a:lnTo>
                  <a:lnTo>
                    <a:pt x="65" y="191"/>
                  </a:lnTo>
                  <a:lnTo>
                    <a:pt x="68" y="194"/>
                  </a:lnTo>
                  <a:lnTo>
                    <a:pt x="70" y="197"/>
                  </a:lnTo>
                  <a:lnTo>
                    <a:pt x="70" y="198"/>
                  </a:lnTo>
                  <a:lnTo>
                    <a:pt x="65" y="200"/>
                  </a:lnTo>
                  <a:lnTo>
                    <a:pt x="64" y="200"/>
                  </a:lnTo>
                  <a:lnTo>
                    <a:pt x="64" y="202"/>
                  </a:lnTo>
                  <a:lnTo>
                    <a:pt x="62" y="202"/>
                  </a:lnTo>
                  <a:lnTo>
                    <a:pt x="59" y="203"/>
                  </a:lnTo>
                  <a:lnTo>
                    <a:pt x="56" y="203"/>
                  </a:lnTo>
                  <a:lnTo>
                    <a:pt x="56" y="203"/>
                  </a:lnTo>
                  <a:lnTo>
                    <a:pt x="51" y="205"/>
                  </a:lnTo>
                  <a:lnTo>
                    <a:pt x="48" y="206"/>
                  </a:lnTo>
                  <a:lnTo>
                    <a:pt x="48" y="203"/>
                  </a:lnTo>
                  <a:lnTo>
                    <a:pt x="45" y="203"/>
                  </a:lnTo>
                  <a:lnTo>
                    <a:pt x="41" y="200"/>
                  </a:lnTo>
                  <a:lnTo>
                    <a:pt x="38" y="197"/>
                  </a:lnTo>
                  <a:lnTo>
                    <a:pt x="34" y="194"/>
                  </a:lnTo>
                  <a:lnTo>
                    <a:pt x="32" y="191"/>
                  </a:lnTo>
                  <a:lnTo>
                    <a:pt x="30" y="189"/>
                  </a:lnTo>
                  <a:lnTo>
                    <a:pt x="29" y="186"/>
                  </a:lnTo>
                  <a:lnTo>
                    <a:pt x="29" y="183"/>
                  </a:lnTo>
                  <a:lnTo>
                    <a:pt x="26" y="179"/>
                  </a:lnTo>
                  <a:lnTo>
                    <a:pt x="24" y="176"/>
                  </a:lnTo>
                  <a:lnTo>
                    <a:pt x="26" y="173"/>
                  </a:lnTo>
                  <a:lnTo>
                    <a:pt x="24" y="171"/>
                  </a:lnTo>
                  <a:lnTo>
                    <a:pt x="27" y="168"/>
                  </a:lnTo>
                  <a:lnTo>
                    <a:pt x="27" y="165"/>
                  </a:lnTo>
                  <a:lnTo>
                    <a:pt x="27" y="162"/>
                  </a:lnTo>
                  <a:lnTo>
                    <a:pt x="29" y="157"/>
                  </a:lnTo>
                  <a:lnTo>
                    <a:pt x="29" y="154"/>
                  </a:lnTo>
                  <a:lnTo>
                    <a:pt x="26" y="154"/>
                  </a:lnTo>
                  <a:lnTo>
                    <a:pt x="24" y="149"/>
                  </a:lnTo>
                  <a:lnTo>
                    <a:pt x="24" y="146"/>
                  </a:lnTo>
                  <a:lnTo>
                    <a:pt x="26" y="143"/>
                  </a:lnTo>
                  <a:lnTo>
                    <a:pt x="27" y="138"/>
                  </a:lnTo>
                  <a:lnTo>
                    <a:pt x="27" y="133"/>
                  </a:lnTo>
                  <a:lnTo>
                    <a:pt x="27" y="129"/>
                  </a:lnTo>
                  <a:lnTo>
                    <a:pt x="27" y="126"/>
                  </a:lnTo>
                  <a:lnTo>
                    <a:pt x="27" y="122"/>
                  </a:lnTo>
                  <a:lnTo>
                    <a:pt x="29" y="119"/>
                  </a:lnTo>
                  <a:lnTo>
                    <a:pt x="32" y="116"/>
                  </a:lnTo>
                  <a:lnTo>
                    <a:pt x="29" y="111"/>
                  </a:lnTo>
                  <a:lnTo>
                    <a:pt x="27" y="108"/>
                  </a:lnTo>
                  <a:lnTo>
                    <a:pt x="24" y="106"/>
                  </a:lnTo>
                  <a:lnTo>
                    <a:pt x="21" y="102"/>
                  </a:lnTo>
                  <a:lnTo>
                    <a:pt x="19" y="99"/>
                  </a:lnTo>
                  <a:lnTo>
                    <a:pt x="19" y="97"/>
                  </a:lnTo>
                  <a:lnTo>
                    <a:pt x="22" y="97"/>
                  </a:lnTo>
                  <a:lnTo>
                    <a:pt x="22" y="95"/>
                  </a:lnTo>
                  <a:lnTo>
                    <a:pt x="24" y="94"/>
                  </a:lnTo>
                  <a:lnTo>
                    <a:pt x="24" y="91"/>
                  </a:lnTo>
                  <a:lnTo>
                    <a:pt x="21" y="87"/>
                  </a:lnTo>
                  <a:lnTo>
                    <a:pt x="22" y="83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6" y="73"/>
                  </a:lnTo>
                  <a:lnTo>
                    <a:pt x="24" y="70"/>
                  </a:lnTo>
                  <a:lnTo>
                    <a:pt x="21" y="67"/>
                  </a:lnTo>
                  <a:lnTo>
                    <a:pt x="16" y="70"/>
                  </a:lnTo>
                  <a:lnTo>
                    <a:pt x="13" y="70"/>
                  </a:lnTo>
                  <a:lnTo>
                    <a:pt x="16" y="68"/>
                  </a:lnTo>
                  <a:lnTo>
                    <a:pt x="14" y="65"/>
                  </a:lnTo>
                  <a:lnTo>
                    <a:pt x="19" y="64"/>
                  </a:lnTo>
                  <a:lnTo>
                    <a:pt x="18" y="56"/>
                  </a:lnTo>
                  <a:lnTo>
                    <a:pt x="18" y="46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1"/>
                  </a:lnTo>
                  <a:lnTo>
                    <a:pt x="18" y="38"/>
                  </a:lnTo>
                  <a:lnTo>
                    <a:pt x="19" y="35"/>
                  </a:lnTo>
                  <a:lnTo>
                    <a:pt x="19" y="34"/>
                  </a:lnTo>
                  <a:lnTo>
                    <a:pt x="16" y="32"/>
                  </a:lnTo>
                  <a:lnTo>
                    <a:pt x="13" y="30"/>
                  </a:lnTo>
                  <a:lnTo>
                    <a:pt x="11" y="27"/>
                  </a:lnTo>
                  <a:lnTo>
                    <a:pt x="10" y="26"/>
                  </a:lnTo>
                  <a:lnTo>
                    <a:pt x="7" y="22"/>
                  </a:lnTo>
                  <a:lnTo>
                    <a:pt x="5" y="22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3" y="14"/>
                  </a:lnTo>
                  <a:lnTo>
                    <a:pt x="5" y="11"/>
                  </a:lnTo>
                  <a:lnTo>
                    <a:pt x="7" y="8"/>
                  </a:lnTo>
                  <a:lnTo>
                    <a:pt x="7" y="7"/>
                  </a:lnTo>
                  <a:lnTo>
                    <a:pt x="8" y="3"/>
                  </a:lnTo>
                  <a:lnTo>
                    <a:pt x="7" y="2"/>
                  </a:lnTo>
                  <a:lnTo>
                    <a:pt x="3" y="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73" name="Freeform 438"/>
            <p:cNvSpPr>
              <a:spLocks/>
            </p:cNvSpPr>
            <p:nvPr/>
          </p:nvSpPr>
          <p:spPr bwMode="auto">
            <a:xfrm>
              <a:off x="5389975" y="4402442"/>
              <a:ext cx="80870" cy="213246"/>
            </a:xfrm>
            <a:custGeom>
              <a:avLst/>
              <a:gdLst>
                <a:gd name="T0" fmla="*/ 4 w 111"/>
                <a:gd name="T1" fmla="*/ 64 h 253"/>
                <a:gd name="T2" fmla="*/ 7 w 111"/>
                <a:gd name="T3" fmla="*/ 58 h 253"/>
                <a:gd name="T4" fmla="*/ 12 w 111"/>
                <a:gd name="T5" fmla="*/ 53 h 253"/>
                <a:gd name="T6" fmla="*/ 19 w 111"/>
                <a:gd name="T7" fmla="*/ 45 h 253"/>
                <a:gd name="T8" fmla="*/ 26 w 111"/>
                <a:gd name="T9" fmla="*/ 39 h 253"/>
                <a:gd name="T10" fmla="*/ 38 w 111"/>
                <a:gd name="T11" fmla="*/ 39 h 253"/>
                <a:gd name="T12" fmla="*/ 47 w 111"/>
                <a:gd name="T13" fmla="*/ 37 h 253"/>
                <a:gd name="T14" fmla="*/ 55 w 111"/>
                <a:gd name="T15" fmla="*/ 29 h 253"/>
                <a:gd name="T16" fmla="*/ 58 w 111"/>
                <a:gd name="T17" fmla="*/ 21 h 253"/>
                <a:gd name="T18" fmla="*/ 60 w 111"/>
                <a:gd name="T19" fmla="*/ 13 h 253"/>
                <a:gd name="T20" fmla="*/ 61 w 111"/>
                <a:gd name="T21" fmla="*/ 5 h 253"/>
                <a:gd name="T22" fmla="*/ 72 w 111"/>
                <a:gd name="T23" fmla="*/ 0 h 253"/>
                <a:gd name="T24" fmla="*/ 88 w 111"/>
                <a:gd name="T25" fmla="*/ 15 h 253"/>
                <a:gd name="T26" fmla="*/ 90 w 111"/>
                <a:gd name="T27" fmla="*/ 16 h 253"/>
                <a:gd name="T28" fmla="*/ 95 w 111"/>
                <a:gd name="T29" fmla="*/ 21 h 253"/>
                <a:gd name="T30" fmla="*/ 99 w 111"/>
                <a:gd name="T31" fmla="*/ 26 h 253"/>
                <a:gd name="T32" fmla="*/ 101 w 111"/>
                <a:gd name="T33" fmla="*/ 29 h 253"/>
                <a:gd name="T34" fmla="*/ 98 w 111"/>
                <a:gd name="T35" fmla="*/ 37 h 253"/>
                <a:gd name="T36" fmla="*/ 103 w 111"/>
                <a:gd name="T37" fmla="*/ 48 h 253"/>
                <a:gd name="T38" fmla="*/ 107 w 111"/>
                <a:gd name="T39" fmla="*/ 58 h 253"/>
                <a:gd name="T40" fmla="*/ 107 w 111"/>
                <a:gd name="T41" fmla="*/ 67 h 253"/>
                <a:gd name="T42" fmla="*/ 109 w 111"/>
                <a:gd name="T43" fmla="*/ 78 h 253"/>
                <a:gd name="T44" fmla="*/ 101 w 111"/>
                <a:gd name="T45" fmla="*/ 85 h 253"/>
                <a:gd name="T46" fmla="*/ 103 w 111"/>
                <a:gd name="T47" fmla="*/ 96 h 253"/>
                <a:gd name="T48" fmla="*/ 99 w 111"/>
                <a:gd name="T49" fmla="*/ 102 h 253"/>
                <a:gd name="T50" fmla="*/ 92 w 111"/>
                <a:gd name="T51" fmla="*/ 108 h 253"/>
                <a:gd name="T52" fmla="*/ 87 w 111"/>
                <a:gd name="T53" fmla="*/ 116 h 253"/>
                <a:gd name="T54" fmla="*/ 84 w 111"/>
                <a:gd name="T55" fmla="*/ 134 h 253"/>
                <a:gd name="T56" fmla="*/ 76 w 111"/>
                <a:gd name="T57" fmla="*/ 137 h 253"/>
                <a:gd name="T58" fmla="*/ 69 w 111"/>
                <a:gd name="T59" fmla="*/ 161 h 253"/>
                <a:gd name="T60" fmla="*/ 69 w 111"/>
                <a:gd name="T61" fmla="*/ 172 h 253"/>
                <a:gd name="T62" fmla="*/ 69 w 111"/>
                <a:gd name="T63" fmla="*/ 180 h 253"/>
                <a:gd name="T64" fmla="*/ 68 w 111"/>
                <a:gd name="T65" fmla="*/ 184 h 253"/>
                <a:gd name="T66" fmla="*/ 69 w 111"/>
                <a:gd name="T67" fmla="*/ 194 h 253"/>
                <a:gd name="T68" fmla="*/ 72 w 111"/>
                <a:gd name="T69" fmla="*/ 203 h 253"/>
                <a:gd name="T70" fmla="*/ 71 w 111"/>
                <a:gd name="T71" fmla="*/ 211 h 253"/>
                <a:gd name="T72" fmla="*/ 69 w 111"/>
                <a:gd name="T73" fmla="*/ 221 h 253"/>
                <a:gd name="T74" fmla="*/ 71 w 111"/>
                <a:gd name="T75" fmla="*/ 232 h 253"/>
                <a:gd name="T76" fmla="*/ 69 w 111"/>
                <a:gd name="T77" fmla="*/ 240 h 253"/>
                <a:gd name="T78" fmla="*/ 49 w 111"/>
                <a:gd name="T79" fmla="*/ 249 h 253"/>
                <a:gd name="T80" fmla="*/ 31 w 111"/>
                <a:gd name="T81" fmla="*/ 251 h 253"/>
                <a:gd name="T82" fmla="*/ 34 w 111"/>
                <a:gd name="T83" fmla="*/ 245 h 253"/>
                <a:gd name="T84" fmla="*/ 31 w 111"/>
                <a:gd name="T85" fmla="*/ 238 h 253"/>
                <a:gd name="T86" fmla="*/ 28 w 111"/>
                <a:gd name="T87" fmla="*/ 227 h 253"/>
                <a:gd name="T88" fmla="*/ 30 w 111"/>
                <a:gd name="T89" fmla="*/ 221 h 253"/>
                <a:gd name="T90" fmla="*/ 30 w 111"/>
                <a:gd name="T91" fmla="*/ 173 h 253"/>
                <a:gd name="T92" fmla="*/ 30 w 111"/>
                <a:gd name="T93" fmla="*/ 156 h 253"/>
                <a:gd name="T94" fmla="*/ 30 w 111"/>
                <a:gd name="T95" fmla="*/ 135 h 253"/>
                <a:gd name="T96" fmla="*/ 22 w 111"/>
                <a:gd name="T97" fmla="*/ 124 h 253"/>
                <a:gd name="T98" fmla="*/ 20 w 111"/>
                <a:gd name="T99" fmla="*/ 116 h 253"/>
                <a:gd name="T100" fmla="*/ 20 w 111"/>
                <a:gd name="T101" fmla="*/ 102 h 253"/>
                <a:gd name="T102" fmla="*/ 14 w 111"/>
                <a:gd name="T103" fmla="*/ 94 h 253"/>
                <a:gd name="T104" fmla="*/ 7 w 111"/>
                <a:gd name="T105" fmla="*/ 89 h 253"/>
                <a:gd name="T106" fmla="*/ 0 w 111"/>
                <a:gd name="T107" fmla="*/ 80 h 253"/>
                <a:gd name="T108" fmla="*/ 1 w 111"/>
                <a:gd name="T109" fmla="*/ 69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1" h="253">
                  <a:moveTo>
                    <a:pt x="1" y="69"/>
                  </a:moveTo>
                  <a:lnTo>
                    <a:pt x="1" y="69"/>
                  </a:lnTo>
                  <a:lnTo>
                    <a:pt x="4" y="64"/>
                  </a:lnTo>
                  <a:lnTo>
                    <a:pt x="4" y="61"/>
                  </a:lnTo>
                  <a:lnTo>
                    <a:pt x="4" y="58"/>
                  </a:lnTo>
                  <a:lnTo>
                    <a:pt x="7" y="58"/>
                  </a:lnTo>
                  <a:lnTo>
                    <a:pt x="6" y="54"/>
                  </a:lnTo>
                  <a:lnTo>
                    <a:pt x="7" y="54"/>
                  </a:lnTo>
                  <a:lnTo>
                    <a:pt x="12" y="53"/>
                  </a:lnTo>
                  <a:lnTo>
                    <a:pt x="14" y="50"/>
                  </a:lnTo>
                  <a:lnTo>
                    <a:pt x="14" y="46"/>
                  </a:lnTo>
                  <a:lnTo>
                    <a:pt x="19" y="45"/>
                  </a:lnTo>
                  <a:lnTo>
                    <a:pt x="20" y="42"/>
                  </a:lnTo>
                  <a:lnTo>
                    <a:pt x="23" y="39"/>
                  </a:lnTo>
                  <a:lnTo>
                    <a:pt x="26" y="39"/>
                  </a:lnTo>
                  <a:lnTo>
                    <a:pt x="30" y="42"/>
                  </a:lnTo>
                  <a:lnTo>
                    <a:pt x="33" y="40"/>
                  </a:lnTo>
                  <a:lnTo>
                    <a:pt x="38" y="39"/>
                  </a:lnTo>
                  <a:lnTo>
                    <a:pt x="41" y="40"/>
                  </a:lnTo>
                  <a:lnTo>
                    <a:pt x="44" y="40"/>
                  </a:lnTo>
                  <a:lnTo>
                    <a:pt x="47" y="37"/>
                  </a:lnTo>
                  <a:lnTo>
                    <a:pt x="49" y="35"/>
                  </a:lnTo>
                  <a:lnTo>
                    <a:pt x="52" y="32"/>
                  </a:lnTo>
                  <a:lnTo>
                    <a:pt x="55" y="29"/>
                  </a:lnTo>
                  <a:lnTo>
                    <a:pt x="57" y="26"/>
                  </a:lnTo>
                  <a:lnTo>
                    <a:pt x="58" y="23"/>
                  </a:lnTo>
                  <a:lnTo>
                    <a:pt x="58" y="21"/>
                  </a:lnTo>
                  <a:lnTo>
                    <a:pt x="58" y="20"/>
                  </a:lnTo>
                  <a:lnTo>
                    <a:pt x="60" y="16"/>
                  </a:lnTo>
                  <a:lnTo>
                    <a:pt x="60" y="13"/>
                  </a:lnTo>
                  <a:lnTo>
                    <a:pt x="58" y="10"/>
                  </a:lnTo>
                  <a:lnTo>
                    <a:pt x="58" y="5"/>
                  </a:lnTo>
                  <a:lnTo>
                    <a:pt x="61" y="5"/>
                  </a:lnTo>
                  <a:lnTo>
                    <a:pt x="65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4" y="0"/>
                  </a:lnTo>
                  <a:lnTo>
                    <a:pt x="82" y="7"/>
                  </a:lnTo>
                  <a:lnTo>
                    <a:pt x="88" y="15"/>
                  </a:lnTo>
                  <a:lnTo>
                    <a:pt x="88" y="15"/>
                  </a:lnTo>
                  <a:lnTo>
                    <a:pt x="88" y="15"/>
                  </a:lnTo>
                  <a:lnTo>
                    <a:pt x="90" y="16"/>
                  </a:lnTo>
                  <a:lnTo>
                    <a:pt x="90" y="20"/>
                  </a:lnTo>
                  <a:lnTo>
                    <a:pt x="93" y="21"/>
                  </a:lnTo>
                  <a:lnTo>
                    <a:pt x="95" y="21"/>
                  </a:lnTo>
                  <a:lnTo>
                    <a:pt x="95" y="21"/>
                  </a:lnTo>
                  <a:lnTo>
                    <a:pt x="98" y="23"/>
                  </a:lnTo>
                  <a:lnTo>
                    <a:pt x="99" y="26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31"/>
                  </a:lnTo>
                  <a:lnTo>
                    <a:pt x="99" y="34"/>
                  </a:lnTo>
                  <a:lnTo>
                    <a:pt x="98" y="37"/>
                  </a:lnTo>
                  <a:lnTo>
                    <a:pt x="98" y="42"/>
                  </a:lnTo>
                  <a:lnTo>
                    <a:pt x="101" y="45"/>
                  </a:lnTo>
                  <a:lnTo>
                    <a:pt x="103" y="48"/>
                  </a:lnTo>
                  <a:lnTo>
                    <a:pt x="106" y="51"/>
                  </a:lnTo>
                  <a:lnTo>
                    <a:pt x="106" y="54"/>
                  </a:lnTo>
                  <a:lnTo>
                    <a:pt x="107" y="58"/>
                  </a:lnTo>
                  <a:lnTo>
                    <a:pt x="107" y="61"/>
                  </a:lnTo>
                  <a:lnTo>
                    <a:pt x="107" y="64"/>
                  </a:lnTo>
                  <a:lnTo>
                    <a:pt x="107" y="67"/>
                  </a:lnTo>
                  <a:lnTo>
                    <a:pt x="111" y="70"/>
                  </a:lnTo>
                  <a:lnTo>
                    <a:pt x="111" y="73"/>
                  </a:lnTo>
                  <a:lnTo>
                    <a:pt x="109" y="78"/>
                  </a:lnTo>
                  <a:lnTo>
                    <a:pt x="107" y="81"/>
                  </a:lnTo>
                  <a:lnTo>
                    <a:pt x="103" y="80"/>
                  </a:lnTo>
                  <a:lnTo>
                    <a:pt x="101" y="85"/>
                  </a:lnTo>
                  <a:lnTo>
                    <a:pt x="101" y="88"/>
                  </a:lnTo>
                  <a:lnTo>
                    <a:pt x="104" y="91"/>
                  </a:lnTo>
                  <a:lnTo>
                    <a:pt x="103" y="96"/>
                  </a:lnTo>
                  <a:lnTo>
                    <a:pt x="101" y="97"/>
                  </a:lnTo>
                  <a:lnTo>
                    <a:pt x="101" y="99"/>
                  </a:lnTo>
                  <a:lnTo>
                    <a:pt x="99" y="102"/>
                  </a:lnTo>
                  <a:lnTo>
                    <a:pt x="96" y="104"/>
                  </a:lnTo>
                  <a:lnTo>
                    <a:pt x="93" y="105"/>
                  </a:lnTo>
                  <a:lnTo>
                    <a:pt x="92" y="108"/>
                  </a:lnTo>
                  <a:lnTo>
                    <a:pt x="92" y="111"/>
                  </a:lnTo>
                  <a:lnTo>
                    <a:pt x="88" y="113"/>
                  </a:lnTo>
                  <a:lnTo>
                    <a:pt x="87" y="116"/>
                  </a:lnTo>
                  <a:lnTo>
                    <a:pt x="84" y="121"/>
                  </a:lnTo>
                  <a:lnTo>
                    <a:pt x="85" y="127"/>
                  </a:lnTo>
                  <a:lnTo>
                    <a:pt x="84" y="134"/>
                  </a:lnTo>
                  <a:lnTo>
                    <a:pt x="82" y="135"/>
                  </a:lnTo>
                  <a:lnTo>
                    <a:pt x="79" y="137"/>
                  </a:lnTo>
                  <a:lnTo>
                    <a:pt x="76" y="137"/>
                  </a:lnTo>
                  <a:lnTo>
                    <a:pt x="72" y="137"/>
                  </a:lnTo>
                  <a:lnTo>
                    <a:pt x="71" y="148"/>
                  </a:lnTo>
                  <a:lnTo>
                    <a:pt x="69" y="161"/>
                  </a:lnTo>
                  <a:lnTo>
                    <a:pt x="69" y="165"/>
                  </a:lnTo>
                  <a:lnTo>
                    <a:pt x="69" y="169"/>
                  </a:lnTo>
                  <a:lnTo>
                    <a:pt x="69" y="172"/>
                  </a:lnTo>
                  <a:lnTo>
                    <a:pt x="69" y="175"/>
                  </a:lnTo>
                  <a:lnTo>
                    <a:pt x="69" y="180"/>
                  </a:lnTo>
                  <a:lnTo>
                    <a:pt x="69" y="180"/>
                  </a:lnTo>
                  <a:lnTo>
                    <a:pt x="68" y="183"/>
                  </a:lnTo>
                  <a:lnTo>
                    <a:pt x="68" y="184"/>
                  </a:lnTo>
                  <a:lnTo>
                    <a:pt x="68" y="184"/>
                  </a:lnTo>
                  <a:lnTo>
                    <a:pt x="69" y="186"/>
                  </a:lnTo>
                  <a:lnTo>
                    <a:pt x="69" y="191"/>
                  </a:lnTo>
                  <a:lnTo>
                    <a:pt x="69" y="194"/>
                  </a:lnTo>
                  <a:lnTo>
                    <a:pt x="69" y="196"/>
                  </a:lnTo>
                  <a:lnTo>
                    <a:pt x="71" y="199"/>
                  </a:lnTo>
                  <a:lnTo>
                    <a:pt x="72" y="203"/>
                  </a:lnTo>
                  <a:lnTo>
                    <a:pt x="71" y="203"/>
                  </a:lnTo>
                  <a:lnTo>
                    <a:pt x="71" y="207"/>
                  </a:lnTo>
                  <a:lnTo>
                    <a:pt x="71" y="211"/>
                  </a:lnTo>
                  <a:lnTo>
                    <a:pt x="71" y="215"/>
                  </a:lnTo>
                  <a:lnTo>
                    <a:pt x="71" y="218"/>
                  </a:lnTo>
                  <a:lnTo>
                    <a:pt x="69" y="221"/>
                  </a:lnTo>
                  <a:lnTo>
                    <a:pt x="69" y="224"/>
                  </a:lnTo>
                  <a:lnTo>
                    <a:pt x="69" y="229"/>
                  </a:lnTo>
                  <a:lnTo>
                    <a:pt x="71" y="232"/>
                  </a:lnTo>
                  <a:lnTo>
                    <a:pt x="69" y="235"/>
                  </a:lnTo>
                  <a:lnTo>
                    <a:pt x="69" y="237"/>
                  </a:lnTo>
                  <a:lnTo>
                    <a:pt x="69" y="240"/>
                  </a:lnTo>
                  <a:lnTo>
                    <a:pt x="69" y="243"/>
                  </a:lnTo>
                  <a:lnTo>
                    <a:pt x="69" y="246"/>
                  </a:lnTo>
                  <a:lnTo>
                    <a:pt x="49" y="249"/>
                  </a:lnTo>
                  <a:lnTo>
                    <a:pt x="30" y="253"/>
                  </a:lnTo>
                  <a:lnTo>
                    <a:pt x="30" y="251"/>
                  </a:lnTo>
                  <a:lnTo>
                    <a:pt x="31" y="251"/>
                  </a:lnTo>
                  <a:lnTo>
                    <a:pt x="36" y="249"/>
                  </a:lnTo>
                  <a:lnTo>
                    <a:pt x="36" y="248"/>
                  </a:lnTo>
                  <a:lnTo>
                    <a:pt x="34" y="245"/>
                  </a:lnTo>
                  <a:lnTo>
                    <a:pt x="31" y="242"/>
                  </a:lnTo>
                  <a:lnTo>
                    <a:pt x="31" y="238"/>
                  </a:lnTo>
                  <a:lnTo>
                    <a:pt x="31" y="238"/>
                  </a:lnTo>
                  <a:lnTo>
                    <a:pt x="28" y="235"/>
                  </a:lnTo>
                  <a:lnTo>
                    <a:pt x="30" y="232"/>
                  </a:lnTo>
                  <a:lnTo>
                    <a:pt x="28" y="227"/>
                  </a:lnTo>
                  <a:lnTo>
                    <a:pt x="28" y="224"/>
                  </a:lnTo>
                  <a:lnTo>
                    <a:pt x="26" y="221"/>
                  </a:lnTo>
                  <a:lnTo>
                    <a:pt x="30" y="221"/>
                  </a:lnTo>
                  <a:lnTo>
                    <a:pt x="30" y="202"/>
                  </a:lnTo>
                  <a:lnTo>
                    <a:pt x="30" y="183"/>
                  </a:lnTo>
                  <a:lnTo>
                    <a:pt x="30" y="173"/>
                  </a:lnTo>
                  <a:lnTo>
                    <a:pt x="30" y="162"/>
                  </a:lnTo>
                  <a:lnTo>
                    <a:pt x="31" y="159"/>
                  </a:lnTo>
                  <a:lnTo>
                    <a:pt x="30" y="156"/>
                  </a:lnTo>
                  <a:lnTo>
                    <a:pt x="30" y="145"/>
                  </a:lnTo>
                  <a:lnTo>
                    <a:pt x="30" y="142"/>
                  </a:lnTo>
                  <a:lnTo>
                    <a:pt x="30" y="135"/>
                  </a:lnTo>
                  <a:lnTo>
                    <a:pt x="28" y="132"/>
                  </a:lnTo>
                  <a:lnTo>
                    <a:pt x="25" y="129"/>
                  </a:lnTo>
                  <a:lnTo>
                    <a:pt x="22" y="124"/>
                  </a:lnTo>
                  <a:lnTo>
                    <a:pt x="22" y="121"/>
                  </a:lnTo>
                  <a:lnTo>
                    <a:pt x="20" y="119"/>
                  </a:lnTo>
                  <a:lnTo>
                    <a:pt x="20" y="116"/>
                  </a:lnTo>
                  <a:lnTo>
                    <a:pt x="20" y="111"/>
                  </a:lnTo>
                  <a:lnTo>
                    <a:pt x="20" y="105"/>
                  </a:lnTo>
                  <a:lnTo>
                    <a:pt x="20" y="102"/>
                  </a:lnTo>
                  <a:lnTo>
                    <a:pt x="20" y="97"/>
                  </a:lnTo>
                  <a:lnTo>
                    <a:pt x="17" y="96"/>
                  </a:lnTo>
                  <a:lnTo>
                    <a:pt x="14" y="94"/>
                  </a:lnTo>
                  <a:lnTo>
                    <a:pt x="12" y="92"/>
                  </a:lnTo>
                  <a:lnTo>
                    <a:pt x="11" y="91"/>
                  </a:lnTo>
                  <a:lnTo>
                    <a:pt x="7" y="89"/>
                  </a:lnTo>
                  <a:lnTo>
                    <a:pt x="4" y="86"/>
                  </a:lnTo>
                  <a:lnTo>
                    <a:pt x="0" y="83"/>
                  </a:lnTo>
                  <a:lnTo>
                    <a:pt x="0" y="80"/>
                  </a:lnTo>
                  <a:lnTo>
                    <a:pt x="0" y="75"/>
                  </a:lnTo>
                  <a:lnTo>
                    <a:pt x="1" y="72"/>
                  </a:lnTo>
                  <a:lnTo>
                    <a:pt x="1" y="6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74" name="Freeform 439"/>
            <p:cNvSpPr>
              <a:spLocks/>
            </p:cNvSpPr>
            <p:nvPr/>
          </p:nvSpPr>
          <p:spPr bwMode="auto">
            <a:xfrm>
              <a:off x="5373802" y="4016568"/>
              <a:ext cx="416112" cy="409568"/>
            </a:xfrm>
            <a:custGeom>
              <a:avLst/>
              <a:gdLst>
                <a:gd name="T0" fmla="*/ 3 w 565"/>
                <a:gd name="T1" fmla="*/ 360 h 484"/>
                <a:gd name="T2" fmla="*/ 6 w 565"/>
                <a:gd name="T3" fmla="*/ 349 h 484"/>
                <a:gd name="T4" fmla="*/ 21 w 565"/>
                <a:gd name="T5" fmla="*/ 351 h 484"/>
                <a:gd name="T6" fmla="*/ 35 w 565"/>
                <a:gd name="T7" fmla="*/ 344 h 484"/>
                <a:gd name="T8" fmla="*/ 71 w 565"/>
                <a:gd name="T9" fmla="*/ 335 h 484"/>
                <a:gd name="T10" fmla="*/ 120 w 565"/>
                <a:gd name="T11" fmla="*/ 333 h 484"/>
                <a:gd name="T12" fmla="*/ 133 w 565"/>
                <a:gd name="T13" fmla="*/ 319 h 484"/>
                <a:gd name="T14" fmla="*/ 138 w 565"/>
                <a:gd name="T15" fmla="*/ 302 h 484"/>
                <a:gd name="T16" fmla="*/ 146 w 565"/>
                <a:gd name="T17" fmla="*/ 276 h 484"/>
                <a:gd name="T18" fmla="*/ 147 w 565"/>
                <a:gd name="T19" fmla="*/ 199 h 484"/>
                <a:gd name="T20" fmla="*/ 198 w 565"/>
                <a:gd name="T21" fmla="*/ 168 h 484"/>
                <a:gd name="T22" fmla="*/ 219 w 565"/>
                <a:gd name="T23" fmla="*/ 151 h 484"/>
                <a:gd name="T24" fmla="*/ 276 w 565"/>
                <a:gd name="T25" fmla="*/ 100 h 484"/>
                <a:gd name="T26" fmla="*/ 339 w 565"/>
                <a:gd name="T27" fmla="*/ 56 h 484"/>
                <a:gd name="T28" fmla="*/ 347 w 565"/>
                <a:gd name="T29" fmla="*/ 50 h 484"/>
                <a:gd name="T30" fmla="*/ 360 w 565"/>
                <a:gd name="T31" fmla="*/ 42 h 484"/>
                <a:gd name="T32" fmla="*/ 408 w 565"/>
                <a:gd name="T33" fmla="*/ 10 h 484"/>
                <a:gd name="T34" fmla="*/ 442 w 565"/>
                <a:gd name="T35" fmla="*/ 5 h 484"/>
                <a:gd name="T36" fmla="*/ 482 w 565"/>
                <a:gd name="T37" fmla="*/ 18 h 484"/>
                <a:gd name="T38" fmla="*/ 514 w 565"/>
                <a:gd name="T39" fmla="*/ 30 h 484"/>
                <a:gd name="T40" fmla="*/ 528 w 565"/>
                <a:gd name="T41" fmla="*/ 21 h 484"/>
                <a:gd name="T42" fmla="*/ 539 w 565"/>
                <a:gd name="T43" fmla="*/ 86 h 484"/>
                <a:gd name="T44" fmla="*/ 553 w 565"/>
                <a:gd name="T45" fmla="*/ 115 h 484"/>
                <a:gd name="T46" fmla="*/ 560 w 565"/>
                <a:gd name="T47" fmla="*/ 140 h 484"/>
                <a:gd name="T48" fmla="*/ 549 w 565"/>
                <a:gd name="T49" fmla="*/ 249 h 484"/>
                <a:gd name="T50" fmla="*/ 496 w 565"/>
                <a:gd name="T51" fmla="*/ 337 h 484"/>
                <a:gd name="T52" fmla="*/ 487 w 565"/>
                <a:gd name="T53" fmla="*/ 356 h 484"/>
                <a:gd name="T54" fmla="*/ 479 w 565"/>
                <a:gd name="T55" fmla="*/ 368 h 484"/>
                <a:gd name="T56" fmla="*/ 482 w 565"/>
                <a:gd name="T57" fmla="*/ 402 h 484"/>
                <a:gd name="T58" fmla="*/ 463 w 565"/>
                <a:gd name="T59" fmla="*/ 408 h 484"/>
                <a:gd name="T60" fmla="*/ 444 w 565"/>
                <a:gd name="T61" fmla="*/ 421 h 484"/>
                <a:gd name="T62" fmla="*/ 430 w 565"/>
                <a:gd name="T63" fmla="*/ 425 h 484"/>
                <a:gd name="T64" fmla="*/ 408 w 565"/>
                <a:gd name="T65" fmla="*/ 416 h 484"/>
                <a:gd name="T66" fmla="*/ 362 w 565"/>
                <a:gd name="T67" fmla="*/ 419 h 484"/>
                <a:gd name="T68" fmla="*/ 317 w 565"/>
                <a:gd name="T69" fmla="*/ 436 h 484"/>
                <a:gd name="T70" fmla="*/ 304 w 565"/>
                <a:gd name="T71" fmla="*/ 432 h 484"/>
                <a:gd name="T72" fmla="*/ 292 w 565"/>
                <a:gd name="T73" fmla="*/ 422 h 484"/>
                <a:gd name="T74" fmla="*/ 277 w 565"/>
                <a:gd name="T75" fmla="*/ 416 h 484"/>
                <a:gd name="T76" fmla="*/ 262 w 565"/>
                <a:gd name="T77" fmla="*/ 424 h 484"/>
                <a:gd name="T78" fmla="*/ 249 w 565"/>
                <a:gd name="T79" fmla="*/ 429 h 484"/>
                <a:gd name="T80" fmla="*/ 235 w 565"/>
                <a:gd name="T81" fmla="*/ 421 h 484"/>
                <a:gd name="T82" fmla="*/ 224 w 565"/>
                <a:gd name="T83" fmla="*/ 405 h 484"/>
                <a:gd name="T84" fmla="*/ 200 w 565"/>
                <a:gd name="T85" fmla="*/ 397 h 484"/>
                <a:gd name="T86" fmla="*/ 184 w 565"/>
                <a:gd name="T87" fmla="*/ 400 h 484"/>
                <a:gd name="T88" fmla="*/ 168 w 565"/>
                <a:gd name="T89" fmla="*/ 398 h 484"/>
                <a:gd name="T90" fmla="*/ 151 w 565"/>
                <a:gd name="T91" fmla="*/ 406 h 484"/>
                <a:gd name="T92" fmla="*/ 136 w 565"/>
                <a:gd name="T93" fmla="*/ 438 h 484"/>
                <a:gd name="T94" fmla="*/ 124 w 565"/>
                <a:gd name="T95" fmla="*/ 463 h 484"/>
                <a:gd name="T96" fmla="*/ 125 w 565"/>
                <a:gd name="T97" fmla="*/ 479 h 484"/>
                <a:gd name="T98" fmla="*/ 116 w 565"/>
                <a:gd name="T99" fmla="*/ 476 h 484"/>
                <a:gd name="T100" fmla="*/ 109 w 565"/>
                <a:gd name="T101" fmla="*/ 470 h 484"/>
                <a:gd name="T102" fmla="*/ 93 w 565"/>
                <a:gd name="T103" fmla="*/ 455 h 484"/>
                <a:gd name="T104" fmla="*/ 79 w 565"/>
                <a:gd name="T105" fmla="*/ 465 h 484"/>
                <a:gd name="T106" fmla="*/ 79 w 565"/>
                <a:gd name="T107" fmla="*/ 476 h 484"/>
                <a:gd name="T108" fmla="*/ 73 w 565"/>
                <a:gd name="T109" fmla="*/ 449 h 484"/>
                <a:gd name="T110" fmla="*/ 62 w 565"/>
                <a:gd name="T111" fmla="*/ 444 h 484"/>
                <a:gd name="T112" fmla="*/ 41 w 565"/>
                <a:gd name="T113" fmla="*/ 436 h 484"/>
                <a:gd name="T114" fmla="*/ 30 w 565"/>
                <a:gd name="T115" fmla="*/ 421 h 484"/>
                <a:gd name="T116" fmla="*/ 40 w 565"/>
                <a:gd name="T117" fmla="*/ 416 h 484"/>
                <a:gd name="T118" fmla="*/ 30 w 565"/>
                <a:gd name="T119" fmla="*/ 408 h 484"/>
                <a:gd name="T120" fmla="*/ 16 w 565"/>
                <a:gd name="T121" fmla="*/ 398 h 484"/>
                <a:gd name="T122" fmla="*/ 8 w 565"/>
                <a:gd name="T123" fmla="*/ 383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65" h="484">
                  <a:moveTo>
                    <a:pt x="3" y="371"/>
                  </a:moveTo>
                  <a:lnTo>
                    <a:pt x="1" y="371"/>
                  </a:lnTo>
                  <a:lnTo>
                    <a:pt x="0" y="367"/>
                  </a:lnTo>
                  <a:lnTo>
                    <a:pt x="1" y="364"/>
                  </a:lnTo>
                  <a:lnTo>
                    <a:pt x="3" y="360"/>
                  </a:lnTo>
                  <a:lnTo>
                    <a:pt x="1" y="357"/>
                  </a:lnTo>
                  <a:lnTo>
                    <a:pt x="3" y="352"/>
                  </a:lnTo>
                  <a:lnTo>
                    <a:pt x="3" y="348"/>
                  </a:lnTo>
                  <a:lnTo>
                    <a:pt x="3" y="348"/>
                  </a:lnTo>
                  <a:lnTo>
                    <a:pt x="6" y="349"/>
                  </a:lnTo>
                  <a:lnTo>
                    <a:pt x="9" y="349"/>
                  </a:lnTo>
                  <a:lnTo>
                    <a:pt x="13" y="348"/>
                  </a:lnTo>
                  <a:lnTo>
                    <a:pt x="13" y="348"/>
                  </a:lnTo>
                  <a:lnTo>
                    <a:pt x="17" y="349"/>
                  </a:lnTo>
                  <a:lnTo>
                    <a:pt x="21" y="351"/>
                  </a:lnTo>
                  <a:lnTo>
                    <a:pt x="21" y="349"/>
                  </a:lnTo>
                  <a:lnTo>
                    <a:pt x="25" y="349"/>
                  </a:lnTo>
                  <a:lnTo>
                    <a:pt x="28" y="349"/>
                  </a:lnTo>
                  <a:lnTo>
                    <a:pt x="30" y="348"/>
                  </a:lnTo>
                  <a:lnTo>
                    <a:pt x="35" y="344"/>
                  </a:lnTo>
                  <a:lnTo>
                    <a:pt x="38" y="341"/>
                  </a:lnTo>
                  <a:lnTo>
                    <a:pt x="41" y="338"/>
                  </a:lnTo>
                  <a:lnTo>
                    <a:pt x="41" y="337"/>
                  </a:lnTo>
                  <a:lnTo>
                    <a:pt x="57" y="337"/>
                  </a:lnTo>
                  <a:lnTo>
                    <a:pt x="71" y="335"/>
                  </a:lnTo>
                  <a:lnTo>
                    <a:pt x="87" y="333"/>
                  </a:lnTo>
                  <a:lnTo>
                    <a:pt x="101" y="335"/>
                  </a:lnTo>
                  <a:lnTo>
                    <a:pt x="103" y="330"/>
                  </a:lnTo>
                  <a:lnTo>
                    <a:pt x="113" y="332"/>
                  </a:lnTo>
                  <a:lnTo>
                    <a:pt x="120" y="333"/>
                  </a:lnTo>
                  <a:lnTo>
                    <a:pt x="122" y="330"/>
                  </a:lnTo>
                  <a:lnTo>
                    <a:pt x="124" y="327"/>
                  </a:lnTo>
                  <a:lnTo>
                    <a:pt x="127" y="324"/>
                  </a:lnTo>
                  <a:lnTo>
                    <a:pt x="130" y="321"/>
                  </a:lnTo>
                  <a:lnTo>
                    <a:pt x="133" y="319"/>
                  </a:lnTo>
                  <a:lnTo>
                    <a:pt x="135" y="316"/>
                  </a:lnTo>
                  <a:lnTo>
                    <a:pt x="135" y="313"/>
                  </a:lnTo>
                  <a:lnTo>
                    <a:pt x="136" y="310"/>
                  </a:lnTo>
                  <a:lnTo>
                    <a:pt x="138" y="305"/>
                  </a:lnTo>
                  <a:lnTo>
                    <a:pt x="138" y="302"/>
                  </a:lnTo>
                  <a:lnTo>
                    <a:pt x="139" y="298"/>
                  </a:lnTo>
                  <a:lnTo>
                    <a:pt x="141" y="295"/>
                  </a:lnTo>
                  <a:lnTo>
                    <a:pt x="144" y="292"/>
                  </a:lnTo>
                  <a:lnTo>
                    <a:pt x="146" y="291"/>
                  </a:lnTo>
                  <a:lnTo>
                    <a:pt x="146" y="276"/>
                  </a:lnTo>
                  <a:lnTo>
                    <a:pt x="147" y="265"/>
                  </a:lnTo>
                  <a:lnTo>
                    <a:pt x="147" y="254"/>
                  </a:lnTo>
                  <a:lnTo>
                    <a:pt x="147" y="237"/>
                  </a:lnTo>
                  <a:lnTo>
                    <a:pt x="147" y="218"/>
                  </a:lnTo>
                  <a:lnTo>
                    <a:pt x="147" y="199"/>
                  </a:lnTo>
                  <a:lnTo>
                    <a:pt x="147" y="180"/>
                  </a:lnTo>
                  <a:lnTo>
                    <a:pt x="160" y="176"/>
                  </a:lnTo>
                  <a:lnTo>
                    <a:pt x="173" y="173"/>
                  </a:lnTo>
                  <a:lnTo>
                    <a:pt x="185" y="170"/>
                  </a:lnTo>
                  <a:lnTo>
                    <a:pt x="198" y="168"/>
                  </a:lnTo>
                  <a:lnTo>
                    <a:pt x="201" y="167"/>
                  </a:lnTo>
                  <a:lnTo>
                    <a:pt x="203" y="167"/>
                  </a:lnTo>
                  <a:lnTo>
                    <a:pt x="206" y="164"/>
                  </a:lnTo>
                  <a:lnTo>
                    <a:pt x="216" y="156"/>
                  </a:lnTo>
                  <a:lnTo>
                    <a:pt x="219" y="151"/>
                  </a:lnTo>
                  <a:lnTo>
                    <a:pt x="231" y="140"/>
                  </a:lnTo>
                  <a:lnTo>
                    <a:pt x="243" y="127"/>
                  </a:lnTo>
                  <a:lnTo>
                    <a:pt x="254" y="116"/>
                  </a:lnTo>
                  <a:lnTo>
                    <a:pt x="265" y="108"/>
                  </a:lnTo>
                  <a:lnTo>
                    <a:pt x="276" y="100"/>
                  </a:lnTo>
                  <a:lnTo>
                    <a:pt x="289" y="91"/>
                  </a:lnTo>
                  <a:lnTo>
                    <a:pt x="312" y="75"/>
                  </a:lnTo>
                  <a:lnTo>
                    <a:pt x="335" y="59"/>
                  </a:lnTo>
                  <a:lnTo>
                    <a:pt x="336" y="57"/>
                  </a:lnTo>
                  <a:lnTo>
                    <a:pt x="339" y="56"/>
                  </a:lnTo>
                  <a:lnTo>
                    <a:pt x="339" y="54"/>
                  </a:lnTo>
                  <a:lnTo>
                    <a:pt x="341" y="54"/>
                  </a:lnTo>
                  <a:lnTo>
                    <a:pt x="342" y="54"/>
                  </a:lnTo>
                  <a:lnTo>
                    <a:pt x="342" y="53"/>
                  </a:lnTo>
                  <a:lnTo>
                    <a:pt x="347" y="50"/>
                  </a:lnTo>
                  <a:lnTo>
                    <a:pt x="350" y="48"/>
                  </a:lnTo>
                  <a:lnTo>
                    <a:pt x="352" y="46"/>
                  </a:lnTo>
                  <a:lnTo>
                    <a:pt x="355" y="45"/>
                  </a:lnTo>
                  <a:lnTo>
                    <a:pt x="357" y="43"/>
                  </a:lnTo>
                  <a:lnTo>
                    <a:pt x="360" y="42"/>
                  </a:lnTo>
                  <a:lnTo>
                    <a:pt x="360" y="42"/>
                  </a:lnTo>
                  <a:lnTo>
                    <a:pt x="373" y="34"/>
                  </a:lnTo>
                  <a:lnTo>
                    <a:pt x="384" y="26"/>
                  </a:lnTo>
                  <a:lnTo>
                    <a:pt x="396" y="18"/>
                  </a:lnTo>
                  <a:lnTo>
                    <a:pt x="408" y="10"/>
                  </a:lnTo>
                  <a:lnTo>
                    <a:pt x="415" y="5"/>
                  </a:lnTo>
                  <a:lnTo>
                    <a:pt x="420" y="2"/>
                  </a:lnTo>
                  <a:lnTo>
                    <a:pt x="423" y="0"/>
                  </a:lnTo>
                  <a:lnTo>
                    <a:pt x="430" y="2"/>
                  </a:lnTo>
                  <a:lnTo>
                    <a:pt x="442" y="5"/>
                  </a:lnTo>
                  <a:lnTo>
                    <a:pt x="455" y="8"/>
                  </a:lnTo>
                  <a:lnTo>
                    <a:pt x="465" y="10"/>
                  </a:lnTo>
                  <a:lnTo>
                    <a:pt x="473" y="13"/>
                  </a:lnTo>
                  <a:lnTo>
                    <a:pt x="477" y="15"/>
                  </a:lnTo>
                  <a:lnTo>
                    <a:pt x="482" y="18"/>
                  </a:lnTo>
                  <a:lnTo>
                    <a:pt x="490" y="26"/>
                  </a:lnTo>
                  <a:lnTo>
                    <a:pt x="501" y="37"/>
                  </a:lnTo>
                  <a:lnTo>
                    <a:pt x="506" y="35"/>
                  </a:lnTo>
                  <a:lnTo>
                    <a:pt x="509" y="32"/>
                  </a:lnTo>
                  <a:lnTo>
                    <a:pt x="514" y="30"/>
                  </a:lnTo>
                  <a:lnTo>
                    <a:pt x="517" y="29"/>
                  </a:lnTo>
                  <a:lnTo>
                    <a:pt x="520" y="26"/>
                  </a:lnTo>
                  <a:lnTo>
                    <a:pt x="525" y="24"/>
                  </a:lnTo>
                  <a:lnTo>
                    <a:pt x="528" y="21"/>
                  </a:lnTo>
                  <a:lnTo>
                    <a:pt x="528" y="21"/>
                  </a:lnTo>
                  <a:lnTo>
                    <a:pt x="533" y="40"/>
                  </a:lnTo>
                  <a:lnTo>
                    <a:pt x="536" y="57"/>
                  </a:lnTo>
                  <a:lnTo>
                    <a:pt x="536" y="75"/>
                  </a:lnTo>
                  <a:lnTo>
                    <a:pt x="536" y="81"/>
                  </a:lnTo>
                  <a:lnTo>
                    <a:pt x="539" y="86"/>
                  </a:lnTo>
                  <a:lnTo>
                    <a:pt x="550" y="102"/>
                  </a:lnTo>
                  <a:lnTo>
                    <a:pt x="550" y="105"/>
                  </a:lnTo>
                  <a:lnTo>
                    <a:pt x="549" y="108"/>
                  </a:lnTo>
                  <a:lnTo>
                    <a:pt x="550" y="113"/>
                  </a:lnTo>
                  <a:lnTo>
                    <a:pt x="553" y="115"/>
                  </a:lnTo>
                  <a:lnTo>
                    <a:pt x="557" y="119"/>
                  </a:lnTo>
                  <a:lnTo>
                    <a:pt x="561" y="126"/>
                  </a:lnTo>
                  <a:lnTo>
                    <a:pt x="565" y="129"/>
                  </a:lnTo>
                  <a:lnTo>
                    <a:pt x="563" y="132"/>
                  </a:lnTo>
                  <a:lnTo>
                    <a:pt x="560" y="140"/>
                  </a:lnTo>
                  <a:lnTo>
                    <a:pt x="555" y="161"/>
                  </a:lnTo>
                  <a:lnTo>
                    <a:pt x="552" y="183"/>
                  </a:lnTo>
                  <a:lnTo>
                    <a:pt x="550" y="205"/>
                  </a:lnTo>
                  <a:lnTo>
                    <a:pt x="550" y="227"/>
                  </a:lnTo>
                  <a:lnTo>
                    <a:pt x="549" y="249"/>
                  </a:lnTo>
                  <a:lnTo>
                    <a:pt x="547" y="272"/>
                  </a:lnTo>
                  <a:lnTo>
                    <a:pt x="530" y="292"/>
                  </a:lnTo>
                  <a:lnTo>
                    <a:pt x="512" y="314"/>
                  </a:lnTo>
                  <a:lnTo>
                    <a:pt x="504" y="325"/>
                  </a:lnTo>
                  <a:lnTo>
                    <a:pt x="496" y="337"/>
                  </a:lnTo>
                  <a:lnTo>
                    <a:pt x="495" y="341"/>
                  </a:lnTo>
                  <a:lnTo>
                    <a:pt x="492" y="344"/>
                  </a:lnTo>
                  <a:lnTo>
                    <a:pt x="490" y="348"/>
                  </a:lnTo>
                  <a:lnTo>
                    <a:pt x="488" y="352"/>
                  </a:lnTo>
                  <a:lnTo>
                    <a:pt x="487" y="356"/>
                  </a:lnTo>
                  <a:lnTo>
                    <a:pt x="488" y="359"/>
                  </a:lnTo>
                  <a:lnTo>
                    <a:pt x="485" y="360"/>
                  </a:lnTo>
                  <a:lnTo>
                    <a:pt x="484" y="365"/>
                  </a:lnTo>
                  <a:lnTo>
                    <a:pt x="482" y="368"/>
                  </a:lnTo>
                  <a:lnTo>
                    <a:pt x="479" y="368"/>
                  </a:lnTo>
                  <a:lnTo>
                    <a:pt x="476" y="371"/>
                  </a:lnTo>
                  <a:lnTo>
                    <a:pt x="477" y="375"/>
                  </a:lnTo>
                  <a:lnTo>
                    <a:pt x="477" y="376"/>
                  </a:lnTo>
                  <a:lnTo>
                    <a:pt x="480" y="389"/>
                  </a:lnTo>
                  <a:lnTo>
                    <a:pt x="482" y="402"/>
                  </a:lnTo>
                  <a:lnTo>
                    <a:pt x="473" y="402"/>
                  </a:lnTo>
                  <a:lnTo>
                    <a:pt x="471" y="403"/>
                  </a:lnTo>
                  <a:lnTo>
                    <a:pt x="469" y="403"/>
                  </a:lnTo>
                  <a:lnTo>
                    <a:pt x="468" y="408"/>
                  </a:lnTo>
                  <a:lnTo>
                    <a:pt x="463" y="408"/>
                  </a:lnTo>
                  <a:lnTo>
                    <a:pt x="458" y="409"/>
                  </a:lnTo>
                  <a:lnTo>
                    <a:pt x="455" y="411"/>
                  </a:lnTo>
                  <a:lnTo>
                    <a:pt x="450" y="416"/>
                  </a:lnTo>
                  <a:lnTo>
                    <a:pt x="447" y="419"/>
                  </a:lnTo>
                  <a:lnTo>
                    <a:pt x="444" y="421"/>
                  </a:lnTo>
                  <a:lnTo>
                    <a:pt x="442" y="424"/>
                  </a:lnTo>
                  <a:lnTo>
                    <a:pt x="439" y="427"/>
                  </a:lnTo>
                  <a:lnTo>
                    <a:pt x="436" y="427"/>
                  </a:lnTo>
                  <a:lnTo>
                    <a:pt x="433" y="425"/>
                  </a:lnTo>
                  <a:lnTo>
                    <a:pt x="430" y="425"/>
                  </a:lnTo>
                  <a:lnTo>
                    <a:pt x="430" y="425"/>
                  </a:lnTo>
                  <a:lnTo>
                    <a:pt x="425" y="424"/>
                  </a:lnTo>
                  <a:lnTo>
                    <a:pt x="423" y="422"/>
                  </a:lnTo>
                  <a:lnTo>
                    <a:pt x="415" y="419"/>
                  </a:lnTo>
                  <a:lnTo>
                    <a:pt x="408" y="416"/>
                  </a:lnTo>
                  <a:lnTo>
                    <a:pt x="398" y="414"/>
                  </a:lnTo>
                  <a:lnTo>
                    <a:pt x="390" y="416"/>
                  </a:lnTo>
                  <a:lnTo>
                    <a:pt x="382" y="414"/>
                  </a:lnTo>
                  <a:lnTo>
                    <a:pt x="374" y="416"/>
                  </a:lnTo>
                  <a:lnTo>
                    <a:pt x="362" y="419"/>
                  </a:lnTo>
                  <a:lnTo>
                    <a:pt x="354" y="422"/>
                  </a:lnTo>
                  <a:lnTo>
                    <a:pt x="347" y="429"/>
                  </a:lnTo>
                  <a:lnTo>
                    <a:pt x="339" y="438"/>
                  </a:lnTo>
                  <a:lnTo>
                    <a:pt x="328" y="438"/>
                  </a:lnTo>
                  <a:lnTo>
                    <a:pt x="317" y="436"/>
                  </a:lnTo>
                  <a:lnTo>
                    <a:pt x="316" y="436"/>
                  </a:lnTo>
                  <a:lnTo>
                    <a:pt x="314" y="436"/>
                  </a:lnTo>
                  <a:lnTo>
                    <a:pt x="311" y="435"/>
                  </a:lnTo>
                  <a:lnTo>
                    <a:pt x="308" y="433"/>
                  </a:lnTo>
                  <a:lnTo>
                    <a:pt x="304" y="432"/>
                  </a:lnTo>
                  <a:lnTo>
                    <a:pt x="301" y="429"/>
                  </a:lnTo>
                  <a:lnTo>
                    <a:pt x="298" y="427"/>
                  </a:lnTo>
                  <a:lnTo>
                    <a:pt x="296" y="427"/>
                  </a:lnTo>
                  <a:lnTo>
                    <a:pt x="295" y="425"/>
                  </a:lnTo>
                  <a:lnTo>
                    <a:pt x="292" y="422"/>
                  </a:lnTo>
                  <a:lnTo>
                    <a:pt x="290" y="421"/>
                  </a:lnTo>
                  <a:lnTo>
                    <a:pt x="289" y="421"/>
                  </a:lnTo>
                  <a:lnTo>
                    <a:pt x="285" y="419"/>
                  </a:lnTo>
                  <a:lnTo>
                    <a:pt x="282" y="417"/>
                  </a:lnTo>
                  <a:lnTo>
                    <a:pt x="277" y="416"/>
                  </a:lnTo>
                  <a:lnTo>
                    <a:pt x="274" y="416"/>
                  </a:lnTo>
                  <a:lnTo>
                    <a:pt x="273" y="416"/>
                  </a:lnTo>
                  <a:lnTo>
                    <a:pt x="270" y="419"/>
                  </a:lnTo>
                  <a:lnTo>
                    <a:pt x="266" y="421"/>
                  </a:lnTo>
                  <a:lnTo>
                    <a:pt x="262" y="424"/>
                  </a:lnTo>
                  <a:lnTo>
                    <a:pt x="257" y="425"/>
                  </a:lnTo>
                  <a:lnTo>
                    <a:pt x="254" y="425"/>
                  </a:lnTo>
                  <a:lnTo>
                    <a:pt x="252" y="425"/>
                  </a:lnTo>
                  <a:lnTo>
                    <a:pt x="250" y="427"/>
                  </a:lnTo>
                  <a:lnTo>
                    <a:pt x="249" y="429"/>
                  </a:lnTo>
                  <a:lnTo>
                    <a:pt x="246" y="430"/>
                  </a:lnTo>
                  <a:lnTo>
                    <a:pt x="244" y="430"/>
                  </a:lnTo>
                  <a:lnTo>
                    <a:pt x="239" y="427"/>
                  </a:lnTo>
                  <a:lnTo>
                    <a:pt x="238" y="424"/>
                  </a:lnTo>
                  <a:lnTo>
                    <a:pt x="235" y="421"/>
                  </a:lnTo>
                  <a:lnTo>
                    <a:pt x="233" y="417"/>
                  </a:lnTo>
                  <a:lnTo>
                    <a:pt x="230" y="413"/>
                  </a:lnTo>
                  <a:lnTo>
                    <a:pt x="228" y="409"/>
                  </a:lnTo>
                  <a:lnTo>
                    <a:pt x="224" y="406"/>
                  </a:lnTo>
                  <a:lnTo>
                    <a:pt x="224" y="405"/>
                  </a:lnTo>
                  <a:lnTo>
                    <a:pt x="219" y="402"/>
                  </a:lnTo>
                  <a:lnTo>
                    <a:pt x="216" y="403"/>
                  </a:lnTo>
                  <a:lnTo>
                    <a:pt x="211" y="402"/>
                  </a:lnTo>
                  <a:lnTo>
                    <a:pt x="208" y="402"/>
                  </a:lnTo>
                  <a:lnTo>
                    <a:pt x="200" y="397"/>
                  </a:lnTo>
                  <a:lnTo>
                    <a:pt x="197" y="395"/>
                  </a:lnTo>
                  <a:lnTo>
                    <a:pt x="193" y="394"/>
                  </a:lnTo>
                  <a:lnTo>
                    <a:pt x="190" y="394"/>
                  </a:lnTo>
                  <a:lnTo>
                    <a:pt x="187" y="395"/>
                  </a:lnTo>
                  <a:lnTo>
                    <a:pt x="184" y="400"/>
                  </a:lnTo>
                  <a:lnTo>
                    <a:pt x="181" y="400"/>
                  </a:lnTo>
                  <a:lnTo>
                    <a:pt x="178" y="400"/>
                  </a:lnTo>
                  <a:lnTo>
                    <a:pt x="173" y="400"/>
                  </a:lnTo>
                  <a:lnTo>
                    <a:pt x="171" y="400"/>
                  </a:lnTo>
                  <a:lnTo>
                    <a:pt x="168" y="398"/>
                  </a:lnTo>
                  <a:lnTo>
                    <a:pt x="163" y="400"/>
                  </a:lnTo>
                  <a:lnTo>
                    <a:pt x="160" y="402"/>
                  </a:lnTo>
                  <a:lnTo>
                    <a:pt x="157" y="402"/>
                  </a:lnTo>
                  <a:lnTo>
                    <a:pt x="154" y="403"/>
                  </a:lnTo>
                  <a:lnTo>
                    <a:pt x="151" y="406"/>
                  </a:lnTo>
                  <a:lnTo>
                    <a:pt x="146" y="411"/>
                  </a:lnTo>
                  <a:lnTo>
                    <a:pt x="143" y="413"/>
                  </a:lnTo>
                  <a:lnTo>
                    <a:pt x="143" y="422"/>
                  </a:lnTo>
                  <a:lnTo>
                    <a:pt x="141" y="430"/>
                  </a:lnTo>
                  <a:lnTo>
                    <a:pt x="136" y="438"/>
                  </a:lnTo>
                  <a:lnTo>
                    <a:pt x="130" y="444"/>
                  </a:lnTo>
                  <a:lnTo>
                    <a:pt x="125" y="449"/>
                  </a:lnTo>
                  <a:lnTo>
                    <a:pt x="125" y="452"/>
                  </a:lnTo>
                  <a:lnTo>
                    <a:pt x="125" y="457"/>
                  </a:lnTo>
                  <a:lnTo>
                    <a:pt x="124" y="463"/>
                  </a:lnTo>
                  <a:lnTo>
                    <a:pt x="124" y="467"/>
                  </a:lnTo>
                  <a:lnTo>
                    <a:pt x="125" y="471"/>
                  </a:lnTo>
                  <a:lnTo>
                    <a:pt x="125" y="473"/>
                  </a:lnTo>
                  <a:lnTo>
                    <a:pt x="124" y="476"/>
                  </a:lnTo>
                  <a:lnTo>
                    <a:pt x="125" y="479"/>
                  </a:lnTo>
                  <a:lnTo>
                    <a:pt x="124" y="484"/>
                  </a:lnTo>
                  <a:lnTo>
                    <a:pt x="122" y="484"/>
                  </a:lnTo>
                  <a:lnTo>
                    <a:pt x="120" y="481"/>
                  </a:lnTo>
                  <a:lnTo>
                    <a:pt x="119" y="478"/>
                  </a:lnTo>
                  <a:lnTo>
                    <a:pt x="116" y="476"/>
                  </a:lnTo>
                  <a:lnTo>
                    <a:pt x="116" y="476"/>
                  </a:lnTo>
                  <a:lnTo>
                    <a:pt x="114" y="476"/>
                  </a:lnTo>
                  <a:lnTo>
                    <a:pt x="111" y="475"/>
                  </a:lnTo>
                  <a:lnTo>
                    <a:pt x="111" y="471"/>
                  </a:lnTo>
                  <a:lnTo>
                    <a:pt x="109" y="470"/>
                  </a:lnTo>
                  <a:lnTo>
                    <a:pt x="109" y="470"/>
                  </a:lnTo>
                  <a:lnTo>
                    <a:pt x="109" y="470"/>
                  </a:lnTo>
                  <a:lnTo>
                    <a:pt x="103" y="462"/>
                  </a:lnTo>
                  <a:lnTo>
                    <a:pt x="95" y="455"/>
                  </a:lnTo>
                  <a:lnTo>
                    <a:pt x="93" y="455"/>
                  </a:lnTo>
                  <a:lnTo>
                    <a:pt x="89" y="459"/>
                  </a:lnTo>
                  <a:lnTo>
                    <a:pt x="86" y="459"/>
                  </a:lnTo>
                  <a:lnTo>
                    <a:pt x="82" y="460"/>
                  </a:lnTo>
                  <a:lnTo>
                    <a:pt x="79" y="460"/>
                  </a:lnTo>
                  <a:lnTo>
                    <a:pt x="79" y="465"/>
                  </a:lnTo>
                  <a:lnTo>
                    <a:pt x="81" y="468"/>
                  </a:lnTo>
                  <a:lnTo>
                    <a:pt x="81" y="471"/>
                  </a:lnTo>
                  <a:lnTo>
                    <a:pt x="79" y="475"/>
                  </a:lnTo>
                  <a:lnTo>
                    <a:pt x="79" y="476"/>
                  </a:lnTo>
                  <a:lnTo>
                    <a:pt x="79" y="476"/>
                  </a:lnTo>
                  <a:lnTo>
                    <a:pt x="73" y="465"/>
                  </a:lnTo>
                  <a:lnTo>
                    <a:pt x="68" y="455"/>
                  </a:lnTo>
                  <a:lnTo>
                    <a:pt x="71" y="454"/>
                  </a:lnTo>
                  <a:lnTo>
                    <a:pt x="74" y="452"/>
                  </a:lnTo>
                  <a:lnTo>
                    <a:pt x="73" y="449"/>
                  </a:lnTo>
                  <a:lnTo>
                    <a:pt x="73" y="446"/>
                  </a:lnTo>
                  <a:lnTo>
                    <a:pt x="70" y="443"/>
                  </a:lnTo>
                  <a:lnTo>
                    <a:pt x="67" y="441"/>
                  </a:lnTo>
                  <a:lnTo>
                    <a:pt x="65" y="441"/>
                  </a:lnTo>
                  <a:lnTo>
                    <a:pt x="62" y="444"/>
                  </a:lnTo>
                  <a:lnTo>
                    <a:pt x="59" y="446"/>
                  </a:lnTo>
                  <a:lnTo>
                    <a:pt x="55" y="446"/>
                  </a:lnTo>
                  <a:lnTo>
                    <a:pt x="52" y="446"/>
                  </a:lnTo>
                  <a:lnTo>
                    <a:pt x="46" y="441"/>
                  </a:lnTo>
                  <a:lnTo>
                    <a:pt x="41" y="436"/>
                  </a:lnTo>
                  <a:lnTo>
                    <a:pt x="41" y="436"/>
                  </a:lnTo>
                  <a:lnTo>
                    <a:pt x="36" y="432"/>
                  </a:lnTo>
                  <a:lnTo>
                    <a:pt x="33" y="430"/>
                  </a:lnTo>
                  <a:lnTo>
                    <a:pt x="28" y="427"/>
                  </a:lnTo>
                  <a:lnTo>
                    <a:pt x="30" y="421"/>
                  </a:lnTo>
                  <a:lnTo>
                    <a:pt x="30" y="416"/>
                  </a:lnTo>
                  <a:lnTo>
                    <a:pt x="33" y="417"/>
                  </a:lnTo>
                  <a:lnTo>
                    <a:pt x="36" y="417"/>
                  </a:lnTo>
                  <a:lnTo>
                    <a:pt x="36" y="416"/>
                  </a:lnTo>
                  <a:lnTo>
                    <a:pt x="40" y="416"/>
                  </a:lnTo>
                  <a:lnTo>
                    <a:pt x="38" y="414"/>
                  </a:lnTo>
                  <a:lnTo>
                    <a:pt x="35" y="413"/>
                  </a:lnTo>
                  <a:lnTo>
                    <a:pt x="35" y="413"/>
                  </a:lnTo>
                  <a:lnTo>
                    <a:pt x="30" y="411"/>
                  </a:lnTo>
                  <a:lnTo>
                    <a:pt x="30" y="408"/>
                  </a:lnTo>
                  <a:lnTo>
                    <a:pt x="27" y="405"/>
                  </a:lnTo>
                  <a:lnTo>
                    <a:pt x="24" y="405"/>
                  </a:lnTo>
                  <a:lnTo>
                    <a:pt x="19" y="402"/>
                  </a:lnTo>
                  <a:lnTo>
                    <a:pt x="16" y="402"/>
                  </a:lnTo>
                  <a:lnTo>
                    <a:pt x="16" y="398"/>
                  </a:lnTo>
                  <a:lnTo>
                    <a:pt x="16" y="398"/>
                  </a:lnTo>
                  <a:lnTo>
                    <a:pt x="13" y="395"/>
                  </a:lnTo>
                  <a:lnTo>
                    <a:pt x="11" y="390"/>
                  </a:lnTo>
                  <a:lnTo>
                    <a:pt x="9" y="389"/>
                  </a:lnTo>
                  <a:lnTo>
                    <a:pt x="8" y="383"/>
                  </a:lnTo>
                  <a:lnTo>
                    <a:pt x="8" y="379"/>
                  </a:lnTo>
                  <a:lnTo>
                    <a:pt x="8" y="376"/>
                  </a:lnTo>
                  <a:lnTo>
                    <a:pt x="3" y="37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75" name="Freeform 440"/>
            <p:cNvSpPr>
              <a:spLocks/>
            </p:cNvSpPr>
            <p:nvPr/>
          </p:nvSpPr>
          <p:spPr bwMode="auto">
            <a:xfrm>
              <a:off x="5723747" y="4018260"/>
              <a:ext cx="277898" cy="553424"/>
            </a:xfrm>
            <a:custGeom>
              <a:avLst/>
              <a:gdLst>
                <a:gd name="T0" fmla="*/ 9 w 377"/>
                <a:gd name="T1" fmla="*/ 358 h 655"/>
                <a:gd name="T2" fmla="*/ 16 w 377"/>
                <a:gd name="T3" fmla="*/ 342 h 655"/>
                <a:gd name="T4" fmla="*/ 71 w 377"/>
                <a:gd name="T5" fmla="*/ 271 h 655"/>
                <a:gd name="T6" fmla="*/ 73 w 377"/>
                <a:gd name="T7" fmla="*/ 254 h 655"/>
                <a:gd name="T8" fmla="*/ 76 w 377"/>
                <a:gd name="T9" fmla="*/ 181 h 655"/>
                <a:gd name="T10" fmla="*/ 81 w 377"/>
                <a:gd name="T11" fmla="*/ 149 h 655"/>
                <a:gd name="T12" fmla="*/ 89 w 377"/>
                <a:gd name="T13" fmla="*/ 130 h 655"/>
                <a:gd name="T14" fmla="*/ 74 w 377"/>
                <a:gd name="T15" fmla="*/ 111 h 655"/>
                <a:gd name="T16" fmla="*/ 60 w 377"/>
                <a:gd name="T17" fmla="*/ 79 h 655"/>
                <a:gd name="T18" fmla="*/ 71 w 377"/>
                <a:gd name="T19" fmla="*/ 9 h 655"/>
                <a:gd name="T20" fmla="*/ 231 w 377"/>
                <a:gd name="T21" fmla="*/ 79 h 655"/>
                <a:gd name="T22" fmla="*/ 374 w 377"/>
                <a:gd name="T23" fmla="*/ 201 h 655"/>
                <a:gd name="T24" fmla="*/ 366 w 377"/>
                <a:gd name="T25" fmla="*/ 316 h 655"/>
                <a:gd name="T26" fmla="*/ 345 w 377"/>
                <a:gd name="T27" fmla="*/ 317 h 655"/>
                <a:gd name="T28" fmla="*/ 341 w 377"/>
                <a:gd name="T29" fmla="*/ 335 h 655"/>
                <a:gd name="T30" fmla="*/ 333 w 377"/>
                <a:gd name="T31" fmla="*/ 350 h 655"/>
                <a:gd name="T32" fmla="*/ 325 w 377"/>
                <a:gd name="T33" fmla="*/ 362 h 655"/>
                <a:gd name="T34" fmla="*/ 322 w 377"/>
                <a:gd name="T35" fmla="*/ 377 h 655"/>
                <a:gd name="T36" fmla="*/ 311 w 377"/>
                <a:gd name="T37" fmla="*/ 398 h 655"/>
                <a:gd name="T38" fmla="*/ 317 w 377"/>
                <a:gd name="T39" fmla="*/ 414 h 655"/>
                <a:gd name="T40" fmla="*/ 304 w 377"/>
                <a:gd name="T41" fmla="*/ 428 h 655"/>
                <a:gd name="T42" fmla="*/ 304 w 377"/>
                <a:gd name="T43" fmla="*/ 441 h 655"/>
                <a:gd name="T44" fmla="*/ 323 w 377"/>
                <a:gd name="T45" fmla="*/ 444 h 655"/>
                <a:gd name="T46" fmla="*/ 325 w 377"/>
                <a:gd name="T47" fmla="*/ 461 h 655"/>
                <a:gd name="T48" fmla="*/ 328 w 377"/>
                <a:gd name="T49" fmla="*/ 473 h 655"/>
                <a:gd name="T50" fmla="*/ 333 w 377"/>
                <a:gd name="T51" fmla="*/ 490 h 655"/>
                <a:gd name="T52" fmla="*/ 341 w 377"/>
                <a:gd name="T53" fmla="*/ 507 h 655"/>
                <a:gd name="T54" fmla="*/ 314 w 377"/>
                <a:gd name="T55" fmla="*/ 517 h 655"/>
                <a:gd name="T56" fmla="*/ 298 w 377"/>
                <a:gd name="T57" fmla="*/ 525 h 655"/>
                <a:gd name="T58" fmla="*/ 293 w 377"/>
                <a:gd name="T59" fmla="*/ 542 h 655"/>
                <a:gd name="T60" fmla="*/ 279 w 377"/>
                <a:gd name="T61" fmla="*/ 555 h 655"/>
                <a:gd name="T62" fmla="*/ 271 w 377"/>
                <a:gd name="T63" fmla="*/ 568 h 655"/>
                <a:gd name="T64" fmla="*/ 250 w 377"/>
                <a:gd name="T65" fmla="*/ 587 h 655"/>
                <a:gd name="T66" fmla="*/ 223 w 377"/>
                <a:gd name="T67" fmla="*/ 591 h 655"/>
                <a:gd name="T68" fmla="*/ 207 w 377"/>
                <a:gd name="T69" fmla="*/ 591 h 655"/>
                <a:gd name="T70" fmla="*/ 196 w 377"/>
                <a:gd name="T71" fmla="*/ 598 h 655"/>
                <a:gd name="T72" fmla="*/ 203 w 377"/>
                <a:gd name="T73" fmla="*/ 609 h 655"/>
                <a:gd name="T74" fmla="*/ 190 w 377"/>
                <a:gd name="T75" fmla="*/ 623 h 655"/>
                <a:gd name="T76" fmla="*/ 165 w 377"/>
                <a:gd name="T77" fmla="*/ 633 h 655"/>
                <a:gd name="T78" fmla="*/ 146 w 377"/>
                <a:gd name="T79" fmla="*/ 636 h 655"/>
                <a:gd name="T80" fmla="*/ 123 w 377"/>
                <a:gd name="T81" fmla="*/ 649 h 655"/>
                <a:gd name="T82" fmla="*/ 112 w 377"/>
                <a:gd name="T83" fmla="*/ 639 h 655"/>
                <a:gd name="T84" fmla="*/ 103 w 377"/>
                <a:gd name="T85" fmla="*/ 647 h 655"/>
                <a:gd name="T86" fmla="*/ 85 w 377"/>
                <a:gd name="T87" fmla="*/ 655 h 655"/>
                <a:gd name="T88" fmla="*/ 76 w 377"/>
                <a:gd name="T89" fmla="*/ 649 h 655"/>
                <a:gd name="T90" fmla="*/ 73 w 377"/>
                <a:gd name="T91" fmla="*/ 637 h 655"/>
                <a:gd name="T92" fmla="*/ 66 w 377"/>
                <a:gd name="T93" fmla="*/ 620 h 655"/>
                <a:gd name="T94" fmla="*/ 57 w 377"/>
                <a:gd name="T95" fmla="*/ 606 h 655"/>
                <a:gd name="T96" fmla="*/ 25 w 377"/>
                <a:gd name="T97" fmla="*/ 572 h 655"/>
                <a:gd name="T98" fmla="*/ 23 w 377"/>
                <a:gd name="T99" fmla="*/ 560 h 655"/>
                <a:gd name="T100" fmla="*/ 36 w 377"/>
                <a:gd name="T101" fmla="*/ 550 h 655"/>
                <a:gd name="T102" fmla="*/ 57 w 377"/>
                <a:gd name="T103" fmla="*/ 553 h 655"/>
                <a:gd name="T104" fmla="*/ 71 w 377"/>
                <a:gd name="T105" fmla="*/ 553 h 655"/>
                <a:gd name="T106" fmla="*/ 69 w 377"/>
                <a:gd name="T107" fmla="*/ 539 h 655"/>
                <a:gd name="T108" fmla="*/ 62 w 377"/>
                <a:gd name="T109" fmla="*/ 526 h 655"/>
                <a:gd name="T110" fmla="*/ 57 w 377"/>
                <a:gd name="T111" fmla="*/ 499 h 655"/>
                <a:gd name="T112" fmla="*/ 58 w 377"/>
                <a:gd name="T113" fmla="*/ 482 h 655"/>
                <a:gd name="T114" fmla="*/ 57 w 377"/>
                <a:gd name="T115" fmla="*/ 466 h 655"/>
                <a:gd name="T116" fmla="*/ 52 w 377"/>
                <a:gd name="T117" fmla="*/ 463 h 655"/>
                <a:gd name="T118" fmla="*/ 46 w 377"/>
                <a:gd name="T119" fmla="*/ 442 h 655"/>
                <a:gd name="T120" fmla="*/ 38 w 377"/>
                <a:gd name="T121" fmla="*/ 430 h 655"/>
                <a:gd name="T122" fmla="*/ 16 w 377"/>
                <a:gd name="T123" fmla="*/ 414 h 655"/>
                <a:gd name="T124" fmla="*/ 4 w 377"/>
                <a:gd name="T125" fmla="*/ 392 h 6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7" h="655">
                  <a:moveTo>
                    <a:pt x="0" y="369"/>
                  </a:moveTo>
                  <a:lnTo>
                    <a:pt x="3" y="366"/>
                  </a:lnTo>
                  <a:lnTo>
                    <a:pt x="6" y="366"/>
                  </a:lnTo>
                  <a:lnTo>
                    <a:pt x="8" y="363"/>
                  </a:lnTo>
                  <a:lnTo>
                    <a:pt x="9" y="358"/>
                  </a:lnTo>
                  <a:lnTo>
                    <a:pt x="12" y="357"/>
                  </a:lnTo>
                  <a:lnTo>
                    <a:pt x="11" y="354"/>
                  </a:lnTo>
                  <a:lnTo>
                    <a:pt x="12" y="350"/>
                  </a:lnTo>
                  <a:lnTo>
                    <a:pt x="14" y="346"/>
                  </a:lnTo>
                  <a:lnTo>
                    <a:pt x="16" y="342"/>
                  </a:lnTo>
                  <a:lnTo>
                    <a:pt x="19" y="339"/>
                  </a:lnTo>
                  <a:lnTo>
                    <a:pt x="25" y="327"/>
                  </a:lnTo>
                  <a:lnTo>
                    <a:pt x="33" y="316"/>
                  </a:lnTo>
                  <a:lnTo>
                    <a:pt x="52" y="293"/>
                  </a:lnTo>
                  <a:lnTo>
                    <a:pt x="71" y="271"/>
                  </a:lnTo>
                  <a:lnTo>
                    <a:pt x="71" y="270"/>
                  </a:lnTo>
                  <a:lnTo>
                    <a:pt x="73" y="265"/>
                  </a:lnTo>
                  <a:lnTo>
                    <a:pt x="73" y="262"/>
                  </a:lnTo>
                  <a:lnTo>
                    <a:pt x="73" y="258"/>
                  </a:lnTo>
                  <a:lnTo>
                    <a:pt x="73" y="254"/>
                  </a:lnTo>
                  <a:lnTo>
                    <a:pt x="73" y="251"/>
                  </a:lnTo>
                  <a:lnTo>
                    <a:pt x="74" y="239"/>
                  </a:lnTo>
                  <a:lnTo>
                    <a:pt x="74" y="228"/>
                  </a:lnTo>
                  <a:lnTo>
                    <a:pt x="74" y="205"/>
                  </a:lnTo>
                  <a:lnTo>
                    <a:pt x="76" y="181"/>
                  </a:lnTo>
                  <a:lnTo>
                    <a:pt x="77" y="171"/>
                  </a:lnTo>
                  <a:lnTo>
                    <a:pt x="79" y="162"/>
                  </a:lnTo>
                  <a:lnTo>
                    <a:pt x="79" y="157"/>
                  </a:lnTo>
                  <a:lnTo>
                    <a:pt x="79" y="154"/>
                  </a:lnTo>
                  <a:lnTo>
                    <a:pt x="81" y="149"/>
                  </a:lnTo>
                  <a:lnTo>
                    <a:pt x="81" y="146"/>
                  </a:lnTo>
                  <a:lnTo>
                    <a:pt x="82" y="143"/>
                  </a:lnTo>
                  <a:lnTo>
                    <a:pt x="82" y="141"/>
                  </a:lnTo>
                  <a:lnTo>
                    <a:pt x="85" y="133"/>
                  </a:lnTo>
                  <a:lnTo>
                    <a:pt x="89" y="130"/>
                  </a:lnTo>
                  <a:lnTo>
                    <a:pt x="87" y="125"/>
                  </a:lnTo>
                  <a:lnTo>
                    <a:pt x="84" y="120"/>
                  </a:lnTo>
                  <a:lnTo>
                    <a:pt x="81" y="117"/>
                  </a:lnTo>
                  <a:lnTo>
                    <a:pt x="77" y="113"/>
                  </a:lnTo>
                  <a:lnTo>
                    <a:pt x="74" y="111"/>
                  </a:lnTo>
                  <a:lnTo>
                    <a:pt x="73" y="106"/>
                  </a:lnTo>
                  <a:lnTo>
                    <a:pt x="74" y="103"/>
                  </a:lnTo>
                  <a:lnTo>
                    <a:pt x="74" y="100"/>
                  </a:lnTo>
                  <a:lnTo>
                    <a:pt x="63" y="84"/>
                  </a:lnTo>
                  <a:lnTo>
                    <a:pt x="60" y="79"/>
                  </a:lnTo>
                  <a:lnTo>
                    <a:pt x="60" y="73"/>
                  </a:lnTo>
                  <a:lnTo>
                    <a:pt x="60" y="55"/>
                  </a:lnTo>
                  <a:lnTo>
                    <a:pt x="55" y="36"/>
                  </a:lnTo>
                  <a:lnTo>
                    <a:pt x="52" y="19"/>
                  </a:lnTo>
                  <a:lnTo>
                    <a:pt x="71" y="9"/>
                  </a:lnTo>
                  <a:lnTo>
                    <a:pt x="89" y="0"/>
                  </a:lnTo>
                  <a:lnTo>
                    <a:pt x="123" y="21"/>
                  </a:lnTo>
                  <a:lnTo>
                    <a:pt x="160" y="40"/>
                  </a:lnTo>
                  <a:lnTo>
                    <a:pt x="196" y="59"/>
                  </a:lnTo>
                  <a:lnTo>
                    <a:pt x="231" y="79"/>
                  </a:lnTo>
                  <a:lnTo>
                    <a:pt x="268" y="100"/>
                  </a:lnTo>
                  <a:lnTo>
                    <a:pt x="303" y="120"/>
                  </a:lnTo>
                  <a:lnTo>
                    <a:pt x="339" y="141"/>
                  </a:lnTo>
                  <a:lnTo>
                    <a:pt x="374" y="162"/>
                  </a:lnTo>
                  <a:lnTo>
                    <a:pt x="374" y="201"/>
                  </a:lnTo>
                  <a:lnTo>
                    <a:pt x="376" y="239"/>
                  </a:lnTo>
                  <a:lnTo>
                    <a:pt x="376" y="279"/>
                  </a:lnTo>
                  <a:lnTo>
                    <a:pt x="377" y="317"/>
                  </a:lnTo>
                  <a:lnTo>
                    <a:pt x="371" y="316"/>
                  </a:lnTo>
                  <a:lnTo>
                    <a:pt x="366" y="316"/>
                  </a:lnTo>
                  <a:lnTo>
                    <a:pt x="361" y="316"/>
                  </a:lnTo>
                  <a:lnTo>
                    <a:pt x="355" y="319"/>
                  </a:lnTo>
                  <a:lnTo>
                    <a:pt x="352" y="319"/>
                  </a:lnTo>
                  <a:lnTo>
                    <a:pt x="349" y="317"/>
                  </a:lnTo>
                  <a:lnTo>
                    <a:pt x="345" y="317"/>
                  </a:lnTo>
                  <a:lnTo>
                    <a:pt x="342" y="320"/>
                  </a:lnTo>
                  <a:lnTo>
                    <a:pt x="339" y="323"/>
                  </a:lnTo>
                  <a:lnTo>
                    <a:pt x="338" y="325"/>
                  </a:lnTo>
                  <a:lnTo>
                    <a:pt x="341" y="330"/>
                  </a:lnTo>
                  <a:lnTo>
                    <a:pt x="341" y="335"/>
                  </a:lnTo>
                  <a:lnTo>
                    <a:pt x="341" y="339"/>
                  </a:lnTo>
                  <a:lnTo>
                    <a:pt x="336" y="344"/>
                  </a:lnTo>
                  <a:lnTo>
                    <a:pt x="334" y="346"/>
                  </a:lnTo>
                  <a:lnTo>
                    <a:pt x="333" y="346"/>
                  </a:lnTo>
                  <a:lnTo>
                    <a:pt x="333" y="350"/>
                  </a:lnTo>
                  <a:lnTo>
                    <a:pt x="330" y="354"/>
                  </a:lnTo>
                  <a:lnTo>
                    <a:pt x="330" y="357"/>
                  </a:lnTo>
                  <a:lnTo>
                    <a:pt x="331" y="358"/>
                  </a:lnTo>
                  <a:lnTo>
                    <a:pt x="328" y="360"/>
                  </a:lnTo>
                  <a:lnTo>
                    <a:pt x="325" y="362"/>
                  </a:lnTo>
                  <a:lnTo>
                    <a:pt x="322" y="363"/>
                  </a:lnTo>
                  <a:lnTo>
                    <a:pt x="318" y="366"/>
                  </a:lnTo>
                  <a:lnTo>
                    <a:pt x="322" y="369"/>
                  </a:lnTo>
                  <a:lnTo>
                    <a:pt x="323" y="373"/>
                  </a:lnTo>
                  <a:lnTo>
                    <a:pt x="322" y="377"/>
                  </a:lnTo>
                  <a:lnTo>
                    <a:pt x="323" y="377"/>
                  </a:lnTo>
                  <a:lnTo>
                    <a:pt x="326" y="381"/>
                  </a:lnTo>
                  <a:lnTo>
                    <a:pt x="317" y="387"/>
                  </a:lnTo>
                  <a:lnTo>
                    <a:pt x="311" y="395"/>
                  </a:lnTo>
                  <a:lnTo>
                    <a:pt x="311" y="398"/>
                  </a:lnTo>
                  <a:lnTo>
                    <a:pt x="311" y="401"/>
                  </a:lnTo>
                  <a:lnTo>
                    <a:pt x="314" y="404"/>
                  </a:lnTo>
                  <a:lnTo>
                    <a:pt x="314" y="407"/>
                  </a:lnTo>
                  <a:lnTo>
                    <a:pt x="315" y="409"/>
                  </a:lnTo>
                  <a:lnTo>
                    <a:pt x="317" y="414"/>
                  </a:lnTo>
                  <a:lnTo>
                    <a:pt x="315" y="417"/>
                  </a:lnTo>
                  <a:lnTo>
                    <a:pt x="312" y="420"/>
                  </a:lnTo>
                  <a:lnTo>
                    <a:pt x="309" y="422"/>
                  </a:lnTo>
                  <a:lnTo>
                    <a:pt x="306" y="425"/>
                  </a:lnTo>
                  <a:lnTo>
                    <a:pt x="304" y="428"/>
                  </a:lnTo>
                  <a:lnTo>
                    <a:pt x="303" y="431"/>
                  </a:lnTo>
                  <a:lnTo>
                    <a:pt x="301" y="434"/>
                  </a:lnTo>
                  <a:lnTo>
                    <a:pt x="301" y="436"/>
                  </a:lnTo>
                  <a:lnTo>
                    <a:pt x="301" y="436"/>
                  </a:lnTo>
                  <a:lnTo>
                    <a:pt x="304" y="441"/>
                  </a:lnTo>
                  <a:lnTo>
                    <a:pt x="307" y="444"/>
                  </a:lnTo>
                  <a:lnTo>
                    <a:pt x="311" y="442"/>
                  </a:lnTo>
                  <a:lnTo>
                    <a:pt x="317" y="439"/>
                  </a:lnTo>
                  <a:lnTo>
                    <a:pt x="320" y="442"/>
                  </a:lnTo>
                  <a:lnTo>
                    <a:pt x="323" y="444"/>
                  </a:lnTo>
                  <a:lnTo>
                    <a:pt x="322" y="447"/>
                  </a:lnTo>
                  <a:lnTo>
                    <a:pt x="320" y="450"/>
                  </a:lnTo>
                  <a:lnTo>
                    <a:pt x="323" y="453"/>
                  </a:lnTo>
                  <a:lnTo>
                    <a:pt x="323" y="458"/>
                  </a:lnTo>
                  <a:lnTo>
                    <a:pt x="325" y="461"/>
                  </a:lnTo>
                  <a:lnTo>
                    <a:pt x="325" y="465"/>
                  </a:lnTo>
                  <a:lnTo>
                    <a:pt x="323" y="468"/>
                  </a:lnTo>
                  <a:lnTo>
                    <a:pt x="328" y="466"/>
                  </a:lnTo>
                  <a:lnTo>
                    <a:pt x="330" y="469"/>
                  </a:lnTo>
                  <a:lnTo>
                    <a:pt x="328" y="473"/>
                  </a:lnTo>
                  <a:lnTo>
                    <a:pt x="328" y="476"/>
                  </a:lnTo>
                  <a:lnTo>
                    <a:pt x="328" y="480"/>
                  </a:lnTo>
                  <a:lnTo>
                    <a:pt x="326" y="484"/>
                  </a:lnTo>
                  <a:lnTo>
                    <a:pt x="328" y="487"/>
                  </a:lnTo>
                  <a:lnTo>
                    <a:pt x="333" y="490"/>
                  </a:lnTo>
                  <a:lnTo>
                    <a:pt x="336" y="493"/>
                  </a:lnTo>
                  <a:lnTo>
                    <a:pt x="339" y="493"/>
                  </a:lnTo>
                  <a:lnTo>
                    <a:pt x="342" y="498"/>
                  </a:lnTo>
                  <a:lnTo>
                    <a:pt x="342" y="503"/>
                  </a:lnTo>
                  <a:lnTo>
                    <a:pt x="341" y="507"/>
                  </a:lnTo>
                  <a:lnTo>
                    <a:pt x="339" y="514"/>
                  </a:lnTo>
                  <a:lnTo>
                    <a:pt x="331" y="511"/>
                  </a:lnTo>
                  <a:lnTo>
                    <a:pt x="325" y="511"/>
                  </a:lnTo>
                  <a:lnTo>
                    <a:pt x="320" y="512"/>
                  </a:lnTo>
                  <a:lnTo>
                    <a:pt x="314" y="517"/>
                  </a:lnTo>
                  <a:lnTo>
                    <a:pt x="311" y="517"/>
                  </a:lnTo>
                  <a:lnTo>
                    <a:pt x="307" y="520"/>
                  </a:lnTo>
                  <a:lnTo>
                    <a:pt x="304" y="522"/>
                  </a:lnTo>
                  <a:lnTo>
                    <a:pt x="301" y="523"/>
                  </a:lnTo>
                  <a:lnTo>
                    <a:pt x="298" y="525"/>
                  </a:lnTo>
                  <a:lnTo>
                    <a:pt x="296" y="528"/>
                  </a:lnTo>
                  <a:lnTo>
                    <a:pt x="298" y="533"/>
                  </a:lnTo>
                  <a:lnTo>
                    <a:pt x="298" y="536"/>
                  </a:lnTo>
                  <a:lnTo>
                    <a:pt x="296" y="539"/>
                  </a:lnTo>
                  <a:lnTo>
                    <a:pt x="293" y="542"/>
                  </a:lnTo>
                  <a:lnTo>
                    <a:pt x="290" y="544"/>
                  </a:lnTo>
                  <a:lnTo>
                    <a:pt x="287" y="550"/>
                  </a:lnTo>
                  <a:lnTo>
                    <a:pt x="287" y="550"/>
                  </a:lnTo>
                  <a:lnTo>
                    <a:pt x="282" y="552"/>
                  </a:lnTo>
                  <a:lnTo>
                    <a:pt x="279" y="555"/>
                  </a:lnTo>
                  <a:lnTo>
                    <a:pt x="279" y="555"/>
                  </a:lnTo>
                  <a:lnTo>
                    <a:pt x="276" y="560"/>
                  </a:lnTo>
                  <a:lnTo>
                    <a:pt x="276" y="560"/>
                  </a:lnTo>
                  <a:lnTo>
                    <a:pt x="272" y="561"/>
                  </a:lnTo>
                  <a:lnTo>
                    <a:pt x="271" y="568"/>
                  </a:lnTo>
                  <a:lnTo>
                    <a:pt x="266" y="574"/>
                  </a:lnTo>
                  <a:lnTo>
                    <a:pt x="260" y="579"/>
                  </a:lnTo>
                  <a:lnTo>
                    <a:pt x="253" y="580"/>
                  </a:lnTo>
                  <a:lnTo>
                    <a:pt x="253" y="584"/>
                  </a:lnTo>
                  <a:lnTo>
                    <a:pt x="250" y="587"/>
                  </a:lnTo>
                  <a:lnTo>
                    <a:pt x="247" y="587"/>
                  </a:lnTo>
                  <a:lnTo>
                    <a:pt x="242" y="587"/>
                  </a:lnTo>
                  <a:lnTo>
                    <a:pt x="239" y="587"/>
                  </a:lnTo>
                  <a:lnTo>
                    <a:pt x="231" y="590"/>
                  </a:lnTo>
                  <a:lnTo>
                    <a:pt x="223" y="591"/>
                  </a:lnTo>
                  <a:lnTo>
                    <a:pt x="220" y="591"/>
                  </a:lnTo>
                  <a:lnTo>
                    <a:pt x="215" y="591"/>
                  </a:lnTo>
                  <a:lnTo>
                    <a:pt x="212" y="591"/>
                  </a:lnTo>
                  <a:lnTo>
                    <a:pt x="209" y="591"/>
                  </a:lnTo>
                  <a:lnTo>
                    <a:pt x="207" y="591"/>
                  </a:lnTo>
                  <a:lnTo>
                    <a:pt x="206" y="591"/>
                  </a:lnTo>
                  <a:lnTo>
                    <a:pt x="204" y="591"/>
                  </a:lnTo>
                  <a:lnTo>
                    <a:pt x="201" y="593"/>
                  </a:lnTo>
                  <a:lnTo>
                    <a:pt x="196" y="596"/>
                  </a:lnTo>
                  <a:lnTo>
                    <a:pt x="196" y="598"/>
                  </a:lnTo>
                  <a:lnTo>
                    <a:pt x="198" y="599"/>
                  </a:lnTo>
                  <a:lnTo>
                    <a:pt x="201" y="601"/>
                  </a:lnTo>
                  <a:lnTo>
                    <a:pt x="204" y="604"/>
                  </a:lnTo>
                  <a:lnTo>
                    <a:pt x="204" y="606"/>
                  </a:lnTo>
                  <a:lnTo>
                    <a:pt x="203" y="609"/>
                  </a:lnTo>
                  <a:lnTo>
                    <a:pt x="200" y="612"/>
                  </a:lnTo>
                  <a:lnTo>
                    <a:pt x="198" y="615"/>
                  </a:lnTo>
                  <a:lnTo>
                    <a:pt x="195" y="620"/>
                  </a:lnTo>
                  <a:lnTo>
                    <a:pt x="192" y="622"/>
                  </a:lnTo>
                  <a:lnTo>
                    <a:pt x="190" y="623"/>
                  </a:lnTo>
                  <a:lnTo>
                    <a:pt x="187" y="626"/>
                  </a:lnTo>
                  <a:lnTo>
                    <a:pt x="187" y="631"/>
                  </a:lnTo>
                  <a:lnTo>
                    <a:pt x="177" y="631"/>
                  </a:lnTo>
                  <a:lnTo>
                    <a:pt x="168" y="633"/>
                  </a:lnTo>
                  <a:lnTo>
                    <a:pt x="165" y="633"/>
                  </a:lnTo>
                  <a:lnTo>
                    <a:pt x="161" y="634"/>
                  </a:lnTo>
                  <a:lnTo>
                    <a:pt x="158" y="634"/>
                  </a:lnTo>
                  <a:lnTo>
                    <a:pt x="154" y="633"/>
                  </a:lnTo>
                  <a:lnTo>
                    <a:pt x="154" y="633"/>
                  </a:lnTo>
                  <a:lnTo>
                    <a:pt x="146" y="636"/>
                  </a:lnTo>
                  <a:lnTo>
                    <a:pt x="136" y="641"/>
                  </a:lnTo>
                  <a:lnTo>
                    <a:pt x="135" y="644"/>
                  </a:lnTo>
                  <a:lnTo>
                    <a:pt x="131" y="645"/>
                  </a:lnTo>
                  <a:lnTo>
                    <a:pt x="128" y="647"/>
                  </a:lnTo>
                  <a:lnTo>
                    <a:pt x="123" y="649"/>
                  </a:lnTo>
                  <a:lnTo>
                    <a:pt x="122" y="652"/>
                  </a:lnTo>
                  <a:lnTo>
                    <a:pt x="119" y="647"/>
                  </a:lnTo>
                  <a:lnTo>
                    <a:pt x="115" y="647"/>
                  </a:lnTo>
                  <a:lnTo>
                    <a:pt x="115" y="642"/>
                  </a:lnTo>
                  <a:lnTo>
                    <a:pt x="112" y="639"/>
                  </a:lnTo>
                  <a:lnTo>
                    <a:pt x="112" y="637"/>
                  </a:lnTo>
                  <a:lnTo>
                    <a:pt x="111" y="639"/>
                  </a:lnTo>
                  <a:lnTo>
                    <a:pt x="108" y="642"/>
                  </a:lnTo>
                  <a:lnTo>
                    <a:pt x="108" y="645"/>
                  </a:lnTo>
                  <a:lnTo>
                    <a:pt x="103" y="647"/>
                  </a:lnTo>
                  <a:lnTo>
                    <a:pt x="100" y="649"/>
                  </a:lnTo>
                  <a:lnTo>
                    <a:pt x="96" y="649"/>
                  </a:lnTo>
                  <a:lnTo>
                    <a:pt x="93" y="652"/>
                  </a:lnTo>
                  <a:lnTo>
                    <a:pt x="90" y="653"/>
                  </a:lnTo>
                  <a:lnTo>
                    <a:pt x="85" y="655"/>
                  </a:lnTo>
                  <a:lnTo>
                    <a:pt x="82" y="653"/>
                  </a:lnTo>
                  <a:lnTo>
                    <a:pt x="79" y="652"/>
                  </a:lnTo>
                  <a:lnTo>
                    <a:pt x="76" y="652"/>
                  </a:lnTo>
                  <a:lnTo>
                    <a:pt x="74" y="652"/>
                  </a:lnTo>
                  <a:lnTo>
                    <a:pt x="76" y="649"/>
                  </a:lnTo>
                  <a:lnTo>
                    <a:pt x="77" y="645"/>
                  </a:lnTo>
                  <a:lnTo>
                    <a:pt x="77" y="642"/>
                  </a:lnTo>
                  <a:lnTo>
                    <a:pt x="74" y="642"/>
                  </a:lnTo>
                  <a:lnTo>
                    <a:pt x="74" y="641"/>
                  </a:lnTo>
                  <a:lnTo>
                    <a:pt x="73" y="637"/>
                  </a:lnTo>
                  <a:lnTo>
                    <a:pt x="71" y="634"/>
                  </a:lnTo>
                  <a:lnTo>
                    <a:pt x="69" y="630"/>
                  </a:lnTo>
                  <a:lnTo>
                    <a:pt x="69" y="626"/>
                  </a:lnTo>
                  <a:lnTo>
                    <a:pt x="68" y="623"/>
                  </a:lnTo>
                  <a:lnTo>
                    <a:pt x="66" y="620"/>
                  </a:lnTo>
                  <a:lnTo>
                    <a:pt x="65" y="615"/>
                  </a:lnTo>
                  <a:lnTo>
                    <a:pt x="65" y="615"/>
                  </a:lnTo>
                  <a:lnTo>
                    <a:pt x="63" y="612"/>
                  </a:lnTo>
                  <a:lnTo>
                    <a:pt x="60" y="609"/>
                  </a:lnTo>
                  <a:lnTo>
                    <a:pt x="57" y="606"/>
                  </a:lnTo>
                  <a:lnTo>
                    <a:pt x="57" y="606"/>
                  </a:lnTo>
                  <a:lnTo>
                    <a:pt x="43" y="593"/>
                  </a:lnTo>
                  <a:lnTo>
                    <a:pt x="30" y="579"/>
                  </a:lnTo>
                  <a:lnTo>
                    <a:pt x="28" y="576"/>
                  </a:lnTo>
                  <a:lnTo>
                    <a:pt x="25" y="572"/>
                  </a:lnTo>
                  <a:lnTo>
                    <a:pt x="22" y="569"/>
                  </a:lnTo>
                  <a:lnTo>
                    <a:pt x="20" y="566"/>
                  </a:lnTo>
                  <a:lnTo>
                    <a:pt x="20" y="563"/>
                  </a:lnTo>
                  <a:lnTo>
                    <a:pt x="20" y="563"/>
                  </a:lnTo>
                  <a:lnTo>
                    <a:pt x="23" y="560"/>
                  </a:lnTo>
                  <a:lnTo>
                    <a:pt x="25" y="555"/>
                  </a:lnTo>
                  <a:lnTo>
                    <a:pt x="27" y="552"/>
                  </a:lnTo>
                  <a:lnTo>
                    <a:pt x="27" y="552"/>
                  </a:lnTo>
                  <a:lnTo>
                    <a:pt x="35" y="550"/>
                  </a:lnTo>
                  <a:lnTo>
                    <a:pt x="36" y="550"/>
                  </a:lnTo>
                  <a:lnTo>
                    <a:pt x="43" y="552"/>
                  </a:lnTo>
                  <a:lnTo>
                    <a:pt x="46" y="553"/>
                  </a:lnTo>
                  <a:lnTo>
                    <a:pt x="47" y="553"/>
                  </a:lnTo>
                  <a:lnTo>
                    <a:pt x="54" y="552"/>
                  </a:lnTo>
                  <a:lnTo>
                    <a:pt x="57" y="553"/>
                  </a:lnTo>
                  <a:lnTo>
                    <a:pt x="60" y="552"/>
                  </a:lnTo>
                  <a:lnTo>
                    <a:pt x="60" y="552"/>
                  </a:lnTo>
                  <a:lnTo>
                    <a:pt x="65" y="552"/>
                  </a:lnTo>
                  <a:lnTo>
                    <a:pt x="68" y="553"/>
                  </a:lnTo>
                  <a:lnTo>
                    <a:pt x="71" y="553"/>
                  </a:lnTo>
                  <a:lnTo>
                    <a:pt x="74" y="553"/>
                  </a:lnTo>
                  <a:lnTo>
                    <a:pt x="79" y="552"/>
                  </a:lnTo>
                  <a:lnTo>
                    <a:pt x="81" y="552"/>
                  </a:lnTo>
                  <a:lnTo>
                    <a:pt x="74" y="545"/>
                  </a:lnTo>
                  <a:lnTo>
                    <a:pt x="69" y="539"/>
                  </a:lnTo>
                  <a:lnTo>
                    <a:pt x="68" y="539"/>
                  </a:lnTo>
                  <a:lnTo>
                    <a:pt x="66" y="536"/>
                  </a:lnTo>
                  <a:lnTo>
                    <a:pt x="65" y="533"/>
                  </a:lnTo>
                  <a:lnTo>
                    <a:pt x="62" y="530"/>
                  </a:lnTo>
                  <a:lnTo>
                    <a:pt x="62" y="526"/>
                  </a:lnTo>
                  <a:lnTo>
                    <a:pt x="58" y="517"/>
                  </a:lnTo>
                  <a:lnTo>
                    <a:pt x="57" y="509"/>
                  </a:lnTo>
                  <a:lnTo>
                    <a:pt x="57" y="507"/>
                  </a:lnTo>
                  <a:lnTo>
                    <a:pt x="57" y="503"/>
                  </a:lnTo>
                  <a:lnTo>
                    <a:pt x="57" y="499"/>
                  </a:lnTo>
                  <a:lnTo>
                    <a:pt x="57" y="496"/>
                  </a:lnTo>
                  <a:lnTo>
                    <a:pt x="58" y="493"/>
                  </a:lnTo>
                  <a:lnTo>
                    <a:pt x="60" y="490"/>
                  </a:lnTo>
                  <a:lnTo>
                    <a:pt x="58" y="485"/>
                  </a:lnTo>
                  <a:lnTo>
                    <a:pt x="58" y="482"/>
                  </a:lnTo>
                  <a:lnTo>
                    <a:pt x="58" y="479"/>
                  </a:lnTo>
                  <a:lnTo>
                    <a:pt x="58" y="476"/>
                  </a:lnTo>
                  <a:lnTo>
                    <a:pt x="58" y="473"/>
                  </a:lnTo>
                  <a:lnTo>
                    <a:pt x="57" y="468"/>
                  </a:lnTo>
                  <a:lnTo>
                    <a:pt x="57" y="466"/>
                  </a:lnTo>
                  <a:lnTo>
                    <a:pt x="57" y="465"/>
                  </a:lnTo>
                  <a:lnTo>
                    <a:pt x="57" y="465"/>
                  </a:lnTo>
                  <a:lnTo>
                    <a:pt x="55" y="465"/>
                  </a:lnTo>
                  <a:lnTo>
                    <a:pt x="52" y="463"/>
                  </a:lnTo>
                  <a:lnTo>
                    <a:pt x="52" y="463"/>
                  </a:lnTo>
                  <a:lnTo>
                    <a:pt x="52" y="452"/>
                  </a:lnTo>
                  <a:lnTo>
                    <a:pt x="50" y="447"/>
                  </a:lnTo>
                  <a:lnTo>
                    <a:pt x="49" y="444"/>
                  </a:lnTo>
                  <a:lnTo>
                    <a:pt x="49" y="442"/>
                  </a:lnTo>
                  <a:lnTo>
                    <a:pt x="46" y="442"/>
                  </a:lnTo>
                  <a:lnTo>
                    <a:pt x="44" y="439"/>
                  </a:lnTo>
                  <a:lnTo>
                    <a:pt x="39" y="438"/>
                  </a:lnTo>
                  <a:lnTo>
                    <a:pt x="39" y="434"/>
                  </a:lnTo>
                  <a:lnTo>
                    <a:pt x="38" y="431"/>
                  </a:lnTo>
                  <a:lnTo>
                    <a:pt x="38" y="430"/>
                  </a:lnTo>
                  <a:lnTo>
                    <a:pt x="38" y="428"/>
                  </a:lnTo>
                  <a:lnTo>
                    <a:pt x="36" y="425"/>
                  </a:lnTo>
                  <a:lnTo>
                    <a:pt x="22" y="425"/>
                  </a:lnTo>
                  <a:lnTo>
                    <a:pt x="20" y="423"/>
                  </a:lnTo>
                  <a:lnTo>
                    <a:pt x="16" y="414"/>
                  </a:lnTo>
                  <a:lnTo>
                    <a:pt x="11" y="406"/>
                  </a:lnTo>
                  <a:lnTo>
                    <a:pt x="8" y="403"/>
                  </a:lnTo>
                  <a:lnTo>
                    <a:pt x="6" y="400"/>
                  </a:lnTo>
                  <a:lnTo>
                    <a:pt x="6" y="395"/>
                  </a:lnTo>
                  <a:lnTo>
                    <a:pt x="4" y="392"/>
                  </a:lnTo>
                  <a:lnTo>
                    <a:pt x="4" y="388"/>
                  </a:lnTo>
                  <a:lnTo>
                    <a:pt x="4" y="387"/>
                  </a:lnTo>
                  <a:lnTo>
                    <a:pt x="3" y="379"/>
                  </a:lnTo>
                  <a:lnTo>
                    <a:pt x="0" y="36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76" name="Freeform 441"/>
            <p:cNvSpPr>
              <a:spLocks/>
            </p:cNvSpPr>
            <p:nvPr/>
          </p:nvSpPr>
          <p:spPr bwMode="auto">
            <a:xfrm>
              <a:off x="5439968" y="4349976"/>
              <a:ext cx="317598" cy="331716"/>
            </a:xfrm>
            <a:custGeom>
              <a:avLst/>
              <a:gdLst>
                <a:gd name="T0" fmla="*/ 1 w 431"/>
                <a:gd name="T1" fmla="*/ 226 h 393"/>
                <a:gd name="T2" fmla="*/ 17 w 431"/>
                <a:gd name="T3" fmla="*/ 188 h 393"/>
                <a:gd name="T4" fmla="*/ 31 w 431"/>
                <a:gd name="T5" fmla="*/ 163 h 393"/>
                <a:gd name="T6" fmla="*/ 39 w 431"/>
                <a:gd name="T7" fmla="*/ 142 h 393"/>
                <a:gd name="T8" fmla="*/ 33 w 431"/>
                <a:gd name="T9" fmla="*/ 106 h 393"/>
                <a:gd name="T10" fmla="*/ 35 w 431"/>
                <a:gd name="T11" fmla="*/ 90 h 393"/>
                <a:gd name="T12" fmla="*/ 36 w 431"/>
                <a:gd name="T13" fmla="*/ 61 h 393"/>
                <a:gd name="T14" fmla="*/ 62 w 431"/>
                <a:gd name="T15" fmla="*/ 12 h 393"/>
                <a:gd name="T16" fmla="*/ 89 w 431"/>
                <a:gd name="T17" fmla="*/ 6 h 393"/>
                <a:gd name="T18" fmla="*/ 119 w 431"/>
                <a:gd name="T19" fmla="*/ 8 h 393"/>
                <a:gd name="T20" fmla="*/ 150 w 431"/>
                <a:gd name="T21" fmla="*/ 33 h 393"/>
                <a:gd name="T22" fmla="*/ 173 w 431"/>
                <a:gd name="T23" fmla="*/ 30 h 393"/>
                <a:gd name="T24" fmla="*/ 207 w 431"/>
                <a:gd name="T25" fmla="*/ 33 h 393"/>
                <a:gd name="T26" fmla="*/ 238 w 431"/>
                <a:gd name="T27" fmla="*/ 42 h 393"/>
                <a:gd name="T28" fmla="*/ 306 w 431"/>
                <a:gd name="T29" fmla="*/ 22 h 393"/>
                <a:gd name="T30" fmla="*/ 344 w 431"/>
                <a:gd name="T31" fmla="*/ 31 h 393"/>
                <a:gd name="T32" fmla="*/ 372 w 431"/>
                <a:gd name="T33" fmla="*/ 14 h 393"/>
                <a:gd name="T34" fmla="*/ 412 w 431"/>
                <a:gd name="T35" fmla="*/ 47 h 393"/>
                <a:gd name="T36" fmla="*/ 430 w 431"/>
                <a:gd name="T37" fmla="*/ 79 h 393"/>
                <a:gd name="T38" fmla="*/ 412 w 431"/>
                <a:gd name="T39" fmla="*/ 107 h 393"/>
                <a:gd name="T40" fmla="*/ 396 w 431"/>
                <a:gd name="T41" fmla="*/ 123 h 393"/>
                <a:gd name="T42" fmla="*/ 388 w 431"/>
                <a:gd name="T43" fmla="*/ 150 h 393"/>
                <a:gd name="T44" fmla="*/ 382 w 431"/>
                <a:gd name="T45" fmla="*/ 168 h 393"/>
                <a:gd name="T46" fmla="*/ 368 w 431"/>
                <a:gd name="T47" fmla="*/ 187 h 393"/>
                <a:gd name="T48" fmla="*/ 365 w 431"/>
                <a:gd name="T49" fmla="*/ 209 h 393"/>
                <a:gd name="T50" fmla="*/ 349 w 431"/>
                <a:gd name="T51" fmla="*/ 222 h 393"/>
                <a:gd name="T52" fmla="*/ 341 w 431"/>
                <a:gd name="T53" fmla="*/ 245 h 393"/>
                <a:gd name="T54" fmla="*/ 328 w 431"/>
                <a:gd name="T55" fmla="*/ 272 h 393"/>
                <a:gd name="T56" fmla="*/ 315 w 431"/>
                <a:gd name="T57" fmla="*/ 298 h 393"/>
                <a:gd name="T58" fmla="*/ 303 w 431"/>
                <a:gd name="T59" fmla="*/ 296 h 393"/>
                <a:gd name="T60" fmla="*/ 284 w 431"/>
                <a:gd name="T61" fmla="*/ 280 h 393"/>
                <a:gd name="T62" fmla="*/ 258 w 431"/>
                <a:gd name="T63" fmla="*/ 290 h 393"/>
                <a:gd name="T64" fmla="*/ 241 w 431"/>
                <a:gd name="T65" fmla="*/ 309 h 393"/>
                <a:gd name="T66" fmla="*/ 222 w 431"/>
                <a:gd name="T67" fmla="*/ 333 h 393"/>
                <a:gd name="T68" fmla="*/ 219 w 431"/>
                <a:gd name="T69" fmla="*/ 360 h 393"/>
                <a:gd name="T70" fmla="*/ 206 w 431"/>
                <a:gd name="T71" fmla="*/ 369 h 393"/>
                <a:gd name="T72" fmla="*/ 204 w 431"/>
                <a:gd name="T73" fmla="*/ 379 h 393"/>
                <a:gd name="T74" fmla="*/ 174 w 431"/>
                <a:gd name="T75" fmla="*/ 375 h 393"/>
                <a:gd name="T76" fmla="*/ 160 w 431"/>
                <a:gd name="T77" fmla="*/ 377 h 393"/>
                <a:gd name="T78" fmla="*/ 155 w 431"/>
                <a:gd name="T79" fmla="*/ 375 h 393"/>
                <a:gd name="T80" fmla="*/ 149 w 431"/>
                <a:gd name="T81" fmla="*/ 383 h 393"/>
                <a:gd name="T82" fmla="*/ 149 w 431"/>
                <a:gd name="T83" fmla="*/ 383 h 393"/>
                <a:gd name="T84" fmla="*/ 144 w 431"/>
                <a:gd name="T85" fmla="*/ 382 h 393"/>
                <a:gd name="T86" fmla="*/ 139 w 431"/>
                <a:gd name="T87" fmla="*/ 383 h 393"/>
                <a:gd name="T88" fmla="*/ 128 w 431"/>
                <a:gd name="T89" fmla="*/ 388 h 393"/>
                <a:gd name="T90" fmla="*/ 120 w 431"/>
                <a:gd name="T91" fmla="*/ 388 h 393"/>
                <a:gd name="T92" fmla="*/ 100 w 431"/>
                <a:gd name="T93" fmla="*/ 366 h 393"/>
                <a:gd name="T94" fmla="*/ 100 w 431"/>
                <a:gd name="T95" fmla="*/ 349 h 393"/>
                <a:gd name="T96" fmla="*/ 93 w 431"/>
                <a:gd name="T97" fmla="*/ 345 h 393"/>
                <a:gd name="T98" fmla="*/ 95 w 431"/>
                <a:gd name="T99" fmla="*/ 339 h 393"/>
                <a:gd name="T100" fmla="*/ 93 w 431"/>
                <a:gd name="T101" fmla="*/ 328 h 393"/>
                <a:gd name="T102" fmla="*/ 68 w 431"/>
                <a:gd name="T103" fmla="*/ 312 h 393"/>
                <a:gd name="T104" fmla="*/ 28 w 431"/>
                <a:gd name="T105" fmla="*/ 306 h 393"/>
                <a:gd name="T106" fmla="*/ 33 w 431"/>
                <a:gd name="T107" fmla="*/ 299 h 393"/>
                <a:gd name="T108" fmla="*/ 1 w 431"/>
                <a:gd name="T109" fmla="*/ 307 h 393"/>
                <a:gd name="T110" fmla="*/ 1 w 431"/>
                <a:gd name="T111" fmla="*/ 282 h 393"/>
                <a:gd name="T112" fmla="*/ 1 w 431"/>
                <a:gd name="T113" fmla="*/ 257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31" h="393">
                  <a:moveTo>
                    <a:pt x="0" y="245"/>
                  </a:moveTo>
                  <a:lnTo>
                    <a:pt x="0" y="244"/>
                  </a:lnTo>
                  <a:lnTo>
                    <a:pt x="1" y="241"/>
                  </a:lnTo>
                  <a:lnTo>
                    <a:pt x="1" y="241"/>
                  </a:lnTo>
                  <a:lnTo>
                    <a:pt x="1" y="236"/>
                  </a:lnTo>
                  <a:lnTo>
                    <a:pt x="1" y="233"/>
                  </a:lnTo>
                  <a:lnTo>
                    <a:pt x="1" y="230"/>
                  </a:lnTo>
                  <a:lnTo>
                    <a:pt x="1" y="226"/>
                  </a:lnTo>
                  <a:lnTo>
                    <a:pt x="1" y="222"/>
                  </a:lnTo>
                  <a:lnTo>
                    <a:pt x="3" y="209"/>
                  </a:lnTo>
                  <a:lnTo>
                    <a:pt x="4" y="198"/>
                  </a:lnTo>
                  <a:lnTo>
                    <a:pt x="8" y="198"/>
                  </a:lnTo>
                  <a:lnTo>
                    <a:pt x="11" y="198"/>
                  </a:lnTo>
                  <a:lnTo>
                    <a:pt x="14" y="196"/>
                  </a:lnTo>
                  <a:lnTo>
                    <a:pt x="16" y="195"/>
                  </a:lnTo>
                  <a:lnTo>
                    <a:pt x="17" y="188"/>
                  </a:lnTo>
                  <a:lnTo>
                    <a:pt x="16" y="182"/>
                  </a:lnTo>
                  <a:lnTo>
                    <a:pt x="19" y="177"/>
                  </a:lnTo>
                  <a:lnTo>
                    <a:pt x="20" y="174"/>
                  </a:lnTo>
                  <a:lnTo>
                    <a:pt x="24" y="172"/>
                  </a:lnTo>
                  <a:lnTo>
                    <a:pt x="24" y="169"/>
                  </a:lnTo>
                  <a:lnTo>
                    <a:pt x="25" y="166"/>
                  </a:lnTo>
                  <a:lnTo>
                    <a:pt x="28" y="165"/>
                  </a:lnTo>
                  <a:lnTo>
                    <a:pt x="31" y="163"/>
                  </a:lnTo>
                  <a:lnTo>
                    <a:pt x="33" y="160"/>
                  </a:lnTo>
                  <a:lnTo>
                    <a:pt x="33" y="158"/>
                  </a:lnTo>
                  <a:lnTo>
                    <a:pt x="35" y="157"/>
                  </a:lnTo>
                  <a:lnTo>
                    <a:pt x="36" y="152"/>
                  </a:lnTo>
                  <a:lnTo>
                    <a:pt x="33" y="149"/>
                  </a:lnTo>
                  <a:lnTo>
                    <a:pt x="33" y="146"/>
                  </a:lnTo>
                  <a:lnTo>
                    <a:pt x="35" y="141"/>
                  </a:lnTo>
                  <a:lnTo>
                    <a:pt x="39" y="142"/>
                  </a:lnTo>
                  <a:lnTo>
                    <a:pt x="41" y="139"/>
                  </a:lnTo>
                  <a:lnTo>
                    <a:pt x="43" y="134"/>
                  </a:lnTo>
                  <a:lnTo>
                    <a:pt x="43" y="131"/>
                  </a:lnTo>
                  <a:lnTo>
                    <a:pt x="39" y="128"/>
                  </a:lnTo>
                  <a:lnTo>
                    <a:pt x="39" y="120"/>
                  </a:lnTo>
                  <a:lnTo>
                    <a:pt x="38" y="112"/>
                  </a:lnTo>
                  <a:lnTo>
                    <a:pt x="35" y="109"/>
                  </a:lnTo>
                  <a:lnTo>
                    <a:pt x="33" y="106"/>
                  </a:lnTo>
                  <a:lnTo>
                    <a:pt x="30" y="103"/>
                  </a:lnTo>
                  <a:lnTo>
                    <a:pt x="30" y="98"/>
                  </a:lnTo>
                  <a:lnTo>
                    <a:pt x="31" y="95"/>
                  </a:lnTo>
                  <a:lnTo>
                    <a:pt x="33" y="92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5" y="90"/>
                  </a:lnTo>
                  <a:lnTo>
                    <a:pt x="36" y="85"/>
                  </a:lnTo>
                  <a:lnTo>
                    <a:pt x="35" y="82"/>
                  </a:lnTo>
                  <a:lnTo>
                    <a:pt x="36" y="79"/>
                  </a:lnTo>
                  <a:lnTo>
                    <a:pt x="36" y="77"/>
                  </a:lnTo>
                  <a:lnTo>
                    <a:pt x="35" y="73"/>
                  </a:lnTo>
                  <a:lnTo>
                    <a:pt x="35" y="69"/>
                  </a:lnTo>
                  <a:lnTo>
                    <a:pt x="36" y="65"/>
                  </a:lnTo>
                  <a:lnTo>
                    <a:pt x="36" y="61"/>
                  </a:lnTo>
                  <a:lnTo>
                    <a:pt x="36" y="58"/>
                  </a:lnTo>
                  <a:lnTo>
                    <a:pt x="38" y="55"/>
                  </a:lnTo>
                  <a:lnTo>
                    <a:pt x="46" y="46"/>
                  </a:lnTo>
                  <a:lnTo>
                    <a:pt x="50" y="39"/>
                  </a:lnTo>
                  <a:lnTo>
                    <a:pt x="54" y="30"/>
                  </a:lnTo>
                  <a:lnTo>
                    <a:pt x="54" y="19"/>
                  </a:lnTo>
                  <a:lnTo>
                    <a:pt x="57" y="17"/>
                  </a:lnTo>
                  <a:lnTo>
                    <a:pt x="62" y="12"/>
                  </a:lnTo>
                  <a:lnTo>
                    <a:pt x="65" y="9"/>
                  </a:lnTo>
                  <a:lnTo>
                    <a:pt x="68" y="8"/>
                  </a:lnTo>
                  <a:lnTo>
                    <a:pt x="71" y="8"/>
                  </a:lnTo>
                  <a:lnTo>
                    <a:pt x="74" y="6"/>
                  </a:lnTo>
                  <a:lnTo>
                    <a:pt x="79" y="4"/>
                  </a:lnTo>
                  <a:lnTo>
                    <a:pt x="82" y="6"/>
                  </a:lnTo>
                  <a:lnTo>
                    <a:pt x="84" y="6"/>
                  </a:lnTo>
                  <a:lnTo>
                    <a:pt x="89" y="6"/>
                  </a:lnTo>
                  <a:lnTo>
                    <a:pt x="92" y="6"/>
                  </a:lnTo>
                  <a:lnTo>
                    <a:pt x="95" y="6"/>
                  </a:lnTo>
                  <a:lnTo>
                    <a:pt x="98" y="1"/>
                  </a:lnTo>
                  <a:lnTo>
                    <a:pt x="103" y="0"/>
                  </a:lnTo>
                  <a:lnTo>
                    <a:pt x="104" y="0"/>
                  </a:lnTo>
                  <a:lnTo>
                    <a:pt x="108" y="1"/>
                  </a:lnTo>
                  <a:lnTo>
                    <a:pt x="114" y="4"/>
                  </a:lnTo>
                  <a:lnTo>
                    <a:pt x="119" y="8"/>
                  </a:lnTo>
                  <a:lnTo>
                    <a:pt x="122" y="8"/>
                  </a:lnTo>
                  <a:lnTo>
                    <a:pt x="127" y="9"/>
                  </a:lnTo>
                  <a:lnTo>
                    <a:pt x="130" y="8"/>
                  </a:lnTo>
                  <a:lnTo>
                    <a:pt x="138" y="14"/>
                  </a:lnTo>
                  <a:lnTo>
                    <a:pt x="144" y="23"/>
                  </a:lnTo>
                  <a:lnTo>
                    <a:pt x="146" y="27"/>
                  </a:lnTo>
                  <a:lnTo>
                    <a:pt x="149" y="30"/>
                  </a:lnTo>
                  <a:lnTo>
                    <a:pt x="150" y="33"/>
                  </a:lnTo>
                  <a:lnTo>
                    <a:pt x="155" y="36"/>
                  </a:lnTo>
                  <a:lnTo>
                    <a:pt x="157" y="36"/>
                  </a:lnTo>
                  <a:lnTo>
                    <a:pt x="160" y="35"/>
                  </a:lnTo>
                  <a:lnTo>
                    <a:pt x="161" y="33"/>
                  </a:lnTo>
                  <a:lnTo>
                    <a:pt x="163" y="31"/>
                  </a:lnTo>
                  <a:lnTo>
                    <a:pt x="165" y="31"/>
                  </a:lnTo>
                  <a:lnTo>
                    <a:pt x="168" y="31"/>
                  </a:lnTo>
                  <a:lnTo>
                    <a:pt x="173" y="30"/>
                  </a:lnTo>
                  <a:lnTo>
                    <a:pt x="177" y="27"/>
                  </a:lnTo>
                  <a:lnTo>
                    <a:pt x="181" y="25"/>
                  </a:lnTo>
                  <a:lnTo>
                    <a:pt x="184" y="22"/>
                  </a:lnTo>
                  <a:lnTo>
                    <a:pt x="185" y="22"/>
                  </a:lnTo>
                  <a:lnTo>
                    <a:pt x="192" y="23"/>
                  </a:lnTo>
                  <a:lnTo>
                    <a:pt x="198" y="25"/>
                  </a:lnTo>
                  <a:lnTo>
                    <a:pt x="203" y="30"/>
                  </a:lnTo>
                  <a:lnTo>
                    <a:pt x="207" y="33"/>
                  </a:lnTo>
                  <a:lnTo>
                    <a:pt x="209" y="33"/>
                  </a:lnTo>
                  <a:lnTo>
                    <a:pt x="212" y="35"/>
                  </a:lnTo>
                  <a:lnTo>
                    <a:pt x="215" y="38"/>
                  </a:lnTo>
                  <a:lnTo>
                    <a:pt x="219" y="39"/>
                  </a:lnTo>
                  <a:lnTo>
                    <a:pt x="222" y="41"/>
                  </a:lnTo>
                  <a:lnTo>
                    <a:pt x="225" y="42"/>
                  </a:lnTo>
                  <a:lnTo>
                    <a:pt x="227" y="42"/>
                  </a:lnTo>
                  <a:lnTo>
                    <a:pt x="238" y="42"/>
                  </a:lnTo>
                  <a:lnTo>
                    <a:pt x="250" y="44"/>
                  </a:lnTo>
                  <a:lnTo>
                    <a:pt x="257" y="36"/>
                  </a:lnTo>
                  <a:lnTo>
                    <a:pt x="263" y="30"/>
                  </a:lnTo>
                  <a:lnTo>
                    <a:pt x="271" y="25"/>
                  </a:lnTo>
                  <a:lnTo>
                    <a:pt x="280" y="23"/>
                  </a:lnTo>
                  <a:lnTo>
                    <a:pt x="288" y="20"/>
                  </a:lnTo>
                  <a:lnTo>
                    <a:pt x="296" y="22"/>
                  </a:lnTo>
                  <a:lnTo>
                    <a:pt x="306" y="22"/>
                  </a:lnTo>
                  <a:lnTo>
                    <a:pt x="314" y="20"/>
                  </a:lnTo>
                  <a:lnTo>
                    <a:pt x="323" y="23"/>
                  </a:lnTo>
                  <a:lnTo>
                    <a:pt x="331" y="27"/>
                  </a:lnTo>
                  <a:lnTo>
                    <a:pt x="334" y="28"/>
                  </a:lnTo>
                  <a:lnTo>
                    <a:pt x="336" y="30"/>
                  </a:lnTo>
                  <a:lnTo>
                    <a:pt x="341" y="31"/>
                  </a:lnTo>
                  <a:lnTo>
                    <a:pt x="341" y="31"/>
                  </a:lnTo>
                  <a:lnTo>
                    <a:pt x="344" y="31"/>
                  </a:lnTo>
                  <a:lnTo>
                    <a:pt x="347" y="33"/>
                  </a:lnTo>
                  <a:lnTo>
                    <a:pt x="350" y="33"/>
                  </a:lnTo>
                  <a:lnTo>
                    <a:pt x="353" y="30"/>
                  </a:lnTo>
                  <a:lnTo>
                    <a:pt x="355" y="27"/>
                  </a:lnTo>
                  <a:lnTo>
                    <a:pt x="358" y="25"/>
                  </a:lnTo>
                  <a:lnTo>
                    <a:pt x="363" y="20"/>
                  </a:lnTo>
                  <a:lnTo>
                    <a:pt x="368" y="17"/>
                  </a:lnTo>
                  <a:lnTo>
                    <a:pt x="372" y="14"/>
                  </a:lnTo>
                  <a:lnTo>
                    <a:pt x="379" y="14"/>
                  </a:lnTo>
                  <a:lnTo>
                    <a:pt x="380" y="9"/>
                  </a:lnTo>
                  <a:lnTo>
                    <a:pt x="382" y="9"/>
                  </a:lnTo>
                  <a:lnTo>
                    <a:pt x="384" y="8"/>
                  </a:lnTo>
                  <a:lnTo>
                    <a:pt x="393" y="8"/>
                  </a:lnTo>
                  <a:lnTo>
                    <a:pt x="401" y="20"/>
                  </a:lnTo>
                  <a:lnTo>
                    <a:pt x="409" y="33"/>
                  </a:lnTo>
                  <a:lnTo>
                    <a:pt x="412" y="47"/>
                  </a:lnTo>
                  <a:lnTo>
                    <a:pt x="414" y="61"/>
                  </a:lnTo>
                  <a:lnTo>
                    <a:pt x="415" y="63"/>
                  </a:lnTo>
                  <a:lnTo>
                    <a:pt x="422" y="63"/>
                  </a:lnTo>
                  <a:lnTo>
                    <a:pt x="423" y="63"/>
                  </a:lnTo>
                  <a:lnTo>
                    <a:pt x="425" y="65"/>
                  </a:lnTo>
                  <a:lnTo>
                    <a:pt x="428" y="68"/>
                  </a:lnTo>
                  <a:lnTo>
                    <a:pt x="431" y="71"/>
                  </a:lnTo>
                  <a:lnTo>
                    <a:pt x="430" y="79"/>
                  </a:lnTo>
                  <a:lnTo>
                    <a:pt x="426" y="88"/>
                  </a:lnTo>
                  <a:lnTo>
                    <a:pt x="430" y="92"/>
                  </a:lnTo>
                  <a:lnTo>
                    <a:pt x="430" y="96"/>
                  </a:lnTo>
                  <a:lnTo>
                    <a:pt x="426" y="100"/>
                  </a:lnTo>
                  <a:lnTo>
                    <a:pt x="423" y="101"/>
                  </a:lnTo>
                  <a:lnTo>
                    <a:pt x="418" y="104"/>
                  </a:lnTo>
                  <a:lnTo>
                    <a:pt x="415" y="106"/>
                  </a:lnTo>
                  <a:lnTo>
                    <a:pt x="412" y="107"/>
                  </a:lnTo>
                  <a:lnTo>
                    <a:pt x="409" y="107"/>
                  </a:lnTo>
                  <a:lnTo>
                    <a:pt x="407" y="106"/>
                  </a:lnTo>
                  <a:lnTo>
                    <a:pt x="404" y="111"/>
                  </a:lnTo>
                  <a:lnTo>
                    <a:pt x="404" y="111"/>
                  </a:lnTo>
                  <a:lnTo>
                    <a:pt x="403" y="114"/>
                  </a:lnTo>
                  <a:lnTo>
                    <a:pt x="399" y="117"/>
                  </a:lnTo>
                  <a:lnTo>
                    <a:pt x="399" y="120"/>
                  </a:lnTo>
                  <a:lnTo>
                    <a:pt x="396" y="123"/>
                  </a:lnTo>
                  <a:lnTo>
                    <a:pt x="395" y="126"/>
                  </a:lnTo>
                  <a:lnTo>
                    <a:pt x="393" y="130"/>
                  </a:lnTo>
                  <a:lnTo>
                    <a:pt x="391" y="133"/>
                  </a:lnTo>
                  <a:lnTo>
                    <a:pt x="390" y="138"/>
                  </a:lnTo>
                  <a:lnTo>
                    <a:pt x="390" y="141"/>
                  </a:lnTo>
                  <a:lnTo>
                    <a:pt x="388" y="144"/>
                  </a:lnTo>
                  <a:lnTo>
                    <a:pt x="388" y="147"/>
                  </a:lnTo>
                  <a:lnTo>
                    <a:pt x="388" y="150"/>
                  </a:lnTo>
                  <a:lnTo>
                    <a:pt x="387" y="153"/>
                  </a:lnTo>
                  <a:lnTo>
                    <a:pt x="385" y="155"/>
                  </a:lnTo>
                  <a:lnTo>
                    <a:pt x="382" y="155"/>
                  </a:lnTo>
                  <a:lnTo>
                    <a:pt x="380" y="158"/>
                  </a:lnTo>
                  <a:lnTo>
                    <a:pt x="380" y="158"/>
                  </a:lnTo>
                  <a:lnTo>
                    <a:pt x="380" y="160"/>
                  </a:lnTo>
                  <a:lnTo>
                    <a:pt x="379" y="163"/>
                  </a:lnTo>
                  <a:lnTo>
                    <a:pt x="382" y="168"/>
                  </a:lnTo>
                  <a:lnTo>
                    <a:pt x="380" y="171"/>
                  </a:lnTo>
                  <a:lnTo>
                    <a:pt x="380" y="174"/>
                  </a:lnTo>
                  <a:lnTo>
                    <a:pt x="380" y="176"/>
                  </a:lnTo>
                  <a:lnTo>
                    <a:pt x="377" y="179"/>
                  </a:lnTo>
                  <a:lnTo>
                    <a:pt x="372" y="179"/>
                  </a:lnTo>
                  <a:lnTo>
                    <a:pt x="366" y="185"/>
                  </a:lnTo>
                  <a:lnTo>
                    <a:pt x="366" y="185"/>
                  </a:lnTo>
                  <a:lnTo>
                    <a:pt x="368" y="187"/>
                  </a:lnTo>
                  <a:lnTo>
                    <a:pt x="368" y="190"/>
                  </a:lnTo>
                  <a:lnTo>
                    <a:pt x="368" y="190"/>
                  </a:lnTo>
                  <a:lnTo>
                    <a:pt x="366" y="193"/>
                  </a:lnTo>
                  <a:lnTo>
                    <a:pt x="366" y="195"/>
                  </a:lnTo>
                  <a:lnTo>
                    <a:pt x="366" y="199"/>
                  </a:lnTo>
                  <a:lnTo>
                    <a:pt x="365" y="203"/>
                  </a:lnTo>
                  <a:lnTo>
                    <a:pt x="365" y="206"/>
                  </a:lnTo>
                  <a:lnTo>
                    <a:pt x="365" y="209"/>
                  </a:lnTo>
                  <a:lnTo>
                    <a:pt x="361" y="212"/>
                  </a:lnTo>
                  <a:lnTo>
                    <a:pt x="357" y="215"/>
                  </a:lnTo>
                  <a:lnTo>
                    <a:pt x="353" y="215"/>
                  </a:lnTo>
                  <a:lnTo>
                    <a:pt x="350" y="215"/>
                  </a:lnTo>
                  <a:lnTo>
                    <a:pt x="350" y="215"/>
                  </a:lnTo>
                  <a:lnTo>
                    <a:pt x="350" y="217"/>
                  </a:lnTo>
                  <a:lnTo>
                    <a:pt x="350" y="220"/>
                  </a:lnTo>
                  <a:lnTo>
                    <a:pt x="349" y="222"/>
                  </a:lnTo>
                  <a:lnTo>
                    <a:pt x="345" y="223"/>
                  </a:lnTo>
                  <a:lnTo>
                    <a:pt x="344" y="226"/>
                  </a:lnTo>
                  <a:lnTo>
                    <a:pt x="344" y="230"/>
                  </a:lnTo>
                  <a:lnTo>
                    <a:pt x="344" y="233"/>
                  </a:lnTo>
                  <a:lnTo>
                    <a:pt x="342" y="238"/>
                  </a:lnTo>
                  <a:lnTo>
                    <a:pt x="342" y="241"/>
                  </a:lnTo>
                  <a:lnTo>
                    <a:pt x="342" y="242"/>
                  </a:lnTo>
                  <a:lnTo>
                    <a:pt x="341" y="245"/>
                  </a:lnTo>
                  <a:lnTo>
                    <a:pt x="338" y="249"/>
                  </a:lnTo>
                  <a:lnTo>
                    <a:pt x="336" y="252"/>
                  </a:lnTo>
                  <a:lnTo>
                    <a:pt x="338" y="257"/>
                  </a:lnTo>
                  <a:lnTo>
                    <a:pt x="336" y="260"/>
                  </a:lnTo>
                  <a:lnTo>
                    <a:pt x="333" y="263"/>
                  </a:lnTo>
                  <a:lnTo>
                    <a:pt x="331" y="264"/>
                  </a:lnTo>
                  <a:lnTo>
                    <a:pt x="328" y="269"/>
                  </a:lnTo>
                  <a:lnTo>
                    <a:pt x="328" y="272"/>
                  </a:lnTo>
                  <a:lnTo>
                    <a:pt x="331" y="276"/>
                  </a:lnTo>
                  <a:lnTo>
                    <a:pt x="328" y="279"/>
                  </a:lnTo>
                  <a:lnTo>
                    <a:pt x="325" y="282"/>
                  </a:lnTo>
                  <a:lnTo>
                    <a:pt x="322" y="285"/>
                  </a:lnTo>
                  <a:lnTo>
                    <a:pt x="319" y="288"/>
                  </a:lnTo>
                  <a:lnTo>
                    <a:pt x="320" y="291"/>
                  </a:lnTo>
                  <a:lnTo>
                    <a:pt x="320" y="295"/>
                  </a:lnTo>
                  <a:lnTo>
                    <a:pt x="315" y="298"/>
                  </a:lnTo>
                  <a:lnTo>
                    <a:pt x="314" y="301"/>
                  </a:lnTo>
                  <a:lnTo>
                    <a:pt x="312" y="304"/>
                  </a:lnTo>
                  <a:lnTo>
                    <a:pt x="309" y="304"/>
                  </a:lnTo>
                  <a:lnTo>
                    <a:pt x="307" y="304"/>
                  </a:lnTo>
                  <a:lnTo>
                    <a:pt x="303" y="303"/>
                  </a:lnTo>
                  <a:lnTo>
                    <a:pt x="303" y="303"/>
                  </a:lnTo>
                  <a:lnTo>
                    <a:pt x="303" y="299"/>
                  </a:lnTo>
                  <a:lnTo>
                    <a:pt x="303" y="296"/>
                  </a:lnTo>
                  <a:lnTo>
                    <a:pt x="301" y="293"/>
                  </a:lnTo>
                  <a:lnTo>
                    <a:pt x="299" y="290"/>
                  </a:lnTo>
                  <a:lnTo>
                    <a:pt x="296" y="290"/>
                  </a:lnTo>
                  <a:lnTo>
                    <a:pt x="293" y="283"/>
                  </a:lnTo>
                  <a:lnTo>
                    <a:pt x="290" y="282"/>
                  </a:lnTo>
                  <a:lnTo>
                    <a:pt x="287" y="280"/>
                  </a:lnTo>
                  <a:lnTo>
                    <a:pt x="285" y="276"/>
                  </a:lnTo>
                  <a:lnTo>
                    <a:pt x="284" y="280"/>
                  </a:lnTo>
                  <a:lnTo>
                    <a:pt x="284" y="283"/>
                  </a:lnTo>
                  <a:lnTo>
                    <a:pt x="282" y="287"/>
                  </a:lnTo>
                  <a:lnTo>
                    <a:pt x="273" y="287"/>
                  </a:lnTo>
                  <a:lnTo>
                    <a:pt x="269" y="283"/>
                  </a:lnTo>
                  <a:lnTo>
                    <a:pt x="266" y="283"/>
                  </a:lnTo>
                  <a:lnTo>
                    <a:pt x="263" y="287"/>
                  </a:lnTo>
                  <a:lnTo>
                    <a:pt x="261" y="288"/>
                  </a:lnTo>
                  <a:lnTo>
                    <a:pt x="258" y="290"/>
                  </a:lnTo>
                  <a:lnTo>
                    <a:pt x="255" y="295"/>
                  </a:lnTo>
                  <a:lnTo>
                    <a:pt x="253" y="298"/>
                  </a:lnTo>
                  <a:lnTo>
                    <a:pt x="253" y="301"/>
                  </a:lnTo>
                  <a:lnTo>
                    <a:pt x="253" y="301"/>
                  </a:lnTo>
                  <a:lnTo>
                    <a:pt x="250" y="301"/>
                  </a:lnTo>
                  <a:lnTo>
                    <a:pt x="247" y="304"/>
                  </a:lnTo>
                  <a:lnTo>
                    <a:pt x="244" y="306"/>
                  </a:lnTo>
                  <a:lnTo>
                    <a:pt x="241" y="309"/>
                  </a:lnTo>
                  <a:lnTo>
                    <a:pt x="239" y="312"/>
                  </a:lnTo>
                  <a:lnTo>
                    <a:pt x="236" y="317"/>
                  </a:lnTo>
                  <a:lnTo>
                    <a:pt x="233" y="320"/>
                  </a:lnTo>
                  <a:lnTo>
                    <a:pt x="230" y="323"/>
                  </a:lnTo>
                  <a:lnTo>
                    <a:pt x="228" y="326"/>
                  </a:lnTo>
                  <a:lnTo>
                    <a:pt x="223" y="328"/>
                  </a:lnTo>
                  <a:lnTo>
                    <a:pt x="222" y="329"/>
                  </a:lnTo>
                  <a:lnTo>
                    <a:pt x="222" y="333"/>
                  </a:lnTo>
                  <a:lnTo>
                    <a:pt x="222" y="334"/>
                  </a:lnTo>
                  <a:lnTo>
                    <a:pt x="225" y="339"/>
                  </a:lnTo>
                  <a:lnTo>
                    <a:pt x="223" y="342"/>
                  </a:lnTo>
                  <a:lnTo>
                    <a:pt x="222" y="345"/>
                  </a:lnTo>
                  <a:lnTo>
                    <a:pt x="222" y="349"/>
                  </a:lnTo>
                  <a:lnTo>
                    <a:pt x="222" y="353"/>
                  </a:lnTo>
                  <a:lnTo>
                    <a:pt x="220" y="355"/>
                  </a:lnTo>
                  <a:lnTo>
                    <a:pt x="219" y="360"/>
                  </a:lnTo>
                  <a:lnTo>
                    <a:pt x="217" y="363"/>
                  </a:lnTo>
                  <a:lnTo>
                    <a:pt x="215" y="366"/>
                  </a:lnTo>
                  <a:lnTo>
                    <a:pt x="214" y="369"/>
                  </a:lnTo>
                  <a:lnTo>
                    <a:pt x="212" y="371"/>
                  </a:lnTo>
                  <a:lnTo>
                    <a:pt x="211" y="372"/>
                  </a:lnTo>
                  <a:lnTo>
                    <a:pt x="209" y="375"/>
                  </a:lnTo>
                  <a:lnTo>
                    <a:pt x="206" y="374"/>
                  </a:lnTo>
                  <a:lnTo>
                    <a:pt x="206" y="369"/>
                  </a:lnTo>
                  <a:lnTo>
                    <a:pt x="203" y="371"/>
                  </a:lnTo>
                  <a:lnTo>
                    <a:pt x="201" y="368"/>
                  </a:lnTo>
                  <a:lnTo>
                    <a:pt x="200" y="366"/>
                  </a:lnTo>
                  <a:lnTo>
                    <a:pt x="201" y="369"/>
                  </a:lnTo>
                  <a:lnTo>
                    <a:pt x="201" y="371"/>
                  </a:lnTo>
                  <a:lnTo>
                    <a:pt x="201" y="372"/>
                  </a:lnTo>
                  <a:lnTo>
                    <a:pt x="203" y="375"/>
                  </a:lnTo>
                  <a:lnTo>
                    <a:pt x="204" y="379"/>
                  </a:lnTo>
                  <a:lnTo>
                    <a:pt x="201" y="382"/>
                  </a:lnTo>
                  <a:lnTo>
                    <a:pt x="192" y="382"/>
                  </a:lnTo>
                  <a:lnTo>
                    <a:pt x="182" y="383"/>
                  </a:lnTo>
                  <a:lnTo>
                    <a:pt x="182" y="383"/>
                  </a:lnTo>
                  <a:lnTo>
                    <a:pt x="179" y="383"/>
                  </a:lnTo>
                  <a:lnTo>
                    <a:pt x="176" y="380"/>
                  </a:lnTo>
                  <a:lnTo>
                    <a:pt x="174" y="379"/>
                  </a:lnTo>
                  <a:lnTo>
                    <a:pt x="174" y="375"/>
                  </a:lnTo>
                  <a:lnTo>
                    <a:pt x="174" y="377"/>
                  </a:lnTo>
                  <a:lnTo>
                    <a:pt x="174" y="380"/>
                  </a:lnTo>
                  <a:lnTo>
                    <a:pt x="171" y="382"/>
                  </a:lnTo>
                  <a:lnTo>
                    <a:pt x="168" y="380"/>
                  </a:lnTo>
                  <a:lnTo>
                    <a:pt x="168" y="380"/>
                  </a:lnTo>
                  <a:lnTo>
                    <a:pt x="163" y="382"/>
                  </a:lnTo>
                  <a:lnTo>
                    <a:pt x="163" y="382"/>
                  </a:lnTo>
                  <a:lnTo>
                    <a:pt x="160" y="377"/>
                  </a:lnTo>
                  <a:lnTo>
                    <a:pt x="157" y="375"/>
                  </a:lnTo>
                  <a:lnTo>
                    <a:pt x="160" y="379"/>
                  </a:lnTo>
                  <a:lnTo>
                    <a:pt x="160" y="382"/>
                  </a:lnTo>
                  <a:lnTo>
                    <a:pt x="160" y="385"/>
                  </a:lnTo>
                  <a:lnTo>
                    <a:pt x="155" y="383"/>
                  </a:lnTo>
                  <a:lnTo>
                    <a:pt x="155" y="380"/>
                  </a:lnTo>
                  <a:lnTo>
                    <a:pt x="155" y="377"/>
                  </a:lnTo>
                  <a:lnTo>
                    <a:pt x="155" y="375"/>
                  </a:lnTo>
                  <a:lnTo>
                    <a:pt x="152" y="377"/>
                  </a:lnTo>
                  <a:lnTo>
                    <a:pt x="152" y="377"/>
                  </a:lnTo>
                  <a:lnTo>
                    <a:pt x="154" y="382"/>
                  </a:lnTo>
                  <a:lnTo>
                    <a:pt x="154" y="385"/>
                  </a:lnTo>
                  <a:lnTo>
                    <a:pt x="155" y="385"/>
                  </a:lnTo>
                  <a:lnTo>
                    <a:pt x="154" y="388"/>
                  </a:lnTo>
                  <a:lnTo>
                    <a:pt x="150" y="387"/>
                  </a:lnTo>
                  <a:lnTo>
                    <a:pt x="149" y="383"/>
                  </a:lnTo>
                  <a:lnTo>
                    <a:pt x="150" y="380"/>
                  </a:lnTo>
                  <a:lnTo>
                    <a:pt x="149" y="379"/>
                  </a:lnTo>
                  <a:lnTo>
                    <a:pt x="147" y="375"/>
                  </a:lnTo>
                  <a:lnTo>
                    <a:pt x="147" y="372"/>
                  </a:lnTo>
                  <a:lnTo>
                    <a:pt x="146" y="372"/>
                  </a:lnTo>
                  <a:lnTo>
                    <a:pt x="147" y="377"/>
                  </a:lnTo>
                  <a:lnTo>
                    <a:pt x="149" y="380"/>
                  </a:lnTo>
                  <a:lnTo>
                    <a:pt x="149" y="383"/>
                  </a:lnTo>
                  <a:lnTo>
                    <a:pt x="149" y="387"/>
                  </a:lnTo>
                  <a:lnTo>
                    <a:pt x="147" y="390"/>
                  </a:lnTo>
                  <a:lnTo>
                    <a:pt x="144" y="390"/>
                  </a:lnTo>
                  <a:lnTo>
                    <a:pt x="146" y="387"/>
                  </a:lnTo>
                  <a:lnTo>
                    <a:pt x="146" y="383"/>
                  </a:lnTo>
                  <a:lnTo>
                    <a:pt x="146" y="379"/>
                  </a:lnTo>
                  <a:lnTo>
                    <a:pt x="144" y="382"/>
                  </a:lnTo>
                  <a:lnTo>
                    <a:pt x="144" y="382"/>
                  </a:lnTo>
                  <a:lnTo>
                    <a:pt x="144" y="387"/>
                  </a:lnTo>
                  <a:lnTo>
                    <a:pt x="144" y="382"/>
                  </a:lnTo>
                  <a:lnTo>
                    <a:pt x="142" y="383"/>
                  </a:lnTo>
                  <a:lnTo>
                    <a:pt x="142" y="387"/>
                  </a:lnTo>
                  <a:lnTo>
                    <a:pt x="141" y="390"/>
                  </a:lnTo>
                  <a:lnTo>
                    <a:pt x="141" y="387"/>
                  </a:lnTo>
                  <a:lnTo>
                    <a:pt x="139" y="385"/>
                  </a:lnTo>
                  <a:lnTo>
                    <a:pt x="139" y="383"/>
                  </a:lnTo>
                  <a:lnTo>
                    <a:pt x="139" y="383"/>
                  </a:lnTo>
                  <a:lnTo>
                    <a:pt x="139" y="385"/>
                  </a:lnTo>
                  <a:lnTo>
                    <a:pt x="139" y="387"/>
                  </a:lnTo>
                  <a:lnTo>
                    <a:pt x="139" y="391"/>
                  </a:lnTo>
                  <a:lnTo>
                    <a:pt x="135" y="391"/>
                  </a:lnTo>
                  <a:lnTo>
                    <a:pt x="131" y="391"/>
                  </a:lnTo>
                  <a:lnTo>
                    <a:pt x="128" y="391"/>
                  </a:lnTo>
                  <a:lnTo>
                    <a:pt x="128" y="388"/>
                  </a:lnTo>
                  <a:lnTo>
                    <a:pt x="128" y="383"/>
                  </a:lnTo>
                  <a:lnTo>
                    <a:pt x="128" y="385"/>
                  </a:lnTo>
                  <a:lnTo>
                    <a:pt x="127" y="390"/>
                  </a:lnTo>
                  <a:lnTo>
                    <a:pt x="127" y="393"/>
                  </a:lnTo>
                  <a:lnTo>
                    <a:pt x="123" y="393"/>
                  </a:lnTo>
                  <a:lnTo>
                    <a:pt x="122" y="391"/>
                  </a:lnTo>
                  <a:lnTo>
                    <a:pt x="120" y="387"/>
                  </a:lnTo>
                  <a:lnTo>
                    <a:pt x="120" y="388"/>
                  </a:lnTo>
                  <a:lnTo>
                    <a:pt x="120" y="391"/>
                  </a:lnTo>
                  <a:lnTo>
                    <a:pt x="119" y="388"/>
                  </a:lnTo>
                  <a:lnTo>
                    <a:pt x="119" y="388"/>
                  </a:lnTo>
                  <a:lnTo>
                    <a:pt x="114" y="388"/>
                  </a:lnTo>
                  <a:lnTo>
                    <a:pt x="108" y="382"/>
                  </a:lnTo>
                  <a:lnTo>
                    <a:pt x="103" y="374"/>
                  </a:lnTo>
                  <a:lnTo>
                    <a:pt x="101" y="369"/>
                  </a:lnTo>
                  <a:lnTo>
                    <a:pt x="100" y="366"/>
                  </a:lnTo>
                  <a:lnTo>
                    <a:pt x="100" y="363"/>
                  </a:lnTo>
                  <a:lnTo>
                    <a:pt x="101" y="358"/>
                  </a:lnTo>
                  <a:lnTo>
                    <a:pt x="100" y="355"/>
                  </a:lnTo>
                  <a:lnTo>
                    <a:pt x="96" y="356"/>
                  </a:lnTo>
                  <a:lnTo>
                    <a:pt x="95" y="352"/>
                  </a:lnTo>
                  <a:lnTo>
                    <a:pt x="96" y="349"/>
                  </a:lnTo>
                  <a:lnTo>
                    <a:pt x="100" y="350"/>
                  </a:lnTo>
                  <a:lnTo>
                    <a:pt x="100" y="349"/>
                  </a:lnTo>
                  <a:lnTo>
                    <a:pt x="104" y="349"/>
                  </a:lnTo>
                  <a:lnTo>
                    <a:pt x="103" y="345"/>
                  </a:lnTo>
                  <a:lnTo>
                    <a:pt x="104" y="342"/>
                  </a:lnTo>
                  <a:lnTo>
                    <a:pt x="103" y="342"/>
                  </a:lnTo>
                  <a:lnTo>
                    <a:pt x="98" y="345"/>
                  </a:lnTo>
                  <a:lnTo>
                    <a:pt x="98" y="345"/>
                  </a:lnTo>
                  <a:lnTo>
                    <a:pt x="96" y="347"/>
                  </a:lnTo>
                  <a:lnTo>
                    <a:pt x="93" y="345"/>
                  </a:lnTo>
                  <a:lnTo>
                    <a:pt x="90" y="342"/>
                  </a:lnTo>
                  <a:lnTo>
                    <a:pt x="93" y="339"/>
                  </a:lnTo>
                  <a:lnTo>
                    <a:pt x="95" y="341"/>
                  </a:lnTo>
                  <a:lnTo>
                    <a:pt x="98" y="339"/>
                  </a:lnTo>
                  <a:lnTo>
                    <a:pt x="101" y="339"/>
                  </a:lnTo>
                  <a:lnTo>
                    <a:pt x="101" y="339"/>
                  </a:lnTo>
                  <a:lnTo>
                    <a:pt x="98" y="337"/>
                  </a:lnTo>
                  <a:lnTo>
                    <a:pt x="95" y="339"/>
                  </a:lnTo>
                  <a:lnTo>
                    <a:pt x="95" y="334"/>
                  </a:lnTo>
                  <a:lnTo>
                    <a:pt x="95" y="334"/>
                  </a:lnTo>
                  <a:lnTo>
                    <a:pt x="93" y="337"/>
                  </a:lnTo>
                  <a:lnTo>
                    <a:pt x="90" y="339"/>
                  </a:lnTo>
                  <a:lnTo>
                    <a:pt x="87" y="336"/>
                  </a:lnTo>
                  <a:lnTo>
                    <a:pt x="85" y="333"/>
                  </a:lnTo>
                  <a:lnTo>
                    <a:pt x="90" y="329"/>
                  </a:lnTo>
                  <a:lnTo>
                    <a:pt x="93" y="328"/>
                  </a:lnTo>
                  <a:lnTo>
                    <a:pt x="93" y="326"/>
                  </a:lnTo>
                  <a:lnTo>
                    <a:pt x="93" y="326"/>
                  </a:lnTo>
                  <a:lnTo>
                    <a:pt x="89" y="329"/>
                  </a:lnTo>
                  <a:lnTo>
                    <a:pt x="89" y="329"/>
                  </a:lnTo>
                  <a:lnTo>
                    <a:pt x="85" y="333"/>
                  </a:lnTo>
                  <a:lnTo>
                    <a:pt x="81" y="325"/>
                  </a:lnTo>
                  <a:lnTo>
                    <a:pt x="76" y="318"/>
                  </a:lnTo>
                  <a:lnTo>
                    <a:pt x="68" y="312"/>
                  </a:lnTo>
                  <a:lnTo>
                    <a:pt x="62" y="307"/>
                  </a:lnTo>
                  <a:lnTo>
                    <a:pt x="54" y="306"/>
                  </a:lnTo>
                  <a:lnTo>
                    <a:pt x="46" y="306"/>
                  </a:lnTo>
                  <a:lnTo>
                    <a:pt x="43" y="304"/>
                  </a:lnTo>
                  <a:lnTo>
                    <a:pt x="39" y="304"/>
                  </a:lnTo>
                  <a:lnTo>
                    <a:pt x="35" y="306"/>
                  </a:lnTo>
                  <a:lnTo>
                    <a:pt x="31" y="306"/>
                  </a:lnTo>
                  <a:lnTo>
                    <a:pt x="28" y="306"/>
                  </a:lnTo>
                  <a:lnTo>
                    <a:pt x="25" y="304"/>
                  </a:lnTo>
                  <a:lnTo>
                    <a:pt x="25" y="304"/>
                  </a:lnTo>
                  <a:lnTo>
                    <a:pt x="30" y="304"/>
                  </a:lnTo>
                  <a:lnTo>
                    <a:pt x="33" y="303"/>
                  </a:lnTo>
                  <a:lnTo>
                    <a:pt x="36" y="301"/>
                  </a:lnTo>
                  <a:lnTo>
                    <a:pt x="39" y="298"/>
                  </a:lnTo>
                  <a:lnTo>
                    <a:pt x="36" y="298"/>
                  </a:lnTo>
                  <a:lnTo>
                    <a:pt x="33" y="299"/>
                  </a:lnTo>
                  <a:lnTo>
                    <a:pt x="30" y="301"/>
                  </a:lnTo>
                  <a:lnTo>
                    <a:pt x="27" y="299"/>
                  </a:lnTo>
                  <a:lnTo>
                    <a:pt x="25" y="303"/>
                  </a:lnTo>
                  <a:lnTo>
                    <a:pt x="25" y="303"/>
                  </a:lnTo>
                  <a:lnTo>
                    <a:pt x="25" y="304"/>
                  </a:lnTo>
                  <a:lnTo>
                    <a:pt x="25" y="306"/>
                  </a:lnTo>
                  <a:lnTo>
                    <a:pt x="12" y="307"/>
                  </a:lnTo>
                  <a:lnTo>
                    <a:pt x="1" y="307"/>
                  </a:lnTo>
                  <a:lnTo>
                    <a:pt x="1" y="304"/>
                  </a:lnTo>
                  <a:lnTo>
                    <a:pt x="1" y="301"/>
                  </a:lnTo>
                  <a:lnTo>
                    <a:pt x="1" y="298"/>
                  </a:lnTo>
                  <a:lnTo>
                    <a:pt x="1" y="296"/>
                  </a:lnTo>
                  <a:lnTo>
                    <a:pt x="3" y="293"/>
                  </a:lnTo>
                  <a:lnTo>
                    <a:pt x="1" y="290"/>
                  </a:lnTo>
                  <a:lnTo>
                    <a:pt x="1" y="285"/>
                  </a:lnTo>
                  <a:lnTo>
                    <a:pt x="1" y="282"/>
                  </a:lnTo>
                  <a:lnTo>
                    <a:pt x="3" y="279"/>
                  </a:lnTo>
                  <a:lnTo>
                    <a:pt x="3" y="276"/>
                  </a:lnTo>
                  <a:lnTo>
                    <a:pt x="3" y="272"/>
                  </a:lnTo>
                  <a:lnTo>
                    <a:pt x="3" y="268"/>
                  </a:lnTo>
                  <a:lnTo>
                    <a:pt x="3" y="264"/>
                  </a:lnTo>
                  <a:lnTo>
                    <a:pt x="4" y="264"/>
                  </a:lnTo>
                  <a:lnTo>
                    <a:pt x="3" y="260"/>
                  </a:lnTo>
                  <a:lnTo>
                    <a:pt x="1" y="257"/>
                  </a:lnTo>
                  <a:lnTo>
                    <a:pt x="1" y="255"/>
                  </a:lnTo>
                  <a:lnTo>
                    <a:pt x="1" y="252"/>
                  </a:lnTo>
                  <a:lnTo>
                    <a:pt x="1" y="247"/>
                  </a:lnTo>
                  <a:lnTo>
                    <a:pt x="0" y="245"/>
                  </a:lnTo>
                  <a:lnTo>
                    <a:pt x="0" y="24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77" name="Freeform 442"/>
            <p:cNvSpPr>
              <a:spLocks/>
            </p:cNvSpPr>
            <p:nvPr/>
          </p:nvSpPr>
          <p:spPr bwMode="auto">
            <a:xfrm>
              <a:off x="5594355" y="4377055"/>
              <a:ext cx="202910" cy="396029"/>
            </a:xfrm>
            <a:custGeom>
              <a:avLst/>
              <a:gdLst>
                <a:gd name="T0" fmla="*/ 13 w 278"/>
                <a:gd name="T1" fmla="*/ 320 h 468"/>
                <a:gd name="T2" fmla="*/ 13 w 278"/>
                <a:gd name="T3" fmla="*/ 296 h 468"/>
                <a:gd name="T4" fmla="*/ 32 w 278"/>
                <a:gd name="T5" fmla="*/ 276 h 468"/>
                <a:gd name="T6" fmla="*/ 46 w 278"/>
                <a:gd name="T7" fmla="*/ 262 h 468"/>
                <a:gd name="T8" fmla="*/ 73 w 278"/>
                <a:gd name="T9" fmla="*/ 254 h 468"/>
                <a:gd name="T10" fmla="*/ 87 w 278"/>
                <a:gd name="T11" fmla="*/ 257 h 468"/>
                <a:gd name="T12" fmla="*/ 98 w 278"/>
                <a:gd name="T13" fmla="*/ 271 h 468"/>
                <a:gd name="T14" fmla="*/ 110 w 278"/>
                <a:gd name="T15" fmla="*/ 255 h 468"/>
                <a:gd name="T16" fmla="*/ 122 w 278"/>
                <a:gd name="T17" fmla="*/ 231 h 468"/>
                <a:gd name="T18" fmla="*/ 135 w 278"/>
                <a:gd name="T19" fmla="*/ 200 h 468"/>
                <a:gd name="T20" fmla="*/ 141 w 278"/>
                <a:gd name="T21" fmla="*/ 182 h 468"/>
                <a:gd name="T22" fmla="*/ 156 w 278"/>
                <a:gd name="T23" fmla="*/ 170 h 468"/>
                <a:gd name="T24" fmla="*/ 157 w 278"/>
                <a:gd name="T25" fmla="*/ 152 h 468"/>
                <a:gd name="T26" fmla="*/ 173 w 278"/>
                <a:gd name="T27" fmla="*/ 135 h 468"/>
                <a:gd name="T28" fmla="*/ 178 w 278"/>
                <a:gd name="T29" fmla="*/ 120 h 468"/>
                <a:gd name="T30" fmla="*/ 184 w 278"/>
                <a:gd name="T31" fmla="*/ 97 h 468"/>
                <a:gd name="T32" fmla="*/ 195 w 278"/>
                <a:gd name="T33" fmla="*/ 78 h 468"/>
                <a:gd name="T34" fmla="*/ 217 w 278"/>
                <a:gd name="T35" fmla="*/ 67 h 468"/>
                <a:gd name="T36" fmla="*/ 216 w 278"/>
                <a:gd name="T37" fmla="*/ 32 h 468"/>
                <a:gd name="T38" fmla="*/ 208 w 278"/>
                <a:gd name="T39" fmla="*/ 0 h 468"/>
                <a:gd name="T40" fmla="*/ 222 w 278"/>
                <a:gd name="T41" fmla="*/ 14 h 468"/>
                <a:gd name="T42" fmla="*/ 230 w 278"/>
                <a:gd name="T43" fmla="*/ 30 h 468"/>
                <a:gd name="T44" fmla="*/ 235 w 278"/>
                <a:gd name="T45" fmla="*/ 41 h 468"/>
                <a:gd name="T46" fmla="*/ 238 w 278"/>
                <a:gd name="T47" fmla="*/ 65 h 468"/>
                <a:gd name="T48" fmla="*/ 236 w 278"/>
                <a:gd name="T49" fmla="*/ 87 h 468"/>
                <a:gd name="T50" fmla="*/ 252 w 278"/>
                <a:gd name="T51" fmla="*/ 120 h 468"/>
                <a:gd name="T52" fmla="*/ 238 w 278"/>
                <a:gd name="T53" fmla="*/ 127 h 468"/>
                <a:gd name="T54" fmla="*/ 217 w 278"/>
                <a:gd name="T55" fmla="*/ 127 h 468"/>
                <a:gd name="T56" fmla="*/ 198 w 278"/>
                <a:gd name="T57" fmla="*/ 138 h 468"/>
                <a:gd name="T58" fmla="*/ 221 w 278"/>
                <a:gd name="T59" fmla="*/ 168 h 468"/>
                <a:gd name="T60" fmla="*/ 244 w 278"/>
                <a:gd name="T61" fmla="*/ 195 h 468"/>
                <a:gd name="T62" fmla="*/ 252 w 278"/>
                <a:gd name="T63" fmla="*/ 217 h 468"/>
                <a:gd name="T64" fmla="*/ 243 w 278"/>
                <a:gd name="T65" fmla="*/ 244 h 468"/>
                <a:gd name="T66" fmla="*/ 230 w 278"/>
                <a:gd name="T67" fmla="*/ 265 h 468"/>
                <a:gd name="T68" fmla="*/ 214 w 278"/>
                <a:gd name="T69" fmla="*/ 285 h 468"/>
                <a:gd name="T70" fmla="*/ 221 w 278"/>
                <a:gd name="T71" fmla="*/ 300 h 468"/>
                <a:gd name="T72" fmla="*/ 221 w 278"/>
                <a:gd name="T73" fmla="*/ 320 h 468"/>
                <a:gd name="T74" fmla="*/ 225 w 278"/>
                <a:gd name="T75" fmla="*/ 338 h 468"/>
                <a:gd name="T76" fmla="*/ 236 w 278"/>
                <a:gd name="T77" fmla="*/ 357 h 468"/>
                <a:gd name="T78" fmla="*/ 238 w 278"/>
                <a:gd name="T79" fmla="*/ 374 h 468"/>
                <a:gd name="T80" fmla="*/ 254 w 278"/>
                <a:gd name="T81" fmla="*/ 395 h 468"/>
                <a:gd name="T82" fmla="*/ 273 w 278"/>
                <a:gd name="T83" fmla="*/ 415 h 468"/>
                <a:gd name="T84" fmla="*/ 276 w 278"/>
                <a:gd name="T85" fmla="*/ 438 h 468"/>
                <a:gd name="T86" fmla="*/ 276 w 278"/>
                <a:gd name="T87" fmla="*/ 458 h 468"/>
                <a:gd name="T88" fmla="*/ 263 w 278"/>
                <a:gd name="T89" fmla="*/ 457 h 468"/>
                <a:gd name="T90" fmla="*/ 238 w 278"/>
                <a:gd name="T91" fmla="*/ 453 h 468"/>
                <a:gd name="T92" fmla="*/ 219 w 278"/>
                <a:gd name="T93" fmla="*/ 444 h 468"/>
                <a:gd name="T94" fmla="*/ 171 w 278"/>
                <a:gd name="T95" fmla="*/ 442 h 468"/>
                <a:gd name="T96" fmla="*/ 138 w 278"/>
                <a:gd name="T97" fmla="*/ 439 h 468"/>
                <a:gd name="T98" fmla="*/ 110 w 278"/>
                <a:gd name="T99" fmla="*/ 441 h 468"/>
                <a:gd name="T100" fmla="*/ 79 w 278"/>
                <a:gd name="T101" fmla="*/ 446 h 468"/>
                <a:gd name="T102" fmla="*/ 49 w 278"/>
                <a:gd name="T103" fmla="*/ 427 h 468"/>
                <a:gd name="T104" fmla="*/ 49 w 278"/>
                <a:gd name="T105" fmla="*/ 400 h 468"/>
                <a:gd name="T106" fmla="*/ 40 w 278"/>
                <a:gd name="T107" fmla="*/ 387 h 468"/>
                <a:gd name="T108" fmla="*/ 41 w 278"/>
                <a:gd name="T109" fmla="*/ 373 h 468"/>
                <a:gd name="T110" fmla="*/ 38 w 278"/>
                <a:gd name="T111" fmla="*/ 371 h 468"/>
                <a:gd name="T112" fmla="*/ 35 w 278"/>
                <a:gd name="T113" fmla="*/ 371 h 468"/>
                <a:gd name="T114" fmla="*/ 29 w 278"/>
                <a:gd name="T115" fmla="*/ 373 h 468"/>
                <a:gd name="T116" fmla="*/ 14 w 278"/>
                <a:gd name="T117" fmla="*/ 349 h 468"/>
                <a:gd name="T118" fmla="*/ 6 w 278"/>
                <a:gd name="T119" fmla="*/ 35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8" h="468">
                  <a:moveTo>
                    <a:pt x="3" y="338"/>
                  </a:moveTo>
                  <a:lnTo>
                    <a:pt x="5" y="336"/>
                  </a:lnTo>
                  <a:lnTo>
                    <a:pt x="6" y="333"/>
                  </a:lnTo>
                  <a:lnTo>
                    <a:pt x="8" y="330"/>
                  </a:lnTo>
                  <a:lnTo>
                    <a:pt x="10" y="327"/>
                  </a:lnTo>
                  <a:lnTo>
                    <a:pt x="11" y="322"/>
                  </a:lnTo>
                  <a:lnTo>
                    <a:pt x="13" y="320"/>
                  </a:lnTo>
                  <a:lnTo>
                    <a:pt x="13" y="316"/>
                  </a:lnTo>
                  <a:lnTo>
                    <a:pt x="13" y="312"/>
                  </a:lnTo>
                  <a:lnTo>
                    <a:pt x="14" y="309"/>
                  </a:lnTo>
                  <a:lnTo>
                    <a:pt x="16" y="306"/>
                  </a:lnTo>
                  <a:lnTo>
                    <a:pt x="13" y="301"/>
                  </a:lnTo>
                  <a:lnTo>
                    <a:pt x="13" y="300"/>
                  </a:lnTo>
                  <a:lnTo>
                    <a:pt x="13" y="296"/>
                  </a:lnTo>
                  <a:lnTo>
                    <a:pt x="14" y="295"/>
                  </a:lnTo>
                  <a:lnTo>
                    <a:pt x="19" y="293"/>
                  </a:lnTo>
                  <a:lnTo>
                    <a:pt x="21" y="290"/>
                  </a:lnTo>
                  <a:lnTo>
                    <a:pt x="24" y="287"/>
                  </a:lnTo>
                  <a:lnTo>
                    <a:pt x="27" y="284"/>
                  </a:lnTo>
                  <a:lnTo>
                    <a:pt x="30" y="279"/>
                  </a:lnTo>
                  <a:lnTo>
                    <a:pt x="32" y="276"/>
                  </a:lnTo>
                  <a:lnTo>
                    <a:pt x="35" y="273"/>
                  </a:lnTo>
                  <a:lnTo>
                    <a:pt x="38" y="271"/>
                  </a:lnTo>
                  <a:lnTo>
                    <a:pt x="41" y="268"/>
                  </a:lnTo>
                  <a:lnTo>
                    <a:pt x="44" y="268"/>
                  </a:lnTo>
                  <a:lnTo>
                    <a:pt x="44" y="268"/>
                  </a:lnTo>
                  <a:lnTo>
                    <a:pt x="44" y="265"/>
                  </a:lnTo>
                  <a:lnTo>
                    <a:pt x="46" y="262"/>
                  </a:lnTo>
                  <a:lnTo>
                    <a:pt x="49" y="257"/>
                  </a:lnTo>
                  <a:lnTo>
                    <a:pt x="52" y="255"/>
                  </a:lnTo>
                  <a:lnTo>
                    <a:pt x="54" y="254"/>
                  </a:lnTo>
                  <a:lnTo>
                    <a:pt x="57" y="250"/>
                  </a:lnTo>
                  <a:lnTo>
                    <a:pt x="60" y="250"/>
                  </a:lnTo>
                  <a:lnTo>
                    <a:pt x="64" y="254"/>
                  </a:lnTo>
                  <a:lnTo>
                    <a:pt x="73" y="254"/>
                  </a:lnTo>
                  <a:lnTo>
                    <a:pt x="75" y="250"/>
                  </a:lnTo>
                  <a:lnTo>
                    <a:pt x="75" y="247"/>
                  </a:lnTo>
                  <a:lnTo>
                    <a:pt x="76" y="243"/>
                  </a:lnTo>
                  <a:lnTo>
                    <a:pt x="78" y="247"/>
                  </a:lnTo>
                  <a:lnTo>
                    <a:pt x="81" y="249"/>
                  </a:lnTo>
                  <a:lnTo>
                    <a:pt x="84" y="250"/>
                  </a:lnTo>
                  <a:lnTo>
                    <a:pt x="87" y="257"/>
                  </a:lnTo>
                  <a:lnTo>
                    <a:pt x="90" y="257"/>
                  </a:lnTo>
                  <a:lnTo>
                    <a:pt x="92" y="260"/>
                  </a:lnTo>
                  <a:lnTo>
                    <a:pt x="94" y="263"/>
                  </a:lnTo>
                  <a:lnTo>
                    <a:pt x="94" y="266"/>
                  </a:lnTo>
                  <a:lnTo>
                    <a:pt x="94" y="270"/>
                  </a:lnTo>
                  <a:lnTo>
                    <a:pt x="94" y="270"/>
                  </a:lnTo>
                  <a:lnTo>
                    <a:pt x="98" y="271"/>
                  </a:lnTo>
                  <a:lnTo>
                    <a:pt x="100" y="271"/>
                  </a:lnTo>
                  <a:lnTo>
                    <a:pt x="103" y="271"/>
                  </a:lnTo>
                  <a:lnTo>
                    <a:pt x="105" y="268"/>
                  </a:lnTo>
                  <a:lnTo>
                    <a:pt x="106" y="265"/>
                  </a:lnTo>
                  <a:lnTo>
                    <a:pt x="111" y="262"/>
                  </a:lnTo>
                  <a:lnTo>
                    <a:pt x="111" y="258"/>
                  </a:lnTo>
                  <a:lnTo>
                    <a:pt x="110" y="255"/>
                  </a:lnTo>
                  <a:lnTo>
                    <a:pt x="113" y="252"/>
                  </a:lnTo>
                  <a:lnTo>
                    <a:pt x="116" y="249"/>
                  </a:lnTo>
                  <a:lnTo>
                    <a:pt x="119" y="246"/>
                  </a:lnTo>
                  <a:lnTo>
                    <a:pt x="122" y="243"/>
                  </a:lnTo>
                  <a:lnTo>
                    <a:pt x="119" y="239"/>
                  </a:lnTo>
                  <a:lnTo>
                    <a:pt x="119" y="236"/>
                  </a:lnTo>
                  <a:lnTo>
                    <a:pt x="122" y="231"/>
                  </a:lnTo>
                  <a:lnTo>
                    <a:pt x="124" y="230"/>
                  </a:lnTo>
                  <a:lnTo>
                    <a:pt x="129" y="222"/>
                  </a:lnTo>
                  <a:lnTo>
                    <a:pt x="132" y="212"/>
                  </a:lnTo>
                  <a:lnTo>
                    <a:pt x="133" y="209"/>
                  </a:lnTo>
                  <a:lnTo>
                    <a:pt x="133" y="208"/>
                  </a:lnTo>
                  <a:lnTo>
                    <a:pt x="133" y="205"/>
                  </a:lnTo>
                  <a:lnTo>
                    <a:pt x="135" y="200"/>
                  </a:lnTo>
                  <a:lnTo>
                    <a:pt x="135" y="197"/>
                  </a:lnTo>
                  <a:lnTo>
                    <a:pt x="135" y="193"/>
                  </a:lnTo>
                  <a:lnTo>
                    <a:pt x="136" y="190"/>
                  </a:lnTo>
                  <a:lnTo>
                    <a:pt x="140" y="189"/>
                  </a:lnTo>
                  <a:lnTo>
                    <a:pt x="141" y="187"/>
                  </a:lnTo>
                  <a:lnTo>
                    <a:pt x="141" y="184"/>
                  </a:lnTo>
                  <a:lnTo>
                    <a:pt x="141" y="182"/>
                  </a:lnTo>
                  <a:lnTo>
                    <a:pt x="141" y="182"/>
                  </a:lnTo>
                  <a:lnTo>
                    <a:pt x="144" y="182"/>
                  </a:lnTo>
                  <a:lnTo>
                    <a:pt x="148" y="182"/>
                  </a:lnTo>
                  <a:lnTo>
                    <a:pt x="152" y="179"/>
                  </a:lnTo>
                  <a:lnTo>
                    <a:pt x="156" y="176"/>
                  </a:lnTo>
                  <a:lnTo>
                    <a:pt x="156" y="173"/>
                  </a:lnTo>
                  <a:lnTo>
                    <a:pt x="156" y="170"/>
                  </a:lnTo>
                  <a:lnTo>
                    <a:pt x="157" y="166"/>
                  </a:lnTo>
                  <a:lnTo>
                    <a:pt x="157" y="162"/>
                  </a:lnTo>
                  <a:lnTo>
                    <a:pt x="157" y="160"/>
                  </a:lnTo>
                  <a:lnTo>
                    <a:pt x="159" y="157"/>
                  </a:lnTo>
                  <a:lnTo>
                    <a:pt x="159" y="157"/>
                  </a:lnTo>
                  <a:lnTo>
                    <a:pt x="159" y="154"/>
                  </a:lnTo>
                  <a:lnTo>
                    <a:pt x="157" y="152"/>
                  </a:lnTo>
                  <a:lnTo>
                    <a:pt x="157" y="152"/>
                  </a:lnTo>
                  <a:lnTo>
                    <a:pt x="163" y="146"/>
                  </a:lnTo>
                  <a:lnTo>
                    <a:pt x="168" y="146"/>
                  </a:lnTo>
                  <a:lnTo>
                    <a:pt x="171" y="143"/>
                  </a:lnTo>
                  <a:lnTo>
                    <a:pt x="171" y="141"/>
                  </a:lnTo>
                  <a:lnTo>
                    <a:pt x="171" y="138"/>
                  </a:lnTo>
                  <a:lnTo>
                    <a:pt x="173" y="135"/>
                  </a:lnTo>
                  <a:lnTo>
                    <a:pt x="170" y="130"/>
                  </a:lnTo>
                  <a:lnTo>
                    <a:pt x="171" y="127"/>
                  </a:lnTo>
                  <a:lnTo>
                    <a:pt x="171" y="125"/>
                  </a:lnTo>
                  <a:lnTo>
                    <a:pt x="171" y="125"/>
                  </a:lnTo>
                  <a:lnTo>
                    <a:pt x="173" y="122"/>
                  </a:lnTo>
                  <a:lnTo>
                    <a:pt x="176" y="122"/>
                  </a:lnTo>
                  <a:lnTo>
                    <a:pt x="178" y="120"/>
                  </a:lnTo>
                  <a:lnTo>
                    <a:pt x="179" y="117"/>
                  </a:lnTo>
                  <a:lnTo>
                    <a:pt x="179" y="114"/>
                  </a:lnTo>
                  <a:lnTo>
                    <a:pt x="179" y="111"/>
                  </a:lnTo>
                  <a:lnTo>
                    <a:pt x="181" y="108"/>
                  </a:lnTo>
                  <a:lnTo>
                    <a:pt x="181" y="105"/>
                  </a:lnTo>
                  <a:lnTo>
                    <a:pt x="182" y="100"/>
                  </a:lnTo>
                  <a:lnTo>
                    <a:pt x="184" y="97"/>
                  </a:lnTo>
                  <a:lnTo>
                    <a:pt x="186" y="93"/>
                  </a:lnTo>
                  <a:lnTo>
                    <a:pt x="187" y="90"/>
                  </a:lnTo>
                  <a:lnTo>
                    <a:pt x="190" y="87"/>
                  </a:lnTo>
                  <a:lnTo>
                    <a:pt x="190" y="84"/>
                  </a:lnTo>
                  <a:lnTo>
                    <a:pt x="194" y="81"/>
                  </a:lnTo>
                  <a:lnTo>
                    <a:pt x="195" y="78"/>
                  </a:lnTo>
                  <a:lnTo>
                    <a:pt x="195" y="78"/>
                  </a:lnTo>
                  <a:lnTo>
                    <a:pt x="198" y="73"/>
                  </a:lnTo>
                  <a:lnTo>
                    <a:pt x="200" y="74"/>
                  </a:lnTo>
                  <a:lnTo>
                    <a:pt x="203" y="74"/>
                  </a:lnTo>
                  <a:lnTo>
                    <a:pt x="206" y="73"/>
                  </a:lnTo>
                  <a:lnTo>
                    <a:pt x="209" y="71"/>
                  </a:lnTo>
                  <a:lnTo>
                    <a:pt x="214" y="68"/>
                  </a:lnTo>
                  <a:lnTo>
                    <a:pt x="217" y="67"/>
                  </a:lnTo>
                  <a:lnTo>
                    <a:pt x="221" y="63"/>
                  </a:lnTo>
                  <a:lnTo>
                    <a:pt x="221" y="59"/>
                  </a:lnTo>
                  <a:lnTo>
                    <a:pt x="217" y="55"/>
                  </a:lnTo>
                  <a:lnTo>
                    <a:pt x="221" y="46"/>
                  </a:lnTo>
                  <a:lnTo>
                    <a:pt x="222" y="38"/>
                  </a:lnTo>
                  <a:lnTo>
                    <a:pt x="219" y="35"/>
                  </a:lnTo>
                  <a:lnTo>
                    <a:pt x="216" y="32"/>
                  </a:lnTo>
                  <a:lnTo>
                    <a:pt x="214" y="30"/>
                  </a:lnTo>
                  <a:lnTo>
                    <a:pt x="213" y="30"/>
                  </a:lnTo>
                  <a:lnTo>
                    <a:pt x="206" y="30"/>
                  </a:lnTo>
                  <a:lnTo>
                    <a:pt x="205" y="28"/>
                  </a:lnTo>
                  <a:lnTo>
                    <a:pt x="203" y="14"/>
                  </a:lnTo>
                  <a:lnTo>
                    <a:pt x="200" y="0"/>
                  </a:lnTo>
                  <a:lnTo>
                    <a:pt x="208" y="0"/>
                  </a:lnTo>
                  <a:lnTo>
                    <a:pt x="214" y="0"/>
                  </a:lnTo>
                  <a:lnTo>
                    <a:pt x="216" y="3"/>
                  </a:lnTo>
                  <a:lnTo>
                    <a:pt x="216" y="5"/>
                  </a:lnTo>
                  <a:lnTo>
                    <a:pt x="216" y="6"/>
                  </a:lnTo>
                  <a:lnTo>
                    <a:pt x="217" y="9"/>
                  </a:lnTo>
                  <a:lnTo>
                    <a:pt x="217" y="13"/>
                  </a:lnTo>
                  <a:lnTo>
                    <a:pt x="222" y="14"/>
                  </a:lnTo>
                  <a:lnTo>
                    <a:pt x="224" y="17"/>
                  </a:lnTo>
                  <a:lnTo>
                    <a:pt x="227" y="17"/>
                  </a:lnTo>
                  <a:lnTo>
                    <a:pt x="227" y="19"/>
                  </a:lnTo>
                  <a:lnTo>
                    <a:pt x="228" y="22"/>
                  </a:lnTo>
                  <a:lnTo>
                    <a:pt x="228" y="25"/>
                  </a:lnTo>
                  <a:lnTo>
                    <a:pt x="230" y="28"/>
                  </a:lnTo>
                  <a:lnTo>
                    <a:pt x="230" y="30"/>
                  </a:lnTo>
                  <a:lnTo>
                    <a:pt x="230" y="33"/>
                  </a:lnTo>
                  <a:lnTo>
                    <a:pt x="230" y="38"/>
                  </a:lnTo>
                  <a:lnTo>
                    <a:pt x="230" y="38"/>
                  </a:lnTo>
                  <a:lnTo>
                    <a:pt x="233" y="40"/>
                  </a:lnTo>
                  <a:lnTo>
                    <a:pt x="235" y="40"/>
                  </a:lnTo>
                  <a:lnTo>
                    <a:pt x="235" y="40"/>
                  </a:lnTo>
                  <a:lnTo>
                    <a:pt x="235" y="41"/>
                  </a:lnTo>
                  <a:lnTo>
                    <a:pt x="235" y="43"/>
                  </a:lnTo>
                  <a:lnTo>
                    <a:pt x="236" y="48"/>
                  </a:lnTo>
                  <a:lnTo>
                    <a:pt x="236" y="51"/>
                  </a:lnTo>
                  <a:lnTo>
                    <a:pt x="236" y="54"/>
                  </a:lnTo>
                  <a:lnTo>
                    <a:pt x="236" y="57"/>
                  </a:lnTo>
                  <a:lnTo>
                    <a:pt x="236" y="60"/>
                  </a:lnTo>
                  <a:lnTo>
                    <a:pt x="238" y="65"/>
                  </a:lnTo>
                  <a:lnTo>
                    <a:pt x="236" y="68"/>
                  </a:lnTo>
                  <a:lnTo>
                    <a:pt x="235" y="71"/>
                  </a:lnTo>
                  <a:lnTo>
                    <a:pt x="235" y="74"/>
                  </a:lnTo>
                  <a:lnTo>
                    <a:pt x="235" y="78"/>
                  </a:lnTo>
                  <a:lnTo>
                    <a:pt x="235" y="82"/>
                  </a:lnTo>
                  <a:lnTo>
                    <a:pt x="235" y="84"/>
                  </a:lnTo>
                  <a:lnTo>
                    <a:pt x="236" y="87"/>
                  </a:lnTo>
                  <a:lnTo>
                    <a:pt x="236" y="90"/>
                  </a:lnTo>
                  <a:lnTo>
                    <a:pt x="236" y="93"/>
                  </a:lnTo>
                  <a:lnTo>
                    <a:pt x="238" y="98"/>
                  </a:lnTo>
                  <a:lnTo>
                    <a:pt x="241" y="106"/>
                  </a:lnTo>
                  <a:lnTo>
                    <a:pt x="246" y="114"/>
                  </a:lnTo>
                  <a:lnTo>
                    <a:pt x="247" y="114"/>
                  </a:lnTo>
                  <a:lnTo>
                    <a:pt x="252" y="120"/>
                  </a:lnTo>
                  <a:lnTo>
                    <a:pt x="259" y="127"/>
                  </a:lnTo>
                  <a:lnTo>
                    <a:pt x="257" y="127"/>
                  </a:lnTo>
                  <a:lnTo>
                    <a:pt x="252" y="128"/>
                  </a:lnTo>
                  <a:lnTo>
                    <a:pt x="249" y="128"/>
                  </a:lnTo>
                  <a:lnTo>
                    <a:pt x="246" y="128"/>
                  </a:lnTo>
                  <a:lnTo>
                    <a:pt x="243" y="127"/>
                  </a:lnTo>
                  <a:lnTo>
                    <a:pt x="238" y="127"/>
                  </a:lnTo>
                  <a:lnTo>
                    <a:pt x="238" y="127"/>
                  </a:lnTo>
                  <a:lnTo>
                    <a:pt x="235" y="128"/>
                  </a:lnTo>
                  <a:lnTo>
                    <a:pt x="232" y="127"/>
                  </a:lnTo>
                  <a:lnTo>
                    <a:pt x="228" y="128"/>
                  </a:lnTo>
                  <a:lnTo>
                    <a:pt x="225" y="128"/>
                  </a:lnTo>
                  <a:lnTo>
                    <a:pt x="222" y="128"/>
                  </a:lnTo>
                  <a:lnTo>
                    <a:pt x="217" y="127"/>
                  </a:lnTo>
                  <a:lnTo>
                    <a:pt x="214" y="125"/>
                  </a:lnTo>
                  <a:lnTo>
                    <a:pt x="213" y="125"/>
                  </a:lnTo>
                  <a:lnTo>
                    <a:pt x="205" y="127"/>
                  </a:lnTo>
                  <a:lnTo>
                    <a:pt x="205" y="127"/>
                  </a:lnTo>
                  <a:lnTo>
                    <a:pt x="203" y="130"/>
                  </a:lnTo>
                  <a:lnTo>
                    <a:pt x="201" y="135"/>
                  </a:lnTo>
                  <a:lnTo>
                    <a:pt x="198" y="138"/>
                  </a:lnTo>
                  <a:lnTo>
                    <a:pt x="198" y="138"/>
                  </a:lnTo>
                  <a:lnTo>
                    <a:pt x="198" y="141"/>
                  </a:lnTo>
                  <a:lnTo>
                    <a:pt x="200" y="144"/>
                  </a:lnTo>
                  <a:lnTo>
                    <a:pt x="203" y="147"/>
                  </a:lnTo>
                  <a:lnTo>
                    <a:pt x="206" y="151"/>
                  </a:lnTo>
                  <a:lnTo>
                    <a:pt x="208" y="154"/>
                  </a:lnTo>
                  <a:lnTo>
                    <a:pt x="221" y="168"/>
                  </a:lnTo>
                  <a:lnTo>
                    <a:pt x="235" y="181"/>
                  </a:lnTo>
                  <a:lnTo>
                    <a:pt x="235" y="181"/>
                  </a:lnTo>
                  <a:lnTo>
                    <a:pt x="238" y="184"/>
                  </a:lnTo>
                  <a:lnTo>
                    <a:pt x="241" y="187"/>
                  </a:lnTo>
                  <a:lnTo>
                    <a:pt x="243" y="190"/>
                  </a:lnTo>
                  <a:lnTo>
                    <a:pt x="243" y="190"/>
                  </a:lnTo>
                  <a:lnTo>
                    <a:pt x="244" y="195"/>
                  </a:lnTo>
                  <a:lnTo>
                    <a:pt x="246" y="198"/>
                  </a:lnTo>
                  <a:lnTo>
                    <a:pt x="247" y="201"/>
                  </a:lnTo>
                  <a:lnTo>
                    <a:pt x="247" y="205"/>
                  </a:lnTo>
                  <a:lnTo>
                    <a:pt x="249" y="209"/>
                  </a:lnTo>
                  <a:lnTo>
                    <a:pt x="251" y="212"/>
                  </a:lnTo>
                  <a:lnTo>
                    <a:pt x="252" y="216"/>
                  </a:lnTo>
                  <a:lnTo>
                    <a:pt x="252" y="217"/>
                  </a:lnTo>
                  <a:lnTo>
                    <a:pt x="255" y="217"/>
                  </a:lnTo>
                  <a:lnTo>
                    <a:pt x="254" y="227"/>
                  </a:lnTo>
                  <a:lnTo>
                    <a:pt x="249" y="233"/>
                  </a:lnTo>
                  <a:lnTo>
                    <a:pt x="244" y="236"/>
                  </a:lnTo>
                  <a:lnTo>
                    <a:pt x="244" y="238"/>
                  </a:lnTo>
                  <a:lnTo>
                    <a:pt x="243" y="241"/>
                  </a:lnTo>
                  <a:lnTo>
                    <a:pt x="243" y="244"/>
                  </a:lnTo>
                  <a:lnTo>
                    <a:pt x="240" y="247"/>
                  </a:lnTo>
                  <a:lnTo>
                    <a:pt x="240" y="250"/>
                  </a:lnTo>
                  <a:lnTo>
                    <a:pt x="238" y="255"/>
                  </a:lnTo>
                  <a:lnTo>
                    <a:pt x="236" y="258"/>
                  </a:lnTo>
                  <a:lnTo>
                    <a:pt x="235" y="258"/>
                  </a:lnTo>
                  <a:lnTo>
                    <a:pt x="232" y="262"/>
                  </a:lnTo>
                  <a:lnTo>
                    <a:pt x="230" y="265"/>
                  </a:lnTo>
                  <a:lnTo>
                    <a:pt x="230" y="268"/>
                  </a:lnTo>
                  <a:lnTo>
                    <a:pt x="227" y="274"/>
                  </a:lnTo>
                  <a:lnTo>
                    <a:pt x="227" y="277"/>
                  </a:lnTo>
                  <a:lnTo>
                    <a:pt x="222" y="281"/>
                  </a:lnTo>
                  <a:lnTo>
                    <a:pt x="219" y="281"/>
                  </a:lnTo>
                  <a:lnTo>
                    <a:pt x="216" y="285"/>
                  </a:lnTo>
                  <a:lnTo>
                    <a:pt x="214" y="285"/>
                  </a:lnTo>
                  <a:lnTo>
                    <a:pt x="214" y="287"/>
                  </a:lnTo>
                  <a:lnTo>
                    <a:pt x="213" y="287"/>
                  </a:lnTo>
                  <a:lnTo>
                    <a:pt x="216" y="292"/>
                  </a:lnTo>
                  <a:lnTo>
                    <a:pt x="219" y="293"/>
                  </a:lnTo>
                  <a:lnTo>
                    <a:pt x="219" y="292"/>
                  </a:lnTo>
                  <a:lnTo>
                    <a:pt x="221" y="296"/>
                  </a:lnTo>
                  <a:lnTo>
                    <a:pt x="221" y="300"/>
                  </a:lnTo>
                  <a:lnTo>
                    <a:pt x="221" y="303"/>
                  </a:lnTo>
                  <a:lnTo>
                    <a:pt x="221" y="306"/>
                  </a:lnTo>
                  <a:lnTo>
                    <a:pt x="221" y="311"/>
                  </a:lnTo>
                  <a:lnTo>
                    <a:pt x="221" y="314"/>
                  </a:lnTo>
                  <a:lnTo>
                    <a:pt x="219" y="317"/>
                  </a:lnTo>
                  <a:lnTo>
                    <a:pt x="217" y="319"/>
                  </a:lnTo>
                  <a:lnTo>
                    <a:pt x="221" y="320"/>
                  </a:lnTo>
                  <a:lnTo>
                    <a:pt x="222" y="322"/>
                  </a:lnTo>
                  <a:lnTo>
                    <a:pt x="224" y="325"/>
                  </a:lnTo>
                  <a:lnTo>
                    <a:pt x="224" y="330"/>
                  </a:lnTo>
                  <a:lnTo>
                    <a:pt x="222" y="330"/>
                  </a:lnTo>
                  <a:lnTo>
                    <a:pt x="222" y="330"/>
                  </a:lnTo>
                  <a:lnTo>
                    <a:pt x="224" y="335"/>
                  </a:lnTo>
                  <a:lnTo>
                    <a:pt x="225" y="338"/>
                  </a:lnTo>
                  <a:lnTo>
                    <a:pt x="224" y="341"/>
                  </a:lnTo>
                  <a:lnTo>
                    <a:pt x="225" y="344"/>
                  </a:lnTo>
                  <a:lnTo>
                    <a:pt x="227" y="347"/>
                  </a:lnTo>
                  <a:lnTo>
                    <a:pt x="230" y="350"/>
                  </a:lnTo>
                  <a:lnTo>
                    <a:pt x="233" y="354"/>
                  </a:lnTo>
                  <a:lnTo>
                    <a:pt x="235" y="354"/>
                  </a:lnTo>
                  <a:lnTo>
                    <a:pt x="236" y="357"/>
                  </a:lnTo>
                  <a:lnTo>
                    <a:pt x="238" y="360"/>
                  </a:lnTo>
                  <a:lnTo>
                    <a:pt x="238" y="365"/>
                  </a:lnTo>
                  <a:lnTo>
                    <a:pt x="238" y="365"/>
                  </a:lnTo>
                  <a:lnTo>
                    <a:pt x="240" y="366"/>
                  </a:lnTo>
                  <a:lnTo>
                    <a:pt x="241" y="369"/>
                  </a:lnTo>
                  <a:lnTo>
                    <a:pt x="238" y="371"/>
                  </a:lnTo>
                  <a:lnTo>
                    <a:pt x="238" y="374"/>
                  </a:lnTo>
                  <a:lnTo>
                    <a:pt x="240" y="377"/>
                  </a:lnTo>
                  <a:lnTo>
                    <a:pt x="243" y="381"/>
                  </a:lnTo>
                  <a:lnTo>
                    <a:pt x="244" y="385"/>
                  </a:lnTo>
                  <a:lnTo>
                    <a:pt x="244" y="385"/>
                  </a:lnTo>
                  <a:lnTo>
                    <a:pt x="247" y="388"/>
                  </a:lnTo>
                  <a:lnTo>
                    <a:pt x="251" y="392"/>
                  </a:lnTo>
                  <a:lnTo>
                    <a:pt x="254" y="395"/>
                  </a:lnTo>
                  <a:lnTo>
                    <a:pt x="257" y="400"/>
                  </a:lnTo>
                  <a:lnTo>
                    <a:pt x="260" y="403"/>
                  </a:lnTo>
                  <a:lnTo>
                    <a:pt x="263" y="406"/>
                  </a:lnTo>
                  <a:lnTo>
                    <a:pt x="267" y="407"/>
                  </a:lnTo>
                  <a:lnTo>
                    <a:pt x="268" y="407"/>
                  </a:lnTo>
                  <a:lnTo>
                    <a:pt x="270" y="411"/>
                  </a:lnTo>
                  <a:lnTo>
                    <a:pt x="273" y="415"/>
                  </a:lnTo>
                  <a:lnTo>
                    <a:pt x="274" y="419"/>
                  </a:lnTo>
                  <a:lnTo>
                    <a:pt x="273" y="422"/>
                  </a:lnTo>
                  <a:lnTo>
                    <a:pt x="276" y="423"/>
                  </a:lnTo>
                  <a:lnTo>
                    <a:pt x="274" y="428"/>
                  </a:lnTo>
                  <a:lnTo>
                    <a:pt x="274" y="431"/>
                  </a:lnTo>
                  <a:lnTo>
                    <a:pt x="274" y="434"/>
                  </a:lnTo>
                  <a:lnTo>
                    <a:pt x="276" y="438"/>
                  </a:lnTo>
                  <a:lnTo>
                    <a:pt x="278" y="442"/>
                  </a:lnTo>
                  <a:lnTo>
                    <a:pt x="278" y="444"/>
                  </a:lnTo>
                  <a:lnTo>
                    <a:pt x="274" y="444"/>
                  </a:lnTo>
                  <a:lnTo>
                    <a:pt x="274" y="449"/>
                  </a:lnTo>
                  <a:lnTo>
                    <a:pt x="273" y="452"/>
                  </a:lnTo>
                  <a:lnTo>
                    <a:pt x="274" y="455"/>
                  </a:lnTo>
                  <a:lnTo>
                    <a:pt x="276" y="458"/>
                  </a:lnTo>
                  <a:lnTo>
                    <a:pt x="276" y="463"/>
                  </a:lnTo>
                  <a:lnTo>
                    <a:pt x="274" y="466"/>
                  </a:lnTo>
                  <a:lnTo>
                    <a:pt x="273" y="468"/>
                  </a:lnTo>
                  <a:lnTo>
                    <a:pt x="273" y="466"/>
                  </a:lnTo>
                  <a:lnTo>
                    <a:pt x="270" y="461"/>
                  </a:lnTo>
                  <a:lnTo>
                    <a:pt x="267" y="460"/>
                  </a:lnTo>
                  <a:lnTo>
                    <a:pt x="263" y="457"/>
                  </a:lnTo>
                  <a:lnTo>
                    <a:pt x="259" y="455"/>
                  </a:lnTo>
                  <a:lnTo>
                    <a:pt x="251" y="453"/>
                  </a:lnTo>
                  <a:lnTo>
                    <a:pt x="249" y="455"/>
                  </a:lnTo>
                  <a:lnTo>
                    <a:pt x="249" y="455"/>
                  </a:lnTo>
                  <a:lnTo>
                    <a:pt x="243" y="452"/>
                  </a:lnTo>
                  <a:lnTo>
                    <a:pt x="241" y="452"/>
                  </a:lnTo>
                  <a:lnTo>
                    <a:pt x="238" y="453"/>
                  </a:lnTo>
                  <a:lnTo>
                    <a:pt x="235" y="452"/>
                  </a:lnTo>
                  <a:lnTo>
                    <a:pt x="235" y="452"/>
                  </a:lnTo>
                  <a:lnTo>
                    <a:pt x="232" y="452"/>
                  </a:lnTo>
                  <a:lnTo>
                    <a:pt x="230" y="449"/>
                  </a:lnTo>
                  <a:lnTo>
                    <a:pt x="227" y="449"/>
                  </a:lnTo>
                  <a:lnTo>
                    <a:pt x="222" y="447"/>
                  </a:lnTo>
                  <a:lnTo>
                    <a:pt x="219" y="444"/>
                  </a:lnTo>
                  <a:lnTo>
                    <a:pt x="216" y="447"/>
                  </a:lnTo>
                  <a:lnTo>
                    <a:pt x="213" y="447"/>
                  </a:lnTo>
                  <a:lnTo>
                    <a:pt x="197" y="447"/>
                  </a:lnTo>
                  <a:lnTo>
                    <a:pt x="186" y="447"/>
                  </a:lnTo>
                  <a:lnTo>
                    <a:pt x="173" y="446"/>
                  </a:lnTo>
                  <a:lnTo>
                    <a:pt x="173" y="446"/>
                  </a:lnTo>
                  <a:lnTo>
                    <a:pt x="171" y="442"/>
                  </a:lnTo>
                  <a:lnTo>
                    <a:pt x="163" y="442"/>
                  </a:lnTo>
                  <a:lnTo>
                    <a:pt x="154" y="444"/>
                  </a:lnTo>
                  <a:lnTo>
                    <a:pt x="151" y="442"/>
                  </a:lnTo>
                  <a:lnTo>
                    <a:pt x="148" y="442"/>
                  </a:lnTo>
                  <a:lnTo>
                    <a:pt x="144" y="441"/>
                  </a:lnTo>
                  <a:lnTo>
                    <a:pt x="140" y="441"/>
                  </a:lnTo>
                  <a:lnTo>
                    <a:pt x="138" y="439"/>
                  </a:lnTo>
                  <a:lnTo>
                    <a:pt x="135" y="441"/>
                  </a:lnTo>
                  <a:lnTo>
                    <a:pt x="132" y="441"/>
                  </a:lnTo>
                  <a:lnTo>
                    <a:pt x="129" y="441"/>
                  </a:lnTo>
                  <a:lnTo>
                    <a:pt x="117" y="441"/>
                  </a:lnTo>
                  <a:lnTo>
                    <a:pt x="114" y="439"/>
                  </a:lnTo>
                  <a:lnTo>
                    <a:pt x="113" y="441"/>
                  </a:lnTo>
                  <a:lnTo>
                    <a:pt x="110" y="441"/>
                  </a:lnTo>
                  <a:lnTo>
                    <a:pt x="106" y="441"/>
                  </a:lnTo>
                  <a:lnTo>
                    <a:pt x="103" y="441"/>
                  </a:lnTo>
                  <a:lnTo>
                    <a:pt x="103" y="444"/>
                  </a:lnTo>
                  <a:lnTo>
                    <a:pt x="103" y="446"/>
                  </a:lnTo>
                  <a:lnTo>
                    <a:pt x="103" y="446"/>
                  </a:lnTo>
                  <a:lnTo>
                    <a:pt x="90" y="446"/>
                  </a:lnTo>
                  <a:lnTo>
                    <a:pt x="79" y="446"/>
                  </a:lnTo>
                  <a:lnTo>
                    <a:pt x="67" y="446"/>
                  </a:lnTo>
                  <a:lnTo>
                    <a:pt x="54" y="446"/>
                  </a:lnTo>
                  <a:lnTo>
                    <a:pt x="51" y="444"/>
                  </a:lnTo>
                  <a:lnTo>
                    <a:pt x="48" y="441"/>
                  </a:lnTo>
                  <a:lnTo>
                    <a:pt x="48" y="439"/>
                  </a:lnTo>
                  <a:lnTo>
                    <a:pt x="48" y="436"/>
                  </a:lnTo>
                  <a:lnTo>
                    <a:pt x="49" y="427"/>
                  </a:lnTo>
                  <a:lnTo>
                    <a:pt x="49" y="419"/>
                  </a:lnTo>
                  <a:lnTo>
                    <a:pt x="51" y="415"/>
                  </a:lnTo>
                  <a:lnTo>
                    <a:pt x="52" y="412"/>
                  </a:lnTo>
                  <a:lnTo>
                    <a:pt x="52" y="407"/>
                  </a:lnTo>
                  <a:lnTo>
                    <a:pt x="52" y="404"/>
                  </a:lnTo>
                  <a:lnTo>
                    <a:pt x="52" y="401"/>
                  </a:lnTo>
                  <a:lnTo>
                    <a:pt x="49" y="400"/>
                  </a:lnTo>
                  <a:lnTo>
                    <a:pt x="48" y="395"/>
                  </a:lnTo>
                  <a:lnTo>
                    <a:pt x="44" y="392"/>
                  </a:lnTo>
                  <a:lnTo>
                    <a:pt x="44" y="388"/>
                  </a:lnTo>
                  <a:lnTo>
                    <a:pt x="48" y="387"/>
                  </a:lnTo>
                  <a:lnTo>
                    <a:pt x="48" y="387"/>
                  </a:lnTo>
                  <a:lnTo>
                    <a:pt x="44" y="387"/>
                  </a:lnTo>
                  <a:lnTo>
                    <a:pt x="40" y="387"/>
                  </a:lnTo>
                  <a:lnTo>
                    <a:pt x="40" y="384"/>
                  </a:lnTo>
                  <a:lnTo>
                    <a:pt x="40" y="381"/>
                  </a:lnTo>
                  <a:lnTo>
                    <a:pt x="43" y="377"/>
                  </a:lnTo>
                  <a:lnTo>
                    <a:pt x="43" y="377"/>
                  </a:lnTo>
                  <a:lnTo>
                    <a:pt x="44" y="377"/>
                  </a:lnTo>
                  <a:lnTo>
                    <a:pt x="44" y="373"/>
                  </a:lnTo>
                  <a:lnTo>
                    <a:pt x="41" y="373"/>
                  </a:lnTo>
                  <a:lnTo>
                    <a:pt x="43" y="369"/>
                  </a:lnTo>
                  <a:lnTo>
                    <a:pt x="43" y="368"/>
                  </a:lnTo>
                  <a:lnTo>
                    <a:pt x="43" y="366"/>
                  </a:lnTo>
                  <a:lnTo>
                    <a:pt x="43" y="368"/>
                  </a:lnTo>
                  <a:lnTo>
                    <a:pt x="43" y="368"/>
                  </a:lnTo>
                  <a:lnTo>
                    <a:pt x="41" y="369"/>
                  </a:lnTo>
                  <a:lnTo>
                    <a:pt x="38" y="371"/>
                  </a:lnTo>
                  <a:lnTo>
                    <a:pt x="37" y="368"/>
                  </a:lnTo>
                  <a:lnTo>
                    <a:pt x="35" y="368"/>
                  </a:lnTo>
                  <a:lnTo>
                    <a:pt x="35" y="368"/>
                  </a:lnTo>
                  <a:lnTo>
                    <a:pt x="35" y="368"/>
                  </a:lnTo>
                  <a:lnTo>
                    <a:pt x="35" y="369"/>
                  </a:lnTo>
                  <a:lnTo>
                    <a:pt x="37" y="371"/>
                  </a:lnTo>
                  <a:lnTo>
                    <a:pt x="35" y="371"/>
                  </a:lnTo>
                  <a:lnTo>
                    <a:pt x="35" y="369"/>
                  </a:lnTo>
                  <a:lnTo>
                    <a:pt x="35" y="373"/>
                  </a:lnTo>
                  <a:lnTo>
                    <a:pt x="33" y="376"/>
                  </a:lnTo>
                  <a:lnTo>
                    <a:pt x="30" y="374"/>
                  </a:lnTo>
                  <a:lnTo>
                    <a:pt x="30" y="371"/>
                  </a:lnTo>
                  <a:lnTo>
                    <a:pt x="30" y="369"/>
                  </a:lnTo>
                  <a:lnTo>
                    <a:pt x="29" y="373"/>
                  </a:lnTo>
                  <a:lnTo>
                    <a:pt x="24" y="371"/>
                  </a:lnTo>
                  <a:lnTo>
                    <a:pt x="21" y="369"/>
                  </a:lnTo>
                  <a:lnTo>
                    <a:pt x="18" y="366"/>
                  </a:lnTo>
                  <a:lnTo>
                    <a:pt x="18" y="363"/>
                  </a:lnTo>
                  <a:lnTo>
                    <a:pt x="16" y="358"/>
                  </a:lnTo>
                  <a:lnTo>
                    <a:pt x="14" y="355"/>
                  </a:lnTo>
                  <a:lnTo>
                    <a:pt x="14" y="349"/>
                  </a:lnTo>
                  <a:lnTo>
                    <a:pt x="13" y="346"/>
                  </a:lnTo>
                  <a:lnTo>
                    <a:pt x="11" y="347"/>
                  </a:lnTo>
                  <a:lnTo>
                    <a:pt x="8" y="347"/>
                  </a:lnTo>
                  <a:lnTo>
                    <a:pt x="6" y="344"/>
                  </a:lnTo>
                  <a:lnTo>
                    <a:pt x="6" y="344"/>
                  </a:lnTo>
                  <a:lnTo>
                    <a:pt x="6" y="347"/>
                  </a:lnTo>
                  <a:lnTo>
                    <a:pt x="6" y="350"/>
                  </a:lnTo>
                  <a:lnTo>
                    <a:pt x="3" y="350"/>
                  </a:lnTo>
                  <a:lnTo>
                    <a:pt x="0" y="349"/>
                  </a:lnTo>
                  <a:lnTo>
                    <a:pt x="0" y="346"/>
                  </a:lnTo>
                  <a:lnTo>
                    <a:pt x="2" y="341"/>
                  </a:lnTo>
                  <a:lnTo>
                    <a:pt x="3" y="33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78" name="Freeform 443"/>
            <p:cNvSpPr>
              <a:spLocks/>
            </p:cNvSpPr>
            <p:nvPr/>
          </p:nvSpPr>
          <p:spPr bwMode="auto">
            <a:xfrm>
              <a:off x="5945772" y="4030107"/>
              <a:ext cx="436697" cy="678664"/>
            </a:xfrm>
            <a:custGeom>
              <a:avLst/>
              <a:gdLst>
                <a:gd name="T0" fmla="*/ 14 w 593"/>
                <a:gd name="T1" fmla="*/ 403 h 803"/>
                <a:gd name="T2" fmla="*/ 13 w 593"/>
                <a:gd name="T3" fmla="*/ 376 h 803"/>
                <a:gd name="T4" fmla="*/ 21 w 593"/>
                <a:gd name="T5" fmla="*/ 349 h 803"/>
                <a:gd name="T6" fmla="*/ 35 w 593"/>
                <a:gd name="T7" fmla="*/ 330 h 803"/>
                <a:gd name="T8" fmla="*/ 51 w 593"/>
                <a:gd name="T9" fmla="*/ 305 h 803"/>
                <a:gd name="T10" fmla="*/ 71 w 593"/>
                <a:gd name="T11" fmla="*/ 129 h 803"/>
                <a:gd name="T12" fmla="*/ 233 w 593"/>
                <a:gd name="T13" fmla="*/ 46 h 803"/>
                <a:gd name="T14" fmla="*/ 328 w 593"/>
                <a:gd name="T15" fmla="*/ 43 h 803"/>
                <a:gd name="T16" fmla="*/ 357 w 593"/>
                <a:gd name="T17" fmla="*/ 46 h 803"/>
                <a:gd name="T18" fmla="*/ 425 w 593"/>
                <a:gd name="T19" fmla="*/ 53 h 803"/>
                <a:gd name="T20" fmla="*/ 446 w 593"/>
                <a:gd name="T21" fmla="*/ 35 h 803"/>
                <a:gd name="T22" fmla="*/ 462 w 593"/>
                <a:gd name="T23" fmla="*/ 13 h 803"/>
                <a:gd name="T24" fmla="*/ 508 w 593"/>
                <a:gd name="T25" fmla="*/ 27 h 803"/>
                <a:gd name="T26" fmla="*/ 530 w 593"/>
                <a:gd name="T27" fmla="*/ 67 h 803"/>
                <a:gd name="T28" fmla="*/ 536 w 593"/>
                <a:gd name="T29" fmla="*/ 87 h 803"/>
                <a:gd name="T30" fmla="*/ 539 w 593"/>
                <a:gd name="T31" fmla="*/ 121 h 803"/>
                <a:gd name="T32" fmla="*/ 546 w 593"/>
                <a:gd name="T33" fmla="*/ 154 h 803"/>
                <a:gd name="T34" fmla="*/ 561 w 593"/>
                <a:gd name="T35" fmla="*/ 181 h 803"/>
                <a:gd name="T36" fmla="*/ 590 w 593"/>
                <a:gd name="T37" fmla="*/ 205 h 803"/>
                <a:gd name="T38" fmla="*/ 566 w 593"/>
                <a:gd name="T39" fmla="*/ 232 h 803"/>
                <a:gd name="T40" fmla="*/ 549 w 593"/>
                <a:gd name="T41" fmla="*/ 248 h 803"/>
                <a:gd name="T42" fmla="*/ 536 w 593"/>
                <a:gd name="T43" fmla="*/ 286 h 803"/>
                <a:gd name="T44" fmla="*/ 522 w 593"/>
                <a:gd name="T45" fmla="*/ 328 h 803"/>
                <a:gd name="T46" fmla="*/ 523 w 593"/>
                <a:gd name="T47" fmla="*/ 373 h 803"/>
                <a:gd name="T48" fmla="*/ 512 w 593"/>
                <a:gd name="T49" fmla="*/ 414 h 803"/>
                <a:gd name="T50" fmla="*/ 489 w 593"/>
                <a:gd name="T51" fmla="*/ 443 h 803"/>
                <a:gd name="T52" fmla="*/ 476 w 593"/>
                <a:gd name="T53" fmla="*/ 471 h 803"/>
                <a:gd name="T54" fmla="*/ 473 w 593"/>
                <a:gd name="T55" fmla="*/ 495 h 803"/>
                <a:gd name="T56" fmla="*/ 450 w 593"/>
                <a:gd name="T57" fmla="*/ 509 h 803"/>
                <a:gd name="T58" fmla="*/ 446 w 593"/>
                <a:gd name="T59" fmla="*/ 536 h 803"/>
                <a:gd name="T60" fmla="*/ 439 w 593"/>
                <a:gd name="T61" fmla="*/ 600 h 803"/>
                <a:gd name="T62" fmla="*/ 411 w 593"/>
                <a:gd name="T63" fmla="*/ 601 h 803"/>
                <a:gd name="T64" fmla="*/ 404 w 593"/>
                <a:gd name="T65" fmla="*/ 623 h 803"/>
                <a:gd name="T66" fmla="*/ 435 w 593"/>
                <a:gd name="T67" fmla="*/ 638 h 803"/>
                <a:gd name="T68" fmla="*/ 458 w 593"/>
                <a:gd name="T69" fmla="*/ 665 h 803"/>
                <a:gd name="T70" fmla="*/ 473 w 593"/>
                <a:gd name="T71" fmla="*/ 693 h 803"/>
                <a:gd name="T72" fmla="*/ 487 w 593"/>
                <a:gd name="T73" fmla="*/ 723 h 803"/>
                <a:gd name="T74" fmla="*/ 506 w 593"/>
                <a:gd name="T75" fmla="*/ 738 h 803"/>
                <a:gd name="T76" fmla="*/ 457 w 593"/>
                <a:gd name="T77" fmla="*/ 757 h 803"/>
                <a:gd name="T78" fmla="*/ 412 w 593"/>
                <a:gd name="T79" fmla="*/ 792 h 803"/>
                <a:gd name="T80" fmla="*/ 381 w 593"/>
                <a:gd name="T81" fmla="*/ 796 h 803"/>
                <a:gd name="T82" fmla="*/ 365 w 593"/>
                <a:gd name="T83" fmla="*/ 792 h 803"/>
                <a:gd name="T84" fmla="*/ 333 w 593"/>
                <a:gd name="T85" fmla="*/ 795 h 803"/>
                <a:gd name="T86" fmla="*/ 317 w 593"/>
                <a:gd name="T87" fmla="*/ 787 h 803"/>
                <a:gd name="T88" fmla="*/ 293 w 593"/>
                <a:gd name="T89" fmla="*/ 768 h 803"/>
                <a:gd name="T90" fmla="*/ 271 w 593"/>
                <a:gd name="T91" fmla="*/ 766 h 803"/>
                <a:gd name="T92" fmla="*/ 240 w 593"/>
                <a:gd name="T93" fmla="*/ 771 h 803"/>
                <a:gd name="T94" fmla="*/ 217 w 593"/>
                <a:gd name="T95" fmla="*/ 753 h 803"/>
                <a:gd name="T96" fmla="*/ 200 w 593"/>
                <a:gd name="T97" fmla="*/ 731 h 803"/>
                <a:gd name="T98" fmla="*/ 186 w 593"/>
                <a:gd name="T99" fmla="*/ 704 h 803"/>
                <a:gd name="T100" fmla="*/ 163 w 593"/>
                <a:gd name="T101" fmla="*/ 685 h 803"/>
                <a:gd name="T102" fmla="*/ 135 w 593"/>
                <a:gd name="T103" fmla="*/ 649 h 803"/>
                <a:gd name="T104" fmla="*/ 122 w 593"/>
                <a:gd name="T105" fmla="*/ 623 h 803"/>
                <a:gd name="T106" fmla="*/ 100 w 593"/>
                <a:gd name="T107" fmla="*/ 611 h 803"/>
                <a:gd name="T108" fmla="*/ 83 w 593"/>
                <a:gd name="T109" fmla="*/ 590 h 803"/>
                <a:gd name="T110" fmla="*/ 60 w 593"/>
                <a:gd name="T111" fmla="*/ 579 h 803"/>
                <a:gd name="T112" fmla="*/ 67 w 593"/>
                <a:gd name="T113" fmla="*/ 544 h 803"/>
                <a:gd name="T114" fmla="*/ 35 w 593"/>
                <a:gd name="T115" fmla="*/ 479 h 803"/>
                <a:gd name="T116" fmla="*/ 22 w 593"/>
                <a:gd name="T117" fmla="*/ 454 h 803"/>
                <a:gd name="T118" fmla="*/ 16 w 593"/>
                <a:gd name="T119" fmla="*/ 425 h 8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93" h="803">
                  <a:moveTo>
                    <a:pt x="0" y="422"/>
                  </a:moveTo>
                  <a:lnTo>
                    <a:pt x="0" y="422"/>
                  </a:lnTo>
                  <a:lnTo>
                    <a:pt x="0" y="420"/>
                  </a:lnTo>
                  <a:lnTo>
                    <a:pt x="2" y="417"/>
                  </a:lnTo>
                  <a:lnTo>
                    <a:pt x="3" y="414"/>
                  </a:lnTo>
                  <a:lnTo>
                    <a:pt x="5" y="411"/>
                  </a:lnTo>
                  <a:lnTo>
                    <a:pt x="8" y="408"/>
                  </a:lnTo>
                  <a:lnTo>
                    <a:pt x="11" y="406"/>
                  </a:lnTo>
                  <a:lnTo>
                    <a:pt x="14" y="403"/>
                  </a:lnTo>
                  <a:lnTo>
                    <a:pt x="16" y="400"/>
                  </a:lnTo>
                  <a:lnTo>
                    <a:pt x="14" y="395"/>
                  </a:lnTo>
                  <a:lnTo>
                    <a:pt x="13" y="393"/>
                  </a:lnTo>
                  <a:lnTo>
                    <a:pt x="13" y="390"/>
                  </a:lnTo>
                  <a:lnTo>
                    <a:pt x="10" y="387"/>
                  </a:lnTo>
                  <a:lnTo>
                    <a:pt x="10" y="384"/>
                  </a:lnTo>
                  <a:lnTo>
                    <a:pt x="10" y="381"/>
                  </a:lnTo>
                  <a:lnTo>
                    <a:pt x="11" y="378"/>
                  </a:lnTo>
                  <a:lnTo>
                    <a:pt x="13" y="376"/>
                  </a:lnTo>
                  <a:lnTo>
                    <a:pt x="14" y="374"/>
                  </a:lnTo>
                  <a:lnTo>
                    <a:pt x="21" y="371"/>
                  </a:lnTo>
                  <a:lnTo>
                    <a:pt x="25" y="367"/>
                  </a:lnTo>
                  <a:lnTo>
                    <a:pt x="22" y="363"/>
                  </a:lnTo>
                  <a:lnTo>
                    <a:pt x="21" y="363"/>
                  </a:lnTo>
                  <a:lnTo>
                    <a:pt x="22" y="359"/>
                  </a:lnTo>
                  <a:lnTo>
                    <a:pt x="21" y="355"/>
                  </a:lnTo>
                  <a:lnTo>
                    <a:pt x="17" y="352"/>
                  </a:lnTo>
                  <a:lnTo>
                    <a:pt x="21" y="349"/>
                  </a:lnTo>
                  <a:lnTo>
                    <a:pt x="24" y="348"/>
                  </a:lnTo>
                  <a:lnTo>
                    <a:pt x="27" y="346"/>
                  </a:lnTo>
                  <a:lnTo>
                    <a:pt x="30" y="344"/>
                  </a:lnTo>
                  <a:lnTo>
                    <a:pt x="29" y="343"/>
                  </a:lnTo>
                  <a:lnTo>
                    <a:pt x="29" y="340"/>
                  </a:lnTo>
                  <a:lnTo>
                    <a:pt x="32" y="336"/>
                  </a:lnTo>
                  <a:lnTo>
                    <a:pt x="32" y="332"/>
                  </a:lnTo>
                  <a:lnTo>
                    <a:pt x="33" y="332"/>
                  </a:lnTo>
                  <a:lnTo>
                    <a:pt x="35" y="330"/>
                  </a:lnTo>
                  <a:lnTo>
                    <a:pt x="40" y="325"/>
                  </a:lnTo>
                  <a:lnTo>
                    <a:pt x="40" y="321"/>
                  </a:lnTo>
                  <a:lnTo>
                    <a:pt x="40" y="316"/>
                  </a:lnTo>
                  <a:lnTo>
                    <a:pt x="37" y="311"/>
                  </a:lnTo>
                  <a:lnTo>
                    <a:pt x="38" y="309"/>
                  </a:lnTo>
                  <a:lnTo>
                    <a:pt x="41" y="306"/>
                  </a:lnTo>
                  <a:lnTo>
                    <a:pt x="44" y="303"/>
                  </a:lnTo>
                  <a:lnTo>
                    <a:pt x="48" y="303"/>
                  </a:lnTo>
                  <a:lnTo>
                    <a:pt x="51" y="305"/>
                  </a:lnTo>
                  <a:lnTo>
                    <a:pt x="54" y="305"/>
                  </a:lnTo>
                  <a:lnTo>
                    <a:pt x="60" y="302"/>
                  </a:lnTo>
                  <a:lnTo>
                    <a:pt x="65" y="302"/>
                  </a:lnTo>
                  <a:lnTo>
                    <a:pt x="70" y="302"/>
                  </a:lnTo>
                  <a:lnTo>
                    <a:pt x="76" y="303"/>
                  </a:lnTo>
                  <a:lnTo>
                    <a:pt x="75" y="260"/>
                  </a:lnTo>
                  <a:lnTo>
                    <a:pt x="75" y="216"/>
                  </a:lnTo>
                  <a:lnTo>
                    <a:pt x="73" y="171"/>
                  </a:lnTo>
                  <a:lnTo>
                    <a:pt x="71" y="129"/>
                  </a:lnTo>
                  <a:lnTo>
                    <a:pt x="108" y="129"/>
                  </a:lnTo>
                  <a:lnTo>
                    <a:pt x="108" y="108"/>
                  </a:lnTo>
                  <a:lnTo>
                    <a:pt x="106" y="87"/>
                  </a:lnTo>
                  <a:lnTo>
                    <a:pt x="106" y="67"/>
                  </a:lnTo>
                  <a:lnTo>
                    <a:pt x="106" y="46"/>
                  </a:lnTo>
                  <a:lnTo>
                    <a:pt x="138" y="46"/>
                  </a:lnTo>
                  <a:lnTo>
                    <a:pt x="170" y="46"/>
                  </a:lnTo>
                  <a:lnTo>
                    <a:pt x="201" y="46"/>
                  </a:lnTo>
                  <a:lnTo>
                    <a:pt x="233" y="46"/>
                  </a:lnTo>
                  <a:lnTo>
                    <a:pt x="246" y="46"/>
                  </a:lnTo>
                  <a:lnTo>
                    <a:pt x="260" y="46"/>
                  </a:lnTo>
                  <a:lnTo>
                    <a:pt x="273" y="46"/>
                  </a:lnTo>
                  <a:lnTo>
                    <a:pt x="286" y="46"/>
                  </a:lnTo>
                  <a:lnTo>
                    <a:pt x="300" y="46"/>
                  </a:lnTo>
                  <a:lnTo>
                    <a:pt x="314" y="46"/>
                  </a:lnTo>
                  <a:lnTo>
                    <a:pt x="325" y="46"/>
                  </a:lnTo>
                  <a:lnTo>
                    <a:pt x="328" y="45"/>
                  </a:lnTo>
                  <a:lnTo>
                    <a:pt x="328" y="43"/>
                  </a:lnTo>
                  <a:lnTo>
                    <a:pt x="330" y="41"/>
                  </a:lnTo>
                  <a:lnTo>
                    <a:pt x="332" y="38"/>
                  </a:lnTo>
                  <a:lnTo>
                    <a:pt x="335" y="37"/>
                  </a:lnTo>
                  <a:lnTo>
                    <a:pt x="335" y="38"/>
                  </a:lnTo>
                  <a:lnTo>
                    <a:pt x="336" y="38"/>
                  </a:lnTo>
                  <a:lnTo>
                    <a:pt x="335" y="41"/>
                  </a:lnTo>
                  <a:lnTo>
                    <a:pt x="335" y="46"/>
                  </a:lnTo>
                  <a:lnTo>
                    <a:pt x="346" y="46"/>
                  </a:lnTo>
                  <a:lnTo>
                    <a:pt x="357" y="46"/>
                  </a:lnTo>
                  <a:lnTo>
                    <a:pt x="370" y="46"/>
                  </a:lnTo>
                  <a:lnTo>
                    <a:pt x="382" y="46"/>
                  </a:lnTo>
                  <a:lnTo>
                    <a:pt x="395" y="46"/>
                  </a:lnTo>
                  <a:lnTo>
                    <a:pt x="398" y="49"/>
                  </a:lnTo>
                  <a:lnTo>
                    <a:pt x="406" y="56"/>
                  </a:lnTo>
                  <a:lnTo>
                    <a:pt x="409" y="57"/>
                  </a:lnTo>
                  <a:lnTo>
                    <a:pt x="414" y="57"/>
                  </a:lnTo>
                  <a:lnTo>
                    <a:pt x="424" y="56"/>
                  </a:lnTo>
                  <a:lnTo>
                    <a:pt x="425" y="53"/>
                  </a:lnTo>
                  <a:lnTo>
                    <a:pt x="427" y="49"/>
                  </a:lnTo>
                  <a:lnTo>
                    <a:pt x="427" y="46"/>
                  </a:lnTo>
                  <a:lnTo>
                    <a:pt x="428" y="43"/>
                  </a:lnTo>
                  <a:lnTo>
                    <a:pt x="430" y="38"/>
                  </a:lnTo>
                  <a:lnTo>
                    <a:pt x="431" y="38"/>
                  </a:lnTo>
                  <a:lnTo>
                    <a:pt x="435" y="37"/>
                  </a:lnTo>
                  <a:lnTo>
                    <a:pt x="438" y="37"/>
                  </a:lnTo>
                  <a:lnTo>
                    <a:pt x="443" y="35"/>
                  </a:lnTo>
                  <a:lnTo>
                    <a:pt x="446" y="35"/>
                  </a:lnTo>
                  <a:lnTo>
                    <a:pt x="449" y="32"/>
                  </a:lnTo>
                  <a:lnTo>
                    <a:pt x="450" y="29"/>
                  </a:lnTo>
                  <a:lnTo>
                    <a:pt x="452" y="24"/>
                  </a:lnTo>
                  <a:lnTo>
                    <a:pt x="454" y="21"/>
                  </a:lnTo>
                  <a:lnTo>
                    <a:pt x="454" y="21"/>
                  </a:lnTo>
                  <a:lnTo>
                    <a:pt x="455" y="18"/>
                  </a:lnTo>
                  <a:lnTo>
                    <a:pt x="457" y="13"/>
                  </a:lnTo>
                  <a:lnTo>
                    <a:pt x="458" y="11"/>
                  </a:lnTo>
                  <a:lnTo>
                    <a:pt x="462" y="13"/>
                  </a:lnTo>
                  <a:lnTo>
                    <a:pt x="465" y="14"/>
                  </a:lnTo>
                  <a:lnTo>
                    <a:pt x="473" y="8"/>
                  </a:lnTo>
                  <a:lnTo>
                    <a:pt x="479" y="0"/>
                  </a:lnTo>
                  <a:lnTo>
                    <a:pt x="482" y="8"/>
                  </a:lnTo>
                  <a:lnTo>
                    <a:pt x="487" y="14"/>
                  </a:lnTo>
                  <a:lnTo>
                    <a:pt x="493" y="18"/>
                  </a:lnTo>
                  <a:lnTo>
                    <a:pt x="501" y="21"/>
                  </a:lnTo>
                  <a:lnTo>
                    <a:pt x="504" y="24"/>
                  </a:lnTo>
                  <a:lnTo>
                    <a:pt x="508" y="27"/>
                  </a:lnTo>
                  <a:lnTo>
                    <a:pt x="509" y="32"/>
                  </a:lnTo>
                  <a:lnTo>
                    <a:pt x="512" y="34"/>
                  </a:lnTo>
                  <a:lnTo>
                    <a:pt x="515" y="37"/>
                  </a:lnTo>
                  <a:lnTo>
                    <a:pt x="520" y="40"/>
                  </a:lnTo>
                  <a:lnTo>
                    <a:pt x="523" y="41"/>
                  </a:lnTo>
                  <a:lnTo>
                    <a:pt x="527" y="45"/>
                  </a:lnTo>
                  <a:lnTo>
                    <a:pt x="527" y="54"/>
                  </a:lnTo>
                  <a:lnTo>
                    <a:pt x="528" y="64"/>
                  </a:lnTo>
                  <a:lnTo>
                    <a:pt x="530" y="67"/>
                  </a:lnTo>
                  <a:lnTo>
                    <a:pt x="531" y="70"/>
                  </a:lnTo>
                  <a:lnTo>
                    <a:pt x="535" y="75"/>
                  </a:lnTo>
                  <a:lnTo>
                    <a:pt x="538" y="78"/>
                  </a:lnTo>
                  <a:lnTo>
                    <a:pt x="541" y="81"/>
                  </a:lnTo>
                  <a:lnTo>
                    <a:pt x="541" y="84"/>
                  </a:lnTo>
                  <a:lnTo>
                    <a:pt x="539" y="81"/>
                  </a:lnTo>
                  <a:lnTo>
                    <a:pt x="536" y="81"/>
                  </a:lnTo>
                  <a:lnTo>
                    <a:pt x="535" y="84"/>
                  </a:lnTo>
                  <a:lnTo>
                    <a:pt x="536" y="87"/>
                  </a:lnTo>
                  <a:lnTo>
                    <a:pt x="538" y="92"/>
                  </a:lnTo>
                  <a:lnTo>
                    <a:pt x="538" y="95"/>
                  </a:lnTo>
                  <a:lnTo>
                    <a:pt x="538" y="99"/>
                  </a:lnTo>
                  <a:lnTo>
                    <a:pt x="539" y="102"/>
                  </a:lnTo>
                  <a:lnTo>
                    <a:pt x="541" y="106"/>
                  </a:lnTo>
                  <a:lnTo>
                    <a:pt x="539" y="110"/>
                  </a:lnTo>
                  <a:lnTo>
                    <a:pt x="539" y="113"/>
                  </a:lnTo>
                  <a:lnTo>
                    <a:pt x="539" y="118"/>
                  </a:lnTo>
                  <a:lnTo>
                    <a:pt x="539" y="121"/>
                  </a:lnTo>
                  <a:lnTo>
                    <a:pt x="541" y="124"/>
                  </a:lnTo>
                  <a:lnTo>
                    <a:pt x="539" y="129"/>
                  </a:lnTo>
                  <a:lnTo>
                    <a:pt x="542" y="132"/>
                  </a:lnTo>
                  <a:lnTo>
                    <a:pt x="542" y="135"/>
                  </a:lnTo>
                  <a:lnTo>
                    <a:pt x="544" y="140"/>
                  </a:lnTo>
                  <a:lnTo>
                    <a:pt x="542" y="145"/>
                  </a:lnTo>
                  <a:lnTo>
                    <a:pt x="544" y="148"/>
                  </a:lnTo>
                  <a:lnTo>
                    <a:pt x="544" y="151"/>
                  </a:lnTo>
                  <a:lnTo>
                    <a:pt x="546" y="154"/>
                  </a:lnTo>
                  <a:lnTo>
                    <a:pt x="546" y="159"/>
                  </a:lnTo>
                  <a:lnTo>
                    <a:pt x="547" y="162"/>
                  </a:lnTo>
                  <a:lnTo>
                    <a:pt x="547" y="165"/>
                  </a:lnTo>
                  <a:lnTo>
                    <a:pt x="550" y="168"/>
                  </a:lnTo>
                  <a:lnTo>
                    <a:pt x="550" y="173"/>
                  </a:lnTo>
                  <a:lnTo>
                    <a:pt x="552" y="176"/>
                  </a:lnTo>
                  <a:lnTo>
                    <a:pt x="554" y="179"/>
                  </a:lnTo>
                  <a:lnTo>
                    <a:pt x="558" y="181"/>
                  </a:lnTo>
                  <a:lnTo>
                    <a:pt x="561" y="181"/>
                  </a:lnTo>
                  <a:lnTo>
                    <a:pt x="565" y="184"/>
                  </a:lnTo>
                  <a:lnTo>
                    <a:pt x="571" y="189"/>
                  </a:lnTo>
                  <a:lnTo>
                    <a:pt x="574" y="192"/>
                  </a:lnTo>
                  <a:lnTo>
                    <a:pt x="576" y="195"/>
                  </a:lnTo>
                  <a:lnTo>
                    <a:pt x="579" y="200"/>
                  </a:lnTo>
                  <a:lnTo>
                    <a:pt x="582" y="198"/>
                  </a:lnTo>
                  <a:lnTo>
                    <a:pt x="582" y="202"/>
                  </a:lnTo>
                  <a:lnTo>
                    <a:pt x="587" y="202"/>
                  </a:lnTo>
                  <a:lnTo>
                    <a:pt x="590" y="205"/>
                  </a:lnTo>
                  <a:lnTo>
                    <a:pt x="593" y="208"/>
                  </a:lnTo>
                  <a:lnTo>
                    <a:pt x="593" y="210"/>
                  </a:lnTo>
                  <a:lnTo>
                    <a:pt x="587" y="219"/>
                  </a:lnTo>
                  <a:lnTo>
                    <a:pt x="582" y="225"/>
                  </a:lnTo>
                  <a:lnTo>
                    <a:pt x="579" y="227"/>
                  </a:lnTo>
                  <a:lnTo>
                    <a:pt x="576" y="229"/>
                  </a:lnTo>
                  <a:lnTo>
                    <a:pt x="573" y="230"/>
                  </a:lnTo>
                  <a:lnTo>
                    <a:pt x="569" y="232"/>
                  </a:lnTo>
                  <a:lnTo>
                    <a:pt x="566" y="232"/>
                  </a:lnTo>
                  <a:lnTo>
                    <a:pt x="563" y="235"/>
                  </a:lnTo>
                  <a:lnTo>
                    <a:pt x="560" y="237"/>
                  </a:lnTo>
                  <a:lnTo>
                    <a:pt x="557" y="238"/>
                  </a:lnTo>
                  <a:lnTo>
                    <a:pt x="557" y="238"/>
                  </a:lnTo>
                  <a:lnTo>
                    <a:pt x="557" y="243"/>
                  </a:lnTo>
                  <a:lnTo>
                    <a:pt x="555" y="246"/>
                  </a:lnTo>
                  <a:lnTo>
                    <a:pt x="554" y="249"/>
                  </a:lnTo>
                  <a:lnTo>
                    <a:pt x="554" y="249"/>
                  </a:lnTo>
                  <a:lnTo>
                    <a:pt x="549" y="248"/>
                  </a:lnTo>
                  <a:lnTo>
                    <a:pt x="546" y="249"/>
                  </a:lnTo>
                  <a:lnTo>
                    <a:pt x="542" y="249"/>
                  </a:lnTo>
                  <a:lnTo>
                    <a:pt x="539" y="251"/>
                  </a:lnTo>
                  <a:lnTo>
                    <a:pt x="538" y="262"/>
                  </a:lnTo>
                  <a:lnTo>
                    <a:pt x="536" y="271"/>
                  </a:lnTo>
                  <a:lnTo>
                    <a:pt x="538" y="275"/>
                  </a:lnTo>
                  <a:lnTo>
                    <a:pt x="538" y="279"/>
                  </a:lnTo>
                  <a:lnTo>
                    <a:pt x="536" y="282"/>
                  </a:lnTo>
                  <a:lnTo>
                    <a:pt x="536" y="286"/>
                  </a:lnTo>
                  <a:lnTo>
                    <a:pt x="535" y="289"/>
                  </a:lnTo>
                  <a:lnTo>
                    <a:pt x="533" y="292"/>
                  </a:lnTo>
                  <a:lnTo>
                    <a:pt x="530" y="303"/>
                  </a:lnTo>
                  <a:lnTo>
                    <a:pt x="528" y="314"/>
                  </a:lnTo>
                  <a:lnTo>
                    <a:pt x="525" y="317"/>
                  </a:lnTo>
                  <a:lnTo>
                    <a:pt x="525" y="321"/>
                  </a:lnTo>
                  <a:lnTo>
                    <a:pt x="523" y="324"/>
                  </a:lnTo>
                  <a:lnTo>
                    <a:pt x="520" y="327"/>
                  </a:lnTo>
                  <a:lnTo>
                    <a:pt x="522" y="328"/>
                  </a:lnTo>
                  <a:lnTo>
                    <a:pt x="522" y="332"/>
                  </a:lnTo>
                  <a:lnTo>
                    <a:pt x="522" y="336"/>
                  </a:lnTo>
                  <a:lnTo>
                    <a:pt x="523" y="346"/>
                  </a:lnTo>
                  <a:lnTo>
                    <a:pt x="525" y="357"/>
                  </a:lnTo>
                  <a:lnTo>
                    <a:pt x="525" y="360"/>
                  </a:lnTo>
                  <a:lnTo>
                    <a:pt x="525" y="363"/>
                  </a:lnTo>
                  <a:lnTo>
                    <a:pt x="525" y="365"/>
                  </a:lnTo>
                  <a:lnTo>
                    <a:pt x="523" y="368"/>
                  </a:lnTo>
                  <a:lnTo>
                    <a:pt x="523" y="373"/>
                  </a:lnTo>
                  <a:lnTo>
                    <a:pt x="523" y="376"/>
                  </a:lnTo>
                  <a:lnTo>
                    <a:pt x="523" y="381"/>
                  </a:lnTo>
                  <a:lnTo>
                    <a:pt x="522" y="384"/>
                  </a:lnTo>
                  <a:lnTo>
                    <a:pt x="522" y="387"/>
                  </a:lnTo>
                  <a:lnTo>
                    <a:pt x="522" y="390"/>
                  </a:lnTo>
                  <a:lnTo>
                    <a:pt x="519" y="395"/>
                  </a:lnTo>
                  <a:lnTo>
                    <a:pt x="517" y="398"/>
                  </a:lnTo>
                  <a:lnTo>
                    <a:pt x="515" y="401"/>
                  </a:lnTo>
                  <a:lnTo>
                    <a:pt x="512" y="414"/>
                  </a:lnTo>
                  <a:lnTo>
                    <a:pt x="512" y="425"/>
                  </a:lnTo>
                  <a:lnTo>
                    <a:pt x="512" y="427"/>
                  </a:lnTo>
                  <a:lnTo>
                    <a:pt x="508" y="425"/>
                  </a:lnTo>
                  <a:lnTo>
                    <a:pt x="504" y="427"/>
                  </a:lnTo>
                  <a:lnTo>
                    <a:pt x="496" y="428"/>
                  </a:lnTo>
                  <a:lnTo>
                    <a:pt x="496" y="430"/>
                  </a:lnTo>
                  <a:lnTo>
                    <a:pt x="493" y="433"/>
                  </a:lnTo>
                  <a:lnTo>
                    <a:pt x="490" y="439"/>
                  </a:lnTo>
                  <a:lnTo>
                    <a:pt x="489" y="443"/>
                  </a:lnTo>
                  <a:lnTo>
                    <a:pt x="487" y="447"/>
                  </a:lnTo>
                  <a:lnTo>
                    <a:pt x="485" y="451"/>
                  </a:lnTo>
                  <a:lnTo>
                    <a:pt x="484" y="454"/>
                  </a:lnTo>
                  <a:lnTo>
                    <a:pt x="482" y="457"/>
                  </a:lnTo>
                  <a:lnTo>
                    <a:pt x="481" y="460"/>
                  </a:lnTo>
                  <a:lnTo>
                    <a:pt x="477" y="462"/>
                  </a:lnTo>
                  <a:lnTo>
                    <a:pt x="476" y="465"/>
                  </a:lnTo>
                  <a:lnTo>
                    <a:pt x="476" y="468"/>
                  </a:lnTo>
                  <a:lnTo>
                    <a:pt x="476" y="471"/>
                  </a:lnTo>
                  <a:lnTo>
                    <a:pt x="476" y="474"/>
                  </a:lnTo>
                  <a:lnTo>
                    <a:pt x="474" y="479"/>
                  </a:lnTo>
                  <a:lnTo>
                    <a:pt x="473" y="482"/>
                  </a:lnTo>
                  <a:lnTo>
                    <a:pt x="473" y="485"/>
                  </a:lnTo>
                  <a:lnTo>
                    <a:pt x="473" y="487"/>
                  </a:lnTo>
                  <a:lnTo>
                    <a:pt x="473" y="487"/>
                  </a:lnTo>
                  <a:lnTo>
                    <a:pt x="473" y="490"/>
                  </a:lnTo>
                  <a:lnTo>
                    <a:pt x="473" y="490"/>
                  </a:lnTo>
                  <a:lnTo>
                    <a:pt x="473" y="495"/>
                  </a:lnTo>
                  <a:lnTo>
                    <a:pt x="471" y="498"/>
                  </a:lnTo>
                  <a:lnTo>
                    <a:pt x="473" y="501"/>
                  </a:lnTo>
                  <a:lnTo>
                    <a:pt x="466" y="509"/>
                  </a:lnTo>
                  <a:lnTo>
                    <a:pt x="466" y="508"/>
                  </a:lnTo>
                  <a:lnTo>
                    <a:pt x="463" y="503"/>
                  </a:lnTo>
                  <a:lnTo>
                    <a:pt x="460" y="500"/>
                  </a:lnTo>
                  <a:lnTo>
                    <a:pt x="455" y="503"/>
                  </a:lnTo>
                  <a:lnTo>
                    <a:pt x="452" y="506"/>
                  </a:lnTo>
                  <a:lnTo>
                    <a:pt x="450" y="509"/>
                  </a:lnTo>
                  <a:lnTo>
                    <a:pt x="449" y="514"/>
                  </a:lnTo>
                  <a:lnTo>
                    <a:pt x="449" y="514"/>
                  </a:lnTo>
                  <a:lnTo>
                    <a:pt x="449" y="514"/>
                  </a:lnTo>
                  <a:lnTo>
                    <a:pt x="449" y="519"/>
                  </a:lnTo>
                  <a:lnTo>
                    <a:pt x="450" y="522"/>
                  </a:lnTo>
                  <a:lnTo>
                    <a:pt x="450" y="525"/>
                  </a:lnTo>
                  <a:lnTo>
                    <a:pt x="450" y="530"/>
                  </a:lnTo>
                  <a:lnTo>
                    <a:pt x="449" y="533"/>
                  </a:lnTo>
                  <a:lnTo>
                    <a:pt x="446" y="536"/>
                  </a:lnTo>
                  <a:lnTo>
                    <a:pt x="444" y="544"/>
                  </a:lnTo>
                  <a:lnTo>
                    <a:pt x="443" y="552"/>
                  </a:lnTo>
                  <a:lnTo>
                    <a:pt x="443" y="566"/>
                  </a:lnTo>
                  <a:lnTo>
                    <a:pt x="444" y="581"/>
                  </a:lnTo>
                  <a:lnTo>
                    <a:pt x="444" y="584"/>
                  </a:lnTo>
                  <a:lnTo>
                    <a:pt x="444" y="587"/>
                  </a:lnTo>
                  <a:lnTo>
                    <a:pt x="444" y="595"/>
                  </a:lnTo>
                  <a:lnTo>
                    <a:pt x="443" y="596"/>
                  </a:lnTo>
                  <a:lnTo>
                    <a:pt x="439" y="600"/>
                  </a:lnTo>
                  <a:lnTo>
                    <a:pt x="436" y="601"/>
                  </a:lnTo>
                  <a:lnTo>
                    <a:pt x="431" y="603"/>
                  </a:lnTo>
                  <a:lnTo>
                    <a:pt x="431" y="603"/>
                  </a:lnTo>
                  <a:lnTo>
                    <a:pt x="428" y="601"/>
                  </a:lnTo>
                  <a:lnTo>
                    <a:pt x="424" y="600"/>
                  </a:lnTo>
                  <a:lnTo>
                    <a:pt x="420" y="600"/>
                  </a:lnTo>
                  <a:lnTo>
                    <a:pt x="417" y="601"/>
                  </a:lnTo>
                  <a:lnTo>
                    <a:pt x="414" y="600"/>
                  </a:lnTo>
                  <a:lnTo>
                    <a:pt x="411" y="601"/>
                  </a:lnTo>
                  <a:lnTo>
                    <a:pt x="409" y="603"/>
                  </a:lnTo>
                  <a:lnTo>
                    <a:pt x="409" y="606"/>
                  </a:lnTo>
                  <a:lnTo>
                    <a:pt x="409" y="609"/>
                  </a:lnTo>
                  <a:lnTo>
                    <a:pt x="411" y="612"/>
                  </a:lnTo>
                  <a:lnTo>
                    <a:pt x="408" y="616"/>
                  </a:lnTo>
                  <a:lnTo>
                    <a:pt x="404" y="619"/>
                  </a:lnTo>
                  <a:lnTo>
                    <a:pt x="404" y="620"/>
                  </a:lnTo>
                  <a:lnTo>
                    <a:pt x="403" y="623"/>
                  </a:lnTo>
                  <a:lnTo>
                    <a:pt x="404" y="623"/>
                  </a:lnTo>
                  <a:lnTo>
                    <a:pt x="408" y="628"/>
                  </a:lnTo>
                  <a:lnTo>
                    <a:pt x="411" y="628"/>
                  </a:lnTo>
                  <a:lnTo>
                    <a:pt x="414" y="630"/>
                  </a:lnTo>
                  <a:lnTo>
                    <a:pt x="417" y="630"/>
                  </a:lnTo>
                  <a:lnTo>
                    <a:pt x="422" y="630"/>
                  </a:lnTo>
                  <a:lnTo>
                    <a:pt x="425" y="631"/>
                  </a:lnTo>
                  <a:lnTo>
                    <a:pt x="428" y="633"/>
                  </a:lnTo>
                  <a:lnTo>
                    <a:pt x="431" y="636"/>
                  </a:lnTo>
                  <a:lnTo>
                    <a:pt x="435" y="638"/>
                  </a:lnTo>
                  <a:lnTo>
                    <a:pt x="438" y="641"/>
                  </a:lnTo>
                  <a:lnTo>
                    <a:pt x="441" y="644"/>
                  </a:lnTo>
                  <a:lnTo>
                    <a:pt x="441" y="647"/>
                  </a:lnTo>
                  <a:lnTo>
                    <a:pt x="444" y="652"/>
                  </a:lnTo>
                  <a:lnTo>
                    <a:pt x="447" y="654"/>
                  </a:lnTo>
                  <a:lnTo>
                    <a:pt x="449" y="658"/>
                  </a:lnTo>
                  <a:lnTo>
                    <a:pt x="450" y="661"/>
                  </a:lnTo>
                  <a:lnTo>
                    <a:pt x="455" y="661"/>
                  </a:lnTo>
                  <a:lnTo>
                    <a:pt x="458" y="665"/>
                  </a:lnTo>
                  <a:lnTo>
                    <a:pt x="458" y="668"/>
                  </a:lnTo>
                  <a:lnTo>
                    <a:pt x="462" y="671"/>
                  </a:lnTo>
                  <a:lnTo>
                    <a:pt x="465" y="671"/>
                  </a:lnTo>
                  <a:lnTo>
                    <a:pt x="468" y="676"/>
                  </a:lnTo>
                  <a:lnTo>
                    <a:pt x="468" y="679"/>
                  </a:lnTo>
                  <a:lnTo>
                    <a:pt x="469" y="682"/>
                  </a:lnTo>
                  <a:lnTo>
                    <a:pt x="471" y="685"/>
                  </a:lnTo>
                  <a:lnTo>
                    <a:pt x="471" y="690"/>
                  </a:lnTo>
                  <a:lnTo>
                    <a:pt x="473" y="693"/>
                  </a:lnTo>
                  <a:lnTo>
                    <a:pt x="476" y="696"/>
                  </a:lnTo>
                  <a:lnTo>
                    <a:pt x="476" y="700"/>
                  </a:lnTo>
                  <a:lnTo>
                    <a:pt x="476" y="703"/>
                  </a:lnTo>
                  <a:lnTo>
                    <a:pt x="477" y="706"/>
                  </a:lnTo>
                  <a:lnTo>
                    <a:pt x="479" y="709"/>
                  </a:lnTo>
                  <a:lnTo>
                    <a:pt x="481" y="714"/>
                  </a:lnTo>
                  <a:lnTo>
                    <a:pt x="484" y="717"/>
                  </a:lnTo>
                  <a:lnTo>
                    <a:pt x="487" y="720"/>
                  </a:lnTo>
                  <a:lnTo>
                    <a:pt x="487" y="723"/>
                  </a:lnTo>
                  <a:lnTo>
                    <a:pt x="489" y="727"/>
                  </a:lnTo>
                  <a:lnTo>
                    <a:pt x="493" y="723"/>
                  </a:lnTo>
                  <a:lnTo>
                    <a:pt x="496" y="723"/>
                  </a:lnTo>
                  <a:lnTo>
                    <a:pt x="500" y="727"/>
                  </a:lnTo>
                  <a:lnTo>
                    <a:pt x="503" y="727"/>
                  </a:lnTo>
                  <a:lnTo>
                    <a:pt x="506" y="728"/>
                  </a:lnTo>
                  <a:lnTo>
                    <a:pt x="506" y="731"/>
                  </a:lnTo>
                  <a:lnTo>
                    <a:pt x="508" y="734"/>
                  </a:lnTo>
                  <a:lnTo>
                    <a:pt x="506" y="738"/>
                  </a:lnTo>
                  <a:lnTo>
                    <a:pt x="506" y="741"/>
                  </a:lnTo>
                  <a:lnTo>
                    <a:pt x="506" y="747"/>
                  </a:lnTo>
                  <a:lnTo>
                    <a:pt x="506" y="750"/>
                  </a:lnTo>
                  <a:lnTo>
                    <a:pt x="508" y="752"/>
                  </a:lnTo>
                  <a:lnTo>
                    <a:pt x="511" y="757"/>
                  </a:lnTo>
                  <a:lnTo>
                    <a:pt x="490" y="757"/>
                  </a:lnTo>
                  <a:lnTo>
                    <a:pt x="469" y="757"/>
                  </a:lnTo>
                  <a:lnTo>
                    <a:pt x="460" y="757"/>
                  </a:lnTo>
                  <a:lnTo>
                    <a:pt x="457" y="757"/>
                  </a:lnTo>
                  <a:lnTo>
                    <a:pt x="454" y="760"/>
                  </a:lnTo>
                  <a:lnTo>
                    <a:pt x="447" y="766"/>
                  </a:lnTo>
                  <a:lnTo>
                    <a:pt x="436" y="779"/>
                  </a:lnTo>
                  <a:lnTo>
                    <a:pt x="424" y="793"/>
                  </a:lnTo>
                  <a:lnTo>
                    <a:pt x="422" y="792"/>
                  </a:lnTo>
                  <a:lnTo>
                    <a:pt x="419" y="792"/>
                  </a:lnTo>
                  <a:lnTo>
                    <a:pt x="416" y="792"/>
                  </a:lnTo>
                  <a:lnTo>
                    <a:pt x="412" y="792"/>
                  </a:lnTo>
                  <a:lnTo>
                    <a:pt x="412" y="792"/>
                  </a:lnTo>
                  <a:lnTo>
                    <a:pt x="408" y="788"/>
                  </a:lnTo>
                  <a:lnTo>
                    <a:pt x="404" y="788"/>
                  </a:lnTo>
                  <a:lnTo>
                    <a:pt x="401" y="790"/>
                  </a:lnTo>
                  <a:lnTo>
                    <a:pt x="398" y="792"/>
                  </a:lnTo>
                  <a:lnTo>
                    <a:pt x="393" y="792"/>
                  </a:lnTo>
                  <a:lnTo>
                    <a:pt x="390" y="793"/>
                  </a:lnTo>
                  <a:lnTo>
                    <a:pt x="387" y="793"/>
                  </a:lnTo>
                  <a:lnTo>
                    <a:pt x="384" y="793"/>
                  </a:lnTo>
                  <a:lnTo>
                    <a:pt x="381" y="796"/>
                  </a:lnTo>
                  <a:lnTo>
                    <a:pt x="376" y="798"/>
                  </a:lnTo>
                  <a:lnTo>
                    <a:pt x="376" y="803"/>
                  </a:lnTo>
                  <a:lnTo>
                    <a:pt x="376" y="803"/>
                  </a:lnTo>
                  <a:lnTo>
                    <a:pt x="371" y="799"/>
                  </a:lnTo>
                  <a:lnTo>
                    <a:pt x="371" y="799"/>
                  </a:lnTo>
                  <a:lnTo>
                    <a:pt x="371" y="799"/>
                  </a:lnTo>
                  <a:lnTo>
                    <a:pt x="368" y="798"/>
                  </a:lnTo>
                  <a:lnTo>
                    <a:pt x="366" y="795"/>
                  </a:lnTo>
                  <a:lnTo>
                    <a:pt x="365" y="792"/>
                  </a:lnTo>
                  <a:lnTo>
                    <a:pt x="362" y="792"/>
                  </a:lnTo>
                  <a:lnTo>
                    <a:pt x="357" y="795"/>
                  </a:lnTo>
                  <a:lnTo>
                    <a:pt x="357" y="795"/>
                  </a:lnTo>
                  <a:lnTo>
                    <a:pt x="352" y="796"/>
                  </a:lnTo>
                  <a:lnTo>
                    <a:pt x="349" y="793"/>
                  </a:lnTo>
                  <a:lnTo>
                    <a:pt x="344" y="792"/>
                  </a:lnTo>
                  <a:lnTo>
                    <a:pt x="341" y="792"/>
                  </a:lnTo>
                  <a:lnTo>
                    <a:pt x="338" y="792"/>
                  </a:lnTo>
                  <a:lnTo>
                    <a:pt x="333" y="795"/>
                  </a:lnTo>
                  <a:lnTo>
                    <a:pt x="328" y="803"/>
                  </a:lnTo>
                  <a:lnTo>
                    <a:pt x="328" y="801"/>
                  </a:lnTo>
                  <a:lnTo>
                    <a:pt x="325" y="798"/>
                  </a:lnTo>
                  <a:lnTo>
                    <a:pt x="322" y="796"/>
                  </a:lnTo>
                  <a:lnTo>
                    <a:pt x="319" y="798"/>
                  </a:lnTo>
                  <a:lnTo>
                    <a:pt x="317" y="798"/>
                  </a:lnTo>
                  <a:lnTo>
                    <a:pt x="319" y="795"/>
                  </a:lnTo>
                  <a:lnTo>
                    <a:pt x="317" y="792"/>
                  </a:lnTo>
                  <a:lnTo>
                    <a:pt x="317" y="787"/>
                  </a:lnTo>
                  <a:lnTo>
                    <a:pt x="314" y="787"/>
                  </a:lnTo>
                  <a:lnTo>
                    <a:pt x="309" y="785"/>
                  </a:lnTo>
                  <a:lnTo>
                    <a:pt x="308" y="784"/>
                  </a:lnTo>
                  <a:lnTo>
                    <a:pt x="305" y="782"/>
                  </a:lnTo>
                  <a:lnTo>
                    <a:pt x="303" y="779"/>
                  </a:lnTo>
                  <a:lnTo>
                    <a:pt x="298" y="776"/>
                  </a:lnTo>
                  <a:lnTo>
                    <a:pt x="297" y="772"/>
                  </a:lnTo>
                  <a:lnTo>
                    <a:pt x="295" y="771"/>
                  </a:lnTo>
                  <a:lnTo>
                    <a:pt x="293" y="768"/>
                  </a:lnTo>
                  <a:lnTo>
                    <a:pt x="290" y="766"/>
                  </a:lnTo>
                  <a:lnTo>
                    <a:pt x="290" y="761"/>
                  </a:lnTo>
                  <a:lnTo>
                    <a:pt x="289" y="758"/>
                  </a:lnTo>
                  <a:lnTo>
                    <a:pt x="284" y="757"/>
                  </a:lnTo>
                  <a:lnTo>
                    <a:pt x="281" y="755"/>
                  </a:lnTo>
                  <a:lnTo>
                    <a:pt x="278" y="755"/>
                  </a:lnTo>
                  <a:lnTo>
                    <a:pt x="276" y="760"/>
                  </a:lnTo>
                  <a:lnTo>
                    <a:pt x="274" y="763"/>
                  </a:lnTo>
                  <a:lnTo>
                    <a:pt x="271" y="766"/>
                  </a:lnTo>
                  <a:lnTo>
                    <a:pt x="266" y="766"/>
                  </a:lnTo>
                  <a:lnTo>
                    <a:pt x="263" y="763"/>
                  </a:lnTo>
                  <a:lnTo>
                    <a:pt x="260" y="763"/>
                  </a:lnTo>
                  <a:lnTo>
                    <a:pt x="257" y="763"/>
                  </a:lnTo>
                  <a:lnTo>
                    <a:pt x="254" y="760"/>
                  </a:lnTo>
                  <a:lnTo>
                    <a:pt x="249" y="761"/>
                  </a:lnTo>
                  <a:lnTo>
                    <a:pt x="246" y="765"/>
                  </a:lnTo>
                  <a:lnTo>
                    <a:pt x="243" y="768"/>
                  </a:lnTo>
                  <a:lnTo>
                    <a:pt x="240" y="771"/>
                  </a:lnTo>
                  <a:lnTo>
                    <a:pt x="240" y="771"/>
                  </a:lnTo>
                  <a:lnTo>
                    <a:pt x="235" y="768"/>
                  </a:lnTo>
                  <a:lnTo>
                    <a:pt x="232" y="768"/>
                  </a:lnTo>
                  <a:lnTo>
                    <a:pt x="230" y="765"/>
                  </a:lnTo>
                  <a:lnTo>
                    <a:pt x="225" y="763"/>
                  </a:lnTo>
                  <a:lnTo>
                    <a:pt x="224" y="760"/>
                  </a:lnTo>
                  <a:lnTo>
                    <a:pt x="220" y="760"/>
                  </a:lnTo>
                  <a:lnTo>
                    <a:pt x="217" y="757"/>
                  </a:lnTo>
                  <a:lnTo>
                    <a:pt x="217" y="753"/>
                  </a:lnTo>
                  <a:lnTo>
                    <a:pt x="214" y="750"/>
                  </a:lnTo>
                  <a:lnTo>
                    <a:pt x="214" y="749"/>
                  </a:lnTo>
                  <a:lnTo>
                    <a:pt x="213" y="746"/>
                  </a:lnTo>
                  <a:lnTo>
                    <a:pt x="209" y="746"/>
                  </a:lnTo>
                  <a:lnTo>
                    <a:pt x="206" y="741"/>
                  </a:lnTo>
                  <a:lnTo>
                    <a:pt x="205" y="741"/>
                  </a:lnTo>
                  <a:lnTo>
                    <a:pt x="205" y="739"/>
                  </a:lnTo>
                  <a:lnTo>
                    <a:pt x="203" y="734"/>
                  </a:lnTo>
                  <a:lnTo>
                    <a:pt x="200" y="731"/>
                  </a:lnTo>
                  <a:lnTo>
                    <a:pt x="198" y="728"/>
                  </a:lnTo>
                  <a:lnTo>
                    <a:pt x="197" y="725"/>
                  </a:lnTo>
                  <a:lnTo>
                    <a:pt x="197" y="723"/>
                  </a:lnTo>
                  <a:lnTo>
                    <a:pt x="198" y="720"/>
                  </a:lnTo>
                  <a:lnTo>
                    <a:pt x="197" y="717"/>
                  </a:lnTo>
                  <a:lnTo>
                    <a:pt x="195" y="712"/>
                  </a:lnTo>
                  <a:lnTo>
                    <a:pt x="192" y="709"/>
                  </a:lnTo>
                  <a:lnTo>
                    <a:pt x="189" y="707"/>
                  </a:lnTo>
                  <a:lnTo>
                    <a:pt x="186" y="704"/>
                  </a:lnTo>
                  <a:lnTo>
                    <a:pt x="182" y="704"/>
                  </a:lnTo>
                  <a:lnTo>
                    <a:pt x="179" y="700"/>
                  </a:lnTo>
                  <a:lnTo>
                    <a:pt x="179" y="700"/>
                  </a:lnTo>
                  <a:lnTo>
                    <a:pt x="176" y="700"/>
                  </a:lnTo>
                  <a:lnTo>
                    <a:pt x="171" y="698"/>
                  </a:lnTo>
                  <a:lnTo>
                    <a:pt x="170" y="695"/>
                  </a:lnTo>
                  <a:lnTo>
                    <a:pt x="171" y="692"/>
                  </a:lnTo>
                  <a:lnTo>
                    <a:pt x="167" y="688"/>
                  </a:lnTo>
                  <a:lnTo>
                    <a:pt x="163" y="685"/>
                  </a:lnTo>
                  <a:lnTo>
                    <a:pt x="163" y="682"/>
                  </a:lnTo>
                  <a:lnTo>
                    <a:pt x="165" y="677"/>
                  </a:lnTo>
                  <a:lnTo>
                    <a:pt x="167" y="674"/>
                  </a:lnTo>
                  <a:lnTo>
                    <a:pt x="163" y="671"/>
                  </a:lnTo>
                  <a:lnTo>
                    <a:pt x="159" y="669"/>
                  </a:lnTo>
                  <a:lnTo>
                    <a:pt x="155" y="665"/>
                  </a:lnTo>
                  <a:lnTo>
                    <a:pt x="154" y="660"/>
                  </a:lnTo>
                  <a:lnTo>
                    <a:pt x="144" y="654"/>
                  </a:lnTo>
                  <a:lnTo>
                    <a:pt x="135" y="649"/>
                  </a:lnTo>
                  <a:lnTo>
                    <a:pt x="132" y="647"/>
                  </a:lnTo>
                  <a:lnTo>
                    <a:pt x="129" y="644"/>
                  </a:lnTo>
                  <a:lnTo>
                    <a:pt x="127" y="641"/>
                  </a:lnTo>
                  <a:lnTo>
                    <a:pt x="124" y="639"/>
                  </a:lnTo>
                  <a:lnTo>
                    <a:pt x="122" y="635"/>
                  </a:lnTo>
                  <a:lnTo>
                    <a:pt x="125" y="633"/>
                  </a:lnTo>
                  <a:lnTo>
                    <a:pt x="125" y="630"/>
                  </a:lnTo>
                  <a:lnTo>
                    <a:pt x="125" y="627"/>
                  </a:lnTo>
                  <a:lnTo>
                    <a:pt x="122" y="623"/>
                  </a:lnTo>
                  <a:lnTo>
                    <a:pt x="119" y="623"/>
                  </a:lnTo>
                  <a:lnTo>
                    <a:pt x="116" y="620"/>
                  </a:lnTo>
                  <a:lnTo>
                    <a:pt x="114" y="619"/>
                  </a:lnTo>
                  <a:lnTo>
                    <a:pt x="114" y="616"/>
                  </a:lnTo>
                  <a:lnTo>
                    <a:pt x="109" y="612"/>
                  </a:lnTo>
                  <a:lnTo>
                    <a:pt x="109" y="611"/>
                  </a:lnTo>
                  <a:lnTo>
                    <a:pt x="106" y="611"/>
                  </a:lnTo>
                  <a:lnTo>
                    <a:pt x="103" y="609"/>
                  </a:lnTo>
                  <a:lnTo>
                    <a:pt x="100" y="611"/>
                  </a:lnTo>
                  <a:lnTo>
                    <a:pt x="95" y="608"/>
                  </a:lnTo>
                  <a:lnTo>
                    <a:pt x="92" y="608"/>
                  </a:lnTo>
                  <a:lnTo>
                    <a:pt x="89" y="608"/>
                  </a:lnTo>
                  <a:lnTo>
                    <a:pt x="86" y="604"/>
                  </a:lnTo>
                  <a:lnTo>
                    <a:pt x="86" y="601"/>
                  </a:lnTo>
                  <a:lnTo>
                    <a:pt x="87" y="596"/>
                  </a:lnTo>
                  <a:lnTo>
                    <a:pt x="87" y="593"/>
                  </a:lnTo>
                  <a:lnTo>
                    <a:pt x="86" y="590"/>
                  </a:lnTo>
                  <a:lnTo>
                    <a:pt x="83" y="590"/>
                  </a:lnTo>
                  <a:lnTo>
                    <a:pt x="79" y="590"/>
                  </a:lnTo>
                  <a:lnTo>
                    <a:pt x="76" y="589"/>
                  </a:lnTo>
                  <a:lnTo>
                    <a:pt x="73" y="589"/>
                  </a:lnTo>
                  <a:lnTo>
                    <a:pt x="68" y="589"/>
                  </a:lnTo>
                  <a:lnTo>
                    <a:pt x="62" y="589"/>
                  </a:lnTo>
                  <a:lnTo>
                    <a:pt x="63" y="584"/>
                  </a:lnTo>
                  <a:lnTo>
                    <a:pt x="63" y="581"/>
                  </a:lnTo>
                  <a:lnTo>
                    <a:pt x="63" y="577"/>
                  </a:lnTo>
                  <a:lnTo>
                    <a:pt x="60" y="579"/>
                  </a:lnTo>
                  <a:lnTo>
                    <a:pt x="60" y="576"/>
                  </a:lnTo>
                  <a:lnTo>
                    <a:pt x="60" y="573"/>
                  </a:lnTo>
                  <a:lnTo>
                    <a:pt x="60" y="571"/>
                  </a:lnTo>
                  <a:lnTo>
                    <a:pt x="65" y="570"/>
                  </a:lnTo>
                  <a:lnTo>
                    <a:pt x="67" y="565"/>
                  </a:lnTo>
                  <a:lnTo>
                    <a:pt x="67" y="562"/>
                  </a:lnTo>
                  <a:lnTo>
                    <a:pt x="65" y="558"/>
                  </a:lnTo>
                  <a:lnTo>
                    <a:pt x="68" y="550"/>
                  </a:lnTo>
                  <a:lnTo>
                    <a:pt x="67" y="544"/>
                  </a:lnTo>
                  <a:lnTo>
                    <a:pt x="65" y="539"/>
                  </a:lnTo>
                  <a:lnTo>
                    <a:pt x="62" y="531"/>
                  </a:lnTo>
                  <a:lnTo>
                    <a:pt x="57" y="524"/>
                  </a:lnTo>
                  <a:lnTo>
                    <a:pt x="54" y="519"/>
                  </a:lnTo>
                  <a:lnTo>
                    <a:pt x="49" y="514"/>
                  </a:lnTo>
                  <a:lnTo>
                    <a:pt x="41" y="506"/>
                  </a:lnTo>
                  <a:lnTo>
                    <a:pt x="40" y="493"/>
                  </a:lnTo>
                  <a:lnTo>
                    <a:pt x="38" y="479"/>
                  </a:lnTo>
                  <a:lnTo>
                    <a:pt x="35" y="479"/>
                  </a:lnTo>
                  <a:lnTo>
                    <a:pt x="32" y="476"/>
                  </a:lnTo>
                  <a:lnTo>
                    <a:pt x="27" y="473"/>
                  </a:lnTo>
                  <a:lnTo>
                    <a:pt x="25" y="470"/>
                  </a:lnTo>
                  <a:lnTo>
                    <a:pt x="27" y="466"/>
                  </a:lnTo>
                  <a:lnTo>
                    <a:pt x="27" y="462"/>
                  </a:lnTo>
                  <a:lnTo>
                    <a:pt x="27" y="459"/>
                  </a:lnTo>
                  <a:lnTo>
                    <a:pt x="29" y="455"/>
                  </a:lnTo>
                  <a:lnTo>
                    <a:pt x="27" y="452"/>
                  </a:lnTo>
                  <a:lnTo>
                    <a:pt x="22" y="454"/>
                  </a:lnTo>
                  <a:lnTo>
                    <a:pt x="24" y="451"/>
                  </a:lnTo>
                  <a:lnTo>
                    <a:pt x="24" y="447"/>
                  </a:lnTo>
                  <a:lnTo>
                    <a:pt x="22" y="444"/>
                  </a:lnTo>
                  <a:lnTo>
                    <a:pt x="22" y="439"/>
                  </a:lnTo>
                  <a:lnTo>
                    <a:pt x="19" y="436"/>
                  </a:lnTo>
                  <a:lnTo>
                    <a:pt x="21" y="433"/>
                  </a:lnTo>
                  <a:lnTo>
                    <a:pt x="22" y="430"/>
                  </a:lnTo>
                  <a:lnTo>
                    <a:pt x="19" y="428"/>
                  </a:lnTo>
                  <a:lnTo>
                    <a:pt x="16" y="425"/>
                  </a:lnTo>
                  <a:lnTo>
                    <a:pt x="10" y="428"/>
                  </a:lnTo>
                  <a:lnTo>
                    <a:pt x="6" y="430"/>
                  </a:lnTo>
                  <a:lnTo>
                    <a:pt x="3" y="427"/>
                  </a:lnTo>
                  <a:lnTo>
                    <a:pt x="0" y="42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79" name="Freeform 444"/>
            <p:cNvSpPr>
              <a:spLocks/>
            </p:cNvSpPr>
            <p:nvPr/>
          </p:nvSpPr>
          <p:spPr bwMode="auto">
            <a:xfrm>
              <a:off x="5750213" y="4449830"/>
              <a:ext cx="345535" cy="302945"/>
            </a:xfrm>
            <a:custGeom>
              <a:avLst/>
              <a:gdLst>
                <a:gd name="T0" fmla="*/ 14 w 471"/>
                <a:gd name="T1" fmla="*/ 191 h 358"/>
                <a:gd name="T2" fmla="*/ 25 w 471"/>
                <a:gd name="T3" fmla="*/ 169 h 358"/>
                <a:gd name="T4" fmla="*/ 36 w 471"/>
                <a:gd name="T5" fmla="*/ 147 h 358"/>
                <a:gd name="T6" fmla="*/ 55 w 471"/>
                <a:gd name="T7" fmla="*/ 142 h 358"/>
                <a:gd name="T8" fmla="*/ 76 w 471"/>
                <a:gd name="T9" fmla="*/ 128 h 358"/>
                <a:gd name="T10" fmla="*/ 88 w 471"/>
                <a:gd name="T11" fmla="*/ 138 h 358"/>
                <a:gd name="T12" fmla="*/ 119 w 471"/>
                <a:gd name="T13" fmla="*/ 122 h 358"/>
                <a:gd name="T14" fmla="*/ 152 w 471"/>
                <a:gd name="T15" fmla="*/ 115 h 358"/>
                <a:gd name="T16" fmla="*/ 169 w 471"/>
                <a:gd name="T17" fmla="*/ 95 h 358"/>
                <a:gd name="T18" fmla="*/ 169 w 471"/>
                <a:gd name="T19" fmla="*/ 80 h 358"/>
                <a:gd name="T20" fmla="*/ 188 w 471"/>
                <a:gd name="T21" fmla="*/ 80 h 358"/>
                <a:gd name="T22" fmla="*/ 218 w 471"/>
                <a:gd name="T23" fmla="*/ 69 h 358"/>
                <a:gd name="T24" fmla="*/ 244 w 471"/>
                <a:gd name="T25" fmla="*/ 44 h 358"/>
                <a:gd name="T26" fmla="*/ 261 w 471"/>
                <a:gd name="T27" fmla="*/ 28 h 358"/>
                <a:gd name="T28" fmla="*/ 272 w 471"/>
                <a:gd name="T29" fmla="*/ 9 h 358"/>
                <a:gd name="T30" fmla="*/ 304 w 471"/>
                <a:gd name="T31" fmla="*/ 3 h 358"/>
                <a:gd name="T32" fmla="*/ 328 w 471"/>
                <a:gd name="T33" fmla="*/ 34 h 358"/>
                <a:gd name="T34" fmla="*/ 333 w 471"/>
                <a:gd name="T35" fmla="*/ 57 h 358"/>
                <a:gd name="T36" fmla="*/ 326 w 471"/>
                <a:gd name="T37" fmla="*/ 79 h 358"/>
                <a:gd name="T38" fmla="*/ 339 w 471"/>
                <a:gd name="T39" fmla="*/ 92 h 358"/>
                <a:gd name="T40" fmla="*/ 352 w 471"/>
                <a:gd name="T41" fmla="*/ 104 h 358"/>
                <a:gd name="T42" fmla="*/ 372 w 471"/>
                <a:gd name="T43" fmla="*/ 114 h 358"/>
                <a:gd name="T44" fmla="*/ 388 w 471"/>
                <a:gd name="T45" fmla="*/ 126 h 358"/>
                <a:gd name="T46" fmla="*/ 395 w 471"/>
                <a:gd name="T47" fmla="*/ 147 h 358"/>
                <a:gd name="T48" fmla="*/ 429 w 471"/>
                <a:gd name="T49" fmla="*/ 174 h 358"/>
                <a:gd name="T50" fmla="*/ 436 w 471"/>
                <a:gd name="T51" fmla="*/ 198 h 358"/>
                <a:gd name="T52" fmla="*/ 455 w 471"/>
                <a:gd name="T53" fmla="*/ 210 h 358"/>
                <a:gd name="T54" fmla="*/ 464 w 471"/>
                <a:gd name="T55" fmla="*/ 231 h 358"/>
                <a:gd name="T56" fmla="*/ 461 w 471"/>
                <a:gd name="T57" fmla="*/ 236 h 358"/>
                <a:gd name="T58" fmla="*/ 437 w 471"/>
                <a:gd name="T59" fmla="*/ 242 h 358"/>
                <a:gd name="T60" fmla="*/ 409 w 471"/>
                <a:gd name="T61" fmla="*/ 234 h 358"/>
                <a:gd name="T62" fmla="*/ 395 w 471"/>
                <a:gd name="T63" fmla="*/ 242 h 358"/>
                <a:gd name="T64" fmla="*/ 382 w 471"/>
                <a:gd name="T65" fmla="*/ 245 h 358"/>
                <a:gd name="T66" fmla="*/ 363 w 471"/>
                <a:gd name="T67" fmla="*/ 241 h 358"/>
                <a:gd name="T68" fmla="*/ 347 w 471"/>
                <a:gd name="T69" fmla="*/ 250 h 358"/>
                <a:gd name="T70" fmla="*/ 325 w 471"/>
                <a:gd name="T71" fmla="*/ 261 h 358"/>
                <a:gd name="T72" fmla="*/ 306 w 471"/>
                <a:gd name="T73" fmla="*/ 255 h 358"/>
                <a:gd name="T74" fmla="*/ 295 w 471"/>
                <a:gd name="T75" fmla="*/ 272 h 358"/>
                <a:gd name="T76" fmla="*/ 279 w 471"/>
                <a:gd name="T77" fmla="*/ 277 h 358"/>
                <a:gd name="T78" fmla="*/ 258 w 471"/>
                <a:gd name="T79" fmla="*/ 275 h 358"/>
                <a:gd name="T80" fmla="*/ 236 w 471"/>
                <a:gd name="T81" fmla="*/ 268 h 358"/>
                <a:gd name="T82" fmla="*/ 217 w 471"/>
                <a:gd name="T83" fmla="*/ 256 h 358"/>
                <a:gd name="T84" fmla="*/ 198 w 471"/>
                <a:gd name="T85" fmla="*/ 244 h 358"/>
                <a:gd name="T86" fmla="*/ 176 w 471"/>
                <a:gd name="T87" fmla="*/ 244 h 358"/>
                <a:gd name="T88" fmla="*/ 163 w 471"/>
                <a:gd name="T89" fmla="*/ 258 h 358"/>
                <a:gd name="T90" fmla="*/ 152 w 471"/>
                <a:gd name="T91" fmla="*/ 275 h 358"/>
                <a:gd name="T92" fmla="*/ 152 w 471"/>
                <a:gd name="T93" fmla="*/ 306 h 358"/>
                <a:gd name="T94" fmla="*/ 136 w 471"/>
                <a:gd name="T95" fmla="*/ 304 h 358"/>
                <a:gd name="T96" fmla="*/ 111 w 471"/>
                <a:gd name="T97" fmla="*/ 296 h 358"/>
                <a:gd name="T98" fmla="*/ 88 w 471"/>
                <a:gd name="T99" fmla="*/ 304 h 358"/>
                <a:gd name="T100" fmla="*/ 76 w 471"/>
                <a:gd name="T101" fmla="*/ 320 h 358"/>
                <a:gd name="T102" fmla="*/ 65 w 471"/>
                <a:gd name="T103" fmla="*/ 356 h 358"/>
                <a:gd name="T104" fmla="*/ 61 w 471"/>
                <a:gd name="T105" fmla="*/ 333 h 358"/>
                <a:gd name="T106" fmla="*/ 44 w 471"/>
                <a:gd name="T107" fmla="*/ 314 h 358"/>
                <a:gd name="T108" fmla="*/ 27 w 471"/>
                <a:gd name="T109" fmla="*/ 291 h 358"/>
                <a:gd name="T110" fmla="*/ 25 w 471"/>
                <a:gd name="T111" fmla="*/ 274 h 358"/>
                <a:gd name="T112" fmla="*/ 11 w 471"/>
                <a:gd name="T113" fmla="*/ 255 h 358"/>
                <a:gd name="T114" fmla="*/ 9 w 471"/>
                <a:gd name="T115" fmla="*/ 236 h 358"/>
                <a:gd name="T116" fmla="*/ 8 w 471"/>
                <a:gd name="T117" fmla="*/ 217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71" h="358">
                  <a:moveTo>
                    <a:pt x="0" y="201"/>
                  </a:moveTo>
                  <a:lnTo>
                    <a:pt x="1" y="201"/>
                  </a:lnTo>
                  <a:lnTo>
                    <a:pt x="1" y="199"/>
                  </a:lnTo>
                  <a:lnTo>
                    <a:pt x="3" y="199"/>
                  </a:lnTo>
                  <a:lnTo>
                    <a:pt x="6" y="195"/>
                  </a:lnTo>
                  <a:lnTo>
                    <a:pt x="9" y="195"/>
                  </a:lnTo>
                  <a:lnTo>
                    <a:pt x="14" y="191"/>
                  </a:lnTo>
                  <a:lnTo>
                    <a:pt x="14" y="188"/>
                  </a:lnTo>
                  <a:lnTo>
                    <a:pt x="17" y="182"/>
                  </a:lnTo>
                  <a:lnTo>
                    <a:pt x="17" y="179"/>
                  </a:lnTo>
                  <a:lnTo>
                    <a:pt x="19" y="176"/>
                  </a:lnTo>
                  <a:lnTo>
                    <a:pt x="22" y="172"/>
                  </a:lnTo>
                  <a:lnTo>
                    <a:pt x="23" y="172"/>
                  </a:lnTo>
                  <a:lnTo>
                    <a:pt x="25" y="169"/>
                  </a:lnTo>
                  <a:lnTo>
                    <a:pt x="27" y="164"/>
                  </a:lnTo>
                  <a:lnTo>
                    <a:pt x="27" y="161"/>
                  </a:lnTo>
                  <a:lnTo>
                    <a:pt x="30" y="158"/>
                  </a:lnTo>
                  <a:lnTo>
                    <a:pt x="30" y="155"/>
                  </a:lnTo>
                  <a:lnTo>
                    <a:pt x="31" y="152"/>
                  </a:lnTo>
                  <a:lnTo>
                    <a:pt x="31" y="150"/>
                  </a:lnTo>
                  <a:lnTo>
                    <a:pt x="36" y="147"/>
                  </a:lnTo>
                  <a:lnTo>
                    <a:pt x="38" y="144"/>
                  </a:lnTo>
                  <a:lnTo>
                    <a:pt x="39" y="141"/>
                  </a:lnTo>
                  <a:lnTo>
                    <a:pt x="41" y="141"/>
                  </a:lnTo>
                  <a:lnTo>
                    <a:pt x="44" y="141"/>
                  </a:lnTo>
                  <a:lnTo>
                    <a:pt x="47" y="142"/>
                  </a:lnTo>
                  <a:lnTo>
                    <a:pt x="50" y="144"/>
                  </a:lnTo>
                  <a:lnTo>
                    <a:pt x="55" y="142"/>
                  </a:lnTo>
                  <a:lnTo>
                    <a:pt x="58" y="141"/>
                  </a:lnTo>
                  <a:lnTo>
                    <a:pt x="61" y="138"/>
                  </a:lnTo>
                  <a:lnTo>
                    <a:pt x="65" y="138"/>
                  </a:lnTo>
                  <a:lnTo>
                    <a:pt x="68" y="136"/>
                  </a:lnTo>
                  <a:lnTo>
                    <a:pt x="73" y="134"/>
                  </a:lnTo>
                  <a:lnTo>
                    <a:pt x="73" y="131"/>
                  </a:lnTo>
                  <a:lnTo>
                    <a:pt x="76" y="128"/>
                  </a:lnTo>
                  <a:lnTo>
                    <a:pt x="77" y="126"/>
                  </a:lnTo>
                  <a:lnTo>
                    <a:pt x="77" y="128"/>
                  </a:lnTo>
                  <a:lnTo>
                    <a:pt x="80" y="131"/>
                  </a:lnTo>
                  <a:lnTo>
                    <a:pt x="80" y="136"/>
                  </a:lnTo>
                  <a:lnTo>
                    <a:pt x="84" y="136"/>
                  </a:lnTo>
                  <a:lnTo>
                    <a:pt x="87" y="141"/>
                  </a:lnTo>
                  <a:lnTo>
                    <a:pt x="88" y="138"/>
                  </a:lnTo>
                  <a:lnTo>
                    <a:pt x="93" y="136"/>
                  </a:lnTo>
                  <a:lnTo>
                    <a:pt x="96" y="134"/>
                  </a:lnTo>
                  <a:lnTo>
                    <a:pt x="100" y="133"/>
                  </a:lnTo>
                  <a:lnTo>
                    <a:pt x="101" y="130"/>
                  </a:lnTo>
                  <a:lnTo>
                    <a:pt x="111" y="125"/>
                  </a:lnTo>
                  <a:lnTo>
                    <a:pt x="119" y="122"/>
                  </a:lnTo>
                  <a:lnTo>
                    <a:pt x="119" y="122"/>
                  </a:lnTo>
                  <a:lnTo>
                    <a:pt x="123" y="123"/>
                  </a:lnTo>
                  <a:lnTo>
                    <a:pt x="126" y="123"/>
                  </a:lnTo>
                  <a:lnTo>
                    <a:pt x="130" y="122"/>
                  </a:lnTo>
                  <a:lnTo>
                    <a:pt x="133" y="122"/>
                  </a:lnTo>
                  <a:lnTo>
                    <a:pt x="142" y="120"/>
                  </a:lnTo>
                  <a:lnTo>
                    <a:pt x="152" y="120"/>
                  </a:lnTo>
                  <a:lnTo>
                    <a:pt x="152" y="115"/>
                  </a:lnTo>
                  <a:lnTo>
                    <a:pt x="155" y="112"/>
                  </a:lnTo>
                  <a:lnTo>
                    <a:pt x="157" y="111"/>
                  </a:lnTo>
                  <a:lnTo>
                    <a:pt x="160" y="109"/>
                  </a:lnTo>
                  <a:lnTo>
                    <a:pt x="163" y="104"/>
                  </a:lnTo>
                  <a:lnTo>
                    <a:pt x="165" y="101"/>
                  </a:lnTo>
                  <a:lnTo>
                    <a:pt x="168" y="98"/>
                  </a:lnTo>
                  <a:lnTo>
                    <a:pt x="169" y="95"/>
                  </a:lnTo>
                  <a:lnTo>
                    <a:pt x="169" y="93"/>
                  </a:lnTo>
                  <a:lnTo>
                    <a:pt x="166" y="90"/>
                  </a:lnTo>
                  <a:lnTo>
                    <a:pt x="163" y="88"/>
                  </a:lnTo>
                  <a:lnTo>
                    <a:pt x="161" y="87"/>
                  </a:lnTo>
                  <a:lnTo>
                    <a:pt x="161" y="85"/>
                  </a:lnTo>
                  <a:lnTo>
                    <a:pt x="166" y="82"/>
                  </a:lnTo>
                  <a:lnTo>
                    <a:pt x="169" y="80"/>
                  </a:lnTo>
                  <a:lnTo>
                    <a:pt x="171" y="80"/>
                  </a:lnTo>
                  <a:lnTo>
                    <a:pt x="172" y="80"/>
                  </a:lnTo>
                  <a:lnTo>
                    <a:pt x="174" y="80"/>
                  </a:lnTo>
                  <a:lnTo>
                    <a:pt x="177" y="80"/>
                  </a:lnTo>
                  <a:lnTo>
                    <a:pt x="180" y="80"/>
                  </a:lnTo>
                  <a:lnTo>
                    <a:pt x="185" y="80"/>
                  </a:lnTo>
                  <a:lnTo>
                    <a:pt x="188" y="80"/>
                  </a:lnTo>
                  <a:lnTo>
                    <a:pt x="196" y="79"/>
                  </a:lnTo>
                  <a:lnTo>
                    <a:pt x="204" y="76"/>
                  </a:lnTo>
                  <a:lnTo>
                    <a:pt x="207" y="76"/>
                  </a:lnTo>
                  <a:lnTo>
                    <a:pt x="212" y="76"/>
                  </a:lnTo>
                  <a:lnTo>
                    <a:pt x="215" y="76"/>
                  </a:lnTo>
                  <a:lnTo>
                    <a:pt x="218" y="73"/>
                  </a:lnTo>
                  <a:lnTo>
                    <a:pt x="218" y="69"/>
                  </a:lnTo>
                  <a:lnTo>
                    <a:pt x="225" y="68"/>
                  </a:lnTo>
                  <a:lnTo>
                    <a:pt x="231" y="63"/>
                  </a:lnTo>
                  <a:lnTo>
                    <a:pt x="236" y="57"/>
                  </a:lnTo>
                  <a:lnTo>
                    <a:pt x="237" y="50"/>
                  </a:lnTo>
                  <a:lnTo>
                    <a:pt x="241" y="49"/>
                  </a:lnTo>
                  <a:lnTo>
                    <a:pt x="241" y="49"/>
                  </a:lnTo>
                  <a:lnTo>
                    <a:pt x="244" y="44"/>
                  </a:lnTo>
                  <a:lnTo>
                    <a:pt x="244" y="44"/>
                  </a:lnTo>
                  <a:lnTo>
                    <a:pt x="247" y="41"/>
                  </a:lnTo>
                  <a:lnTo>
                    <a:pt x="252" y="39"/>
                  </a:lnTo>
                  <a:lnTo>
                    <a:pt x="252" y="39"/>
                  </a:lnTo>
                  <a:lnTo>
                    <a:pt x="255" y="33"/>
                  </a:lnTo>
                  <a:lnTo>
                    <a:pt x="258" y="31"/>
                  </a:lnTo>
                  <a:lnTo>
                    <a:pt x="261" y="28"/>
                  </a:lnTo>
                  <a:lnTo>
                    <a:pt x="263" y="25"/>
                  </a:lnTo>
                  <a:lnTo>
                    <a:pt x="263" y="22"/>
                  </a:lnTo>
                  <a:lnTo>
                    <a:pt x="261" y="17"/>
                  </a:lnTo>
                  <a:lnTo>
                    <a:pt x="263" y="14"/>
                  </a:lnTo>
                  <a:lnTo>
                    <a:pt x="266" y="12"/>
                  </a:lnTo>
                  <a:lnTo>
                    <a:pt x="269" y="11"/>
                  </a:lnTo>
                  <a:lnTo>
                    <a:pt x="272" y="9"/>
                  </a:lnTo>
                  <a:lnTo>
                    <a:pt x="276" y="6"/>
                  </a:lnTo>
                  <a:lnTo>
                    <a:pt x="279" y="6"/>
                  </a:lnTo>
                  <a:lnTo>
                    <a:pt x="285" y="1"/>
                  </a:lnTo>
                  <a:lnTo>
                    <a:pt x="290" y="0"/>
                  </a:lnTo>
                  <a:lnTo>
                    <a:pt x="296" y="0"/>
                  </a:lnTo>
                  <a:lnTo>
                    <a:pt x="303" y="1"/>
                  </a:lnTo>
                  <a:lnTo>
                    <a:pt x="304" y="3"/>
                  </a:lnTo>
                  <a:lnTo>
                    <a:pt x="306" y="6"/>
                  </a:lnTo>
                  <a:lnTo>
                    <a:pt x="307" y="9"/>
                  </a:lnTo>
                  <a:lnTo>
                    <a:pt x="310" y="12"/>
                  </a:lnTo>
                  <a:lnTo>
                    <a:pt x="318" y="20"/>
                  </a:lnTo>
                  <a:lnTo>
                    <a:pt x="323" y="28"/>
                  </a:lnTo>
                  <a:lnTo>
                    <a:pt x="325" y="31"/>
                  </a:lnTo>
                  <a:lnTo>
                    <a:pt x="328" y="34"/>
                  </a:lnTo>
                  <a:lnTo>
                    <a:pt x="329" y="39"/>
                  </a:lnTo>
                  <a:lnTo>
                    <a:pt x="329" y="39"/>
                  </a:lnTo>
                  <a:lnTo>
                    <a:pt x="331" y="44"/>
                  </a:lnTo>
                  <a:lnTo>
                    <a:pt x="333" y="47"/>
                  </a:lnTo>
                  <a:lnTo>
                    <a:pt x="334" y="50"/>
                  </a:lnTo>
                  <a:lnTo>
                    <a:pt x="334" y="53"/>
                  </a:lnTo>
                  <a:lnTo>
                    <a:pt x="333" y="57"/>
                  </a:lnTo>
                  <a:lnTo>
                    <a:pt x="331" y="61"/>
                  </a:lnTo>
                  <a:lnTo>
                    <a:pt x="333" y="65"/>
                  </a:lnTo>
                  <a:lnTo>
                    <a:pt x="333" y="68"/>
                  </a:lnTo>
                  <a:lnTo>
                    <a:pt x="331" y="73"/>
                  </a:lnTo>
                  <a:lnTo>
                    <a:pt x="326" y="74"/>
                  </a:lnTo>
                  <a:lnTo>
                    <a:pt x="326" y="76"/>
                  </a:lnTo>
                  <a:lnTo>
                    <a:pt x="326" y="79"/>
                  </a:lnTo>
                  <a:lnTo>
                    <a:pt x="326" y="82"/>
                  </a:lnTo>
                  <a:lnTo>
                    <a:pt x="329" y="80"/>
                  </a:lnTo>
                  <a:lnTo>
                    <a:pt x="329" y="84"/>
                  </a:lnTo>
                  <a:lnTo>
                    <a:pt x="329" y="87"/>
                  </a:lnTo>
                  <a:lnTo>
                    <a:pt x="328" y="92"/>
                  </a:lnTo>
                  <a:lnTo>
                    <a:pt x="334" y="92"/>
                  </a:lnTo>
                  <a:lnTo>
                    <a:pt x="339" y="92"/>
                  </a:lnTo>
                  <a:lnTo>
                    <a:pt x="342" y="92"/>
                  </a:lnTo>
                  <a:lnTo>
                    <a:pt x="345" y="93"/>
                  </a:lnTo>
                  <a:lnTo>
                    <a:pt x="349" y="93"/>
                  </a:lnTo>
                  <a:lnTo>
                    <a:pt x="352" y="93"/>
                  </a:lnTo>
                  <a:lnTo>
                    <a:pt x="353" y="96"/>
                  </a:lnTo>
                  <a:lnTo>
                    <a:pt x="353" y="99"/>
                  </a:lnTo>
                  <a:lnTo>
                    <a:pt x="352" y="104"/>
                  </a:lnTo>
                  <a:lnTo>
                    <a:pt x="352" y="107"/>
                  </a:lnTo>
                  <a:lnTo>
                    <a:pt x="355" y="111"/>
                  </a:lnTo>
                  <a:lnTo>
                    <a:pt x="358" y="111"/>
                  </a:lnTo>
                  <a:lnTo>
                    <a:pt x="361" y="111"/>
                  </a:lnTo>
                  <a:lnTo>
                    <a:pt x="366" y="114"/>
                  </a:lnTo>
                  <a:lnTo>
                    <a:pt x="369" y="112"/>
                  </a:lnTo>
                  <a:lnTo>
                    <a:pt x="372" y="114"/>
                  </a:lnTo>
                  <a:lnTo>
                    <a:pt x="375" y="114"/>
                  </a:lnTo>
                  <a:lnTo>
                    <a:pt x="375" y="115"/>
                  </a:lnTo>
                  <a:lnTo>
                    <a:pt x="380" y="119"/>
                  </a:lnTo>
                  <a:lnTo>
                    <a:pt x="380" y="122"/>
                  </a:lnTo>
                  <a:lnTo>
                    <a:pt x="382" y="123"/>
                  </a:lnTo>
                  <a:lnTo>
                    <a:pt x="385" y="126"/>
                  </a:lnTo>
                  <a:lnTo>
                    <a:pt x="388" y="126"/>
                  </a:lnTo>
                  <a:lnTo>
                    <a:pt x="391" y="130"/>
                  </a:lnTo>
                  <a:lnTo>
                    <a:pt x="391" y="133"/>
                  </a:lnTo>
                  <a:lnTo>
                    <a:pt x="391" y="136"/>
                  </a:lnTo>
                  <a:lnTo>
                    <a:pt x="388" y="138"/>
                  </a:lnTo>
                  <a:lnTo>
                    <a:pt x="390" y="142"/>
                  </a:lnTo>
                  <a:lnTo>
                    <a:pt x="393" y="144"/>
                  </a:lnTo>
                  <a:lnTo>
                    <a:pt x="395" y="147"/>
                  </a:lnTo>
                  <a:lnTo>
                    <a:pt x="398" y="150"/>
                  </a:lnTo>
                  <a:lnTo>
                    <a:pt x="401" y="152"/>
                  </a:lnTo>
                  <a:lnTo>
                    <a:pt x="410" y="157"/>
                  </a:lnTo>
                  <a:lnTo>
                    <a:pt x="420" y="163"/>
                  </a:lnTo>
                  <a:lnTo>
                    <a:pt x="421" y="168"/>
                  </a:lnTo>
                  <a:lnTo>
                    <a:pt x="425" y="172"/>
                  </a:lnTo>
                  <a:lnTo>
                    <a:pt x="429" y="174"/>
                  </a:lnTo>
                  <a:lnTo>
                    <a:pt x="433" y="177"/>
                  </a:lnTo>
                  <a:lnTo>
                    <a:pt x="431" y="180"/>
                  </a:lnTo>
                  <a:lnTo>
                    <a:pt x="429" y="185"/>
                  </a:lnTo>
                  <a:lnTo>
                    <a:pt x="429" y="188"/>
                  </a:lnTo>
                  <a:lnTo>
                    <a:pt x="433" y="191"/>
                  </a:lnTo>
                  <a:lnTo>
                    <a:pt x="437" y="195"/>
                  </a:lnTo>
                  <a:lnTo>
                    <a:pt x="436" y="198"/>
                  </a:lnTo>
                  <a:lnTo>
                    <a:pt x="437" y="201"/>
                  </a:lnTo>
                  <a:lnTo>
                    <a:pt x="442" y="203"/>
                  </a:lnTo>
                  <a:lnTo>
                    <a:pt x="445" y="203"/>
                  </a:lnTo>
                  <a:lnTo>
                    <a:pt x="445" y="203"/>
                  </a:lnTo>
                  <a:lnTo>
                    <a:pt x="448" y="207"/>
                  </a:lnTo>
                  <a:lnTo>
                    <a:pt x="452" y="207"/>
                  </a:lnTo>
                  <a:lnTo>
                    <a:pt x="455" y="210"/>
                  </a:lnTo>
                  <a:lnTo>
                    <a:pt x="458" y="212"/>
                  </a:lnTo>
                  <a:lnTo>
                    <a:pt x="461" y="215"/>
                  </a:lnTo>
                  <a:lnTo>
                    <a:pt x="463" y="220"/>
                  </a:lnTo>
                  <a:lnTo>
                    <a:pt x="464" y="223"/>
                  </a:lnTo>
                  <a:lnTo>
                    <a:pt x="463" y="226"/>
                  </a:lnTo>
                  <a:lnTo>
                    <a:pt x="463" y="228"/>
                  </a:lnTo>
                  <a:lnTo>
                    <a:pt x="464" y="231"/>
                  </a:lnTo>
                  <a:lnTo>
                    <a:pt x="466" y="234"/>
                  </a:lnTo>
                  <a:lnTo>
                    <a:pt x="469" y="237"/>
                  </a:lnTo>
                  <a:lnTo>
                    <a:pt x="471" y="242"/>
                  </a:lnTo>
                  <a:lnTo>
                    <a:pt x="471" y="244"/>
                  </a:lnTo>
                  <a:lnTo>
                    <a:pt x="467" y="241"/>
                  </a:lnTo>
                  <a:lnTo>
                    <a:pt x="464" y="239"/>
                  </a:lnTo>
                  <a:lnTo>
                    <a:pt x="461" y="236"/>
                  </a:lnTo>
                  <a:lnTo>
                    <a:pt x="456" y="236"/>
                  </a:lnTo>
                  <a:lnTo>
                    <a:pt x="453" y="237"/>
                  </a:lnTo>
                  <a:lnTo>
                    <a:pt x="450" y="242"/>
                  </a:lnTo>
                  <a:lnTo>
                    <a:pt x="447" y="242"/>
                  </a:lnTo>
                  <a:lnTo>
                    <a:pt x="444" y="241"/>
                  </a:lnTo>
                  <a:lnTo>
                    <a:pt x="441" y="241"/>
                  </a:lnTo>
                  <a:lnTo>
                    <a:pt x="437" y="242"/>
                  </a:lnTo>
                  <a:lnTo>
                    <a:pt x="433" y="239"/>
                  </a:lnTo>
                  <a:lnTo>
                    <a:pt x="429" y="239"/>
                  </a:lnTo>
                  <a:lnTo>
                    <a:pt x="426" y="236"/>
                  </a:lnTo>
                  <a:lnTo>
                    <a:pt x="423" y="234"/>
                  </a:lnTo>
                  <a:lnTo>
                    <a:pt x="418" y="236"/>
                  </a:lnTo>
                  <a:lnTo>
                    <a:pt x="412" y="236"/>
                  </a:lnTo>
                  <a:lnTo>
                    <a:pt x="409" y="234"/>
                  </a:lnTo>
                  <a:lnTo>
                    <a:pt x="406" y="231"/>
                  </a:lnTo>
                  <a:lnTo>
                    <a:pt x="402" y="230"/>
                  </a:lnTo>
                  <a:lnTo>
                    <a:pt x="399" y="230"/>
                  </a:lnTo>
                  <a:lnTo>
                    <a:pt x="396" y="231"/>
                  </a:lnTo>
                  <a:lnTo>
                    <a:pt x="395" y="234"/>
                  </a:lnTo>
                  <a:lnTo>
                    <a:pt x="395" y="239"/>
                  </a:lnTo>
                  <a:lnTo>
                    <a:pt x="395" y="242"/>
                  </a:lnTo>
                  <a:lnTo>
                    <a:pt x="391" y="244"/>
                  </a:lnTo>
                  <a:lnTo>
                    <a:pt x="390" y="244"/>
                  </a:lnTo>
                  <a:lnTo>
                    <a:pt x="388" y="244"/>
                  </a:lnTo>
                  <a:lnTo>
                    <a:pt x="388" y="244"/>
                  </a:lnTo>
                  <a:lnTo>
                    <a:pt x="387" y="244"/>
                  </a:lnTo>
                  <a:lnTo>
                    <a:pt x="383" y="245"/>
                  </a:lnTo>
                  <a:lnTo>
                    <a:pt x="382" y="245"/>
                  </a:lnTo>
                  <a:lnTo>
                    <a:pt x="379" y="245"/>
                  </a:lnTo>
                  <a:lnTo>
                    <a:pt x="375" y="247"/>
                  </a:lnTo>
                  <a:lnTo>
                    <a:pt x="372" y="247"/>
                  </a:lnTo>
                  <a:lnTo>
                    <a:pt x="369" y="245"/>
                  </a:lnTo>
                  <a:lnTo>
                    <a:pt x="369" y="244"/>
                  </a:lnTo>
                  <a:lnTo>
                    <a:pt x="364" y="241"/>
                  </a:lnTo>
                  <a:lnTo>
                    <a:pt x="363" y="241"/>
                  </a:lnTo>
                  <a:lnTo>
                    <a:pt x="360" y="241"/>
                  </a:lnTo>
                  <a:lnTo>
                    <a:pt x="360" y="244"/>
                  </a:lnTo>
                  <a:lnTo>
                    <a:pt x="358" y="244"/>
                  </a:lnTo>
                  <a:lnTo>
                    <a:pt x="356" y="244"/>
                  </a:lnTo>
                  <a:lnTo>
                    <a:pt x="353" y="247"/>
                  </a:lnTo>
                  <a:lnTo>
                    <a:pt x="350" y="247"/>
                  </a:lnTo>
                  <a:lnTo>
                    <a:pt x="347" y="250"/>
                  </a:lnTo>
                  <a:lnTo>
                    <a:pt x="344" y="252"/>
                  </a:lnTo>
                  <a:lnTo>
                    <a:pt x="342" y="252"/>
                  </a:lnTo>
                  <a:lnTo>
                    <a:pt x="339" y="252"/>
                  </a:lnTo>
                  <a:lnTo>
                    <a:pt x="336" y="253"/>
                  </a:lnTo>
                  <a:lnTo>
                    <a:pt x="331" y="255"/>
                  </a:lnTo>
                  <a:lnTo>
                    <a:pt x="328" y="258"/>
                  </a:lnTo>
                  <a:lnTo>
                    <a:pt x="325" y="261"/>
                  </a:lnTo>
                  <a:lnTo>
                    <a:pt x="322" y="260"/>
                  </a:lnTo>
                  <a:lnTo>
                    <a:pt x="318" y="258"/>
                  </a:lnTo>
                  <a:lnTo>
                    <a:pt x="315" y="255"/>
                  </a:lnTo>
                  <a:lnTo>
                    <a:pt x="312" y="255"/>
                  </a:lnTo>
                  <a:lnTo>
                    <a:pt x="310" y="252"/>
                  </a:lnTo>
                  <a:lnTo>
                    <a:pt x="306" y="252"/>
                  </a:lnTo>
                  <a:lnTo>
                    <a:pt x="306" y="255"/>
                  </a:lnTo>
                  <a:lnTo>
                    <a:pt x="304" y="256"/>
                  </a:lnTo>
                  <a:lnTo>
                    <a:pt x="301" y="260"/>
                  </a:lnTo>
                  <a:lnTo>
                    <a:pt x="301" y="260"/>
                  </a:lnTo>
                  <a:lnTo>
                    <a:pt x="299" y="263"/>
                  </a:lnTo>
                  <a:lnTo>
                    <a:pt x="296" y="266"/>
                  </a:lnTo>
                  <a:lnTo>
                    <a:pt x="296" y="269"/>
                  </a:lnTo>
                  <a:lnTo>
                    <a:pt x="295" y="272"/>
                  </a:lnTo>
                  <a:lnTo>
                    <a:pt x="293" y="275"/>
                  </a:lnTo>
                  <a:lnTo>
                    <a:pt x="291" y="279"/>
                  </a:lnTo>
                  <a:lnTo>
                    <a:pt x="291" y="279"/>
                  </a:lnTo>
                  <a:lnTo>
                    <a:pt x="290" y="280"/>
                  </a:lnTo>
                  <a:lnTo>
                    <a:pt x="287" y="280"/>
                  </a:lnTo>
                  <a:lnTo>
                    <a:pt x="282" y="279"/>
                  </a:lnTo>
                  <a:lnTo>
                    <a:pt x="279" y="277"/>
                  </a:lnTo>
                  <a:lnTo>
                    <a:pt x="279" y="277"/>
                  </a:lnTo>
                  <a:lnTo>
                    <a:pt x="276" y="275"/>
                  </a:lnTo>
                  <a:lnTo>
                    <a:pt x="272" y="275"/>
                  </a:lnTo>
                  <a:lnTo>
                    <a:pt x="269" y="274"/>
                  </a:lnTo>
                  <a:lnTo>
                    <a:pt x="266" y="274"/>
                  </a:lnTo>
                  <a:lnTo>
                    <a:pt x="261" y="272"/>
                  </a:lnTo>
                  <a:lnTo>
                    <a:pt x="258" y="275"/>
                  </a:lnTo>
                  <a:lnTo>
                    <a:pt x="255" y="274"/>
                  </a:lnTo>
                  <a:lnTo>
                    <a:pt x="253" y="274"/>
                  </a:lnTo>
                  <a:lnTo>
                    <a:pt x="250" y="272"/>
                  </a:lnTo>
                  <a:lnTo>
                    <a:pt x="245" y="274"/>
                  </a:lnTo>
                  <a:lnTo>
                    <a:pt x="242" y="272"/>
                  </a:lnTo>
                  <a:lnTo>
                    <a:pt x="239" y="268"/>
                  </a:lnTo>
                  <a:lnTo>
                    <a:pt x="236" y="268"/>
                  </a:lnTo>
                  <a:lnTo>
                    <a:pt x="233" y="268"/>
                  </a:lnTo>
                  <a:lnTo>
                    <a:pt x="228" y="268"/>
                  </a:lnTo>
                  <a:lnTo>
                    <a:pt x="225" y="268"/>
                  </a:lnTo>
                  <a:lnTo>
                    <a:pt x="222" y="268"/>
                  </a:lnTo>
                  <a:lnTo>
                    <a:pt x="218" y="264"/>
                  </a:lnTo>
                  <a:lnTo>
                    <a:pt x="218" y="260"/>
                  </a:lnTo>
                  <a:lnTo>
                    <a:pt x="217" y="256"/>
                  </a:lnTo>
                  <a:lnTo>
                    <a:pt x="212" y="253"/>
                  </a:lnTo>
                  <a:lnTo>
                    <a:pt x="209" y="250"/>
                  </a:lnTo>
                  <a:lnTo>
                    <a:pt x="206" y="249"/>
                  </a:lnTo>
                  <a:lnTo>
                    <a:pt x="203" y="245"/>
                  </a:lnTo>
                  <a:lnTo>
                    <a:pt x="203" y="245"/>
                  </a:lnTo>
                  <a:lnTo>
                    <a:pt x="201" y="245"/>
                  </a:lnTo>
                  <a:lnTo>
                    <a:pt x="198" y="244"/>
                  </a:lnTo>
                  <a:lnTo>
                    <a:pt x="198" y="242"/>
                  </a:lnTo>
                  <a:lnTo>
                    <a:pt x="193" y="239"/>
                  </a:lnTo>
                  <a:lnTo>
                    <a:pt x="190" y="239"/>
                  </a:lnTo>
                  <a:lnTo>
                    <a:pt x="187" y="239"/>
                  </a:lnTo>
                  <a:lnTo>
                    <a:pt x="184" y="239"/>
                  </a:lnTo>
                  <a:lnTo>
                    <a:pt x="179" y="241"/>
                  </a:lnTo>
                  <a:lnTo>
                    <a:pt x="176" y="244"/>
                  </a:lnTo>
                  <a:lnTo>
                    <a:pt x="176" y="244"/>
                  </a:lnTo>
                  <a:lnTo>
                    <a:pt x="174" y="244"/>
                  </a:lnTo>
                  <a:lnTo>
                    <a:pt x="171" y="247"/>
                  </a:lnTo>
                  <a:lnTo>
                    <a:pt x="169" y="247"/>
                  </a:lnTo>
                  <a:lnTo>
                    <a:pt x="168" y="250"/>
                  </a:lnTo>
                  <a:lnTo>
                    <a:pt x="166" y="253"/>
                  </a:lnTo>
                  <a:lnTo>
                    <a:pt x="163" y="258"/>
                  </a:lnTo>
                  <a:lnTo>
                    <a:pt x="161" y="261"/>
                  </a:lnTo>
                  <a:lnTo>
                    <a:pt x="160" y="264"/>
                  </a:lnTo>
                  <a:lnTo>
                    <a:pt x="158" y="268"/>
                  </a:lnTo>
                  <a:lnTo>
                    <a:pt x="153" y="271"/>
                  </a:lnTo>
                  <a:lnTo>
                    <a:pt x="150" y="271"/>
                  </a:lnTo>
                  <a:lnTo>
                    <a:pt x="149" y="272"/>
                  </a:lnTo>
                  <a:lnTo>
                    <a:pt x="152" y="275"/>
                  </a:lnTo>
                  <a:lnTo>
                    <a:pt x="152" y="279"/>
                  </a:lnTo>
                  <a:lnTo>
                    <a:pt x="153" y="283"/>
                  </a:lnTo>
                  <a:lnTo>
                    <a:pt x="153" y="287"/>
                  </a:lnTo>
                  <a:lnTo>
                    <a:pt x="152" y="290"/>
                  </a:lnTo>
                  <a:lnTo>
                    <a:pt x="152" y="291"/>
                  </a:lnTo>
                  <a:lnTo>
                    <a:pt x="152" y="298"/>
                  </a:lnTo>
                  <a:lnTo>
                    <a:pt x="152" y="306"/>
                  </a:lnTo>
                  <a:lnTo>
                    <a:pt x="149" y="302"/>
                  </a:lnTo>
                  <a:lnTo>
                    <a:pt x="147" y="301"/>
                  </a:lnTo>
                  <a:lnTo>
                    <a:pt x="146" y="301"/>
                  </a:lnTo>
                  <a:lnTo>
                    <a:pt x="142" y="302"/>
                  </a:lnTo>
                  <a:lnTo>
                    <a:pt x="141" y="302"/>
                  </a:lnTo>
                  <a:lnTo>
                    <a:pt x="139" y="304"/>
                  </a:lnTo>
                  <a:lnTo>
                    <a:pt x="136" y="304"/>
                  </a:lnTo>
                  <a:lnTo>
                    <a:pt x="133" y="302"/>
                  </a:lnTo>
                  <a:lnTo>
                    <a:pt x="130" y="304"/>
                  </a:lnTo>
                  <a:lnTo>
                    <a:pt x="125" y="304"/>
                  </a:lnTo>
                  <a:lnTo>
                    <a:pt x="122" y="301"/>
                  </a:lnTo>
                  <a:lnTo>
                    <a:pt x="119" y="301"/>
                  </a:lnTo>
                  <a:lnTo>
                    <a:pt x="115" y="299"/>
                  </a:lnTo>
                  <a:lnTo>
                    <a:pt x="111" y="296"/>
                  </a:lnTo>
                  <a:lnTo>
                    <a:pt x="109" y="298"/>
                  </a:lnTo>
                  <a:lnTo>
                    <a:pt x="106" y="301"/>
                  </a:lnTo>
                  <a:lnTo>
                    <a:pt x="103" y="302"/>
                  </a:lnTo>
                  <a:lnTo>
                    <a:pt x="98" y="302"/>
                  </a:lnTo>
                  <a:lnTo>
                    <a:pt x="95" y="304"/>
                  </a:lnTo>
                  <a:lnTo>
                    <a:pt x="92" y="304"/>
                  </a:lnTo>
                  <a:lnTo>
                    <a:pt x="88" y="304"/>
                  </a:lnTo>
                  <a:lnTo>
                    <a:pt x="84" y="304"/>
                  </a:lnTo>
                  <a:lnTo>
                    <a:pt x="80" y="306"/>
                  </a:lnTo>
                  <a:lnTo>
                    <a:pt x="79" y="309"/>
                  </a:lnTo>
                  <a:lnTo>
                    <a:pt x="79" y="310"/>
                  </a:lnTo>
                  <a:lnTo>
                    <a:pt x="77" y="314"/>
                  </a:lnTo>
                  <a:lnTo>
                    <a:pt x="77" y="317"/>
                  </a:lnTo>
                  <a:lnTo>
                    <a:pt x="76" y="320"/>
                  </a:lnTo>
                  <a:lnTo>
                    <a:pt x="76" y="323"/>
                  </a:lnTo>
                  <a:lnTo>
                    <a:pt x="74" y="328"/>
                  </a:lnTo>
                  <a:lnTo>
                    <a:pt x="76" y="331"/>
                  </a:lnTo>
                  <a:lnTo>
                    <a:pt x="76" y="334"/>
                  </a:lnTo>
                  <a:lnTo>
                    <a:pt x="71" y="347"/>
                  </a:lnTo>
                  <a:lnTo>
                    <a:pt x="65" y="358"/>
                  </a:lnTo>
                  <a:lnTo>
                    <a:pt x="65" y="356"/>
                  </a:lnTo>
                  <a:lnTo>
                    <a:pt x="63" y="352"/>
                  </a:lnTo>
                  <a:lnTo>
                    <a:pt x="61" y="348"/>
                  </a:lnTo>
                  <a:lnTo>
                    <a:pt x="61" y="345"/>
                  </a:lnTo>
                  <a:lnTo>
                    <a:pt x="61" y="342"/>
                  </a:lnTo>
                  <a:lnTo>
                    <a:pt x="63" y="337"/>
                  </a:lnTo>
                  <a:lnTo>
                    <a:pt x="60" y="336"/>
                  </a:lnTo>
                  <a:lnTo>
                    <a:pt x="61" y="333"/>
                  </a:lnTo>
                  <a:lnTo>
                    <a:pt x="60" y="329"/>
                  </a:lnTo>
                  <a:lnTo>
                    <a:pt x="57" y="325"/>
                  </a:lnTo>
                  <a:lnTo>
                    <a:pt x="55" y="321"/>
                  </a:lnTo>
                  <a:lnTo>
                    <a:pt x="54" y="321"/>
                  </a:lnTo>
                  <a:lnTo>
                    <a:pt x="50" y="320"/>
                  </a:lnTo>
                  <a:lnTo>
                    <a:pt x="47" y="317"/>
                  </a:lnTo>
                  <a:lnTo>
                    <a:pt x="44" y="314"/>
                  </a:lnTo>
                  <a:lnTo>
                    <a:pt x="41" y="309"/>
                  </a:lnTo>
                  <a:lnTo>
                    <a:pt x="38" y="306"/>
                  </a:lnTo>
                  <a:lnTo>
                    <a:pt x="34" y="302"/>
                  </a:lnTo>
                  <a:lnTo>
                    <a:pt x="31" y="299"/>
                  </a:lnTo>
                  <a:lnTo>
                    <a:pt x="31" y="299"/>
                  </a:lnTo>
                  <a:lnTo>
                    <a:pt x="30" y="295"/>
                  </a:lnTo>
                  <a:lnTo>
                    <a:pt x="27" y="291"/>
                  </a:lnTo>
                  <a:lnTo>
                    <a:pt x="25" y="288"/>
                  </a:lnTo>
                  <a:lnTo>
                    <a:pt x="25" y="285"/>
                  </a:lnTo>
                  <a:lnTo>
                    <a:pt x="28" y="283"/>
                  </a:lnTo>
                  <a:lnTo>
                    <a:pt x="27" y="280"/>
                  </a:lnTo>
                  <a:lnTo>
                    <a:pt x="25" y="279"/>
                  </a:lnTo>
                  <a:lnTo>
                    <a:pt x="25" y="279"/>
                  </a:lnTo>
                  <a:lnTo>
                    <a:pt x="25" y="274"/>
                  </a:lnTo>
                  <a:lnTo>
                    <a:pt x="23" y="271"/>
                  </a:lnTo>
                  <a:lnTo>
                    <a:pt x="22" y="268"/>
                  </a:lnTo>
                  <a:lnTo>
                    <a:pt x="20" y="268"/>
                  </a:lnTo>
                  <a:lnTo>
                    <a:pt x="17" y="264"/>
                  </a:lnTo>
                  <a:lnTo>
                    <a:pt x="14" y="261"/>
                  </a:lnTo>
                  <a:lnTo>
                    <a:pt x="12" y="258"/>
                  </a:lnTo>
                  <a:lnTo>
                    <a:pt x="11" y="255"/>
                  </a:lnTo>
                  <a:lnTo>
                    <a:pt x="12" y="252"/>
                  </a:lnTo>
                  <a:lnTo>
                    <a:pt x="11" y="249"/>
                  </a:lnTo>
                  <a:lnTo>
                    <a:pt x="9" y="244"/>
                  </a:lnTo>
                  <a:lnTo>
                    <a:pt x="9" y="244"/>
                  </a:lnTo>
                  <a:lnTo>
                    <a:pt x="11" y="244"/>
                  </a:lnTo>
                  <a:lnTo>
                    <a:pt x="11" y="239"/>
                  </a:lnTo>
                  <a:lnTo>
                    <a:pt x="9" y="236"/>
                  </a:lnTo>
                  <a:lnTo>
                    <a:pt x="8" y="234"/>
                  </a:lnTo>
                  <a:lnTo>
                    <a:pt x="4" y="233"/>
                  </a:lnTo>
                  <a:lnTo>
                    <a:pt x="6" y="231"/>
                  </a:lnTo>
                  <a:lnTo>
                    <a:pt x="8" y="228"/>
                  </a:lnTo>
                  <a:lnTo>
                    <a:pt x="8" y="225"/>
                  </a:lnTo>
                  <a:lnTo>
                    <a:pt x="8" y="220"/>
                  </a:lnTo>
                  <a:lnTo>
                    <a:pt x="8" y="217"/>
                  </a:lnTo>
                  <a:lnTo>
                    <a:pt x="8" y="214"/>
                  </a:lnTo>
                  <a:lnTo>
                    <a:pt x="8" y="210"/>
                  </a:lnTo>
                  <a:lnTo>
                    <a:pt x="6" y="206"/>
                  </a:lnTo>
                  <a:lnTo>
                    <a:pt x="6" y="207"/>
                  </a:lnTo>
                  <a:lnTo>
                    <a:pt x="3" y="206"/>
                  </a:lnTo>
                  <a:lnTo>
                    <a:pt x="0" y="20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grpSp>
          <p:nvGrpSpPr>
            <p:cNvPr id="280" name="Group 445"/>
            <p:cNvGrpSpPr>
              <a:grpSpLocks/>
            </p:cNvGrpSpPr>
            <p:nvPr/>
          </p:nvGrpSpPr>
          <p:grpSpPr bwMode="auto">
            <a:xfrm>
              <a:off x="5591458" y="4702002"/>
              <a:ext cx="77930" cy="96468"/>
              <a:chOff x="2751" y="2414"/>
              <a:chExt cx="53" cy="57"/>
            </a:xfrm>
            <a:solidFill>
              <a:schemeClr val="bg1">
                <a:lumMod val="65000"/>
              </a:schemeClr>
            </a:solidFill>
          </p:grpSpPr>
          <p:sp>
            <p:nvSpPr>
              <p:cNvPr id="723" name="Freeform 446"/>
              <p:cNvSpPr>
                <a:spLocks/>
              </p:cNvSpPr>
              <p:nvPr/>
            </p:nvSpPr>
            <p:spPr bwMode="auto">
              <a:xfrm>
                <a:off x="2768" y="2442"/>
                <a:ext cx="36" cy="29"/>
              </a:xfrm>
              <a:custGeom>
                <a:avLst/>
                <a:gdLst>
                  <a:gd name="T0" fmla="*/ 9 w 71"/>
                  <a:gd name="T1" fmla="*/ 30 h 57"/>
                  <a:gd name="T2" fmla="*/ 9 w 71"/>
                  <a:gd name="T3" fmla="*/ 32 h 57"/>
                  <a:gd name="T4" fmla="*/ 12 w 71"/>
                  <a:gd name="T5" fmla="*/ 30 h 57"/>
                  <a:gd name="T6" fmla="*/ 9 w 71"/>
                  <a:gd name="T7" fmla="*/ 30 h 57"/>
                  <a:gd name="T8" fmla="*/ 8 w 71"/>
                  <a:gd name="T9" fmla="*/ 27 h 57"/>
                  <a:gd name="T10" fmla="*/ 11 w 71"/>
                  <a:gd name="T11" fmla="*/ 24 h 57"/>
                  <a:gd name="T12" fmla="*/ 12 w 71"/>
                  <a:gd name="T13" fmla="*/ 21 h 57"/>
                  <a:gd name="T14" fmla="*/ 16 w 71"/>
                  <a:gd name="T15" fmla="*/ 18 h 57"/>
                  <a:gd name="T16" fmla="*/ 16 w 71"/>
                  <a:gd name="T17" fmla="*/ 14 h 57"/>
                  <a:gd name="T18" fmla="*/ 14 w 71"/>
                  <a:gd name="T19" fmla="*/ 10 h 57"/>
                  <a:gd name="T20" fmla="*/ 14 w 71"/>
                  <a:gd name="T21" fmla="*/ 7 h 57"/>
                  <a:gd name="T22" fmla="*/ 14 w 71"/>
                  <a:gd name="T23" fmla="*/ 3 h 57"/>
                  <a:gd name="T24" fmla="*/ 16 w 71"/>
                  <a:gd name="T25" fmla="*/ 0 h 57"/>
                  <a:gd name="T26" fmla="*/ 16 w 71"/>
                  <a:gd name="T27" fmla="*/ 2 h 57"/>
                  <a:gd name="T28" fmla="*/ 19 w 71"/>
                  <a:gd name="T29" fmla="*/ 5 h 57"/>
                  <a:gd name="T30" fmla="*/ 22 w 71"/>
                  <a:gd name="T31" fmla="*/ 7 h 57"/>
                  <a:gd name="T32" fmla="*/ 25 w 71"/>
                  <a:gd name="T33" fmla="*/ 7 h 57"/>
                  <a:gd name="T34" fmla="*/ 32 w 71"/>
                  <a:gd name="T35" fmla="*/ 7 h 57"/>
                  <a:gd name="T36" fmla="*/ 39 w 71"/>
                  <a:gd name="T37" fmla="*/ 7 h 57"/>
                  <a:gd name="T38" fmla="*/ 55 w 71"/>
                  <a:gd name="T39" fmla="*/ 7 h 57"/>
                  <a:gd name="T40" fmla="*/ 71 w 71"/>
                  <a:gd name="T41" fmla="*/ 7 h 57"/>
                  <a:gd name="T42" fmla="*/ 71 w 71"/>
                  <a:gd name="T43" fmla="*/ 30 h 57"/>
                  <a:gd name="T44" fmla="*/ 71 w 71"/>
                  <a:gd name="T45" fmla="*/ 54 h 57"/>
                  <a:gd name="T46" fmla="*/ 68 w 71"/>
                  <a:gd name="T47" fmla="*/ 54 h 57"/>
                  <a:gd name="T48" fmla="*/ 57 w 71"/>
                  <a:gd name="T49" fmla="*/ 54 h 57"/>
                  <a:gd name="T50" fmla="*/ 52 w 71"/>
                  <a:gd name="T51" fmla="*/ 54 h 57"/>
                  <a:gd name="T52" fmla="*/ 46 w 71"/>
                  <a:gd name="T53" fmla="*/ 54 h 57"/>
                  <a:gd name="T54" fmla="*/ 22 w 71"/>
                  <a:gd name="T55" fmla="*/ 54 h 57"/>
                  <a:gd name="T56" fmla="*/ 19 w 71"/>
                  <a:gd name="T57" fmla="*/ 57 h 57"/>
                  <a:gd name="T58" fmla="*/ 16 w 71"/>
                  <a:gd name="T59" fmla="*/ 54 h 57"/>
                  <a:gd name="T60" fmla="*/ 17 w 71"/>
                  <a:gd name="T61" fmla="*/ 51 h 57"/>
                  <a:gd name="T62" fmla="*/ 12 w 71"/>
                  <a:gd name="T63" fmla="*/ 51 h 57"/>
                  <a:gd name="T64" fmla="*/ 9 w 71"/>
                  <a:gd name="T65" fmla="*/ 53 h 57"/>
                  <a:gd name="T66" fmla="*/ 6 w 71"/>
                  <a:gd name="T67" fmla="*/ 51 h 57"/>
                  <a:gd name="T68" fmla="*/ 3 w 71"/>
                  <a:gd name="T69" fmla="*/ 49 h 57"/>
                  <a:gd name="T70" fmla="*/ 0 w 71"/>
                  <a:gd name="T71" fmla="*/ 49 h 57"/>
                  <a:gd name="T72" fmla="*/ 0 w 71"/>
                  <a:gd name="T73" fmla="*/ 45 h 57"/>
                  <a:gd name="T74" fmla="*/ 3 w 71"/>
                  <a:gd name="T75" fmla="*/ 41 h 57"/>
                  <a:gd name="T76" fmla="*/ 3 w 71"/>
                  <a:gd name="T77" fmla="*/ 38 h 57"/>
                  <a:gd name="T78" fmla="*/ 6 w 71"/>
                  <a:gd name="T79" fmla="*/ 35 h 57"/>
                  <a:gd name="T80" fmla="*/ 9 w 71"/>
                  <a:gd name="T81" fmla="*/ 3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71" h="57">
                    <a:moveTo>
                      <a:pt x="9" y="30"/>
                    </a:moveTo>
                    <a:lnTo>
                      <a:pt x="9" y="32"/>
                    </a:lnTo>
                    <a:lnTo>
                      <a:pt x="12" y="30"/>
                    </a:lnTo>
                    <a:lnTo>
                      <a:pt x="9" y="30"/>
                    </a:lnTo>
                    <a:lnTo>
                      <a:pt x="8" y="27"/>
                    </a:lnTo>
                    <a:lnTo>
                      <a:pt x="11" y="24"/>
                    </a:lnTo>
                    <a:lnTo>
                      <a:pt x="12" y="21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4" y="10"/>
                    </a:lnTo>
                    <a:lnTo>
                      <a:pt x="14" y="7"/>
                    </a:lnTo>
                    <a:lnTo>
                      <a:pt x="14" y="3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9" y="5"/>
                    </a:lnTo>
                    <a:lnTo>
                      <a:pt x="22" y="7"/>
                    </a:lnTo>
                    <a:lnTo>
                      <a:pt x="25" y="7"/>
                    </a:lnTo>
                    <a:lnTo>
                      <a:pt x="32" y="7"/>
                    </a:lnTo>
                    <a:lnTo>
                      <a:pt x="39" y="7"/>
                    </a:lnTo>
                    <a:lnTo>
                      <a:pt x="55" y="7"/>
                    </a:lnTo>
                    <a:lnTo>
                      <a:pt x="71" y="7"/>
                    </a:lnTo>
                    <a:lnTo>
                      <a:pt x="71" y="30"/>
                    </a:lnTo>
                    <a:lnTo>
                      <a:pt x="71" y="54"/>
                    </a:lnTo>
                    <a:lnTo>
                      <a:pt x="68" y="54"/>
                    </a:lnTo>
                    <a:lnTo>
                      <a:pt x="57" y="54"/>
                    </a:lnTo>
                    <a:lnTo>
                      <a:pt x="52" y="54"/>
                    </a:lnTo>
                    <a:lnTo>
                      <a:pt x="46" y="54"/>
                    </a:lnTo>
                    <a:lnTo>
                      <a:pt x="22" y="54"/>
                    </a:lnTo>
                    <a:lnTo>
                      <a:pt x="19" y="57"/>
                    </a:lnTo>
                    <a:lnTo>
                      <a:pt x="16" y="54"/>
                    </a:lnTo>
                    <a:lnTo>
                      <a:pt x="17" y="51"/>
                    </a:lnTo>
                    <a:lnTo>
                      <a:pt x="12" y="51"/>
                    </a:lnTo>
                    <a:lnTo>
                      <a:pt x="9" y="53"/>
                    </a:lnTo>
                    <a:lnTo>
                      <a:pt x="6" y="51"/>
                    </a:lnTo>
                    <a:lnTo>
                      <a:pt x="3" y="49"/>
                    </a:lnTo>
                    <a:lnTo>
                      <a:pt x="0" y="49"/>
                    </a:lnTo>
                    <a:lnTo>
                      <a:pt x="0" y="45"/>
                    </a:lnTo>
                    <a:lnTo>
                      <a:pt x="3" y="41"/>
                    </a:lnTo>
                    <a:lnTo>
                      <a:pt x="3" y="38"/>
                    </a:lnTo>
                    <a:lnTo>
                      <a:pt x="6" y="35"/>
                    </a:lnTo>
                    <a:lnTo>
                      <a:pt x="9" y="3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24" name="Freeform 447"/>
              <p:cNvSpPr>
                <a:spLocks/>
              </p:cNvSpPr>
              <p:nvPr/>
            </p:nvSpPr>
            <p:spPr bwMode="auto">
              <a:xfrm>
                <a:off x="2751" y="2414"/>
                <a:ext cx="9" cy="11"/>
              </a:xfrm>
              <a:custGeom>
                <a:avLst/>
                <a:gdLst>
                  <a:gd name="T0" fmla="*/ 9 w 19"/>
                  <a:gd name="T1" fmla="*/ 22 h 22"/>
                  <a:gd name="T2" fmla="*/ 13 w 19"/>
                  <a:gd name="T3" fmla="*/ 19 h 22"/>
                  <a:gd name="T4" fmla="*/ 13 w 19"/>
                  <a:gd name="T5" fmla="*/ 14 h 22"/>
                  <a:gd name="T6" fmla="*/ 14 w 19"/>
                  <a:gd name="T7" fmla="*/ 11 h 22"/>
                  <a:gd name="T8" fmla="*/ 17 w 19"/>
                  <a:gd name="T9" fmla="*/ 8 h 22"/>
                  <a:gd name="T10" fmla="*/ 19 w 19"/>
                  <a:gd name="T11" fmla="*/ 5 h 22"/>
                  <a:gd name="T12" fmla="*/ 19 w 19"/>
                  <a:gd name="T13" fmla="*/ 2 h 22"/>
                  <a:gd name="T14" fmla="*/ 16 w 19"/>
                  <a:gd name="T15" fmla="*/ 0 h 22"/>
                  <a:gd name="T16" fmla="*/ 13 w 19"/>
                  <a:gd name="T17" fmla="*/ 0 h 22"/>
                  <a:gd name="T18" fmla="*/ 9 w 19"/>
                  <a:gd name="T19" fmla="*/ 0 h 22"/>
                  <a:gd name="T20" fmla="*/ 8 w 19"/>
                  <a:gd name="T21" fmla="*/ 5 h 22"/>
                  <a:gd name="T22" fmla="*/ 8 w 19"/>
                  <a:gd name="T23" fmla="*/ 8 h 22"/>
                  <a:gd name="T24" fmla="*/ 5 w 19"/>
                  <a:gd name="T25" fmla="*/ 11 h 22"/>
                  <a:gd name="T26" fmla="*/ 1 w 19"/>
                  <a:gd name="T27" fmla="*/ 13 h 22"/>
                  <a:gd name="T28" fmla="*/ 0 w 19"/>
                  <a:gd name="T29" fmla="*/ 16 h 22"/>
                  <a:gd name="T30" fmla="*/ 3 w 19"/>
                  <a:gd name="T31" fmla="*/ 21 h 22"/>
                  <a:gd name="T32" fmla="*/ 6 w 19"/>
                  <a:gd name="T33" fmla="*/ 21 h 22"/>
                  <a:gd name="T34" fmla="*/ 9 w 19"/>
                  <a:gd name="T35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9" h="22">
                    <a:moveTo>
                      <a:pt x="9" y="22"/>
                    </a:moveTo>
                    <a:lnTo>
                      <a:pt x="13" y="19"/>
                    </a:lnTo>
                    <a:lnTo>
                      <a:pt x="13" y="14"/>
                    </a:lnTo>
                    <a:lnTo>
                      <a:pt x="14" y="11"/>
                    </a:lnTo>
                    <a:lnTo>
                      <a:pt x="17" y="8"/>
                    </a:lnTo>
                    <a:lnTo>
                      <a:pt x="19" y="5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8" y="5"/>
                    </a:lnTo>
                    <a:lnTo>
                      <a:pt x="8" y="8"/>
                    </a:lnTo>
                    <a:lnTo>
                      <a:pt x="5" y="11"/>
                    </a:lnTo>
                    <a:lnTo>
                      <a:pt x="1" y="13"/>
                    </a:lnTo>
                    <a:lnTo>
                      <a:pt x="0" y="16"/>
                    </a:lnTo>
                    <a:lnTo>
                      <a:pt x="3" y="21"/>
                    </a:lnTo>
                    <a:lnTo>
                      <a:pt x="6" y="21"/>
                    </a:lnTo>
                    <a:lnTo>
                      <a:pt x="9" y="2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sp>
          <p:nvSpPr>
            <p:cNvPr id="281" name="Freeform 448"/>
            <p:cNvSpPr>
              <a:spLocks/>
            </p:cNvSpPr>
            <p:nvPr/>
          </p:nvSpPr>
          <p:spPr bwMode="auto">
            <a:xfrm>
              <a:off x="5600236" y="4749389"/>
              <a:ext cx="152918" cy="218323"/>
            </a:xfrm>
            <a:custGeom>
              <a:avLst/>
              <a:gdLst>
                <a:gd name="T0" fmla="*/ 1 w 207"/>
                <a:gd name="T1" fmla="*/ 125 h 257"/>
                <a:gd name="T2" fmla="*/ 8 w 207"/>
                <a:gd name="T3" fmla="*/ 129 h 257"/>
                <a:gd name="T4" fmla="*/ 11 w 207"/>
                <a:gd name="T5" fmla="*/ 121 h 257"/>
                <a:gd name="T6" fmla="*/ 20 w 207"/>
                <a:gd name="T7" fmla="*/ 103 h 257"/>
                <a:gd name="T8" fmla="*/ 22 w 207"/>
                <a:gd name="T9" fmla="*/ 84 h 257"/>
                <a:gd name="T10" fmla="*/ 27 w 207"/>
                <a:gd name="T11" fmla="*/ 89 h 257"/>
                <a:gd name="T12" fmla="*/ 41 w 207"/>
                <a:gd name="T13" fmla="*/ 89 h 257"/>
                <a:gd name="T14" fmla="*/ 30 w 207"/>
                <a:gd name="T15" fmla="*/ 84 h 257"/>
                <a:gd name="T16" fmla="*/ 22 w 207"/>
                <a:gd name="T17" fmla="*/ 70 h 257"/>
                <a:gd name="T18" fmla="*/ 31 w 207"/>
                <a:gd name="T19" fmla="*/ 68 h 257"/>
                <a:gd name="T20" fmla="*/ 33 w 207"/>
                <a:gd name="T21" fmla="*/ 53 h 257"/>
                <a:gd name="T22" fmla="*/ 60 w 207"/>
                <a:gd name="T23" fmla="*/ 54 h 257"/>
                <a:gd name="T24" fmla="*/ 93 w 207"/>
                <a:gd name="T25" fmla="*/ 27 h 257"/>
                <a:gd name="T26" fmla="*/ 103 w 207"/>
                <a:gd name="T27" fmla="*/ 2 h 257"/>
                <a:gd name="T28" fmla="*/ 125 w 207"/>
                <a:gd name="T29" fmla="*/ 2 h 257"/>
                <a:gd name="T30" fmla="*/ 141 w 207"/>
                <a:gd name="T31" fmla="*/ 3 h 257"/>
                <a:gd name="T32" fmla="*/ 163 w 207"/>
                <a:gd name="T33" fmla="*/ 11 h 257"/>
                <a:gd name="T34" fmla="*/ 160 w 207"/>
                <a:gd name="T35" fmla="*/ 35 h 257"/>
                <a:gd name="T36" fmla="*/ 172 w 207"/>
                <a:gd name="T37" fmla="*/ 43 h 257"/>
                <a:gd name="T38" fmla="*/ 193 w 207"/>
                <a:gd name="T39" fmla="*/ 38 h 257"/>
                <a:gd name="T40" fmla="*/ 199 w 207"/>
                <a:gd name="T41" fmla="*/ 51 h 257"/>
                <a:gd name="T42" fmla="*/ 201 w 207"/>
                <a:gd name="T43" fmla="*/ 70 h 257"/>
                <a:gd name="T44" fmla="*/ 187 w 207"/>
                <a:gd name="T45" fmla="*/ 84 h 257"/>
                <a:gd name="T46" fmla="*/ 185 w 207"/>
                <a:gd name="T47" fmla="*/ 100 h 257"/>
                <a:gd name="T48" fmla="*/ 191 w 207"/>
                <a:gd name="T49" fmla="*/ 106 h 257"/>
                <a:gd name="T50" fmla="*/ 206 w 207"/>
                <a:gd name="T51" fmla="*/ 118 h 257"/>
                <a:gd name="T52" fmla="*/ 204 w 207"/>
                <a:gd name="T53" fmla="*/ 135 h 257"/>
                <a:gd name="T54" fmla="*/ 207 w 207"/>
                <a:gd name="T55" fmla="*/ 152 h 257"/>
                <a:gd name="T56" fmla="*/ 204 w 207"/>
                <a:gd name="T57" fmla="*/ 168 h 257"/>
                <a:gd name="T58" fmla="*/ 198 w 207"/>
                <a:gd name="T59" fmla="*/ 183 h 257"/>
                <a:gd name="T60" fmla="*/ 193 w 207"/>
                <a:gd name="T61" fmla="*/ 198 h 257"/>
                <a:gd name="T62" fmla="*/ 179 w 207"/>
                <a:gd name="T63" fmla="*/ 184 h 257"/>
                <a:gd name="T64" fmla="*/ 166 w 207"/>
                <a:gd name="T65" fmla="*/ 195 h 257"/>
                <a:gd name="T66" fmla="*/ 153 w 207"/>
                <a:gd name="T67" fmla="*/ 189 h 257"/>
                <a:gd name="T68" fmla="*/ 146 w 207"/>
                <a:gd name="T69" fmla="*/ 175 h 257"/>
                <a:gd name="T70" fmla="*/ 133 w 207"/>
                <a:gd name="T71" fmla="*/ 176 h 257"/>
                <a:gd name="T72" fmla="*/ 133 w 207"/>
                <a:gd name="T73" fmla="*/ 190 h 257"/>
                <a:gd name="T74" fmla="*/ 104 w 207"/>
                <a:gd name="T75" fmla="*/ 192 h 257"/>
                <a:gd name="T76" fmla="*/ 104 w 207"/>
                <a:gd name="T77" fmla="*/ 203 h 257"/>
                <a:gd name="T78" fmla="*/ 106 w 207"/>
                <a:gd name="T79" fmla="*/ 214 h 257"/>
                <a:gd name="T80" fmla="*/ 106 w 207"/>
                <a:gd name="T81" fmla="*/ 225 h 257"/>
                <a:gd name="T82" fmla="*/ 111 w 207"/>
                <a:gd name="T83" fmla="*/ 241 h 257"/>
                <a:gd name="T84" fmla="*/ 104 w 207"/>
                <a:gd name="T85" fmla="*/ 244 h 257"/>
                <a:gd name="T86" fmla="*/ 88 w 207"/>
                <a:gd name="T87" fmla="*/ 246 h 257"/>
                <a:gd name="T88" fmla="*/ 80 w 207"/>
                <a:gd name="T89" fmla="*/ 249 h 257"/>
                <a:gd name="T90" fmla="*/ 68 w 207"/>
                <a:gd name="T91" fmla="*/ 233 h 257"/>
                <a:gd name="T92" fmla="*/ 39 w 207"/>
                <a:gd name="T93" fmla="*/ 197 h 257"/>
                <a:gd name="T94" fmla="*/ 42 w 207"/>
                <a:gd name="T95" fmla="*/ 200 h 257"/>
                <a:gd name="T96" fmla="*/ 30 w 207"/>
                <a:gd name="T97" fmla="*/ 189 h 257"/>
                <a:gd name="T98" fmla="*/ 19 w 207"/>
                <a:gd name="T99" fmla="*/ 173 h 257"/>
                <a:gd name="T100" fmla="*/ 25 w 207"/>
                <a:gd name="T101" fmla="*/ 171 h 257"/>
                <a:gd name="T102" fmla="*/ 12 w 207"/>
                <a:gd name="T103" fmla="*/ 156 h 257"/>
                <a:gd name="T104" fmla="*/ 19 w 207"/>
                <a:gd name="T105" fmla="*/ 164 h 257"/>
                <a:gd name="T106" fmla="*/ 23 w 207"/>
                <a:gd name="T107" fmla="*/ 156 h 257"/>
                <a:gd name="T108" fmla="*/ 20 w 207"/>
                <a:gd name="T109" fmla="*/ 148 h 257"/>
                <a:gd name="T110" fmla="*/ 9 w 207"/>
                <a:gd name="T111" fmla="*/ 146 h 257"/>
                <a:gd name="T112" fmla="*/ 6 w 207"/>
                <a:gd name="T113" fmla="*/ 135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07" h="257">
                  <a:moveTo>
                    <a:pt x="3" y="132"/>
                  </a:moveTo>
                  <a:lnTo>
                    <a:pt x="0" y="129"/>
                  </a:lnTo>
                  <a:lnTo>
                    <a:pt x="0" y="125"/>
                  </a:lnTo>
                  <a:lnTo>
                    <a:pt x="0" y="121"/>
                  </a:lnTo>
                  <a:lnTo>
                    <a:pt x="1" y="125"/>
                  </a:lnTo>
                  <a:lnTo>
                    <a:pt x="3" y="129"/>
                  </a:lnTo>
                  <a:lnTo>
                    <a:pt x="4" y="125"/>
                  </a:lnTo>
                  <a:lnTo>
                    <a:pt x="6" y="125"/>
                  </a:lnTo>
                  <a:lnTo>
                    <a:pt x="6" y="125"/>
                  </a:lnTo>
                  <a:lnTo>
                    <a:pt x="8" y="129"/>
                  </a:lnTo>
                  <a:lnTo>
                    <a:pt x="9" y="132"/>
                  </a:lnTo>
                  <a:lnTo>
                    <a:pt x="9" y="130"/>
                  </a:lnTo>
                  <a:lnTo>
                    <a:pt x="9" y="127"/>
                  </a:lnTo>
                  <a:lnTo>
                    <a:pt x="12" y="124"/>
                  </a:lnTo>
                  <a:lnTo>
                    <a:pt x="11" y="121"/>
                  </a:lnTo>
                  <a:lnTo>
                    <a:pt x="14" y="118"/>
                  </a:lnTo>
                  <a:lnTo>
                    <a:pt x="17" y="114"/>
                  </a:lnTo>
                  <a:lnTo>
                    <a:pt x="19" y="110"/>
                  </a:lnTo>
                  <a:lnTo>
                    <a:pt x="19" y="106"/>
                  </a:lnTo>
                  <a:lnTo>
                    <a:pt x="20" y="103"/>
                  </a:lnTo>
                  <a:lnTo>
                    <a:pt x="20" y="100"/>
                  </a:lnTo>
                  <a:lnTo>
                    <a:pt x="20" y="94"/>
                  </a:lnTo>
                  <a:lnTo>
                    <a:pt x="20" y="91"/>
                  </a:lnTo>
                  <a:lnTo>
                    <a:pt x="20" y="87"/>
                  </a:lnTo>
                  <a:lnTo>
                    <a:pt x="22" y="84"/>
                  </a:lnTo>
                  <a:lnTo>
                    <a:pt x="23" y="87"/>
                  </a:lnTo>
                  <a:lnTo>
                    <a:pt x="23" y="89"/>
                  </a:lnTo>
                  <a:lnTo>
                    <a:pt x="25" y="89"/>
                  </a:lnTo>
                  <a:lnTo>
                    <a:pt x="27" y="92"/>
                  </a:lnTo>
                  <a:lnTo>
                    <a:pt x="27" y="89"/>
                  </a:lnTo>
                  <a:lnTo>
                    <a:pt x="30" y="91"/>
                  </a:lnTo>
                  <a:lnTo>
                    <a:pt x="34" y="91"/>
                  </a:lnTo>
                  <a:lnTo>
                    <a:pt x="38" y="94"/>
                  </a:lnTo>
                  <a:lnTo>
                    <a:pt x="38" y="91"/>
                  </a:lnTo>
                  <a:lnTo>
                    <a:pt x="41" y="89"/>
                  </a:lnTo>
                  <a:lnTo>
                    <a:pt x="44" y="89"/>
                  </a:lnTo>
                  <a:lnTo>
                    <a:pt x="44" y="87"/>
                  </a:lnTo>
                  <a:lnTo>
                    <a:pt x="36" y="87"/>
                  </a:lnTo>
                  <a:lnTo>
                    <a:pt x="33" y="87"/>
                  </a:lnTo>
                  <a:lnTo>
                    <a:pt x="30" y="84"/>
                  </a:lnTo>
                  <a:lnTo>
                    <a:pt x="25" y="83"/>
                  </a:lnTo>
                  <a:lnTo>
                    <a:pt x="23" y="79"/>
                  </a:lnTo>
                  <a:lnTo>
                    <a:pt x="23" y="76"/>
                  </a:lnTo>
                  <a:lnTo>
                    <a:pt x="19" y="73"/>
                  </a:lnTo>
                  <a:lnTo>
                    <a:pt x="22" y="70"/>
                  </a:lnTo>
                  <a:lnTo>
                    <a:pt x="25" y="72"/>
                  </a:lnTo>
                  <a:lnTo>
                    <a:pt x="30" y="72"/>
                  </a:lnTo>
                  <a:lnTo>
                    <a:pt x="30" y="75"/>
                  </a:lnTo>
                  <a:lnTo>
                    <a:pt x="31" y="72"/>
                  </a:lnTo>
                  <a:lnTo>
                    <a:pt x="31" y="68"/>
                  </a:lnTo>
                  <a:lnTo>
                    <a:pt x="30" y="65"/>
                  </a:lnTo>
                  <a:lnTo>
                    <a:pt x="30" y="60"/>
                  </a:lnTo>
                  <a:lnTo>
                    <a:pt x="28" y="57"/>
                  </a:lnTo>
                  <a:lnTo>
                    <a:pt x="30" y="54"/>
                  </a:lnTo>
                  <a:lnTo>
                    <a:pt x="33" y="53"/>
                  </a:lnTo>
                  <a:lnTo>
                    <a:pt x="38" y="54"/>
                  </a:lnTo>
                  <a:lnTo>
                    <a:pt x="41" y="57"/>
                  </a:lnTo>
                  <a:lnTo>
                    <a:pt x="44" y="54"/>
                  </a:lnTo>
                  <a:lnTo>
                    <a:pt x="52" y="54"/>
                  </a:lnTo>
                  <a:lnTo>
                    <a:pt x="60" y="54"/>
                  </a:lnTo>
                  <a:lnTo>
                    <a:pt x="68" y="54"/>
                  </a:lnTo>
                  <a:lnTo>
                    <a:pt x="90" y="54"/>
                  </a:lnTo>
                  <a:lnTo>
                    <a:pt x="93" y="54"/>
                  </a:lnTo>
                  <a:lnTo>
                    <a:pt x="93" y="41"/>
                  </a:lnTo>
                  <a:lnTo>
                    <a:pt x="93" y="27"/>
                  </a:lnTo>
                  <a:lnTo>
                    <a:pt x="93" y="13"/>
                  </a:lnTo>
                  <a:lnTo>
                    <a:pt x="93" y="2"/>
                  </a:lnTo>
                  <a:lnTo>
                    <a:pt x="96" y="2"/>
                  </a:lnTo>
                  <a:lnTo>
                    <a:pt x="100" y="2"/>
                  </a:lnTo>
                  <a:lnTo>
                    <a:pt x="103" y="2"/>
                  </a:lnTo>
                  <a:lnTo>
                    <a:pt x="104" y="0"/>
                  </a:lnTo>
                  <a:lnTo>
                    <a:pt x="107" y="2"/>
                  </a:lnTo>
                  <a:lnTo>
                    <a:pt x="119" y="2"/>
                  </a:lnTo>
                  <a:lnTo>
                    <a:pt x="122" y="2"/>
                  </a:lnTo>
                  <a:lnTo>
                    <a:pt x="125" y="2"/>
                  </a:lnTo>
                  <a:lnTo>
                    <a:pt x="128" y="0"/>
                  </a:lnTo>
                  <a:lnTo>
                    <a:pt x="130" y="2"/>
                  </a:lnTo>
                  <a:lnTo>
                    <a:pt x="134" y="2"/>
                  </a:lnTo>
                  <a:lnTo>
                    <a:pt x="138" y="3"/>
                  </a:lnTo>
                  <a:lnTo>
                    <a:pt x="141" y="3"/>
                  </a:lnTo>
                  <a:lnTo>
                    <a:pt x="144" y="5"/>
                  </a:lnTo>
                  <a:lnTo>
                    <a:pt x="153" y="3"/>
                  </a:lnTo>
                  <a:lnTo>
                    <a:pt x="161" y="3"/>
                  </a:lnTo>
                  <a:lnTo>
                    <a:pt x="163" y="7"/>
                  </a:lnTo>
                  <a:lnTo>
                    <a:pt x="163" y="11"/>
                  </a:lnTo>
                  <a:lnTo>
                    <a:pt x="160" y="14"/>
                  </a:lnTo>
                  <a:lnTo>
                    <a:pt x="160" y="18"/>
                  </a:lnTo>
                  <a:lnTo>
                    <a:pt x="160" y="21"/>
                  </a:lnTo>
                  <a:lnTo>
                    <a:pt x="160" y="22"/>
                  </a:lnTo>
                  <a:lnTo>
                    <a:pt x="160" y="35"/>
                  </a:lnTo>
                  <a:lnTo>
                    <a:pt x="160" y="46"/>
                  </a:lnTo>
                  <a:lnTo>
                    <a:pt x="161" y="46"/>
                  </a:lnTo>
                  <a:lnTo>
                    <a:pt x="165" y="45"/>
                  </a:lnTo>
                  <a:lnTo>
                    <a:pt x="169" y="43"/>
                  </a:lnTo>
                  <a:lnTo>
                    <a:pt x="172" y="43"/>
                  </a:lnTo>
                  <a:lnTo>
                    <a:pt x="176" y="41"/>
                  </a:lnTo>
                  <a:lnTo>
                    <a:pt x="179" y="40"/>
                  </a:lnTo>
                  <a:lnTo>
                    <a:pt x="182" y="37"/>
                  </a:lnTo>
                  <a:lnTo>
                    <a:pt x="187" y="37"/>
                  </a:lnTo>
                  <a:lnTo>
                    <a:pt x="193" y="38"/>
                  </a:lnTo>
                  <a:lnTo>
                    <a:pt x="193" y="38"/>
                  </a:lnTo>
                  <a:lnTo>
                    <a:pt x="198" y="40"/>
                  </a:lnTo>
                  <a:lnTo>
                    <a:pt x="199" y="43"/>
                  </a:lnTo>
                  <a:lnTo>
                    <a:pt x="199" y="46"/>
                  </a:lnTo>
                  <a:lnTo>
                    <a:pt x="199" y="51"/>
                  </a:lnTo>
                  <a:lnTo>
                    <a:pt x="203" y="54"/>
                  </a:lnTo>
                  <a:lnTo>
                    <a:pt x="206" y="57"/>
                  </a:lnTo>
                  <a:lnTo>
                    <a:pt x="206" y="60"/>
                  </a:lnTo>
                  <a:lnTo>
                    <a:pt x="203" y="65"/>
                  </a:lnTo>
                  <a:lnTo>
                    <a:pt x="201" y="70"/>
                  </a:lnTo>
                  <a:lnTo>
                    <a:pt x="198" y="73"/>
                  </a:lnTo>
                  <a:lnTo>
                    <a:pt x="191" y="73"/>
                  </a:lnTo>
                  <a:lnTo>
                    <a:pt x="191" y="78"/>
                  </a:lnTo>
                  <a:lnTo>
                    <a:pt x="188" y="81"/>
                  </a:lnTo>
                  <a:lnTo>
                    <a:pt x="187" y="84"/>
                  </a:lnTo>
                  <a:lnTo>
                    <a:pt x="185" y="87"/>
                  </a:lnTo>
                  <a:lnTo>
                    <a:pt x="185" y="91"/>
                  </a:lnTo>
                  <a:lnTo>
                    <a:pt x="187" y="95"/>
                  </a:lnTo>
                  <a:lnTo>
                    <a:pt x="187" y="95"/>
                  </a:lnTo>
                  <a:lnTo>
                    <a:pt x="185" y="100"/>
                  </a:lnTo>
                  <a:lnTo>
                    <a:pt x="185" y="100"/>
                  </a:lnTo>
                  <a:lnTo>
                    <a:pt x="184" y="103"/>
                  </a:lnTo>
                  <a:lnTo>
                    <a:pt x="185" y="106"/>
                  </a:lnTo>
                  <a:lnTo>
                    <a:pt x="188" y="106"/>
                  </a:lnTo>
                  <a:lnTo>
                    <a:pt x="191" y="106"/>
                  </a:lnTo>
                  <a:lnTo>
                    <a:pt x="195" y="110"/>
                  </a:lnTo>
                  <a:lnTo>
                    <a:pt x="195" y="114"/>
                  </a:lnTo>
                  <a:lnTo>
                    <a:pt x="198" y="114"/>
                  </a:lnTo>
                  <a:lnTo>
                    <a:pt x="203" y="114"/>
                  </a:lnTo>
                  <a:lnTo>
                    <a:pt x="206" y="118"/>
                  </a:lnTo>
                  <a:lnTo>
                    <a:pt x="207" y="121"/>
                  </a:lnTo>
                  <a:lnTo>
                    <a:pt x="207" y="124"/>
                  </a:lnTo>
                  <a:lnTo>
                    <a:pt x="206" y="129"/>
                  </a:lnTo>
                  <a:lnTo>
                    <a:pt x="206" y="132"/>
                  </a:lnTo>
                  <a:lnTo>
                    <a:pt x="204" y="135"/>
                  </a:lnTo>
                  <a:lnTo>
                    <a:pt x="204" y="138"/>
                  </a:lnTo>
                  <a:lnTo>
                    <a:pt x="206" y="141"/>
                  </a:lnTo>
                  <a:lnTo>
                    <a:pt x="206" y="145"/>
                  </a:lnTo>
                  <a:lnTo>
                    <a:pt x="206" y="149"/>
                  </a:lnTo>
                  <a:lnTo>
                    <a:pt x="207" y="152"/>
                  </a:lnTo>
                  <a:lnTo>
                    <a:pt x="206" y="156"/>
                  </a:lnTo>
                  <a:lnTo>
                    <a:pt x="206" y="159"/>
                  </a:lnTo>
                  <a:lnTo>
                    <a:pt x="203" y="162"/>
                  </a:lnTo>
                  <a:lnTo>
                    <a:pt x="206" y="165"/>
                  </a:lnTo>
                  <a:lnTo>
                    <a:pt x="204" y="168"/>
                  </a:lnTo>
                  <a:lnTo>
                    <a:pt x="204" y="171"/>
                  </a:lnTo>
                  <a:lnTo>
                    <a:pt x="203" y="175"/>
                  </a:lnTo>
                  <a:lnTo>
                    <a:pt x="198" y="176"/>
                  </a:lnTo>
                  <a:lnTo>
                    <a:pt x="198" y="179"/>
                  </a:lnTo>
                  <a:lnTo>
                    <a:pt x="198" y="183"/>
                  </a:lnTo>
                  <a:lnTo>
                    <a:pt x="195" y="186"/>
                  </a:lnTo>
                  <a:lnTo>
                    <a:pt x="196" y="190"/>
                  </a:lnTo>
                  <a:lnTo>
                    <a:pt x="195" y="194"/>
                  </a:lnTo>
                  <a:lnTo>
                    <a:pt x="193" y="197"/>
                  </a:lnTo>
                  <a:lnTo>
                    <a:pt x="193" y="198"/>
                  </a:lnTo>
                  <a:lnTo>
                    <a:pt x="190" y="198"/>
                  </a:lnTo>
                  <a:lnTo>
                    <a:pt x="185" y="198"/>
                  </a:lnTo>
                  <a:lnTo>
                    <a:pt x="184" y="189"/>
                  </a:lnTo>
                  <a:lnTo>
                    <a:pt x="180" y="181"/>
                  </a:lnTo>
                  <a:lnTo>
                    <a:pt x="179" y="184"/>
                  </a:lnTo>
                  <a:lnTo>
                    <a:pt x="176" y="189"/>
                  </a:lnTo>
                  <a:lnTo>
                    <a:pt x="176" y="189"/>
                  </a:lnTo>
                  <a:lnTo>
                    <a:pt x="172" y="192"/>
                  </a:lnTo>
                  <a:lnTo>
                    <a:pt x="169" y="195"/>
                  </a:lnTo>
                  <a:lnTo>
                    <a:pt x="166" y="195"/>
                  </a:lnTo>
                  <a:lnTo>
                    <a:pt x="163" y="194"/>
                  </a:lnTo>
                  <a:lnTo>
                    <a:pt x="158" y="192"/>
                  </a:lnTo>
                  <a:lnTo>
                    <a:pt x="155" y="192"/>
                  </a:lnTo>
                  <a:lnTo>
                    <a:pt x="153" y="192"/>
                  </a:lnTo>
                  <a:lnTo>
                    <a:pt x="153" y="189"/>
                  </a:lnTo>
                  <a:lnTo>
                    <a:pt x="152" y="186"/>
                  </a:lnTo>
                  <a:lnTo>
                    <a:pt x="150" y="183"/>
                  </a:lnTo>
                  <a:lnTo>
                    <a:pt x="149" y="181"/>
                  </a:lnTo>
                  <a:lnTo>
                    <a:pt x="147" y="178"/>
                  </a:lnTo>
                  <a:lnTo>
                    <a:pt x="146" y="175"/>
                  </a:lnTo>
                  <a:lnTo>
                    <a:pt x="144" y="173"/>
                  </a:lnTo>
                  <a:lnTo>
                    <a:pt x="139" y="170"/>
                  </a:lnTo>
                  <a:lnTo>
                    <a:pt x="136" y="171"/>
                  </a:lnTo>
                  <a:lnTo>
                    <a:pt x="133" y="173"/>
                  </a:lnTo>
                  <a:lnTo>
                    <a:pt x="133" y="176"/>
                  </a:lnTo>
                  <a:lnTo>
                    <a:pt x="133" y="179"/>
                  </a:lnTo>
                  <a:lnTo>
                    <a:pt x="134" y="183"/>
                  </a:lnTo>
                  <a:lnTo>
                    <a:pt x="134" y="186"/>
                  </a:lnTo>
                  <a:lnTo>
                    <a:pt x="133" y="190"/>
                  </a:lnTo>
                  <a:lnTo>
                    <a:pt x="133" y="190"/>
                  </a:lnTo>
                  <a:lnTo>
                    <a:pt x="119" y="195"/>
                  </a:lnTo>
                  <a:lnTo>
                    <a:pt x="115" y="190"/>
                  </a:lnTo>
                  <a:lnTo>
                    <a:pt x="112" y="192"/>
                  </a:lnTo>
                  <a:lnTo>
                    <a:pt x="109" y="194"/>
                  </a:lnTo>
                  <a:lnTo>
                    <a:pt x="104" y="192"/>
                  </a:lnTo>
                  <a:lnTo>
                    <a:pt x="101" y="190"/>
                  </a:lnTo>
                  <a:lnTo>
                    <a:pt x="103" y="194"/>
                  </a:lnTo>
                  <a:lnTo>
                    <a:pt x="103" y="198"/>
                  </a:lnTo>
                  <a:lnTo>
                    <a:pt x="103" y="202"/>
                  </a:lnTo>
                  <a:lnTo>
                    <a:pt x="104" y="203"/>
                  </a:lnTo>
                  <a:lnTo>
                    <a:pt x="103" y="206"/>
                  </a:lnTo>
                  <a:lnTo>
                    <a:pt x="100" y="210"/>
                  </a:lnTo>
                  <a:lnTo>
                    <a:pt x="100" y="211"/>
                  </a:lnTo>
                  <a:lnTo>
                    <a:pt x="104" y="211"/>
                  </a:lnTo>
                  <a:lnTo>
                    <a:pt x="106" y="214"/>
                  </a:lnTo>
                  <a:lnTo>
                    <a:pt x="109" y="217"/>
                  </a:lnTo>
                  <a:lnTo>
                    <a:pt x="109" y="219"/>
                  </a:lnTo>
                  <a:lnTo>
                    <a:pt x="106" y="222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9" y="227"/>
                  </a:lnTo>
                  <a:lnTo>
                    <a:pt x="114" y="230"/>
                  </a:lnTo>
                  <a:lnTo>
                    <a:pt x="114" y="233"/>
                  </a:lnTo>
                  <a:lnTo>
                    <a:pt x="112" y="236"/>
                  </a:lnTo>
                  <a:lnTo>
                    <a:pt x="111" y="241"/>
                  </a:lnTo>
                  <a:lnTo>
                    <a:pt x="114" y="244"/>
                  </a:lnTo>
                  <a:lnTo>
                    <a:pt x="112" y="248"/>
                  </a:lnTo>
                  <a:lnTo>
                    <a:pt x="111" y="248"/>
                  </a:lnTo>
                  <a:lnTo>
                    <a:pt x="107" y="246"/>
                  </a:lnTo>
                  <a:lnTo>
                    <a:pt x="104" y="244"/>
                  </a:lnTo>
                  <a:lnTo>
                    <a:pt x="101" y="241"/>
                  </a:lnTo>
                  <a:lnTo>
                    <a:pt x="98" y="240"/>
                  </a:lnTo>
                  <a:lnTo>
                    <a:pt x="96" y="243"/>
                  </a:lnTo>
                  <a:lnTo>
                    <a:pt x="93" y="243"/>
                  </a:lnTo>
                  <a:lnTo>
                    <a:pt x="88" y="246"/>
                  </a:lnTo>
                  <a:lnTo>
                    <a:pt x="88" y="251"/>
                  </a:lnTo>
                  <a:lnTo>
                    <a:pt x="87" y="254"/>
                  </a:lnTo>
                  <a:lnTo>
                    <a:pt x="85" y="257"/>
                  </a:lnTo>
                  <a:lnTo>
                    <a:pt x="82" y="254"/>
                  </a:lnTo>
                  <a:lnTo>
                    <a:pt x="80" y="249"/>
                  </a:lnTo>
                  <a:lnTo>
                    <a:pt x="79" y="246"/>
                  </a:lnTo>
                  <a:lnTo>
                    <a:pt x="73" y="240"/>
                  </a:lnTo>
                  <a:lnTo>
                    <a:pt x="69" y="236"/>
                  </a:lnTo>
                  <a:lnTo>
                    <a:pt x="68" y="233"/>
                  </a:lnTo>
                  <a:lnTo>
                    <a:pt x="68" y="233"/>
                  </a:lnTo>
                  <a:lnTo>
                    <a:pt x="65" y="229"/>
                  </a:lnTo>
                  <a:lnTo>
                    <a:pt x="63" y="225"/>
                  </a:lnTo>
                  <a:lnTo>
                    <a:pt x="49" y="211"/>
                  </a:lnTo>
                  <a:lnTo>
                    <a:pt x="34" y="197"/>
                  </a:lnTo>
                  <a:lnTo>
                    <a:pt x="39" y="197"/>
                  </a:lnTo>
                  <a:lnTo>
                    <a:pt x="41" y="200"/>
                  </a:lnTo>
                  <a:lnTo>
                    <a:pt x="44" y="203"/>
                  </a:lnTo>
                  <a:lnTo>
                    <a:pt x="47" y="200"/>
                  </a:lnTo>
                  <a:lnTo>
                    <a:pt x="44" y="200"/>
                  </a:lnTo>
                  <a:lnTo>
                    <a:pt x="42" y="200"/>
                  </a:lnTo>
                  <a:lnTo>
                    <a:pt x="41" y="197"/>
                  </a:lnTo>
                  <a:lnTo>
                    <a:pt x="38" y="195"/>
                  </a:lnTo>
                  <a:lnTo>
                    <a:pt x="34" y="195"/>
                  </a:lnTo>
                  <a:lnTo>
                    <a:pt x="30" y="194"/>
                  </a:lnTo>
                  <a:lnTo>
                    <a:pt x="30" y="189"/>
                  </a:lnTo>
                  <a:lnTo>
                    <a:pt x="28" y="186"/>
                  </a:lnTo>
                  <a:lnTo>
                    <a:pt x="27" y="183"/>
                  </a:lnTo>
                  <a:lnTo>
                    <a:pt x="23" y="179"/>
                  </a:lnTo>
                  <a:lnTo>
                    <a:pt x="20" y="176"/>
                  </a:lnTo>
                  <a:lnTo>
                    <a:pt x="19" y="173"/>
                  </a:lnTo>
                  <a:lnTo>
                    <a:pt x="22" y="173"/>
                  </a:lnTo>
                  <a:lnTo>
                    <a:pt x="25" y="176"/>
                  </a:lnTo>
                  <a:lnTo>
                    <a:pt x="28" y="179"/>
                  </a:lnTo>
                  <a:lnTo>
                    <a:pt x="27" y="175"/>
                  </a:lnTo>
                  <a:lnTo>
                    <a:pt x="25" y="171"/>
                  </a:lnTo>
                  <a:lnTo>
                    <a:pt x="20" y="171"/>
                  </a:lnTo>
                  <a:lnTo>
                    <a:pt x="17" y="170"/>
                  </a:lnTo>
                  <a:lnTo>
                    <a:pt x="17" y="164"/>
                  </a:lnTo>
                  <a:lnTo>
                    <a:pt x="15" y="159"/>
                  </a:lnTo>
                  <a:lnTo>
                    <a:pt x="12" y="156"/>
                  </a:lnTo>
                  <a:lnTo>
                    <a:pt x="9" y="149"/>
                  </a:lnTo>
                  <a:lnTo>
                    <a:pt x="12" y="152"/>
                  </a:lnTo>
                  <a:lnTo>
                    <a:pt x="14" y="157"/>
                  </a:lnTo>
                  <a:lnTo>
                    <a:pt x="19" y="160"/>
                  </a:lnTo>
                  <a:lnTo>
                    <a:pt x="19" y="164"/>
                  </a:lnTo>
                  <a:lnTo>
                    <a:pt x="22" y="162"/>
                  </a:lnTo>
                  <a:lnTo>
                    <a:pt x="25" y="162"/>
                  </a:lnTo>
                  <a:lnTo>
                    <a:pt x="28" y="162"/>
                  </a:lnTo>
                  <a:lnTo>
                    <a:pt x="27" y="159"/>
                  </a:lnTo>
                  <a:lnTo>
                    <a:pt x="23" y="156"/>
                  </a:lnTo>
                  <a:lnTo>
                    <a:pt x="22" y="159"/>
                  </a:lnTo>
                  <a:lnTo>
                    <a:pt x="19" y="159"/>
                  </a:lnTo>
                  <a:lnTo>
                    <a:pt x="19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7" y="152"/>
                  </a:lnTo>
                  <a:lnTo>
                    <a:pt x="14" y="152"/>
                  </a:lnTo>
                  <a:lnTo>
                    <a:pt x="14" y="151"/>
                  </a:lnTo>
                  <a:lnTo>
                    <a:pt x="9" y="149"/>
                  </a:lnTo>
                  <a:lnTo>
                    <a:pt x="9" y="146"/>
                  </a:lnTo>
                  <a:lnTo>
                    <a:pt x="8" y="143"/>
                  </a:lnTo>
                  <a:lnTo>
                    <a:pt x="8" y="145"/>
                  </a:lnTo>
                  <a:lnTo>
                    <a:pt x="6" y="140"/>
                  </a:lnTo>
                  <a:lnTo>
                    <a:pt x="6" y="137"/>
                  </a:lnTo>
                  <a:lnTo>
                    <a:pt x="6" y="135"/>
                  </a:lnTo>
                  <a:lnTo>
                    <a:pt x="3" y="133"/>
                  </a:lnTo>
                  <a:lnTo>
                    <a:pt x="3" y="13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82" name="Freeform 449"/>
            <p:cNvSpPr>
              <a:spLocks/>
            </p:cNvSpPr>
            <p:nvPr/>
          </p:nvSpPr>
          <p:spPr bwMode="auto">
            <a:xfrm>
              <a:off x="5663463" y="4702002"/>
              <a:ext cx="199969" cy="302945"/>
            </a:xfrm>
            <a:custGeom>
              <a:avLst/>
              <a:gdLst>
                <a:gd name="T0" fmla="*/ 11 w 271"/>
                <a:gd name="T1" fmla="*/ 300 h 358"/>
                <a:gd name="T2" fmla="*/ 27 w 271"/>
                <a:gd name="T3" fmla="*/ 305 h 358"/>
                <a:gd name="T4" fmla="*/ 24 w 271"/>
                <a:gd name="T5" fmla="*/ 284 h 358"/>
                <a:gd name="T6" fmla="*/ 21 w 271"/>
                <a:gd name="T7" fmla="*/ 271 h 358"/>
                <a:gd name="T8" fmla="*/ 18 w 271"/>
                <a:gd name="T9" fmla="*/ 259 h 358"/>
                <a:gd name="T10" fmla="*/ 27 w 271"/>
                <a:gd name="T11" fmla="*/ 249 h 358"/>
                <a:gd name="T12" fmla="*/ 49 w 271"/>
                <a:gd name="T13" fmla="*/ 240 h 358"/>
                <a:gd name="T14" fmla="*/ 59 w 271"/>
                <a:gd name="T15" fmla="*/ 230 h 358"/>
                <a:gd name="T16" fmla="*/ 68 w 271"/>
                <a:gd name="T17" fmla="*/ 246 h 358"/>
                <a:gd name="T18" fmla="*/ 84 w 271"/>
                <a:gd name="T19" fmla="*/ 252 h 358"/>
                <a:gd name="T20" fmla="*/ 99 w 271"/>
                <a:gd name="T21" fmla="*/ 246 h 358"/>
                <a:gd name="T22" fmla="*/ 111 w 271"/>
                <a:gd name="T23" fmla="*/ 247 h 358"/>
                <a:gd name="T24" fmla="*/ 119 w 271"/>
                <a:gd name="T25" fmla="*/ 228 h 358"/>
                <a:gd name="T26" fmla="*/ 122 w 271"/>
                <a:gd name="T27" fmla="*/ 209 h 358"/>
                <a:gd name="T28" fmla="*/ 121 w 271"/>
                <a:gd name="T29" fmla="*/ 189 h 358"/>
                <a:gd name="T30" fmla="*/ 113 w 271"/>
                <a:gd name="T31" fmla="*/ 171 h 358"/>
                <a:gd name="T32" fmla="*/ 99 w 271"/>
                <a:gd name="T33" fmla="*/ 160 h 358"/>
                <a:gd name="T34" fmla="*/ 100 w 271"/>
                <a:gd name="T35" fmla="*/ 144 h 358"/>
                <a:gd name="T36" fmla="*/ 116 w 271"/>
                <a:gd name="T37" fmla="*/ 127 h 358"/>
                <a:gd name="T38" fmla="*/ 114 w 271"/>
                <a:gd name="T39" fmla="*/ 103 h 358"/>
                <a:gd name="T40" fmla="*/ 97 w 271"/>
                <a:gd name="T41" fmla="*/ 94 h 358"/>
                <a:gd name="T42" fmla="*/ 76 w 271"/>
                <a:gd name="T43" fmla="*/ 103 h 358"/>
                <a:gd name="T44" fmla="*/ 73 w 271"/>
                <a:gd name="T45" fmla="*/ 83 h 358"/>
                <a:gd name="T46" fmla="*/ 78 w 271"/>
                <a:gd name="T47" fmla="*/ 64 h 358"/>
                <a:gd name="T48" fmla="*/ 127 w 271"/>
                <a:gd name="T49" fmla="*/ 65 h 358"/>
                <a:gd name="T50" fmla="*/ 143 w 271"/>
                <a:gd name="T51" fmla="*/ 71 h 358"/>
                <a:gd name="T52" fmla="*/ 164 w 271"/>
                <a:gd name="T53" fmla="*/ 73 h 358"/>
                <a:gd name="T54" fmla="*/ 179 w 271"/>
                <a:gd name="T55" fmla="*/ 84 h 358"/>
                <a:gd name="T56" fmla="*/ 179 w 271"/>
                <a:gd name="T57" fmla="*/ 62 h 358"/>
                <a:gd name="T58" fmla="*/ 192 w 271"/>
                <a:gd name="T59" fmla="*/ 32 h 358"/>
                <a:gd name="T60" fmla="*/ 197 w 271"/>
                <a:gd name="T61" fmla="*/ 13 h 358"/>
                <a:gd name="T62" fmla="*/ 216 w 271"/>
                <a:gd name="T63" fmla="*/ 6 h 358"/>
                <a:gd name="T64" fmla="*/ 237 w 271"/>
                <a:gd name="T65" fmla="*/ 5 h 358"/>
                <a:gd name="T66" fmla="*/ 257 w 271"/>
                <a:gd name="T67" fmla="*/ 8 h 358"/>
                <a:gd name="T68" fmla="*/ 271 w 271"/>
                <a:gd name="T69" fmla="*/ 18 h 358"/>
                <a:gd name="T70" fmla="*/ 264 w 271"/>
                <a:gd name="T71" fmla="*/ 37 h 358"/>
                <a:gd name="T72" fmla="*/ 257 w 271"/>
                <a:gd name="T73" fmla="*/ 51 h 358"/>
                <a:gd name="T74" fmla="*/ 251 w 271"/>
                <a:gd name="T75" fmla="*/ 87 h 358"/>
                <a:gd name="T76" fmla="*/ 248 w 271"/>
                <a:gd name="T77" fmla="*/ 103 h 358"/>
                <a:gd name="T78" fmla="*/ 244 w 271"/>
                <a:gd name="T79" fmla="*/ 124 h 358"/>
                <a:gd name="T80" fmla="*/ 244 w 271"/>
                <a:gd name="T81" fmla="*/ 141 h 358"/>
                <a:gd name="T82" fmla="*/ 238 w 271"/>
                <a:gd name="T83" fmla="*/ 160 h 358"/>
                <a:gd name="T84" fmla="*/ 237 w 271"/>
                <a:gd name="T85" fmla="*/ 178 h 358"/>
                <a:gd name="T86" fmla="*/ 216 w 271"/>
                <a:gd name="T87" fmla="*/ 197 h 358"/>
                <a:gd name="T88" fmla="*/ 194 w 271"/>
                <a:gd name="T89" fmla="*/ 230 h 358"/>
                <a:gd name="T90" fmla="*/ 183 w 271"/>
                <a:gd name="T91" fmla="*/ 252 h 358"/>
                <a:gd name="T92" fmla="*/ 184 w 271"/>
                <a:gd name="T93" fmla="*/ 290 h 358"/>
                <a:gd name="T94" fmla="*/ 172 w 271"/>
                <a:gd name="T95" fmla="*/ 314 h 358"/>
                <a:gd name="T96" fmla="*/ 157 w 271"/>
                <a:gd name="T97" fmla="*/ 324 h 358"/>
                <a:gd name="T98" fmla="*/ 148 w 271"/>
                <a:gd name="T99" fmla="*/ 330 h 358"/>
                <a:gd name="T100" fmla="*/ 135 w 271"/>
                <a:gd name="T101" fmla="*/ 346 h 358"/>
                <a:gd name="T102" fmla="*/ 119 w 271"/>
                <a:gd name="T103" fmla="*/ 352 h 358"/>
                <a:gd name="T104" fmla="*/ 121 w 271"/>
                <a:gd name="T105" fmla="*/ 335 h 358"/>
                <a:gd name="T106" fmla="*/ 102 w 271"/>
                <a:gd name="T107" fmla="*/ 336 h 358"/>
                <a:gd name="T108" fmla="*/ 83 w 271"/>
                <a:gd name="T109" fmla="*/ 352 h 358"/>
                <a:gd name="T110" fmla="*/ 67 w 271"/>
                <a:gd name="T111" fmla="*/ 339 h 358"/>
                <a:gd name="T112" fmla="*/ 56 w 271"/>
                <a:gd name="T113" fmla="*/ 339 h 358"/>
                <a:gd name="T114" fmla="*/ 41 w 271"/>
                <a:gd name="T115" fmla="*/ 349 h 358"/>
                <a:gd name="T116" fmla="*/ 30 w 271"/>
                <a:gd name="T117" fmla="*/ 355 h 358"/>
                <a:gd name="T118" fmla="*/ 21 w 271"/>
                <a:gd name="T119" fmla="*/ 335 h 358"/>
                <a:gd name="T120" fmla="*/ 3 w 271"/>
                <a:gd name="T121" fmla="*/ 317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1" h="358">
                  <a:moveTo>
                    <a:pt x="0" y="314"/>
                  </a:moveTo>
                  <a:lnTo>
                    <a:pt x="2" y="311"/>
                  </a:lnTo>
                  <a:lnTo>
                    <a:pt x="3" y="308"/>
                  </a:lnTo>
                  <a:lnTo>
                    <a:pt x="3" y="303"/>
                  </a:lnTo>
                  <a:lnTo>
                    <a:pt x="8" y="300"/>
                  </a:lnTo>
                  <a:lnTo>
                    <a:pt x="11" y="300"/>
                  </a:lnTo>
                  <a:lnTo>
                    <a:pt x="13" y="297"/>
                  </a:lnTo>
                  <a:lnTo>
                    <a:pt x="16" y="298"/>
                  </a:lnTo>
                  <a:lnTo>
                    <a:pt x="19" y="301"/>
                  </a:lnTo>
                  <a:lnTo>
                    <a:pt x="22" y="303"/>
                  </a:lnTo>
                  <a:lnTo>
                    <a:pt x="26" y="305"/>
                  </a:lnTo>
                  <a:lnTo>
                    <a:pt x="27" y="305"/>
                  </a:lnTo>
                  <a:lnTo>
                    <a:pt x="29" y="301"/>
                  </a:lnTo>
                  <a:lnTo>
                    <a:pt x="26" y="298"/>
                  </a:lnTo>
                  <a:lnTo>
                    <a:pt x="27" y="293"/>
                  </a:lnTo>
                  <a:lnTo>
                    <a:pt x="29" y="290"/>
                  </a:lnTo>
                  <a:lnTo>
                    <a:pt x="29" y="287"/>
                  </a:lnTo>
                  <a:lnTo>
                    <a:pt x="24" y="284"/>
                  </a:lnTo>
                  <a:lnTo>
                    <a:pt x="21" y="282"/>
                  </a:lnTo>
                  <a:lnTo>
                    <a:pt x="21" y="282"/>
                  </a:lnTo>
                  <a:lnTo>
                    <a:pt x="21" y="279"/>
                  </a:lnTo>
                  <a:lnTo>
                    <a:pt x="24" y="276"/>
                  </a:lnTo>
                  <a:lnTo>
                    <a:pt x="24" y="274"/>
                  </a:lnTo>
                  <a:lnTo>
                    <a:pt x="21" y="271"/>
                  </a:lnTo>
                  <a:lnTo>
                    <a:pt x="19" y="268"/>
                  </a:lnTo>
                  <a:lnTo>
                    <a:pt x="15" y="268"/>
                  </a:lnTo>
                  <a:lnTo>
                    <a:pt x="15" y="267"/>
                  </a:lnTo>
                  <a:lnTo>
                    <a:pt x="18" y="263"/>
                  </a:lnTo>
                  <a:lnTo>
                    <a:pt x="19" y="260"/>
                  </a:lnTo>
                  <a:lnTo>
                    <a:pt x="18" y="259"/>
                  </a:lnTo>
                  <a:lnTo>
                    <a:pt x="18" y="255"/>
                  </a:lnTo>
                  <a:lnTo>
                    <a:pt x="18" y="251"/>
                  </a:lnTo>
                  <a:lnTo>
                    <a:pt x="16" y="247"/>
                  </a:lnTo>
                  <a:lnTo>
                    <a:pt x="19" y="249"/>
                  </a:lnTo>
                  <a:lnTo>
                    <a:pt x="24" y="251"/>
                  </a:lnTo>
                  <a:lnTo>
                    <a:pt x="27" y="249"/>
                  </a:lnTo>
                  <a:lnTo>
                    <a:pt x="30" y="247"/>
                  </a:lnTo>
                  <a:lnTo>
                    <a:pt x="34" y="252"/>
                  </a:lnTo>
                  <a:lnTo>
                    <a:pt x="48" y="247"/>
                  </a:lnTo>
                  <a:lnTo>
                    <a:pt x="48" y="247"/>
                  </a:lnTo>
                  <a:lnTo>
                    <a:pt x="49" y="243"/>
                  </a:lnTo>
                  <a:lnTo>
                    <a:pt x="49" y="240"/>
                  </a:lnTo>
                  <a:lnTo>
                    <a:pt x="48" y="236"/>
                  </a:lnTo>
                  <a:lnTo>
                    <a:pt x="48" y="233"/>
                  </a:lnTo>
                  <a:lnTo>
                    <a:pt x="48" y="230"/>
                  </a:lnTo>
                  <a:lnTo>
                    <a:pt x="51" y="228"/>
                  </a:lnTo>
                  <a:lnTo>
                    <a:pt x="54" y="227"/>
                  </a:lnTo>
                  <a:lnTo>
                    <a:pt x="59" y="230"/>
                  </a:lnTo>
                  <a:lnTo>
                    <a:pt x="61" y="232"/>
                  </a:lnTo>
                  <a:lnTo>
                    <a:pt x="62" y="235"/>
                  </a:lnTo>
                  <a:lnTo>
                    <a:pt x="64" y="238"/>
                  </a:lnTo>
                  <a:lnTo>
                    <a:pt x="65" y="240"/>
                  </a:lnTo>
                  <a:lnTo>
                    <a:pt x="67" y="243"/>
                  </a:lnTo>
                  <a:lnTo>
                    <a:pt x="68" y="246"/>
                  </a:lnTo>
                  <a:lnTo>
                    <a:pt x="68" y="249"/>
                  </a:lnTo>
                  <a:lnTo>
                    <a:pt x="70" y="249"/>
                  </a:lnTo>
                  <a:lnTo>
                    <a:pt x="73" y="249"/>
                  </a:lnTo>
                  <a:lnTo>
                    <a:pt x="78" y="251"/>
                  </a:lnTo>
                  <a:lnTo>
                    <a:pt x="81" y="252"/>
                  </a:lnTo>
                  <a:lnTo>
                    <a:pt x="84" y="252"/>
                  </a:lnTo>
                  <a:lnTo>
                    <a:pt x="87" y="249"/>
                  </a:lnTo>
                  <a:lnTo>
                    <a:pt x="91" y="246"/>
                  </a:lnTo>
                  <a:lnTo>
                    <a:pt x="91" y="246"/>
                  </a:lnTo>
                  <a:lnTo>
                    <a:pt x="94" y="241"/>
                  </a:lnTo>
                  <a:lnTo>
                    <a:pt x="95" y="238"/>
                  </a:lnTo>
                  <a:lnTo>
                    <a:pt x="99" y="246"/>
                  </a:lnTo>
                  <a:lnTo>
                    <a:pt x="100" y="255"/>
                  </a:lnTo>
                  <a:lnTo>
                    <a:pt x="105" y="255"/>
                  </a:lnTo>
                  <a:lnTo>
                    <a:pt x="108" y="255"/>
                  </a:lnTo>
                  <a:lnTo>
                    <a:pt x="108" y="254"/>
                  </a:lnTo>
                  <a:lnTo>
                    <a:pt x="110" y="251"/>
                  </a:lnTo>
                  <a:lnTo>
                    <a:pt x="111" y="247"/>
                  </a:lnTo>
                  <a:lnTo>
                    <a:pt x="110" y="243"/>
                  </a:lnTo>
                  <a:lnTo>
                    <a:pt x="113" y="240"/>
                  </a:lnTo>
                  <a:lnTo>
                    <a:pt x="113" y="236"/>
                  </a:lnTo>
                  <a:lnTo>
                    <a:pt x="113" y="233"/>
                  </a:lnTo>
                  <a:lnTo>
                    <a:pt x="118" y="232"/>
                  </a:lnTo>
                  <a:lnTo>
                    <a:pt x="119" y="228"/>
                  </a:lnTo>
                  <a:lnTo>
                    <a:pt x="119" y="225"/>
                  </a:lnTo>
                  <a:lnTo>
                    <a:pt x="121" y="222"/>
                  </a:lnTo>
                  <a:lnTo>
                    <a:pt x="118" y="219"/>
                  </a:lnTo>
                  <a:lnTo>
                    <a:pt x="121" y="216"/>
                  </a:lnTo>
                  <a:lnTo>
                    <a:pt x="121" y="213"/>
                  </a:lnTo>
                  <a:lnTo>
                    <a:pt x="122" y="209"/>
                  </a:lnTo>
                  <a:lnTo>
                    <a:pt x="121" y="206"/>
                  </a:lnTo>
                  <a:lnTo>
                    <a:pt x="121" y="202"/>
                  </a:lnTo>
                  <a:lnTo>
                    <a:pt x="121" y="198"/>
                  </a:lnTo>
                  <a:lnTo>
                    <a:pt x="119" y="195"/>
                  </a:lnTo>
                  <a:lnTo>
                    <a:pt x="119" y="192"/>
                  </a:lnTo>
                  <a:lnTo>
                    <a:pt x="121" y="189"/>
                  </a:lnTo>
                  <a:lnTo>
                    <a:pt x="121" y="186"/>
                  </a:lnTo>
                  <a:lnTo>
                    <a:pt x="122" y="181"/>
                  </a:lnTo>
                  <a:lnTo>
                    <a:pt x="122" y="178"/>
                  </a:lnTo>
                  <a:lnTo>
                    <a:pt x="121" y="175"/>
                  </a:lnTo>
                  <a:lnTo>
                    <a:pt x="118" y="171"/>
                  </a:lnTo>
                  <a:lnTo>
                    <a:pt x="113" y="171"/>
                  </a:lnTo>
                  <a:lnTo>
                    <a:pt x="110" y="171"/>
                  </a:lnTo>
                  <a:lnTo>
                    <a:pt x="110" y="167"/>
                  </a:lnTo>
                  <a:lnTo>
                    <a:pt x="106" y="163"/>
                  </a:lnTo>
                  <a:lnTo>
                    <a:pt x="103" y="163"/>
                  </a:lnTo>
                  <a:lnTo>
                    <a:pt x="100" y="163"/>
                  </a:lnTo>
                  <a:lnTo>
                    <a:pt x="99" y="160"/>
                  </a:lnTo>
                  <a:lnTo>
                    <a:pt x="100" y="157"/>
                  </a:lnTo>
                  <a:lnTo>
                    <a:pt x="100" y="157"/>
                  </a:lnTo>
                  <a:lnTo>
                    <a:pt x="102" y="152"/>
                  </a:lnTo>
                  <a:lnTo>
                    <a:pt x="102" y="152"/>
                  </a:lnTo>
                  <a:lnTo>
                    <a:pt x="100" y="148"/>
                  </a:lnTo>
                  <a:lnTo>
                    <a:pt x="100" y="144"/>
                  </a:lnTo>
                  <a:lnTo>
                    <a:pt x="102" y="141"/>
                  </a:lnTo>
                  <a:lnTo>
                    <a:pt x="103" y="138"/>
                  </a:lnTo>
                  <a:lnTo>
                    <a:pt x="106" y="135"/>
                  </a:lnTo>
                  <a:lnTo>
                    <a:pt x="106" y="130"/>
                  </a:lnTo>
                  <a:lnTo>
                    <a:pt x="113" y="130"/>
                  </a:lnTo>
                  <a:lnTo>
                    <a:pt x="116" y="127"/>
                  </a:lnTo>
                  <a:lnTo>
                    <a:pt x="118" y="122"/>
                  </a:lnTo>
                  <a:lnTo>
                    <a:pt x="121" y="117"/>
                  </a:lnTo>
                  <a:lnTo>
                    <a:pt x="121" y="114"/>
                  </a:lnTo>
                  <a:lnTo>
                    <a:pt x="118" y="111"/>
                  </a:lnTo>
                  <a:lnTo>
                    <a:pt x="114" y="108"/>
                  </a:lnTo>
                  <a:lnTo>
                    <a:pt x="114" y="103"/>
                  </a:lnTo>
                  <a:lnTo>
                    <a:pt x="114" y="100"/>
                  </a:lnTo>
                  <a:lnTo>
                    <a:pt x="113" y="97"/>
                  </a:lnTo>
                  <a:lnTo>
                    <a:pt x="108" y="95"/>
                  </a:lnTo>
                  <a:lnTo>
                    <a:pt x="108" y="95"/>
                  </a:lnTo>
                  <a:lnTo>
                    <a:pt x="102" y="94"/>
                  </a:lnTo>
                  <a:lnTo>
                    <a:pt x="97" y="94"/>
                  </a:lnTo>
                  <a:lnTo>
                    <a:pt x="94" y="97"/>
                  </a:lnTo>
                  <a:lnTo>
                    <a:pt x="91" y="98"/>
                  </a:lnTo>
                  <a:lnTo>
                    <a:pt x="87" y="100"/>
                  </a:lnTo>
                  <a:lnTo>
                    <a:pt x="84" y="100"/>
                  </a:lnTo>
                  <a:lnTo>
                    <a:pt x="80" y="102"/>
                  </a:lnTo>
                  <a:lnTo>
                    <a:pt x="76" y="103"/>
                  </a:lnTo>
                  <a:lnTo>
                    <a:pt x="75" y="103"/>
                  </a:lnTo>
                  <a:lnTo>
                    <a:pt x="75" y="100"/>
                  </a:lnTo>
                  <a:lnTo>
                    <a:pt x="76" y="97"/>
                  </a:lnTo>
                  <a:lnTo>
                    <a:pt x="75" y="94"/>
                  </a:lnTo>
                  <a:lnTo>
                    <a:pt x="73" y="89"/>
                  </a:lnTo>
                  <a:lnTo>
                    <a:pt x="73" y="83"/>
                  </a:lnTo>
                  <a:lnTo>
                    <a:pt x="75" y="79"/>
                  </a:lnTo>
                  <a:lnTo>
                    <a:pt x="75" y="78"/>
                  </a:lnTo>
                  <a:lnTo>
                    <a:pt x="75" y="75"/>
                  </a:lnTo>
                  <a:lnTo>
                    <a:pt x="75" y="71"/>
                  </a:lnTo>
                  <a:lnTo>
                    <a:pt x="78" y="68"/>
                  </a:lnTo>
                  <a:lnTo>
                    <a:pt x="78" y="64"/>
                  </a:lnTo>
                  <a:lnTo>
                    <a:pt x="91" y="65"/>
                  </a:lnTo>
                  <a:lnTo>
                    <a:pt x="102" y="65"/>
                  </a:lnTo>
                  <a:lnTo>
                    <a:pt x="118" y="65"/>
                  </a:lnTo>
                  <a:lnTo>
                    <a:pt x="121" y="65"/>
                  </a:lnTo>
                  <a:lnTo>
                    <a:pt x="124" y="62"/>
                  </a:lnTo>
                  <a:lnTo>
                    <a:pt x="127" y="65"/>
                  </a:lnTo>
                  <a:lnTo>
                    <a:pt x="132" y="67"/>
                  </a:lnTo>
                  <a:lnTo>
                    <a:pt x="135" y="67"/>
                  </a:lnTo>
                  <a:lnTo>
                    <a:pt x="137" y="70"/>
                  </a:lnTo>
                  <a:lnTo>
                    <a:pt x="140" y="70"/>
                  </a:lnTo>
                  <a:lnTo>
                    <a:pt x="140" y="70"/>
                  </a:lnTo>
                  <a:lnTo>
                    <a:pt x="143" y="71"/>
                  </a:lnTo>
                  <a:lnTo>
                    <a:pt x="146" y="70"/>
                  </a:lnTo>
                  <a:lnTo>
                    <a:pt x="148" y="70"/>
                  </a:lnTo>
                  <a:lnTo>
                    <a:pt x="154" y="73"/>
                  </a:lnTo>
                  <a:lnTo>
                    <a:pt x="154" y="73"/>
                  </a:lnTo>
                  <a:lnTo>
                    <a:pt x="156" y="71"/>
                  </a:lnTo>
                  <a:lnTo>
                    <a:pt x="164" y="73"/>
                  </a:lnTo>
                  <a:lnTo>
                    <a:pt x="168" y="75"/>
                  </a:lnTo>
                  <a:lnTo>
                    <a:pt x="172" y="78"/>
                  </a:lnTo>
                  <a:lnTo>
                    <a:pt x="175" y="79"/>
                  </a:lnTo>
                  <a:lnTo>
                    <a:pt x="178" y="84"/>
                  </a:lnTo>
                  <a:lnTo>
                    <a:pt x="178" y="86"/>
                  </a:lnTo>
                  <a:lnTo>
                    <a:pt x="179" y="84"/>
                  </a:lnTo>
                  <a:lnTo>
                    <a:pt x="181" y="81"/>
                  </a:lnTo>
                  <a:lnTo>
                    <a:pt x="181" y="76"/>
                  </a:lnTo>
                  <a:lnTo>
                    <a:pt x="179" y="73"/>
                  </a:lnTo>
                  <a:lnTo>
                    <a:pt x="178" y="70"/>
                  </a:lnTo>
                  <a:lnTo>
                    <a:pt x="179" y="67"/>
                  </a:lnTo>
                  <a:lnTo>
                    <a:pt x="179" y="62"/>
                  </a:lnTo>
                  <a:lnTo>
                    <a:pt x="183" y="62"/>
                  </a:lnTo>
                  <a:lnTo>
                    <a:pt x="187" y="52"/>
                  </a:lnTo>
                  <a:lnTo>
                    <a:pt x="192" y="41"/>
                  </a:lnTo>
                  <a:lnTo>
                    <a:pt x="194" y="38"/>
                  </a:lnTo>
                  <a:lnTo>
                    <a:pt x="194" y="35"/>
                  </a:lnTo>
                  <a:lnTo>
                    <a:pt x="192" y="32"/>
                  </a:lnTo>
                  <a:lnTo>
                    <a:pt x="194" y="27"/>
                  </a:lnTo>
                  <a:lnTo>
                    <a:pt x="194" y="24"/>
                  </a:lnTo>
                  <a:lnTo>
                    <a:pt x="195" y="21"/>
                  </a:lnTo>
                  <a:lnTo>
                    <a:pt x="195" y="18"/>
                  </a:lnTo>
                  <a:lnTo>
                    <a:pt x="197" y="14"/>
                  </a:lnTo>
                  <a:lnTo>
                    <a:pt x="197" y="13"/>
                  </a:lnTo>
                  <a:lnTo>
                    <a:pt x="198" y="10"/>
                  </a:lnTo>
                  <a:lnTo>
                    <a:pt x="202" y="8"/>
                  </a:lnTo>
                  <a:lnTo>
                    <a:pt x="206" y="8"/>
                  </a:lnTo>
                  <a:lnTo>
                    <a:pt x="210" y="8"/>
                  </a:lnTo>
                  <a:lnTo>
                    <a:pt x="213" y="8"/>
                  </a:lnTo>
                  <a:lnTo>
                    <a:pt x="216" y="6"/>
                  </a:lnTo>
                  <a:lnTo>
                    <a:pt x="221" y="6"/>
                  </a:lnTo>
                  <a:lnTo>
                    <a:pt x="224" y="5"/>
                  </a:lnTo>
                  <a:lnTo>
                    <a:pt x="227" y="2"/>
                  </a:lnTo>
                  <a:lnTo>
                    <a:pt x="229" y="0"/>
                  </a:lnTo>
                  <a:lnTo>
                    <a:pt x="233" y="3"/>
                  </a:lnTo>
                  <a:lnTo>
                    <a:pt x="237" y="5"/>
                  </a:lnTo>
                  <a:lnTo>
                    <a:pt x="240" y="5"/>
                  </a:lnTo>
                  <a:lnTo>
                    <a:pt x="243" y="8"/>
                  </a:lnTo>
                  <a:lnTo>
                    <a:pt x="248" y="8"/>
                  </a:lnTo>
                  <a:lnTo>
                    <a:pt x="251" y="6"/>
                  </a:lnTo>
                  <a:lnTo>
                    <a:pt x="254" y="8"/>
                  </a:lnTo>
                  <a:lnTo>
                    <a:pt x="257" y="8"/>
                  </a:lnTo>
                  <a:lnTo>
                    <a:pt x="260" y="6"/>
                  </a:lnTo>
                  <a:lnTo>
                    <a:pt x="265" y="5"/>
                  </a:lnTo>
                  <a:lnTo>
                    <a:pt x="268" y="6"/>
                  </a:lnTo>
                  <a:lnTo>
                    <a:pt x="270" y="10"/>
                  </a:lnTo>
                  <a:lnTo>
                    <a:pt x="271" y="14"/>
                  </a:lnTo>
                  <a:lnTo>
                    <a:pt x="271" y="18"/>
                  </a:lnTo>
                  <a:lnTo>
                    <a:pt x="271" y="21"/>
                  </a:lnTo>
                  <a:lnTo>
                    <a:pt x="270" y="24"/>
                  </a:lnTo>
                  <a:lnTo>
                    <a:pt x="268" y="27"/>
                  </a:lnTo>
                  <a:lnTo>
                    <a:pt x="267" y="29"/>
                  </a:lnTo>
                  <a:lnTo>
                    <a:pt x="265" y="32"/>
                  </a:lnTo>
                  <a:lnTo>
                    <a:pt x="264" y="37"/>
                  </a:lnTo>
                  <a:lnTo>
                    <a:pt x="264" y="40"/>
                  </a:lnTo>
                  <a:lnTo>
                    <a:pt x="262" y="41"/>
                  </a:lnTo>
                  <a:lnTo>
                    <a:pt x="260" y="45"/>
                  </a:lnTo>
                  <a:lnTo>
                    <a:pt x="260" y="46"/>
                  </a:lnTo>
                  <a:lnTo>
                    <a:pt x="257" y="49"/>
                  </a:lnTo>
                  <a:lnTo>
                    <a:pt x="257" y="51"/>
                  </a:lnTo>
                  <a:lnTo>
                    <a:pt x="256" y="54"/>
                  </a:lnTo>
                  <a:lnTo>
                    <a:pt x="254" y="57"/>
                  </a:lnTo>
                  <a:lnTo>
                    <a:pt x="252" y="60"/>
                  </a:lnTo>
                  <a:lnTo>
                    <a:pt x="252" y="64"/>
                  </a:lnTo>
                  <a:lnTo>
                    <a:pt x="251" y="75"/>
                  </a:lnTo>
                  <a:lnTo>
                    <a:pt x="251" y="87"/>
                  </a:lnTo>
                  <a:lnTo>
                    <a:pt x="251" y="90"/>
                  </a:lnTo>
                  <a:lnTo>
                    <a:pt x="249" y="94"/>
                  </a:lnTo>
                  <a:lnTo>
                    <a:pt x="248" y="97"/>
                  </a:lnTo>
                  <a:lnTo>
                    <a:pt x="248" y="100"/>
                  </a:lnTo>
                  <a:lnTo>
                    <a:pt x="248" y="102"/>
                  </a:lnTo>
                  <a:lnTo>
                    <a:pt x="248" y="103"/>
                  </a:lnTo>
                  <a:lnTo>
                    <a:pt x="246" y="106"/>
                  </a:lnTo>
                  <a:lnTo>
                    <a:pt x="244" y="110"/>
                  </a:lnTo>
                  <a:lnTo>
                    <a:pt x="244" y="114"/>
                  </a:lnTo>
                  <a:lnTo>
                    <a:pt x="244" y="117"/>
                  </a:lnTo>
                  <a:lnTo>
                    <a:pt x="244" y="121"/>
                  </a:lnTo>
                  <a:lnTo>
                    <a:pt x="244" y="124"/>
                  </a:lnTo>
                  <a:lnTo>
                    <a:pt x="244" y="127"/>
                  </a:lnTo>
                  <a:lnTo>
                    <a:pt x="246" y="130"/>
                  </a:lnTo>
                  <a:lnTo>
                    <a:pt x="248" y="135"/>
                  </a:lnTo>
                  <a:lnTo>
                    <a:pt x="246" y="138"/>
                  </a:lnTo>
                  <a:lnTo>
                    <a:pt x="246" y="138"/>
                  </a:lnTo>
                  <a:lnTo>
                    <a:pt x="244" y="141"/>
                  </a:lnTo>
                  <a:lnTo>
                    <a:pt x="241" y="144"/>
                  </a:lnTo>
                  <a:lnTo>
                    <a:pt x="241" y="149"/>
                  </a:lnTo>
                  <a:lnTo>
                    <a:pt x="240" y="152"/>
                  </a:lnTo>
                  <a:lnTo>
                    <a:pt x="240" y="152"/>
                  </a:lnTo>
                  <a:lnTo>
                    <a:pt x="238" y="157"/>
                  </a:lnTo>
                  <a:lnTo>
                    <a:pt x="238" y="160"/>
                  </a:lnTo>
                  <a:lnTo>
                    <a:pt x="238" y="163"/>
                  </a:lnTo>
                  <a:lnTo>
                    <a:pt x="238" y="167"/>
                  </a:lnTo>
                  <a:lnTo>
                    <a:pt x="238" y="170"/>
                  </a:lnTo>
                  <a:lnTo>
                    <a:pt x="238" y="173"/>
                  </a:lnTo>
                  <a:lnTo>
                    <a:pt x="238" y="175"/>
                  </a:lnTo>
                  <a:lnTo>
                    <a:pt x="237" y="178"/>
                  </a:lnTo>
                  <a:lnTo>
                    <a:pt x="233" y="181"/>
                  </a:lnTo>
                  <a:lnTo>
                    <a:pt x="232" y="184"/>
                  </a:lnTo>
                  <a:lnTo>
                    <a:pt x="230" y="187"/>
                  </a:lnTo>
                  <a:lnTo>
                    <a:pt x="227" y="190"/>
                  </a:lnTo>
                  <a:lnTo>
                    <a:pt x="224" y="194"/>
                  </a:lnTo>
                  <a:lnTo>
                    <a:pt x="216" y="197"/>
                  </a:lnTo>
                  <a:lnTo>
                    <a:pt x="210" y="202"/>
                  </a:lnTo>
                  <a:lnTo>
                    <a:pt x="205" y="206"/>
                  </a:lnTo>
                  <a:lnTo>
                    <a:pt x="203" y="213"/>
                  </a:lnTo>
                  <a:lnTo>
                    <a:pt x="200" y="219"/>
                  </a:lnTo>
                  <a:lnTo>
                    <a:pt x="197" y="224"/>
                  </a:lnTo>
                  <a:lnTo>
                    <a:pt x="194" y="230"/>
                  </a:lnTo>
                  <a:lnTo>
                    <a:pt x="189" y="236"/>
                  </a:lnTo>
                  <a:lnTo>
                    <a:pt x="186" y="238"/>
                  </a:lnTo>
                  <a:lnTo>
                    <a:pt x="183" y="243"/>
                  </a:lnTo>
                  <a:lnTo>
                    <a:pt x="183" y="246"/>
                  </a:lnTo>
                  <a:lnTo>
                    <a:pt x="183" y="249"/>
                  </a:lnTo>
                  <a:lnTo>
                    <a:pt x="183" y="252"/>
                  </a:lnTo>
                  <a:lnTo>
                    <a:pt x="184" y="257"/>
                  </a:lnTo>
                  <a:lnTo>
                    <a:pt x="184" y="260"/>
                  </a:lnTo>
                  <a:lnTo>
                    <a:pt x="183" y="271"/>
                  </a:lnTo>
                  <a:lnTo>
                    <a:pt x="183" y="284"/>
                  </a:lnTo>
                  <a:lnTo>
                    <a:pt x="183" y="287"/>
                  </a:lnTo>
                  <a:lnTo>
                    <a:pt x="184" y="290"/>
                  </a:lnTo>
                  <a:lnTo>
                    <a:pt x="181" y="293"/>
                  </a:lnTo>
                  <a:lnTo>
                    <a:pt x="181" y="297"/>
                  </a:lnTo>
                  <a:lnTo>
                    <a:pt x="178" y="300"/>
                  </a:lnTo>
                  <a:lnTo>
                    <a:pt x="176" y="305"/>
                  </a:lnTo>
                  <a:lnTo>
                    <a:pt x="175" y="308"/>
                  </a:lnTo>
                  <a:lnTo>
                    <a:pt x="172" y="314"/>
                  </a:lnTo>
                  <a:lnTo>
                    <a:pt x="168" y="316"/>
                  </a:lnTo>
                  <a:lnTo>
                    <a:pt x="165" y="316"/>
                  </a:lnTo>
                  <a:lnTo>
                    <a:pt x="162" y="317"/>
                  </a:lnTo>
                  <a:lnTo>
                    <a:pt x="159" y="320"/>
                  </a:lnTo>
                  <a:lnTo>
                    <a:pt x="157" y="322"/>
                  </a:lnTo>
                  <a:lnTo>
                    <a:pt x="157" y="324"/>
                  </a:lnTo>
                  <a:lnTo>
                    <a:pt x="157" y="327"/>
                  </a:lnTo>
                  <a:lnTo>
                    <a:pt x="152" y="328"/>
                  </a:lnTo>
                  <a:lnTo>
                    <a:pt x="152" y="328"/>
                  </a:lnTo>
                  <a:lnTo>
                    <a:pt x="149" y="328"/>
                  </a:lnTo>
                  <a:lnTo>
                    <a:pt x="149" y="328"/>
                  </a:lnTo>
                  <a:lnTo>
                    <a:pt x="148" y="330"/>
                  </a:lnTo>
                  <a:lnTo>
                    <a:pt x="146" y="333"/>
                  </a:lnTo>
                  <a:lnTo>
                    <a:pt x="145" y="333"/>
                  </a:lnTo>
                  <a:lnTo>
                    <a:pt x="143" y="336"/>
                  </a:lnTo>
                  <a:lnTo>
                    <a:pt x="140" y="339"/>
                  </a:lnTo>
                  <a:lnTo>
                    <a:pt x="140" y="341"/>
                  </a:lnTo>
                  <a:lnTo>
                    <a:pt x="135" y="346"/>
                  </a:lnTo>
                  <a:lnTo>
                    <a:pt x="132" y="351"/>
                  </a:lnTo>
                  <a:lnTo>
                    <a:pt x="130" y="352"/>
                  </a:lnTo>
                  <a:lnTo>
                    <a:pt x="127" y="354"/>
                  </a:lnTo>
                  <a:lnTo>
                    <a:pt x="126" y="352"/>
                  </a:lnTo>
                  <a:lnTo>
                    <a:pt x="121" y="351"/>
                  </a:lnTo>
                  <a:lnTo>
                    <a:pt x="119" y="352"/>
                  </a:lnTo>
                  <a:lnTo>
                    <a:pt x="119" y="352"/>
                  </a:lnTo>
                  <a:lnTo>
                    <a:pt x="119" y="346"/>
                  </a:lnTo>
                  <a:lnTo>
                    <a:pt x="118" y="343"/>
                  </a:lnTo>
                  <a:lnTo>
                    <a:pt x="118" y="339"/>
                  </a:lnTo>
                  <a:lnTo>
                    <a:pt x="119" y="338"/>
                  </a:lnTo>
                  <a:lnTo>
                    <a:pt x="121" y="335"/>
                  </a:lnTo>
                  <a:lnTo>
                    <a:pt x="118" y="330"/>
                  </a:lnTo>
                  <a:lnTo>
                    <a:pt x="114" y="328"/>
                  </a:lnTo>
                  <a:lnTo>
                    <a:pt x="111" y="332"/>
                  </a:lnTo>
                  <a:lnTo>
                    <a:pt x="108" y="333"/>
                  </a:lnTo>
                  <a:lnTo>
                    <a:pt x="105" y="333"/>
                  </a:lnTo>
                  <a:lnTo>
                    <a:pt x="102" y="336"/>
                  </a:lnTo>
                  <a:lnTo>
                    <a:pt x="100" y="336"/>
                  </a:lnTo>
                  <a:lnTo>
                    <a:pt x="97" y="333"/>
                  </a:lnTo>
                  <a:lnTo>
                    <a:pt x="94" y="339"/>
                  </a:lnTo>
                  <a:lnTo>
                    <a:pt x="94" y="343"/>
                  </a:lnTo>
                  <a:lnTo>
                    <a:pt x="92" y="346"/>
                  </a:lnTo>
                  <a:lnTo>
                    <a:pt x="83" y="352"/>
                  </a:lnTo>
                  <a:lnTo>
                    <a:pt x="81" y="349"/>
                  </a:lnTo>
                  <a:lnTo>
                    <a:pt x="78" y="347"/>
                  </a:lnTo>
                  <a:lnTo>
                    <a:pt x="75" y="344"/>
                  </a:lnTo>
                  <a:lnTo>
                    <a:pt x="73" y="341"/>
                  </a:lnTo>
                  <a:lnTo>
                    <a:pt x="70" y="343"/>
                  </a:lnTo>
                  <a:lnTo>
                    <a:pt x="67" y="339"/>
                  </a:lnTo>
                  <a:lnTo>
                    <a:pt x="64" y="336"/>
                  </a:lnTo>
                  <a:lnTo>
                    <a:pt x="64" y="335"/>
                  </a:lnTo>
                  <a:lnTo>
                    <a:pt x="61" y="333"/>
                  </a:lnTo>
                  <a:lnTo>
                    <a:pt x="59" y="332"/>
                  </a:lnTo>
                  <a:lnTo>
                    <a:pt x="57" y="336"/>
                  </a:lnTo>
                  <a:lnTo>
                    <a:pt x="56" y="339"/>
                  </a:lnTo>
                  <a:lnTo>
                    <a:pt x="54" y="339"/>
                  </a:lnTo>
                  <a:lnTo>
                    <a:pt x="51" y="339"/>
                  </a:lnTo>
                  <a:lnTo>
                    <a:pt x="48" y="341"/>
                  </a:lnTo>
                  <a:lnTo>
                    <a:pt x="45" y="344"/>
                  </a:lnTo>
                  <a:lnTo>
                    <a:pt x="43" y="347"/>
                  </a:lnTo>
                  <a:lnTo>
                    <a:pt x="41" y="349"/>
                  </a:lnTo>
                  <a:lnTo>
                    <a:pt x="38" y="351"/>
                  </a:lnTo>
                  <a:lnTo>
                    <a:pt x="37" y="354"/>
                  </a:lnTo>
                  <a:lnTo>
                    <a:pt x="34" y="357"/>
                  </a:lnTo>
                  <a:lnTo>
                    <a:pt x="32" y="358"/>
                  </a:lnTo>
                  <a:lnTo>
                    <a:pt x="30" y="357"/>
                  </a:lnTo>
                  <a:lnTo>
                    <a:pt x="30" y="355"/>
                  </a:lnTo>
                  <a:lnTo>
                    <a:pt x="27" y="352"/>
                  </a:lnTo>
                  <a:lnTo>
                    <a:pt x="24" y="349"/>
                  </a:lnTo>
                  <a:lnTo>
                    <a:pt x="24" y="346"/>
                  </a:lnTo>
                  <a:lnTo>
                    <a:pt x="24" y="343"/>
                  </a:lnTo>
                  <a:lnTo>
                    <a:pt x="24" y="338"/>
                  </a:lnTo>
                  <a:lnTo>
                    <a:pt x="21" y="335"/>
                  </a:lnTo>
                  <a:lnTo>
                    <a:pt x="19" y="333"/>
                  </a:lnTo>
                  <a:lnTo>
                    <a:pt x="15" y="330"/>
                  </a:lnTo>
                  <a:lnTo>
                    <a:pt x="11" y="327"/>
                  </a:lnTo>
                  <a:lnTo>
                    <a:pt x="8" y="324"/>
                  </a:lnTo>
                  <a:lnTo>
                    <a:pt x="8" y="320"/>
                  </a:lnTo>
                  <a:lnTo>
                    <a:pt x="3" y="317"/>
                  </a:lnTo>
                  <a:lnTo>
                    <a:pt x="0" y="31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grpSp>
          <p:nvGrpSpPr>
            <p:cNvPr id="283" name="Group 450"/>
            <p:cNvGrpSpPr>
              <a:grpSpLocks/>
            </p:cNvGrpSpPr>
            <p:nvPr/>
          </p:nvGrpSpPr>
          <p:grpSpPr bwMode="auto">
            <a:xfrm>
              <a:off x="5678145" y="4981253"/>
              <a:ext cx="326418" cy="472188"/>
              <a:chOff x="2810" y="2579"/>
              <a:chExt cx="222" cy="279"/>
            </a:xfrm>
            <a:solidFill>
              <a:schemeClr val="bg1">
                <a:lumMod val="65000"/>
              </a:schemeClr>
            </a:solidFill>
          </p:grpSpPr>
          <p:sp>
            <p:nvSpPr>
              <p:cNvPr id="721" name="Freeform 451"/>
              <p:cNvSpPr>
                <a:spLocks/>
              </p:cNvSpPr>
              <p:nvPr/>
            </p:nvSpPr>
            <p:spPr bwMode="auto">
              <a:xfrm>
                <a:off x="2810" y="2609"/>
                <a:ext cx="222" cy="249"/>
              </a:xfrm>
              <a:custGeom>
                <a:avLst/>
                <a:gdLst>
                  <a:gd name="T0" fmla="*/ 1 w 444"/>
                  <a:gd name="T1" fmla="*/ 423 h 498"/>
                  <a:gd name="T2" fmla="*/ 6 w 444"/>
                  <a:gd name="T3" fmla="*/ 403 h 498"/>
                  <a:gd name="T4" fmla="*/ 14 w 444"/>
                  <a:gd name="T5" fmla="*/ 377 h 498"/>
                  <a:gd name="T6" fmla="*/ 20 w 444"/>
                  <a:gd name="T7" fmla="*/ 353 h 498"/>
                  <a:gd name="T8" fmla="*/ 25 w 444"/>
                  <a:gd name="T9" fmla="*/ 328 h 498"/>
                  <a:gd name="T10" fmla="*/ 33 w 444"/>
                  <a:gd name="T11" fmla="*/ 306 h 498"/>
                  <a:gd name="T12" fmla="*/ 44 w 444"/>
                  <a:gd name="T13" fmla="*/ 284 h 498"/>
                  <a:gd name="T14" fmla="*/ 63 w 444"/>
                  <a:gd name="T15" fmla="*/ 269 h 498"/>
                  <a:gd name="T16" fmla="*/ 76 w 444"/>
                  <a:gd name="T17" fmla="*/ 214 h 498"/>
                  <a:gd name="T18" fmla="*/ 65 w 444"/>
                  <a:gd name="T19" fmla="*/ 187 h 498"/>
                  <a:gd name="T20" fmla="*/ 57 w 444"/>
                  <a:gd name="T21" fmla="*/ 163 h 498"/>
                  <a:gd name="T22" fmla="*/ 51 w 444"/>
                  <a:gd name="T23" fmla="*/ 143 h 498"/>
                  <a:gd name="T24" fmla="*/ 47 w 444"/>
                  <a:gd name="T25" fmla="*/ 128 h 498"/>
                  <a:gd name="T26" fmla="*/ 62 w 444"/>
                  <a:gd name="T27" fmla="*/ 116 h 498"/>
                  <a:gd name="T28" fmla="*/ 57 w 444"/>
                  <a:gd name="T29" fmla="*/ 97 h 498"/>
                  <a:gd name="T30" fmla="*/ 41 w 444"/>
                  <a:gd name="T31" fmla="*/ 54 h 498"/>
                  <a:gd name="T32" fmla="*/ 24 w 444"/>
                  <a:gd name="T33" fmla="*/ 19 h 498"/>
                  <a:gd name="T34" fmla="*/ 43 w 444"/>
                  <a:gd name="T35" fmla="*/ 5 h 498"/>
                  <a:gd name="T36" fmla="*/ 62 w 444"/>
                  <a:gd name="T37" fmla="*/ 0 h 498"/>
                  <a:gd name="T38" fmla="*/ 144 w 444"/>
                  <a:gd name="T39" fmla="*/ 0 h 498"/>
                  <a:gd name="T40" fmla="*/ 176 w 444"/>
                  <a:gd name="T41" fmla="*/ 3 h 498"/>
                  <a:gd name="T42" fmla="*/ 179 w 444"/>
                  <a:gd name="T43" fmla="*/ 20 h 498"/>
                  <a:gd name="T44" fmla="*/ 187 w 444"/>
                  <a:gd name="T45" fmla="*/ 43 h 498"/>
                  <a:gd name="T46" fmla="*/ 198 w 444"/>
                  <a:gd name="T47" fmla="*/ 68 h 498"/>
                  <a:gd name="T48" fmla="*/ 209 w 444"/>
                  <a:gd name="T49" fmla="*/ 92 h 498"/>
                  <a:gd name="T50" fmla="*/ 230 w 444"/>
                  <a:gd name="T51" fmla="*/ 89 h 498"/>
                  <a:gd name="T52" fmla="*/ 250 w 444"/>
                  <a:gd name="T53" fmla="*/ 85 h 498"/>
                  <a:gd name="T54" fmla="*/ 279 w 444"/>
                  <a:gd name="T55" fmla="*/ 70 h 498"/>
                  <a:gd name="T56" fmla="*/ 282 w 444"/>
                  <a:gd name="T57" fmla="*/ 47 h 498"/>
                  <a:gd name="T58" fmla="*/ 341 w 444"/>
                  <a:gd name="T59" fmla="*/ 58 h 498"/>
                  <a:gd name="T60" fmla="*/ 363 w 444"/>
                  <a:gd name="T61" fmla="*/ 81 h 498"/>
                  <a:gd name="T62" fmla="*/ 366 w 444"/>
                  <a:gd name="T63" fmla="*/ 103 h 498"/>
                  <a:gd name="T64" fmla="*/ 365 w 444"/>
                  <a:gd name="T65" fmla="*/ 139 h 498"/>
                  <a:gd name="T66" fmla="*/ 371 w 444"/>
                  <a:gd name="T67" fmla="*/ 165 h 498"/>
                  <a:gd name="T68" fmla="*/ 380 w 444"/>
                  <a:gd name="T69" fmla="*/ 198 h 498"/>
                  <a:gd name="T70" fmla="*/ 379 w 444"/>
                  <a:gd name="T71" fmla="*/ 217 h 498"/>
                  <a:gd name="T72" fmla="*/ 390 w 444"/>
                  <a:gd name="T73" fmla="*/ 212 h 498"/>
                  <a:gd name="T74" fmla="*/ 419 w 444"/>
                  <a:gd name="T75" fmla="*/ 211 h 498"/>
                  <a:gd name="T76" fmla="*/ 441 w 444"/>
                  <a:gd name="T77" fmla="*/ 206 h 498"/>
                  <a:gd name="T78" fmla="*/ 444 w 444"/>
                  <a:gd name="T79" fmla="*/ 227 h 498"/>
                  <a:gd name="T80" fmla="*/ 441 w 444"/>
                  <a:gd name="T81" fmla="*/ 255 h 498"/>
                  <a:gd name="T82" fmla="*/ 438 w 444"/>
                  <a:gd name="T83" fmla="*/ 280 h 498"/>
                  <a:gd name="T84" fmla="*/ 403 w 444"/>
                  <a:gd name="T85" fmla="*/ 293 h 498"/>
                  <a:gd name="T86" fmla="*/ 368 w 444"/>
                  <a:gd name="T87" fmla="*/ 395 h 498"/>
                  <a:gd name="T88" fmla="*/ 374 w 444"/>
                  <a:gd name="T89" fmla="*/ 437 h 498"/>
                  <a:gd name="T90" fmla="*/ 419 w 444"/>
                  <a:gd name="T91" fmla="*/ 482 h 498"/>
                  <a:gd name="T92" fmla="*/ 339 w 444"/>
                  <a:gd name="T93" fmla="*/ 495 h 498"/>
                  <a:gd name="T94" fmla="*/ 319 w 444"/>
                  <a:gd name="T95" fmla="*/ 496 h 498"/>
                  <a:gd name="T96" fmla="*/ 295 w 444"/>
                  <a:gd name="T97" fmla="*/ 493 h 498"/>
                  <a:gd name="T98" fmla="*/ 268 w 444"/>
                  <a:gd name="T99" fmla="*/ 488 h 498"/>
                  <a:gd name="T100" fmla="*/ 220 w 444"/>
                  <a:gd name="T101" fmla="*/ 472 h 498"/>
                  <a:gd name="T102" fmla="*/ 101 w 444"/>
                  <a:gd name="T103" fmla="*/ 472 h 498"/>
                  <a:gd name="T104" fmla="*/ 70 w 444"/>
                  <a:gd name="T105" fmla="*/ 466 h 498"/>
                  <a:gd name="T106" fmla="*/ 47 w 444"/>
                  <a:gd name="T107" fmla="*/ 455 h 498"/>
                  <a:gd name="T108" fmla="*/ 16 w 444"/>
                  <a:gd name="T109" fmla="*/ 463 h 4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44" h="498">
                    <a:moveTo>
                      <a:pt x="1" y="466"/>
                    </a:moveTo>
                    <a:lnTo>
                      <a:pt x="1" y="452"/>
                    </a:lnTo>
                    <a:lnTo>
                      <a:pt x="3" y="437"/>
                    </a:lnTo>
                    <a:lnTo>
                      <a:pt x="3" y="434"/>
                    </a:lnTo>
                    <a:lnTo>
                      <a:pt x="3" y="430"/>
                    </a:lnTo>
                    <a:lnTo>
                      <a:pt x="3" y="426"/>
                    </a:lnTo>
                    <a:lnTo>
                      <a:pt x="1" y="423"/>
                    </a:lnTo>
                    <a:lnTo>
                      <a:pt x="1" y="418"/>
                    </a:lnTo>
                    <a:lnTo>
                      <a:pt x="3" y="415"/>
                    </a:lnTo>
                    <a:lnTo>
                      <a:pt x="1" y="412"/>
                    </a:lnTo>
                    <a:lnTo>
                      <a:pt x="0" y="409"/>
                    </a:lnTo>
                    <a:lnTo>
                      <a:pt x="3" y="407"/>
                    </a:lnTo>
                    <a:lnTo>
                      <a:pt x="6" y="403"/>
                    </a:lnTo>
                    <a:lnTo>
                      <a:pt x="6" y="403"/>
                    </a:lnTo>
                    <a:lnTo>
                      <a:pt x="9" y="399"/>
                    </a:lnTo>
                    <a:lnTo>
                      <a:pt x="11" y="396"/>
                    </a:lnTo>
                    <a:lnTo>
                      <a:pt x="11" y="393"/>
                    </a:lnTo>
                    <a:lnTo>
                      <a:pt x="11" y="388"/>
                    </a:lnTo>
                    <a:lnTo>
                      <a:pt x="11" y="385"/>
                    </a:lnTo>
                    <a:lnTo>
                      <a:pt x="14" y="382"/>
                    </a:lnTo>
                    <a:lnTo>
                      <a:pt x="14" y="377"/>
                    </a:lnTo>
                    <a:lnTo>
                      <a:pt x="16" y="374"/>
                    </a:lnTo>
                    <a:lnTo>
                      <a:pt x="16" y="372"/>
                    </a:lnTo>
                    <a:lnTo>
                      <a:pt x="17" y="368"/>
                    </a:lnTo>
                    <a:lnTo>
                      <a:pt x="19" y="365"/>
                    </a:lnTo>
                    <a:lnTo>
                      <a:pt x="19" y="361"/>
                    </a:lnTo>
                    <a:lnTo>
                      <a:pt x="20" y="358"/>
                    </a:lnTo>
                    <a:lnTo>
                      <a:pt x="20" y="353"/>
                    </a:lnTo>
                    <a:lnTo>
                      <a:pt x="22" y="350"/>
                    </a:lnTo>
                    <a:lnTo>
                      <a:pt x="22" y="345"/>
                    </a:lnTo>
                    <a:lnTo>
                      <a:pt x="22" y="342"/>
                    </a:lnTo>
                    <a:lnTo>
                      <a:pt x="22" y="339"/>
                    </a:lnTo>
                    <a:lnTo>
                      <a:pt x="22" y="336"/>
                    </a:lnTo>
                    <a:lnTo>
                      <a:pt x="24" y="333"/>
                    </a:lnTo>
                    <a:lnTo>
                      <a:pt x="25" y="328"/>
                    </a:lnTo>
                    <a:lnTo>
                      <a:pt x="28" y="326"/>
                    </a:lnTo>
                    <a:lnTo>
                      <a:pt x="28" y="323"/>
                    </a:lnTo>
                    <a:lnTo>
                      <a:pt x="28" y="319"/>
                    </a:lnTo>
                    <a:lnTo>
                      <a:pt x="28" y="315"/>
                    </a:lnTo>
                    <a:lnTo>
                      <a:pt x="28" y="312"/>
                    </a:lnTo>
                    <a:lnTo>
                      <a:pt x="30" y="309"/>
                    </a:lnTo>
                    <a:lnTo>
                      <a:pt x="33" y="306"/>
                    </a:lnTo>
                    <a:lnTo>
                      <a:pt x="35" y="303"/>
                    </a:lnTo>
                    <a:lnTo>
                      <a:pt x="38" y="300"/>
                    </a:lnTo>
                    <a:lnTo>
                      <a:pt x="41" y="296"/>
                    </a:lnTo>
                    <a:lnTo>
                      <a:pt x="44" y="292"/>
                    </a:lnTo>
                    <a:lnTo>
                      <a:pt x="44" y="288"/>
                    </a:lnTo>
                    <a:lnTo>
                      <a:pt x="43" y="287"/>
                    </a:lnTo>
                    <a:lnTo>
                      <a:pt x="44" y="284"/>
                    </a:lnTo>
                    <a:lnTo>
                      <a:pt x="49" y="280"/>
                    </a:lnTo>
                    <a:lnTo>
                      <a:pt x="52" y="276"/>
                    </a:lnTo>
                    <a:lnTo>
                      <a:pt x="55" y="276"/>
                    </a:lnTo>
                    <a:lnTo>
                      <a:pt x="55" y="276"/>
                    </a:lnTo>
                    <a:lnTo>
                      <a:pt x="60" y="276"/>
                    </a:lnTo>
                    <a:lnTo>
                      <a:pt x="63" y="273"/>
                    </a:lnTo>
                    <a:lnTo>
                      <a:pt x="63" y="269"/>
                    </a:lnTo>
                    <a:lnTo>
                      <a:pt x="66" y="266"/>
                    </a:lnTo>
                    <a:lnTo>
                      <a:pt x="71" y="254"/>
                    </a:lnTo>
                    <a:lnTo>
                      <a:pt x="74" y="241"/>
                    </a:lnTo>
                    <a:lnTo>
                      <a:pt x="74" y="241"/>
                    </a:lnTo>
                    <a:lnTo>
                      <a:pt x="74" y="231"/>
                    </a:lnTo>
                    <a:lnTo>
                      <a:pt x="76" y="223"/>
                    </a:lnTo>
                    <a:lnTo>
                      <a:pt x="76" y="214"/>
                    </a:lnTo>
                    <a:lnTo>
                      <a:pt x="78" y="211"/>
                    </a:lnTo>
                    <a:lnTo>
                      <a:pt x="76" y="208"/>
                    </a:lnTo>
                    <a:lnTo>
                      <a:pt x="73" y="201"/>
                    </a:lnTo>
                    <a:lnTo>
                      <a:pt x="74" y="198"/>
                    </a:lnTo>
                    <a:lnTo>
                      <a:pt x="71" y="195"/>
                    </a:lnTo>
                    <a:lnTo>
                      <a:pt x="68" y="190"/>
                    </a:lnTo>
                    <a:lnTo>
                      <a:pt x="65" y="187"/>
                    </a:lnTo>
                    <a:lnTo>
                      <a:pt x="65" y="184"/>
                    </a:lnTo>
                    <a:lnTo>
                      <a:pt x="63" y="181"/>
                    </a:lnTo>
                    <a:lnTo>
                      <a:pt x="62" y="177"/>
                    </a:lnTo>
                    <a:lnTo>
                      <a:pt x="60" y="173"/>
                    </a:lnTo>
                    <a:lnTo>
                      <a:pt x="59" y="169"/>
                    </a:lnTo>
                    <a:lnTo>
                      <a:pt x="59" y="168"/>
                    </a:lnTo>
                    <a:lnTo>
                      <a:pt x="57" y="163"/>
                    </a:lnTo>
                    <a:lnTo>
                      <a:pt x="55" y="160"/>
                    </a:lnTo>
                    <a:lnTo>
                      <a:pt x="54" y="157"/>
                    </a:lnTo>
                    <a:lnTo>
                      <a:pt x="54" y="154"/>
                    </a:lnTo>
                    <a:lnTo>
                      <a:pt x="52" y="150"/>
                    </a:lnTo>
                    <a:lnTo>
                      <a:pt x="52" y="146"/>
                    </a:lnTo>
                    <a:lnTo>
                      <a:pt x="52" y="143"/>
                    </a:lnTo>
                    <a:lnTo>
                      <a:pt x="51" y="143"/>
                    </a:lnTo>
                    <a:lnTo>
                      <a:pt x="49" y="139"/>
                    </a:lnTo>
                    <a:lnTo>
                      <a:pt x="47" y="135"/>
                    </a:lnTo>
                    <a:lnTo>
                      <a:pt x="46" y="131"/>
                    </a:lnTo>
                    <a:lnTo>
                      <a:pt x="47" y="128"/>
                    </a:lnTo>
                    <a:lnTo>
                      <a:pt x="47" y="127"/>
                    </a:lnTo>
                    <a:lnTo>
                      <a:pt x="51" y="123"/>
                    </a:lnTo>
                    <a:lnTo>
                      <a:pt x="47" y="128"/>
                    </a:lnTo>
                    <a:lnTo>
                      <a:pt x="47" y="131"/>
                    </a:lnTo>
                    <a:lnTo>
                      <a:pt x="49" y="128"/>
                    </a:lnTo>
                    <a:lnTo>
                      <a:pt x="52" y="123"/>
                    </a:lnTo>
                    <a:lnTo>
                      <a:pt x="54" y="122"/>
                    </a:lnTo>
                    <a:lnTo>
                      <a:pt x="57" y="119"/>
                    </a:lnTo>
                    <a:lnTo>
                      <a:pt x="60" y="119"/>
                    </a:lnTo>
                    <a:lnTo>
                      <a:pt x="62" y="116"/>
                    </a:lnTo>
                    <a:lnTo>
                      <a:pt x="60" y="112"/>
                    </a:lnTo>
                    <a:lnTo>
                      <a:pt x="59" y="111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1"/>
                    </a:lnTo>
                    <a:lnTo>
                      <a:pt x="59" y="101"/>
                    </a:lnTo>
                    <a:lnTo>
                      <a:pt x="57" y="97"/>
                    </a:lnTo>
                    <a:lnTo>
                      <a:pt x="51" y="82"/>
                    </a:lnTo>
                    <a:lnTo>
                      <a:pt x="46" y="68"/>
                    </a:lnTo>
                    <a:lnTo>
                      <a:pt x="44" y="65"/>
                    </a:lnTo>
                    <a:lnTo>
                      <a:pt x="43" y="62"/>
                    </a:lnTo>
                    <a:lnTo>
                      <a:pt x="41" y="57"/>
                    </a:lnTo>
                    <a:lnTo>
                      <a:pt x="41" y="54"/>
                    </a:lnTo>
                    <a:lnTo>
                      <a:pt x="41" y="54"/>
                    </a:lnTo>
                    <a:lnTo>
                      <a:pt x="41" y="51"/>
                    </a:lnTo>
                    <a:lnTo>
                      <a:pt x="40" y="47"/>
                    </a:lnTo>
                    <a:lnTo>
                      <a:pt x="38" y="43"/>
                    </a:lnTo>
                    <a:lnTo>
                      <a:pt x="36" y="39"/>
                    </a:lnTo>
                    <a:lnTo>
                      <a:pt x="32" y="33"/>
                    </a:lnTo>
                    <a:lnTo>
                      <a:pt x="27" y="25"/>
                    </a:lnTo>
                    <a:lnTo>
                      <a:pt x="24" y="19"/>
                    </a:lnTo>
                    <a:lnTo>
                      <a:pt x="20" y="11"/>
                    </a:lnTo>
                    <a:lnTo>
                      <a:pt x="25" y="9"/>
                    </a:lnTo>
                    <a:lnTo>
                      <a:pt x="28" y="9"/>
                    </a:lnTo>
                    <a:lnTo>
                      <a:pt x="32" y="8"/>
                    </a:lnTo>
                    <a:lnTo>
                      <a:pt x="35" y="6"/>
                    </a:lnTo>
                    <a:lnTo>
                      <a:pt x="40" y="8"/>
                    </a:lnTo>
                    <a:lnTo>
                      <a:pt x="43" y="5"/>
                    </a:lnTo>
                    <a:lnTo>
                      <a:pt x="46" y="1"/>
                    </a:lnTo>
                    <a:lnTo>
                      <a:pt x="49" y="1"/>
                    </a:lnTo>
                    <a:lnTo>
                      <a:pt x="49" y="1"/>
                    </a:lnTo>
                    <a:lnTo>
                      <a:pt x="52" y="0"/>
                    </a:lnTo>
                    <a:lnTo>
                      <a:pt x="57" y="1"/>
                    </a:lnTo>
                    <a:lnTo>
                      <a:pt x="60" y="1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73" y="0"/>
                    </a:lnTo>
                    <a:lnTo>
                      <a:pt x="89" y="0"/>
                    </a:lnTo>
                    <a:lnTo>
                      <a:pt x="103" y="1"/>
                    </a:lnTo>
                    <a:lnTo>
                      <a:pt x="117" y="1"/>
                    </a:lnTo>
                    <a:lnTo>
                      <a:pt x="130" y="0"/>
                    </a:lnTo>
                    <a:lnTo>
                      <a:pt x="144" y="0"/>
                    </a:lnTo>
                    <a:lnTo>
                      <a:pt x="158" y="0"/>
                    </a:lnTo>
                    <a:lnTo>
                      <a:pt x="160" y="0"/>
                    </a:lnTo>
                    <a:lnTo>
                      <a:pt x="166" y="0"/>
                    </a:lnTo>
                    <a:lnTo>
                      <a:pt x="171" y="1"/>
                    </a:lnTo>
                    <a:lnTo>
                      <a:pt x="171" y="1"/>
                    </a:lnTo>
                    <a:lnTo>
                      <a:pt x="176" y="3"/>
                    </a:lnTo>
                    <a:lnTo>
                      <a:pt x="176" y="3"/>
                    </a:lnTo>
                    <a:lnTo>
                      <a:pt x="176" y="3"/>
                    </a:lnTo>
                    <a:lnTo>
                      <a:pt x="176" y="6"/>
                    </a:lnTo>
                    <a:lnTo>
                      <a:pt x="176" y="8"/>
                    </a:lnTo>
                    <a:lnTo>
                      <a:pt x="177" y="11"/>
                    </a:lnTo>
                    <a:lnTo>
                      <a:pt x="181" y="14"/>
                    </a:lnTo>
                    <a:lnTo>
                      <a:pt x="181" y="17"/>
                    </a:lnTo>
                    <a:lnTo>
                      <a:pt x="179" y="20"/>
                    </a:lnTo>
                    <a:lnTo>
                      <a:pt x="181" y="24"/>
                    </a:lnTo>
                    <a:lnTo>
                      <a:pt x="182" y="27"/>
                    </a:lnTo>
                    <a:lnTo>
                      <a:pt x="182" y="32"/>
                    </a:lnTo>
                    <a:lnTo>
                      <a:pt x="184" y="35"/>
                    </a:lnTo>
                    <a:lnTo>
                      <a:pt x="184" y="35"/>
                    </a:lnTo>
                    <a:lnTo>
                      <a:pt x="184" y="38"/>
                    </a:lnTo>
                    <a:lnTo>
                      <a:pt x="187" y="43"/>
                    </a:lnTo>
                    <a:lnTo>
                      <a:pt x="189" y="46"/>
                    </a:lnTo>
                    <a:lnTo>
                      <a:pt x="189" y="51"/>
                    </a:lnTo>
                    <a:lnTo>
                      <a:pt x="189" y="54"/>
                    </a:lnTo>
                    <a:lnTo>
                      <a:pt x="190" y="58"/>
                    </a:lnTo>
                    <a:lnTo>
                      <a:pt x="193" y="62"/>
                    </a:lnTo>
                    <a:lnTo>
                      <a:pt x="197" y="65"/>
                    </a:lnTo>
                    <a:lnTo>
                      <a:pt x="198" y="68"/>
                    </a:lnTo>
                    <a:lnTo>
                      <a:pt x="200" y="71"/>
                    </a:lnTo>
                    <a:lnTo>
                      <a:pt x="201" y="74"/>
                    </a:lnTo>
                    <a:lnTo>
                      <a:pt x="201" y="77"/>
                    </a:lnTo>
                    <a:lnTo>
                      <a:pt x="204" y="81"/>
                    </a:lnTo>
                    <a:lnTo>
                      <a:pt x="206" y="84"/>
                    </a:lnTo>
                    <a:lnTo>
                      <a:pt x="208" y="87"/>
                    </a:lnTo>
                    <a:lnTo>
                      <a:pt x="209" y="92"/>
                    </a:lnTo>
                    <a:lnTo>
                      <a:pt x="212" y="92"/>
                    </a:lnTo>
                    <a:lnTo>
                      <a:pt x="217" y="90"/>
                    </a:lnTo>
                    <a:lnTo>
                      <a:pt x="220" y="92"/>
                    </a:lnTo>
                    <a:lnTo>
                      <a:pt x="223" y="90"/>
                    </a:lnTo>
                    <a:lnTo>
                      <a:pt x="227" y="92"/>
                    </a:lnTo>
                    <a:lnTo>
                      <a:pt x="230" y="92"/>
                    </a:lnTo>
                    <a:lnTo>
                      <a:pt x="230" y="89"/>
                    </a:lnTo>
                    <a:lnTo>
                      <a:pt x="231" y="89"/>
                    </a:lnTo>
                    <a:lnTo>
                      <a:pt x="235" y="87"/>
                    </a:lnTo>
                    <a:lnTo>
                      <a:pt x="238" y="89"/>
                    </a:lnTo>
                    <a:lnTo>
                      <a:pt x="241" y="87"/>
                    </a:lnTo>
                    <a:lnTo>
                      <a:pt x="244" y="87"/>
                    </a:lnTo>
                    <a:lnTo>
                      <a:pt x="249" y="85"/>
                    </a:lnTo>
                    <a:lnTo>
                      <a:pt x="250" y="85"/>
                    </a:lnTo>
                    <a:lnTo>
                      <a:pt x="254" y="85"/>
                    </a:lnTo>
                    <a:lnTo>
                      <a:pt x="255" y="89"/>
                    </a:lnTo>
                    <a:lnTo>
                      <a:pt x="265" y="89"/>
                    </a:lnTo>
                    <a:lnTo>
                      <a:pt x="276" y="89"/>
                    </a:lnTo>
                    <a:lnTo>
                      <a:pt x="276" y="79"/>
                    </a:lnTo>
                    <a:lnTo>
                      <a:pt x="276" y="70"/>
                    </a:lnTo>
                    <a:lnTo>
                      <a:pt x="279" y="70"/>
                    </a:lnTo>
                    <a:lnTo>
                      <a:pt x="282" y="66"/>
                    </a:lnTo>
                    <a:lnTo>
                      <a:pt x="281" y="63"/>
                    </a:lnTo>
                    <a:lnTo>
                      <a:pt x="281" y="60"/>
                    </a:lnTo>
                    <a:lnTo>
                      <a:pt x="281" y="57"/>
                    </a:lnTo>
                    <a:lnTo>
                      <a:pt x="281" y="52"/>
                    </a:lnTo>
                    <a:lnTo>
                      <a:pt x="282" y="49"/>
                    </a:lnTo>
                    <a:lnTo>
                      <a:pt x="282" y="47"/>
                    </a:lnTo>
                    <a:lnTo>
                      <a:pt x="296" y="47"/>
                    </a:lnTo>
                    <a:lnTo>
                      <a:pt x="311" y="47"/>
                    </a:lnTo>
                    <a:lnTo>
                      <a:pt x="311" y="43"/>
                    </a:lnTo>
                    <a:lnTo>
                      <a:pt x="322" y="43"/>
                    </a:lnTo>
                    <a:lnTo>
                      <a:pt x="319" y="51"/>
                    </a:lnTo>
                    <a:lnTo>
                      <a:pt x="319" y="58"/>
                    </a:lnTo>
                    <a:lnTo>
                      <a:pt x="341" y="58"/>
                    </a:lnTo>
                    <a:lnTo>
                      <a:pt x="363" y="58"/>
                    </a:lnTo>
                    <a:lnTo>
                      <a:pt x="365" y="62"/>
                    </a:lnTo>
                    <a:lnTo>
                      <a:pt x="366" y="66"/>
                    </a:lnTo>
                    <a:lnTo>
                      <a:pt x="365" y="70"/>
                    </a:lnTo>
                    <a:lnTo>
                      <a:pt x="365" y="73"/>
                    </a:lnTo>
                    <a:lnTo>
                      <a:pt x="363" y="76"/>
                    </a:lnTo>
                    <a:lnTo>
                      <a:pt x="363" y="81"/>
                    </a:lnTo>
                    <a:lnTo>
                      <a:pt x="361" y="84"/>
                    </a:lnTo>
                    <a:lnTo>
                      <a:pt x="361" y="87"/>
                    </a:lnTo>
                    <a:lnTo>
                      <a:pt x="363" y="92"/>
                    </a:lnTo>
                    <a:lnTo>
                      <a:pt x="365" y="95"/>
                    </a:lnTo>
                    <a:lnTo>
                      <a:pt x="366" y="98"/>
                    </a:lnTo>
                    <a:lnTo>
                      <a:pt x="366" y="101"/>
                    </a:lnTo>
                    <a:lnTo>
                      <a:pt x="366" y="103"/>
                    </a:lnTo>
                    <a:lnTo>
                      <a:pt x="368" y="106"/>
                    </a:lnTo>
                    <a:lnTo>
                      <a:pt x="368" y="109"/>
                    </a:lnTo>
                    <a:lnTo>
                      <a:pt x="366" y="120"/>
                    </a:lnTo>
                    <a:lnTo>
                      <a:pt x="365" y="130"/>
                    </a:lnTo>
                    <a:lnTo>
                      <a:pt x="365" y="135"/>
                    </a:lnTo>
                    <a:lnTo>
                      <a:pt x="365" y="136"/>
                    </a:lnTo>
                    <a:lnTo>
                      <a:pt x="365" y="139"/>
                    </a:lnTo>
                    <a:lnTo>
                      <a:pt x="363" y="144"/>
                    </a:lnTo>
                    <a:lnTo>
                      <a:pt x="363" y="147"/>
                    </a:lnTo>
                    <a:lnTo>
                      <a:pt x="365" y="150"/>
                    </a:lnTo>
                    <a:lnTo>
                      <a:pt x="365" y="154"/>
                    </a:lnTo>
                    <a:lnTo>
                      <a:pt x="366" y="157"/>
                    </a:lnTo>
                    <a:lnTo>
                      <a:pt x="369" y="162"/>
                    </a:lnTo>
                    <a:lnTo>
                      <a:pt x="371" y="165"/>
                    </a:lnTo>
                    <a:lnTo>
                      <a:pt x="376" y="166"/>
                    </a:lnTo>
                    <a:lnTo>
                      <a:pt x="377" y="176"/>
                    </a:lnTo>
                    <a:lnTo>
                      <a:pt x="380" y="184"/>
                    </a:lnTo>
                    <a:lnTo>
                      <a:pt x="380" y="187"/>
                    </a:lnTo>
                    <a:lnTo>
                      <a:pt x="380" y="192"/>
                    </a:lnTo>
                    <a:lnTo>
                      <a:pt x="380" y="195"/>
                    </a:lnTo>
                    <a:lnTo>
                      <a:pt x="380" y="198"/>
                    </a:lnTo>
                    <a:lnTo>
                      <a:pt x="380" y="198"/>
                    </a:lnTo>
                    <a:lnTo>
                      <a:pt x="380" y="201"/>
                    </a:lnTo>
                    <a:lnTo>
                      <a:pt x="377" y="203"/>
                    </a:lnTo>
                    <a:lnTo>
                      <a:pt x="376" y="206"/>
                    </a:lnTo>
                    <a:lnTo>
                      <a:pt x="376" y="209"/>
                    </a:lnTo>
                    <a:lnTo>
                      <a:pt x="379" y="214"/>
                    </a:lnTo>
                    <a:lnTo>
                      <a:pt x="379" y="217"/>
                    </a:lnTo>
                    <a:lnTo>
                      <a:pt x="379" y="220"/>
                    </a:lnTo>
                    <a:lnTo>
                      <a:pt x="377" y="220"/>
                    </a:lnTo>
                    <a:lnTo>
                      <a:pt x="380" y="220"/>
                    </a:lnTo>
                    <a:lnTo>
                      <a:pt x="384" y="217"/>
                    </a:lnTo>
                    <a:lnTo>
                      <a:pt x="387" y="215"/>
                    </a:lnTo>
                    <a:lnTo>
                      <a:pt x="387" y="215"/>
                    </a:lnTo>
                    <a:lnTo>
                      <a:pt x="390" y="212"/>
                    </a:lnTo>
                    <a:lnTo>
                      <a:pt x="393" y="214"/>
                    </a:lnTo>
                    <a:lnTo>
                      <a:pt x="396" y="214"/>
                    </a:lnTo>
                    <a:lnTo>
                      <a:pt x="400" y="212"/>
                    </a:lnTo>
                    <a:lnTo>
                      <a:pt x="404" y="214"/>
                    </a:lnTo>
                    <a:lnTo>
                      <a:pt x="407" y="214"/>
                    </a:lnTo>
                    <a:lnTo>
                      <a:pt x="414" y="212"/>
                    </a:lnTo>
                    <a:lnTo>
                      <a:pt x="419" y="211"/>
                    </a:lnTo>
                    <a:lnTo>
                      <a:pt x="422" y="209"/>
                    </a:lnTo>
                    <a:lnTo>
                      <a:pt x="425" y="209"/>
                    </a:lnTo>
                    <a:lnTo>
                      <a:pt x="428" y="211"/>
                    </a:lnTo>
                    <a:lnTo>
                      <a:pt x="431" y="211"/>
                    </a:lnTo>
                    <a:lnTo>
                      <a:pt x="436" y="211"/>
                    </a:lnTo>
                    <a:lnTo>
                      <a:pt x="439" y="209"/>
                    </a:lnTo>
                    <a:lnTo>
                      <a:pt x="441" y="206"/>
                    </a:lnTo>
                    <a:lnTo>
                      <a:pt x="442" y="209"/>
                    </a:lnTo>
                    <a:lnTo>
                      <a:pt x="442" y="212"/>
                    </a:lnTo>
                    <a:lnTo>
                      <a:pt x="441" y="215"/>
                    </a:lnTo>
                    <a:lnTo>
                      <a:pt x="442" y="215"/>
                    </a:lnTo>
                    <a:lnTo>
                      <a:pt x="442" y="220"/>
                    </a:lnTo>
                    <a:lnTo>
                      <a:pt x="442" y="223"/>
                    </a:lnTo>
                    <a:lnTo>
                      <a:pt x="444" y="227"/>
                    </a:lnTo>
                    <a:lnTo>
                      <a:pt x="442" y="230"/>
                    </a:lnTo>
                    <a:lnTo>
                      <a:pt x="441" y="233"/>
                    </a:lnTo>
                    <a:lnTo>
                      <a:pt x="439" y="238"/>
                    </a:lnTo>
                    <a:lnTo>
                      <a:pt x="441" y="241"/>
                    </a:lnTo>
                    <a:lnTo>
                      <a:pt x="441" y="244"/>
                    </a:lnTo>
                    <a:lnTo>
                      <a:pt x="441" y="247"/>
                    </a:lnTo>
                    <a:lnTo>
                      <a:pt x="441" y="255"/>
                    </a:lnTo>
                    <a:lnTo>
                      <a:pt x="439" y="258"/>
                    </a:lnTo>
                    <a:lnTo>
                      <a:pt x="442" y="261"/>
                    </a:lnTo>
                    <a:lnTo>
                      <a:pt x="442" y="266"/>
                    </a:lnTo>
                    <a:lnTo>
                      <a:pt x="441" y="269"/>
                    </a:lnTo>
                    <a:lnTo>
                      <a:pt x="439" y="273"/>
                    </a:lnTo>
                    <a:lnTo>
                      <a:pt x="438" y="276"/>
                    </a:lnTo>
                    <a:lnTo>
                      <a:pt x="438" y="280"/>
                    </a:lnTo>
                    <a:lnTo>
                      <a:pt x="436" y="284"/>
                    </a:lnTo>
                    <a:lnTo>
                      <a:pt x="438" y="287"/>
                    </a:lnTo>
                    <a:lnTo>
                      <a:pt x="441" y="290"/>
                    </a:lnTo>
                    <a:lnTo>
                      <a:pt x="434" y="293"/>
                    </a:lnTo>
                    <a:lnTo>
                      <a:pt x="420" y="293"/>
                    </a:lnTo>
                    <a:lnTo>
                      <a:pt x="411" y="293"/>
                    </a:lnTo>
                    <a:lnTo>
                      <a:pt x="403" y="293"/>
                    </a:lnTo>
                    <a:lnTo>
                      <a:pt x="385" y="293"/>
                    </a:lnTo>
                    <a:lnTo>
                      <a:pt x="369" y="293"/>
                    </a:lnTo>
                    <a:lnTo>
                      <a:pt x="368" y="315"/>
                    </a:lnTo>
                    <a:lnTo>
                      <a:pt x="368" y="338"/>
                    </a:lnTo>
                    <a:lnTo>
                      <a:pt x="368" y="360"/>
                    </a:lnTo>
                    <a:lnTo>
                      <a:pt x="368" y="382"/>
                    </a:lnTo>
                    <a:lnTo>
                      <a:pt x="368" y="395"/>
                    </a:lnTo>
                    <a:lnTo>
                      <a:pt x="366" y="407"/>
                    </a:lnTo>
                    <a:lnTo>
                      <a:pt x="366" y="422"/>
                    </a:lnTo>
                    <a:lnTo>
                      <a:pt x="368" y="423"/>
                    </a:lnTo>
                    <a:lnTo>
                      <a:pt x="369" y="426"/>
                    </a:lnTo>
                    <a:lnTo>
                      <a:pt x="371" y="431"/>
                    </a:lnTo>
                    <a:lnTo>
                      <a:pt x="371" y="434"/>
                    </a:lnTo>
                    <a:lnTo>
                      <a:pt x="374" y="437"/>
                    </a:lnTo>
                    <a:lnTo>
                      <a:pt x="377" y="441"/>
                    </a:lnTo>
                    <a:lnTo>
                      <a:pt x="380" y="444"/>
                    </a:lnTo>
                    <a:lnTo>
                      <a:pt x="385" y="447"/>
                    </a:lnTo>
                    <a:lnTo>
                      <a:pt x="387" y="452"/>
                    </a:lnTo>
                    <a:lnTo>
                      <a:pt x="390" y="455"/>
                    </a:lnTo>
                    <a:lnTo>
                      <a:pt x="404" y="469"/>
                    </a:lnTo>
                    <a:lnTo>
                      <a:pt x="419" y="482"/>
                    </a:lnTo>
                    <a:lnTo>
                      <a:pt x="395" y="487"/>
                    </a:lnTo>
                    <a:lnTo>
                      <a:pt x="373" y="491"/>
                    </a:lnTo>
                    <a:lnTo>
                      <a:pt x="361" y="493"/>
                    </a:lnTo>
                    <a:lnTo>
                      <a:pt x="349" y="496"/>
                    </a:lnTo>
                    <a:lnTo>
                      <a:pt x="346" y="498"/>
                    </a:lnTo>
                    <a:lnTo>
                      <a:pt x="344" y="498"/>
                    </a:lnTo>
                    <a:lnTo>
                      <a:pt x="339" y="495"/>
                    </a:lnTo>
                    <a:lnTo>
                      <a:pt x="336" y="495"/>
                    </a:lnTo>
                    <a:lnTo>
                      <a:pt x="336" y="495"/>
                    </a:lnTo>
                    <a:lnTo>
                      <a:pt x="333" y="495"/>
                    </a:lnTo>
                    <a:lnTo>
                      <a:pt x="328" y="495"/>
                    </a:lnTo>
                    <a:lnTo>
                      <a:pt x="325" y="498"/>
                    </a:lnTo>
                    <a:lnTo>
                      <a:pt x="322" y="498"/>
                    </a:lnTo>
                    <a:lnTo>
                      <a:pt x="319" y="496"/>
                    </a:lnTo>
                    <a:lnTo>
                      <a:pt x="315" y="496"/>
                    </a:lnTo>
                    <a:lnTo>
                      <a:pt x="312" y="495"/>
                    </a:lnTo>
                    <a:lnTo>
                      <a:pt x="309" y="493"/>
                    </a:lnTo>
                    <a:lnTo>
                      <a:pt x="304" y="491"/>
                    </a:lnTo>
                    <a:lnTo>
                      <a:pt x="301" y="491"/>
                    </a:lnTo>
                    <a:lnTo>
                      <a:pt x="298" y="493"/>
                    </a:lnTo>
                    <a:lnTo>
                      <a:pt x="295" y="493"/>
                    </a:lnTo>
                    <a:lnTo>
                      <a:pt x="292" y="491"/>
                    </a:lnTo>
                    <a:lnTo>
                      <a:pt x="287" y="491"/>
                    </a:lnTo>
                    <a:lnTo>
                      <a:pt x="284" y="491"/>
                    </a:lnTo>
                    <a:lnTo>
                      <a:pt x="281" y="491"/>
                    </a:lnTo>
                    <a:lnTo>
                      <a:pt x="274" y="491"/>
                    </a:lnTo>
                    <a:lnTo>
                      <a:pt x="269" y="490"/>
                    </a:lnTo>
                    <a:lnTo>
                      <a:pt x="268" y="488"/>
                    </a:lnTo>
                    <a:lnTo>
                      <a:pt x="263" y="488"/>
                    </a:lnTo>
                    <a:lnTo>
                      <a:pt x="260" y="490"/>
                    </a:lnTo>
                    <a:lnTo>
                      <a:pt x="252" y="487"/>
                    </a:lnTo>
                    <a:lnTo>
                      <a:pt x="247" y="483"/>
                    </a:lnTo>
                    <a:lnTo>
                      <a:pt x="244" y="479"/>
                    </a:lnTo>
                    <a:lnTo>
                      <a:pt x="239" y="472"/>
                    </a:lnTo>
                    <a:lnTo>
                      <a:pt x="220" y="472"/>
                    </a:lnTo>
                    <a:lnTo>
                      <a:pt x="201" y="472"/>
                    </a:lnTo>
                    <a:lnTo>
                      <a:pt x="182" y="472"/>
                    </a:lnTo>
                    <a:lnTo>
                      <a:pt x="162" y="472"/>
                    </a:lnTo>
                    <a:lnTo>
                      <a:pt x="143" y="472"/>
                    </a:lnTo>
                    <a:lnTo>
                      <a:pt x="122" y="472"/>
                    </a:lnTo>
                    <a:lnTo>
                      <a:pt x="112" y="472"/>
                    </a:lnTo>
                    <a:lnTo>
                      <a:pt x="101" y="472"/>
                    </a:lnTo>
                    <a:lnTo>
                      <a:pt x="89" y="472"/>
                    </a:lnTo>
                    <a:lnTo>
                      <a:pt x="85" y="474"/>
                    </a:lnTo>
                    <a:lnTo>
                      <a:pt x="81" y="472"/>
                    </a:lnTo>
                    <a:lnTo>
                      <a:pt x="81" y="472"/>
                    </a:lnTo>
                    <a:lnTo>
                      <a:pt x="78" y="471"/>
                    </a:lnTo>
                    <a:lnTo>
                      <a:pt x="73" y="468"/>
                    </a:lnTo>
                    <a:lnTo>
                      <a:pt x="70" y="466"/>
                    </a:lnTo>
                    <a:lnTo>
                      <a:pt x="66" y="463"/>
                    </a:lnTo>
                    <a:lnTo>
                      <a:pt x="63" y="460"/>
                    </a:lnTo>
                    <a:lnTo>
                      <a:pt x="60" y="456"/>
                    </a:lnTo>
                    <a:lnTo>
                      <a:pt x="57" y="455"/>
                    </a:lnTo>
                    <a:lnTo>
                      <a:pt x="54" y="455"/>
                    </a:lnTo>
                    <a:lnTo>
                      <a:pt x="51" y="453"/>
                    </a:lnTo>
                    <a:lnTo>
                      <a:pt x="47" y="455"/>
                    </a:lnTo>
                    <a:lnTo>
                      <a:pt x="44" y="456"/>
                    </a:lnTo>
                    <a:lnTo>
                      <a:pt x="40" y="458"/>
                    </a:lnTo>
                    <a:lnTo>
                      <a:pt x="35" y="463"/>
                    </a:lnTo>
                    <a:lnTo>
                      <a:pt x="30" y="464"/>
                    </a:lnTo>
                    <a:lnTo>
                      <a:pt x="27" y="466"/>
                    </a:lnTo>
                    <a:lnTo>
                      <a:pt x="19" y="464"/>
                    </a:lnTo>
                    <a:lnTo>
                      <a:pt x="16" y="463"/>
                    </a:lnTo>
                    <a:lnTo>
                      <a:pt x="13" y="461"/>
                    </a:lnTo>
                    <a:lnTo>
                      <a:pt x="11" y="461"/>
                    </a:lnTo>
                    <a:lnTo>
                      <a:pt x="8" y="463"/>
                    </a:lnTo>
                    <a:lnTo>
                      <a:pt x="5" y="466"/>
                    </a:lnTo>
                    <a:lnTo>
                      <a:pt x="1" y="466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22" name="Freeform 452"/>
              <p:cNvSpPr>
                <a:spLocks/>
              </p:cNvSpPr>
              <p:nvPr/>
            </p:nvSpPr>
            <p:spPr bwMode="auto">
              <a:xfrm>
                <a:off x="2816" y="2579"/>
                <a:ext cx="19" cy="29"/>
              </a:xfrm>
              <a:custGeom>
                <a:avLst/>
                <a:gdLst>
                  <a:gd name="T0" fmla="*/ 0 w 38"/>
                  <a:gd name="T1" fmla="*/ 26 h 57"/>
                  <a:gd name="T2" fmla="*/ 2 w 38"/>
                  <a:gd name="T3" fmla="*/ 25 h 57"/>
                  <a:gd name="T4" fmla="*/ 5 w 38"/>
                  <a:gd name="T5" fmla="*/ 22 h 57"/>
                  <a:gd name="T6" fmla="*/ 6 w 38"/>
                  <a:gd name="T7" fmla="*/ 19 h 57"/>
                  <a:gd name="T8" fmla="*/ 9 w 38"/>
                  <a:gd name="T9" fmla="*/ 17 h 57"/>
                  <a:gd name="T10" fmla="*/ 11 w 38"/>
                  <a:gd name="T11" fmla="*/ 15 h 57"/>
                  <a:gd name="T12" fmla="*/ 13 w 38"/>
                  <a:gd name="T13" fmla="*/ 12 h 57"/>
                  <a:gd name="T14" fmla="*/ 16 w 38"/>
                  <a:gd name="T15" fmla="*/ 9 h 57"/>
                  <a:gd name="T16" fmla="*/ 19 w 38"/>
                  <a:gd name="T17" fmla="*/ 7 h 57"/>
                  <a:gd name="T18" fmla="*/ 22 w 38"/>
                  <a:gd name="T19" fmla="*/ 7 h 57"/>
                  <a:gd name="T20" fmla="*/ 24 w 38"/>
                  <a:gd name="T21" fmla="*/ 7 h 57"/>
                  <a:gd name="T22" fmla="*/ 25 w 38"/>
                  <a:gd name="T23" fmla="*/ 4 h 57"/>
                  <a:gd name="T24" fmla="*/ 27 w 38"/>
                  <a:gd name="T25" fmla="*/ 0 h 57"/>
                  <a:gd name="T26" fmla="*/ 29 w 38"/>
                  <a:gd name="T27" fmla="*/ 1 h 57"/>
                  <a:gd name="T28" fmla="*/ 32 w 38"/>
                  <a:gd name="T29" fmla="*/ 3 h 57"/>
                  <a:gd name="T30" fmla="*/ 32 w 38"/>
                  <a:gd name="T31" fmla="*/ 4 h 57"/>
                  <a:gd name="T32" fmla="*/ 35 w 38"/>
                  <a:gd name="T33" fmla="*/ 7 h 57"/>
                  <a:gd name="T34" fmla="*/ 38 w 38"/>
                  <a:gd name="T35" fmla="*/ 11 h 57"/>
                  <a:gd name="T36" fmla="*/ 35 w 38"/>
                  <a:gd name="T37" fmla="*/ 12 h 57"/>
                  <a:gd name="T38" fmla="*/ 32 w 38"/>
                  <a:gd name="T39" fmla="*/ 14 h 57"/>
                  <a:gd name="T40" fmla="*/ 29 w 38"/>
                  <a:gd name="T41" fmla="*/ 15 h 57"/>
                  <a:gd name="T42" fmla="*/ 29 w 38"/>
                  <a:gd name="T43" fmla="*/ 17 h 57"/>
                  <a:gd name="T44" fmla="*/ 25 w 38"/>
                  <a:gd name="T45" fmla="*/ 20 h 57"/>
                  <a:gd name="T46" fmla="*/ 22 w 38"/>
                  <a:gd name="T47" fmla="*/ 23 h 57"/>
                  <a:gd name="T48" fmla="*/ 21 w 38"/>
                  <a:gd name="T49" fmla="*/ 25 h 57"/>
                  <a:gd name="T50" fmla="*/ 17 w 38"/>
                  <a:gd name="T51" fmla="*/ 26 h 57"/>
                  <a:gd name="T52" fmla="*/ 16 w 38"/>
                  <a:gd name="T53" fmla="*/ 28 h 57"/>
                  <a:gd name="T54" fmla="*/ 16 w 38"/>
                  <a:gd name="T55" fmla="*/ 28 h 57"/>
                  <a:gd name="T56" fmla="*/ 19 w 38"/>
                  <a:gd name="T57" fmla="*/ 33 h 57"/>
                  <a:gd name="T58" fmla="*/ 19 w 38"/>
                  <a:gd name="T59" fmla="*/ 36 h 57"/>
                  <a:gd name="T60" fmla="*/ 19 w 38"/>
                  <a:gd name="T61" fmla="*/ 47 h 57"/>
                  <a:gd name="T62" fmla="*/ 19 w 38"/>
                  <a:gd name="T63" fmla="*/ 50 h 57"/>
                  <a:gd name="T64" fmla="*/ 19 w 38"/>
                  <a:gd name="T65" fmla="*/ 53 h 57"/>
                  <a:gd name="T66" fmla="*/ 14 w 38"/>
                  <a:gd name="T67" fmla="*/ 55 h 57"/>
                  <a:gd name="T68" fmla="*/ 11 w 38"/>
                  <a:gd name="T69" fmla="*/ 55 h 57"/>
                  <a:gd name="T70" fmla="*/ 8 w 38"/>
                  <a:gd name="T71" fmla="*/ 57 h 57"/>
                  <a:gd name="T72" fmla="*/ 6 w 38"/>
                  <a:gd name="T73" fmla="*/ 57 h 57"/>
                  <a:gd name="T74" fmla="*/ 5 w 38"/>
                  <a:gd name="T75" fmla="*/ 53 h 57"/>
                  <a:gd name="T76" fmla="*/ 5 w 38"/>
                  <a:gd name="T77" fmla="*/ 50 h 57"/>
                  <a:gd name="T78" fmla="*/ 8 w 38"/>
                  <a:gd name="T79" fmla="*/ 46 h 57"/>
                  <a:gd name="T80" fmla="*/ 6 w 38"/>
                  <a:gd name="T81" fmla="*/ 42 h 57"/>
                  <a:gd name="T82" fmla="*/ 5 w 38"/>
                  <a:gd name="T83" fmla="*/ 34 h 57"/>
                  <a:gd name="T84" fmla="*/ 2 w 38"/>
                  <a:gd name="T85" fmla="*/ 28 h 57"/>
                  <a:gd name="T86" fmla="*/ 3 w 38"/>
                  <a:gd name="T87" fmla="*/ 25 h 57"/>
                  <a:gd name="T88" fmla="*/ 3 w 38"/>
                  <a:gd name="T89" fmla="*/ 25 h 57"/>
                  <a:gd name="T90" fmla="*/ 0 w 38"/>
                  <a:gd name="T91" fmla="*/ 26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8" h="57">
                    <a:moveTo>
                      <a:pt x="0" y="26"/>
                    </a:moveTo>
                    <a:lnTo>
                      <a:pt x="2" y="25"/>
                    </a:lnTo>
                    <a:lnTo>
                      <a:pt x="5" y="22"/>
                    </a:lnTo>
                    <a:lnTo>
                      <a:pt x="6" y="19"/>
                    </a:lnTo>
                    <a:lnTo>
                      <a:pt x="9" y="17"/>
                    </a:lnTo>
                    <a:lnTo>
                      <a:pt x="11" y="15"/>
                    </a:lnTo>
                    <a:lnTo>
                      <a:pt x="13" y="12"/>
                    </a:lnTo>
                    <a:lnTo>
                      <a:pt x="16" y="9"/>
                    </a:lnTo>
                    <a:lnTo>
                      <a:pt x="19" y="7"/>
                    </a:lnTo>
                    <a:lnTo>
                      <a:pt x="22" y="7"/>
                    </a:lnTo>
                    <a:lnTo>
                      <a:pt x="24" y="7"/>
                    </a:lnTo>
                    <a:lnTo>
                      <a:pt x="25" y="4"/>
                    </a:lnTo>
                    <a:lnTo>
                      <a:pt x="27" y="0"/>
                    </a:lnTo>
                    <a:lnTo>
                      <a:pt x="29" y="1"/>
                    </a:lnTo>
                    <a:lnTo>
                      <a:pt x="32" y="3"/>
                    </a:lnTo>
                    <a:lnTo>
                      <a:pt x="32" y="4"/>
                    </a:lnTo>
                    <a:lnTo>
                      <a:pt x="35" y="7"/>
                    </a:lnTo>
                    <a:lnTo>
                      <a:pt x="38" y="11"/>
                    </a:lnTo>
                    <a:lnTo>
                      <a:pt x="35" y="12"/>
                    </a:lnTo>
                    <a:lnTo>
                      <a:pt x="32" y="14"/>
                    </a:lnTo>
                    <a:lnTo>
                      <a:pt x="29" y="15"/>
                    </a:lnTo>
                    <a:lnTo>
                      <a:pt x="29" y="17"/>
                    </a:lnTo>
                    <a:lnTo>
                      <a:pt x="25" y="20"/>
                    </a:lnTo>
                    <a:lnTo>
                      <a:pt x="22" y="23"/>
                    </a:lnTo>
                    <a:lnTo>
                      <a:pt x="21" y="25"/>
                    </a:lnTo>
                    <a:lnTo>
                      <a:pt x="17" y="26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9" y="33"/>
                    </a:lnTo>
                    <a:lnTo>
                      <a:pt x="19" y="36"/>
                    </a:lnTo>
                    <a:lnTo>
                      <a:pt x="19" y="47"/>
                    </a:lnTo>
                    <a:lnTo>
                      <a:pt x="19" y="50"/>
                    </a:lnTo>
                    <a:lnTo>
                      <a:pt x="19" y="53"/>
                    </a:lnTo>
                    <a:lnTo>
                      <a:pt x="14" y="55"/>
                    </a:lnTo>
                    <a:lnTo>
                      <a:pt x="11" y="55"/>
                    </a:lnTo>
                    <a:lnTo>
                      <a:pt x="8" y="57"/>
                    </a:lnTo>
                    <a:lnTo>
                      <a:pt x="6" y="57"/>
                    </a:lnTo>
                    <a:lnTo>
                      <a:pt x="5" y="53"/>
                    </a:lnTo>
                    <a:lnTo>
                      <a:pt x="5" y="50"/>
                    </a:lnTo>
                    <a:lnTo>
                      <a:pt x="8" y="46"/>
                    </a:lnTo>
                    <a:lnTo>
                      <a:pt x="6" y="42"/>
                    </a:lnTo>
                    <a:lnTo>
                      <a:pt x="5" y="34"/>
                    </a:lnTo>
                    <a:lnTo>
                      <a:pt x="2" y="28"/>
                    </a:lnTo>
                    <a:lnTo>
                      <a:pt x="3" y="25"/>
                    </a:lnTo>
                    <a:lnTo>
                      <a:pt x="3" y="25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sp>
          <p:nvSpPr>
            <p:cNvPr id="284" name="Freeform 453"/>
            <p:cNvSpPr>
              <a:spLocks/>
            </p:cNvSpPr>
            <p:nvPr/>
          </p:nvSpPr>
          <p:spPr bwMode="auto">
            <a:xfrm>
              <a:off x="5678166" y="5416206"/>
              <a:ext cx="354357" cy="416337"/>
            </a:xfrm>
            <a:custGeom>
              <a:avLst/>
              <a:gdLst>
                <a:gd name="T0" fmla="*/ 13 w 482"/>
                <a:gd name="T1" fmla="*/ 8 h 492"/>
                <a:gd name="T2" fmla="*/ 35 w 482"/>
                <a:gd name="T3" fmla="*/ 10 h 492"/>
                <a:gd name="T4" fmla="*/ 54 w 482"/>
                <a:gd name="T5" fmla="*/ 2 h 492"/>
                <a:gd name="T6" fmla="*/ 70 w 482"/>
                <a:gd name="T7" fmla="*/ 13 h 492"/>
                <a:gd name="T8" fmla="*/ 85 w 482"/>
                <a:gd name="T9" fmla="*/ 21 h 492"/>
                <a:gd name="T10" fmla="*/ 139 w 482"/>
                <a:gd name="T11" fmla="*/ 19 h 492"/>
                <a:gd name="T12" fmla="*/ 239 w 482"/>
                <a:gd name="T13" fmla="*/ 19 h 492"/>
                <a:gd name="T14" fmla="*/ 254 w 482"/>
                <a:gd name="T15" fmla="*/ 34 h 492"/>
                <a:gd name="T16" fmla="*/ 282 w 482"/>
                <a:gd name="T17" fmla="*/ 38 h 492"/>
                <a:gd name="T18" fmla="*/ 312 w 482"/>
                <a:gd name="T19" fmla="*/ 42 h 492"/>
                <a:gd name="T20" fmla="*/ 328 w 482"/>
                <a:gd name="T21" fmla="*/ 42 h 492"/>
                <a:gd name="T22" fmla="*/ 344 w 482"/>
                <a:gd name="T23" fmla="*/ 45 h 492"/>
                <a:gd name="T24" fmla="*/ 404 w 482"/>
                <a:gd name="T25" fmla="*/ 32 h 492"/>
                <a:gd name="T26" fmla="*/ 458 w 482"/>
                <a:gd name="T27" fmla="*/ 24 h 492"/>
                <a:gd name="T28" fmla="*/ 472 w 482"/>
                <a:gd name="T29" fmla="*/ 27 h 492"/>
                <a:gd name="T30" fmla="*/ 476 w 482"/>
                <a:gd name="T31" fmla="*/ 37 h 492"/>
                <a:gd name="T32" fmla="*/ 460 w 482"/>
                <a:gd name="T33" fmla="*/ 42 h 492"/>
                <a:gd name="T34" fmla="*/ 446 w 482"/>
                <a:gd name="T35" fmla="*/ 45 h 492"/>
                <a:gd name="T36" fmla="*/ 430 w 482"/>
                <a:gd name="T37" fmla="*/ 57 h 492"/>
                <a:gd name="T38" fmla="*/ 419 w 482"/>
                <a:gd name="T39" fmla="*/ 54 h 492"/>
                <a:gd name="T40" fmla="*/ 371 w 482"/>
                <a:gd name="T41" fmla="*/ 51 h 492"/>
                <a:gd name="T42" fmla="*/ 328 w 482"/>
                <a:gd name="T43" fmla="*/ 170 h 492"/>
                <a:gd name="T44" fmla="*/ 290 w 482"/>
                <a:gd name="T45" fmla="*/ 273 h 492"/>
                <a:gd name="T46" fmla="*/ 287 w 482"/>
                <a:gd name="T47" fmla="*/ 436 h 492"/>
                <a:gd name="T48" fmla="*/ 273 w 482"/>
                <a:gd name="T49" fmla="*/ 474 h 492"/>
                <a:gd name="T50" fmla="*/ 262 w 482"/>
                <a:gd name="T51" fmla="*/ 482 h 492"/>
                <a:gd name="T52" fmla="*/ 252 w 482"/>
                <a:gd name="T53" fmla="*/ 490 h 492"/>
                <a:gd name="T54" fmla="*/ 235 w 482"/>
                <a:gd name="T55" fmla="*/ 489 h 492"/>
                <a:gd name="T56" fmla="*/ 217 w 482"/>
                <a:gd name="T57" fmla="*/ 487 h 492"/>
                <a:gd name="T58" fmla="*/ 200 w 482"/>
                <a:gd name="T59" fmla="*/ 481 h 492"/>
                <a:gd name="T60" fmla="*/ 195 w 482"/>
                <a:gd name="T61" fmla="*/ 463 h 492"/>
                <a:gd name="T62" fmla="*/ 179 w 482"/>
                <a:gd name="T63" fmla="*/ 457 h 492"/>
                <a:gd name="T64" fmla="*/ 166 w 482"/>
                <a:gd name="T65" fmla="*/ 476 h 492"/>
                <a:gd name="T66" fmla="*/ 136 w 482"/>
                <a:gd name="T67" fmla="*/ 449 h 492"/>
                <a:gd name="T68" fmla="*/ 128 w 482"/>
                <a:gd name="T69" fmla="*/ 432 h 492"/>
                <a:gd name="T70" fmla="*/ 122 w 482"/>
                <a:gd name="T71" fmla="*/ 414 h 492"/>
                <a:gd name="T72" fmla="*/ 119 w 482"/>
                <a:gd name="T73" fmla="*/ 397 h 492"/>
                <a:gd name="T74" fmla="*/ 112 w 482"/>
                <a:gd name="T75" fmla="*/ 383 h 492"/>
                <a:gd name="T76" fmla="*/ 111 w 482"/>
                <a:gd name="T77" fmla="*/ 365 h 492"/>
                <a:gd name="T78" fmla="*/ 108 w 482"/>
                <a:gd name="T79" fmla="*/ 348 h 492"/>
                <a:gd name="T80" fmla="*/ 108 w 482"/>
                <a:gd name="T81" fmla="*/ 330 h 492"/>
                <a:gd name="T82" fmla="*/ 101 w 482"/>
                <a:gd name="T83" fmla="*/ 314 h 492"/>
                <a:gd name="T84" fmla="*/ 97 w 482"/>
                <a:gd name="T85" fmla="*/ 283 h 492"/>
                <a:gd name="T86" fmla="*/ 95 w 482"/>
                <a:gd name="T87" fmla="*/ 265 h 492"/>
                <a:gd name="T88" fmla="*/ 101 w 482"/>
                <a:gd name="T89" fmla="*/ 256 h 492"/>
                <a:gd name="T90" fmla="*/ 98 w 482"/>
                <a:gd name="T91" fmla="*/ 235 h 492"/>
                <a:gd name="T92" fmla="*/ 95 w 482"/>
                <a:gd name="T93" fmla="*/ 222 h 492"/>
                <a:gd name="T94" fmla="*/ 85 w 482"/>
                <a:gd name="T95" fmla="*/ 206 h 492"/>
                <a:gd name="T96" fmla="*/ 76 w 482"/>
                <a:gd name="T97" fmla="*/ 192 h 492"/>
                <a:gd name="T98" fmla="*/ 66 w 482"/>
                <a:gd name="T99" fmla="*/ 173 h 492"/>
                <a:gd name="T100" fmla="*/ 59 w 482"/>
                <a:gd name="T101" fmla="*/ 157 h 492"/>
                <a:gd name="T102" fmla="*/ 49 w 482"/>
                <a:gd name="T103" fmla="*/ 132 h 492"/>
                <a:gd name="T104" fmla="*/ 40 w 482"/>
                <a:gd name="T105" fmla="*/ 113 h 492"/>
                <a:gd name="T106" fmla="*/ 20 w 482"/>
                <a:gd name="T107" fmla="*/ 73 h 492"/>
                <a:gd name="T108" fmla="*/ 6 w 482"/>
                <a:gd name="T109" fmla="*/ 53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82" h="492">
                  <a:moveTo>
                    <a:pt x="1" y="13"/>
                  </a:moveTo>
                  <a:lnTo>
                    <a:pt x="5" y="13"/>
                  </a:lnTo>
                  <a:lnTo>
                    <a:pt x="8" y="10"/>
                  </a:lnTo>
                  <a:lnTo>
                    <a:pt x="11" y="8"/>
                  </a:lnTo>
                  <a:lnTo>
                    <a:pt x="13" y="8"/>
                  </a:lnTo>
                  <a:lnTo>
                    <a:pt x="16" y="10"/>
                  </a:lnTo>
                  <a:lnTo>
                    <a:pt x="19" y="11"/>
                  </a:lnTo>
                  <a:lnTo>
                    <a:pt x="27" y="13"/>
                  </a:lnTo>
                  <a:lnTo>
                    <a:pt x="30" y="11"/>
                  </a:lnTo>
                  <a:lnTo>
                    <a:pt x="35" y="10"/>
                  </a:lnTo>
                  <a:lnTo>
                    <a:pt x="40" y="5"/>
                  </a:lnTo>
                  <a:lnTo>
                    <a:pt x="44" y="3"/>
                  </a:lnTo>
                  <a:lnTo>
                    <a:pt x="47" y="2"/>
                  </a:lnTo>
                  <a:lnTo>
                    <a:pt x="51" y="0"/>
                  </a:lnTo>
                  <a:lnTo>
                    <a:pt x="54" y="2"/>
                  </a:lnTo>
                  <a:lnTo>
                    <a:pt x="57" y="2"/>
                  </a:lnTo>
                  <a:lnTo>
                    <a:pt x="60" y="3"/>
                  </a:lnTo>
                  <a:lnTo>
                    <a:pt x="63" y="7"/>
                  </a:lnTo>
                  <a:lnTo>
                    <a:pt x="66" y="10"/>
                  </a:lnTo>
                  <a:lnTo>
                    <a:pt x="70" y="13"/>
                  </a:lnTo>
                  <a:lnTo>
                    <a:pt x="73" y="15"/>
                  </a:lnTo>
                  <a:lnTo>
                    <a:pt x="78" y="18"/>
                  </a:lnTo>
                  <a:lnTo>
                    <a:pt x="81" y="19"/>
                  </a:lnTo>
                  <a:lnTo>
                    <a:pt x="81" y="19"/>
                  </a:lnTo>
                  <a:lnTo>
                    <a:pt x="85" y="21"/>
                  </a:lnTo>
                  <a:lnTo>
                    <a:pt x="89" y="19"/>
                  </a:lnTo>
                  <a:lnTo>
                    <a:pt x="98" y="19"/>
                  </a:lnTo>
                  <a:lnTo>
                    <a:pt x="109" y="19"/>
                  </a:lnTo>
                  <a:lnTo>
                    <a:pt x="119" y="19"/>
                  </a:lnTo>
                  <a:lnTo>
                    <a:pt x="139" y="19"/>
                  </a:lnTo>
                  <a:lnTo>
                    <a:pt x="158" y="19"/>
                  </a:lnTo>
                  <a:lnTo>
                    <a:pt x="179" y="19"/>
                  </a:lnTo>
                  <a:lnTo>
                    <a:pt x="200" y="19"/>
                  </a:lnTo>
                  <a:lnTo>
                    <a:pt x="219" y="19"/>
                  </a:lnTo>
                  <a:lnTo>
                    <a:pt x="239" y="19"/>
                  </a:lnTo>
                  <a:lnTo>
                    <a:pt x="243" y="23"/>
                  </a:lnTo>
                  <a:lnTo>
                    <a:pt x="244" y="26"/>
                  </a:lnTo>
                  <a:lnTo>
                    <a:pt x="246" y="29"/>
                  </a:lnTo>
                  <a:lnTo>
                    <a:pt x="249" y="32"/>
                  </a:lnTo>
                  <a:lnTo>
                    <a:pt x="254" y="34"/>
                  </a:lnTo>
                  <a:lnTo>
                    <a:pt x="257" y="37"/>
                  </a:lnTo>
                  <a:lnTo>
                    <a:pt x="260" y="37"/>
                  </a:lnTo>
                  <a:lnTo>
                    <a:pt x="263" y="35"/>
                  </a:lnTo>
                  <a:lnTo>
                    <a:pt x="268" y="35"/>
                  </a:lnTo>
                  <a:lnTo>
                    <a:pt x="282" y="38"/>
                  </a:lnTo>
                  <a:lnTo>
                    <a:pt x="298" y="40"/>
                  </a:lnTo>
                  <a:lnTo>
                    <a:pt x="301" y="38"/>
                  </a:lnTo>
                  <a:lnTo>
                    <a:pt x="304" y="38"/>
                  </a:lnTo>
                  <a:lnTo>
                    <a:pt x="309" y="40"/>
                  </a:lnTo>
                  <a:lnTo>
                    <a:pt x="312" y="42"/>
                  </a:lnTo>
                  <a:lnTo>
                    <a:pt x="315" y="43"/>
                  </a:lnTo>
                  <a:lnTo>
                    <a:pt x="319" y="43"/>
                  </a:lnTo>
                  <a:lnTo>
                    <a:pt x="322" y="45"/>
                  </a:lnTo>
                  <a:lnTo>
                    <a:pt x="325" y="45"/>
                  </a:lnTo>
                  <a:lnTo>
                    <a:pt x="328" y="42"/>
                  </a:lnTo>
                  <a:lnTo>
                    <a:pt x="333" y="42"/>
                  </a:lnTo>
                  <a:lnTo>
                    <a:pt x="336" y="42"/>
                  </a:lnTo>
                  <a:lnTo>
                    <a:pt x="336" y="42"/>
                  </a:lnTo>
                  <a:lnTo>
                    <a:pt x="339" y="42"/>
                  </a:lnTo>
                  <a:lnTo>
                    <a:pt x="344" y="45"/>
                  </a:lnTo>
                  <a:lnTo>
                    <a:pt x="350" y="43"/>
                  </a:lnTo>
                  <a:lnTo>
                    <a:pt x="357" y="42"/>
                  </a:lnTo>
                  <a:lnTo>
                    <a:pt x="373" y="38"/>
                  </a:lnTo>
                  <a:lnTo>
                    <a:pt x="388" y="35"/>
                  </a:lnTo>
                  <a:lnTo>
                    <a:pt x="404" y="32"/>
                  </a:lnTo>
                  <a:lnTo>
                    <a:pt x="420" y="27"/>
                  </a:lnTo>
                  <a:lnTo>
                    <a:pt x="436" y="24"/>
                  </a:lnTo>
                  <a:lnTo>
                    <a:pt x="452" y="23"/>
                  </a:lnTo>
                  <a:lnTo>
                    <a:pt x="455" y="24"/>
                  </a:lnTo>
                  <a:lnTo>
                    <a:pt x="458" y="24"/>
                  </a:lnTo>
                  <a:lnTo>
                    <a:pt x="461" y="23"/>
                  </a:lnTo>
                  <a:lnTo>
                    <a:pt x="465" y="24"/>
                  </a:lnTo>
                  <a:lnTo>
                    <a:pt x="469" y="24"/>
                  </a:lnTo>
                  <a:lnTo>
                    <a:pt x="472" y="26"/>
                  </a:lnTo>
                  <a:lnTo>
                    <a:pt x="472" y="27"/>
                  </a:lnTo>
                  <a:lnTo>
                    <a:pt x="476" y="30"/>
                  </a:lnTo>
                  <a:lnTo>
                    <a:pt x="479" y="34"/>
                  </a:lnTo>
                  <a:lnTo>
                    <a:pt x="482" y="35"/>
                  </a:lnTo>
                  <a:lnTo>
                    <a:pt x="479" y="35"/>
                  </a:lnTo>
                  <a:lnTo>
                    <a:pt x="476" y="37"/>
                  </a:lnTo>
                  <a:lnTo>
                    <a:pt x="472" y="37"/>
                  </a:lnTo>
                  <a:lnTo>
                    <a:pt x="469" y="37"/>
                  </a:lnTo>
                  <a:lnTo>
                    <a:pt x="466" y="37"/>
                  </a:lnTo>
                  <a:lnTo>
                    <a:pt x="463" y="40"/>
                  </a:lnTo>
                  <a:lnTo>
                    <a:pt x="460" y="42"/>
                  </a:lnTo>
                  <a:lnTo>
                    <a:pt x="458" y="45"/>
                  </a:lnTo>
                  <a:lnTo>
                    <a:pt x="453" y="46"/>
                  </a:lnTo>
                  <a:lnTo>
                    <a:pt x="452" y="42"/>
                  </a:lnTo>
                  <a:lnTo>
                    <a:pt x="449" y="43"/>
                  </a:lnTo>
                  <a:lnTo>
                    <a:pt x="446" y="45"/>
                  </a:lnTo>
                  <a:lnTo>
                    <a:pt x="442" y="48"/>
                  </a:lnTo>
                  <a:lnTo>
                    <a:pt x="439" y="49"/>
                  </a:lnTo>
                  <a:lnTo>
                    <a:pt x="434" y="51"/>
                  </a:lnTo>
                  <a:lnTo>
                    <a:pt x="433" y="54"/>
                  </a:lnTo>
                  <a:lnTo>
                    <a:pt x="430" y="57"/>
                  </a:lnTo>
                  <a:lnTo>
                    <a:pt x="426" y="61"/>
                  </a:lnTo>
                  <a:lnTo>
                    <a:pt x="422" y="64"/>
                  </a:lnTo>
                  <a:lnTo>
                    <a:pt x="422" y="61"/>
                  </a:lnTo>
                  <a:lnTo>
                    <a:pt x="420" y="57"/>
                  </a:lnTo>
                  <a:lnTo>
                    <a:pt x="419" y="54"/>
                  </a:lnTo>
                  <a:lnTo>
                    <a:pt x="415" y="51"/>
                  </a:lnTo>
                  <a:lnTo>
                    <a:pt x="414" y="48"/>
                  </a:lnTo>
                  <a:lnTo>
                    <a:pt x="412" y="45"/>
                  </a:lnTo>
                  <a:lnTo>
                    <a:pt x="392" y="46"/>
                  </a:lnTo>
                  <a:lnTo>
                    <a:pt x="371" y="51"/>
                  </a:lnTo>
                  <a:lnTo>
                    <a:pt x="350" y="56"/>
                  </a:lnTo>
                  <a:lnTo>
                    <a:pt x="330" y="57"/>
                  </a:lnTo>
                  <a:lnTo>
                    <a:pt x="330" y="94"/>
                  </a:lnTo>
                  <a:lnTo>
                    <a:pt x="328" y="132"/>
                  </a:lnTo>
                  <a:lnTo>
                    <a:pt x="328" y="170"/>
                  </a:lnTo>
                  <a:lnTo>
                    <a:pt x="327" y="208"/>
                  </a:lnTo>
                  <a:lnTo>
                    <a:pt x="309" y="208"/>
                  </a:lnTo>
                  <a:lnTo>
                    <a:pt x="292" y="208"/>
                  </a:lnTo>
                  <a:lnTo>
                    <a:pt x="292" y="240"/>
                  </a:lnTo>
                  <a:lnTo>
                    <a:pt x="290" y="273"/>
                  </a:lnTo>
                  <a:lnTo>
                    <a:pt x="290" y="306"/>
                  </a:lnTo>
                  <a:lnTo>
                    <a:pt x="290" y="338"/>
                  </a:lnTo>
                  <a:lnTo>
                    <a:pt x="289" y="371"/>
                  </a:lnTo>
                  <a:lnTo>
                    <a:pt x="289" y="405"/>
                  </a:lnTo>
                  <a:lnTo>
                    <a:pt x="287" y="436"/>
                  </a:lnTo>
                  <a:lnTo>
                    <a:pt x="287" y="470"/>
                  </a:lnTo>
                  <a:lnTo>
                    <a:pt x="284" y="470"/>
                  </a:lnTo>
                  <a:lnTo>
                    <a:pt x="279" y="473"/>
                  </a:lnTo>
                  <a:lnTo>
                    <a:pt x="276" y="474"/>
                  </a:lnTo>
                  <a:lnTo>
                    <a:pt x="273" y="474"/>
                  </a:lnTo>
                  <a:lnTo>
                    <a:pt x="271" y="474"/>
                  </a:lnTo>
                  <a:lnTo>
                    <a:pt x="269" y="478"/>
                  </a:lnTo>
                  <a:lnTo>
                    <a:pt x="268" y="481"/>
                  </a:lnTo>
                  <a:lnTo>
                    <a:pt x="265" y="482"/>
                  </a:lnTo>
                  <a:lnTo>
                    <a:pt x="262" y="482"/>
                  </a:lnTo>
                  <a:lnTo>
                    <a:pt x="260" y="486"/>
                  </a:lnTo>
                  <a:lnTo>
                    <a:pt x="262" y="489"/>
                  </a:lnTo>
                  <a:lnTo>
                    <a:pt x="258" y="490"/>
                  </a:lnTo>
                  <a:lnTo>
                    <a:pt x="255" y="492"/>
                  </a:lnTo>
                  <a:lnTo>
                    <a:pt x="252" y="490"/>
                  </a:lnTo>
                  <a:lnTo>
                    <a:pt x="249" y="489"/>
                  </a:lnTo>
                  <a:lnTo>
                    <a:pt x="244" y="487"/>
                  </a:lnTo>
                  <a:lnTo>
                    <a:pt x="241" y="487"/>
                  </a:lnTo>
                  <a:lnTo>
                    <a:pt x="238" y="487"/>
                  </a:lnTo>
                  <a:lnTo>
                    <a:pt x="235" y="489"/>
                  </a:lnTo>
                  <a:lnTo>
                    <a:pt x="231" y="489"/>
                  </a:lnTo>
                  <a:lnTo>
                    <a:pt x="227" y="489"/>
                  </a:lnTo>
                  <a:lnTo>
                    <a:pt x="223" y="489"/>
                  </a:lnTo>
                  <a:lnTo>
                    <a:pt x="220" y="489"/>
                  </a:lnTo>
                  <a:lnTo>
                    <a:pt x="217" y="487"/>
                  </a:lnTo>
                  <a:lnTo>
                    <a:pt x="212" y="484"/>
                  </a:lnTo>
                  <a:lnTo>
                    <a:pt x="208" y="484"/>
                  </a:lnTo>
                  <a:lnTo>
                    <a:pt x="204" y="484"/>
                  </a:lnTo>
                  <a:lnTo>
                    <a:pt x="203" y="481"/>
                  </a:lnTo>
                  <a:lnTo>
                    <a:pt x="200" y="481"/>
                  </a:lnTo>
                  <a:lnTo>
                    <a:pt x="197" y="478"/>
                  </a:lnTo>
                  <a:lnTo>
                    <a:pt x="195" y="474"/>
                  </a:lnTo>
                  <a:lnTo>
                    <a:pt x="195" y="471"/>
                  </a:lnTo>
                  <a:lnTo>
                    <a:pt x="197" y="467"/>
                  </a:lnTo>
                  <a:lnTo>
                    <a:pt x="195" y="463"/>
                  </a:lnTo>
                  <a:lnTo>
                    <a:pt x="192" y="462"/>
                  </a:lnTo>
                  <a:lnTo>
                    <a:pt x="189" y="459"/>
                  </a:lnTo>
                  <a:lnTo>
                    <a:pt x="189" y="457"/>
                  </a:lnTo>
                  <a:lnTo>
                    <a:pt x="185" y="454"/>
                  </a:lnTo>
                  <a:lnTo>
                    <a:pt x="179" y="457"/>
                  </a:lnTo>
                  <a:lnTo>
                    <a:pt x="176" y="462"/>
                  </a:lnTo>
                  <a:lnTo>
                    <a:pt x="174" y="467"/>
                  </a:lnTo>
                  <a:lnTo>
                    <a:pt x="173" y="473"/>
                  </a:lnTo>
                  <a:lnTo>
                    <a:pt x="170" y="473"/>
                  </a:lnTo>
                  <a:lnTo>
                    <a:pt x="166" y="476"/>
                  </a:lnTo>
                  <a:lnTo>
                    <a:pt x="165" y="476"/>
                  </a:lnTo>
                  <a:lnTo>
                    <a:pt x="162" y="478"/>
                  </a:lnTo>
                  <a:lnTo>
                    <a:pt x="151" y="465"/>
                  </a:lnTo>
                  <a:lnTo>
                    <a:pt x="138" y="452"/>
                  </a:lnTo>
                  <a:lnTo>
                    <a:pt x="136" y="449"/>
                  </a:lnTo>
                  <a:lnTo>
                    <a:pt x="135" y="446"/>
                  </a:lnTo>
                  <a:lnTo>
                    <a:pt x="131" y="443"/>
                  </a:lnTo>
                  <a:lnTo>
                    <a:pt x="131" y="440"/>
                  </a:lnTo>
                  <a:lnTo>
                    <a:pt x="130" y="435"/>
                  </a:lnTo>
                  <a:lnTo>
                    <a:pt x="128" y="432"/>
                  </a:lnTo>
                  <a:lnTo>
                    <a:pt x="125" y="428"/>
                  </a:lnTo>
                  <a:lnTo>
                    <a:pt x="124" y="425"/>
                  </a:lnTo>
                  <a:lnTo>
                    <a:pt x="122" y="421"/>
                  </a:lnTo>
                  <a:lnTo>
                    <a:pt x="122" y="417"/>
                  </a:lnTo>
                  <a:lnTo>
                    <a:pt x="122" y="414"/>
                  </a:lnTo>
                  <a:lnTo>
                    <a:pt x="122" y="411"/>
                  </a:lnTo>
                  <a:lnTo>
                    <a:pt x="119" y="408"/>
                  </a:lnTo>
                  <a:lnTo>
                    <a:pt x="117" y="405"/>
                  </a:lnTo>
                  <a:lnTo>
                    <a:pt x="117" y="400"/>
                  </a:lnTo>
                  <a:lnTo>
                    <a:pt x="119" y="397"/>
                  </a:lnTo>
                  <a:lnTo>
                    <a:pt x="119" y="395"/>
                  </a:lnTo>
                  <a:lnTo>
                    <a:pt x="119" y="390"/>
                  </a:lnTo>
                  <a:lnTo>
                    <a:pt x="116" y="387"/>
                  </a:lnTo>
                  <a:lnTo>
                    <a:pt x="116" y="387"/>
                  </a:lnTo>
                  <a:lnTo>
                    <a:pt x="112" y="383"/>
                  </a:lnTo>
                  <a:lnTo>
                    <a:pt x="112" y="379"/>
                  </a:lnTo>
                  <a:lnTo>
                    <a:pt x="112" y="376"/>
                  </a:lnTo>
                  <a:lnTo>
                    <a:pt x="112" y="373"/>
                  </a:lnTo>
                  <a:lnTo>
                    <a:pt x="111" y="368"/>
                  </a:lnTo>
                  <a:lnTo>
                    <a:pt x="111" y="365"/>
                  </a:lnTo>
                  <a:lnTo>
                    <a:pt x="109" y="362"/>
                  </a:lnTo>
                  <a:lnTo>
                    <a:pt x="108" y="359"/>
                  </a:lnTo>
                  <a:lnTo>
                    <a:pt x="109" y="354"/>
                  </a:lnTo>
                  <a:lnTo>
                    <a:pt x="109" y="351"/>
                  </a:lnTo>
                  <a:lnTo>
                    <a:pt x="108" y="348"/>
                  </a:lnTo>
                  <a:lnTo>
                    <a:pt x="108" y="344"/>
                  </a:lnTo>
                  <a:lnTo>
                    <a:pt x="108" y="341"/>
                  </a:lnTo>
                  <a:lnTo>
                    <a:pt x="108" y="337"/>
                  </a:lnTo>
                  <a:lnTo>
                    <a:pt x="109" y="333"/>
                  </a:lnTo>
                  <a:lnTo>
                    <a:pt x="108" y="330"/>
                  </a:lnTo>
                  <a:lnTo>
                    <a:pt x="106" y="329"/>
                  </a:lnTo>
                  <a:lnTo>
                    <a:pt x="106" y="324"/>
                  </a:lnTo>
                  <a:lnTo>
                    <a:pt x="106" y="321"/>
                  </a:lnTo>
                  <a:lnTo>
                    <a:pt x="105" y="317"/>
                  </a:lnTo>
                  <a:lnTo>
                    <a:pt x="101" y="314"/>
                  </a:lnTo>
                  <a:lnTo>
                    <a:pt x="100" y="306"/>
                  </a:lnTo>
                  <a:lnTo>
                    <a:pt x="97" y="298"/>
                  </a:lnTo>
                  <a:lnTo>
                    <a:pt x="95" y="292"/>
                  </a:lnTo>
                  <a:lnTo>
                    <a:pt x="97" y="286"/>
                  </a:lnTo>
                  <a:lnTo>
                    <a:pt x="97" y="283"/>
                  </a:lnTo>
                  <a:lnTo>
                    <a:pt x="97" y="279"/>
                  </a:lnTo>
                  <a:lnTo>
                    <a:pt x="97" y="275"/>
                  </a:lnTo>
                  <a:lnTo>
                    <a:pt x="97" y="271"/>
                  </a:lnTo>
                  <a:lnTo>
                    <a:pt x="95" y="268"/>
                  </a:lnTo>
                  <a:lnTo>
                    <a:pt x="95" y="265"/>
                  </a:lnTo>
                  <a:lnTo>
                    <a:pt x="97" y="262"/>
                  </a:lnTo>
                  <a:lnTo>
                    <a:pt x="97" y="257"/>
                  </a:lnTo>
                  <a:lnTo>
                    <a:pt x="95" y="254"/>
                  </a:lnTo>
                  <a:lnTo>
                    <a:pt x="98" y="256"/>
                  </a:lnTo>
                  <a:lnTo>
                    <a:pt x="101" y="256"/>
                  </a:lnTo>
                  <a:lnTo>
                    <a:pt x="105" y="257"/>
                  </a:lnTo>
                  <a:lnTo>
                    <a:pt x="103" y="245"/>
                  </a:lnTo>
                  <a:lnTo>
                    <a:pt x="103" y="233"/>
                  </a:lnTo>
                  <a:lnTo>
                    <a:pt x="100" y="235"/>
                  </a:lnTo>
                  <a:lnTo>
                    <a:pt x="98" y="235"/>
                  </a:lnTo>
                  <a:lnTo>
                    <a:pt x="98" y="235"/>
                  </a:lnTo>
                  <a:lnTo>
                    <a:pt x="98" y="232"/>
                  </a:lnTo>
                  <a:lnTo>
                    <a:pt x="97" y="229"/>
                  </a:lnTo>
                  <a:lnTo>
                    <a:pt x="95" y="226"/>
                  </a:lnTo>
                  <a:lnTo>
                    <a:pt x="95" y="222"/>
                  </a:lnTo>
                  <a:lnTo>
                    <a:pt x="92" y="218"/>
                  </a:lnTo>
                  <a:lnTo>
                    <a:pt x="90" y="214"/>
                  </a:lnTo>
                  <a:lnTo>
                    <a:pt x="89" y="211"/>
                  </a:lnTo>
                  <a:lnTo>
                    <a:pt x="89" y="210"/>
                  </a:lnTo>
                  <a:lnTo>
                    <a:pt x="85" y="206"/>
                  </a:lnTo>
                  <a:lnTo>
                    <a:pt x="82" y="203"/>
                  </a:lnTo>
                  <a:lnTo>
                    <a:pt x="81" y="200"/>
                  </a:lnTo>
                  <a:lnTo>
                    <a:pt x="79" y="197"/>
                  </a:lnTo>
                  <a:lnTo>
                    <a:pt x="78" y="192"/>
                  </a:lnTo>
                  <a:lnTo>
                    <a:pt x="76" y="192"/>
                  </a:lnTo>
                  <a:lnTo>
                    <a:pt x="74" y="187"/>
                  </a:lnTo>
                  <a:lnTo>
                    <a:pt x="73" y="184"/>
                  </a:lnTo>
                  <a:lnTo>
                    <a:pt x="71" y="181"/>
                  </a:lnTo>
                  <a:lnTo>
                    <a:pt x="66" y="175"/>
                  </a:lnTo>
                  <a:lnTo>
                    <a:pt x="66" y="173"/>
                  </a:lnTo>
                  <a:lnTo>
                    <a:pt x="63" y="170"/>
                  </a:lnTo>
                  <a:lnTo>
                    <a:pt x="63" y="167"/>
                  </a:lnTo>
                  <a:lnTo>
                    <a:pt x="60" y="164"/>
                  </a:lnTo>
                  <a:lnTo>
                    <a:pt x="59" y="160"/>
                  </a:lnTo>
                  <a:lnTo>
                    <a:pt x="59" y="157"/>
                  </a:lnTo>
                  <a:lnTo>
                    <a:pt x="57" y="154"/>
                  </a:lnTo>
                  <a:lnTo>
                    <a:pt x="57" y="149"/>
                  </a:lnTo>
                  <a:lnTo>
                    <a:pt x="54" y="146"/>
                  </a:lnTo>
                  <a:lnTo>
                    <a:pt x="54" y="143"/>
                  </a:lnTo>
                  <a:lnTo>
                    <a:pt x="49" y="132"/>
                  </a:lnTo>
                  <a:lnTo>
                    <a:pt x="46" y="126"/>
                  </a:lnTo>
                  <a:lnTo>
                    <a:pt x="46" y="124"/>
                  </a:lnTo>
                  <a:lnTo>
                    <a:pt x="44" y="121"/>
                  </a:lnTo>
                  <a:lnTo>
                    <a:pt x="43" y="118"/>
                  </a:lnTo>
                  <a:lnTo>
                    <a:pt x="40" y="113"/>
                  </a:lnTo>
                  <a:lnTo>
                    <a:pt x="36" y="107"/>
                  </a:lnTo>
                  <a:lnTo>
                    <a:pt x="35" y="103"/>
                  </a:lnTo>
                  <a:lnTo>
                    <a:pt x="35" y="102"/>
                  </a:lnTo>
                  <a:lnTo>
                    <a:pt x="28" y="88"/>
                  </a:lnTo>
                  <a:lnTo>
                    <a:pt x="20" y="73"/>
                  </a:lnTo>
                  <a:lnTo>
                    <a:pt x="16" y="70"/>
                  </a:lnTo>
                  <a:lnTo>
                    <a:pt x="13" y="67"/>
                  </a:lnTo>
                  <a:lnTo>
                    <a:pt x="11" y="64"/>
                  </a:lnTo>
                  <a:lnTo>
                    <a:pt x="9" y="59"/>
                  </a:lnTo>
                  <a:lnTo>
                    <a:pt x="6" y="53"/>
                  </a:lnTo>
                  <a:lnTo>
                    <a:pt x="3" y="49"/>
                  </a:lnTo>
                  <a:lnTo>
                    <a:pt x="1" y="45"/>
                  </a:lnTo>
                  <a:lnTo>
                    <a:pt x="0" y="29"/>
                  </a:lnTo>
                  <a:lnTo>
                    <a:pt x="1" y="1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85" name="Freeform 454"/>
            <p:cNvSpPr>
              <a:spLocks/>
            </p:cNvSpPr>
            <p:nvPr/>
          </p:nvSpPr>
          <p:spPr bwMode="auto">
            <a:xfrm>
              <a:off x="5800206" y="5595605"/>
              <a:ext cx="421993" cy="440031"/>
            </a:xfrm>
            <a:custGeom>
              <a:avLst/>
              <a:gdLst>
                <a:gd name="T0" fmla="*/ 20 w 574"/>
                <a:gd name="T1" fmla="*/ 241 h 518"/>
                <a:gd name="T2" fmla="*/ 32 w 574"/>
                <a:gd name="T3" fmla="*/ 265 h 518"/>
                <a:gd name="T4" fmla="*/ 55 w 574"/>
                <a:gd name="T5" fmla="*/ 276 h 518"/>
                <a:gd name="T6" fmla="*/ 84 w 574"/>
                <a:gd name="T7" fmla="*/ 276 h 518"/>
                <a:gd name="T8" fmla="*/ 103 w 574"/>
                <a:gd name="T9" fmla="*/ 268 h 518"/>
                <a:gd name="T10" fmla="*/ 122 w 574"/>
                <a:gd name="T11" fmla="*/ 220 h 518"/>
                <a:gd name="T12" fmla="*/ 144 w 574"/>
                <a:gd name="T13" fmla="*/ 131 h 518"/>
                <a:gd name="T14" fmla="*/ 152 w 574"/>
                <a:gd name="T15" fmla="*/ 158 h 518"/>
                <a:gd name="T16" fmla="*/ 144 w 574"/>
                <a:gd name="T17" fmla="*/ 187 h 518"/>
                <a:gd name="T18" fmla="*/ 157 w 574"/>
                <a:gd name="T19" fmla="*/ 192 h 518"/>
                <a:gd name="T20" fmla="*/ 185 w 574"/>
                <a:gd name="T21" fmla="*/ 189 h 518"/>
                <a:gd name="T22" fmla="*/ 206 w 574"/>
                <a:gd name="T23" fmla="*/ 171 h 518"/>
                <a:gd name="T24" fmla="*/ 220 w 574"/>
                <a:gd name="T25" fmla="*/ 147 h 518"/>
                <a:gd name="T26" fmla="*/ 239 w 574"/>
                <a:gd name="T27" fmla="*/ 128 h 518"/>
                <a:gd name="T28" fmla="*/ 265 w 574"/>
                <a:gd name="T29" fmla="*/ 144 h 518"/>
                <a:gd name="T30" fmla="*/ 293 w 574"/>
                <a:gd name="T31" fmla="*/ 150 h 518"/>
                <a:gd name="T32" fmla="*/ 320 w 574"/>
                <a:gd name="T33" fmla="*/ 143 h 518"/>
                <a:gd name="T34" fmla="*/ 331 w 574"/>
                <a:gd name="T35" fmla="*/ 106 h 518"/>
                <a:gd name="T36" fmla="*/ 350 w 574"/>
                <a:gd name="T37" fmla="*/ 103 h 518"/>
                <a:gd name="T38" fmla="*/ 368 w 574"/>
                <a:gd name="T39" fmla="*/ 84 h 518"/>
                <a:gd name="T40" fmla="*/ 384 w 574"/>
                <a:gd name="T41" fmla="*/ 54 h 518"/>
                <a:gd name="T42" fmla="*/ 404 w 574"/>
                <a:gd name="T43" fmla="*/ 39 h 518"/>
                <a:gd name="T44" fmla="*/ 418 w 574"/>
                <a:gd name="T45" fmla="*/ 20 h 518"/>
                <a:gd name="T46" fmla="*/ 444 w 574"/>
                <a:gd name="T47" fmla="*/ 9 h 518"/>
                <a:gd name="T48" fmla="*/ 476 w 574"/>
                <a:gd name="T49" fmla="*/ 1 h 518"/>
                <a:gd name="T50" fmla="*/ 495 w 574"/>
                <a:gd name="T51" fmla="*/ 8 h 518"/>
                <a:gd name="T52" fmla="*/ 522 w 574"/>
                <a:gd name="T53" fmla="*/ 9 h 518"/>
                <a:gd name="T54" fmla="*/ 537 w 574"/>
                <a:gd name="T55" fmla="*/ 63 h 518"/>
                <a:gd name="T56" fmla="*/ 549 w 574"/>
                <a:gd name="T57" fmla="*/ 95 h 518"/>
                <a:gd name="T58" fmla="*/ 545 w 574"/>
                <a:gd name="T59" fmla="*/ 136 h 518"/>
                <a:gd name="T60" fmla="*/ 541 w 574"/>
                <a:gd name="T61" fmla="*/ 157 h 518"/>
                <a:gd name="T62" fmla="*/ 518 w 574"/>
                <a:gd name="T63" fmla="*/ 152 h 518"/>
                <a:gd name="T64" fmla="*/ 503 w 574"/>
                <a:gd name="T65" fmla="*/ 179 h 518"/>
                <a:gd name="T66" fmla="*/ 517 w 574"/>
                <a:gd name="T67" fmla="*/ 208 h 518"/>
                <a:gd name="T68" fmla="*/ 547 w 574"/>
                <a:gd name="T69" fmla="*/ 192 h 518"/>
                <a:gd name="T70" fmla="*/ 561 w 574"/>
                <a:gd name="T71" fmla="*/ 238 h 518"/>
                <a:gd name="T72" fmla="*/ 552 w 574"/>
                <a:gd name="T73" fmla="*/ 263 h 518"/>
                <a:gd name="T74" fmla="*/ 531 w 574"/>
                <a:gd name="T75" fmla="*/ 277 h 518"/>
                <a:gd name="T76" fmla="*/ 504 w 574"/>
                <a:gd name="T77" fmla="*/ 317 h 518"/>
                <a:gd name="T78" fmla="*/ 466 w 574"/>
                <a:gd name="T79" fmla="*/ 372 h 518"/>
                <a:gd name="T80" fmla="*/ 396 w 574"/>
                <a:gd name="T81" fmla="*/ 436 h 518"/>
                <a:gd name="T82" fmla="*/ 360 w 574"/>
                <a:gd name="T83" fmla="*/ 464 h 518"/>
                <a:gd name="T84" fmla="*/ 307 w 574"/>
                <a:gd name="T85" fmla="*/ 479 h 518"/>
                <a:gd name="T86" fmla="*/ 287 w 574"/>
                <a:gd name="T87" fmla="*/ 483 h 518"/>
                <a:gd name="T88" fmla="*/ 261 w 574"/>
                <a:gd name="T89" fmla="*/ 490 h 518"/>
                <a:gd name="T90" fmla="*/ 235 w 574"/>
                <a:gd name="T91" fmla="*/ 485 h 518"/>
                <a:gd name="T92" fmla="*/ 214 w 574"/>
                <a:gd name="T93" fmla="*/ 488 h 518"/>
                <a:gd name="T94" fmla="*/ 206 w 574"/>
                <a:gd name="T95" fmla="*/ 485 h 518"/>
                <a:gd name="T96" fmla="*/ 184 w 574"/>
                <a:gd name="T97" fmla="*/ 493 h 518"/>
                <a:gd name="T98" fmla="*/ 160 w 574"/>
                <a:gd name="T99" fmla="*/ 503 h 518"/>
                <a:gd name="T100" fmla="*/ 135 w 574"/>
                <a:gd name="T101" fmla="*/ 504 h 518"/>
                <a:gd name="T102" fmla="*/ 108 w 574"/>
                <a:gd name="T103" fmla="*/ 515 h 518"/>
                <a:gd name="T104" fmla="*/ 87 w 574"/>
                <a:gd name="T105" fmla="*/ 503 h 518"/>
                <a:gd name="T106" fmla="*/ 73 w 574"/>
                <a:gd name="T107" fmla="*/ 488 h 518"/>
                <a:gd name="T108" fmla="*/ 60 w 574"/>
                <a:gd name="T109" fmla="*/ 498 h 518"/>
                <a:gd name="T110" fmla="*/ 62 w 574"/>
                <a:gd name="T111" fmla="*/ 472 h 518"/>
                <a:gd name="T112" fmla="*/ 52 w 574"/>
                <a:gd name="T113" fmla="*/ 452 h 518"/>
                <a:gd name="T114" fmla="*/ 46 w 574"/>
                <a:gd name="T115" fmla="*/ 433 h 518"/>
                <a:gd name="T116" fmla="*/ 57 w 574"/>
                <a:gd name="T117" fmla="*/ 393 h 518"/>
                <a:gd name="T118" fmla="*/ 25 w 574"/>
                <a:gd name="T119" fmla="*/ 333 h 518"/>
                <a:gd name="T120" fmla="*/ 3 w 574"/>
                <a:gd name="T121" fmla="*/ 274 h 5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4" h="518">
                  <a:moveTo>
                    <a:pt x="0" y="263"/>
                  </a:moveTo>
                  <a:lnTo>
                    <a:pt x="1" y="263"/>
                  </a:lnTo>
                  <a:lnTo>
                    <a:pt x="5" y="260"/>
                  </a:lnTo>
                  <a:lnTo>
                    <a:pt x="8" y="260"/>
                  </a:lnTo>
                  <a:lnTo>
                    <a:pt x="9" y="254"/>
                  </a:lnTo>
                  <a:lnTo>
                    <a:pt x="11" y="249"/>
                  </a:lnTo>
                  <a:lnTo>
                    <a:pt x="14" y="244"/>
                  </a:lnTo>
                  <a:lnTo>
                    <a:pt x="20" y="241"/>
                  </a:lnTo>
                  <a:lnTo>
                    <a:pt x="24" y="244"/>
                  </a:lnTo>
                  <a:lnTo>
                    <a:pt x="24" y="246"/>
                  </a:lnTo>
                  <a:lnTo>
                    <a:pt x="27" y="249"/>
                  </a:lnTo>
                  <a:lnTo>
                    <a:pt x="30" y="250"/>
                  </a:lnTo>
                  <a:lnTo>
                    <a:pt x="32" y="254"/>
                  </a:lnTo>
                  <a:lnTo>
                    <a:pt x="30" y="258"/>
                  </a:lnTo>
                  <a:lnTo>
                    <a:pt x="30" y="261"/>
                  </a:lnTo>
                  <a:lnTo>
                    <a:pt x="32" y="265"/>
                  </a:lnTo>
                  <a:lnTo>
                    <a:pt x="35" y="268"/>
                  </a:lnTo>
                  <a:lnTo>
                    <a:pt x="38" y="268"/>
                  </a:lnTo>
                  <a:lnTo>
                    <a:pt x="39" y="271"/>
                  </a:lnTo>
                  <a:lnTo>
                    <a:pt x="41" y="271"/>
                  </a:lnTo>
                  <a:lnTo>
                    <a:pt x="44" y="271"/>
                  </a:lnTo>
                  <a:lnTo>
                    <a:pt x="49" y="271"/>
                  </a:lnTo>
                  <a:lnTo>
                    <a:pt x="52" y="274"/>
                  </a:lnTo>
                  <a:lnTo>
                    <a:pt x="55" y="276"/>
                  </a:lnTo>
                  <a:lnTo>
                    <a:pt x="58" y="276"/>
                  </a:lnTo>
                  <a:lnTo>
                    <a:pt x="62" y="276"/>
                  </a:lnTo>
                  <a:lnTo>
                    <a:pt x="66" y="276"/>
                  </a:lnTo>
                  <a:lnTo>
                    <a:pt x="70" y="276"/>
                  </a:lnTo>
                  <a:lnTo>
                    <a:pt x="73" y="274"/>
                  </a:lnTo>
                  <a:lnTo>
                    <a:pt x="76" y="274"/>
                  </a:lnTo>
                  <a:lnTo>
                    <a:pt x="79" y="274"/>
                  </a:lnTo>
                  <a:lnTo>
                    <a:pt x="84" y="276"/>
                  </a:lnTo>
                  <a:lnTo>
                    <a:pt x="87" y="277"/>
                  </a:lnTo>
                  <a:lnTo>
                    <a:pt x="90" y="279"/>
                  </a:lnTo>
                  <a:lnTo>
                    <a:pt x="93" y="277"/>
                  </a:lnTo>
                  <a:lnTo>
                    <a:pt x="97" y="276"/>
                  </a:lnTo>
                  <a:lnTo>
                    <a:pt x="95" y="273"/>
                  </a:lnTo>
                  <a:lnTo>
                    <a:pt x="97" y="269"/>
                  </a:lnTo>
                  <a:lnTo>
                    <a:pt x="100" y="269"/>
                  </a:lnTo>
                  <a:lnTo>
                    <a:pt x="103" y="268"/>
                  </a:lnTo>
                  <a:lnTo>
                    <a:pt x="104" y="265"/>
                  </a:lnTo>
                  <a:lnTo>
                    <a:pt x="106" y="261"/>
                  </a:lnTo>
                  <a:lnTo>
                    <a:pt x="108" y="261"/>
                  </a:lnTo>
                  <a:lnTo>
                    <a:pt x="111" y="261"/>
                  </a:lnTo>
                  <a:lnTo>
                    <a:pt x="114" y="260"/>
                  </a:lnTo>
                  <a:lnTo>
                    <a:pt x="119" y="257"/>
                  </a:lnTo>
                  <a:lnTo>
                    <a:pt x="122" y="257"/>
                  </a:lnTo>
                  <a:lnTo>
                    <a:pt x="122" y="220"/>
                  </a:lnTo>
                  <a:lnTo>
                    <a:pt x="124" y="182"/>
                  </a:lnTo>
                  <a:lnTo>
                    <a:pt x="125" y="144"/>
                  </a:lnTo>
                  <a:lnTo>
                    <a:pt x="125" y="108"/>
                  </a:lnTo>
                  <a:lnTo>
                    <a:pt x="130" y="112"/>
                  </a:lnTo>
                  <a:lnTo>
                    <a:pt x="135" y="116"/>
                  </a:lnTo>
                  <a:lnTo>
                    <a:pt x="138" y="119"/>
                  </a:lnTo>
                  <a:lnTo>
                    <a:pt x="143" y="128"/>
                  </a:lnTo>
                  <a:lnTo>
                    <a:pt x="144" y="131"/>
                  </a:lnTo>
                  <a:lnTo>
                    <a:pt x="146" y="135"/>
                  </a:lnTo>
                  <a:lnTo>
                    <a:pt x="146" y="138"/>
                  </a:lnTo>
                  <a:lnTo>
                    <a:pt x="149" y="141"/>
                  </a:lnTo>
                  <a:lnTo>
                    <a:pt x="149" y="146"/>
                  </a:lnTo>
                  <a:lnTo>
                    <a:pt x="150" y="149"/>
                  </a:lnTo>
                  <a:lnTo>
                    <a:pt x="152" y="152"/>
                  </a:lnTo>
                  <a:lnTo>
                    <a:pt x="152" y="155"/>
                  </a:lnTo>
                  <a:lnTo>
                    <a:pt x="152" y="158"/>
                  </a:lnTo>
                  <a:lnTo>
                    <a:pt x="154" y="163"/>
                  </a:lnTo>
                  <a:lnTo>
                    <a:pt x="152" y="166"/>
                  </a:lnTo>
                  <a:lnTo>
                    <a:pt x="150" y="170"/>
                  </a:lnTo>
                  <a:lnTo>
                    <a:pt x="149" y="173"/>
                  </a:lnTo>
                  <a:lnTo>
                    <a:pt x="146" y="176"/>
                  </a:lnTo>
                  <a:lnTo>
                    <a:pt x="144" y="179"/>
                  </a:lnTo>
                  <a:lnTo>
                    <a:pt x="146" y="182"/>
                  </a:lnTo>
                  <a:lnTo>
                    <a:pt x="144" y="187"/>
                  </a:lnTo>
                  <a:lnTo>
                    <a:pt x="146" y="190"/>
                  </a:lnTo>
                  <a:lnTo>
                    <a:pt x="147" y="193"/>
                  </a:lnTo>
                  <a:lnTo>
                    <a:pt x="147" y="193"/>
                  </a:lnTo>
                  <a:lnTo>
                    <a:pt x="147" y="195"/>
                  </a:lnTo>
                  <a:lnTo>
                    <a:pt x="150" y="192"/>
                  </a:lnTo>
                  <a:lnTo>
                    <a:pt x="154" y="190"/>
                  </a:lnTo>
                  <a:lnTo>
                    <a:pt x="155" y="190"/>
                  </a:lnTo>
                  <a:lnTo>
                    <a:pt x="157" y="192"/>
                  </a:lnTo>
                  <a:lnTo>
                    <a:pt x="162" y="193"/>
                  </a:lnTo>
                  <a:lnTo>
                    <a:pt x="166" y="192"/>
                  </a:lnTo>
                  <a:lnTo>
                    <a:pt x="169" y="192"/>
                  </a:lnTo>
                  <a:lnTo>
                    <a:pt x="173" y="192"/>
                  </a:lnTo>
                  <a:lnTo>
                    <a:pt x="176" y="193"/>
                  </a:lnTo>
                  <a:lnTo>
                    <a:pt x="179" y="193"/>
                  </a:lnTo>
                  <a:lnTo>
                    <a:pt x="182" y="193"/>
                  </a:lnTo>
                  <a:lnTo>
                    <a:pt x="185" y="189"/>
                  </a:lnTo>
                  <a:lnTo>
                    <a:pt x="185" y="185"/>
                  </a:lnTo>
                  <a:lnTo>
                    <a:pt x="190" y="185"/>
                  </a:lnTo>
                  <a:lnTo>
                    <a:pt x="193" y="184"/>
                  </a:lnTo>
                  <a:lnTo>
                    <a:pt x="196" y="182"/>
                  </a:lnTo>
                  <a:lnTo>
                    <a:pt x="200" y="179"/>
                  </a:lnTo>
                  <a:lnTo>
                    <a:pt x="200" y="176"/>
                  </a:lnTo>
                  <a:lnTo>
                    <a:pt x="203" y="173"/>
                  </a:lnTo>
                  <a:lnTo>
                    <a:pt x="206" y="171"/>
                  </a:lnTo>
                  <a:lnTo>
                    <a:pt x="209" y="166"/>
                  </a:lnTo>
                  <a:lnTo>
                    <a:pt x="214" y="166"/>
                  </a:lnTo>
                  <a:lnTo>
                    <a:pt x="215" y="163"/>
                  </a:lnTo>
                  <a:lnTo>
                    <a:pt x="217" y="160"/>
                  </a:lnTo>
                  <a:lnTo>
                    <a:pt x="219" y="157"/>
                  </a:lnTo>
                  <a:lnTo>
                    <a:pt x="219" y="154"/>
                  </a:lnTo>
                  <a:lnTo>
                    <a:pt x="220" y="150"/>
                  </a:lnTo>
                  <a:lnTo>
                    <a:pt x="220" y="147"/>
                  </a:lnTo>
                  <a:lnTo>
                    <a:pt x="223" y="143"/>
                  </a:lnTo>
                  <a:lnTo>
                    <a:pt x="223" y="139"/>
                  </a:lnTo>
                  <a:lnTo>
                    <a:pt x="225" y="136"/>
                  </a:lnTo>
                  <a:lnTo>
                    <a:pt x="227" y="133"/>
                  </a:lnTo>
                  <a:lnTo>
                    <a:pt x="230" y="130"/>
                  </a:lnTo>
                  <a:lnTo>
                    <a:pt x="233" y="130"/>
                  </a:lnTo>
                  <a:lnTo>
                    <a:pt x="236" y="128"/>
                  </a:lnTo>
                  <a:lnTo>
                    <a:pt x="239" y="128"/>
                  </a:lnTo>
                  <a:lnTo>
                    <a:pt x="244" y="128"/>
                  </a:lnTo>
                  <a:lnTo>
                    <a:pt x="247" y="131"/>
                  </a:lnTo>
                  <a:lnTo>
                    <a:pt x="250" y="133"/>
                  </a:lnTo>
                  <a:lnTo>
                    <a:pt x="254" y="136"/>
                  </a:lnTo>
                  <a:lnTo>
                    <a:pt x="255" y="136"/>
                  </a:lnTo>
                  <a:lnTo>
                    <a:pt x="258" y="139"/>
                  </a:lnTo>
                  <a:lnTo>
                    <a:pt x="261" y="143"/>
                  </a:lnTo>
                  <a:lnTo>
                    <a:pt x="265" y="144"/>
                  </a:lnTo>
                  <a:lnTo>
                    <a:pt x="268" y="143"/>
                  </a:lnTo>
                  <a:lnTo>
                    <a:pt x="271" y="143"/>
                  </a:lnTo>
                  <a:lnTo>
                    <a:pt x="274" y="146"/>
                  </a:lnTo>
                  <a:lnTo>
                    <a:pt x="277" y="147"/>
                  </a:lnTo>
                  <a:lnTo>
                    <a:pt x="282" y="147"/>
                  </a:lnTo>
                  <a:lnTo>
                    <a:pt x="285" y="150"/>
                  </a:lnTo>
                  <a:lnTo>
                    <a:pt x="288" y="150"/>
                  </a:lnTo>
                  <a:lnTo>
                    <a:pt x="293" y="150"/>
                  </a:lnTo>
                  <a:lnTo>
                    <a:pt x="296" y="150"/>
                  </a:lnTo>
                  <a:lnTo>
                    <a:pt x="300" y="147"/>
                  </a:lnTo>
                  <a:lnTo>
                    <a:pt x="301" y="147"/>
                  </a:lnTo>
                  <a:lnTo>
                    <a:pt x="304" y="147"/>
                  </a:lnTo>
                  <a:lnTo>
                    <a:pt x="309" y="147"/>
                  </a:lnTo>
                  <a:lnTo>
                    <a:pt x="312" y="147"/>
                  </a:lnTo>
                  <a:lnTo>
                    <a:pt x="317" y="146"/>
                  </a:lnTo>
                  <a:lnTo>
                    <a:pt x="320" y="143"/>
                  </a:lnTo>
                  <a:lnTo>
                    <a:pt x="320" y="143"/>
                  </a:lnTo>
                  <a:lnTo>
                    <a:pt x="320" y="143"/>
                  </a:lnTo>
                  <a:lnTo>
                    <a:pt x="322" y="141"/>
                  </a:lnTo>
                  <a:lnTo>
                    <a:pt x="323" y="136"/>
                  </a:lnTo>
                  <a:lnTo>
                    <a:pt x="325" y="133"/>
                  </a:lnTo>
                  <a:lnTo>
                    <a:pt x="325" y="131"/>
                  </a:lnTo>
                  <a:lnTo>
                    <a:pt x="330" y="119"/>
                  </a:lnTo>
                  <a:lnTo>
                    <a:pt x="331" y="106"/>
                  </a:lnTo>
                  <a:lnTo>
                    <a:pt x="333" y="106"/>
                  </a:lnTo>
                  <a:lnTo>
                    <a:pt x="336" y="106"/>
                  </a:lnTo>
                  <a:lnTo>
                    <a:pt x="339" y="104"/>
                  </a:lnTo>
                  <a:lnTo>
                    <a:pt x="339" y="104"/>
                  </a:lnTo>
                  <a:lnTo>
                    <a:pt x="342" y="103"/>
                  </a:lnTo>
                  <a:lnTo>
                    <a:pt x="342" y="103"/>
                  </a:lnTo>
                  <a:lnTo>
                    <a:pt x="347" y="101"/>
                  </a:lnTo>
                  <a:lnTo>
                    <a:pt x="350" y="103"/>
                  </a:lnTo>
                  <a:lnTo>
                    <a:pt x="350" y="101"/>
                  </a:lnTo>
                  <a:lnTo>
                    <a:pt x="353" y="98"/>
                  </a:lnTo>
                  <a:lnTo>
                    <a:pt x="355" y="95"/>
                  </a:lnTo>
                  <a:lnTo>
                    <a:pt x="358" y="92"/>
                  </a:lnTo>
                  <a:lnTo>
                    <a:pt x="361" y="89"/>
                  </a:lnTo>
                  <a:lnTo>
                    <a:pt x="365" y="87"/>
                  </a:lnTo>
                  <a:lnTo>
                    <a:pt x="368" y="84"/>
                  </a:lnTo>
                  <a:lnTo>
                    <a:pt x="368" y="84"/>
                  </a:lnTo>
                  <a:lnTo>
                    <a:pt x="368" y="81"/>
                  </a:lnTo>
                  <a:lnTo>
                    <a:pt x="369" y="71"/>
                  </a:lnTo>
                  <a:lnTo>
                    <a:pt x="371" y="63"/>
                  </a:lnTo>
                  <a:lnTo>
                    <a:pt x="374" y="63"/>
                  </a:lnTo>
                  <a:lnTo>
                    <a:pt x="376" y="58"/>
                  </a:lnTo>
                  <a:lnTo>
                    <a:pt x="377" y="58"/>
                  </a:lnTo>
                  <a:lnTo>
                    <a:pt x="380" y="55"/>
                  </a:lnTo>
                  <a:lnTo>
                    <a:pt x="384" y="54"/>
                  </a:lnTo>
                  <a:lnTo>
                    <a:pt x="385" y="52"/>
                  </a:lnTo>
                  <a:lnTo>
                    <a:pt x="388" y="51"/>
                  </a:lnTo>
                  <a:lnTo>
                    <a:pt x="392" y="49"/>
                  </a:lnTo>
                  <a:lnTo>
                    <a:pt x="393" y="46"/>
                  </a:lnTo>
                  <a:lnTo>
                    <a:pt x="396" y="44"/>
                  </a:lnTo>
                  <a:lnTo>
                    <a:pt x="396" y="44"/>
                  </a:lnTo>
                  <a:lnTo>
                    <a:pt x="401" y="43"/>
                  </a:lnTo>
                  <a:lnTo>
                    <a:pt x="404" y="39"/>
                  </a:lnTo>
                  <a:lnTo>
                    <a:pt x="404" y="39"/>
                  </a:lnTo>
                  <a:lnTo>
                    <a:pt x="406" y="35"/>
                  </a:lnTo>
                  <a:lnTo>
                    <a:pt x="406" y="35"/>
                  </a:lnTo>
                  <a:lnTo>
                    <a:pt x="411" y="32"/>
                  </a:lnTo>
                  <a:lnTo>
                    <a:pt x="412" y="28"/>
                  </a:lnTo>
                  <a:lnTo>
                    <a:pt x="415" y="25"/>
                  </a:lnTo>
                  <a:lnTo>
                    <a:pt x="415" y="22"/>
                  </a:lnTo>
                  <a:lnTo>
                    <a:pt x="418" y="20"/>
                  </a:lnTo>
                  <a:lnTo>
                    <a:pt x="422" y="17"/>
                  </a:lnTo>
                  <a:lnTo>
                    <a:pt x="426" y="17"/>
                  </a:lnTo>
                  <a:lnTo>
                    <a:pt x="430" y="17"/>
                  </a:lnTo>
                  <a:lnTo>
                    <a:pt x="433" y="16"/>
                  </a:lnTo>
                  <a:lnTo>
                    <a:pt x="438" y="14"/>
                  </a:lnTo>
                  <a:lnTo>
                    <a:pt x="441" y="13"/>
                  </a:lnTo>
                  <a:lnTo>
                    <a:pt x="441" y="13"/>
                  </a:lnTo>
                  <a:lnTo>
                    <a:pt x="444" y="9"/>
                  </a:lnTo>
                  <a:lnTo>
                    <a:pt x="444" y="6"/>
                  </a:lnTo>
                  <a:lnTo>
                    <a:pt x="445" y="5"/>
                  </a:lnTo>
                  <a:lnTo>
                    <a:pt x="445" y="5"/>
                  </a:lnTo>
                  <a:lnTo>
                    <a:pt x="455" y="1"/>
                  </a:lnTo>
                  <a:lnTo>
                    <a:pt x="464" y="0"/>
                  </a:lnTo>
                  <a:lnTo>
                    <a:pt x="468" y="0"/>
                  </a:lnTo>
                  <a:lnTo>
                    <a:pt x="472" y="0"/>
                  </a:lnTo>
                  <a:lnTo>
                    <a:pt x="476" y="1"/>
                  </a:lnTo>
                  <a:lnTo>
                    <a:pt x="477" y="1"/>
                  </a:lnTo>
                  <a:lnTo>
                    <a:pt x="479" y="3"/>
                  </a:lnTo>
                  <a:lnTo>
                    <a:pt x="480" y="3"/>
                  </a:lnTo>
                  <a:lnTo>
                    <a:pt x="484" y="6"/>
                  </a:lnTo>
                  <a:lnTo>
                    <a:pt x="485" y="6"/>
                  </a:lnTo>
                  <a:lnTo>
                    <a:pt x="488" y="6"/>
                  </a:lnTo>
                  <a:lnTo>
                    <a:pt x="491" y="8"/>
                  </a:lnTo>
                  <a:lnTo>
                    <a:pt x="495" y="8"/>
                  </a:lnTo>
                  <a:lnTo>
                    <a:pt x="498" y="8"/>
                  </a:lnTo>
                  <a:lnTo>
                    <a:pt x="503" y="8"/>
                  </a:lnTo>
                  <a:lnTo>
                    <a:pt x="506" y="6"/>
                  </a:lnTo>
                  <a:lnTo>
                    <a:pt x="509" y="6"/>
                  </a:lnTo>
                  <a:lnTo>
                    <a:pt x="512" y="6"/>
                  </a:lnTo>
                  <a:lnTo>
                    <a:pt x="517" y="8"/>
                  </a:lnTo>
                  <a:lnTo>
                    <a:pt x="518" y="8"/>
                  </a:lnTo>
                  <a:lnTo>
                    <a:pt x="522" y="9"/>
                  </a:lnTo>
                  <a:lnTo>
                    <a:pt x="526" y="11"/>
                  </a:lnTo>
                  <a:lnTo>
                    <a:pt x="526" y="11"/>
                  </a:lnTo>
                  <a:lnTo>
                    <a:pt x="531" y="30"/>
                  </a:lnTo>
                  <a:lnTo>
                    <a:pt x="533" y="49"/>
                  </a:lnTo>
                  <a:lnTo>
                    <a:pt x="533" y="52"/>
                  </a:lnTo>
                  <a:lnTo>
                    <a:pt x="534" y="55"/>
                  </a:lnTo>
                  <a:lnTo>
                    <a:pt x="537" y="58"/>
                  </a:lnTo>
                  <a:lnTo>
                    <a:pt x="537" y="63"/>
                  </a:lnTo>
                  <a:lnTo>
                    <a:pt x="539" y="66"/>
                  </a:lnTo>
                  <a:lnTo>
                    <a:pt x="541" y="71"/>
                  </a:lnTo>
                  <a:lnTo>
                    <a:pt x="544" y="74"/>
                  </a:lnTo>
                  <a:lnTo>
                    <a:pt x="544" y="79"/>
                  </a:lnTo>
                  <a:lnTo>
                    <a:pt x="544" y="84"/>
                  </a:lnTo>
                  <a:lnTo>
                    <a:pt x="545" y="87"/>
                  </a:lnTo>
                  <a:lnTo>
                    <a:pt x="547" y="92"/>
                  </a:lnTo>
                  <a:lnTo>
                    <a:pt x="549" y="95"/>
                  </a:lnTo>
                  <a:lnTo>
                    <a:pt x="549" y="98"/>
                  </a:lnTo>
                  <a:lnTo>
                    <a:pt x="547" y="101"/>
                  </a:lnTo>
                  <a:lnTo>
                    <a:pt x="547" y="112"/>
                  </a:lnTo>
                  <a:lnTo>
                    <a:pt x="547" y="124"/>
                  </a:lnTo>
                  <a:lnTo>
                    <a:pt x="547" y="127"/>
                  </a:lnTo>
                  <a:lnTo>
                    <a:pt x="547" y="131"/>
                  </a:lnTo>
                  <a:lnTo>
                    <a:pt x="545" y="135"/>
                  </a:lnTo>
                  <a:lnTo>
                    <a:pt x="545" y="136"/>
                  </a:lnTo>
                  <a:lnTo>
                    <a:pt x="545" y="136"/>
                  </a:lnTo>
                  <a:lnTo>
                    <a:pt x="545" y="139"/>
                  </a:lnTo>
                  <a:lnTo>
                    <a:pt x="545" y="143"/>
                  </a:lnTo>
                  <a:lnTo>
                    <a:pt x="545" y="146"/>
                  </a:lnTo>
                  <a:lnTo>
                    <a:pt x="542" y="149"/>
                  </a:lnTo>
                  <a:lnTo>
                    <a:pt x="542" y="152"/>
                  </a:lnTo>
                  <a:lnTo>
                    <a:pt x="544" y="157"/>
                  </a:lnTo>
                  <a:lnTo>
                    <a:pt x="541" y="157"/>
                  </a:lnTo>
                  <a:lnTo>
                    <a:pt x="537" y="155"/>
                  </a:lnTo>
                  <a:lnTo>
                    <a:pt x="536" y="155"/>
                  </a:lnTo>
                  <a:lnTo>
                    <a:pt x="533" y="152"/>
                  </a:lnTo>
                  <a:lnTo>
                    <a:pt x="528" y="149"/>
                  </a:lnTo>
                  <a:lnTo>
                    <a:pt x="526" y="147"/>
                  </a:lnTo>
                  <a:lnTo>
                    <a:pt x="525" y="147"/>
                  </a:lnTo>
                  <a:lnTo>
                    <a:pt x="522" y="147"/>
                  </a:lnTo>
                  <a:lnTo>
                    <a:pt x="518" y="152"/>
                  </a:lnTo>
                  <a:lnTo>
                    <a:pt x="514" y="155"/>
                  </a:lnTo>
                  <a:lnTo>
                    <a:pt x="514" y="155"/>
                  </a:lnTo>
                  <a:lnTo>
                    <a:pt x="514" y="157"/>
                  </a:lnTo>
                  <a:lnTo>
                    <a:pt x="514" y="160"/>
                  </a:lnTo>
                  <a:lnTo>
                    <a:pt x="510" y="163"/>
                  </a:lnTo>
                  <a:lnTo>
                    <a:pt x="506" y="171"/>
                  </a:lnTo>
                  <a:lnTo>
                    <a:pt x="503" y="174"/>
                  </a:lnTo>
                  <a:lnTo>
                    <a:pt x="503" y="179"/>
                  </a:lnTo>
                  <a:lnTo>
                    <a:pt x="501" y="189"/>
                  </a:lnTo>
                  <a:lnTo>
                    <a:pt x="506" y="192"/>
                  </a:lnTo>
                  <a:lnTo>
                    <a:pt x="506" y="193"/>
                  </a:lnTo>
                  <a:lnTo>
                    <a:pt x="507" y="196"/>
                  </a:lnTo>
                  <a:lnTo>
                    <a:pt x="507" y="200"/>
                  </a:lnTo>
                  <a:lnTo>
                    <a:pt x="510" y="203"/>
                  </a:lnTo>
                  <a:lnTo>
                    <a:pt x="514" y="206"/>
                  </a:lnTo>
                  <a:lnTo>
                    <a:pt x="517" y="208"/>
                  </a:lnTo>
                  <a:lnTo>
                    <a:pt x="523" y="211"/>
                  </a:lnTo>
                  <a:lnTo>
                    <a:pt x="526" y="212"/>
                  </a:lnTo>
                  <a:lnTo>
                    <a:pt x="539" y="212"/>
                  </a:lnTo>
                  <a:lnTo>
                    <a:pt x="542" y="211"/>
                  </a:lnTo>
                  <a:lnTo>
                    <a:pt x="542" y="201"/>
                  </a:lnTo>
                  <a:lnTo>
                    <a:pt x="544" y="192"/>
                  </a:lnTo>
                  <a:lnTo>
                    <a:pt x="547" y="192"/>
                  </a:lnTo>
                  <a:lnTo>
                    <a:pt x="547" y="192"/>
                  </a:lnTo>
                  <a:lnTo>
                    <a:pt x="552" y="192"/>
                  </a:lnTo>
                  <a:lnTo>
                    <a:pt x="555" y="193"/>
                  </a:lnTo>
                  <a:lnTo>
                    <a:pt x="555" y="193"/>
                  </a:lnTo>
                  <a:lnTo>
                    <a:pt x="564" y="193"/>
                  </a:lnTo>
                  <a:lnTo>
                    <a:pt x="574" y="193"/>
                  </a:lnTo>
                  <a:lnTo>
                    <a:pt x="568" y="214"/>
                  </a:lnTo>
                  <a:lnTo>
                    <a:pt x="561" y="236"/>
                  </a:lnTo>
                  <a:lnTo>
                    <a:pt x="561" y="238"/>
                  </a:lnTo>
                  <a:lnTo>
                    <a:pt x="561" y="241"/>
                  </a:lnTo>
                  <a:lnTo>
                    <a:pt x="560" y="244"/>
                  </a:lnTo>
                  <a:lnTo>
                    <a:pt x="560" y="247"/>
                  </a:lnTo>
                  <a:lnTo>
                    <a:pt x="556" y="250"/>
                  </a:lnTo>
                  <a:lnTo>
                    <a:pt x="556" y="252"/>
                  </a:lnTo>
                  <a:lnTo>
                    <a:pt x="555" y="255"/>
                  </a:lnTo>
                  <a:lnTo>
                    <a:pt x="555" y="258"/>
                  </a:lnTo>
                  <a:lnTo>
                    <a:pt x="552" y="263"/>
                  </a:lnTo>
                  <a:lnTo>
                    <a:pt x="550" y="266"/>
                  </a:lnTo>
                  <a:lnTo>
                    <a:pt x="545" y="269"/>
                  </a:lnTo>
                  <a:lnTo>
                    <a:pt x="542" y="273"/>
                  </a:lnTo>
                  <a:lnTo>
                    <a:pt x="539" y="273"/>
                  </a:lnTo>
                  <a:lnTo>
                    <a:pt x="539" y="276"/>
                  </a:lnTo>
                  <a:lnTo>
                    <a:pt x="536" y="277"/>
                  </a:lnTo>
                  <a:lnTo>
                    <a:pt x="533" y="277"/>
                  </a:lnTo>
                  <a:lnTo>
                    <a:pt x="531" y="277"/>
                  </a:lnTo>
                  <a:lnTo>
                    <a:pt x="531" y="277"/>
                  </a:lnTo>
                  <a:lnTo>
                    <a:pt x="530" y="281"/>
                  </a:lnTo>
                  <a:lnTo>
                    <a:pt x="523" y="287"/>
                  </a:lnTo>
                  <a:lnTo>
                    <a:pt x="517" y="295"/>
                  </a:lnTo>
                  <a:lnTo>
                    <a:pt x="510" y="303"/>
                  </a:lnTo>
                  <a:lnTo>
                    <a:pt x="504" y="312"/>
                  </a:lnTo>
                  <a:lnTo>
                    <a:pt x="504" y="314"/>
                  </a:lnTo>
                  <a:lnTo>
                    <a:pt x="504" y="317"/>
                  </a:lnTo>
                  <a:lnTo>
                    <a:pt x="503" y="319"/>
                  </a:lnTo>
                  <a:lnTo>
                    <a:pt x="499" y="322"/>
                  </a:lnTo>
                  <a:lnTo>
                    <a:pt x="496" y="325"/>
                  </a:lnTo>
                  <a:lnTo>
                    <a:pt x="495" y="328"/>
                  </a:lnTo>
                  <a:lnTo>
                    <a:pt x="488" y="339"/>
                  </a:lnTo>
                  <a:lnTo>
                    <a:pt x="482" y="352"/>
                  </a:lnTo>
                  <a:lnTo>
                    <a:pt x="474" y="361"/>
                  </a:lnTo>
                  <a:lnTo>
                    <a:pt x="466" y="372"/>
                  </a:lnTo>
                  <a:lnTo>
                    <a:pt x="458" y="380"/>
                  </a:lnTo>
                  <a:lnTo>
                    <a:pt x="449" y="388"/>
                  </a:lnTo>
                  <a:lnTo>
                    <a:pt x="441" y="395"/>
                  </a:lnTo>
                  <a:lnTo>
                    <a:pt x="433" y="403"/>
                  </a:lnTo>
                  <a:lnTo>
                    <a:pt x="425" y="412"/>
                  </a:lnTo>
                  <a:lnTo>
                    <a:pt x="415" y="422"/>
                  </a:lnTo>
                  <a:lnTo>
                    <a:pt x="406" y="430"/>
                  </a:lnTo>
                  <a:lnTo>
                    <a:pt x="396" y="436"/>
                  </a:lnTo>
                  <a:lnTo>
                    <a:pt x="396" y="437"/>
                  </a:lnTo>
                  <a:lnTo>
                    <a:pt x="393" y="441"/>
                  </a:lnTo>
                  <a:lnTo>
                    <a:pt x="390" y="444"/>
                  </a:lnTo>
                  <a:lnTo>
                    <a:pt x="387" y="445"/>
                  </a:lnTo>
                  <a:lnTo>
                    <a:pt x="384" y="449"/>
                  </a:lnTo>
                  <a:lnTo>
                    <a:pt x="379" y="450"/>
                  </a:lnTo>
                  <a:lnTo>
                    <a:pt x="369" y="458"/>
                  </a:lnTo>
                  <a:lnTo>
                    <a:pt x="360" y="464"/>
                  </a:lnTo>
                  <a:lnTo>
                    <a:pt x="350" y="469"/>
                  </a:lnTo>
                  <a:lnTo>
                    <a:pt x="341" y="474"/>
                  </a:lnTo>
                  <a:lnTo>
                    <a:pt x="330" y="476"/>
                  </a:lnTo>
                  <a:lnTo>
                    <a:pt x="319" y="474"/>
                  </a:lnTo>
                  <a:lnTo>
                    <a:pt x="315" y="474"/>
                  </a:lnTo>
                  <a:lnTo>
                    <a:pt x="315" y="474"/>
                  </a:lnTo>
                  <a:lnTo>
                    <a:pt x="312" y="476"/>
                  </a:lnTo>
                  <a:lnTo>
                    <a:pt x="307" y="479"/>
                  </a:lnTo>
                  <a:lnTo>
                    <a:pt x="307" y="482"/>
                  </a:lnTo>
                  <a:lnTo>
                    <a:pt x="311" y="487"/>
                  </a:lnTo>
                  <a:lnTo>
                    <a:pt x="306" y="487"/>
                  </a:lnTo>
                  <a:lnTo>
                    <a:pt x="301" y="487"/>
                  </a:lnTo>
                  <a:lnTo>
                    <a:pt x="296" y="485"/>
                  </a:lnTo>
                  <a:lnTo>
                    <a:pt x="293" y="483"/>
                  </a:lnTo>
                  <a:lnTo>
                    <a:pt x="287" y="483"/>
                  </a:lnTo>
                  <a:lnTo>
                    <a:pt x="287" y="483"/>
                  </a:lnTo>
                  <a:lnTo>
                    <a:pt x="284" y="487"/>
                  </a:lnTo>
                  <a:lnTo>
                    <a:pt x="282" y="490"/>
                  </a:lnTo>
                  <a:lnTo>
                    <a:pt x="279" y="493"/>
                  </a:lnTo>
                  <a:lnTo>
                    <a:pt x="274" y="491"/>
                  </a:lnTo>
                  <a:lnTo>
                    <a:pt x="271" y="493"/>
                  </a:lnTo>
                  <a:lnTo>
                    <a:pt x="268" y="491"/>
                  </a:lnTo>
                  <a:lnTo>
                    <a:pt x="265" y="490"/>
                  </a:lnTo>
                  <a:lnTo>
                    <a:pt x="261" y="490"/>
                  </a:lnTo>
                  <a:lnTo>
                    <a:pt x="257" y="488"/>
                  </a:lnTo>
                  <a:lnTo>
                    <a:pt x="254" y="487"/>
                  </a:lnTo>
                  <a:lnTo>
                    <a:pt x="250" y="487"/>
                  </a:lnTo>
                  <a:lnTo>
                    <a:pt x="247" y="487"/>
                  </a:lnTo>
                  <a:lnTo>
                    <a:pt x="242" y="485"/>
                  </a:lnTo>
                  <a:lnTo>
                    <a:pt x="239" y="485"/>
                  </a:lnTo>
                  <a:lnTo>
                    <a:pt x="239" y="485"/>
                  </a:lnTo>
                  <a:lnTo>
                    <a:pt x="235" y="485"/>
                  </a:lnTo>
                  <a:lnTo>
                    <a:pt x="231" y="487"/>
                  </a:lnTo>
                  <a:lnTo>
                    <a:pt x="230" y="490"/>
                  </a:lnTo>
                  <a:lnTo>
                    <a:pt x="225" y="490"/>
                  </a:lnTo>
                  <a:lnTo>
                    <a:pt x="222" y="488"/>
                  </a:lnTo>
                  <a:lnTo>
                    <a:pt x="219" y="487"/>
                  </a:lnTo>
                  <a:lnTo>
                    <a:pt x="219" y="487"/>
                  </a:lnTo>
                  <a:lnTo>
                    <a:pt x="217" y="488"/>
                  </a:lnTo>
                  <a:lnTo>
                    <a:pt x="214" y="488"/>
                  </a:lnTo>
                  <a:lnTo>
                    <a:pt x="211" y="487"/>
                  </a:lnTo>
                  <a:lnTo>
                    <a:pt x="211" y="487"/>
                  </a:lnTo>
                  <a:lnTo>
                    <a:pt x="211" y="485"/>
                  </a:lnTo>
                  <a:lnTo>
                    <a:pt x="209" y="485"/>
                  </a:lnTo>
                  <a:lnTo>
                    <a:pt x="209" y="487"/>
                  </a:lnTo>
                  <a:lnTo>
                    <a:pt x="211" y="487"/>
                  </a:lnTo>
                  <a:lnTo>
                    <a:pt x="209" y="487"/>
                  </a:lnTo>
                  <a:lnTo>
                    <a:pt x="206" y="485"/>
                  </a:lnTo>
                  <a:lnTo>
                    <a:pt x="206" y="485"/>
                  </a:lnTo>
                  <a:lnTo>
                    <a:pt x="203" y="485"/>
                  </a:lnTo>
                  <a:lnTo>
                    <a:pt x="200" y="488"/>
                  </a:lnTo>
                  <a:lnTo>
                    <a:pt x="195" y="487"/>
                  </a:lnTo>
                  <a:lnTo>
                    <a:pt x="192" y="488"/>
                  </a:lnTo>
                  <a:lnTo>
                    <a:pt x="189" y="490"/>
                  </a:lnTo>
                  <a:lnTo>
                    <a:pt x="187" y="493"/>
                  </a:lnTo>
                  <a:lnTo>
                    <a:pt x="184" y="493"/>
                  </a:lnTo>
                  <a:lnTo>
                    <a:pt x="181" y="496"/>
                  </a:lnTo>
                  <a:lnTo>
                    <a:pt x="179" y="499"/>
                  </a:lnTo>
                  <a:lnTo>
                    <a:pt x="177" y="501"/>
                  </a:lnTo>
                  <a:lnTo>
                    <a:pt x="174" y="501"/>
                  </a:lnTo>
                  <a:lnTo>
                    <a:pt x="169" y="501"/>
                  </a:lnTo>
                  <a:lnTo>
                    <a:pt x="166" y="499"/>
                  </a:lnTo>
                  <a:lnTo>
                    <a:pt x="163" y="501"/>
                  </a:lnTo>
                  <a:lnTo>
                    <a:pt x="160" y="503"/>
                  </a:lnTo>
                  <a:lnTo>
                    <a:pt x="157" y="503"/>
                  </a:lnTo>
                  <a:lnTo>
                    <a:pt x="152" y="501"/>
                  </a:lnTo>
                  <a:lnTo>
                    <a:pt x="149" y="499"/>
                  </a:lnTo>
                  <a:lnTo>
                    <a:pt x="146" y="499"/>
                  </a:lnTo>
                  <a:lnTo>
                    <a:pt x="143" y="501"/>
                  </a:lnTo>
                  <a:lnTo>
                    <a:pt x="141" y="504"/>
                  </a:lnTo>
                  <a:lnTo>
                    <a:pt x="138" y="503"/>
                  </a:lnTo>
                  <a:lnTo>
                    <a:pt x="135" y="504"/>
                  </a:lnTo>
                  <a:lnTo>
                    <a:pt x="130" y="504"/>
                  </a:lnTo>
                  <a:lnTo>
                    <a:pt x="127" y="509"/>
                  </a:lnTo>
                  <a:lnTo>
                    <a:pt x="124" y="510"/>
                  </a:lnTo>
                  <a:lnTo>
                    <a:pt x="120" y="514"/>
                  </a:lnTo>
                  <a:lnTo>
                    <a:pt x="117" y="515"/>
                  </a:lnTo>
                  <a:lnTo>
                    <a:pt x="114" y="518"/>
                  </a:lnTo>
                  <a:lnTo>
                    <a:pt x="112" y="518"/>
                  </a:lnTo>
                  <a:lnTo>
                    <a:pt x="108" y="515"/>
                  </a:lnTo>
                  <a:lnTo>
                    <a:pt x="104" y="515"/>
                  </a:lnTo>
                  <a:lnTo>
                    <a:pt x="101" y="515"/>
                  </a:lnTo>
                  <a:lnTo>
                    <a:pt x="98" y="512"/>
                  </a:lnTo>
                  <a:lnTo>
                    <a:pt x="93" y="510"/>
                  </a:lnTo>
                  <a:lnTo>
                    <a:pt x="92" y="509"/>
                  </a:lnTo>
                  <a:lnTo>
                    <a:pt x="93" y="506"/>
                  </a:lnTo>
                  <a:lnTo>
                    <a:pt x="90" y="503"/>
                  </a:lnTo>
                  <a:lnTo>
                    <a:pt x="87" y="503"/>
                  </a:lnTo>
                  <a:lnTo>
                    <a:pt x="84" y="499"/>
                  </a:lnTo>
                  <a:lnTo>
                    <a:pt x="81" y="499"/>
                  </a:lnTo>
                  <a:lnTo>
                    <a:pt x="78" y="499"/>
                  </a:lnTo>
                  <a:lnTo>
                    <a:pt x="74" y="499"/>
                  </a:lnTo>
                  <a:lnTo>
                    <a:pt x="76" y="496"/>
                  </a:lnTo>
                  <a:lnTo>
                    <a:pt x="74" y="493"/>
                  </a:lnTo>
                  <a:lnTo>
                    <a:pt x="74" y="490"/>
                  </a:lnTo>
                  <a:lnTo>
                    <a:pt x="73" y="488"/>
                  </a:lnTo>
                  <a:lnTo>
                    <a:pt x="70" y="488"/>
                  </a:lnTo>
                  <a:lnTo>
                    <a:pt x="68" y="488"/>
                  </a:lnTo>
                  <a:lnTo>
                    <a:pt x="65" y="488"/>
                  </a:lnTo>
                  <a:lnTo>
                    <a:pt x="63" y="490"/>
                  </a:lnTo>
                  <a:lnTo>
                    <a:pt x="62" y="493"/>
                  </a:lnTo>
                  <a:lnTo>
                    <a:pt x="63" y="496"/>
                  </a:lnTo>
                  <a:lnTo>
                    <a:pt x="63" y="499"/>
                  </a:lnTo>
                  <a:lnTo>
                    <a:pt x="60" y="498"/>
                  </a:lnTo>
                  <a:lnTo>
                    <a:pt x="60" y="495"/>
                  </a:lnTo>
                  <a:lnTo>
                    <a:pt x="57" y="491"/>
                  </a:lnTo>
                  <a:lnTo>
                    <a:pt x="58" y="487"/>
                  </a:lnTo>
                  <a:lnTo>
                    <a:pt x="58" y="485"/>
                  </a:lnTo>
                  <a:lnTo>
                    <a:pt x="60" y="482"/>
                  </a:lnTo>
                  <a:lnTo>
                    <a:pt x="63" y="479"/>
                  </a:lnTo>
                  <a:lnTo>
                    <a:pt x="62" y="474"/>
                  </a:lnTo>
                  <a:lnTo>
                    <a:pt x="62" y="472"/>
                  </a:lnTo>
                  <a:lnTo>
                    <a:pt x="60" y="469"/>
                  </a:lnTo>
                  <a:lnTo>
                    <a:pt x="58" y="464"/>
                  </a:lnTo>
                  <a:lnTo>
                    <a:pt x="57" y="461"/>
                  </a:lnTo>
                  <a:lnTo>
                    <a:pt x="52" y="458"/>
                  </a:lnTo>
                  <a:lnTo>
                    <a:pt x="52" y="455"/>
                  </a:lnTo>
                  <a:lnTo>
                    <a:pt x="51" y="453"/>
                  </a:lnTo>
                  <a:lnTo>
                    <a:pt x="49" y="449"/>
                  </a:lnTo>
                  <a:lnTo>
                    <a:pt x="52" y="452"/>
                  </a:lnTo>
                  <a:lnTo>
                    <a:pt x="49" y="449"/>
                  </a:lnTo>
                  <a:lnTo>
                    <a:pt x="49" y="445"/>
                  </a:lnTo>
                  <a:lnTo>
                    <a:pt x="47" y="444"/>
                  </a:lnTo>
                  <a:lnTo>
                    <a:pt x="44" y="444"/>
                  </a:lnTo>
                  <a:lnTo>
                    <a:pt x="43" y="441"/>
                  </a:lnTo>
                  <a:lnTo>
                    <a:pt x="44" y="439"/>
                  </a:lnTo>
                  <a:lnTo>
                    <a:pt x="44" y="436"/>
                  </a:lnTo>
                  <a:lnTo>
                    <a:pt x="46" y="433"/>
                  </a:lnTo>
                  <a:lnTo>
                    <a:pt x="49" y="434"/>
                  </a:lnTo>
                  <a:lnTo>
                    <a:pt x="52" y="436"/>
                  </a:lnTo>
                  <a:lnTo>
                    <a:pt x="57" y="430"/>
                  </a:lnTo>
                  <a:lnTo>
                    <a:pt x="60" y="426"/>
                  </a:lnTo>
                  <a:lnTo>
                    <a:pt x="60" y="422"/>
                  </a:lnTo>
                  <a:lnTo>
                    <a:pt x="60" y="415"/>
                  </a:lnTo>
                  <a:lnTo>
                    <a:pt x="58" y="404"/>
                  </a:lnTo>
                  <a:lnTo>
                    <a:pt x="57" y="393"/>
                  </a:lnTo>
                  <a:lnTo>
                    <a:pt x="44" y="374"/>
                  </a:lnTo>
                  <a:lnTo>
                    <a:pt x="35" y="353"/>
                  </a:lnTo>
                  <a:lnTo>
                    <a:pt x="32" y="350"/>
                  </a:lnTo>
                  <a:lnTo>
                    <a:pt x="32" y="346"/>
                  </a:lnTo>
                  <a:lnTo>
                    <a:pt x="28" y="342"/>
                  </a:lnTo>
                  <a:lnTo>
                    <a:pt x="27" y="339"/>
                  </a:lnTo>
                  <a:lnTo>
                    <a:pt x="25" y="336"/>
                  </a:lnTo>
                  <a:lnTo>
                    <a:pt x="25" y="333"/>
                  </a:lnTo>
                  <a:lnTo>
                    <a:pt x="20" y="320"/>
                  </a:lnTo>
                  <a:lnTo>
                    <a:pt x="19" y="309"/>
                  </a:lnTo>
                  <a:lnTo>
                    <a:pt x="16" y="298"/>
                  </a:lnTo>
                  <a:lnTo>
                    <a:pt x="11" y="288"/>
                  </a:lnTo>
                  <a:lnTo>
                    <a:pt x="11" y="285"/>
                  </a:lnTo>
                  <a:lnTo>
                    <a:pt x="8" y="281"/>
                  </a:lnTo>
                  <a:lnTo>
                    <a:pt x="6" y="277"/>
                  </a:lnTo>
                  <a:lnTo>
                    <a:pt x="3" y="274"/>
                  </a:lnTo>
                  <a:lnTo>
                    <a:pt x="1" y="271"/>
                  </a:lnTo>
                  <a:lnTo>
                    <a:pt x="0" y="266"/>
                  </a:lnTo>
                  <a:lnTo>
                    <a:pt x="0" y="26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86" name="Freeform 455"/>
            <p:cNvSpPr>
              <a:spLocks/>
            </p:cNvSpPr>
            <p:nvPr/>
          </p:nvSpPr>
          <p:spPr bwMode="auto">
            <a:xfrm>
              <a:off x="6067811" y="5819006"/>
              <a:ext cx="61755" cy="72775"/>
            </a:xfrm>
            <a:custGeom>
              <a:avLst/>
              <a:gdLst>
                <a:gd name="T0" fmla="*/ 4 w 84"/>
                <a:gd name="T1" fmla="*/ 54 h 86"/>
                <a:gd name="T2" fmla="*/ 11 w 84"/>
                <a:gd name="T3" fmla="*/ 68 h 86"/>
                <a:gd name="T4" fmla="*/ 14 w 84"/>
                <a:gd name="T5" fmla="*/ 71 h 86"/>
                <a:gd name="T6" fmla="*/ 17 w 84"/>
                <a:gd name="T7" fmla="*/ 76 h 86"/>
                <a:gd name="T8" fmla="*/ 23 w 84"/>
                <a:gd name="T9" fmla="*/ 83 h 86"/>
                <a:gd name="T10" fmla="*/ 30 w 84"/>
                <a:gd name="T11" fmla="*/ 84 h 86"/>
                <a:gd name="T12" fmla="*/ 34 w 84"/>
                <a:gd name="T13" fmla="*/ 86 h 86"/>
                <a:gd name="T14" fmla="*/ 38 w 84"/>
                <a:gd name="T15" fmla="*/ 78 h 86"/>
                <a:gd name="T16" fmla="*/ 41 w 84"/>
                <a:gd name="T17" fmla="*/ 73 h 86"/>
                <a:gd name="T18" fmla="*/ 42 w 84"/>
                <a:gd name="T19" fmla="*/ 68 h 86"/>
                <a:gd name="T20" fmla="*/ 46 w 84"/>
                <a:gd name="T21" fmla="*/ 65 h 86"/>
                <a:gd name="T22" fmla="*/ 53 w 84"/>
                <a:gd name="T23" fmla="*/ 63 h 86"/>
                <a:gd name="T24" fmla="*/ 60 w 84"/>
                <a:gd name="T25" fmla="*/ 62 h 86"/>
                <a:gd name="T26" fmla="*/ 73 w 84"/>
                <a:gd name="T27" fmla="*/ 54 h 86"/>
                <a:gd name="T28" fmla="*/ 73 w 84"/>
                <a:gd name="T29" fmla="*/ 48 h 86"/>
                <a:gd name="T30" fmla="*/ 79 w 84"/>
                <a:gd name="T31" fmla="*/ 41 h 86"/>
                <a:gd name="T32" fmla="*/ 82 w 84"/>
                <a:gd name="T33" fmla="*/ 37 h 86"/>
                <a:gd name="T34" fmla="*/ 84 w 84"/>
                <a:gd name="T35" fmla="*/ 32 h 86"/>
                <a:gd name="T36" fmla="*/ 82 w 84"/>
                <a:gd name="T37" fmla="*/ 24 h 86"/>
                <a:gd name="T38" fmla="*/ 80 w 84"/>
                <a:gd name="T39" fmla="*/ 21 h 86"/>
                <a:gd name="T40" fmla="*/ 61 w 84"/>
                <a:gd name="T41" fmla="*/ 5 h 86"/>
                <a:gd name="T42" fmla="*/ 58 w 84"/>
                <a:gd name="T43" fmla="*/ 0 h 86"/>
                <a:gd name="T44" fmla="*/ 53 w 84"/>
                <a:gd name="T45" fmla="*/ 2 h 86"/>
                <a:gd name="T46" fmla="*/ 49 w 84"/>
                <a:gd name="T47" fmla="*/ 3 h 86"/>
                <a:gd name="T48" fmla="*/ 44 w 84"/>
                <a:gd name="T49" fmla="*/ 5 h 86"/>
                <a:gd name="T50" fmla="*/ 38 w 84"/>
                <a:gd name="T51" fmla="*/ 8 h 86"/>
                <a:gd name="T52" fmla="*/ 31 w 84"/>
                <a:gd name="T53" fmla="*/ 13 h 86"/>
                <a:gd name="T54" fmla="*/ 28 w 84"/>
                <a:gd name="T55" fmla="*/ 14 h 86"/>
                <a:gd name="T56" fmla="*/ 22 w 84"/>
                <a:gd name="T57" fmla="*/ 19 h 86"/>
                <a:gd name="T58" fmla="*/ 19 w 84"/>
                <a:gd name="T59" fmla="*/ 25 h 86"/>
                <a:gd name="T60" fmla="*/ 15 w 84"/>
                <a:gd name="T61" fmla="*/ 30 h 86"/>
                <a:gd name="T62" fmla="*/ 14 w 84"/>
                <a:gd name="T63" fmla="*/ 33 h 86"/>
                <a:gd name="T64" fmla="*/ 8 w 84"/>
                <a:gd name="T65" fmla="*/ 40 h 86"/>
                <a:gd name="T66" fmla="*/ 3 w 84"/>
                <a:gd name="T67" fmla="*/ 41 h 86"/>
                <a:gd name="T68" fmla="*/ 1 w 84"/>
                <a:gd name="T69" fmla="*/ 43 h 86"/>
                <a:gd name="T70" fmla="*/ 0 w 84"/>
                <a:gd name="T71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84" h="86">
                  <a:moveTo>
                    <a:pt x="0" y="44"/>
                  </a:moveTo>
                  <a:lnTo>
                    <a:pt x="4" y="54"/>
                  </a:lnTo>
                  <a:lnTo>
                    <a:pt x="11" y="65"/>
                  </a:lnTo>
                  <a:lnTo>
                    <a:pt x="11" y="68"/>
                  </a:lnTo>
                  <a:lnTo>
                    <a:pt x="11" y="71"/>
                  </a:lnTo>
                  <a:lnTo>
                    <a:pt x="14" y="71"/>
                  </a:lnTo>
                  <a:lnTo>
                    <a:pt x="17" y="75"/>
                  </a:lnTo>
                  <a:lnTo>
                    <a:pt x="17" y="76"/>
                  </a:lnTo>
                  <a:lnTo>
                    <a:pt x="20" y="79"/>
                  </a:lnTo>
                  <a:lnTo>
                    <a:pt x="23" y="83"/>
                  </a:lnTo>
                  <a:lnTo>
                    <a:pt x="27" y="84"/>
                  </a:lnTo>
                  <a:lnTo>
                    <a:pt x="30" y="84"/>
                  </a:lnTo>
                  <a:lnTo>
                    <a:pt x="33" y="84"/>
                  </a:lnTo>
                  <a:lnTo>
                    <a:pt x="34" y="86"/>
                  </a:lnTo>
                  <a:lnTo>
                    <a:pt x="36" y="81"/>
                  </a:lnTo>
                  <a:lnTo>
                    <a:pt x="38" y="78"/>
                  </a:lnTo>
                  <a:lnTo>
                    <a:pt x="39" y="75"/>
                  </a:lnTo>
                  <a:lnTo>
                    <a:pt x="41" y="73"/>
                  </a:lnTo>
                  <a:lnTo>
                    <a:pt x="41" y="71"/>
                  </a:lnTo>
                  <a:lnTo>
                    <a:pt x="42" y="68"/>
                  </a:lnTo>
                  <a:lnTo>
                    <a:pt x="42" y="68"/>
                  </a:lnTo>
                  <a:lnTo>
                    <a:pt x="46" y="65"/>
                  </a:lnTo>
                  <a:lnTo>
                    <a:pt x="49" y="65"/>
                  </a:lnTo>
                  <a:lnTo>
                    <a:pt x="53" y="63"/>
                  </a:lnTo>
                  <a:lnTo>
                    <a:pt x="57" y="63"/>
                  </a:lnTo>
                  <a:lnTo>
                    <a:pt x="60" y="62"/>
                  </a:lnTo>
                  <a:lnTo>
                    <a:pt x="66" y="59"/>
                  </a:lnTo>
                  <a:lnTo>
                    <a:pt x="73" y="54"/>
                  </a:lnTo>
                  <a:lnTo>
                    <a:pt x="73" y="51"/>
                  </a:lnTo>
                  <a:lnTo>
                    <a:pt x="73" y="48"/>
                  </a:lnTo>
                  <a:lnTo>
                    <a:pt x="76" y="43"/>
                  </a:lnTo>
                  <a:lnTo>
                    <a:pt x="79" y="41"/>
                  </a:lnTo>
                  <a:lnTo>
                    <a:pt x="79" y="38"/>
                  </a:lnTo>
                  <a:lnTo>
                    <a:pt x="82" y="37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29"/>
                  </a:lnTo>
                  <a:lnTo>
                    <a:pt x="82" y="24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69" y="14"/>
                  </a:lnTo>
                  <a:lnTo>
                    <a:pt x="61" y="5"/>
                  </a:lnTo>
                  <a:lnTo>
                    <a:pt x="60" y="2"/>
                  </a:lnTo>
                  <a:lnTo>
                    <a:pt x="58" y="0"/>
                  </a:lnTo>
                  <a:lnTo>
                    <a:pt x="57" y="0"/>
                  </a:lnTo>
                  <a:lnTo>
                    <a:pt x="53" y="2"/>
                  </a:lnTo>
                  <a:lnTo>
                    <a:pt x="52" y="2"/>
                  </a:lnTo>
                  <a:lnTo>
                    <a:pt x="49" y="3"/>
                  </a:lnTo>
                  <a:lnTo>
                    <a:pt x="46" y="6"/>
                  </a:lnTo>
                  <a:lnTo>
                    <a:pt x="44" y="5"/>
                  </a:lnTo>
                  <a:lnTo>
                    <a:pt x="41" y="6"/>
                  </a:lnTo>
                  <a:lnTo>
                    <a:pt x="38" y="8"/>
                  </a:lnTo>
                  <a:lnTo>
                    <a:pt x="36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28" y="14"/>
                  </a:lnTo>
                  <a:lnTo>
                    <a:pt x="25" y="16"/>
                  </a:lnTo>
                  <a:lnTo>
                    <a:pt x="22" y="19"/>
                  </a:lnTo>
                  <a:lnTo>
                    <a:pt x="22" y="22"/>
                  </a:lnTo>
                  <a:lnTo>
                    <a:pt x="19" y="25"/>
                  </a:lnTo>
                  <a:lnTo>
                    <a:pt x="15" y="29"/>
                  </a:lnTo>
                  <a:lnTo>
                    <a:pt x="15" y="30"/>
                  </a:lnTo>
                  <a:lnTo>
                    <a:pt x="15" y="30"/>
                  </a:lnTo>
                  <a:lnTo>
                    <a:pt x="14" y="33"/>
                  </a:lnTo>
                  <a:lnTo>
                    <a:pt x="11" y="37"/>
                  </a:lnTo>
                  <a:lnTo>
                    <a:pt x="8" y="40"/>
                  </a:lnTo>
                  <a:lnTo>
                    <a:pt x="4" y="41"/>
                  </a:lnTo>
                  <a:lnTo>
                    <a:pt x="3" y="41"/>
                  </a:lnTo>
                  <a:lnTo>
                    <a:pt x="3" y="43"/>
                  </a:lnTo>
                  <a:lnTo>
                    <a:pt x="1" y="43"/>
                  </a:lnTo>
                  <a:lnTo>
                    <a:pt x="1" y="43"/>
                  </a:lnTo>
                  <a:lnTo>
                    <a:pt x="0" y="43"/>
                  </a:lnTo>
                  <a:lnTo>
                    <a:pt x="0" y="44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87" name="Freeform 456"/>
            <p:cNvSpPr>
              <a:spLocks/>
            </p:cNvSpPr>
            <p:nvPr/>
          </p:nvSpPr>
          <p:spPr bwMode="auto">
            <a:xfrm>
              <a:off x="5892839" y="5446670"/>
              <a:ext cx="244081" cy="314792"/>
            </a:xfrm>
            <a:custGeom>
              <a:avLst/>
              <a:gdLst>
                <a:gd name="T0" fmla="*/ 2 w 333"/>
                <a:gd name="T1" fmla="*/ 173 h 373"/>
                <a:gd name="T2" fmla="*/ 40 w 333"/>
                <a:gd name="T3" fmla="*/ 59 h 373"/>
                <a:gd name="T4" fmla="*/ 122 w 333"/>
                <a:gd name="T5" fmla="*/ 10 h 373"/>
                <a:gd name="T6" fmla="*/ 132 w 333"/>
                <a:gd name="T7" fmla="*/ 26 h 373"/>
                <a:gd name="T8" fmla="*/ 144 w 333"/>
                <a:gd name="T9" fmla="*/ 16 h 373"/>
                <a:gd name="T10" fmla="*/ 170 w 333"/>
                <a:gd name="T11" fmla="*/ 7 h 373"/>
                <a:gd name="T12" fmla="*/ 186 w 333"/>
                <a:gd name="T13" fmla="*/ 2 h 373"/>
                <a:gd name="T14" fmla="*/ 192 w 333"/>
                <a:gd name="T15" fmla="*/ 8 h 373"/>
                <a:gd name="T16" fmla="*/ 202 w 333"/>
                <a:gd name="T17" fmla="*/ 26 h 373"/>
                <a:gd name="T18" fmla="*/ 211 w 333"/>
                <a:gd name="T19" fmla="*/ 40 h 373"/>
                <a:gd name="T20" fmla="*/ 217 w 333"/>
                <a:gd name="T21" fmla="*/ 57 h 373"/>
                <a:gd name="T22" fmla="*/ 225 w 333"/>
                <a:gd name="T23" fmla="*/ 73 h 373"/>
                <a:gd name="T24" fmla="*/ 240 w 333"/>
                <a:gd name="T25" fmla="*/ 86 h 373"/>
                <a:gd name="T26" fmla="*/ 252 w 333"/>
                <a:gd name="T27" fmla="*/ 91 h 373"/>
                <a:gd name="T28" fmla="*/ 262 w 333"/>
                <a:gd name="T29" fmla="*/ 106 h 373"/>
                <a:gd name="T30" fmla="*/ 276 w 333"/>
                <a:gd name="T31" fmla="*/ 110 h 373"/>
                <a:gd name="T32" fmla="*/ 276 w 333"/>
                <a:gd name="T33" fmla="*/ 119 h 373"/>
                <a:gd name="T34" fmla="*/ 276 w 333"/>
                <a:gd name="T35" fmla="*/ 137 h 373"/>
                <a:gd name="T36" fmla="*/ 286 w 333"/>
                <a:gd name="T37" fmla="*/ 154 h 373"/>
                <a:gd name="T38" fmla="*/ 300 w 333"/>
                <a:gd name="T39" fmla="*/ 157 h 373"/>
                <a:gd name="T40" fmla="*/ 322 w 333"/>
                <a:gd name="T41" fmla="*/ 168 h 373"/>
                <a:gd name="T42" fmla="*/ 332 w 333"/>
                <a:gd name="T43" fmla="*/ 179 h 373"/>
                <a:gd name="T44" fmla="*/ 319 w 333"/>
                <a:gd name="T45" fmla="*/ 184 h 373"/>
                <a:gd name="T46" fmla="*/ 308 w 333"/>
                <a:gd name="T47" fmla="*/ 194 h 373"/>
                <a:gd name="T48" fmla="*/ 290 w 333"/>
                <a:gd name="T49" fmla="*/ 200 h 373"/>
                <a:gd name="T50" fmla="*/ 281 w 333"/>
                <a:gd name="T51" fmla="*/ 213 h 373"/>
                <a:gd name="T52" fmla="*/ 271 w 333"/>
                <a:gd name="T53" fmla="*/ 222 h 373"/>
                <a:gd name="T54" fmla="*/ 259 w 333"/>
                <a:gd name="T55" fmla="*/ 232 h 373"/>
                <a:gd name="T56" fmla="*/ 246 w 333"/>
                <a:gd name="T57" fmla="*/ 241 h 373"/>
                <a:gd name="T58" fmla="*/ 243 w 333"/>
                <a:gd name="T59" fmla="*/ 259 h 373"/>
                <a:gd name="T60" fmla="*/ 233 w 333"/>
                <a:gd name="T61" fmla="*/ 270 h 373"/>
                <a:gd name="T62" fmla="*/ 222 w 333"/>
                <a:gd name="T63" fmla="*/ 279 h 373"/>
                <a:gd name="T64" fmla="*/ 211 w 333"/>
                <a:gd name="T65" fmla="*/ 284 h 373"/>
                <a:gd name="T66" fmla="*/ 205 w 333"/>
                <a:gd name="T67" fmla="*/ 295 h 373"/>
                <a:gd name="T68" fmla="*/ 200 w 333"/>
                <a:gd name="T69" fmla="*/ 309 h 373"/>
                <a:gd name="T70" fmla="*/ 195 w 333"/>
                <a:gd name="T71" fmla="*/ 321 h 373"/>
                <a:gd name="T72" fmla="*/ 179 w 333"/>
                <a:gd name="T73" fmla="*/ 325 h 373"/>
                <a:gd name="T74" fmla="*/ 163 w 333"/>
                <a:gd name="T75" fmla="*/ 328 h 373"/>
                <a:gd name="T76" fmla="*/ 146 w 333"/>
                <a:gd name="T77" fmla="*/ 321 h 373"/>
                <a:gd name="T78" fmla="*/ 130 w 333"/>
                <a:gd name="T79" fmla="*/ 314 h 373"/>
                <a:gd name="T80" fmla="*/ 114 w 333"/>
                <a:gd name="T81" fmla="*/ 306 h 373"/>
                <a:gd name="T82" fmla="*/ 100 w 333"/>
                <a:gd name="T83" fmla="*/ 314 h 373"/>
                <a:gd name="T84" fmla="*/ 94 w 333"/>
                <a:gd name="T85" fmla="*/ 332 h 373"/>
                <a:gd name="T86" fmla="*/ 84 w 333"/>
                <a:gd name="T87" fmla="*/ 344 h 373"/>
                <a:gd name="T88" fmla="*/ 71 w 333"/>
                <a:gd name="T89" fmla="*/ 360 h 373"/>
                <a:gd name="T90" fmla="*/ 57 w 333"/>
                <a:gd name="T91" fmla="*/ 371 h 373"/>
                <a:gd name="T92" fmla="*/ 41 w 333"/>
                <a:gd name="T93" fmla="*/ 370 h 373"/>
                <a:gd name="T94" fmla="*/ 24 w 333"/>
                <a:gd name="T95" fmla="*/ 371 h 373"/>
                <a:gd name="T96" fmla="*/ 19 w 333"/>
                <a:gd name="T97" fmla="*/ 365 h 373"/>
                <a:gd name="T98" fmla="*/ 25 w 333"/>
                <a:gd name="T99" fmla="*/ 348 h 373"/>
                <a:gd name="T100" fmla="*/ 27 w 333"/>
                <a:gd name="T101" fmla="*/ 330 h 373"/>
                <a:gd name="T102" fmla="*/ 21 w 333"/>
                <a:gd name="T103" fmla="*/ 313 h 373"/>
                <a:gd name="T104" fmla="*/ 5 w 333"/>
                <a:gd name="T105" fmla="*/ 290 h 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33" h="373">
                  <a:moveTo>
                    <a:pt x="0" y="286"/>
                  </a:moveTo>
                  <a:lnTo>
                    <a:pt x="0" y="257"/>
                  </a:lnTo>
                  <a:lnTo>
                    <a:pt x="2" y="229"/>
                  </a:lnTo>
                  <a:lnTo>
                    <a:pt x="2" y="200"/>
                  </a:lnTo>
                  <a:lnTo>
                    <a:pt x="2" y="173"/>
                  </a:lnTo>
                  <a:lnTo>
                    <a:pt x="19" y="173"/>
                  </a:lnTo>
                  <a:lnTo>
                    <a:pt x="37" y="173"/>
                  </a:lnTo>
                  <a:lnTo>
                    <a:pt x="38" y="135"/>
                  </a:lnTo>
                  <a:lnTo>
                    <a:pt x="38" y="97"/>
                  </a:lnTo>
                  <a:lnTo>
                    <a:pt x="40" y="59"/>
                  </a:lnTo>
                  <a:lnTo>
                    <a:pt x="40" y="22"/>
                  </a:lnTo>
                  <a:lnTo>
                    <a:pt x="60" y="21"/>
                  </a:lnTo>
                  <a:lnTo>
                    <a:pt x="81" y="16"/>
                  </a:lnTo>
                  <a:lnTo>
                    <a:pt x="102" y="11"/>
                  </a:lnTo>
                  <a:lnTo>
                    <a:pt x="122" y="10"/>
                  </a:lnTo>
                  <a:lnTo>
                    <a:pt x="124" y="13"/>
                  </a:lnTo>
                  <a:lnTo>
                    <a:pt x="125" y="16"/>
                  </a:lnTo>
                  <a:lnTo>
                    <a:pt x="129" y="19"/>
                  </a:lnTo>
                  <a:lnTo>
                    <a:pt x="130" y="22"/>
                  </a:lnTo>
                  <a:lnTo>
                    <a:pt x="132" y="26"/>
                  </a:lnTo>
                  <a:lnTo>
                    <a:pt x="132" y="29"/>
                  </a:lnTo>
                  <a:lnTo>
                    <a:pt x="136" y="26"/>
                  </a:lnTo>
                  <a:lnTo>
                    <a:pt x="140" y="22"/>
                  </a:lnTo>
                  <a:lnTo>
                    <a:pt x="143" y="19"/>
                  </a:lnTo>
                  <a:lnTo>
                    <a:pt x="144" y="16"/>
                  </a:lnTo>
                  <a:lnTo>
                    <a:pt x="154" y="11"/>
                  </a:lnTo>
                  <a:lnTo>
                    <a:pt x="162" y="7"/>
                  </a:lnTo>
                  <a:lnTo>
                    <a:pt x="163" y="11"/>
                  </a:lnTo>
                  <a:lnTo>
                    <a:pt x="168" y="10"/>
                  </a:lnTo>
                  <a:lnTo>
                    <a:pt x="170" y="7"/>
                  </a:lnTo>
                  <a:lnTo>
                    <a:pt x="173" y="5"/>
                  </a:lnTo>
                  <a:lnTo>
                    <a:pt x="176" y="2"/>
                  </a:lnTo>
                  <a:lnTo>
                    <a:pt x="179" y="2"/>
                  </a:lnTo>
                  <a:lnTo>
                    <a:pt x="182" y="2"/>
                  </a:lnTo>
                  <a:lnTo>
                    <a:pt x="186" y="2"/>
                  </a:lnTo>
                  <a:lnTo>
                    <a:pt x="189" y="0"/>
                  </a:lnTo>
                  <a:lnTo>
                    <a:pt x="192" y="0"/>
                  </a:lnTo>
                  <a:lnTo>
                    <a:pt x="192" y="2"/>
                  </a:lnTo>
                  <a:lnTo>
                    <a:pt x="190" y="5"/>
                  </a:lnTo>
                  <a:lnTo>
                    <a:pt x="192" y="8"/>
                  </a:lnTo>
                  <a:lnTo>
                    <a:pt x="194" y="11"/>
                  </a:lnTo>
                  <a:lnTo>
                    <a:pt x="197" y="14"/>
                  </a:lnTo>
                  <a:lnTo>
                    <a:pt x="198" y="19"/>
                  </a:lnTo>
                  <a:lnTo>
                    <a:pt x="200" y="22"/>
                  </a:lnTo>
                  <a:lnTo>
                    <a:pt x="202" y="26"/>
                  </a:lnTo>
                  <a:lnTo>
                    <a:pt x="205" y="29"/>
                  </a:lnTo>
                  <a:lnTo>
                    <a:pt x="206" y="30"/>
                  </a:lnTo>
                  <a:lnTo>
                    <a:pt x="209" y="34"/>
                  </a:lnTo>
                  <a:lnTo>
                    <a:pt x="209" y="37"/>
                  </a:lnTo>
                  <a:lnTo>
                    <a:pt x="211" y="40"/>
                  </a:lnTo>
                  <a:lnTo>
                    <a:pt x="213" y="43"/>
                  </a:lnTo>
                  <a:lnTo>
                    <a:pt x="216" y="46"/>
                  </a:lnTo>
                  <a:lnTo>
                    <a:pt x="216" y="49"/>
                  </a:lnTo>
                  <a:lnTo>
                    <a:pt x="216" y="53"/>
                  </a:lnTo>
                  <a:lnTo>
                    <a:pt x="217" y="57"/>
                  </a:lnTo>
                  <a:lnTo>
                    <a:pt x="219" y="60"/>
                  </a:lnTo>
                  <a:lnTo>
                    <a:pt x="221" y="64"/>
                  </a:lnTo>
                  <a:lnTo>
                    <a:pt x="221" y="67"/>
                  </a:lnTo>
                  <a:lnTo>
                    <a:pt x="222" y="72"/>
                  </a:lnTo>
                  <a:lnTo>
                    <a:pt x="225" y="73"/>
                  </a:lnTo>
                  <a:lnTo>
                    <a:pt x="228" y="76"/>
                  </a:lnTo>
                  <a:lnTo>
                    <a:pt x="233" y="80"/>
                  </a:lnTo>
                  <a:lnTo>
                    <a:pt x="236" y="81"/>
                  </a:lnTo>
                  <a:lnTo>
                    <a:pt x="236" y="81"/>
                  </a:lnTo>
                  <a:lnTo>
                    <a:pt x="240" y="86"/>
                  </a:lnTo>
                  <a:lnTo>
                    <a:pt x="241" y="86"/>
                  </a:lnTo>
                  <a:lnTo>
                    <a:pt x="244" y="89"/>
                  </a:lnTo>
                  <a:lnTo>
                    <a:pt x="248" y="91"/>
                  </a:lnTo>
                  <a:lnTo>
                    <a:pt x="249" y="91"/>
                  </a:lnTo>
                  <a:lnTo>
                    <a:pt x="252" y="91"/>
                  </a:lnTo>
                  <a:lnTo>
                    <a:pt x="255" y="94"/>
                  </a:lnTo>
                  <a:lnTo>
                    <a:pt x="259" y="94"/>
                  </a:lnTo>
                  <a:lnTo>
                    <a:pt x="262" y="99"/>
                  </a:lnTo>
                  <a:lnTo>
                    <a:pt x="262" y="102"/>
                  </a:lnTo>
                  <a:lnTo>
                    <a:pt x="262" y="106"/>
                  </a:lnTo>
                  <a:lnTo>
                    <a:pt x="262" y="111"/>
                  </a:lnTo>
                  <a:lnTo>
                    <a:pt x="265" y="110"/>
                  </a:lnTo>
                  <a:lnTo>
                    <a:pt x="268" y="110"/>
                  </a:lnTo>
                  <a:lnTo>
                    <a:pt x="271" y="110"/>
                  </a:lnTo>
                  <a:lnTo>
                    <a:pt x="276" y="110"/>
                  </a:lnTo>
                  <a:lnTo>
                    <a:pt x="276" y="111"/>
                  </a:lnTo>
                  <a:lnTo>
                    <a:pt x="276" y="111"/>
                  </a:lnTo>
                  <a:lnTo>
                    <a:pt x="276" y="113"/>
                  </a:lnTo>
                  <a:lnTo>
                    <a:pt x="276" y="116"/>
                  </a:lnTo>
                  <a:lnTo>
                    <a:pt x="276" y="119"/>
                  </a:lnTo>
                  <a:lnTo>
                    <a:pt x="276" y="124"/>
                  </a:lnTo>
                  <a:lnTo>
                    <a:pt x="276" y="127"/>
                  </a:lnTo>
                  <a:lnTo>
                    <a:pt x="276" y="130"/>
                  </a:lnTo>
                  <a:lnTo>
                    <a:pt x="274" y="133"/>
                  </a:lnTo>
                  <a:lnTo>
                    <a:pt x="276" y="137"/>
                  </a:lnTo>
                  <a:lnTo>
                    <a:pt x="279" y="140"/>
                  </a:lnTo>
                  <a:lnTo>
                    <a:pt x="282" y="143"/>
                  </a:lnTo>
                  <a:lnTo>
                    <a:pt x="284" y="148"/>
                  </a:lnTo>
                  <a:lnTo>
                    <a:pt x="284" y="151"/>
                  </a:lnTo>
                  <a:lnTo>
                    <a:pt x="286" y="154"/>
                  </a:lnTo>
                  <a:lnTo>
                    <a:pt x="286" y="154"/>
                  </a:lnTo>
                  <a:lnTo>
                    <a:pt x="289" y="156"/>
                  </a:lnTo>
                  <a:lnTo>
                    <a:pt x="292" y="156"/>
                  </a:lnTo>
                  <a:lnTo>
                    <a:pt x="297" y="156"/>
                  </a:lnTo>
                  <a:lnTo>
                    <a:pt x="300" y="157"/>
                  </a:lnTo>
                  <a:lnTo>
                    <a:pt x="303" y="159"/>
                  </a:lnTo>
                  <a:lnTo>
                    <a:pt x="308" y="157"/>
                  </a:lnTo>
                  <a:lnTo>
                    <a:pt x="316" y="162"/>
                  </a:lnTo>
                  <a:lnTo>
                    <a:pt x="324" y="165"/>
                  </a:lnTo>
                  <a:lnTo>
                    <a:pt x="322" y="168"/>
                  </a:lnTo>
                  <a:lnTo>
                    <a:pt x="322" y="173"/>
                  </a:lnTo>
                  <a:lnTo>
                    <a:pt x="325" y="175"/>
                  </a:lnTo>
                  <a:lnTo>
                    <a:pt x="328" y="175"/>
                  </a:lnTo>
                  <a:lnTo>
                    <a:pt x="328" y="175"/>
                  </a:lnTo>
                  <a:lnTo>
                    <a:pt x="332" y="179"/>
                  </a:lnTo>
                  <a:lnTo>
                    <a:pt x="333" y="179"/>
                  </a:lnTo>
                  <a:lnTo>
                    <a:pt x="327" y="181"/>
                  </a:lnTo>
                  <a:lnTo>
                    <a:pt x="320" y="183"/>
                  </a:lnTo>
                  <a:lnTo>
                    <a:pt x="320" y="183"/>
                  </a:lnTo>
                  <a:lnTo>
                    <a:pt x="319" y="184"/>
                  </a:lnTo>
                  <a:lnTo>
                    <a:pt x="319" y="187"/>
                  </a:lnTo>
                  <a:lnTo>
                    <a:pt x="316" y="191"/>
                  </a:lnTo>
                  <a:lnTo>
                    <a:pt x="316" y="191"/>
                  </a:lnTo>
                  <a:lnTo>
                    <a:pt x="313" y="192"/>
                  </a:lnTo>
                  <a:lnTo>
                    <a:pt x="308" y="194"/>
                  </a:lnTo>
                  <a:lnTo>
                    <a:pt x="305" y="195"/>
                  </a:lnTo>
                  <a:lnTo>
                    <a:pt x="301" y="195"/>
                  </a:lnTo>
                  <a:lnTo>
                    <a:pt x="297" y="195"/>
                  </a:lnTo>
                  <a:lnTo>
                    <a:pt x="293" y="198"/>
                  </a:lnTo>
                  <a:lnTo>
                    <a:pt x="290" y="200"/>
                  </a:lnTo>
                  <a:lnTo>
                    <a:pt x="290" y="203"/>
                  </a:lnTo>
                  <a:lnTo>
                    <a:pt x="287" y="206"/>
                  </a:lnTo>
                  <a:lnTo>
                    <a:pt x="286" y="210"/>
                  </a:lnTo>
                  <a:lnTo>
                    <a:pt x="281" y="213"/>
                  </a:lnTo>
                  <a:lnTo>
                    <a:pt x="281" y="213"/>
                  </a:lnTo>
                  <a:lnTo>
                    <a:pt x="279" y="217"/>
                  </a:lnTo>
                  <a:lnTo>
                    <a:pt x="279" y="217"/>
                  </a:lnTo>
                  <a:lnTo>
                    <a:pt x="276" y="221"/>
                  </a:lnTo>
                  <a:lnTo>
                    <a:pt x="271" y="222"/>
                  </a:lnTo>
                  <a:lnTo>
                    <a:pt x="271" y="222"/>
                  </a:lnTo>
                  <a:lnTo>
                    <a:pt x="268" y="224"/>
                  </a:lnTo>
                  <a:lnTo>
                    <a:pt x="267" y="227"/>
                  </a:lnTo>
                  <a:lnTo>
                    <a:pt x="263" y="229"/>
                  </a:lnTo>
                  <a:lnTo>
                    <a:pt x="260" y="230"/>
                  </a:lnTo>
                  <a:lnTo>
                    <a:pt x="259" y="232"/>
                  </a:lnTo>
                  <a:lnTo>
                    <a:pt x="255" y="233"/>
                  </a:lnTo>
                  <a:lnTo>
                    <a:pt x="252" y="236"/>
                  </a:lnTo>
                  <a:lnTo>
                    <a:pt x="251" y="236"/>
                  </a:lnTo>
                  <a:lnTo>
                    <a:pt x="249" y="241"/>
                  </a:lnTo>
                  <a:lnTo>
                    <a:pt x="246" y="241"/>
                  </a:lnTo>
                  <a:lnTo>
                    <a:pt x="246" y="244"/>
                  </a:lnTo>
                  <a:lnTo>
                    <a:pt x="246" y="248"/>
                  </a:lnTo>
                  <a:lnTo>
                    <a:pt x="244" y="251"/>
                  </a:lnTo>
                  <a:lnTo>
                    <a:pt x="243" y="254"/>
                  </a:lnTo>
                  <a:lnTo>
                    <a:pt x="243" y="259"/>
                  </a:lnTo>
                  <a:lnTo>
                    <a:pt x="243" y="262"/>
                  </a:lnTo>
                  <a:lnTo>
                    <a:pt x="243" y="262"/>
                  </a:lnTo>
                  <a:lnTo>
                    <a:pt x="240" y="265"/>
                  </a:lnTo>
                  <a:lnTo>
                    <a:pt x="236" y="267"/>
                  </a:lnTo>
                  <a:lnTo>
                    <a:pt x="233" y="270"/>
                  </a:lnTo>
                  <a:lnTo>
                    <a:pt x="230" y="273"/>
                  </a:lnTo>
                  <a:lnTo>
                    <a:pt x="228" y="276"/>
                  </a:lnTo>
                  <a:lnTo>
                    <a:pt x="225" y="279"/>
                  </a:lnTo>
                  <a:lnTo>
                    <a:pt x="225" y="281"/>
                  </a:lnTo>
                  <a:lnTo>
                    <a:pt x="222" y="279"/>
                  </a:lnTo>
                  <a:lnTo>
                    <a:pt x="217" y="281"/>
                  </a:lnTo>
                  <a:lnTo>
                    <a:pt x="217" y="281"/>
                  </a:lnTo>
                  <a:lnTo>
                    <a:pt x="214" y="282"/>
                  </a:lnTo>
                  <a:lnTo>
                    <a:pt x="214" y="282"/>
                  </a:lnTo>
                  <a:lnTo>
                    <a:pt x="211" y="284"/>
                  </a:lnTo>
                  <a:lnTo>
                    <a:pt x="208" y="284"/>
                  </a:lnTo>
                  <a:lnTo>
                    <a:pt x="206" y="284"/>
                  </a:lnTo>
                  <a:lnTo>
                    <a:pt x="206" y="287"/>
                  </a:lnTo>
                  <a:lnTo>
                    <a:pt x="206" y="292"/>
                  </a:lnTo>
                  <a:lnTo>
                    <a:pt x="205" y="295"/>
                  </a:lnTo>
                  <a:lnTo>
                    <a:pt x="205" y="297"/>
                  </a:lnTo>
                  <a:lnTo>
                    <a:pt x="203" y="300"/>
                  </a:lnTo>
                  <a:lnTo>
                    <a:pt x="203" y="303"/>
                  </a:lnTo>
                  <a:lnTo>
                    <a:pt x="202" y="306"/>
                  </a:lnTo>
                  <a:lnTo>
                    <a:pt x="200" y="309"/>
                  </a:lnTo>
                  <a:lnTo>
                    <a:pt x="200" y="311"/>
                  </a:lnTo>
                  <a:lnTo>
                    <a:pt x="198" y="314"/>
                  </a:lnTo>
                  <a:lnTo>
                    <a:pt x="197" y="319"/>
                  </a:lnTo>
                  <a:lnTo>
                    <a:pt x="195" y="321"/>
                  </a:lnTo>
                  <a:lnTo>
                    <a:pt x="195" y="321"/>
                  </a:lnTo>
                  <a:lnTo>
                    <a:pt x="195" y="321"/>
                  </a:lnTo>
                  <a:lnTo>
                    <a:pt x="192" y="324"/>
                  </a:lnTo>
                  <a:lnTo>
                    <a:pt x="187" y="325"/>
                  </a:lnTo>
                  <a:lnTo>
                    <a:pt x="184" y="325"/>
                  </a:lnTo>
                  <a:lnTo>
                    <a:pt x="179" y="325"/>
                  </a:lnTo>
                  <a:lnTo>
                    <a:pt x="176" y="325"/>
                  </a:lnTo>
                  <a:lnTo>
                    <a:pt x="175" y="325"/>
                  </a:lnTo>
                  <a:lnTo>
                    <a:pt x="171" y="328"/>
                  </a:lnTo>
                  <a:lnTo>
                    <a:pt x="168" y="328"/>
                  </a:lnTo>
                  <a:lnTo>
                    <a:pt x="163" y="328"/>
                  </a:lnTo>
                  <a:lnTo>
                    <a:pt x="160" y="328"/>
                  </a:lnTo>
                  <a:lnTo>
                    <a:pt x="157" y="325"/>
                  </a:lnTo>
                  <a:lnTo>
                    <a:pt x="152" y="325"/>
                  </a:lnTo>
                  <a:lnTo>
                    <a:pt x="149" y="324"/>
                  </a:lnTo>
                  <a:lnTo>
                    <a:pt x="146" y="321"/>
                  </a:lnTo>
                  <a:lnTo>
                    <a:pt x="143" y="321"/>
                  </a:lnTo>
                  <a:lnTo>
                    <a:pt x="140" y="322"/>
                  </a:lnTo>
                  <a:lnTo>
                    <a:pt x="136" y="321"/>
                  </a:lnTo>
                  <a:lnTo>
                    <a:pt x="133" y="317"/>
                  </a:lnTo>
                  <a:lnTo>
                    <a:pt x="130" y="314"/>
                  </a:lnTo>
                  <a:lnTo>
                    <a:pt x="129" y="314"/>
                  </a:lnTo>
                  <a:lnTo>
                    <a:pt x="125" y="311"/>
                  </a:lnTo>
                  <a:lnTo>
                    <a:pt x="122" y="309"/>
                  </a:lnTo>
                  <a:lnTo>
                    <a:pt x="119" y="306"/>
                  </a:lnTo>
                  <a:lnTo>
                    <a:pt x="114" y="306"/>
                  </a:lnTo>
                  <a:lnTo>
                    <a:pt x="111" y="306"/>
                  </a:lnTo>
                  <a:lnTo>
                    <a:pt x="108" y="308"/>
                  </a:lnTo>
                  <a:lnTo>
                    <a:pt x="105" y="308"/>
                  </a:lnTo>
                  <a:lnTo>
                    <a:pt x="102" y="311"/>
                  </a:lnTo>
                  <a:lnTo>
                    <a:pt x="100" y="314"/>
                  </a:lnTo>
                  <a:lnTo>
                    <a:pt x="98" y="317"/>
                  </a:lnTo>
                  <a:lnTo>
                    <a:pt x="98" y="321"/>
                  </a:lnTo>
                  <a:lnTo>
                    <a:pt x="95" y="325"/>
                  </a:lnTo>
                  <a:lnTo>
                    <a:pt x="95" y="328"/>
                  </a:lnTo>
                  <a:lnTo>
                    <a:pt x="94" y="332"/>
                  </a:lnTo>
                  <a:lnTo>
                    <a:pt x="94" y="335"/>
                  </a:lnTo>
                  <a:lnTo>
                    <a:pt x="92" y="338"/>
                  </a:lnTo>
                  <a:lnTo>
                    <a:pt x="90" y="341"/>
                  </a:lnTo>
                  <a:lnTo>
                    <a:pt x="89" y="344"/>
                  </a:lnTo>
                  <a:lnTo>
                    <a:pt x="84" y="344"/>
                  </a:lnTo>
                  <a:lnTo>
                    <a:pt x="81" y="349"/>
                  </a:lnTo>
                  <a:lnTo>
                    <a:pt x="78" y="351"/>
                  </a:lnTo>
                  <a:lnTo>
                    <a:pt x="75" y="354"/>
                  </a:lnTo>
                  <a:lnTo>
                    <a:pt x="75" y="357"/>
                  </a:lnTo>
                  <a:lnTo>
                    <a:pt x="71" y="360"/>
                  </a:lnTo>
                  <a:lnTo>
                    <a:pt x="68" y="362"/>
                  </a:lnTo>
                  <a:lnTo>
                    <a:pt x="65" y="363"/>
                  </a:lnTo>
                  <a:lnTo>
                    <a:pt x="60" y="363"/>
                  </a:lnTo>
                  <a:lnTo>
                    <a:pt x="60" y="367"/>
                  </a:lnTo>
                  <a:lnTo>
                    <a:pt x="57" y="371"/>
                  </a:lnTo>
                  <a:lnTo>
                    <a:pt x="54" y="371"/>
                  </a:lnTo>
                  <a:lnTo>
                    <a:pt x="51" y="371"/>
                  </a:lnTo>
                  <a:lnTo>
                    <a:pt x="48" y="370"/>
                  </a:lnTo>
                  <a:lnTo>
                    <a:pt x="44" y="370"/>
                  </a:lnTo>
                  <a:lnTo>
                    <a:pt x="41" y="370"/>
                  </a:lnTo>
                  <a:lnTo>
                    <a:pt x="38" y="371"/>
                  </a:lnTo>
                  <a:lnTo>
                    <a:pt x="35" y="371"/>
                  </a:lnTo>
                  <a:lnTo>
                    <a:pt x="30" y="368"/>
                  </a:lnTo>
                  <a:lnTo>
                    <a:pt x="27" y="370"/>
                  </a:lnTo>
                  <a:lnTo>
                    <a:pt x="24" y="371"/>
                  </a:lnTo>
                  <a:lnTo>
                    <a:pt x="22" y="373"/>
                  </a:lnTo>
                  <a:lnTo>
                    <a:pt x="22" y="371"/>
                  </a:lnTo>
                  <a:lnTo>
                    <a:pt x="22" y="371"/>
                  </a:lnTo>
                  <a:lnTo>
                    <a:pt x="21" y="368"/>
                  </a:lnTo>
                  <a:lnTo>
                    <a:pt x="19" y="365"/>
                  </a:lnTo>
                  <a:lnTo>
                    <a:pt x="21" y="360"/>
                  </a:lnTo>
                  <a:lnTo>
                    <a:pt x="19" y="357"/>
                  </a:lnTo>
                  <a:lnTo>
                    <a:pt x="21" y="354"/>
                  </a:lnTo>
                  <a:lnTo>
                    <a:pt x="24" y="351"/>
                  </a:lnTo>
                  <a:lnTo>
                    <a:pt x="25" y="348"/>
                  </a:lnTo>
                  <a:lnTo>
                    <a:pt x="27" y="344"/>
                  </a:lnTo>
                  <a:lnTo>
                    <a:pt x="29" y="341"/>
                  </a:lnTo>
                  <a:lnTo>
                    <a:pt x="27" y="336"/>
                  </a:lnTo>
                  <a:lnTo>
                    <a:pt x="27" y="333"/>
                  </a:lnTo>
                  <a:lnTo>
                    <a:pt x="27" y="330"/>
                  </a:lnTo>
                  <a:lnTo>
                    <a:pt x="25" y="327"/>
                  </a:lnTo>
                  <a:lnTo>
                    <a:pt x="24" y="324"/>
                  </a:lnTo>
                  <a:lnTo>
                    <a:pt x="24" y="319"/>
                  </a:lnTo>
                  <a:lnTo>
                    <a:pt x="21" y="316"/>
                  </a:lnTo>
                  <a:lnTo>
                    <a:pt x="21" y="313"/>
                  </a:lnTo>
                  <a:lnTo>
                    <a:pt x="19" y="309"/>
                  </a:lnTo>
                  <a:lnTo>
                    <a:pt x="18" y="306"/>
                  </a:lnTo>
                  <a:lnTo>
                    <a:pt x="13" y="297"/>
                  </a:lnTo>
                  <a:lnTo>
                    <a:pt x="10" y="294"/>
                  </a:lnTo>
                  <a:lnTo>
                    <a:pt x="5" y="290"/>
                  </a:lnTo>
                  <a:lnTo>
                    <a:pt x="0" y="28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88" name="Freeform 457"/>
            <p:cNvSpPr>
              <a:spLocks/>
            </p:cNvSpPr>
            <p:nvPr/>
          </p:nvSpPr>
          <p:spPr bwMode="auto">
            <a:xfrm>
              <a:off x="6167796" y="5720844"/>
              <a:ext cx="35289" cy="55851"/>
            </a:xfrm>
            <a:custGeom>
              <a:avLst/>
              <a:gdLst>
                <a:gd name="T0" fmla="*/ 0 w 48"/>
                <a:gd name="T1" fmla="*/ 42 h 65"/>
                <a:gd name="T2" fmla="*/ 2 w 48"/>
                <a:gd name="T3" fmla="*/ 34 h 65"/>
                <a:gd name="T4" fmla="*/ 2 w 48"/>
                <a:gd name="T5" fmla="*/ 29 h 65"/>
                <a:gd name="T6" fmla="*/ 3 w 48"/>
                <a:gd name="T7" fmla="*/ 26 h 65"/>
                <a:gd name="T8" fmla="*/ 8 w 48"/>
                <a:gd name="T9" fmla="*/ 19 h 65"/>
                <a:gd name="T10" fmla="*/ 9 w 48"/>
                <a:gd name="T11" fmla="*/ 16 h 65"/>
                <a:gd name="T12" fmla="*/ 13 w 48"/>
                <a:gd name="T13" fmla="*/ 13 h 65"/>
                <a:gd name="T14" fmla="*/ 13 w 48"/>
                <a:gd name="T15" fmla="*/ 10 h 65"/>
                <a:gd name="T16" fmla="*/ 13 w 48"/>
                <a:gd name="T17" fmla="*/ 8 h 65"/>
                <a:gd name="T18" fmla="*/ 13 w 48"/>
                <a:gd name="T19" fmla="*/ 8 h 65"/>
                <a:gd name="T20" fmla="*/ 17 w 48"/>
                <a:gd name="T21" fmla="*/ 5 h 65"/>
                <a:gd name="T22" fmla="*/ 21 w 48"/>
                <a:gd name="T23" fmla="*/ 0 h 65"/>
                <a:gd name="T24" fmla="*/ 24 w 48"/>
                <a:gd name="T25" fmla="*/ 0 h 65"/>
                <a:gd name="T26" fmla="*/ 25 w 48"/>
                <a:gd name="T27" fmla="*/ 0 h 65"/>
                <a:gd name="T28" fmla="*/ 27 w 48"/>
                <a:gd name="T29" fmla="*/ 2 h 65"/>
                <a:gd name="T30" fmla="*/ 32 w 48"/>
                <a:gd name="T31" fmla="*/ 5 h 65"/>
                <a:gd name="T32" fmla="*/ 35 w 48"/>
                <a:gd name="T33" fmla="*/ 8 h 65"/>
                <a:gd name="T34" fmla="*/ 36 w 48"/>
                <a:gd name="T35" fmla="*/ 8 h 65"/>
                <a:gd name="T36" fmla="*/ 40 w 48"/>
                <a:gd name="T37" fmla="*/ 10 h 65"/>
                <a:gd name="T38" fmla="*/ 43 w 48"/>
                <a:gd name="T39" fmla="*/ 10 h 65"/>
                <a:gd name="T40" fmla="*/ 44 w 48"/>
                <a:gd name="T41" fmla="*/ 11 h 65"/>
                <a:gd name="T42" fmla="*/ 48 w 48"/>
                <a:gd name="T43" fmla="*/ 11 h 65"/>
                <a:gd name="T44" fmla="*/ 46 w 48"/>
                <a:gd name="T45" fmla="*/ 15 h 65"/>
                <a:gd name="T46" fmla="*/ 46 w 48"/>
                <a:gd name="T47" fmla="*/ 18 h 65"/>
                <a:gd name="T48" fmla="*/ 46 w 48"/>
                <a:gd name="T49" fmla="*/ 19 h 65"/>
                <a:gd name="T50" fmla="*/ 46 w 48"/>
                <a:gd name="T51" fmla="*/ 23 h 65"/>
                <a:gd name="T52" fmla="*/ 46 w 48"/>
                <a:gd name="T53" fmla="*/ 27 h 65"/>
                <a:gd name="T54" fmla="*/ 48 w 48"/>
                <a:gd name="T55" fmla="*/ 35 h 65"/>
                <a:gd name="T56" fmla="*/ 46 w 48"/>
                <a:gd name="T57" fmla="*/ 45 h 65"/>
                <a:gd name="T58" fmla="*/ 46 w 48"/>
                <a:gd name="T59" fmla="*/ 45 h 65"/>
                <a:gd name="T60" fmla="*/ 43 w 48"/>
                <a:gd name="T61" fmla="*/ 45 h 65"/>
                <a:gd name="T62" fmla="*/ 41 w 48"/>
                <a:gd name="T63" fmla="*/ 54 h 65"/>
                <a:gd name="T64" fmla="*/ 41 w 48"/>
                <a:gd name="T65" fmla="*/ 64 h 65"/>
                <a:gd name="T66" fmla="*/ 38 w 48"/>
                <a:gd name="T67" fmla="*/ 65 h 65"/>
                <a:gd name="T68" fmla="*/ 25 w 48"/>
                <a:gd name="T69" fmla="*/ 65 h 65"/>
                <a:gd name="T70" fmla="*/ 22 w 48"/>
                <a:gd name="T71" fmla="*/ 64 h 65"/>
                <a:gd name="T72" fmla="*/ 16 w 48"/>
                <a:gd name="T73" fmla="*/ 61 h 65"/>
                <a:gd name="T74" fmla="*/ 13 w 48"/>
                <a:gd name="T75" fmla="*/ 59 h 65"/>
                <a:gd name="T76" fmla="*/ 9 w 48"/>
                <a:gd name="T77" fmla="*/ 56 h 65"/>
                <a:gd name="T78" fmla="*/ 6 w 48"/>
                <a:gd name="T79" fmla="*/ 53 h 65"/>
                <a:gd name="T80" fmla="*/ 6 w 48"/>
                <a:gd name="T81" fmla="*/ 49 h 65"/>
                <a:gd name="T82" fmla="*/ 5 w 48"/>
                <a:gd name="T83" fmla="*/ 46 h 65"/>
                <a:gd name="T84" fmla="*/ 5 w 48"/>
                <a:gd name="T85" fmla="*/ 45 h 65"/>
                <a:gd name="T86" fmla="*/ 0 w 48"/>
                <a:gd name="T87" fmla="*/ 4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48" h="65">
                  <a:moveTo>
                    <a:pt x="0" y="42"/>
                  </a:moveTo>
                  <a:lnTo>
                    <a:pt x="2" y="34"/>
                  </a:lnTo>
                  <a:lnTo>
                    <a:pt x="2" y="29"/>
                  </a:lnTo>
                  <a:lnTo>
                    <a:pt x="3" y="26"/>
                  </a:lnTo>
                  <a:lnTo>
                    <a:pt x="8" y="19"/>
                  </a:lnTo>
                  <a:lnTo>
                    <a:pt x="9" y="16"/>
                  </a:lnTo>
                  <a:lnTo>
                    <a:pt x="13" y="13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7" y="5"/>
                  </a:lnTo>
                  <a:lnTo>
                    <a:pt x="21" y="0"/>
                  </a:lnTo>
                  <a:lnTo>
                    <a:pt x="24" y="0"/>
                  </a:lnTo>
                  <a:lnTo>
                    <a:pt x="25" y="0"/>
                  </a:lnTo>
                  <a:lnTo>
                    <a:pt x="27" y="2"/>
                  </a:lnTo>
                  <a:lnTo>
                    <a:pt x="32" y="5"/>
                  </a:lnTo>
                  <a:lnTo>
                    <a:pt x="35" y="8"/>
                  </a:lnTo>
                  <a:lnTo>
                    <a:pt x="36" y="8"/>
                  </a:lnTo>
                  <a:lnTo>
                    <a:pt x="40" y="10"/>
                  </a:lnTo>
                  <a:lnTo>
                    <a:pt x="43" y="10"/>
                  </a:lnTo>
                  <a:lnTo>
                    <a:pt x="44" y="11"/>
                  </a:lnTo>
                  <a:lnTo>
                    <a:pt x="48" y="11"/>
                  </a:lnTo>
                  <a:lnTo>
                    <a:pt x="46" y="15"/>
                  </a:lnTo>
                  <a:lnTo>
                    <a:pt x="46" y="18"/>
                  </a:lnTo>
                  <a:lnTo>
                    <a:pt x="46" y="19"/>
                  </a:lnTo>
                  <a:lnTo>
                    <a:pt x="46" y="23"/>
                  </a:lnTo>
                  <a:lnTo>
                    <a:pt x="46" y="27"/>
                  </a:lnTo>
                  <a:lnTo>
                    <a:pt x="48" y="35"/>
                  </a:lnTo>
                  <a:lnTo>
                    <a:pt x="46" y="45"/>
                  </a:lnTo>
                  <a:lnTo>
                    <a:pt x="46" y="45"/>
                  </a:lnTo>
                  <a:lnTo>
                    <a:pt x="43" y="45"/>
                  </a:lnTo>
                  <a:lnTo>
                    <a:pt x="41" y="54"/>
                  </a:lnTo>
                  <a:lnTo>
                    <a:pt x="41" y="64"/>
                  </a:lnTo>
                  <a:lnTo>
                    <a:pt x="38" y="65"/>
                  </a:lnTo>
                  <a:lnTo>
                    <a:pt x="25" y="65"/>
                  </a:lnTo>
                  <a:lnTo>
                    <a:pt x="22" y="64"/>
                  </a:lnTo>
                  <a:lnTo>
                    <a:pt x="16" y="61"/>
                  </a:lnTo>
                  <a:lnTo>
                    <a:pt x="13" y="59"/>
                  </a:lnTo>
                  <a:lnTo>
                    <a:pt x="9" y="56"/>
                  </a:lnTo>
                  <a:lnTo>
                    <a:pt x="6" y="53"/>
                  </a:lnTo>
                  <a:lnTo>
                    <a:pt x="6" y="49"/>
                  </a:lnTo>
                  <a:lnTo>
                    <a:pt x="5" y="46"/>
                  </a:lnTo>
                  <a:lnTo>
                    <a:pt x="5" y="45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89" name="Freeform 458"/>
            <p:cNvSpPr>
              <a:spLocks/>
            </p:cNvSpPr>
            <p:nvPr/>
          </p:nvSpPr>
          <p:spPr bwMode="auto">
            <a:xfrm>
              <a:off x="6032523" y="5370511"/>
              <a:ext cx="204380" cy="235247"/>
            </a:xfrm>
            <a:custGeom>
              <a:avLst/>
              <a:gdLst>
                <a:gd name="T0" fmla="*/ 7 w 280"/>
                <a:gd name="T1" fmla="*/ 91 h 278"/>
                <a:gd name="T2" fmla="*/ 19 w 280"/>
                <a:gd name="T3" fmla="*/ 92 h 278"/>
                <a:gd name="T4" fmla="*/ 29 w 280"/>
                <a:gd name="T5" fmla="*/ 97 h 278"/>
                <a:gd name="T6" fmla="*/ 53 w 280"/>
                <a:gd name="T7" fmla="*/ 100 h 278"/>
                <a:gd name="T8" fmla="*/ 61 w 280"/>
                <a:gd name="T9" fmla="*/ 97 h 278"/>
                <a:gd name="T10" fmla="*/ 69 w 280"/>
                <a:gd name="T11" fmla="*/ 89 h 278"/>
                <a:gd name="T12" fmla="*/ 83 w 280"/>
                <a:gd name="T13" fmla="*/ 73 h 278"/>
                <a:gd name="T14" fmla="*/ 89 w 280"/>
                <a:gd name="T15" fmla="*/ 62 h 278"/>
                <a:gd name="T16" fmla="*/ 105 w 280"/>
                <a:gd name="T17" fmla="*/ 50 h 278"/>
                <a:gd name="T18" fmla="*/ 126 w 280"/>
                <a:gd name="T19" fmla="*/ 38 h 278"/>
                <a:gd name="T20" fmla="*/ 132 w 280"/>
                <a:gd name="T21" fmla="*/ 31 h 278"/>
                <a:gd name="T22" fmla="*/ 135 w 280"/>
                <a:gd name="T23" fmla="*/ 15 h 278"/>
                <a:gd name="T24" fmla="*/ 145 w 280"/>
                <a:gd name="T25" fmla="*/ 8 h 278"/>
                <a:gd name="T26" fmla="*/ 173 w 280"/>
                <a:gd name="T27" fmla="*/ 2 h 278"/>
                <a:gd name="T28" fmla="*/ 188 w 280"/>
                <a:gd name="T29" fmla="*/ 2 h 278"/>
                <a:gd name="T30" fmla="*/ 207 w 280"/>
                <a:gd name="T31" fmla="*/ 16 h 278"/>
                <a:gd name="T32" fmla="*/ 219 w 280"/>
                <a:gd name="T33" fmla="*/ 18 h 278"/>
                <a:gd name="T34" fmla="*/ 234 w 280"/>
                <a:gd name="T35" fmla="*/ 24 h 278"/>
                <a:gd name="T36" fmla="*/ 246 w 280"/>
                <a:gd name="T37" fmla="*/ 34 h 278"/>
                <a:gd name="T38" fmla="*/ 261 w 280"/>
                <a:gd name="T39" fmla="*/ 37 h 278"/>
                <a:gd name="T40" fmla="*/ 275 w 280"/>
                <a:gd name="T41" fmla="*/ 45 h 278"/>
                <a:gd name="T42" fmla="*/ 275 w 280"/>
                <a:gd name="T43" fmla="*/ 53 h 278"/>
                <a:gd name="T44" fmla="*/ 280 w 280"/>
                <a:gd name="T45" fmla="*/ 72 h 278"/>
                <a:gd name="T46" fmla="*/ 278 w 280"/>
                <a:gd name="T47" fmla="*/ 84 h 278"/>
                <a:gd name="T48" fmla="*/ 276 w 280"/>
                <a:gd name="T49" fmla="*/ 99 h 278"/>
                <a:gd name="T50" fmla="*/ 280 w 280"/>
                <a:gd name="T51" fmla="*/ 111 h 278"/>
                <a:gd name="T52" fmla="*/ 273 w 280"/>
                <a:gd name="T53" fmla="*/ 119 h 278"/>
                <a:gd name="T54" fmla="*/ 270 w 280"/>
                <a:gd name="T55" fmla="*/ 129 h 278"/>
                <a:gd name="T56" fmla="*/ 265 w 280"/>
                <a:gd name="T57" fmla="*/ 138 h 278"/>
                <a:gd name="T58" fmla="*/ 270 w 280"/>
                <a:gd name="T59" fmla="*/ 146 h 278"/>
                <a:gd name="T60" fmla="*/ 270 w 280"/>
                <a:gd name="T61" fmla="*/ 161 h 278"/>
                <a:gd name="T62" fmla="*/ 275 w 280"/>
                <a:gd name="T63" fmla="*/ 169 h 278"/>
                <a:gd name="T64" fmla="*/ 273 w 280"/>
                <a:gd name="T65" fmla="*/ 183 h 278"/>
                <a:gd name="T66" fmla="*/ 259 w 280"/>
                <a:gd name="T67" fmla="*/ 202 h 278"/>
                <a:gd name="T68" fmla="*/ 254 w 280"/>
                <a:gd name="T69" fmla="*/ 221 h 278"/>
                <a:gd name="T70" fmla="*/ 254 w 280"/>
                <a:gd name="T71" fmla="*/ 235 h 278"/>
                <a:gd name="T72" fmla="*/ 219 w 280"/>
                <a:gd name="T73" fmla="*/ 270 h 278"/>
                <a:gd name="T74" fmla="*/ 207 w 280"/>
                <a:gd name="T75" fmla="*/ 276 h 278"/>
                <a:gd name="T76" fmla="*/ 194 w 280"/>
                <a:gd name="T77" fmla="*/ 273 h 278"/>
                <a:gd name="T78" fmla="*/ 180 w 280"/>
                <a:gd name="T79" fmla="*/ 275 h 278"/>
                <a:gd name="T80" fmla="*/ 164 w 280"/>
                <a:gd name="T81" fmla="*/ 270 h 278"/>
                <a:gd name="T82" fmla="*/ 142 w 280"/>
                <a:gd name="T83" fmla="*/ 268 h 278"/>
                <a:gd name="T84" fmla="*/ 132 w 280"/>
                <a:gd name="T85" fmla="*/ 262 h 278"/>
                <a:gd name="T86" fmla="*/ 118 w 280"/>
                <a:gd name="T87" fmla="*/ 246 h 278"/>
                <a:gd name="T88" fmla="*/ 102 w 280"/>
                <a:gd name="T89" fmla="*/ 245 h 278"/>
                <a:gd name="T90" fmla="*/ 94 w 280"/>
                <a:gd name="T91" fmla="*/ 240 h 278"/>
                <a:gd name="T92" fmla="*/ 86 w 280"/>
                <a:gd name="T93" fmla="*/ 226 h 278"/>
                <a:gd name="T94" fmla="*/ 86 w 280"/>
                <a:gd name="T95" fmla="*/ 213 h 278"/>
                <a:gd name="T96" fmla="*/ 86 w 280"/>
                <a:gd name="T97" fmla="*/ 200 h 278"/>
                <a:gd name="T98" fmla="*/ 78 w 280"/>
                <a:gd name="T99" fmla="*/ 199 h 278"/>
                <a:gd name="T100" fmla="*/ 72 w 280"/>
                <a:gd name="T101" fmla="*/ 191 h 278"/>
                <a:gd name="T102" fmla="*/ 62 w 280"/>
                <a:gd name="T103" fmla="*/ 180 h 278"/>
                <a:gd name="T104" fmla="*/ 51 w 280"/>
                <a:gd name="T105" fmla="*/ 175 h 278"/>
                <a:gd name="T106" fmla="*/ 43 w 280"/>
                <a:gd name="T107" fmla="*/ 169 h 278"/>
                <a:gd name="T108" fmla="*/ 31 w 280"/>
                <a:gd name="T109" fmla="*/ 156 h 278"/>
                <a:gd name="T110" fmla="*/ 26 w 280"/>
                <a:gd name="T111" fmla="*/ 142 h 278"/>
                <a:gd name="T112" fmla="*/ 21 w 280"/>
                <a:gd name="T113" fmla="*/ 129 h 278"/>
                <a:gd name="T114" fmla="*/ 15 w 280"/>
                <a:gd name="T115" fmla="*/ 118 h 278"/>
                <a:gd name="T116" fmla="*/ 7 w 280"/>
                <a:gd name="T117" fmla="*/ 103 h 278"/>
                <a:gd name="T118" fmla="*/ 2 w 280"/>
                <a:gd name="T119" fmla="*/ 91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80" h="278">
                  <a:moveTo>
                    <a:pt x="2" y="91"/>
                  </a:moveTo>
                  <a:lnTo>
                    <a:pt x="2" y="89"/>
                  </a:lnTo>
                  <a:lnTo>
                    <a:pt x="2" y="89"/>
                  </a:lnTo>
                  <a:lnTo>
                    <a:pt x="7" y="91"/>
                  </a:lnTo>
                  <a:lnTo>
                    <a:pt x="10" y="92"/>
                  </a:lnTo>
                  <a:lnTo>
                    <a:pt x="13" y="91"/>
                  </a:lnTo>
                  <a:lnTo>
                    <a:pt x="16" y="91"/>
                  </a:lnTo>
                  <a:lnTo>
                    <a:pt x="19" y="92"/>
                  </a:lnTo>
                  <a:lnTo>
                    <a:pt x="23" y="96"/>
                  </a:lnTo>
                  <a:lnTo>
                    <a:pt x="23" y="96"/>
                  </a:lnTo>
                  <a:lnTo>
                    <a:pt x="26" y="99"/>
                  </a:lnTo>
                  <a:lnTo>
                    <a:pt x="29" y="97"/>
                  </a:lnTo>
                  <a:lnTo>
                    <a:pt x="32" y="96"/>
                  </a:lnTo>
                  <a:lnTo>
                    <a:pt x="35" y="94"/>
                  </a:lnTo>
                  <a:lnTo>
                    <a:pt x="45" y="96"/>
                  </a:lnTo>
                  <a:lnTo>
                    <a:pt x="53" y="100"/>
                  </a:lnTo>
                  <a:lnTo>
                    <a:pt x="53" y="100"/>
                  </a:lnTo>
                  <a:lnTo>
                    <a:pt x="56" y="99"/>
                  </a:lnTo>
                  <a:lnTo>
                    <a:pt x="58" y="99"/>
                  </a:lnTo>
                  <a:lnTo>
                    <a:pt x="61" y="97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9" y="92"/>
                  </a:lnTo>
                  <a:lnTo>
                    <a:pt x="69" y="89"/>
                  </a:lnTo>
                  <a:lnTo>
                    <a:pt x="72" y="86"/>
                  </a:lnTo>
                  <a:lnTo>
                    <a:pt x="75" y="81"/>
                  </a:lnTo>
                  <a:lnTo>
                    <a:pt x="78" y="78"/>
                  </a:lnTo>
                  <a:lnTo>
                    <a:pt x="83" y="73"/>
                  </a:lnTo>
                  <a:lnTo>
                    <a:pt x="83" y="73"/>
                  </a:lnTo>
                  <a:lnTo>
                    <a:pt x="86" y="70"/>
                  </a:lnTo>
                  <a:lnTo>
                    <a:pt x="88" y="67"/>
                  </a:lnTo>
                  <a:lnTo>
                    <a:pt x="89" y="62"/>
                  </a:lnTo>
                  <a:lnTo>
                    <a:pt x="92" y="59"/>
                  </a:lnTo>
                  <a:lnTo>
                    <a:pt x="94" y="54"/>
                  </a:lnTo>
                  <a:lnTo>
                    <a:pt x="97" y="54"/>
                  </a:lnTo>
                  <a:lnTo>
                    <a:pt x="105" y="50"/>
                  </a:lnTo>
                  <a:lnTo>
                    <a:pt x="113" y="45"/>
                  </a:lnTo>
                  <a:lnTo>
                    <a:pt x="116" y="43"/>
                  </a:lnTo>
                  <a:lnTo>
                    <a:pt x="123" y="40"/>
                  </a:lnTo>
                  <a:lnTo>
                    <a:pt x="126" y="38"/>
                  </a:lnTo>
                  <a:lnTo>
                    <a:pt x="127" y="38"/>
                  </a:lnTo>
                  <a:lnTo>
                    <a:pt x="127" y="37"/>
                  </a:lnTo>
                  <a:lnTo>
                    <a:pt x="130" y="34"/>
                  </a:lnTo>
                  <a:lnTo>
                    <a:pt x="132" y="31"/>
                  </a:lnTo>
                  <a:lnTo>
                    <a:pt x="132" y="24"/>
                  </a:lnTo>
                  <a:lnTo>
                    <a:pt x="132" y="19"/>
                  </a:lnTo>
                  <a:lnTo>
                    <a:pt x="132" y="18"/>
                  </a:lnTo>
                  <a:lnTo>
                    <a:pt x="135" y="15"/>
                  </a:lnTo>
                  <a:lnTo>
                    <a:pt x="135" y="15"/>
                  </a:lnTo>
                  <a:lnTo>
                    <a:pt x="138" y="15"/>
                  </a:lnTo>
                  <a:lnTo>
                    <a:pt x="142" y="10"/>
                  </a:lnTo>
                  <a:lnTo>
                    <a:pt x="145" y="8"/>
                  </a:lnTo>
                  <a:lnTo>
                    <a:pt x="156" y="4"/>
                  </a:lnTo>
                  <a:lnTo>
                    <a:pt x="165" y="0"/>
                  </a:lnTo>
                  <a:lnTo>
                    <a:pt x="170" y="0"/>
                  </a:lnTo>
                  <a:lnTo>
                    <a:pt x="173" y="2"/>
                  </a:lnTo>
                  <a:lnTo>
                    <a:pt x="176" y="0"/>
                  </a:lnTo>
                  <a:lnTo>
                    <a:pt x="180" y="2"/>
                  </a:lnTo>
                  <a:lnTo>
                    <a:pt x="183" y="2"/>
                  </a:lnTo>
                  <a:lnTo>
                    <a:pt x="188" y="2"/>
                  </a:lnTo>
                  <a:lnTo>
                    <a:pt x="188" y="0"/>
                  </a:lnTo>
                  <a:lnTo>
                    <a:pt x="188" y="15"/>
                  </a:lnTo>
                  <a:lnTo>
                    <a:pt x="192" y="16"/>
                  </a:lnTo>
                  <a:lnTo>
                    <a:pt x="207" y="16"/>
                  </a:lnTo>
                  <a:lnTo>
                    <a:pt x="210" y="18"/>
                  </a:lnTo>
                  <a:lnTo>
                    <a:pt x="213" y="16"/>
                  </a:lnTo>
                  <a:lnTo>
                    <a:pt x="216" y="16"/>
                  </a:lnTo>
                  <a:lnTo>
                    <a:pt x="219" y="18"/>
                  </a:lnTo>
                  <a:lnTo>
                    <a:pt x="222" y="21"/>
                  </a:lnTo>
                  <a:lnTo>
                    <a:pt x="226" y="23"/>
                  </a:lnTo>
                  <a:lnTo>
                    <a:pt x="229" y="24"/>
                  </a:lnTo>
                  <a:lnTo>
                    <a:pt x="234" y="24"/>
                  </a:lnTo>
                  <a:lnTo>
                    <a:pt x="237" y="27"/>
                  </a:lnTo>
                  <a:lnTo>
                    <a:pt x="241" y="32"/>
                  </a:lnTo>
                  <a:lnTo>
                    <a:pt x="243" y="34"/>
                  </a:lnTo>
                  <a:lnTo>
                    <a:pt x="246" y="34"/>
                  </a:lnTo>
                  <a:lnTo>
                    <a:pt x="248" y="34"/>
                  </a:lnTo>
                  <a:lnTo>
                    <a:pt x="251" y="34"/>
                  </a:lnTo>
                  <a:lnTo>
                    <a:pt x="254" y="34"/>
                  </a:lnTo>
                  <a:lnTo>
                    <a:pt x="261" y="37"/>
                  </a:lnTo>
                  <a:lnTo>
                    <a:pt x="268" y="40"/>
                  </a:lnTo>
                  <a:lnTo>
                    <a:pt x="268" y="43"/>
                  </a:lnTo>
                  <a:lnTo>
                    <a:pt x="270" y="45"/>
                  </a:lnTo>
                  <a:lnTo>
                    <a:pt x="275" y="45"/>
                  </a:lnTo>
                  <a:lnTo>
                    <a:pt x="278" y="45"/>
                  </a:lnTo>
                  <a:lnTo>
                    <a:pt x="278" y="45"/>
                  </a:lnTo>
                  <a:lnTo>
                    <a:pt x="278" y="48"/>
                  </a:lnTo>
                  <a:lnTo>
                    <a:pt x="275" y="53"/>
                  </a:lnTo>
                  <a:lnTo>
                    <a:pt x="273" y="54"/>
                  </a:lnTo>
                  <a:lnTo>
                    <a:pt x="278" y="65"/>
                  </a:lnTo>
                  <a:lnTo>
                    <a:pt x="280" y="72"/>
                  </a:lnTo>
                  <a:lnTo>
                    <a:pt x="280" y="72"/>
                  </a:lnTo>
                  <a:lnTo>
                    <a:pt x="278" y="73"/>
                  </a:lnTo>
                  <a:lnTo>
                    <a:pt x="276" y="78"/>
                  </a:lnTo>
                  <a:lnTo>
                    <a:pt x="280" y="81"/>
                  </a:lnTo>
                  <a:lnTo>
                    <a:pt x="278" y="84"/>
                  </a:lnTo>
                  <a:lnTo>
                    <a:pt x="278" y="88"/>
                  </a:lnTo>
                  <a:lnTo>
                    <a:pt x="276" y="91"/>
                  </a:lnTo>
                  <a:lnTo>
                    <a:pt x="276" y="96"/>
                  </a:lnTo>
                  <a:lnTo>
                    <a:pt x="276" y="99"/>
                  </a:lnTo>
                  <a:lnTo>
                    <a:pt x="276" y="102"/>
                  </a:lnTo>
                  <a:lnTo>
                    <a:pt x="276" y="105"/>
                  </a:lnTo>
                  <a:lnTo>
                    <a:pt x="276" y="110"/>
                  </a:lnTo>
                  <a:lnTo>
                    <a:pt x="280" y="111"/>
                  </a:lnTo>
                  <a:lnTo>
                    <a:pt x="278" y="115"/>
                  </a:lnTo>
                  <a:lnTo>
                    <a:pt x="276" y="115"/>
                  </a:lnTo>
                  <a:lnTo>
                    <a:pt x="276" y="118"/>
                  </a:lnTo>
                  <a:lnTo>
                    <a:pt x="273" y="119"/>
                  </a:lnTo>
                  <a:lnTo>
                    <a:pt x="273" y="123"/>
                  </a:lnTo>
                  <a:lnTo>
                    <a:pt x="275" y="126"/>
                  </a:lnTo>
                  <a:lnTo>
                    <a:pt x="273" y="130"/>
                  </a:lnTo>
                  <a:lnTo>
                    <a:pt x="270" y="129"/>
                  </a:lnTo>
                  <a:lnTo>
                    <a:pt x="267" y="132"/>
                  </a:lnTo>
                  <a:lnTo>
                    <a:pt x="265" y="135"/>
                  </a:lnTo>
                  <a:lnTo>
                    <a:pt x="267" y="135"/>
                  </a:lnTo>
                  <a:lnTo>
                    <a:pt x="265" y="138"/>
                  </a:lnTo>
                  <a:lnTo>
                    <a:pt x="265" y="138"/>
                  </a:lnTo>
                  <a:lnTo>
                    <a:pt x="268" y="140"/>
                  </a:lnTo>
                  <a:lnTo>
                    <a:pt x="272" y="143"/>
                  </a:lnTo>
                  <a:lnTo>
                    <a:pt x="270" y="146"/>
                  </a:lnTo>
                  <a:lnTo>
                    <a:pt x="270" y="149"/>
                  </a:lnTo>
                  <a:lnTo>
                    <a:pt x="268" y="153"/>
                  </a:lnTo>
                  <a:lnTo>
                    <a:pt x="267" y="157"/>
                  </a:lnTo>
                  <a:lnTo>
                    <a:pt x="270" y="161"/>
                  </a:lnTo>
                  <a:lnTo>
                    <a:pt x="270" y="164"/>
                  </a:lnTo>
                  <a:lnTo>
                    <a:pt x="270" y="167"/>
                  </a:lnTo>
                  <a:lnTo>
                    <a:pt x="273" y="165"/>
                  </a:lnTo>
                  <a:lnTo>
                    <a:pt x="275" y="169"/>
                  </a:lnTo>
                  <a:lnTo>
                    <a:pt x="276" y="172"/>
                  </a:lnTo>
                  <a:lnTo>
                    <a:pt x="275" y="176"/>
                  </a:lnTo>
                  <a:lnTo>
                    <a:pt x="275" y="180"/>
                  </a:lnTo>
                  <a:lnTo>
                    <a:pt x="273" y="183"/>
                  </a:lnTo>
                  <a:lnTo>
                    <a:pt x="270" y="189"/>
                  </a:lnTo>
                  <a:lnTo>
                    <a:pt x="265" y="197"/>
                  </a:lnTo>
                  <a:lnTo>
                    <a:pt x="262" y="200"/>
                  </a:lnTo>
                  <a:lnTo>
                    <a:pt x="259" y="202"/>
                  </a:lnTo>
                  <a:lnTo>
                    <a:pt x="256" y="205"/>
                  </a:lnTo>
                  <a:lnTo>
                    <a:pt x="256" y="213"/>
                  </a:lnTo>
                  <a:lnTo>
                    <a:pt x="256" y="216"/>
                  </a:lnTo>
                  <a:lnTo>
                    <a:pt x="254" y="221"/>
                  </a:lnTo>
                  <a:lnTo>
                    <a:pt x="251" y="224"/>
                  </a:lnTo>
                  <a:lnTo>
                    <a:pt x="251" y="227"/>
                  </a:lnTo>
                  <a:lnTo>
                    <a:pt x="253" y="230"/>
                  </a:lnTo>
                  <a:lnTo>
                    <a:pt x="254" y="235"/>
                  </a:lnTo>
                  <a:lnTo>
                    <a:pt x="251" y="234"/>
                  </a:lnTo>
                  <a:lnTo>
                    <a:pt x="238" y="248"/>
                  </a:lnTo>
                  <a:lnTo>
                    <a:pt x="226" y="264"/>
                  </a:lnTo>
                  <a:lnTo>
                    <a:pt x="219" y="270"/>
                  </a:lnTo>
                  <a:lnTo>
                    <a:pt x="215" y="276"/>
                  </a:lnTo>
                  <a:lnTo>
                    <a:pt x="211" y="278"/>
                  </a:lnTo>
                  <a:lnTo>
                    <a:pt x="211" y="278"/>
                  </a:lnTo>
                  <a:lnTo>
                    <a:pt x="207" y="276"/>
                  </a:lnTo>
                  <a:lnTo>
                    <a:pt x="203" y="275"/>
                  </a:lnTo>
                  <a:lnTo>
                    <a:pt x="202" y="275"/>
                  </a:lnTo>
                  <a:lnTo>
                    <a:pt x="197" y="273"/>
                  </a:lnTo>
                  <a:lnTo>
                    <a:pt x="194" y="273"/>
                  </a:lnTo>
                  <a:lnTo>
                    <a:pt x="191" y="273"/>
                  </a:lnTo>
                  <a:lnTo>
                    <a:pt x="188" y="275"/>
                  </a:lnTo>
                  <a:lnTo>
                    <a:pt x="183" y="275"/>
                  </a:lnTo>
                  <a:lnTo>
                    <a:pt x="180" y="275"/>
                  </a:lnTo>
                  <a:lnTo>
                    <a:pt x="176" y="275"/>
                  </a:lnTo>
                  <a:lnTo>
                    <a:pt x="173" y="273"/>
                  </a:lnTo>
                  <a:lnTo>
                    <a:pt x="170" y="273"/>
                  </a:lnTo>
                  <a:lnTo>
                    <a:pt x="164" y="270"/>
                  </a:lnTo>
                  <a:lnTo>
                    <a:pt x="157" y="267"/>
                  </a:lnTo>
                  <a:lnTo>
                    <a:pt x="149" y="267"/>
                  </a:lnTo>
                  <a:lnTo>
                    <a:pt x="143" y="268"/>
                  </a:lnTo>
                  <a:lnTo>
                    <a:pt x="142" y="268"/>
                  </a:lnTo>
                  <a:lnTo>
                    <a:pt x="138" y="264"/>
                  </a:lnTo>
                  <a:lnTo>
                    <a:pt x="138" y="264"/>
                  </a:lnTo>
                  <a:lnTo>
                    <a:pt x="135" y="264"/>
                  </a:lnTo>
                  <a:lnTo>
                    <a:pt x="132" y="262"/>
                  </a:lnTo>
                  <a:lnTo>
                    <a:pt x="132" y="257"/>
                  </a:lnTo>
                  <a:lnTo>
                    <a:pt x="134" y="254"/>
                  </a:lnTo>
                  <a:lnTo>
                    <a:pt x="126" y="251"/>
                  </a:lnTo>
                  <a:lnTo>
                    <a:pt x="118" y="246"/>
                  </a:lnTo>
                  <a:lnTo>
                    <a:pt x="113" y="248"/>
                  </a:lnTo>
                  <a:lnTo>
                    <a:pt x="110" y="246"/>
                  </a:lnTo>
                  <a:lnTo>
                    <a:pt x="107" y="245"/>
                  </a:lnTo>
                  <a:lnTo>
                    <a:pt x="102" y="245"/>
                  </a:lnTo>
                  <a:lnTo>
                    <a:pt x="99" y="245"/>
                  </a:lnTo>
                  <a:lnTo>
                    <a:pt x="96" y="243"/>
                  </a:lnTo>
                  <a:lnTo>
                    <a:pt x="96" y="243"/>
                  </a:lnTo>
                  <a:lnTo>
                    <a:pt x="94" y="240"/>
                  </a:lnTo>
                  <a:lnTo>
                    <a:pt x="94" y="237"/>
                  </a:lnTo>
                  <a:lnTo>
                    <a:pt x="92" y="232"/>
                  </a:lnTo>
                  <a:lnTo>
                    <a:pt x="89" y="229"/>
                  </a:lnTo>
                  <a:lnTo>
                    <a:pt x="86" y="226"/>
                  </a:lnTo>
                  <a:lnTo>
                    <a:pt x="84" y="222"/>
                  </a:lnTo>
                  <a:lnTo>
                    <a:pt x="86" y="219"/>
                  </a:lnTo>
                  <a:lnTo>
                    <a:pt x="86" y="216"/>
                  </a:lnTo>
                  <a:lnTo>
                    <a:pt x="86" y="213"/>
                  </a:lnTo>
                  <a:lnTo>
                    <a:pt x="86" y="208"/>
                  </a:lnTo>
                  <a:lnTo>
                    <a:pt x="86" y="205"/>
                  </a:lnTo>
                  <a:lnTo>
                    <a:pt x="86" y="202"/>
                  </a:lnTo>
                  <a:lnTo>
                    <a:pt x="86" y="200"/>
                  </a:lnTo>
                  <a:lnTo>
                    <a:pt x="86" y="200"/>
                  </a:lnTo>
                  <a:lnTo>
                    <a:pt x="86" y="199"/>
                  </a:lnTo>
                  <a:lnTo>
                    <a:pt x="81" y="199"/>
                  </a:lnTo>
                  <a:lnTo>
                    <a:pt x="78" y="199"/>
                  </a:lnTo>
                  <a:lnTo>
                    <a:pt x="75" y="199"/>
                  </a:lnTo>
                  <a:lnTo>
                    <a:pt x="72" y="200"/>
                  </a:lnTo>
                  <a:lnTo>
                    <a:pt x="72" y="195"/>
                  </a:lnTo>
                  <a:lnTo>
                    <a:pt x="72" y="191"/>
                  </a:lnTo>
                  <a:lnTo>
                    <a:pt x="72" y="188"/>
                  </a:lnTo>
                  <a:lnTo>
                    <a:pt x="69" y="183"/>
                  </a:lnTo>
                  <a:lnTo>
                    <a:pt x="65" y="183"/>
                  </a:lnTo>
                  <a:lnTo>
                    <a:pt x="62" y="180"/>
                  </a:lnTo>
                  <a:lnTo>
                    <a:pt x="59" y="180"/>
                  </a:lnTo>
                  <a:lnTo>
                    <a:pt x="58" y="180"/>
                  </a:lnTo>
                  <a:lnTo>
                    <a:pt x="54" y="178"/>
                  </a:lnTo>
                  <a:lnTo>
                    <a:pt x="51" y="175"/>
                  </a:lnTo>
                  <a:lnTo>
                    <a:pt x="50" y="175"/>
                  </a:lnTo>
                  <a:lnTo>
                    <a:pt x="46" y="170"/>
                  </a:lnTo>
                  <a:lnTo>
                    <a:pt x="46" y="170"/>
                  </a:lnTo>
                  <a:lnTo>
                    <a:pt x="43" y="169"/>
                  </a:lnTo>
                  <a:lnTo>
                    <a:pt x="38" y="165"/>
                  </a:lnTo>
                  <a:lnTo>
                    <a:pt x="35" y="162"/>
                  </a:lnTo>
                  <a:lnTo>
                    <a:pt x="32" y="161"/>
                  </a:lnTo>
                  <a:lnTo>
                    <a:pt x="31" y="156"/>
                  </a:lnTo>
                  <a:lnTo>
                    <a:pt x="31" y="153"/>
                  </a:lnTo>
                  <a:lnTo>
                    <a:pt x="29" y="149"/>
                  </a:lnTo>
                  <a:lnTo>
                    <a:pt x="27" y="146"/>
                  </a:lnTo>
                  <a:lnTo>
                    <a:pt x="26" y="142"/>
                  </a:lnTo>
                  <a:lnTo>
                    <a:pt x="26" y="138"/>
                  </a:lnTo>
                  <a:lnTo>
                    <a:pt x="26" y="135"/>
                  </a:lnTo>
                  <a:lnTo>
                    <a:pt x="23" y="132"/>
                  </a:lnTo>
                  <a:lnTo>
                    <a:pt x="21" y="129"/>
                  </a:lnTo>
                  <a:lnTo>
                    <a:pt x="19" y="126"/>
                  </a:lnTo>
                  <a:lnTo>
                    <a:pt x="19" y="123"/>
                  </a:lnTo>
                  <a:lnTo>
                    <a:pt x="16" y="119"/>
                  </a:lnTo>
                  <a:lnTo>
                    <a:pt x="15" y="118"/>
                  </a:lnTo>
                  <a:lnTo>
                    <a:pt x="12" y="115"/>
                  </a:lnTo>
                  <a:lnTo>
                    <a:pt x="10" y="111"/>
                  </a:lnTo>
                  <a:lnTo>
                    <a:pt x="8" y="108"/>
                  </a:lnTo>
                  <a:lnTo>
                    <a:pt x="7" y="103"/>
                  </a:lnTo>
                  <a:lnTo>
                    <a:pt x="4" y="100"/>
                  </a:lnTo>
                  <a:lnTo>
                    <a:pt x="2" y="97"/>
                  </a:lnTo>
                  <a:lnTo>
                    <a:pt x="0" y="94"/>
                  </a:lnTo>
                  <a:lnTo>
                    <a:pt x="2" y="9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90" name="Freeform 459"/>
            <p:cNvSpPr>
              <a:spLocks/>
            </p:cNvSpPr>
            <p:nvPr/>
          </p:nvSpPr>
          <p:spPr bwMode="auto">
            <a:xfrm>
              <a:off x="5948712" y="5114955"/>
              <a:ext cx="310247" cy="340178"/>
            </a:xfrm>
            <a:custGeom>
              <a:avLst/>
              <a:gdLst>
                <a:gd name="T0" fmla="*/ 19 w 424"/>
                <a:gd name="T1" fmla="*/ 196 h 402"/>
                <a:gd name="T2" fmla="*/ 72 w 424"/>
                <a:gd name="T3" fmla="*/ 182 h 402"/>
                <a:gd name="T4" fmla="*/ 75 w 424"/>
                <a:gd name="T5" fmla="*/ 158 h 402"/>
                <a:gd name="T6" fmla="*/ 76 w 424"/>
                <a:gd name="T7" fmla="*/ 133 h 402"/>
                <a:gd name="T8" fmla="*/ 76 w 424"/>
                <a:gd name="T9" fmla="*/ 115 h 402"/>
                <a:gd name="T10" fmla="*/ 84 w 424"/>
                <a:gd name="T11" fmla="*/ 115 h 402"/>
                <a:gd name="T12" fmla="*/ 89 w 424"/>
                <a:gd name="T13" fmla="*/ 131 h 402"/>
                <a:gd name="T14" fmla="*/ 122 w 424"/>
                <a:gd name="T15" fmla="*/ 126 h 402"/>
                <a:gd name="T16" fmla="*/ 132 w 424"/>
                <a:gd name="T17" fmla="*/ 144 h 402"/>
                <a:gd name="T18" fmla="*/ 152 w 424"/>
                <a:gd name="T19" fmla="*/ 150 h 402"/>
                <a:gd name="T20" fmla="*/ 173 w 424"/>
                <a:gd name="T21" fmla="*/ 153 h 402"/>
                <a:gd name="T22" fmla="*/ 186 w 424"/>
                <a:gd name="T23" fmla="*/ 137 h 402"/>
                <a:gd name="T24" fmla="*/ 197 w 424"/>
                <a:gd name="T25" fmla="*/ 150 h 402"/>
                <a:gd name="T26" fmla="*/ 211 w 424"/>
                <a:gd name="T27" fmla="*/ 166 h 402"/>
                <a:gd name="T28" fmla="*/ 230 w 424"/>
                <a:gd name="T29" fmla="*/ 172 h 402"/>
                <a:gd name="T30" fmla="*/ 240 w 424"/>
                <a:gd name="T31" fmla="*/ 190 h 402"/>
                <a:gd name="T32" fmla="*/ 251 w 424"/>
                <a:gd name="T33" fmla="*/ 203 h 402"/>
                <a:gd name="T34" fmla="*/ 263 w 424"/>
                <a:gd name="T35" fmla="*/ 210 h 402"/>
                <a:gd name="T36" fmla="*/ 278 w 424"/>
                <a:gd name="T37" fmla="*/ 214 h 402"/>
                <a:gd name="T38" fmla="*/ 283 w 424"/>
                <a:gd name="T39" fmla="*/ 161 h 402"/>
                <a:gd name="T40" fmla="*/ 268 w 424"/>
                <a:gd name="T41" fmla="*/ 172 h 402"/>
                <a:gd name="T42" fmla="*/ 241 w 424"/>
                <a:gd name="T43" fmla="*/ 153 h 402"/>
                <a:gd name="T44" fmla="*/ 232 w 424"/>
                <a:gd name="T45" fmla="*/ 131 h 402"/>
                <a:gd name="T46" fmla="*/ 237 w 424"/>
                <a:gd name="T47" fmla="*/ 115 h 402"/>
                <a:gd name="T48" fmla="*/ 241 w 424"/>
                <a:gd name="T49" fmla="*/ 93 h 402"/>
                <a:gd name="T50" fmla="*/ 243 w 424"/>
                <a:gd name="T51" fmla="*/ 63 h 402"/>
                <a:gd name="T52" fmla="*/ 238 w 424"/>
                <a:gd name="T53" fmla="*/ 47 h 402"/>
                <a:gd name="T54" fmla="*/ 246 w 424"/>
                <a:gd name="T55" fmla="*/ 31 h 402"/>
                <a:gd name="T56" fmla="*/ 270 w 424"/>
                <a:gd name="T57" fmla="*/ 7 h 402"/>
                <a:gd name="T58" fmla="*/ 325 w 424"/>
                <a:gd name="T59" fmla="*/ 9 h 402"/>
                <a:gd name="T60" fmla="*/ 341 w 424"/>
                <a:gd name="T61" fmla="*/ 15 h 402"/>
                <a:gd name="T62" fmla="*/ 354 w 424"/>
                <a:gd name="T63" fmla="*/ 28 h 402"/>
                <a:gd name="T64" fmla="*/ 371 w 424"/>
                <a:gd name="T65" fmla="*/ 36 h 402"/>
                <a:gd name="T66" fmla="*/ 390 w 424"/>
                <a:gd name="T67" fmla="*/ 44 h 402"/>
                <a:gd name="T68" fmla="*/ 398 w 424"/>
                <a:gd name="T69" fmla="*/ 52 h 402"/>
                <a:gd name="T70" fmla="*/ 408 w 424"/>
                <a:gd name="T71" fmla="*/ 60 h 402"/>
                <a:gd name="T72" fmla="*/ 416 w 424"/>
                <a:gd name="T73" fmla="*/ 79 h 402"/>
                <a:gd name="T74" fmla="*/ 422 w 424"/>
                <a:gd name="T75" fmla="*/ 98 h 402"/>
                <a:gd name="T76" fmla="*/ 411 w 424"/>
                <a:gd name="T77" fmla="*/ 115 h 402"/>
                <a:gd name="T78" fmla="*/ 409 w 424"/>
                <a:gd name="T79" fmla="*/ 141 h 402"/>
                <a:gd name="T80" fmla="*/ 409 w 424"/>
                <a:gd name="T81" fmla="*/ 163 h 402"/>
                <a:gd name="T82" fmla="*/ 409 w 424"/>
                <a:gd name="T83" fmla="*/ 176 h 402"/>
                <a:gd name="T84" fmla="*/ 398 w 424"/>
                <a:gd name="T85" fmla="*/ 193 h 402"/>
                <a:gd name="T86" fmla="*/ 389 w 424"/>
                <a:gd name="T87" fmla="*/ 222 h 402"/>
                <a:gd name="T88" fmla="*/ 398 w 424"/>
                <a:gd name="T89" fmla="*/ 237 h 402"/>
                <a:gd name="T90" fmla="*/ 363 w 424"/>
                <a:gd name="T91" fmla="*/ 252 h 402"/>
                <a:gd name="T92" fmla="*/ 295 w 424"/>
                <a:gd name="T93" fmla="*/ 280 h 402"/>
                <a:gd name="T94" fmla="*/ 302 w 424"/>
                <a:gd name="T95" fmla="*/ 301 h 402"/>
                <a:gd name="T96" fmla="*/ 287 w 424"/>
                <a:gd name="T97" fmla="*/ 304 h 402"/>
                <a:gd name="T98" fmla="*/ 252 w 424"/>
                <a:gd name="T99" fmla="*/ 317 h 402"/>
                <a:gd name="T100" fmla="*/ 246 w 424"/>
                <a:gd name="T101" fmla="*/ 333 h 402"/>
                <a:gd name="T102" fmla="*/ 230 w 424"/>
                <a:gd name="T103" fmla="*/ 345 h 402"/>
                <a:gd name="T104" fmla="*/ 210 w 424"/>
                <a:gd name="T105" fmla="*/ 356 h 402"/>
                <a:gd name="T106" fmla="*/ 197 w 424"/>
                <a:gd name="T107" fmla="*/ 375 h 402"/>
                <a:gd name="T108" fmla="*/ 178 w 424"/>
                <a:gd name="T109" fmla="*/ 398 h 402"/>
                <a:gd name="T110" fmla="*/ 167 w 424"/>
                <a:gd name="T111" fmla="*/ 402 h 402"/>
                <a:gd name="T112" fmla="*/ 146 w 424"/>
                <a:gd name="T113" fmla="*/ 398 h 402"/>
                <a:gd name="T114" fmla="*/ 130 w 424"/>
                <a:gd name="T115" fmla="*/ 393 h 402"/>
                <a:gd name="T116" fmla="*/ 106 w 424"/>
                <a:gd name="T117" fmla="*/ 382 h 402"/>
                <a:gd name="T118" fmla="*/ 80 w 424"/>
                <a:gd name="T119" fmla="*/ 379 h 402"/>
                <a:gd name="T120" fmla="*/ 22 w 424"/>
                <a:gd name="T121" fmla="*/ 355 h 4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24" h="402">
                  <a:moveTo>
                    <a:pt x="0" y="325"/>
                  </a:moveTo>
                  <a:lnTo>
                    <a:pt x="2" y="293"/>
                  </a:lnTo>
                  <a:lnTo>
                    <a:pt x="2" y="260"/>
                  </a:lnTo>
                  <a:lnTo>
                    <a:pt x="2" y="228"/>
                  </a:lnTo>
                  <a:lnTo>
                    <a:pt x="3" y="196"/>
                  </a:lnTo>
                  <a:lnTo>
                    <a:pt x="19" y="196"/>
                  </a:lnTo>
                  <a:lnTo>
                    <a:pt x="37" y="196"/>
                  </a:lnTo>
                  <a:lnTo>
                    <a:pt x="68" y="196"/>
                  </a:lnTo>
                  <a:lnTo>
                    <a:pt x="75" y="193"/>
                  </a:lnTo>
                  <a:lnTo>
                    <a:pt x="72" y="188"/>
                  </a:lnTo>
                  <a:lnTo>
                    <a:pt x="70" y="185"/>
                  </a:lnTo>
                  <a:lnTo>
                    <a:pt x="72" y="182"/>
                  </a:lnTo>
                  <a:lnTo>
                    <a:pt x="73" y="176"/>
                  </a:lnTo>
                  <a:lnTo>
                    <a:pt x="75" y="172"/>
                  </a:lnTo>
                  <a:lnTo>
                    <a:pt x="76" y="169"/>
                  </a:lnTo>
                  <a:lnTo>
                    <a:pt x="76" y="164"/>
                  </a:lnTo>
                  <a:lnTo>
                    <a:pt x="73" y="161"/>
                  </a:lnTo>
                  <a:lnTo>
                    <a:pt x="75" y="158"/>
                  </a:lnTo>
                  <a:lnTo>
                    <a:pt x="75" y="150"/>
                  </a:lnTo>
                  <a:lnTo>
                    <a:pt x="75" y="147"/>
                  </a:lnTo>
                  <a:lnTo>
                    <a:pt x="75" y="144"/>
                  </a:lnTo>
                  <a:lnTo>
                    <a:pt x="73" y="141"/>
                  </a:lnTo>
                  <a:lnTo>
                    <a:pt x="75" y="136"/>
                  </a:lnTo>
                  <a:lnTo>
                    <a:pt x="76" y="133"/>
                  </a:lnTo>
                  <a:lnTo>
                    <a:pt x="78" y="130"/>
                  </a:lnTo>
                  <a:lnTo>
                    <a:pt x="76" y="126"/>
                  </a:lnTo>
                  <a:lnTo>
                    <a:pt x="76" y="123"/>
                  </a:lnTo>
                  <a:lnTo>
                    <a:pt x="76" y="118"/>
                  </a:lnTo>
                  <a:lnTo>
                    <a:pt x="75" y="118"/>
                  </a:lnTo>
                  <a:lnTo>
                    <a:pt x="76" y="115"/>
                  </a:lnTo>
                  <a:lnTo>
                    <a:pt x="76" y="112"/>
                  </a:lnTo>
                  <a:lnTo>
                    <a:pt x="75" y="109"/>
                  </a:lnTo>
                  <a:lnTo>
                    <a:pt x="76" y="109"/>
                  </a:lnTo>
                  <a:lnTo>
                    <a:pt x="80" y="111"/>
                  </a:lnTo>
                  <a:lnTo>
                    <a:pt x="80" y="115"/>
                  </a:lnTo>
                  <a:lnTo>
                    <a:pt x="84" y="115"/>
                  </a:lnTo>
                  <a:lnTo>
                    <a:pt x="87" y="115"/>
                  </a:lnTo>
                  <a:lnTo>
                    <a:pt x="89" y="118"/>
                  </a:lnTo>
                  <a:lnTo>
                    <a:pt x="91" y="123"/>
                  </a:lnTo>
                  <a:lnTo>
                    <a:pt x="89" y="126"/>
                  </a:lnTo>
                  <a:lnTo>
                    <a:pt x="86" y="130"/>
                  </a:lnTo>
                  <a:lnTo>
                    <a:pt x="89" y="131"/>
                  </a:lnTo>
                  <a:lnTo>
                    <a:pt x="94" y="133"/>
                  </a:lnTo>
                  <a:lnTo>
                    <a:pt x="100" y="128"/>
                  </a:lnTo>
                  <a:lnTo>
                    <a:pt x="108" y="125"/>
                  </a:lnTo>
                  <a:lnTo>
                    <a:pt x="116" y="123"/>
                  </a:lnTo>
                  <a:lnTo>
                    <a:pt x="124" y="123"/>
                  </a:lnTo>
                  <a:lnTo>
                    <a:pt x="122" y="126"/>
                  </a:lnTo>
                  <a:lnTo>
                    <a:pt x="122" y="130"/>
                  </a:lnTo>
                  <a:lnTo>
                    <a:pt x="122" y="133"/>
                  </a:lnTo>
                  <a:lnTo>
                    <a:pt x="122" y="136"/>
                  </a:lnTo>
                  <a:lnTo>
                    <a:pt x="124" y="141"/>
                  </a:lnTo>
                  <a:lnTo>
                    <a:pt x="127" y="142"/>
                  </a:lnTo>
                  <a:lnTo>
                    <a:pt x="132" y="144"/>
                  </a:lnTo>
                  <a:lnTo>
                    <a:pt x="135" y="144"/>
                  </a:lnTo>
                  <a:lnTo>
                    <a:pt x="138" y="147"/>
                  </a:lnTo>
                  <a:lnTo>
                    <a:pt x="141" y="145"/>
                  </a:lnTo>
                  <a:lnTo>
                    <a:pt x="146" y="149"/>
                  </a:lnTo>
                  <a:lnTo>
                    <a:pt x="149" y="150"/>
                  </a:lnTo>
                  <a:lnTo>
                    <a:pt x="152" y="150"/>
                  </a:lnTo>
                  <a:lnTo>
                    <a:pt x="156" y="152"/>
                  </a:lnTo>
                  <a:lnTo>
                    <a:pt x="159" y="152"/>
                  </a:lnTo>
                  <a:lnTo>
                    <a:pt x="164" y="152"/>
                  </a:lnTo>
                  <a:lnTo>
                    <a:pt x="167" y="153"/>
                  </a:lnTo>
                  <a:lnTo>
                    <a:pt x="170" y="153"/>
                  </a:lnTo>
                  <a:lnTo>
                    <a:pt x="173" y="153"/>
                  </a:lnTo>
                  <a:lnTo>
                    <a:pt x="176" y="153"/>
                  </a:lnTo>
                  <a:lnTo>
                    <a:pt x="181" y="152"/>
                  </a:lnTo>
                  <a:lnTo>
                    <a:pt x="183" y="147"/>
                  </a:lnTo>
                  <a:lnTo>
                    <a:pt x="183" y="144"/>
                  </a:lnTo>
                  <a:lnTo>
                    <a:pt x="184" y="141"/>
                  </a:lnTo>
                  <a:lnTo>
                    <a:pt x="186" y="137"/>
                  </a:lnTo>
                  <a:lnTo>
                    <a:pt x="191" y="137"/>
                  </a:lnTo>
                  <a:lnTo>
                    <a:pt x="191" y="137"/>
                  </a:lnTo>
                  <a:lnTo>
                    <a:pt x="191" y="141"/>
                  </a:lnTo>
                  <a:lnTo>
                    <a:pt x="191" y="144"/>
                  </a:lnTo>
                  <a:lnTo>
                    <a:pt x="192" y="147"/>
                  </a:lnTo>
                  <a:lnTo>
                    <a:pt x="197" y="150"/>
                  </a:lnTo>
                  <a:lnTo>
                    <a:pt x="200" y="153"/>
                  </a:lnTo>
                  <a:lnTo>
                    <a:pt x="202" y="160"/>
                  </a:lnTo>
                  <a:lnTo>
                    <a:pt x="203" y="164"/>
                  </a:lnTo>
                  <a:lnTo>
                    <a:pt x="206" y="166"/>
                  </a:lnTo>
                  <a:lnTo>
                    <a:pt x="208" y="168"/>
                  </a:lnTo>
                  <a:lnTo>
                    <a:pt x="211" y="166"/>
                  </a:lnTo>
                  <a:lnTo>
                    <a:pt x="213" y="164"/>
                  </a:lnTo>
                  <a:lnTo>
                    <a:pt x="219" y="168"/>
                  </a:lnTo>
                  <a:lnTo>
                    <a:pt x="221" y="171"/>
                  </a:lnTo>
                  <a:lnTo>
                    <a:pt x="224" y="172"/>
                  </a:lnTo>
                  <a:lnTo>
                    <a:pt x="230" y="172"/>
                  </a:lnTo>
                  <a:lnTo>
                    <a:pt x="230" y="172"/>
                  </a:lnTo>
                  <a:lnTo>
                    <a:pt x="232" y="172"/>
                  </a:lnTo>
                  <a:lnTo>
                    <a:pt x="235" y="177"/>
                  </a:lnTo>
                  <a:lnTo>
                    <a:pt x="237" y="180"/>
                  </a:lnTo>
                  <a:lnTo>
                    <a:pt x="237" y="183"/>
                  </a:lnTo>
                  <a:lnTo>
                    <a:pt x="237" y="187"/>
                  </a:lnTo>
                  <a:lnTo>
                    <a:pt x="240" y="190"/>
                  </a:lnTo>
                  <a:lnTo>
                    <a:pt x="241" y="188"/>
                  </a:lnTo>
                  <a:lnTo>
                    <a:pt x="244" y="191"/>
                  </a:lnTo>
                  <a:lnTo>
                    <a:pt x="248" y="195"/>
                  </a:lnTo>
                  <a:lnTo>
                    <a:pt x="248" y="196"/>
                  </a:lnTo>
                  <a:lnTo>
                    <a:pt x="249" y="199"/>
                  </a:lnTo>
                  <a:lnTo>
                    <a:pt x="251" y="203"/>
                  </a:lnTo>
                  <a:lnTo>
                    <a:pt x="252" y="206"/>
                  </a:lnTo>
                  <a:lnTo>
                    <a:pt x="252" y="210"/>
                  </a:lnTo>
                  <a:lnTo>
                    <a:pt x="256" y="210"/>
                  </a:lnTo>
                  <a:lnTo>
                    <a:pt x="257" y="210"/>
                  </a:lnTo>
                  <a:lnTo>
                    <a:pt x="260" y="214"/>
                  </a:lnTo>
                  <a:lnTo>
                    <a:pt x="263" y="210"/>
                  </a:lnTo>
                  <a:lnTo>
                    <a:pt x="267" y="209"/>
                  </a:lnTo>
                  <a:lnTo>
                    <a:pt x="271" y="207"/>
                  </a:lnTo>
                  <a:lnTo>
                    <a:pt x="275" y="204"/>
                  </a:lnTo>
                  <a:lnTo>
                    <a:pt x="278" y="207"/>
                  </a:lnTo>
                  <a:lnTo>
                    <a:pt x="276" y="210"/>
                  </a:lnTo>
                  <a:lnTo>
                    <a:pt x="278" y="214"/>
                  </a:lnTo>
                  <a:lnTo>
                    <a:pt x="283" y="214"/>
                  </a:lnTo>
                  <a:lnTo>
                    <a:pt x="283" y="199"/>
                  </a:lnTo>
                  <a:lnTo>
                    <a:pt x="283" y="187"/>
                  </a:lnTo>
                  <a:lnTo>
                    <a:pt x="283" y="174"/>
                  </a:lnTo>
                  <a:lnTo>
                    <a:pt x="283" y="161"/>
                  </a:lnTo>
                  <a:lnTo>
                    <a:pt x="283" y="161"/>
                  </a:lnTo>
                  <a:lnTo>
                    <a:pt x="279" y="163"/>
                  </a:lnTo>
                  <a:lnTo>
                    <a:pt x="276" y="163"/>
                  </a:lnTo>
                  <a:lnTo>
                    <a:pt x="273" y="163"/>
                  </a:lnTo>
                  <a:lnTo>
                    <a:pt x="270" y="168"/>
                  </a:lnTo>
                  <a:lnTo>
                    <a:pt x="271" y="171"/>
                  </a:lnTo>
                  <a:lnTo>
                    <a:pt x="268" y="172"/>
                  </a:lnTo>
                  <a:lnTo>
                    <a:pt x="265" y="171"/>
                  </a:lnTo>
                  <a:lnTo>
                    <a:pt x="260" y="169"/>
                  </a:lnTo>
                  <a:lnTo>
                    <a:pt x="257" y="169"/>
                  </a:lnTo>
                  <a:lnTo>
                    <a:pt x="251" y="163"/>
                  </a:lnTo>
                  <a:lnTo>
                    <a:pt x="244" y="153"/>
                  </a:lnTo>
                  <a:lnTo>
                    <a:pt x="241" y="153"/>
                  </a:lnTo>
                  <a:lnTo>
                    <a:pt x="238" y="149"/>
                  </a:lnTo>
                  <a:lnTo>
                    <a:pt x="235" y="145"/>
                  </a:lnTo>
                  <a:lnTo>
                    <a:pt x="235" y="142"/>
                  </a:lnTo>
                  <a:lnTo>
                    <a:pt x="233" y="139"/>
                  </a:lnTo>
                  <a:lnTo>
                    <a:pt x="232" y="136"/>
                  </a:lnTo>
                  <a:lnTo>
                    <a:pt x="232" y="131"/>
                  </a:lnTo>
                  <a:lnTo>
                    <a:pt x="233" y="128"/>
                  </a:lnTo>
                  <a:lnTo>
                    <a:pt x="235" y="126"/>
                  </a:lnTo>
                  <a:lnTo>
                    <a:pt x="235" y="125"/>
                  </a:lnTo>
                  <a:lnTo>
                    <a:pt x="237" y="122"/>
                  </a:lnTo>
                  <a:lnTo>
                    <a:pt x="237" y="118"/>
                  </a:lnTo>
                  <a:lnTo>
                    <a:pt x="237" y="115"/>
                  </a:lnTo>
                  <a:lnTo>
                    <a:pt x="238" y="112"/>
                  </a:lnTo>
                  <a:lnTo>
                    <a:pt x="238" y="107"/>
                  </a:lnTo>
                  <a:lnTo>
                    <a:pt x="241" y="104"/>
                  </a:lnTo>
                  <a:lnTo>
                    <a:pt x="243" y="101"/>
                  </a:lnTo>
                  <a:lnTo>
                    <a:pt x="243" y="98"/>
                  </a:lnTo>
                  <a:lnTo>
                    <a:pt x="241" y="93"/>
                  </a:lnTo>
                  <a:lnTo>
                    <a:pt x="243" y="90"/>
                  </a:lnTo>
                  <a:lnTo>
                    <a:pt x="241" y="87"/>
                  </a:lnTo>
                  <a:lnTo>
                    <a:pt x="241" y="84"/>
                  </a:lnTo>
                  <a:lnTo>
                    <a:pt x="241" y="74"/>
                  </a:lnTo>
                  <a:lnTo>
                    <a:pt x="243" y="66"/>
                  </a:lnTo>
                  <a:lnTo>
                    <a:pt x="243" y="63"/>
                  </a:lnTo>
                  <a:lnTo>
                    <a:pt x="243" y="58"/>
                  </a:lnTo>
                  <a:lnTo>
                    <a:pt x="241" y="55"/>
                  </a:lnTo>
                  <a:lnTo>
                    <a:pt x="240" y="52"/>
                  </a:lnTo>
                  <a:lnTo>
                    <a:pt x="238" y="49"/>
                  </a:lnTo>
                  <a:lnTo>
                    <a:pt x="238" y="47"/>
                  </a:lnTo>
                  <a:lnTo>
                    <a:pt x="238" y="47"/>
                  </a:lnTo>
                  <a:lnTo>
                    <a:pt x="237" y="46"/>
                  </a:lnTo>
                  <a:lnTo>
                    <a:pt x="233" y="44"/>
                  </a:lnTo>
                  <a:lnTo>
                    <a:pt x="237" y="41"/>
                  </a:lnTo>
                  <a:lnTo>
                    <a:pt x="240" y="38"/>
                  </a:lnTo>
                  <a:lnTo>
                    <a:pt x="243" y="34"/>
                  </a:lnTo>
                  <a:lnTo>
                    <a:pt x="246" y="31"/>
                  </a:lnTo>
                  <a:lnTo>
                    <a:pt x="249" y="28"/>
                  </a:lnTo>
                  <a:lnTo>
                    <a:pt x="252" y="25"/>
                  </a:lnTo>
                  <a:lnTo>
                    <a:pt x="254" y="20"/>
                  </a:lnTo>
                  <a:lnTo>
                    <a:pt x="254" y="15"/>
                  </a:lnTo>
                  <a:lnTo>
                    <a:pt x="252" y="11"/>
                  </a:lnTo>
                  <a:lnTo>
                    <a:pt x="270" y="7"/>
                  </a:lnTo>
                  <a:lnTo>
                    <a:pt x="287" y="4"/>
                  </a:lnTo>
                  <a:lnTo>
                    <a:pt x="303" y="1"/>
                  </a:lnTo>
                  <a:lnTo>
                    <a:pt x="321" y="0"/>
                  </a:lnTo>
                  <a:lnTo>
                    <a:pt x="321" y="3"/>
                  </a:lnTo>
                  <a:lnTo>
                    <a:pt x="322" y="6"/>
                  </a:lnTo>
                  <a:lnTo>
                    <a:pt x="325" y="9"/>
                  </a:lnTo>
                  <a:lnTo>
                    <a:pt x="327" y="12"/>
                  </a:lnTo>
                  <a:lnTo>
                    <a:pt x="330" y="15"/>
                  </a:lnTo>
                  <a:lnTo>
                    <a:pt x="335" y="15"/>
                  </a:lnTo>
                  <a:lnTo>
                    <a:pt x="335" y="15"/>
                  </a:lnTo>
                  <a:lnTo>
                    <a:pt x="338" y="15"/>
                  </a:lnTo>
                  <a:lnTo>
                    <a:pt x="341" y="15"/>
                  </a:lnTo>
                  <a:lnTo>
                    <a:pt x="344" y="17"/>
                  </a:lnTo>
                  <a:lnTo>
                    <a:pt x="346" y="19"/>
                  </a:lnTo>
                  <a:lnTo>
                    <a:pt x="349" y="22"/>
                  </a:lnTo>
                  <a:lnTo>
                    <a:pt x="349" y="25"/>
                  </a:lnTo>
                  <a:lnTo>
                    <a:pt x="354" y="28"/>
                  </a:lnTo>
                  <a:lnTo>
                    <a:pt x="354" y="28"/>
                  </a:lnTo>
                  <a:lnTo>
                    <a:pt x="355" y="26"/>
                  </a:lnTo>
                  <a:lnTo>
                    <a:pt x="360" y="28"/>
                  </a:lnTo>
                  <a:lnTo>
                    <a:pt x="362" y="31"/>
                  </a:lnTo>
                  <a:lnTo>
                    <a:pt x="365" y="34"/>
                  </a:lnTo>
                  <a:lnTo>
                    <a:pt x="368" y="34"/>
                  </a:lnTo>
                  <a:lnTo>
                    <a:pt x="371" y="36"/>
                  </a:lnTo>
                  <a:lnTo>
                    <a:pt x="375" y="38"/>
                  </a:lnTo>
                  <a:lnTo>
                    <a:pt x="378" y="38"/>
                  </a:lnTo>
                  <a:lnTo>
                    <a:pt x="381" y="39"/>
                  </a:lnTo>
                  <a:lnTo>
                    <a:pt x="382" y="42"/>
                  </a:lnTo>
                  <a:lnTo>
                    <a:pt x="387" y="42"/>
                  </a:lnTo>
                  <a:lnTo>
                    <a:pt x="390" y="44"/>
                  </a:lnTo>
                  <a:lnTo>
                    <a:pt x="392" y="44"/>
                  </a:lnTo>
                  <a:lnTo>
                    <a:pt x="392" y="46"/>
                  </a:lnTo>
                  <a:lnTo>
                    <a:pt x="392" y="46"/>
                  </a:lnTo>
                  <a:lnTo>
                    <a:pt x="395" y="47"/>
                  </a:lnTo>
                  <a:lnTo>
                    <a:pt x="398" y="49"/>
                  </a:lnTo>
                  <a:lnTo>
                    <a:pt x="398" y="52"/>
                  </a:lnTo>
                  <a:lnTo>
                    <a:pt x="400" y="55"/>
                  </a:lnTo>
                  <a:lnTo>
                    <a:pt x="400" y="57"/>
                  </a:lnTo>
                  <a:lnTo>
                    <a:pt x="400" y="57"/>
                  </a:lnTo>
                  <a:lnTo>
                    <a:pt x="401" y="57"/>
                  </a:lnTo>
                  <a:lnTo>
                    <a:pt x="405" y="57"/>
                  </a:lnTo>
                  <a:lnTo>
                    <a:pt x="408" y="60"/>
                  </a:lnTo>
                  <a:lnTo>
                    <a:pt x="409" y="61"/>
                  </a:lnTo>
                  <a:lnTo>
                    <a:pt x="413" y="66"/>
                  </a:lnTo>
                  <a:lnTo>
                    <a:pt x="414" y="69"/>
                  </a:lnTo>
                  <a:lnTo>
                    <a:pt x="411" y="72"/>
                  </a:lnTo>
                  <a:lnTo>
                    <a:pt x="411" y="76"/>
                  </a:lnTo>
                  <a:lnTo>
                    <a:pt x="416" y="79"/>
                  </a:lnTo>
                  <a:lnTo>
                    <a:pt x="419" y="82"/>
                  </a:lnTo>
                  <a:lnTo>
                    <a:pt x="419" y="85"/>
                  </a:lnTo>
                  <a:lnTo>
                    <a:pt x="419" y="88"/>
                  </a:lnTo>
                  <a:lnTo>
                    <a:pt x="422" y="92"/>
                  </a:lnTo>
                  <a:lnTo>
                    <a:pt x="424" y="96"/>
                  </a:lnTo>
                  <a:lnTo>
                    <a:pt x="422" y="98"/>
                  </a:lnTo>
                  <a:lnTo>
                    <a:pt x="419" y="103"/>
                  </a:lnTo>
                  <a:lnTo>
                    <a:pt x="416" y="106"/>
                  </a:lnTo>
                  <a:lnTo>
                    <a:pt x="411" y="106"/>
                  </a:lnTo>
                  <a:lnTo>
                    <a:pt x="408" y="107"/>
                  </a:lnTo>
                  <a:lnTo>
                    <a:pt x="409" y="112"/>
                  </a:lnTo>
                  <a:lnTo>
                    <a:pt x="411" y="115"/>
                  </a:lnTo>
                  <a:lnTo>
                    <a:pt x="413" y="120"/>
                  </a:lnTo>
                  <a:lnTo>
                    <a:pt x="413" y="123"/>
                  </a:lnTo>
                  <a:lnTo>
                    <a:pt x="409" y="130"/>
                  </a:lnTo>
                  <a:lnTo>
                    <a:pt x="408" y="133"/>
                  </a:lnTo>
                  <a:lnTo>
                    <a:pt x="408" y="136"/>
                  </a:lnTo>
                  <a:lnTo>
                    <a:pt x="409" y="141"/>
                  </a:lnTo>
                  <a:lnTo>
                    <a:pt x="409" y="144"/>
                  </a:lnTo>
                  <a:lnTo>
                    <a:pt x="409" y="149"/>
                  </a:lnTo>
                  <a:lnTo>
                    <a:pt x="409" y="152"/>
                  </a:lnTo>
                  <a:lnTo>
                    <a:pt x="409" y="155"/>
                  </a:lnTo>
                  <a:lnTo>
                    <a:pt x="408" y="158"/>
                  </a:lnTo>
                  <a:lnTo>
                    <a:pt x="409" y="163"/>
                  </a:lnTo>
                  <a:lnTo>
                    <a:pt x="409" y="164"/>
                  </a:lnTo>
                  <a:lnTo>
                    <a:pt x="413" y="168"/>
                  </a:lnTo>
                  <a:lnTo>
                    <a:pt x="416" y="169"/>
                  </a:lnTo>
                  <a:lnTo>
                    <a:pt x="416" y="171"/>
                  </a:lnTo>
                  <a:lnTo>
                    <a:pt x="413" y="174"/>
                  </a:lnTo>
                  <a:lnTo>
                    <a:pt x="409" y="176"/>
                  </a:lnTo>
                  <a:lnTo>
                    <a:pt x="405" y="179"/>
                  </a:lnTo>
                  <a:lnTo>
                    <a:pt x="401" y="179"/>
                  </a:lnTo>
                  <a:lnTo>
                    <a:pt x="398" y="182"/>
                  </a:lnTo>
                  <a:lnTo>
                    <a:pt x="395" y="185"/>
                  </a:lnTo>
                  <a:lnTo>
                    <a:pt x="395" y="188"/>
                  </a:lnTo>
                  <a:lnTo>
                    <a:pt x="398" y="193"/>
                  </a:lnTo>
                  <a:lnTo>
                    <a:pt x="397" y="196"/>
                  </a:lnTo>
                  <a:lnTo>
                    <a:pt x="397" y="199"/>
                  </a:lnTo>
                  <a:lnTo>
                    <a:pt x="397" y="203"/>
                  </a:lnTo>
                  <a:lnTo>
                    <a:pt x="392" y="210"/>
                  </a:lnTo>
                  <a:lnTo>
                    <a:pt x="386" y="222"/>
                  </a:lnTo>
                  <a:lnTo>
                    <a:pt x="389" y="222"/>
                  </a:lnTo>
                  <a:lnTo>
                    <a:pt x="389" y="225"/>
                  </a:lnTo>
                  <a:lnTo>
                    <a:pt x="389" y="228"/>
                  </a:lnTo>
                  <a:lnTo>
                    <a:pt x="392" y="229"/>
                  </a:lnTo>
                  <a:lnTo>
                    <a:pt x="395" y="234"/>
                  </a:lnTo>
                  <a:lnTo>
                    <a:pt x="395" y="237"/>
                  </a:lnTo>
                  <a:lnTo>
                    <a:pt x="398" y="237"/>
                  </a:lnTo>
                  <a:lnTo>
                    <a:pt x="401" y="233"/>
                  </a:lnTo>
                  <a:lnTo>
                    <a:pt x="401" y="233"/>
                  </a:lnTo>
                  <a:lnTo>
                    <a:pt x="405" y="237"/>
                  </a:lnTo>
                  <a:lnTo>
                    <a:pt x="390" y="242"/>
                  </a:lnTo>
                  <a:lnTo>
                    <a:pt x="376" y="248"/>
                  </a:lnTo>
                  <a:lnTo>
                    <a:pt x="363" y="252"/>
                  </a:lnTo>
                  <a:lnTo>
                    <a:pt x="351" y="256"/>
                  </a:lnTo>
                  <a:lnTo>
                    <a:pt x="338" y="263"/>
                  </a:lnTo>
                  <a:lnTo>
                    <a:pt x="324" y="266"/>
                  </a:lnTo>
                  <a:lnTo>
                    <a:pt x="309" y="271"/>
                  </a:lnTo>
                  <a:lnTo>
                    <a:pt x="295" y="277"/>
                  </a:lnTo>
                  <a:lnTo>
                    <a:pt x="295" y="280"/>
                  </a:lnTo>
                  <a:lnTo>
                    <a:pt x="297" y="283"/>
                  </a:lnTo>
                  <a:lnTo>
                    <a:pt x="297" y="288"/>
                  </a:lnTo>
                  <a:lnTo>
                    <a:pt x="300" y="291"/>
                  </a:lnTo>
                  <a:lnTo>
                    <a:pt x="300" y="294"/>
                  </a:lnTo>
                  <a:lnTo>
                    <a:pt x="300" y="298"/>
                  </a:lnTo>
                  <a:lnTo>
                    <a:pt x="302" y="301"/>
                  </a:lnTo>
                  <a:lnTo>
                    <a:pt x="302" y="302"/>
                  </a:lnTo>
                  <a:lnTo>
                    <a:pt x="302" y="304"/>
                  </a:lnTo>
                  <a:lnTo>
                    <a:pt x="297" y="304"/>
                  </a:lnTo>
                  <a:lnTo>
                    <a:pt x="294" y="304"/>
                  </a:lnTo>
                  <a:lnTo>
                    <a:pt x="290" y="302"/>
                  </a:lnTo>
                  <a:lnTo>
                    <a:pt x="287" y="304"/>
                  </a:lnTo>
                  <a:lnTo>
                    <a:pt x="284" y="302"/>
                  </a:lnTo>
                  <a:lnTo>
                    <a:pt x="273" y="304"/>
                  </a:lnTo>
                  <a:lnTo>
                    <a:pt x="262" y="309"/>
                  </a:lnTo>
                  <a:lnTo>
                    <a:pt x="259" y="310"/>
                  </a:lnTo>
                  <a:lnTo>
                    <a:pt x="256" y="312"/>
                  </a:lnTo>
                  <a:lnTo>
                    <a:pt x="252" y="317"/>
                  </a:lnTo>
                  <a:lnTo>
                    <a:pt x="249" y="317"/>
                  </a:lnTo>
                  <a:lnTo>
                    <a:pt x="249" y="317"/>
                  </a:lnTo>
                  <a:lnTo>
                    <a:pt x="246" y="320"/>
                  </a:lnTo>
                  <a:lnTo>
                    <a:pt x="246" y="321"/>
                  </a:lnTo>
                  <a:lnTo>
                    <a:pt x="246" y="326"/>
                  </a:lnTo>
                  <a:lnTo>
                    <a:pt x="246" y="333"/>
                  </a:lnTo>
                  <a:lnTo>
                    <a:pt x="244" y="336"/>
                  </a:lnTo>
                  <a:lnTo>
                    <a:pt x="241" y="339"/>
                  </a:lnTo>
                  <a:lnTo>
                    <a:pt x="241" y="340"/>
                  </a:lnTo>
                  <a:lnTo>
                    <a:pt x="240" y="340"/>
                  </a:lnTo>
                  <a:lnTo>
                    <a:pt x="237" y="342"/>
                  </a:lnTo>
                  <a:lnTo>
                    <a:pt x="230" y="345"/>
                  </a:lnTo>
                  <a:lnTo>
                    <a:pt x="227" y="347"/>
                  </a:lnTo>
                  <a:lnTo>
                    <a:pt x="222" y="348"/>
                  </a:lnTo>
                  <a:lnTo>
                    <a:pt x="219" y="352"/>
                  </a:lnTo>
                  <a:lnTo>
                    <a:pt x="216" y="353"/>
                  </a:lnTo>
                  <a:lnTo>
                    <a:pt x="214" y="355"/>
                  </a:lnTo>
                  <a:lnTo>
                    <a:pt x="210" y="356"/>
                  </a:lnTo>
                  <a:lnTo>
                    <a:pt x="206" y="358"/>
                  </a:lnTo>
                  <a:lnTo>
                    <a:pt x="205" y="363"/>
                  </a:lnTo>
                  <a:lnTo>
                    <a:pt x="202" y="369"/>
                  </a:lnTo>
                  <a:lnTo>
                    <a:pt x="200" y="372"/>
                  </a:lnTo>
                  <a:lnTo>
                    <a:pt x="197" y="375"/>
                  </a:lnTo>
                  <a:lnTo>
                    <a:pt x="197" y="375"/>
                  </a:lnTo>
                  <a:lnTo>
                    <a:pt x="192" y="380"/>
                  </a:lnTo>
                  <a:lnTo>
                    <a:pt x="189" y="383"/>
                  </a:lnTo>
                  <a:lnTo>
                    <a:pt x="186" y="388"/>
                  </a:lnTo>
                  <a:lnTo>
                    <a:pt x="183" y="391"/>
                  </a:lnTo>
                  <a:lnTo>
                    <a:pt x="183" y="394"/>
                  </a:lnTo>
                  <a:lnTo>
                    <a:pt x="178" y="398"/>
                  </a:lnTo>
                  <a:lnTo>
                    <a:pt x="178" y="398"/>
                  </a:lnTo>
                  <a:lnTo>
                    <a:pt x="175" y="399"/>
                  </a:lnTo>
                  <a:lnTo>
                    <a:pt x="172" y="401"/>
                  </a:lnTo>
                  <a:lnTo>
                    <a:pt x="170" y="401"/>
                  </a:lnTo>
                  <a:lnTo>
                    <a:pt x="167" y="402"/>
                  </a:lnTo>
                  <a:lnTo>
                    <a:pt x="167" y="402"/>
                  </a:lnTo>
                  <a:lnTo>
                    <a:pt x="164" y="401"/>
                  </a:lnTo>
                  <a:lnTo>
                    <a:pt x="159" y="399"/>
                  </a:lnTo>
                  <a:lnTo>
                    <a:pt x="156" y="398"/>
                  </a:lnTo>
                  <a:lnTo>
                    <a:pt x="154" y="398"/>
                  </a:lnTo>
                  <a:lnTo>
                    <a:pt x="149" y="396"/>
                  </a:lnTo>
                  <a:lnTo>
                    <a:pt x="146" y="398"/>
                  </a:lnTo>
                  <a:lnTo>
                    <a:pt x="143" y="399"/>
                  </a:lnTo>
                  <a:lnTo>
                    <a:pt x="140" y="401"/>
                  </a:lnTo>
                  <a:lnTo>
                    <a:pt x="137" y="398"/>
                  </a:lnTo>
                  <a:lnTo>
                    <a:pt x="137" y="398"/>
                  </a:lnTo>
                  <a:lnTo>
                    <a:pt x="133" y="393"/>
                  </a:lnTo>
                  <a:lnTo>
                    <a:pt x="130" y="393"/>
                  </a:lnTo>
                  <a:lnTo>
                    <a:pt x="129" y="393"/>
                  </a:lnTo>
                  <a:lnTo>
                    <a:pt x="126" y="393"/>
                  </a:lnTo>
                  <a:lnTo>
                    <a:pt x="122" y="394"/>
                  </a:lnTo>
                  <a:lnTo>
                    <a:pt x="118" y="393"/>
                  </a:lnTo>
                  <a:lnTo>
                    <a:pt x="113" y="390"/>
                  </a:lnTo>
                  <a:lnTo>
                    <a:pt x="106" y="382"/>
                  </a:lnTo>
                  <a:lnTo>
                    <a:pt x="103" y="380"/>
                  </a:lnTo>
                  <a:lnTo>
                    <a:pt x="99" y="380"/>
                  </a:lnTo>
                  <a:lnTo>
                    <a:pt x="95" y="379"/>
                  </a:lnTo>
                  <a:lnTo>
                    <a:pt x="92" y="380"/>
                  </a:lnTo>
                  <a:lnTo>
                    <a:pt x="89" y="380"/>
                  </a:lnTo>
                  <a:lnTo>
                    <a:pt x="80" y="379"/>
                  </a:lnTo>
                  <a:lnTo>
                    <a:pt x="68" y="380"/>
                  </a:lnTo>
                  <a:lnTo>
                    <a:pt x="60" y="383"/>
                  </a:lnTo>
                  <a:lnTo>
                    <a:pt x="53" y="385"/>
                  </a:lnTo>
                  <a:lnTo>
                    <a:pt x="41" y="375"/>
                  </a:lnTo>
                  <a:lnTo>
                    <a:pt x="32" y="366"/>
                  </a:lnTo>
                  <a:lnTo>
                    <a:pt x="22" y="355"/>
                  </a:lnTo>
                  <a:lnTo>
                    <a:pt x="11" y="344"/>
                  </a:lnTo>
                  <a:lnTo>
                    <a:pt x="5" y="336"/>
                  </a:lnTo>
                  <a:lnTo>
                    <a:pt x="0" y="32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91" name="Freeform 460"/>
            <p:cNvSpPr>
              <a:spLocks/>
            </p:cNvSpPr>
            <p:nvPr/>
          </p:nvSpPr>
          <p:spPr bwMode="auto">
            <a:xfrm>
              <a:off x="6231022" y="5155573"/>
              <a:ext cx="83811" cy="267404"/>
            </a:xfrm>
            <a:custGeom>
              <a:avLst/>
              <a:gdLst>
                <a:gd name="T0" fmla="*/ 6 w 112"/>
                <a:gd name="T1" fmla="*/ 161 h 315"/>
                <a:gd name="T2" fmla="*/ 12 w 112"/>
                <a:gd name="T3" fmla="*/ 144 h 315"/>
                <a:gd name="T4" fmla="*/ 15 w 112"/>
                <a:gd name="T5" fmla="*/ 130 h 315"/>
                <a:gd name="T6" fmla="*/ 30 w 112"/>
                <a:gd name="T7" fmla="*/ 122 h 315"/>
                <a:gd name="T8" fmla="*/ 23 w 112"/>
                <a:gd name="T9" fmla="*/ 114 h 315"/>
                <a:gd name="T10" fmla="*/ 23 w 112"/>
                <a:gd name="T11" fmla="*/ 100 h 315"/>
                <a:gd name="T12" fmla="*/ 22 w 112"/>
                <a:gd name="T13" fmla="*/ 84 h 315"/>
                <a:gd name="T14" fmla="*/ 27 w 112"/>
                <a:gd name="T15" fmla="*/ 71 h 315"/>
                <a:gd name="T16" fmla="*/ 25 w 112"/>
                <a:gd name="T17" fmla="*/ 57 h 315"/>
                <a:gd name="T18" fmla="*/ 38 w 112"/>
                <a:gd name="T19" fmla="*/ 47 h 315"/>
                <a:gd name="T20" fmla="*/ 33 w 112"/>
                <a:gd name="T21" fmla="*/ 33 h 315"/>
                <a:gd name="T22" fmla="*/ 28 w 112"/>
                <a:gd name="T23" fmla="*/ 20 h 315"/>
                <a:gd name="T24" fmla="*/ 19 w 112"/>
                <a:gd name="T25" fmla="*/ 8 h 315"/>
                <a:gd name="T26" fmla="*/ 14 w 112"/>
                <a:gd name="T27" fmla="*/ 6 h 315"/>
                <a:gd name="T28" fmla="*/ 19 w 112"/>
                <a:gd name="T29" fmla="*/ 3 h 315"/>
                <a:gd name="T30" fmla="*/ 31 w 112"/>
                <a:gd name="T31" fmla="*/ 8 h 315"/>
                <a:gd name="T32" fmla="*/ 44 w 112"/>
                <a:gd name="T33" fmla="*/ 9 h 315"/>
                <a:gd name="T34" fmla="*/ 47 w 112"/>
                <a:gd name="T35" fmla="*/ 22 h 315"/>
                <a:gd name="T36" fmla="*/ 55 w 112"/>
                <a:gd name="T37" fmla="*/ 35 h 315"/>
                <a:gd name="T38" fmla="*/ 57 w 112"/>
                <a:gd name="T39" fmla="*/ 52 h 315"/>
                <a:gd name="T40" fmla="*/ 57 w 112"/>
                <a:gd name="T41" fmla="*/ 68 h 315"/>
                <a:gd name="T42" fmla="*/ 60 w 112"/>
                <a:gd name="T43" fmla="*/ 90 h 315"/>
                <a:gd name="T44" fmla="*/ 49 w 112"/>
                <a:gd name="T45" fmla="*/ 108 h 315"/>
                <a:gd name="T46" fmla="*/ 49 w 112"/>
                <a:gd name="T47" fmla="*/ 119 h 315"/>
                <a:gd name="T48" fmla="*/ 54 w 112"/>
                <a:gd name="T49" fmla="*/ 133 h 315"/>
                <a:gd name="T50" fmla="*/ 58 w 112"/>
                <a:gd name="T51" fmla="*/ 147 h 315"/>
                <a:gd name="T52" fmla="*/ 60 w 112"/>
                <a:gd name="T53" fmla="*/ 165 h 315"/>
                <a:gd name="T54" fmla="*/ 68 w 112"/>
                <a:gd name="T55" fmla="*/ 180 h 315"/>
                <a:gd name="T56" fmla="*/ 68 w 112"/>
                <a:gd name="T57" fmla="*/ 193 h 315"/>
                <a:gd name="T58" fmla="*/ 76 w 112"/>
                <a:gd name="T59" fmla="*/ 190 h 315"/>
                <a:gd name="T60" fmla="*/ 92 w 112"/>
                <a:gd name="T61" fmla="*/ 199 h 315"/>
                <a:gd name="T62" fmla="*/ 87 w 112"/>
                <a:gd name="T63" fmla="*/ 185 h 315"/>
                <a:gd name="T64" fmla="*/ 79 w 112"/>
                <a:gd name="T65" fmla="*/ 176 h 315"/>
                <a:gd name="T66" fmla="*/ 80 w 112"/>
                <a:gd name="T67" fmla="*/ 169 h 315"/>
                <a:gd name="T68" fmla="*/ 96 w 112"/>
                <a:gd name="T69" fmla="*/ 190 h 315"/>
                <a:gd name="T70" fmla="*/ 112 w 112"/>
                <a:gd name="T71" fmla="*/ 214 h 315"/>
                <a:gd name="T72" fmla="*/ 109 w 112"/>
                <a:gd name="T73" fmla="*/ 234 h 315"/>
                <a:gd name="T74" fmla="*/ 111 w 112"/>
                <a:gd name="T75" fmla="*/ 250 h 315"/>
                <a:gd name="T76" fmla="*/ 109 w 112"/>
                <a:gd name="T77" fmla="*/ 265 h 315"/>
                <a:gd name="T78" fmla="*/ 106 w 112"/>
                <a:gd name="T79" fmla="*/ 272 h 315"/>
                <a:gd name="T80" fmla="*/ 92 w 112"/>
                <a:gd name="T81" fmla="*/ 276 h 315"/>
                <a:gd name="T82" fmla="*/ 85 w 112"/>
                <a:gd name="T83" fmla="*/ 290 h 315"/>
                <a:gd name="T84" fmla="*/ 84 w 112"/>
                <a:gd name="T85" fmla="*/ 291 h 315"/>
                <a:gd name="T86" fmla="*/ 88 w 112"/>
                <a:gd name="T87" fmla="*/ 303 h 315"/>
                <a:gd name="T88" fmla="*/ 88 w 112"/>
                <a:gd name="T89" fmla="*/ 315 h 315"/>
                <a:gd name="T90" fmla="*/ 84 w 112"/>
                <a:gd name="T91" fmla="*/ 307 h 315"/>
                <a:gd name="T92" fmla="*/ 76 w 112"/>
                <a:gd name="T93" fmla="*/ 298 h 315"/>
                <a:gd name="T94" fmla="*/ 63 w 112"/>
                <a:gd name="T95" fmla="*/ 284 h 315"/>
                <a:gd name="T96" fmla="*/ 58 w 112"/>
                <a:gd name="T97" fmla="*/ 269 h 315"/>
                <a:gd name="T98" fmla="*/ 58 w 112"/>
                <a:gd name="T99" fmla="*/ 257 h 315"/>
                <a:gd name="T100" fmla="*/ 63 w 112"/>
                <a:gd name="T101" fmla="*/ 244 h 315"/>
                <a:gd name="T102" fmla="*/ 65 w 112"/>
                <a:gd name="T103" fmla="*/ 231 h 315"/>
                <a:gd name="T104" fmla="*/ 65 w 112"/>
                <a:gd name="T105" fmla="*/ 217 h 315"/>
                <a:gd name="T106" fmla="*/ 57 w 112"/>
                <a:gd name="T107" fmla="*/ 204 h 315"/>
                <a:gd name="T108" fmla="*/ 42 w 112"/>
                <a:gd name="T109" fmla="*/ 207 h 315"/>
                <a:gd name="T110" fmla="*/ 31 w 112"/>
                <a:gd name="T111" fmla="*/ 207 h 315"/>
                <a:gd name="T112" fmla="*/ 20 w 112"/>
                <a:gd name="T113" fmla="*/ 195 h 315"/>
                <a:gd name="T114" fmla="*/ 15 w 112"/>
                <a:gd name="T115" fmla="*/ 184 h 315"/>
                <a:gd name="T116" fmla="*/ 6 w 112"/>
                <a:gd name="T117" fmla="*/ 180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2" h="315">
                  <a:moveTo>
                    <a:pt x="3" y="176"/>
                  </a:moveTo>
                  <a:lnTo>
                    <a:pt x="3" y="173"/>
                  </a:lnTo>
                  <a:lnTo>
                    <a:pt x="0" y="173"/>
                  </a:lnTo>
                  <a:lnTo>
                    <a:pt x="6" y="161"/>
                  </a:lnTo>
                  <a:lnTo>
                    <a:pt x="11" y="154"/>
                  </a:lnTo>
                  <a:lnTo>
                    <a:pt x="11" y="150"/>
                  </a:lnTo>
                  <a:lnTo>
                    <a:pt x="11" y="147"/>
                  </a:lnTo>
                  <a:lnTo>
                    <a:pt x="12" y="144"/>
                  </a:lnTo>
                  <a:lnTo>
                    <a:pt x="9" y="139"/>
                  </a:lnTo>
                  <a:lnTo>
                    <a:pt x="9" y="136"/>
                  </a:lnTo>
                  <a:lnTo>
                    <a:pt x="12" y="133"/>
                  </a:lnTo>
                  <a:lnTo>
                    <a:pt x="15" y="130"/>
                  </a:lnTo>
                  <a:lnTo>
                    <a:pt x="19" y="130"/>
                  </a:lnTo>
                  <a:lnTo>
                    <a:pt x="23" y="127"/>
                  </a:lnTo>
                  <a:lnTo>
                    <a:pt x="27" y="125"/>
                  </a:lnTo>
                  <a:lnTo>
                    <a:pt x="30" y="122"/>
                  </a:lnTo>
                  <a:lnTo>
                    <a:pt x="30" y="120"/>
                  </a:lnTo>
                  <a:lnTo>
                    <a:pt x="27" y="119"/>
                  </a:lnTo>
                  <a:lnTo>
                    <a:pt x="23" y="115"/>
                  </a:lnTo>
                  <a:lnTo>
                    <a:pt x="23" y="114"/>
                  </a:lnTo>
                  <a:lnTo>
                    <a:pt x="22" y="109"/>
                  </a:lnTo>
                  <a:lnTo>
                    <a:pt x="23" y="106"/>
                  </a:lnTo>
                  <a:lnTo>
                    <a:pt x="23" y="103"/>
                  </a:lnTo>
                  <a:lnTo>
                    <a:pt x="23" y="100"/>
                  </a:lnTo>
                  <a:lnTo>
                    <a:pt x="23" y="95"/>
                  </a:lnTo>
                  <a:lnTo>
                    <a:pt x="23" y="92"/>
                  </a:lnTo>
                  <a:lnTo>
                    <a:pt x="23" y="88"/>
                  </a:lnTo>
                  <a:lnTo>
                    <a:pt x="22" y="84"/>
                  </a:lnTo>
                  <a:lnTo>
                    <a:pt x="23" y="81"/>
                  </a:lnTo>
                  <a:lnTo>
                    <a:pt x="25" y="77"/>
                  </a:lnTo>
                  <a:lnTo>
                    <a:pt x="27" y="74"/>
                  </a:lnTo>
                  <a:lnTo>
                    <a:pt x="27" y="71"/>
                  </a:lnTo>
                  <a:lnTo>
                    <a:pt x="25" y="66"/>
                  </a:lnTo>
                  <a:lnTo>
                    <a:pt x="23" y="63"/>
                  </a:lnTo>
                  <a:lnTo>
                    <a:pt x="22" y="58"/>
                  </a:lnTo>
                  <a:lnTo>
                    <a:pt x="25" y="57"/>
                  </a:lnTo>
                  <a:lnTo>
                    <a:pt x="30" y="57"/>
                  </a:lnTo>
                  <a:lnTo>
                    <a:pt x="33" y="54"/>
                  </a:lnTo>
                  <a:lnTo>
                    <a:pt x="36" y="49"/>
                  </a:lnTo>
                  <a:lnTo>
                    <a:pt x="38" y="47"/>
                  </a:lnTo>
                  <a:lnTo>
                    <a:pt x="36" y="43"/>
                  </a:lnTo>
                  <a:lnTo>
                    <a:pt x="33" y="39"/>
                  </a:lnTo>
                  <a:lnTo>
                    <a:pt x="33" y="36"/>
                  </a:lnTo>
                  <a:lnTo>
                    <a:pt x="33" y="33"/>
                  </a:lnTo>
                  <a:lnTo>
                    <a:pt x="30" y="30"/>
                  </a:lnTo>
                  <a:lnTo>
                    <a:pt x="25" y="27"/>
                  </a:lnTo>
                  <a:lnTo>
                    <a:pt x="25" y="23"/>
                  </a:lnTo>
                  <a:lnTo>
                    <a:pt x="28" y="20"/>
                  </a:lnTo>
                  <a:lnTo>
                    <a:pt x="27" y="17"/>
                  </a:lnTo>
                  <a:lnTo>
                    <a:pt x="23" y="12"/>
                  </a:lnTo>
                  <a:lnTo>
                    <a:pt x="22" y="11"/>
                  </a:lnTo>
                  <a:lnTo>
                    <a:pt x="19" y="8"/>
                  </a:lnTo>
                  <a:lnTo>
                    <a:pt x="15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6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15" y="0"/>
                  </a:lnTo>
                  <a:lnTo>
                    <a:pt x="19" y="3"/>
                  </a:lnTo>
                  <a:lnTo>
                    <a:pt x="22" y="3"/>
                  </a:lnTo>
                  <a:lnTo>
                    <a:pt x="25" y="3"/>
                  </a:lnTo>
                  <a:lnTo>
                    <a:pt x="28" y="6"/>
                  </a:lnTo>
                  <a:lnTo>
                    <a:pt x="31" y="8"/>
                  </a:lnTo>
                  <a:lnTo>
                    <a:pt x="36" y="8"/>
                  </a:lnTo>
                  <a:lnTo>
                    <a:pt x="39" y="8"/>
                  </a:lnTo>
                  <a:lnTo>
                    <a:pt x="41" y="6"/>
                  </a:lnTo>
                  <a:lnTo>
                    <a:pt x="44" y="9"/>
                  </a:lnTo>
                  <a:lnTo>
                    <a:pt x="47" y="12"/>
                  </a:lnTo>
                  <a:lnTo>
                    <a:pt x="46" y="16"/>
                  </a:lnTo>
                  <a:lnTo>
                    <a:pt x="47" y="19"/>
                  </a:lnTo>
                  <a:lnTo>
                    <a:pt x="47" y="22"/>
                  </a:lnTo>
                  <a:lnTo>
                    <a:pt x="49" y="23"/>
                  </a:lnTo>
                  <a:lnTo>
                    <a:pt x="49" y="27"/>
                  </a:lnTo>
                  <a:lnTo>
                    <a:pt x="52" y="31"/>
                  </a:lnTo>
                  <a:lnTo>
                    <a:pt x="55" y="35"/>
                  </a:lnTo>
                  <a:lnTo>
                    <a:pt x="57" y="38"/>
                  </a:lnTo>
                  <a:lnTo>
                    <a:pt x="58" y="43"/>
                  </a:lnTo>
                  <a:lnTo>
                    <a:pt x="57" y="49"/>
                  </a:lnTo>
                  <a:lnTo>
                    <a:pt x="57" y="52"/>
                  </a:lnTo>
                  <a:lnTo>
                    <a:pt x="57" y="57"/>
                  </a:lnTo>
                  <a:lnTo>
                    <a:pt x="57" y="60"/>
                  </a:lnTo>
                  <a:lnTo>
                    <a:pt x="57" y="63"/>
                  </a:lnTo>
                  <a:lnTo>
                    <a:pt x="57" y="68"/>
                  </a:lnTo>
                  <a:lnTo>
                    <a:pt x="57" y="74"/>
                  </a:lnTo>
                  <a:lnTo>
                    <a:pt x="58" y="77"/>
                  </a:lnTo>
                  <a:lnTo>
                    <a:pt x="58" y="82"/>
                  </a:lnTo>
                  <a:lnTo>
                    <a:pt x="60" y="90"/>
                  </a:lnTo>
                  <a:lnTo>
                    <a:pt x="60" y="93"/>
                  </a:lnTo>
                  <a:lnTo>
                    <a:pt x="57" y="96"/>
                  </a:lnTo>
                  <a:lnTo>
                    <a:pt x="52" y="104"/>
                  </a:lnTo>
                  <a:lnTo>
                    <a:pt x="49" y="108"/>
                  </a:lnTo>
                  <a:lnTo>
                    <a:pt x="49" y="111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9"/>
                  </a:lnTo>
                  <a:lnTo>
                    <a:pt x="54" y="122"/>
                  </a:lnTo>
                  <a:lnTo>
                    <a:pt x="54" y="125"/>
                  </a:lnTo>
                  <a:lnTo>
                    <a:pt x="54" y="128"/>
                  </a:lnTo>
                  <a:lnTo>
                    <a:pt x="54" y="133"/>
                  </a:lnTo>
                  <a:lnTo>
                    <a:pt x="57" y="136"/>
                  </a:lnTo>
                  <a:lnTo>
                    <a:pt x="57" y="139"/>
                  </a:lnTo>
                  <a:lnTo>
                    <a:pt x="58" y="144"/>
                  </a:lnTo>
                  <a:lnTo>
                    <a:pt x="58" y="147"/>
                  </a:lnTo>
                  <a:lnTo>
                    <a:pt x="58" y="150"/>
                  </a:lnTo>
                  <a:lnTo>
                    <a:pt x="58" y="158"/>
                  </a:lnTo>
                  <a:lnTo>
                    <a:pt x="58" y="161"/>
                  </a:lnTo>
                  <a:lnTo>
                    <a:pt x="60" y="165"/>
                  </a:lnTo>
                  <a:lnTo>
                    <a:pt x="61" y="168"/>
                  </a:lnTo>
                  <a:lnTo>
                    <a:pt x="65" y="169"/>
                  </a:lnTo>
                  <a:lnTo>
                    <a:pt x="68" y="173"/>
                  </a:lnTo>
                  <a:lnTo>
                    <a:pt x="68" y="180"/>
                  </a:lnTo>
                  <a:lnTo>
                    <a:pt x="66" y="185"/>
                  </a:lnTo>
                  <a:lnTo>
                    <a:pt x="65" y="187"/>
                  </a:lnTo>
                  <a:lnTo>
                    <a:pt x="65" y="190"/>
                  </a:lnTo>
                  <a:lnTo>
                    <a:pt x="68" y="193"/>
                  </a:lnTo>
                  <a:lnTo>
                    <a:pt x="71" y="198"/>
                  </a:lnTo>
                  <a:lnTo>
                    <a:pt x="73" y="198"/>
                  </a:lnTo>
                  <a:lnTo>
                    <a:pt x="74" y="195"/>
                  </a:lnTo>
                  <a:lnTo>
                    <a:pt x="76" y="190"/>
                  </a:lnTo>
                  <a:lnTo>
                    <a:pt x="76" y="187"/>
                  </a:lnTo>
                  <a:lnTo>
                    <a:pt x="84" y="195"/>
                  </a:lnTo>
                  <a:lnTo>
                    <a:pt x="90" y="204"/>
                  </a:lnTo>
                  <a:lnTo>
                    <a:pt x="92" y="199"/>
                  </a:lnTo>
                  <a:lnTo>
                    <a:pt x="90" y="196"/>
                  </a:lnTo>
                  <a:lnTo>
                    <a:pt x="88" y="193"/>
                  </a:lnTo>
                  <a:lnTo>
                    <a:pt x="88" y="190"/>
                  </a:lnTo>
                  <a:lnTo>
                    <a:pt x="87" y="185"/>
                  </a:lnTo>
                  <a:lnTo>
                    <a:pt x="85" y="182"/>
                  </a:lnTo>
                  <a:lnTo>
                    <a:pt x="85" y="179"/>
                  </a:lnTo>
                  <a:lnTo>
                    <a:pt x="82" y="176"/>
                  </a:lnTo>
                  <a:lnTo>
                    <a:pt x="79" y="176"/>
                  </a:lnTo>
                  <a:lnTo>
                    <a:pt x="77" y="173"/>
                  </a:lnTo>
                  <a:lnTo>
                    <a:pt x="77" y="169"/>
                  </a:lnTo>
                  <a:lnTo>
                    <a:pt x="77" y="168"/>
                  </a:lnTo>
                  <a:lnTo>
                    <a:pt x="80" y="169"/>
                  </a:lnTo>
                  <a:lnTo>
                    <a:pt x="82" y="171"/>
                  </a:lnTo>
                  <a:lnTo>
                    <a:pt x="85" y="176"/>
                  </a:lnTo>
                  <a:lnTo>
                    <a:pt x="88" y="179"/>
                  </a:lnTo>
                  <a:lnTo>
                    <a:pt x="96" y="190"/>
                  </a:lnTo>
                  <a:lnTo>
                    <a:pt x="103" y="203"/>
                  </a:lnTo>
                  <a:lnTo>
                    <a:pt x="106" y="206"/>
                  </a:lnTo>
                  <a:lnTo>
                    <a:pt x="109" y="209"/>
                  </a:lnTo>
                  <a:lnTo>
                    <a:pt x="112" y="214"/>
                  </a:lnTo>
                  <a:lnTo>
                    <a:pt x="112" y="214"/>
                  </a:lnTo>
                  <a:lnTo>
                    <a:pt x="112" y="223"/>
                  </a:lnTo>
                  <a:lnTo>
                    <a:pt x="112" y="226"/>
                  </a:lnTo>
                  <a:lnTo>
                    <a:pt x="109" y="234"/>
                  </a:lnTo>
                  <a:lnTo>
                    <a:pt x="109" y="238"/>
                  </a:lnTo>
                  <a:lnTo>
                    <a:pt x="109" y="239"/>
                  </a:lnTo>
                  <a:lnTo>
                    <a:pt x="111" y="247"/>
                  </a:lnTo>
                  <a:lnTo>
                    <a:pt x="111" y="250"/>
                  </a:lnTo>
                  <a:lnTo>
                    <a:pt x="111" y="253"/>
                  </a:lnTo>
                  <a:lnTo>
                    <a:pt x="109" y="257"/>
                  </a:lnTo>
                  <a:lnTo>
                    <a:pt x="109" y="261"/>
                  </a:lnTo>
                  <a:lnTo>
                    <a:pt x="109" y="265"/>
                  </a:lnTo>
                  <a:lnTo>
                    <a:pt x="107" y="268"/>
                  </a:lnTo>
                  <a:lnTo>
                    <a:pt x="107" y="271"/>
                  </a:lnTo>
                  <a:lnTo>
                    <a:pt x="107" y="272"/>
                  </a:lnTo>
                  <a:lnTo>
                    <a:pt x="106" y="272"/>
                  </a:lnTo>
                  <a:lnTo>
                    <a:pt x="103" y="274"/>
                  </a:lnTo>
                  <a:lnTo>
                    <a:pt x="100" y="274"/>
                  </a:lnTo>
                  <a:lnTo>
                    <a:pt x="95" y="274"/>
                  </a:lnTo>
                  <a:lnTo>
                    <a:pt x="92" y="276"/>
                  </a:lnTo>
                  <a:lnTo>
                    <a:pt x="88" y="279"/>
                  </a:lnTo>
                  <a:lnTo>
                    <a:pt x="88" y="284"/>
                  </a:lnTo>
                  <a:lnTo>
                    <a:pt x="88" y="287"/>
                  </a:lnTo>
                  <a:lnTo>
                    <a:pt x="85" y="290"/>
                  </a:lnTo>
                  <a:lnTo>
                    <a:pt x="84" y="291"/>
                  </a:lnTo>
                  <a:lnTo>
                    <a:pt x="84" y="291"/>
                  </a:lnTo>
                  <a:lnTo>
                    <a:pt x="84" y="291"/>
                  </a:lnTo>
                  <a:lnTo>
                    <a:pt x="84" y="291"/>
                  </a:lnTo>
                  <a:lnTo>
                    <a:pt x="84" y="291"/>
                  </a:lnTo>
                  <a:lnTo>
                    <a:pt x="87" y="296"/>
                  </a:lnTo>
                  <a:lnTo>
                    <a:pt x="88" y="299"/>
                  </a:lnTo>
                  <a:lnTo>
                    <a:pt x="88" y="303"/>
                  </a:lnTo>
                  <a:lnTo>
                    <a:pt x="88" y="306"/>
                  </a:lnTo>
                  <a:lnTo>
                    <a:pt x="88" y="309"/>
                  </a:lnTo>
                  <a:lnTo>
                    <a:pt x="88" y="312"/>
                  </a:lnTo>
                  <a:lnTo>
                    <a:pt x="88" y="315"/>
                  </a:lnTo>
                  <a:lnTo>
                    <a:pt x="87" y="315"/>
                  </a:lnTo>
                  <a:lnTo>
                    <a:pt x="80" y="315"/>
                  </a:lnTo>
                  <a:lnTo>
                    <a:pt x="80" y="312"/>
                  </a:lnTo>
                  <a:lnTo>
                    <a:pt x="84" y="307"/>
                  </a:lnTo>
                  <a:lnTo>
                    <a:pt x="84" y="304"/>
                  </a:lnTo>
                  <a:lnTo>
                    <a:pt x="79" y="303"/>
                  </a:lnTo>
                  <a:lnTo>
                    <a:pt x="79" y="301"/>
                  </a:lnTo>
                  <a:lnTo>
                    <a:pt x="76" y="298"/>
                  </a:lnTo>
                  <a:lnTo>
                    <a:pt x="73" y="295"/>
                  </a:lnTo>
                  <a:lnTo>
                    <a:pt x="69" y="291"/>
                  </a:lnTo>
                  <a:lnTo>
                    <a:pt x="66" y="287"/>
                  </a:lnTo>
                  <a:lnTo>
                    <a:pt x="63" y="284"/>
                  </a:lnTo>
                  <a:lnTo>
                    <a:pt x="60" y="282"/>
                  </a:lnTo>
                  <a:lnTo>
                    <a:pt x="58" y="277"/>
                  </a:lnTo>
                  <a:lnTo>
                    <a:pt x="58" y="274"/>
                  </a:lnTo>
                  <a:lnTo>
                    <a:pt x="58" y="269"/>
                  </a:lnTo>
                  <a:lnTo>
                    <a:pt x="55" y="266"/>
                  </a:lnTo>
                  <a:lnTo>
                    <a:pt x="52" y="263"/>
                  </a:lnTo>
                  <a:lnTo>
                    <a:pt x="55" y="260"/>
                  </a:lnTo>
                  <a:lnTo>
                    <a:pt x="58" y="257"/>
                  </a:lnTo>
                  <a:lnTo>
                    <a:pt x="60" y="252"/>
                  </a:lnTo>
                  <a:lnTo>
                    <a:pt x="60" y="252"/>
                  </a:lnTo>
                  <a:lnTo>
                    <a:pt x="60" y="247"/>
                  </a:lnTo>
                  <a:lnTo>
                    <a:pt x="63" y="244"/>
                  </a:lnTo>
                  <a:lnTo>
                    <a:pt x="65" y="241"/>
                  </a:lnTo>
                  <a:lnTo>
                    <a:pt x="66" y="238"/>
                  </a:lnTo>
                  <a:lnTo>
                    <a:pt x="65" y="234"/>
                  </a:lnTo>
                  <a:lnTo>
                    <a:pt x="65" y="231"/>
                  </a:lnTo>
                  <a:lnTo>
                    <a:pt x="66" y="228"/>
                  </a:lnTo>
                  <a:lnTo>
                    <a:pt x="65" y="225"/>
                  </a:lnTo>
                  <a:lnTo>
                    <a:pt x="65" y="220"/>
                  </a:lnTo>
                  <a:lnTo>
                    <a:pt x="65" y="217"/>
                  </a:lnTo>
                  <a:lnTo>
                    <a:pt x="65" y="214"/>
                  </a:lnTo>
                  <a:lnTo>
                    <a:pt x="63" y="209"/>
                  </a:lnTo>
                  <a:lnTo>
                    <a:pt x="60" y="206"/>
                  </a:lnTo>
                  <a:lnTo>
                    <a:pt x="57" y="204"/>
                  </a:lnTo>
                  <a:lnTo>
                    <a:pt x="54" y="204"/>
                  </a:lnTo>
                  <a:lnTo>
                    <a:pt x="50" y="206"/>
                  </a:lnTo>
                  <a:lnTo>
                    <a:pt x="46" y="207"/>
                  </a:lnTo>
                  <a:lnTo>
                    <a:pt x="42" y="207"/>
                  </a:lnTo>
                  <a:lnTo>
                    <a:pt x="39" y="209"/>
                  </a:lnTo>
                  <a:lnTo>
                    <a:pt x="35" y="207"/>
                  </a:lnTo>
                  <a:lnTo>
                    <a:pt x="35" y="211"/>
                  </a:lnTo>
                  <a:lnTo>
                    <a:pt x="31" y="207"/>
                  </a:lnTo>
                  <a:lnTo>
                    <a:pt x="27" y="204"/>
                  </a:lnTo>
                  <a:lnTo>
                    <a:pt x="25" y="201"/>
                  </a:lnTo>
                  <a:lnTo>
                    <a:pt x="23" y="198"/>
                  </a:lnTo>
                  <a:lnTo>
                    <a:pt x="20" y="195"/>
                  </a:lnTo>
                  <a:lnTo>
                    <a:pt x="20" y="190"/>
                  </a:lnTo>
                  <a:lnTo>
                    <a:pt x="19" y="188"/>
                  </a:lnTo>
                  <a:lnTo>
                    <a:pt x="15" y="184"/>
                  </a:lnTo>
                  <a:lnTo>
                    <a:pt x="15" y="184"/>
                  </a:lnTo>
                  <a:lnTo>
                    <a:pt x="12" y="188"/>
                  </a:lnTo>
                  <a:lnTo>
                    <a:pt x="9" y="188"/>
                  </a:lnTo>
                  <a:lnTo>
                    <a:pt x="9" y="185"/>
                  </a:lnTo>
                  <a:lnTo>
                    <a:pt x="6" y="180"/>
                  </a:lnTo>
                  <a:lnTo>
                    <a:pt x="3" y="179"/>
                  </a:lnTo>
                  <a:lnTo>
                    <a:pt x="3" y="17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92" name="Freeform 461"/>
            <p:cNvSpPr>
              <a:spLocks/>
            </p:cNvSpPr>
            <p:nvPr/>
          </p:nvSpPr>
          <p:spPr bwMode="auto">
            <a:xfrm>
              <a:off x="6153093" y="4864475"/>
              <a:ext cx="285251" cy="372334"/>
            </a:xfrm>
            <a:custGeom>
              <a:avLst/>
              <a:gdLst>
                <a:gd name="T0" fmla="*/ 21 w 387"/>
                <a:gd name="T1" fmla="*/ 126 h 439"/>
                <a:gd name="T2" fmla="*/ 32 w 387"/>
                <a:gd name="T3" fmla="*/ 104 h 439"/>
                <a:gd name="T4" fmla="*/ 45 w 387"/>
                <a:gd name="T5" fmla="*/ 84 h 439"/>
                <a:gd name="T6" fmla="*/ 34 w 387"/>
                <a:gd name="T7" fmla="*/ 69 h 439"/>
                <a:gd name="T8" fmla="*/ 43 w 387"/>
                <a:gd name="T9" fmla="*/ 57 h 439"/>
                <a:gd name="T10" fmla="*/ 45 w 387"/>
                <a:gd name="T11" fmla="*/ 38 h 439"/>
                <a:gd name="T12" fmla="*/ 38 w 387"/>
                <a:gd name="T13" fmla="*/ 15 h 439"/>
                <a:gd name="T14" fmla="*/ 45 w 387"/>
                <a:gd name="T15" fmla="*/ 0 h 439"/>
                <a:gd name="T16" fmla="*/ 83 w 387"/>
                <a:gd name="T17" fmla="*/ 0 h 439"/>
                <a:gd name="T18" fmla="*/ 78 w 387"/>
                <a:gd name="T19" fmla="*/ 28 h 439"/>
                <a:gd name="T20" fmla="*/ 75 w 387"/>
                <a:gd name="T21" fmla="*/ 55 h 439"/>
                <a:gd name="T22" fmla="*/ 81 w 387"/>
                <a:gd name="T23" fmla="*/ 69 h 439"/>
                <a:gd name="T24" fmla="*/ 92 w 387"/>
                <a:gd name="T25" fmla="*/ 57 h 439"/>
                <a:gd name="T26" fmla="*/ 115 w 387"/>
                <a:gd name="T27" fmla="*/ 61 h 439"/>
                <a:gd name="T28" fmla="*/ 118 w 387"/>
                <a:gd name="T29" fmla="*/ 76 h 439"/>
                <a:gd name="T30" fmla="*/ 122 w 387"/>
                <a:gd name="T31" fmla="*/ 57 h 439"/>
                <a:gd name="T32" fmla="*/ 145 w 387"/>
                <a:gd name="T33" fmla="*/ 57 h 439"/>
                <a:gd name="T34" fmla="*/ 146 w 387"/>
                <a:gd name="T35" fmla="*/ 49 h 439"/>
                <a:gd name="T36" fmla="*/ 142 w 387"/>
                <a:gd name="T37" fmla="*/ 38 h 439"/>
                <a:gd name="T38" fmla="*/ 146 w 387"/>
                <a:gd name="T39" fmla="*/ 31 h 439"/>
                <a:gd name="T40" fmla="*/ 156 w 387"/>
                <a:gd name="T41" fmla="*/ 20 h 439"/>
                <a:gd name="T42" fmla="*/ 165 w 387"/>
                <a:gd name="T43" fmla="*/ 3 h 439"/>
                <a:gd name="T44" fmla="*/ 249 w 387"/>
                <a:gd name="T45" fmla="*/ 57 h 439"/>
                <a:gd name="T46" fmla="*/ 294 w 387"/>
                <a:gd name="T47" fmla="*/ 92 h 439"/>
                <a:gd name="T48" fmla="*/ 297 w 387"/>
                <a:gd name="T49" fmla="*/ 107 h 439"/>
                <a:gd name="T50" fmla="*/ 322 w 387"/>
                <a:gd name="T51" fmla="*/ 128 h 439"/>
                <a:gd name="T52" fmla="*/ 345 w 387"/>
                <a:gd name="T53" fmla="*/ 163 h 439"/>
                <a:gd name="T54" fmla="*/ 332 w 387"/>
                <a:gd name="T55" fmla="*/ 203 h 439"/>
                <a:gd name="T56" fmla="*/ 338 w 387"/>
                <a:gd name="T57" fmla="*/ 223 h 439"/>
                <a:gd name="T58" fmla="*/ 359 w 387"/>
                <a:gd name="T59" fmla="*/ 245 h 439"/>
                <a:gd name="T60" fmla="*/ 348 w 387"/>
                <a:gd name="T61" fmla="*/ 272 h 439"/>
                <a:gd name="T62" fmla="*/ 354 w 387"/>
                <a:gd name="T63" fmla="*/ 287 h 439"/>
                <a:gd name="T64" fmla="*/ 348 w 387"/>
                <a:gd name="T65" fmla="*/ 307 h 439"/>
                <a:gd name="T66" fmla="*/ 354 w 387"/>
                <a:gd name="T67" fmla="*/ 328 h 439"/>
                <a:gd name="T68" fmla="*/ 364 w 387"/>
                <a:gd name="T69" fmla="*/ 353 h 439"/>
                <a:gd name="T70" fmla="*/ 371 w 387"/>
                <a:gd name="T71" fmla="*/ 375 h 439"/>
                <a:gd name="T72" fmla="*/ 387 w 387"/>
                <a:gd name="T73" fmla="*/ 380 h 439"/>
                <a:gd name="T74" fmla="*/ 370 w 387"/>
                <a:gd name="T75" fmla="*/ 401 h 439"/>
                <a:gd name="T76" fmla="*/ 341 w 387"/>
                <a:gd name="T77" fmla="*/ 415 h 439"/>
                <a:gd name="T78" fmla="*/ 313 w 387"/>
                <a:gd name="T79" fmla="*/ 425 h 439"/>
                <a:gd name="T80" fmla="*/ 286 w 387"/>
                <a:gd name="T81" fmla="*/ 436 h 439"/>
                <a:gd name="T82" fmla="*/ 259 w 387"/>
                <a:gd name="T83" fmla="*/ 432 h 439"/>
                <a:gd name="T84" fmla="*/ 233 w 387"/>
                <a:gd name="T85" fmla="*/ 434 h 439"/>
                <a:gd name="T86" fmla="*/ 207 w 387"/>
                <a:gd name="T87" fmla="*/ 432 h 439"/>
                <a:gd name="T88" fmla="*/ 178 w 387"/>
                <a:gd name="T89" fmla="*/ 412 h 439"/>
                <a:gd name="T90" fmla="*/ 176 w 387"/>
                <a:gd name="T91" fmla="*/ 387 h 439"/>
                <a:gd name="T92" fmla="*/ 154 w 387"/>
                <a:gd name="T93" fmla="*/ 348 h 439"/>
                <a:gd name="T94" fmla="*/ 138 w 387"/>
                <a:gd name="T95" fmla="*/ 352 h 439"/>
                <a:gd name="T96" fmla="*/ 113 w 387"/>
                <a:gd name="T97" fmla="*/ 341 h 439"/>
                <a:gd name="T98" fmla="*/ 96 w 387"/>
                <a:gd name="T99" fmla="*/ 333 h 439"/>
                <a:gd name="T100" fmla="*/ 75 w 387"/>
                <a:gd name="T101" fmla="*/ 323 h 439"/>
                <a:gd name="T102" fmla="*/ 56 w 387"/>
                <a:gd name="T103" fmla="*/ 310 h 439"/>
                <a:gd name="T104" fmla="*/ 35 w 387"/>
                <a:gd name="T105" fmla="*/ 268 h 439"/>
                <a:gd name="T106" fmla="*/ 30 w 387"/>
                <a:gd name="T107" fmla="*/ 239 h 439"/>
                <a:gd name="T108" fmla="*/ 10 w 387"/>
                <a:gd name="T109" fmla="*/ 222 h 439"/>
                <a:gd name="T110" fmla="*/ 13 w 387"/>
                <a:gd name="T111" fmla="*/ 196 h 439"/>
                <a:gd name="T112" fmla="*/ 8 w 387"/>
                <a:gd name="T113" fmla="*/ 168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87" h="439">
                  <a:moveTo>
                    <a:pt x="4" y="141"/>
                  </a:moveTo>
                  <a:lnTo>
                    <a:pt x="7" y="141"/>
                  </a:lnTo>
                  <a:lnTo>
                    <a:pt x="7" y="139"/>
                  </a:lnTo>
                  <a:lnTo>
                    <a:pt x="10" y="138"/>
                  </a:lnTo>
                  <a:lnTo>
                    <a:pt x="15" y="134"/>
                  </a:lnTo>
                  <a:lnTo>
                    <a:pt x="15" y="134"/>
                  </a:lnTo>
                  <a:lnTo>
                    <a:pt x="16" y="131"/>
                  </a:lnTo>
                  <a:lnTo>
                    <a:pt x="21" y="126"/>
                  </a:lnTo>
                  <a:lnTo>
                    <a:pt x="23" y="123"/>
                  </a:lnTo>
                  <a:lnTo>
                    <a:pt x="24" y="120"/>
                  </a:lnTo>
                  <a:lnTo>
                    <a:pt x="26" y="117"/>
                  </a:lnTo>
                  <a:lnTo>
                    <a:pt x="27" y="114"/>
                  </a:lnTo>
                  <a:lnTo>
                    <a:pt x="29" y="114"/>
                  </a:lnTo>
                  <a:lnTo>
                    <a:pt x="29" y="111"/>
                  </a:lnTo>
                  <a:lnTo>
                    <a:pt x="30" y="107"/>
                  </a:lnTo>
                  <a:lnTo>
                    <a:pt x="32" y="104"/>
                  </a:lnTo>
                  <a:lnTo>
                    <a:pt x="35" y="101"/>
                  </a:lnTo>
                  <a:lnTo>
                    <a:pt x="38" y="99"/>
                  </a:lnTo>
                  <a:lnTo>
                    <a:pt x="38" y="96"/>
                  </a:lnTo>
                  <a:lnTo>
                    <a:pt x="42" y="95"/>
                  </a:lnTo>
                  <a:lnTo>
                    <a:pt x="43" y="93"/>
                  </a:lnTo>
                  <a:lnTo>
                    <a:pt x="46" y="90"/>
                  </a:lnTo>
                  <a:lnTo>
                    <a:pt x="46" y="87"/>
                  </a:lnTo>
                  <a:lnTo>
                    <a:pt x="45" y="84"/>
                  </a:lnTo>
                  <a:lnTo>
                    <a:pt x="46" y="80"/>
                  </a:lnTo>
                  <a:lnTo>
                    <a:pt x="43" y="80"/>
                  </a:lnTo>
                  <a:lnTo>
                    <a:pt x="40" y="80"/>
                  </a:lnTo>
                  <a:lnTo>
                    <a:pt x="37" y="77"/>
                  </a:lnTo>
                  <a:lnTo>
                    <a:pt x="34" y="79"/>
                  </a:lnTo>
                  <a:lnTo>
                    <a:pt x="30" y="76"/>
                  </a:lnTo>
                  <a:lnTo>
                    <a:pt x="32" y="73"/>
                  </a:lnTo>
                  <a:lnTo>
                    <a:pt x="34" y="69"/>
                  </a:lnTo>
                  <a:lnTo>
                    <a:pt x="34" y="68"/>
                  </a:lnTo>
                  <a:lnTo>
                    <a:pt x="30" y="68"/>
                  </a:lnTo>
                  <a:lnTo>
                    <a:pt x="34" y="63"/>
                  </a:lnTo>
                  <a:lnTo>
                    <a:pt x="34" y="60"/>
                  </a:lnTo>
                  <a:lnTo>
                    <a:pt x="37" y="57"/>
                  </a:lnTo>
                  <a:lnTo>
                    <a:pt x="40" y="57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5" y="57"/>
                  </a:lnTo>
                  <a:lnTo>
                    <a:pt x="46" y="52"/>
                  </a:lnTo>
                  <a:lnTo>
                    <a:pt x="46" y="49"/>
                  </a:lnTo>
                  <a:lnTo>
                    <a:pt x="48" y="46"/>
                  </a:lnTo>
                  <a:lnTo>
                    <a:pt x="48" y="42"/>
                  </a:lnTo>
                  <a:lnTo>
                    <a:pt x="46" y="39"/>
                  </a:lnTo>
                  <a:lnTo>
                    <a:pt x="45" y="38"/>
                  </a:lnTo>
                  <a:lnTo>
                    <a:pt x="45" y="38"/>
                  </a:lnTo>
                  <a:lnTo>
                    <a:pt x="46" y="33"/>
                  </a:lnTo>
                  <a:lnTo>
                    <a:pt x="46" y="27"/>
                  </a:lnTo>
                  <a:lnTo>
                    <a:pt x="45" y="23"/>
                  </a:lnTo>
                  <a:lnTo>
                    <a:pt x="43" y="22"/>
                  </a:lnTo>
                  <a:lnTo>
                    <a:pt x="43" y="20"/>
                  </a:lnTo>
                  <a:lnTo>
                    <a:pt x="43" y="17"/>
                  </a:lnTo>
                  <a:lnTo>
                    <a:pt x="40" y="15"/>
                  </a:lnTo>
                  <a:lnTo>
                    <a:pt x="38" y="15"/>
                  </a:lnTo>
                  <a:lnTo>
                    <a:pt x="35" y="11"/>
                  </a:lnTo>
                  <a:lnTo>
                    <a:pt x="34" y="8"/>
                  </a:lnTo>
                  <a:lnTo>
                    <a:pt x="32" y="4"/>
                  </a:lnTo>
                  <a:lnTo>
                    <a:pt x="34" y="3"/>
                  </a:lnTo>
                  <a:lnTo>
                    <a:pt x="37" y="3"/>
                  </a:lnTo>
                  <a:lnTo>
                    <a:pt x="40" y="1"/>
                  </a:lnTo>
                  <a:lnTo>
                    <a:pt x="43" y="0"/>
                  </a:lnTo>
                  <a:lnTo>
                    <a:pt x="45" y="0"/>
                  </a:lnTo>
                  <a:lnTo>
                    <a:pt x="62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81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3" y="6"/>
                  </a:lnTo>
                  <a:lnTo>
                    <a:pt x="83" y="9"/>
                  </a:lnTo>
                  <a:lnTo>
                    <a:pt x="83" y="11"/>
                  </a:lnTo>
                  <a:lnTo>
                    <a:pt x="81" y="17"/>
                  </a:lnTo>
                  <a:lnTo>
                    <a:pt x="78" y="20"/>
                  </a:lnTo>
                  <a:lnTo>
                    <a:pt x="80" y="23"/>
                  </a:lnTo>
                  <a:lnTo>
                    <a:pt x="78" y="28"/>
                  </a:lnTo>
                  <a:lnTo>
                    <a:pt x="76" y="31"/>
                  </a:lnTo>
                  <a:lnTo>
                    <a:pt x="76" y="34"/>
                  </a:lnTo>
                  <a:lnTo>
                    <a:pt x="75" y="38"/>
                  </a:lnTo>
                  <a:lnTo>
                    <a:pt x="76" y="41"/>
                  </a:lnTo>
                  <a:lnTo>
                    <a:pt x="76" y="46"/>
                  </a:lnTo>
                  <a:lnTo>
                    <a:pt x="76" y="49"/>
                  </a:lnTo>
                  <a:lnTo>
                    <a:pt x="75" y="52"/>
                  </a:lnTo>
                  <a:lnTo>
                    <a:pt x="75" y="55"/>
                  </a:lnTo>
                  <a:lnTo>
                    <a:pt x="80" y="57"/>
                  </a:lnTo>
                  <a:lnTo>
                    <a:pt x="80" y="60"/>
                  </a:lnTo>
                  <a:lnTo>
                    <a:pt x="78" y="63"/>
                  </a:lnTo>
                  <a:lnTo>
                    <a:pt x="81" y="66"/>
                  </a:lnTo>
                  <a:lnTo>
                    <a:pt x="80" y="71"/>
                  </a:lnTo>
                  <a:lnTo>
                    <a:pt x="81" y="74"/>
                  </a:lnTo>
                  <a:lnTo>
                    <a:pt x="81" y="73"/>
                  </a:lnTo>
                  <a:lnTo>
                    <a:pt x="81" y="69"/>
                  </a:lnTo>
                  <a:lnTo>
                    <a:pt x="86" y="68"/>
                  </a:lnTo>
                  <a:lnTo>
                    <a:pt x="89" y="73"/>
                  </a:lnTo>
                  <a:lnTo>
                    <a:pt x="88" y="68"/>
                  </a:lnTo>
                  <a:lnTo>
                    <a:pt x="86" y="65"/>
                  </a:lnTo>
                  <a:lnTo>
                    <a:pt x="91" y="61"/>
                  </a:lnTo>
                  <a:lnTo>
                    <a:pt x="94" y="63"/>
                  </a:lnTo>
                  <a:lnTo>
                    <a:pt x="91" y="60"/>
                  </a:lnTo>
                  <a:lnTo>
                    <a:pt x="92" y="57"/>
                  </a:lnTo>
                  <a:lnTo>
                    <a:pt x="96" y="53"/>
                  </a:lnTo>
                  <a:lnTo>
                    <a:pt x="99" y="52"/>
                  </a:lnTo>
                  <a:lnTo>
                    <a:pt x="99" y="55"/>
                  </a:lnTo>
                  <a:lnTo>
                    <a:pt x="102" y="58"/>
                  </a:lnTo>
                  <a:lnTo>
                    <a:pt x="107" y="60"/>
                  </a:lnTo>
                  <a:lnTo>
                    <a:pt x="110" y="61"/>
                  </a:lnTo>
                  <a:lnTo>
                    <a:pt x="111" y="57"/>
                  </a:lnTo>
                  <a:lnTo>
                    <a:pt x="115" y="61"/>
                  </a:lnTo>
                  <a:lnTo>
                    <a:pt x="118" y="61"/>
                  </a:lnTo>
                  <a:lnTo>
                    <a:pt x="118" y="65"/>
                  </a:lnTo>
                  <a:lnTo>
                    <a:pt x="118" y="68"/>
                  </a:lnTo>
                  <a:lnTo>
                    <a:pt x="119" y="71"/>
                  </a:lnTo>
                  <a:lnTo>
                    <a:pt x="118" y="76"/>
                  </a:lnTo>
                  <a:lnTo>
                    <a:pt x="113" y="76"/>
                  </a:lnTo>
                  <a:lnTo>
                    <a:pt x="118" y="80"/>
                  </a:lnTo>
                  <a:lnTo>
                    <a:pt x="118" y="76"/>
                  </a:lnTo>
                  <a:lnTo>
                    <a:pt x="121" y="76"/>
                  </a:lnTo>
                  <a:lnTo>
                    <a:pt x="126" y="76"/>
                  </a:lnTo>
                  <a:lnTo>
                    <a:pt x="121" y="74"/>
                  </a:lnTo>
                  <a:lnTo>
                    <a:pt x="121" y="71"/>
                  </a:lnTo>
                  <a:lnTo>
                    <a:pt x="119" y="66"/>
                  </a:lnTo>
                  <a:lnTo>
                    <a:pt x="121" y="63"/>
                  </a:lnTo>
                  <a:lnTo>
                    <a:pt x="119" y="60"/>
                  </a:lnTo>
                  <a:lnTo>
                    <a:pt x="122" y="57"/>
                  </a:lnTo>
                  <a:lnTo>
                    <a:pt x="126" y="57"/>
                  </a:lnTo>
                  <a:lnTo>
                    <a:pt x="129" y="60"/>
                  </a:lnTo>
                  <a:lnTo>
                    <a:pt x="132" y="61"/>
                  </a:lnTo>
                  <a:lnTo>
                    <a:pt x="135" y="61"/>
                  </a:lnTo>
                  <a:lnTo>
                    <a:pt x="140" y="63"/>
                  </a:lnTo>
                  <a:lnTo>
                    <a:pt x="140" y="63"/>
                  </a:lnTo>
                  <a:lnTo>
                    <a:pt x="140" y="58"/>
                  </a:lnTo>
                  <a:lnTo>
                    <a:pt x="145" y="57"/>
                  </a:lnTo>
                  <a:lnTo>
                    <a:pt x="148" y="53"/>
                  </a:lnTo>
                  <a:lnTo>
                    <a:pt x="151" y="52"/>
                  </a:lnTo>
                  <a:lnTo>
                    <a:pt x="154" y="49"/>
                  </a:lnTo>
                  <a:lnTo>
                    <a:pt x="154" y="46"/>
                  </a:lnTo>
                  <a:lnTo>
                    <a:pt x="153" y="46"/>
                  </a:lnTo>
                  <a:lnTo>
                    <a:pt x="153" y="44"/>
                  </a:lnTo>
                  <a:lnTo>
                    <a:pt x="149" y="46"/>
                  </a:lnTo>
                  <a:lnTo>
                    <a:pt x="146" y="49"/>
                  </a:lnTo>
                  <a:lnTo>
                    <a:pt x="142" y="47"/>
                  </a:lnTo>
                  <a:lnTo>
                    <a:pt x="138" y="47"/>
                  </a:lnTo>
                  <a:lnTo>
                    <a:pt x="132" y="44"/>
                  </a:lnTo>
                  <a:lnTo>
                    <a:pt x="135" y="41"/>
                  </a:lnTo>
                  <a:lnTo>
                    <a:pt x="138" y="39"/>
                  </a:lnTo>
                  <a:lnTo>
                    <a:pt x="142" y="41"/>
                  </a:lnTo>
                  <a:lnTo>
                    <a:pt x="145" y="41"/>
                  </a:lnTo>
                  <a:lnTo>
                    <a:pt x="142" y="38"/>
                  </a:lnTo>
                  <a:lnTo>
                    <a:pt x="138" y="38"/>
                  </a:lnTo>
                  <a:lnTo>
                    <a:pt x="135" y="38"/>
                  </a:lnTo>
                  <a:lnTo>
                    <a:pt x="135" y="34"/>
                  </a:lnTo>
                  <a:lnTo>
                    <a:pt x="137" y="33"/>
                  </a:lnTo>
                  <a:lnTo>
                    <a:pt x="140" y="33"/>
                  </a:lnTo>
                  <a:lnTo>
                    <a:pt x="140" y="34"/>
                  </a:lnTo>
                  <a:lnTo>
                    <a:pt x="143" y="33"/>
                  </a:lnTo>
                  <a:lnTo>
                    <a:pt x="146" y="31"/>
                  </a:lnTo>
                  <a:lnTo>
                    <a:pt x="146" y="27"/>
                  </a:lnTo>
                  <a:lnTo>
                    <a:pt x="149" y="27"/>
                  </a:lnTo>
                  <a:lnTo>
                    <a:pt x="146" y="22"/>
                  </a:lnTo>
                  <a:lnTo>
                    <a:pt x="148" y="19"/>
                  </a:lnTo>
                  <a:lnTo>
                    <a:pt x="151" y="19"/>
                  </a:lnTo>
                  <a:lnTo>
                    <a:pt x="156" y="22"/>
                  </a:lnTo>
                  <a:lnTo>
                    <a:pt x="159" y="20"/>
                  </a:lnTo>
                  <a:lnTo>
                    <a:pt x="156" y="20"/>
                  </a:lnTo>
                  <a:lnTo>
                    <a:pt x="156" y="17"/>
                  </a:lnTo>
                  <a:lnTo>
                    <a:pt x="156" y="12"/>
                  </a:lnTo>
                  <a:lnTo>
                    <a:pt x="159" y="15"/>
                  </a:lnTo>
                  <a:lnTo>
                    <a:pt x="156" y="12"/>
                  </a:lnTo>
                  <a:lnTo>
                    <a:pt x="157" y="8"/>
                  </a:lnTo>
                  <a:lnTo>
                    <a:pt x="159" y="4"/>
                  </a:lnTo>
                  <a:lnTo>
                    <a:pt x="162" y="1"/>
                  </a:lnTo>
                  <a:lnTo>
                    <a:pt x="165" y="3"/>
                  </a:lnTo>
                  <a:lnTo>
                    <a:pt x="175" y="9"/>
                  </a:lnTo>
                  <a:lnTo>
                    <a:pt x="184" y="14"/>
                  </a:lnTo>
                  <a:lnTo>
                    <a:pt x="202" y="27"/>
                  </a:lnTo>
                  <a:lnTo>
                    <a:pt x="221" y="38"/>
                  </a:lnTo>
                  <a:lnTo>
                    <a:pt x="227" y="42"/>
                  </a:lnTo>
                  <a:lnTo>
                    <a:pt x="233" y="46"/>
                  </a:lnTo>
                  <a:lnTo>
                    <a:pt x="241" y="50"/>
                  </a:lnTo>
                  <a:lnTo>
                    <a:pt x="249" y="57"/>
                  </a:lnTo>
                  <a:lnTo>
                    <a:pt x="265" y="66"/>
                  </a:lnTo>
                  <a:lnTo>
                    <a:pt x="279" y="76"/>
                  </a:lnTo>
                  <a:lnTo>
                    <a:pt x="283" y="77"/>
                  </a:lnTo>
                  <a:lnTo>
                    <a:pt x="287" y="79"/>
                  </a:lnTo>
                  <a:lnTo>
                    <a:pt x="291" y="82"/>
                  </a:lnTo>
                  <a:lnTo>
                    <a:pt x="292" y="82"/>
                  </a:lnTo>
                  <a:lnTo>
                    <a:pt x="294" y="87"/>
                  </a:lnTo>
                  <a:lnTo>
                    <a:pt x="294" y="92"/>
                  </a:lnTo>
                  <a:lnTo>
                    <a:pt x="294" y="93"/>
                  </a:lnTo>
                  <a:lnTo>
                    <a:pt x="292" y="95"/>
                  </a:lnTo>
                  <a:lnTo>
                    <a:pt x="289" y="99"/>
                  </a:lnTo>
                  <a:lnTo>
                    <a:pt x="291" y="103"/>
                  </a:lnTo>
                  <a:lnTo>
                    <a:pt x="294" y="103"/>
                  </a:lnTo>
                  <a:lnTo>
                    <a:pt x="295" y="104"/>
                  </a:lnTo>
                  <a:lnTo>
                    <a:pt x="295" y="107"/>
                  </a:lnTo>
                  <a:lnTo>
                    <a:pt x="297" y="107"/>
                  </a:lnTo>
                  <a:lnTo>
                    <a:pt x="300" y="111"/>
                  </a:lnTo>
                  <a:lnTo>
                    <a:pt x="303" y="114"/>
                  </a:lnTo>
                  <a:lnTo>
                    <a:pt x="308" y="117"/>
                  </a:lnTo>
                  <a:lnTo>
                    <a:pt x="311" y="120"/>
                  </a:lnTo>
                  <a:lnTo>
                    <a:pt x="314" y="123"/>
                  </a:lnTo>
                  <a:lnTo>
                    <a:pt x="318" y="125"/>
                  </a:lnTo>
                  <a:lnTo>
                    <a:pt x="321" y="128"/>
                  </a:lnTo>
                  <a:lnTo>
                    <a:pt x="322" y="128"/>
                  </a:lnTo>
                  <a:lnTo>
                    <a:pt x="332" y="138"/>
                  </a:lnTo>
                  <a:lnTo>
                    <a:pt x="341" y="145"/>
                  </a:lnTo>
                  <a:lnTo>
                    <a:pt x="345" y="147"/>
                  </a:lnTo>
                  <a:lnTo>
                    <a:pt x="348" y="150"/>
                  </a:lnTo>
                  <a:lnTo>
                    <a:pt x="348" y="152"/>
                  </a:lnTo>
                  <a:lnTo>
                    <a:pt x="348" y="157"/>
                  </a:lnTo>
                  <a:lnTo>
                    <a:pt x="345" y="160"/>
                  </a:lnTo>
                  <a:lnTo>
                    <a:pt x="345" y="163"/>
                  </a:lnTo>
                  <a:lnTo>
                    <a:pt x="345" y="166"/>
                  </a:lnTo>
                  <a:lnTo>
                    <a:pt x="343" y="169"/>
                  </a:lnTo>
                  <a:lnTo>
                    <a:pt x="343" y="174"/>
                  </a:lnTo>
                  <a:lnTo>
                    <a:pt x="341" y="177"/>
                  </a:lnTo>
                  <a:lnTo>
                    <a:pt x="338" y="180"/>
                  </a:lnTo>
                  <a:lnTo>
                    <a:pt x="338" y="180"/>
                  </a:lnTo>
                  <a:lnTo>
                    <a:pt x="337" y="190"/>
                  </a:lnTo>
                  <a:lnTo>
                    <a:pt x="332" y="203"/>
                  </a:lnTo>
                  <a:lnTo>
                    <a:pt x="332" y="204"/>
                  </a:lnTo>
                  <a:lnTo>
                    <a:pt x="332" y="207"/>
                  </a:lnTo>
                  <a:lnTo>
                    <a:pt x="333" y="210"/>
                  </a:lnTo>
                  <a:lnTo>
                    <a:pt x="333" y="212"/>
                  </a:lnTo>
                  <a:lnTo>
                    <a:pt x="333" y="215"/>
                  </a:lnTo>
                  <a:lnTo>
                    <a:pt x="333" y="220"/>
                  </a:lnTo>
                  <a:lnTo>
                    <a:pt x="333" y="220"/>
                  </a:lnTo>
                  <a:lnTo>
                    <a:pt x="338" y="223"/>
                  </a:lnTo>
                  <a:lnTo>
                    <a:pt x="341" y="225"/>
                  </a:lnTo>
                  <a:lnTo>
                    <a:pt x="345" y="228"/>
                  </a:lnTo>
                  <a:lnTo>
                    <a:pt x="346" y="231"/>
                  </a:lnTo>
                  <a:lnTo>
                    <a:pt x="349" y="236"/>
                  </a:lnTo>
                  <a:lnTo>
                    <a:pt x="349" y="239"/>
                  </a:lnTo>
                  <a:lnTo>
                    <a:pt x="352" y="239"/>
                  </a:lnTo>
                  <a:lnTo>
                    <a:pt x="356" y="241"/>
                  </a:lnTo>
                  <a:lnTo>
                    <a:pt x="359" y="245"/>
                  </a:lnTo>
                  <a:lnTo>
                    <a:pt x="357" y="247"/>
                  </a:lnTo>
                  <a:lnTo>
                    <a:pt x="357" y="250"/>
                  </a:lnTo>
                  <a:lnTo>
                    <a:pt x="354" y="253"/>
                  </a:lnTo>
                  <a:lnTo>
                    <a:pt x="352" y="256"/>
                  </a:lnTo>
                  <a:lnTo>
                    <a:pt x="351" y="261"/>
                  </a:lnTo>
                  <a:lnTo>
                    <a:pt x="349" y="264"/>
                  </a:lnTo>
                  <a:lnTo>
                    <a:pt x="348" y="268"/>
                  </a:lnTo>
                  <a:lnTo>
                    <a:pt x="348" y="272"/>
                  </a:lnTo>
                  <a:lnTo>
                    <a:pt x="349" y="275"/>
                  </a:lnTo>
                  <a:lnTo>
                    <a:pt x="348" y="279"/>
                  </a:lnTo>
                  <a:lnTo>
                    <a:pt x="351" y="277"/>
                  </a:lnTo>
                  <a:lnTo>
                    <a:pt x="351" y="277"/>
                  </a:lnTo>
                  <a:lnTo>
                    <a:pt x="352" y="277"/>
                  </a:lnTo>
                  <a:lnTo>
                    <a:pt x="354" y="279"/>
                  </a:lnTo>
                  <a:lnTo>
                    <a:pt x="352" y="282"/>
                  </a:lnTo>
                  <a:lnTo>
                    <a:pt x="354" y="287"/>
                  </a:lnTo>
                  <a:lnTo>
                    <a:pt x="354" y="287"/>
                  </a:lnTo>
                  <a:lnTo>
                    <a:pt x="352" y="290"/>
                  </a:lnTo>
                  <a:lnTo>
                    <a:pt x="352" y="290"/>
                  </a:lnTo>
                  <a:lnTo>
                    <a:pt x="351" y="293"/>
                  </a:lnTo>
                  <a:lnTo>
                    <a:pt x="348" y="296"/>
                  </a:lnTo>
                  <a:lnTo>
                    <a:pt x="348" y="299"/>
                  </a:lnTo>
                  <a:lnTo>
                    <a:pt x="349" y="302"/>
                  </a:lnTo>
                  <a:lnTo>
                    <a:pt x="348" y="307"/>
                  </a:lnTo>
                  <a:lnTo>
                    <a:pt x="351" y="310"/>
                  </a:lnTo>
                  <a:lnTo>
                    <a:pt x="351" y="314"/>
                  </a:lnTo>
                  <a:lnTo>
                    <a:pt x="349" y="315"/>
                  </a:lnTo>
                  <a:lnTo>
                    <a:pt x="354" y="318"/>
                  </a:lnTo>
                  <a:lnTo>
                    <a:pt x="354" y="323"/>
                  </a:lnTo>
                  <a:lnTo>
                    <a:pt x="351" y="323"/>
                  </a:lnTo>
                  <a:lnTo>
                    <a:pt x="354" y="325"/>
                  </a:lnTo>
                  <a:lnTo>
                    <a:pt x="354" y="328"/>
                  </a:lnTo>
                  <a:lnTo>
                    <a:pt x="356" y="333"/>
                  </a:lnTo>
                  <a:lnTo>
                    <a:pt x="359" y="333"/>
                  </a:lnTo>
                  <a:lnTo>
                    <a:pt x="360" y="336"/>
                  </a:lnTo>
                  <a:lnTo>
                    <a:pt x="360" y="339"/>
                  </a:lnTo>
                  <a:lnTo>
                    <a:pt x="357" y="344"/>
                  </a:lnTo>
                  <a:lnTo>
                    <a:pt x="360" y="347"/>
                  </a:lnTo>
                  <a:lnTo>
                    <a:pt x="362" y="350"/>
                  </a:lnTo>
                  <a:lnTo>
                    <a:pt x="364" y="353"/>
                  </a:lnTo>
                  <a:lnTo>
                    <a:pt x="362" y="358"/>
                  </a:lnTo>
                  <a:lnTo>
                    <a:pt x="365" y="361"/>
                  </a:lnTo>
                  <a:lnTo>
                    <a:pt x="365" y="364"/>
                  </a:lnTo>
                  <a:lnTo>
                    <a:pt x="362" y="367"/>
                  </a:lnTo>
                  <a:lnTo>
                    <a:pt x="367" y="367"/>
                  </a:lnTo>
                  <a:lnTo>
                    <a:pt x="368" y="369"/>
                  </a:lnTo>
                  <a:lnTo>
                    <a:pt x="370" y="372"/>
                  </a:lnTo>
                  <a:lnTo>
                    <a:pt x="371" y="375"/>
                  </a:lnTo>
                  <a:lnTo>
                    <a:pt x="371" y="377"/>
                  </a:lnTo>
                  <a:lnTo>
                    <a:pt x="371" y="372"/>
                  </a:lnTo>
                  <a:lnTo>
                    <a:pt x="373" y="374"/>
                  </a:lnTo>
                  <a:lnTo>
                    <a:pt x="378" y="375"/>
                  </a:lnTo>
                  <a:lnTo>
                    <a:pt x="379" y="379"/>
                  </a:lnTo>
                  <a:lnTo>
                    <a:pt x="383" y="379"/>
                  </a:lnTo>
                  <a:lnTo>
                    <a:pt x="384" y="382"/>
                  </a:lnTo>
                  <a:lnTo>
                    <a:pt x="387" y="380"/>
                  </a:lnTo>
                  <a:lnTo>
                    <a:pt x="387" y="383"/>
                  </a:lnTo>
                  <a:lnTo>
                    <a:pt x="387" y="388"/>
                  </a:lnTo>
                  <a:lnTo>
                    <a:pt x="386" y="390"/>
                  </a:lnTo>
                  <a:lnTo>
                    <a:pt x="383" y="391"/>
                  </a:lnTo>
                  <a:lnTo>
                    <a:pt x="378" y="394"/>
                  </a:lnTo>
                  <a:lnTo>
                    <a:pt x="375" y="398"/>
                  </a:lnTo>
                  <a:lnTo>
                    <a:pt x="371" y="401"/>
                  </a:lnTo>
                  <a:lnTo>
                    <a:pt x="370" y="401"/>
                  </a:lnTo>
                  <a:lnTo>
                    <a:pt x="365" y="402"/>
                  </a:lnTo>
                  <a:lnTo>
                    <a:pt x="362" y="406"/>
                  </a:lnTo>
                  <a:lnTo>
                    <a:pt x="359" y="407"/>
                  </a:lnTo>
                  <a:lnTo>
                    <a:pt x="356" y="407"/>
                  </a:lnTo>
                  <a:lnTo>
                    <a:pt x="351" y="410"/>
                  </a:lnTo>
                  <a:lnTo>
                    <a:pt x="348" y="412"/>
                  </a:lnTo>
                  <a:lnTo>
                    <a:pt x="345" y="415"/>
                  </a:lnTo>
                  <a:lnTo>
                    <a:pt x="341" y="415"/>
                  </a:lnTo>
                  <a:lnTo>
                    <a:pt x="337" y="415"/>
                  </a:lnTo>
                  <a:lnTo>
                    <a:pt x="333" y="415"/>
                  </a:lnTo>
                  <a:lnTo>
                    <a:pt x="330" y="417"/>
                  </a:lnTo>
                  <a:lnTo>
                    <a:pt x="327" y="418"/>
                  </a:lnTo>
                  <a:lnTo>
                    <a:pt x="324" y="420"/>
                  </a:lnTo>
                  <a:lnTo>
                    <a:pt x="321" y="423"/>
                  </a:lnTo>
                  <a:lnTo>
                    <a:pt x="316" y="426"/>
                  </a:lnTo>
                  <a:lnTo>
                    <a:pt x="313" y="425"/>
                  </a:lnTo>
                  <a:lnTo>
                    <a:pt x="310" y="421"/>
                  </a:lnTo>
                  <a:lnTo>
                    <a:pt x="303" y="418"/>
                  </a:lnTo>
                  <a:lnTo>
                    <a:pt x="302" y="420"/>
                  </a:lnTo>
                  <a:lnTo>
                    <a:pt x="295" y="421"/>
                  </a:lnTo>
                  <a:lnTo>
                    <a:pt x="294" y="423"/>
                  </a:lnTo>
                  <a:lnTo>
                    <a:pt x="292" y="428"/>
                  </a:lnTo>
                  <a:lnTo>
                    <a:pt x="289" y="432"/>
                  </a:lnTo>
                  <a:lnTo>
                    <a:pt x="286" y="436"/>
                  </a:lnTo>
                  <a:lnTo>
                    <a:pt x="283" y="436"/>
                  </a:lnTo>
                  <a:lnTo>
                    <a:pt x="279" y="439"/>
                  </a:lnTo>
                  <a:lnTo>
                    <a:pt x="276" y="437"/>
                  </a:lnTo>
                  <a:lnTo>
                    <a:pt x="273" y="437"/>
                  </a:lnTo>
                  <a:lnTo>
                    <a:pt x="270" y="437"/>
                  </a:lnTo>
                  <a:lnTo>
                    <a:pt x="267" y="436"/>
                  </a:lnTo>
                  <a:lnTo>
                    <a:pt x="264" y="432"/>
                  </a:lnTo>
                  <a:lnTo>
                    <a:pt x="259" y="432"/>
                  </a:lnTo>
                  <a:lnTo>
                    <a:pt x="256" y="432"/>
                  </a:lnTo>
                  <a:lnTo>
                    <a:pt x="254" y="436"/>
                  </a:lnTo>
                  <a:lnTo>
                    <a:pt x="249" y="437"/>
                  </a:lnTo>
                  <a:lnTo>
                    <a:pt x="246" y="439"/>
                  </a:lnTo>
                  <a:lnTo>
                    <a:pt x="243" y="436"/>
                  </a:lnTo>
                  <a:lnTo>
                    <a:pt x="240" y="437"/>
                  </a:lnTo>
                  <a:lnTo>
                    <a:pt x="237" y="437"/>
                  </a:lnTo>
                  <a:lnTo>
                    <a:pt x="233" y="434"/>
                  </a:lnTo>
                  <a:lnTo>
                    <a:pt x="230" y="431"/>
                  </a:lnTo>
                  <a:lnTo>
                    <a:pt x="227" y="429"/>
                  </a:lnTo>
                  <a:lnTo>
                    <a:pt x="224" y="426"/>
                  </a:lnTo>
                  <a:lnTo>
                    <a:pt x="219" y="428"/>
                  </a:lnTo>
                  <a:lnTo>
                    <a:pt x="216" y="429"/>
                  </a:lnTo>
                  <a:lnTo>
                    <a:pt x="213" y="432"/>
                  </a:lnTo>
                  <a:lnTo>
                    <a:pt x="210" y="432"/>
                  </a:lnTo>
                  <a:lnTo>
                    <a:pt x="207" y="432"/>
                  </a:lnTo>
                  <a:lnTo>
                    <a:pt x="199" y="432"/>
                  </a:lnTo>
                  <a:lnTo>
                    <a:pt x="191" y="432"/>
                  </a:lnTo>
                  <a:lnTo>
                    <a:pt x="189" y="428"/>
                  </a:lnTo>
                  <a:lnTo>
                    <a:pt x="187" y="425"/>
                  </a:lnTo>
                  <a:lnTo>
                    <a:pt x="184" y="421"/>
                  </a:lnTo>
                  <a:lnTo>
                    <a:pt x="181" y="418"/>
                  </a:lnTo>
                  <a:lnTo>
                    <a:pt x="180" y="415"/>
                  </a:lnTo>
                  <a:lnTo>
                    <a:pt x="178" y="412"/>
                  </a:lnTo>
                  <a:lnTo>
                    <a:pt x="176" y="407"/>
                  </a:lnTo>
                  <a:lnTo>
                    <a:pt x="180" y="404"/>
                  </a:lnTo>
                  <a:lnTo>
                    <a:pt x="180" y="401"/>
                  </a:lnTo>
                  <a:lnTo>
                    <a:pt x="180" y="398"/>
                  </a:lnTo>
                  <a:lnTo>
                    <a:pt x="180" y="394"/>
                  </a:lnTo>
                  <a:lnTo>
                    <a:pt x="176" y="391"/>
                  </a:lnTo>
                  <a:lnTo>
                    <a:pt x="176" y="390"/>
                  </a:lnTo>
                  <a:lnTo>
                    <a:pt x="176" y="387"/>
                  </a:lnTo>
                  <a:lnTo>
                    <a:pt x="176" y="383"/>
                  </a:lnTo>
                  <a:lnTo>
                    <a:pt x="178" y="379"/>
                  </a:lnTo>
                  <a:lnTo>
                    <a:pt x="176" y="375"/>
                  </a:lnTo>
                  <a:lnTo>
                    <a:pt x="175" y="372"/>
                  </a:lnTo>
                  <a:lnTo>
                    <a:pt x="175" y="369"/>
                  </a:lnTo>
                  <a:lnTo>
                    <a:pt x="168" y="356"/>
                  </a:lnTo>
                  <a:lnTo>
                    <a:pt x="159" y="347"/>
                  </a:lnTo>
                  <a:lnTo>
                    <a:pt x="154" y="348"/>
                  </a:lnTo>
                  <a:lnTo>
                    <a:pt x="156" y="352"/>
                  </a:lnTo>
                  <a:lnTo>
                    <a:pt x="154" y="355"/>
                  </a:lnTo>
                  <a:lnTo>
                    <a:pt x="154" y="356"/>
                  </a:lnTo>
                  <a:lnTo>
                    <a:pt x="151" y="353"/>
                  </a:lnTo>
                  <a:lnTo>
                    <a:pt x="148" y="350"/>
                  </a:lnTo>
                  <a:lnTo>
                    <a:pt x="146" y="352"/>
                  </a:lnTo>
                  <a:lnTo>
                    <a:pt x="143" y="352"/>
                  </a:lnTo>
                  <a:lnTo>
                    <a:pt x="138" y="352"/>
                  </a:lnTo>
                  <a:lnTo>
                    <a:pt x="135" y="350"/>
                  </a:lnTo>
                  <a:lnTo>
                    <a:pt x="132" y="347"/>
                  </a:lnTo>
                  <a:lnTo>
                    <a:pt x="129" y="347"/>
                  </a:lnTo>
                  <a:lnTo>
                    <a:pt x="126" y="347"/>
                  </a:lnTo>
                  <a:lnTo>
                    <a:pt x="122" y="344"/>
                  </a:lnTo>
                  <a:lnTo>
                    <a:pt x="119" y="344"/>
                  </a:lnTo>
                  <a:lnTo>
                    <a:pt x="116" y="342"/>
                  </a:lnTo>
                  <a:lnTo>
                    <a:pt x="113" y="341"/>
                  </a:lnTo>
                  <a:lnTo>
                    <a:pt x="113" y="341"/>
                  </a:lnTo>
                  <a:lnTo>
                    <a:pt x="113" y="339"/>
                  </a:lnTo>
                  <a:lnTo>
                    <a:pt x="111" y="339"/>
                  </a:lnTo>
                  <a:lnTo>
                    <a:pt x="108" y="337"/>
                  </a:lnTo>
                  <a:lnTo>
                    <a:pt x="103" y="337"/>
                  </a:lnTo>
                  <a:lnTo>
                    <a:pt x="102" y="334"/>
                  </a:lnTo>
                  <a:lnTo>
                    <a:pt x="99" y="333"/>
                  </a:lnTo>
                  <a:lnTo>
                    <a:pt x="96" y="333"/>
                  </a:lnTo>
                  <a:lnTo>
                    <a:pt x="92" y="331"/>
                  </a:lnTo>
                  <a:lnTo>
                    <a:pt x="89" y="329"/>
                  </a:lnTo>
                  <a:lnTo>
                    <a:pt x="86" y="329"/>
                  </a:lnTo>
                  <a:lnTo>
                    <a:pt x="83" y="326"/>
                  </a:lnTo>
                  <a:lnTo>
                    <a:pt x="81" y="323"/>
                  </a:lnTo>
                  <a:lnTo>
                    <a:pt x="76" y="321"/>
                  </a:lnTo>
                  <a:lnTo>
                    <a:pt x="75" y="323"/>
                  </a:lnTo>
                  <a:lnTo>
                    <a:pt x="75" y="323"/>
                  </a:lnTo>
                  <a:lnTo>
                    <a:pt x="70" y="320"/>
                  </a:lnTo>
                  <a:lnTo>
                    <a:pt x="70" y="317"/>
                  </a:lnTo>
                  <a:lnTo>
                    <a:pt x="67" y="314"/>
                  </a:lnTo>
                  <a:lnTo>
                    <a:pt x="65" y="312"/>
                  </a:lnTo>
                  <a:lnTo>
                    <a:pt x="62" y="310"/>
                  </a:lnTo>
                  <a:lnTo>
                    <a:pt x="59" y="310"/>
                  </a:lnTo>
                  <a:lnTo>
                    <a:pt x="56" y="310"/>
                  </a:lnTo>
                  <a:lnTo>
                    <a:pt x="56" y="310"/>
                  </a:lnTo>
                  <a:lnTo>
                    <a:pt x="54" y="306"/>
                  </a:lnTo>
                  <a:lnTo>
                    <a:pt x="54" y="302"/>
                  </a:lnTo>
                  <a:lnTo>
                    <a:pt x="51" y="299"/>
                  </a:lnTo>
                  <a:lnTo>
                    <a:pt x="48" y="296"/>
                  </a:lnTo>
                  <a:lnTo>
                    <a:pt x="48" y="293"/>
                  </a:lnTo>
                  <a:lnTo>
                    <a:pt x="43" y="282"/>
                  </a:lnTo>
                  <a:lnTo>
                    <a:pt x="37" y="271"/>
                  </a:lnTo>
                  <a:lnTo>
                    <a:pt x="35" y="268"/>
                  </a:lnTo>
                  <a:lnTo>
                    <a:pt x="35" y="264"/>
                  </a:lnTo>
                  <a:lnTo>
                    <a:pt x="35" y="260"/>
                  </a:lnTo>
                  <a:lnTo>
                    <a:pt x="35" y="256"/>
                  </a:lnTo>
                  <a:lnTo>
                    <a:pt x="34" y="253"/>
                  </a:lnTo>
                  <a:lnTo>
                    <a:pt x="34" y="250"/>
                  </a:lnTo>
                  <a:lnTo>
                    <a:pt x="35" y="245"/>
                  </a:lnTo>
                  <a:lnTo>
                    <a:pt x="34" y="242"/>
                  </a:lnTo>
                  <a:lnTo>
                    <a:pt x="30" y="239"/>
                  </a:lnTo>
                  <a:lnTo>
                    <a:pt x="29" y="236"/>
                  </a:lnTo>
                  <a:lnTo>
                    <a:pt x="27" y="233"/>
                  </a:lnTo>
                  <a:lnTo>
                    <a:pt x="24" y="230"/>
                  </a:lnTo>
                  <a:lnTo>
                    <a:pt x="21" y="226"/>
                  </a:lnTo>
                  <a:lnTo>
                    <a:pt x="18" y="223"/>
                  </a:lnTo>
                  <a:lnTo>
                    <a:pt x="15" y="225"/>
                  </a:lnTo>
                  <a:lnTo>
                    <a:pt x="13" y="225"/>
                  </a:lnTo>
                  <a:lnTo>
                    <a:pt x="10" y="222"/>
                  </a:lnTo>
                  <a:lnTo>
                    <a:pt x="7" y="218"/>
                  </a:lnTo>
                  <a:lnTo>
                    <a:pt x="5" y="215"/>
                  </a:lnTo>
                  <a:lnTo>
                    <a:pt x="5" y="212"/>
                  </a:lnTo>
                  <a:lnTo>
                    <a:pt x="5" y="209"/>
                  </a:lnTo>
                  <a:lnTo>
                    <a:pt x="5" y="206"/>
                  </a:lnTo>
                  <a:lnTo>
                    <a:pt x="10" y="203"/>
                  </a:lnTo>
                  <a:lnTo>
                    <a:pt x="13" y="199"/>
                  </a:lnTo>
                  <a:lnTo>
                    <a:pt x="13" y="196"/>
                  </a:lnTo>
                  <a:lnTo>
                    <a:pt x="11" y="193"/>
                  </a:lnTo>
                  <a:lnTo>
                    <a:pt x="10" y="188"/>
                  </a:lnTo>
                  <a:lnTo>
                    <a:pt x="8" y="185"/>
                  </a:lnTo>
                  <a:lnTo>
                    <a:pt x="5" y="182"/>
                  </a:lnTo>
                  <a:lnTo>
                    <a:pt x="7" y="179"/>
                  </a:lnTo>
                  <a:lnTo>
                    <a:pt x="7" y="174"/>
                  </a:lnTo>
                  <a:lnTo>
                    <a:pt x="8" y="171"/>
                  </a:lnTo>
                  <a:lnTo>
                    <a:pt x="8" y="168"/>
                  </a:lnTo>
                  <a:lnTo>
                    <a:pt x="7" y="163"/>
                  </a:lnTo>
                  <a:lnTo>
                    <a:pt x="4" y="161"/>
                  </a:lnTo>
                  <a:lnTo>
                    <a:pt x="2" y="158"/>
                  </a:lnTo>
                  <a:lnTo>
                    <a:pt x="0" y="155"/>
                  </a:lnTo>
                  <a:lnTo>
                    <a:pt x="0" y="150"/>
                  </a:lnTo>
                  <a:lnTo>
                    <a:pt x="2" y="144"/>
                  </a:lnTo>
                  <a:lnTo>
                    <a:pt x="4" y="14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93" name="Freeform 462"/>
            <p:cNvSpPr>
              <a:spLocks/>
            </p:cNvSpPr>
            <p:nvPr/>
          </p:nvSpPr>
          <p:spPr bwMode="auto">
            <a:xfrm>
              <a:off x="6497157" y="5245272"/>
              <a:ext cx="201440" cy="470495"/>
            </a:xfrm>
            <a:custGeom>
              <a:avLst/>
              <a:gdLst>
                <a:gd name="T0" fmla="*/ 0 w 273"/>
                <a:gd name="T1" fmla="*/ 435 h 557"/>
                <a:gd name="T2" fmla="*/ 11 w 273"/>
                <a:gd name="T3" fmla="*/ 460 h 557"/>
                <a:gd name="T4" fmla="*/ 10 w 273"/>
                <a:gd name="T5" fmla="*/ 482 h 557"/>
                <a:gd name="T6" fmla="*/ 19 w 273"/>
                <a:gd name="T7" fmla="*/ 519 h 557"/>
                <a:gd name="T8" fmla="*/ 30 w 273"/>
                <a:gd name="T9" fmla="*/ 540 h 557"/>
                <a:gd name="T10" fmla="*/ 48 w 273"/>
                <a:gd name="T11" fmla="*/ 546 h 557"/>
                <a:gd name="T12" fmla="*/ 80 w 273"/>
                <a:gd name="T13" fmla="*/ 552 h 557"/>
                <a:gd name="T14" fmla="*/ 113 w 273"/>
                <a:gd name="T15" fmla="*/ 541 h 557"/>
                <a:gd name="T16" fmla="*/ 133 w 273"/>
                <a:gd name="T17" fmla="*/ 524 h 557"/>
                <a:gd name="T18" fmla="*/ 149 w 273"/>
                <a:gd name="T19" fmla="*/ 484 h 557"/>
                <a:gd name="T20" fmla="*/ 162 w 273"/>
                <a:gd name="T21" fmla="*/ 440 h 557"/>
                <a:gd name="T22" fmla="*/ 187 w 273"/>
                <a:gd name="T23" fmla="*/ 370 h 557"/>
                <a:gd name="T24" fmla="*/ 197 w 273"/>
                <a:gd name="T25" fmla="*/ 340 h 557"/>
                <a:gd name="T26" fmla="*/ 205 w 273"/>
                <a:gd name="T27" fmla="*/ 319 h 557"/>
                <a:gd name="T28" fmla="*/ 224 w 273"/>
                <a:gd name="T29" fmla="*/ 268 h 557"/>
                <a:gd name="T30" fmla="*/ 229 w 273"/>
                <a:gd name="T31" fmla="*/ 248 h 557"/>
                <a:gd name="T32" fmla="*/ 232 w 273"/>
                <a:gd name="T33" fmla="*/ 222 h 557"/>
                <a:gd name="T34" fmla="*/ 244 w 273"/>
                <a:gd name="T35" fmla="*/ 199 h 557"/>
                <a:gd name="T36" fmla="*/ 243 w 273"/>
                <a:gd name="T37" fmla="*/ 170 h 557"/>
                <a:gd name="T38" fmla="*/ 243 w 273"/>
                <a:gd name="T39" fmla="*/ 145 h 557"/>
                <a:gd name="T40" fmla="*/ 256 w 273"/>
                <a:gd name="T41" fmla="*/ 156 h 557"/>
                <a:gd name="T42" fmla="*/ 270 w 273"/>
                <a:gd name="T43" fmla="*/ 149 h 557"/>
                <a:gd name="T44" fmla="*/ 265 w 273"/>
                <a:gd name="T45" fmla="*/ 115 h 557"/>
                <a:gd name="T46" fmla="*/ 263 w 273"/>
                <a:gd name="T47" fmla="*/ 78 h 557"/>
                <a:gd name="T48" fmla="*/ 257 w 273"/>
                <a:gd name="T49" fmla="*/ 54 h 557"/>
                <a:gd name="T50" fmla="*/ 251 w 273"/>
                <a:gd name="T51" fmla="*/ 32 h 557"/>
                <a:gd name="T52" fmla="*/ 240 w 273"/>
                <a:gd name="T53" fmla="*/ 15 h 557"/>
                <a:gd name="T54" fmla="*/ 233 w 273"/>
                <a:gd name="T55" fmla="*/ 0 h 557"/>
                <a:gd name="T56" fmla="*/ 218 w 273"/>
                <a:gd name="T57" fmla="*/ 21 h 557"/>
                <a:gd name="T58" fmla="*/ 218 w 273"/>
                <a:gd name="T59" fmla="*/ 46 h 557"/>
                <a:gd name="T60" fmla="*/ 205 w 273"/>
                <a:gd name="T61" fmla="*/ 64 h 557"/>
                <a:gd name="T62" fmla="*/ 191 w 273"/>
                <a:gd name="T63" fmla="*/ 67 h 557"/>
                <a:gd name="T64" fmla="*/ 186 w 273"/>
                <a:gd name="T65" fmla="*/ 83 h 557"/>
                <a:gd name="T66" fmla="*/ 178 w 273"/>
                <a:gd name="T67" fmla="*/ 92 h 557"/>
                <a:gd name="T68" fmla="*/ 186 w 273"/>
                <a:gd name="T69" fmla="*/ 111 h 557"/>
                <a:gd name="T70" fmla="*/ 172 w 273"/>
                <a:gd name="T71" fmla="*/ 118 h 557"/>
                <a:gd name="T72" fmla="*/ 167 w 273"/>
                <a:gd name="T73" fmla="*/ 111 h 557"/>
                <a:gd name="T74" fmla="*/ 151 w 273"/>
                <a:gd name="T75" fmla="*/ 134 h 557"/>
                <a:gd name="T76" fmla="*/ 146 w 273"/>
                <a:gd name="T77" fmla="*/ 146 h 557"/>
                <a:gd name="T78" fmla="*/ 133 w 273"/>
                <a:gd name="T79" fmla="*/ 141 h 557"/>
                <a:gd name="T80" fmla="*/ 129 w 273"/>
                <a:gd name="T81" fmla="*/ 164 h 557"/>
                <a:gd name="T82" fmla="*/ 121 w 273"/>
                <a:gd name="T83" fmla="*/ 156 h 557"/>
                <a:gd name="T84" fmla="*/ 102 w 273"/>
                <a:gd name="T85" fmla="*/ 156 h 557"/>
                <a:gd name="T86" fmla="*/ 87 w 273"/>
                <a:gd name="T87" fmla="*/ 168 h 557"/>
                <a:gd name="T88" fmla="*/ 70 w 273"/>
                <a:gd name="T89" fmla="*/ 175 h 557"/>
                <a:gd name="T90" fmla="*/ 56 w 273"/>
                <a:gd name="T91" fmla="*/ 184 h 557"/>
                <a:gd name="T92" fmla="*/ 46 w 273"/>
                <a:gd name="T93" fmla="*/ 205 h 557"/>
                <a:gd name="T94" fmla="*/ 34 w 273"/>
                <a:gd name="T95" fmla="*/ 230 h 557"/>
                <a:gd name="T96" fmla="*/ 37 w 273"/>
                <a:gd name="T97" fmla="*/ 254 h 557"/>
                <a:gd name="T98" fmla="*/ 43 w 273"/>
                <a:gd name="T99" fmla="*/ 283 h 557"/>
                <a:gd name="T100" fmla="*/ 49 w 273"/>
                <a:gd name="T101" fmla="*/ 310 h 557"/>
                <a:gd name="T102" fmla="*/ 49 w 273"/>
                <a:gd name="T103" fmla="*/ 325 h 557"/>
                <a:gd name="T104" fmla="*/ 40 w 273"/>
                <a:gd name="T105" fmla="*/ 343 h 557"/>
                <a:gd name="T106" fmla="*/ 26 w 273"/>
                <a:gd name="T107" fmla="*/ 367 h 557"/>
                <a:gd name="T108" fmla="*/ 14 w 273"/>
                <a:gd name="T109" fmla="*/ 381 h 557"/>
                <a:gd name="T110" fmla="*/ 8 w 273"/>
                <a:gd name="T111" fmla="*/ 397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73" h="557">
                  <a:moveTo>
                    <a:pt x="0" y="413"/>
                  </a:moveTo>
                  <a:lnTo>
                    <a:pt x="0" y="417"/>
                  </a:lnTo>
                  <a:lnTo>
                    <a:pt x="0" y="421"/>
                  </a:lnTo>
                  <a:lnTo>
                    <a:pt x="0" y="424"/>
                  </a:lnTo>
                  <a:lnTo>
                    <a:pt x="0" y="427"/>
                  </a:lnTo>
                  <a:lnTo>
                    <a:pt x="0" y="432"/>
                  </a:lnTo>
                  <a:lnTo>
                    <a:pt x="0" y="435"/>
                  </a:lnTo>
                  <a:lnTo>
                    <a:pt x="2" y="438"/>
                  </a:lnTo>
                  <a:lnTo>
                    <a:pt x="3" y="441"/>
                  </a:lnTo>
                  <a:lnTo>
                    <a:pt x="3" y="446"/>
                  </a:lnTo>
                  <a:lnTo>
                    <a:pt x="7" y="449"/>
                  </a:lnTo>
                  <a:lnTo>
                    <a:pt x="10" y="454"/>
                  </a:lnTo>
                  <a:lnTo>
                    <a:pt x="10" y="457"/>
                  </a:lnTo>
                  <a:lnTo>
                    <a:pt x="11" y="460"/>
                  </a:lnTo>
                  <a:lnTo>
                    <a:pt x="11" y="465"/>
                  </a:lnTo>
                  <a:lnTo>
                    <a:pt x="13" y="468"/>
                  </a:lnTo>
                  <a:lnTo>
                    <a:pt x="16" y="471"/>
                  </a:lnTo>
                  <a:lnTo>
                    <a:pt x="14" y="474"/>
                  </a:lnTo>
                  <a:lnTo>
                    <a:pt x="13" y="476"/>
                  </a:lnTo>
                  <a:lnTo>
                    <a:pt x="11" y="479"/>
                  </a:lnTo>
                  <a:lnTo>
                    <a:pt x="10" y="482"/>
                  </a:lnTo>
                  <a:lnTo>
                    <a:pt x="11" y="487"/>
                  </a:lnTo>
                  <a:lnTo>
                    <a:pt x="11" y="495"/>
                  </a:lnTo>
                  <a:lnTo>
                    <a:pt x="10" y="505"/>
                  </a:lnTo>
                  <a:lnTo>
                    <a:pt x="11" y="508"/>
                  </a:lnTo>
                  <a:lnTo>
                    <a:pt x="14" y="513"/>
                  </a:lnTo>
                  <a:lnTo>
                    <a:pt x="18" y="516"/>
                  </a:lnTo>
                  <a:lnTo>
                    <a:pt x="19" y="519"/>
                  </a:lnTo>
                  <a:lnTo>
                    <a:pt x="18" y="524"/>
                  </a:lnTo>
                  <a:lnTo>
                    <a:pt x="19" y="527"/>
                  </a:lnTo>
                  <a:lnTo>
                    <a:pt x="21" y="530"/>
                  </a:lnTo>
                  <a:lnTo>
                    <a:pt x="22" y="535"/>
                  </a:lnTo>
                  <a:lnTo>
                    <a:pt x="22" y="535"/>
                  </a:lnTo>
                  <a:lnTo>
                    <a:pt x="27" y="536"/>
                  </a:lnTo>
                  <a:lnTo>
                    <a:pt x="30" y="540"/>
                  </a:lnTo>
                  <a:lnTo>
                    <a:pt x="35" y="543"/>
                  </a:lnTo>
                  <a:lnTo>
                    <a:pt x="30" y="540"/>
                  </a:lnTo>
                  <a:lnTo>
                    <a:pt x="34" y="544"/>
                  </a:lnTo>
                  <a:lnTo>
                    <a:pt x="37" y="544"/>
                  </a:lnTo>
                  <a:lnTo>
                    <a:pt x="40" y="544"/>
                  </a:lnTo>
                  <a:lnTo>
                    <a:pt x="43" y="546"/>
                  </a:lnTo>
                  <a:lnTo>
                    <a:pt x="48" y="546"/>
                  </a:lnTo>
                  <a:lnTo>
                    <a:pt x="53" y="551"/>
                  </a:lnTo>
                  <a:lnTo>
                    <a:pt x="57" y="554"/>
                  </a:lnTo>
                  <a:lnTo>
                    <a:pt x="62" y="557"/>
                  </a:lnTo>
                  <a:lnTo>
                    <a:pt x="68" y="557"/>
                  </a:lnTo>
                  <a:lnTo>
                    <a:pt x="73" y="557"/>
                  </a:lnTo>
                  <a:lnTo>
                    <a:pt x="75" y="554"/>
                  </a:lnTo>
                  <a:lnTo>
                    <a:pt x="80" y="552"/>
                  </a:lnTo>
                  <a:lnTo>
                    <a:pt x="83" y="549"/>
                  </a:lnTo>
                  <a:lnTo>
                    <a:pt x="87" y="546"/>
                  </a:lnTo>
                  <a:lnTo>
                    <a:pt x="91" y="544"/>
                  </a:lnTo>
                  <a:lnTo>
                    <a:pt x="99" y="541"/>
                  </a:lnTo>
                  <a:lnTo>
                    <a:pt x="106" y="540"/>
                  </a:lnTo>
                  <a:lnTo>
                    <a:pt x="110" y="540"/>
                  </a:lnTo>
                  <a:lnTo>
                    <a:pt x="113" y="541"/>
                  </a:lnTo>
                  <a:lnTo>
                    <a:pt x="118" y="540"/>
                  </a:lnTo>
                  <a:lnTo>
                    <a:pt x="121" y="536"/>
                  </a:lnTo>
                  <a:lnTo>
                    <a:pt x="124" y="536"/>
                  </a:lnTo>
                  <a:lnTo>
                    <a:pt x="127" y="533"/>
                  </a:lnTo>
                  <a:lnTo>
                    <a:pt x="130" y="530"/>
                  </a:lnTo>
                  <a:lnTo>
                    <a:pt x="130" y="527"/>
                  </a:lnTo>
                  <a:lnTo>
                    <a:pt x="133" y="524"/>
                  </a:lnTo>
                  <a:lnTo>
                    <a:pt x="135" y="519"/>
                  </a:lnTo>
                  <a:lnTo>
                    <a:pt x="137" y="516"/>
                  </a:lnTo>
                  <a:lnTo>
                    <a:pt x="140" y="505"/>
                  </a:lnTo>
                  <a:lnTo>
                    <a:pt x="145" y="494"/>
                  </a:lnTo>
                  <a:lnTo>
                    <a:pt x="148" y="490"/>
                  </a:lnTo>
                  <a:lnTo>
                    <a:pt x="149" y="487"/>
                  </a:lnTo>
                  <a:lnTo>
                    <a:pt x="149" y="484"/>
                  </a:lnTo>
                  <a:lnTo>
                    <a:pt x="151" y="479"/>
                  </a:lnTo>
                  <a:lnTo>
                    <a:pt x="151" y="476"/>
                  </a:lnTo>
                  <a:lnTo>
                    <a:pt x="152" y="474"/>
                  </a:lnTo>
                  <a:lnTo>
                    <a:pt x="154" y="468"/>
                  </a:lnTo>
                  <a:lnTo>
                    <a:pt x="157" y="462"/>
                  </a:lnTo>
                  <a:lnTo>
                    <a:pt x="159" y="451"/>
                  </a:lnTo>
                  <a:lnTo>
                    <a:pt x="162" y="440"/>
                  </a:lnTo>
                  <a:lnTo>
                    <a:pt x="168" y="419"/>
                  </a:lnTo>
                  <a:lnTo>
                    <a:pt x="178" y="397"/>
                  </a:lnTo>
                  <a:lnTo>
                    <a:pt x="181" y="387"/>
                  </a:lnTo>
                  <a:lnTo>
                    <a:pt x="184" y="379"/>
                  </a:lnTo>
                  <a:lnTo>
                    <a:pt x="186" y="376"/>
                  </a:lnTo>
                  <a:lnTo>
                    <a:pt x="186" y="373"/>
                  </a:lnTo>
                  <a:lnTo>
                    <a:pt x="187" y="370"/>
                  </a:lnTo>
                  <a:lnTo>
                    <a:pt x="186" y="370"/>
                  </a:lnTo>
                  <a:lnTo>
                    <a:pt x="186" y="368"/>
                  </a:lnTo>
                  <a:lnTo>
                    <a:pt x="187" y="367"/>
                  </a:lnTo>
                  <a:lnTo>
                    <a:pt x="191" y="357"/>
                  </a:lnTo>
                  <a:lnTo>
                    <a:pt x="194" y="346"/>
                  </a:lnTo>
                  <a:lnTo>
                    <a:pt x="195" y="343"/>
                  </a:lnTo>
                  <a:lnTo>
                    <a:pt x="197" y="340"/>
                  </a:lnTo>
                  <a:lnTo>
                    <a:pt x="200" y="332"/>
                  </a:lnTo>
                  <a:lnTo>
                    <a:pt x="202" y="329"/>
                  </a:lnTo>
                  <a:lnTo>
                    <a:pt x="200" y="327"/>
                  </a:lnTo>
                  <a:lnTo>
                    <a:pt x="202" y="327"/>
                  </a:lnTo>
                  <a:lnTo>
                    <a:pt x="203" y="325"/>
                  </a:lnTo>
                  <a:lnTo>
                    <a:pt x="203" y="322"/>
                  </a:lnTo>
                  <a:lnTo>
                    <a:pt x="205" y="319"/>
                  </a:lnTo>
                  <a:lnTo>
                    <a:pt x="205" y="314"/>
                  </a:lnTo>
                  <a:lnTo>
                    <a:pt x="206" y="311"/>
                  </a:lnTo>
                  <a:lnTo>
                    <a:pt x="211" y="300"/>
                  </a:lnTo>
                  <a:lnTo>
                    <a:pt x="214" y="291"/>
                  </a:lnTo>
                  <a:lnTo>
                    <a:pt x="219" y="281"/>
                  </a:lnTo>
                  <a:lnTo>
                    <a:pt x="222" y="272"/>
                  </a:lnTo>
                  <a:lnTo>
                    <a:pt x="224" y="268"/>
                  </a:lnTo>
                  <a:lnTo>
                    <a:pt x="225" y="264"/>
                  </a:lnTo>
                  <a:lnTo>
                    <a:pt x="227" y="260"/>
                  </a:lnTo>
                  <a:lnTo>
                    <a:pt x="227" y="257"/>
                  </a:lnTo>
                  <a:lnTo>
                    <a:pt x="227" y="257"/>
                  </a:lnTo>
                  <a:lnTo>
                    <a:pt x="229" y="252"/>
                  </a:lnTo>
                  <a:lnTo>
                    <a:pt x="229" y="251"/>
                  </a:lnTo>
                  <a:lnTo>
                    <a:pt x="229" y="248"/>
                  </a:lnTo>
                  <a:lnTo>
                    <a:pt x="230" y="245"/>
                  </a:lnTo>
                  <a:lnTo>
                    <a:pt x="232" y="240"/>
                  </a:lnTo>
                  <a:lnTo>
                    <a:pt x="232" y="237"/>
                  </a:lnTo>
                  <a:lnTo>
                    <a:pt x="233" y="233"/>
                  </a:lnTo>
                  <a:lnTo>
                    <a:pt x="232" y="229"/>
                  </a:lnTo>
                  <a:lnTo>
                    <a:pt x="232" y="226"/>
                  </a:lnTo>
                  <a:lnTo>
                    <a:pt x="232" y="222"/>
                  </a:lnTo>
                  <a:lnTo>
                    <a:pt x="230" y="218"/>
                  </a:lnTo>
                  <a:lnTo>
                    <a:pt x="232" y="214"/>
                  </a:lnTo>
                  <a:lnTo>
                    <a:pt x="233" y="214"/>
                  </a:lnTo>
                  <a:lnTo>
                    <a:pt x="235" y="208"/>
                  </a:lnTo>
                  <a:lnTo>
                    <a:pt x="237" y="205"/>
                  </a:lnTo>
                  <a:lnTo>
                    <a:pt x="238" y="202"/>
                  </a:lnTo>
                  <a:lnTo>
                    <a:pt x="244" y="199"/>
                  </a:lnTo>
                  <a:lnTo>
                    <a:pt x="243" y="195"/>
                  </a:lnTo>
                  <a:lnTo>
                    <a:pt x="248" y="189"/>
                  </a:lnTo>
                  <a:lnTo>
                    <a:pt x="248" y="184"/>
                  </a:lnTo>
                  <a:lnTo>
                    <a:pt x="248" y="180"/>
                  </a:lnTo>
                  <a:lnTo>
                    <a:pt x="248" y="173"/>
                  </a:lnTo>
                  <a:lnTo>
                    <a:pt x="244" y="172"/>
                  </a:lnTo>
                  <a:lnTo>
                    <a:pt x="243" y="170"/>
                  </a:lnTo>
                  <a:lnTo>
                    <a:pt x="243" y="167"/>
                  </a:lnTo>
                  <a:lnTo>
                    <a:pt x="244" y="164"/>
                  </a:lnTo>
                  <a:lnTo>
                    <a:pt x="244" y="159"/>
                  </a:lnTo>
                  <a:lnTo>
                    <a:pt x="243" y="156"/>
                  </a:lnTo>
                  <a:lnTo>
                    <a:pt x="241" y="153"/>
                  </a:lnTo>
                  <a:lnTo>
                    <a:pt x="243" y="148"/>
                  </a:lnTo>
                  <a:lnTo>
                    <a:pt x="243" y="145"/>
                  </a:lnTo>
                  <a:lnTo>
                    <a:pt x="246" y="141"/>
                  </a:lnTo>
                  <a:lnTo>
                    <a:pt x="248" y="141"/>
                  </a:lnTo>
                  <a:lnTo>
                    <a:pt x="252" y="145"/>
                  </a:lnTo>
                  <a:lnTo>
                    <a:pt x="252" y="148"/>
                  </a:lnTo>
                  <a:lnTo>
                    <a:pt x="252" y="151"/>
                  </a:lnTo>
                  <a:lnTo>
                    <a:pt x="254" y="156"/>
                  </a:lnTo>
                  <a:lnTo>
                    <a:pt x="256" y="156"/>
                  </a:lnTo>
                  <a:lnTo>
                    <a:pt x="256" y="159"/>
                  </a:lnTo>
                  <a:lnTo>
                    <a:pt x="259" y="162"/>
                  </a:lnTo>
                  <a:lnTo>
                    <a:pt x="259" y="162"/>
                  </a:lnTo>
                  <a:lnTo>
                    <a:pt x="262" y="164"/>
                  </a:lnTo>
                  <a:lnTo>
                    <a:pt x="265" y="159"/>
                  </a:lnTo>
                  <a:lnTo>
                    <a:pt x="267" y="156"/>
                  </a:lnTo>
                  <a:lnTo>
                    <a:pt x="270" y="149"/>
                  </a:lnTo>
                  <a:lnTo>
                    <a:pt x="271" y="145"/>
                  </a:lnTo>
                  <a:lnTo>
                    <a:pt x="273" y="141"/>
                  </a:lnTo>
                  <a:lnTo>
                    <a:pt x="273" y="138"/>
                  </a:lnTo>
                  <a:lnTo>
                    <a:pt x="273" y="134"/>
                  </a:lnTo>
                  <a:lnTo>
                    <a:pt x="271" y="132"/>
                  </a:lnTo>
                  <a:lnTo>
                    <a:pt x="268" y="124"/>
                  </a:lnTo>
                  <a:lnTo>
                    <a:pt x="265" y="115"/>
                  </a:lnTo>
                  <a:lnTo>
                    <a:pt x="263" y="105"/>
                  </a:lnTo>
                  <a:lnTo>
                    <a:pt x="265" y="97"/>
                  </a:lnTo>
                  <a:lnTo>
                    <a:pt x="263" y="92"/>
                  </a:lnTo>
                  <a:lnTo>
                    <a:pt x="263" y="89"/>
                  </a:lnTo>
                  <a:lnTo>
                    <a:pt x="263" y="86"/>
                  </a:lnTo>
                  <a:lnTo>
                    <a:pt x="263" y="81"/>
                  </a:lnTo>
                  <a:lnTo>
                    <a:pt x="263" y="78"/>
                  </a:lnTo>
                  <a:lnTo>
                    <a:pt x="263" y="75"/>
                  </a:lnTo>
                  <a:lnTo>
                    <a:pt x="262" y="72"/>
                  </a:lnTo>
                  <a:lnTo>
                    <a:pt x="262" y="67"/>
                  </a:lnTo>
                  <a:lnTo>
                    <a:pt x="260" y="64"/>
                  </a:lnTo>
                  <a:lnTo>
                    <a:pt x="260" y="61"/>
                  </a:lnTo>
                  <a:lnTo>
                    <a:pt x="259" y="57"/>
                  </a:lnTo>
                  <a:lnTo>
                    <a:pt x="257" y="54"/>
                  </a:lnTo>
                  <a:lnTo>
                    <a:pt x="257" y="50"/>
                  </a:lnTo>
                  <a:lnTo>
                    <a:pt x="257" y="50"/>
                  </a:lnTo>
                  <a:lnTo>
                    <a:pt x="257" y="46"/>
                  </a:lnTo>
                  <a:lnTo>
                    <a:pt x="257" y="42"/>
                  </a:lnTo>
                  <a:lnTo>
                    <a:pt x="256" y="38"/>
                  </a:lnTo>
                  <a:lnTo>
                    <a:pt x="252" y="35"/>
                  </a:lnTo>
                  <a:lnTo>
                    <a:pt x="251" y="32"/>
                  </a:lnTo>
                  <a:lnTo>
                    <a:pt x="248" y="34"/>
                  </a:lnTo>
                  <a:lnTo>
                    <a:pt x="248" y="30"/>
                  </a:lnTo>
                  <a:lnTo>
                    <a:pt x="244" y="27"/>
                  </a:lnTo>
                  <a:lnTo>
                    <a:pt x="246" y="24"/>
                  </a:lnTo>
                  <a:lnTo>
                    <a:pt x="243" y="19"/>
                  </a:lnTo>
                  <a:lnTo>
                    <a:pt x="243" y="16"/>
                  </a:lnTo>
                  <a:lnTo>
                    <a:pt x="240" y="15"/>
                  </a:lnTo>
                  <a:lnTo>
                    <a:pt x="238" y="11"/>
                  </a:lnTo>
                  <a:lnTo>
                    <a:pt x="235" y="11"/>
                  </a:lnTo>
                  <a:lnTo>
                    <a:pt x="235" y="8"/>
                  </a:lnTo>
                  <a:lnTo>
                    <a:pt x="238" y="8"/>
                  </a:lnTo>
                  <a:lnTo>
                    <a:pt x="238" y="5"/>
                  </a:lnTo>
                  <a:lnTo>
                    <a:pt x="237" y="2"/>
                  </a:lnTo>
                  <a:lnTo>
                    <a:pt x="233" y="0"/>
                  </a:lnTo>
                  <a:lnTo>
                    <a:pt x="230" y="5"/>
                  </a:lnTo>
                  <a:lnTo>
                    <a:pt x="232" y="8"/>
                  </a:lnTo>
                  <a:lnTo>
                    <a:pt x="230" y="11"/>
                  </a:lnTo>
                  <a:lnTo>
                    <a:pt x="227" y="13"/>
                  </a:lnTo>
                  <a:lnTo>
                    <a:pt x="224" y="16"/>
                  </a:lnTo>
                  <a:lnTo>
                    <a:pt x="221" y="21"/>
                  </a:lnTo>
                  <a:lnTo>
                    <a:pt x="218" y="21"/>
                  </a:lnTo>
                  <a:lnTo>
                    <a:pt x="221" y="24"/>
                  </a:lnTo>
                  <a:lnTo>
                    <a:pt x="219" y="27"/>
                  </a:lnTo>
                  <a:lnTo>
                    <a:pt x="221" y="30"/>
                  </a:lnTo>
                  <a:lnTo>
                    <a:pt x="222" y="35"/>
                  </a:lnTo>
                  <a:lnTo>
                    <a:pt x="222" y="38"/>
                  </a:lnTo>
                  <a:lnTo>
                    <a:pt x="219" y="42"/>
                  </a:lnTo>
                  <a:lnTo>
                    <a:pt x="218" y="46"/>
                  </a:lnTo>
                  <a:lnTo>
                    <a:pt x="218" y="53"/>
                  </a:lnTo>
                  <a:lnTo>
                    <a:pt x="216" y="54"/>
                  </a:lnTo>
                  <a:lnTo>
                    <a:pt x="214" y="57"/>
                  </a:lnTo>
                  <a:lnTo>
                    <a:pt x="211" y="61"/>
                  </a:lnTo>
                  <a:lnTo>
                    <a:pt x="208" y="61"/>
                  </a:lnTo>
                  <a:lnTo>
                    <a:pt x="205" y="61"/>
                  </a:lnTo>
                  <a:lnTo>
                    <a:pt x="205" y="64"/>
                  </a:lnTo>
                  <a:lnTo>
                    <a:pt x="202" y="64"/>
                  </a:lnTo>
                  <a:lnTo>
                    <a:pt x="198" y="69"/>
                  </a:lnTo>
                  <a:lnTo>
                    <a:pt x="198" y="72"/>
                  </a:lnTo>
                  <a:lnTo>
                    <a:pt x="197" y="75"/>
                  </a:lnTo>
                  <a:lnTo>
                    <a:pt x="194" y="73"/>
                  </a:lnTo>
                  <a:lnTo>
                    <a:pt x="192" y="70"/>
                  </a:lnTo>
                  <a:lnTo>
                    <a:pt x="191" y="67"/>
                  </a:lnTo>
                  <a:lnTo>
                    <a:pt x="189" y="64"/>
                  </a:lnTo>
                  <a:lnTo>
                    <a:pt x="186" y="64"/>
                  </a:lnTo>
                  <a:lnTo>
                    <a:pt x="183" y="69"/>
                  </a:lnTo>
                  <a:lnTo>
                    <a:pt x="183" y="72"/>
                  </a:lnTo>
                  <a:lnTo>
                    <a:pt x="183" y="75"/>
                  </a:lnTo>
                  <a:lnTo>
                    <a:pt x="183" y="78"/>
                  </a:lnTo>
                  <a:lnTo>
                    <a:pt x="186" y="83"/>
                  </a:lnTo>
                  <a:lnTo>
                    <a:pt x="187" y="86"/>
                  </a:lnTo>
                  <a:lnTo>
                    <a:pt x="187" y="86"/>
                  </a:lnTo>
                  <a:lnTo>
                    <a:pt x="187" y="91"/>
                  </a:lnTo>
                  <a:lnTo>
                    <a:pt x="186" y="94"/>
                  </a:lnTo>
                  <a:lnTo>
                    <a:pt x="184" y="89"/>
                  </a:lnTo>
                  <a:lnTo>
                    <a:pt x="183" y="94"/>
                  </a:lnTo>
                  <a:lnTo>
                    <a:pt x="178" y="92"/>
                  </a:lnTo>
                  <a:lnTo>
                    <a:pt x="176" y="95"/>
                  </a:lnTo>
                  <a:lnTo>
                    <a:pt x="175" y="99"/>
                  </a:lnTo>
                  <a:lnTo>
                    <a:pt x="175" y="103"/>
                  </a:lnTo>
                  <a:lnTo>
                    <a:pt x="178" y="107"/>
                  </a:lnTo>
                  <a:lnTo>
                    <a:pt x="181" y="107"/>
                  </a:lnTo>
                  <a:lnTo>
                    <a:pt x="184" y="108"/>
                  </a:lnTo>
                  <a:lnTo>
                    <a:pt x="186" y="111"/>
                  </a:lnTo>
                  <a:lnTo>
                    <a:pt x="184" y="115"/>
                  </a:lnTo>
                  <a:lnTo>
                    <a:pt x="184" y="113"/>
                  </a:lnTo>
                  <a:lnTo>
                    <a:pt x="183" y="108"/>
                  </a:lnTo>
                  <a:lnTo>
                    <a:pt x="179" y="110"/>
                  </a:lnTo>
                  <a:lnTo>
                    <a:pt x="176" y="110"/>
                  </a:lnTo>
                  <a:lnTo>
                    <a:pt x="173" y="113"/>
                  </a:lnTo>
                  <a:lnTo>
                    <a:pt x="172" y="118"/>
                  </a:lnTo>
                  <a:lnTo>
                    <a:pt x="170" y="121"/>
                  </a:lnTo>
                  <a:lnTo>
                    <a:pt x="167" y="124"/>
                  </a:lnTo>
                  <a:lnTo>
                    <a:pt x="164" y="127"/>
                  </a:lnTo>
                  <a:lnTo>
                    <a:pt x="164" y="122"/>
                  </a:lnTo>
                  <a:lnTo>
                    <a:pt x="167" y="119"/>
                  </a:lnTo>
                  <a:lnTo>
                    <a:pt x="167" y="116"/>
                  </a:lnTo>
                  <a:lnTo>
                    <a:pt x="167" y="111"/>
                  </a:lnTo>
                  <a:lnTo>
                    <a:pt x="164" y="113"/>
                  </a:lnTo>
                  <a:lnTo>
                    <a:pt x="160" y="116"/>
                  </a:lnTo>
                  <a:lnTo>
                    <a:pt x="160" y="121"/>
                  </a:lnTo>
                  <a:lnTo>
                    <a:pt x="157" y="124"/>
                  </a:lnTo>
                  <a:lnTo>
                    <a:pt x="154" y="127"/>
                  </a:lnTo>
                  <a:lnTo>
                    <a:pt x="151" y="130"/>
                  </a:lnTo>
                  <a:lnTo>
                    <a:pt x="151" y="134"/>
                  </a:lnTo>
                  <a:lnTo>
                    <a:pt x="154" y="137"/>
                  </a:lnTo>
                  <a:lnTo>
                    <a:pt x="157" y="141"/>
                  </a:lnTo>
                  <a:lnTo>
                    <a:pt x="154" y="143"/>
                  </a:lnTo>
                  <a:lnTo>
                    <a:pt x="152" y="141"/>
                  </a:lnTo>
                  <a:lnTo>
                    <a:pt x="151" y="143"/>
                  </a:lnTo>
                  <a:lnTo>
                    <a:pt x="149" y="145"/>
                  </a:lnTo>
                  <a:lnTo>
                    <a:pt x="146" y="146"/>
                  </a:lnTo>
                  <a:lnTo>
                    <a:pt x="148" y="143"/>
                  </a:lnTo>
                  <a:lnTo>
                    <a:pt x="149" y="140"/>
                  </a:lnTo>
                  <a:lnTo>
                    <a:pt x="148" y="137"/>
                  </a:lnTo>
                  <a:lnTo>
                    <a:pt x="145" y="134"/>
                  </a:lnTo>
                  <a:lnTo>
                    <a:pt x="141" y="137"/>
                  </a:lnTo>
                  <a:lnTo>
                    <a:pt x="138" y="138"/>
                  </a:lnTo>
                  <a:lnTo>
                    <a:pt x="133" y="141"/>
                  </a:lnTo>
                  <a:lnTo>
                    <a:pt x="130" y="145"/>
                  </a:lnTo>
                  <a:lnTo>
                    <a:pt x="127" y="148"/>
                  </a:lnTo>
                  <a:lnTo>
                    <a:pt x="124" y="151"/>
                  </a:lnTo>
                  <a:lnTo>
                    <a:pt x="124" y="154"/>
                  </a:lnTo>
                  <a:lnTo>
                    <a:pt x="124" y="157"/>
                  </a:lnTo>
                  <a:lnTo>
                    <a:pt x="127" y="161"/>
                  </a:lnTo>
                  <a:lnTo>
                    <a:pt x="129" y="164"/>
                  </a:lnTo>
                  <a:lnTo>
                    <a:pt x="126" y="162"/>
                  </a:lnTo>
                  <a:lnTo>
                    <a:pt x="126" y="164"/>
                  </a:lnTo>
                  <a:lnTo>
                    <a:pt x="124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1" y="161"/>
                  </a:lnTo>
                  <a:lnTo>
                    <a:pt x="121" y="156"/>
                  </a:lnTo>
                  <a:lnTo>
                    <a:pt x="118" y="153"/>
                  </a:lnTo>
                  <a:lnTo>
                    <a:pt x="113" y="156"/>
                  </a:lnTo>
                  <a:lnTo>
                    <a:pt x="113" y="159"/>
                  </a:lnTo>
                  <a:lnTo>
                    <a:pt x="108" y="156"/>
                  </a:lnTo>
                  <a:lnTo>
                    <a:pt x="105" y="157"/>
                  </a:lnTo>
                  <a:lnTo>
                    <a:pt x="105" y="157"/>
                  </a:lnTo>
                  <a:lnTo>
                    <a:pt x="102" y="156"/>
                  </a:lnTo>
                  <a:lnTo>
                    <a:pt x="99" y="159"/>
                  </a:lnTo>
                  <a:lnTo>
                    <a:pt x="99" y="164"/>
                  </a:lnTo>
                  <a:lnTo>
                    <a:pt x="95" y="167"/>
                  </a:lnTo>
                  <a:lnTo>
                    <a:pt x="95" y="164"/>
                  </a:lnTo>
                  <a:lnTo>
                    <a:pt x="92" y="164"/>
                  </a:lnTo>
                  <a:lnTo>
                    <a:pt x="89" y="165"/>
                  </a:lnTo>
                  <a:lnTo>
                    <a:pt x="87" y="168"/>
                  </a:lnTo>
                  <a:lnTo>
                    <a:pt x="86" y="167"/>
                  </a:lnTo>
                  <a:lnTo>
                    <a:pt x="83" y="164"/>
                  </a:lnTo>
                  <a:lnTo>
                    <a:pt x="80" y="165"/>
                  </a:lnTo>
                  <a:lnTo>
                    <a:pt x="76" y="170"/>
                  </a:lnTo>
                  <a:lnTo>
                    <a:pt x="73" y="173"/>
                  </a:lnTo>
                  <a:lnTo>
                    <a:pt x="73" y="173"/>
                  </a:lnTo>
                  <a:lnTo>
                    <a:pt x="70" y="175"/>
                  </a:lnTo>
                  <a:lnTo>
                    <a:pt x="65" y="173"/>
                  </a:lnTo>
                  <a:lnTo>
                    <a:pt x="62" y="173"/>
                  </a:lnTo>
                  <a:lnTo>
                    <a:pt x="59" y="173"/>
                  </a:lnTo>
                  <a:lnTo>
                    <a:pt x="54" y="175"/>
                  </a:lnTo>
                  <a:lnTo>
                    <a:pt x="54" y="178"/>
                  </a:lnTo>
                  <a:lnTo>
                    <a:pt x="54" y="181"/>
                  </a:lnTo>
                  <a:lnTo>
                    <a:pt x="56" y="184"/>
                  </a:lnTo>
                  <a:lnTo>
                    <a:pt x="54" y="187"/>
                  </a:lnTo>
                  <a:lnTo>
                    <a:pt x="54" y="187"/>
                  </a:lnTo>
                  <a:lnTo>
                    <a:pt x="54" y="191"/>
                  </a:lnTo>
                  <a:lnTo>
                    <a:pt x="53" y="194"/>
                  </a:lnTo>
                  <a:lnTo>
                    <a:pt x="51" y="199"/>
                  </a:lnTo>
                  <a:lnTo>
                    <a:pt x="49" y="202"/>
                  </a:lnTo>
                  <a:lnTo>
                    <a:pt x="46" y="205"/>
                  </a:lnTo>
                  <a:lnTo>
                    <a:pt x="45" y="208"/>
                  </a:lnTo>
                  <a:lnTo>
                    <a:pt x="43" y="213"/>
                  </a:lnTo>
                  <a:lnTo>
                    <a:pt x="40" y="216"/>
                  </a:lnTo>
                  <a:lnTo>
                    <a:pt x="38" y="219"/>
                  </a:lnTo>
                  <a:lnTo>
                    <a:pt x="35" y="222"/>
                  </a:lnTo>
                  <a:lnTo>
                    <a:pt x="35" y="227"/>
                  </a:lnTo>
                  <a:lnTo>
                    <a:pt x="34" y="230"/>
                  </a:lnTo>
                  <a:lnTo>
                    <a:pt x="37" y="235"/>
                  </a:lnTo>
                  <a:lnTo>
                    <a:pt x="37" y="237"/>
                  </a:lnTo>
                  <a:lnTo>
                    <a:pt x="37" y="240"/>
                  </a:lnTo>
                  <a:lnTo>
                    <a:pt x="37" y="243"/>
                  </a:lnTo>
                  <a:lnTo>
                    <a:pt x="37" y="248"/>
                  </a:lnTo>
                  <a:lnTo>
                    <a:pt x="37" y="251"/>
                  </a:lnTo>
                  <a:lnTo>
                    <a:pt x="37" y="254"/>
                  </a:lnTo>
                  <a:lnTo>
                    <a:pt x="37" y="257"/>
                  </a:lnTo>
                  <a:lnTo>
                    <a:pt x="37" y="262"/>
                  </a:lnTo>
                  <a:lnTo>
                    <a:pt x="37" y="265"/>
                  </a:lnTo>
                  <a:lnTo>
                    <a:pt x="40" y="272"/>
                  </a:lnTo>
                  <a:lnTo>
                    <a:pt x="43" y="276"/>
                  </a:lnTo>
                  <a:lnTo>
                    <a:pt x="43" y="279"/>
                  </a:lnTo>
                  <a:lnTo>
                    <a:pt x="43" y="283"/>
                  </a:lnTo>
                  <a:lnTo>
                    <a:pt x="41" y="287"/>
                  </a:lnTo>
                  <a:lnTo>
                    <a:pt x="43" y="294"/>
                  </a:lnTo>
                  <a:lnTo>
                    <a:pt x="46" y="297"/>
                  </a:lnTo>
                  <a:lnTo>
                    <a:pt x="46" y="300"/>
                  </a:lnTo>
                  <a:lnTo>
                    <a:pt x="49" y="303"/>
                  </a:lnTo>
                  <a:lnTo>
                    <a:pt x="49" y="306"/>
                  </a:lnTo>
                  <a:lnTo>
                    <a:pt x="49" y="310"/>
                  </a:lnTo>
                  <a:lnTo>
                    <a:pt x="48" y="311"/>
                  </a:lnTo>
                  <a:lnTo>
                    <a:pt x="46" y="314"/>
                  </a:lnTo>
                  <a:lnTo>
                    <a:pt x="48" y="316"/>
                  </a:lnTo>
                  <a:lnTo>
                    <a:pt x="46" y="318"/>
                  </a:lnTo>
                  <a:lnTo>
                    <a:pt x="46" y="321"/>
                  </a:lnTo>
                  <a:lnTo>
                    <a:pt x="48" y="322"/>
                  </a:lnTo>
                  <a:lnTo>
                    <a:pt x="49" y="325"/>
                  </a:lnTo>
                  <a:lnTo>
                    <a:pt x="48" y="329"/>
                  </a:lnTo>
                  <a:lnTo>
                    <a:pt x="48" y="332"/>
                  </a:lnTo>
                  <a:lnTo>
                    <a:pt x="45" y="335"/>
                  </a:lnTo>
                  <a:lnTo>
                    <a:pt x="41" y="338"/>
                  </a:lnTo>
                  <a:lnTo>
                    <a:pt x="40" y="341"/>
                  </a:lnTo>
                  <a:lnTo>
                    <a:pt x="40" y="341"/>
                  </a:lnTo>
                  <a:lnTo>
                    <a:pt x="40" y="343"/>
                  </a:lnTo>
                  <a:lnTo>
                    <a:pt x="38" y="346"/>
                  </a:lnTo>
                  <a:lnTo>
                    <a:pt x="35" y="349"/>
                  </a:lnTo>
                  <a:lnTo>
                    <a:pt x="35" y="352"/>
                  </a:lnTo>
                  <a:lnTo>
                    <a:pt x="32" y="356"/>
                  </a:lnTo>
                  <a:lnTo>
                    <a:pt x="29" y="360"/>
                  </a:lnTo>
                  <a:lnTo>
                    <a:pt x="27" y="363"/>
                  </a:lnTo>
                  <a:lnTo>
                    <a:pt x="26" y="367"/>
                  </a:lnTo>
                  <a:lnTo>
                    <a:pt x="26" y="370"/>
                  </a:lnTo>
                  <a:lnTo>
                    <a:pt x="24" y="375"/>
                  </a:lnTo>
                  <a:lnTo>
                    <a:pt x="22" y="378"/>
                  </a:lnTo>
                  <a:lnTo>
                    <a:pt x="19" y="381"/>
                  </a:lnTo>
                  <a:lnTo>
                    <a:pt x="19" y="381"/>
                  </a:lnTo>
                  <a:lnTo>
                    <a:pt x="16" y="381"/>
                  </a:lnTo>
                  <a:lnTo>
                    <a:pt x="14" y="381"/>
                  </a:lnTo>
                  <a:lnTo>
                    <a:pt x="13" y="383"/>
                  </a:lnTo>
                  <a:lnTo>
                    <a:pt x="11" y="383"/>
                  </a:lnTo>
                  <a:lnTo>
                    <a:pt x="11" y="383"/>
                  </a:lnTo>
                  <a:lnTo>
                    <a:pt x="10" y="386"/>
                  </a:lnTo>
                  <a:lnTo>
                    <a:pt x="10" y="390"/>
                  </a:lnTo>
                  <a:lnTo>
                    <a:pt x="10" y="394"/>
                  </a:lnTo>
                  <a:lnTo>
                    <a:pt x="8" y="397"/>
                  </a:lnTo>
                  <a:lnTo>
                    <a:pt x="5" y="400"/>
                  </a:lnTo>
                  <a:lnTo>
                    <a:pt x="5" y="402"/>
                  </a:lnTo>
                  <a:lnTo>
                    <a:pt x="2" y="406"/>
                  </a:lnTo>
                  <a:lnTo>
                    <a:pt x="2" y="409"/>
                  </a:lnTo>
                  <a:lnTo>
                    <a:pt x="0" y="41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94" name="Freeform 463"/>
            <p:cNvSpPr>
              <a:spLocks/>
            </p:cNvSpPr>
            <p:nvPr/>
          </p:nvSpPr>
          <p:spPr bwMode="auto">
            <a:xfrm>
              <a:off x="6810345" y="5551601"/>
              <a:ext cx="17644" cy="18617"/>
            </a:xfrm>
            <a:custGeom>
              <a:avLst/>
              <a:gdLst>
                <a:gd name="T0" fmla="*/ 17 w 22"/>
                <a:gd name="T1" fmla="*/ 7 h 21"/>
                <a:gd name="T2" fmla="*/ 16 w 22"/>
                <a:gd name="T3" fmla="*/ 4 h 21"/>
                <a:gd name="T4" fmla="*/ 13 w 22"/>
                <a:gd name="T5" fmla="*/ 2 h 21"/>
                <a:gd name="T6" fmla="*/ 9 w 22"/>
                <a:gd name="T7" fmla="*/ 0 h 21"/>
                <a:gd name="T8" fmla="*/ 6 w 22"/>
                <a:gd name="T9" fmla="*/ 2 h 21"/>
                <a:gd name="T10" fmla="*/ 3 w 22"/>
                <a:gd name="T11" fmla="*/ 5 h 21"/>
                <a:gd name="T12" fmla="*/ 0 w 22"/>
                <a:gd name="T13" fmla="*/ 8 h 21"/>
                <a:gd name="T14" fmla="*/ 1 w 22"/>
                <a:gd name="T15" fmla="*/ 12 h 21"/>
                <a:gd name="T16" fmla="*/ 3 w 22"/>
                <a:gd name="T17" fmla="*/ 16 h 21"/>
                <a:gd name="T18" fmla="*/ 6 w 22"/>
                <a:gd name="T19" fmla="*/ 18 h 21"/>
                <a:gd name="T20" fmla="*/ 9 w 22"/>
                <a:gd name="T21" fmla="*/ 21 h 21"/>
                <a:gd name="T22" fmla="*/ 13 w 22"/>
                <a:gd name="T23" fmla="*/ 21 h 21"/>
                <a:gd name="T24" fmla="*/ 16 w 22"/>
                <a:gd name="T25" fmla="*/ 21 h 21"/>
                <a:gd name="T26" fmla="*/ 20 w 22"/>
                <a:gd name="T27" fmla="*/ 21 h 21"/>
                <a:gd name="T28" fmla="*/ 20 w 22"/>
                <a:gd name="T29" fmla="*/ 16 h 21"/>
                <a:gd name="T30" fmla="*/ 22 w 22"/>
                <a:gd name="T31" fmla="*/ 13 h 21"/>
                <a:gd name="T32" fmla="*/ 19 w 22"/>
                <a:gd name="T33" fmla="*/ 10 h 21"/>
                <a:gd name="T34" fmla="*/ 17 w 22"/>
                <a:gd name="T35" fmla="*/ 7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" h="21">
                  <a:moveTo>
                    <a:pt x="17" y="7"/>
                  </a:moveTo>
                  <a:lnTo>
                    <a:pt x="16" y="4"/>
                  </a:lnTo>
                  <a:lnTo>
                    <a:pt x="13" y="2"/>
                  </a:lnTo>
                  <a:lnTo>
                    <a:pt x="9" y="0"/>
                  </a:lnTo>
                  <a:lnTo>
                    <a:pt x="6" y="2"/>
                  </a:lnTo>
                  <a:lnTo>
                    <a:pt x="3" y="5"/>
                  </a:lnTo>
                  <a:lnTo>
                    <a:pt x="0" y="8"/>
                  </a:lnTo>
                  <a:lnTo>
                    <a:pt x="1" y="12"/>
                  </a:lnTo>
                  <a:lnTo>
                    <a:pt x="3" y="16"/>
                  </a:lnTo>
                  <a:lnTo>
                    <a:pt x="6" y="18"/>
                  </a:lnTo>
                  <a:lnTo>
                    <a:pt x="9" y="21"/>
                  </a:lnTo>
                  <a:lnTo>
                    <a:pt x="13" y="21"/>
                  </a:lnTo>
                  <a:lnTo>
                    <a:pt x="16" y="21"/>
                  </a:lnTo>
                  <a:lnTo>
                    <a:pt x="20" y="21"/>
                  </a:lnTo>
                  <a:lnTo>
                    <a:pt x="20" y="16"/>
                  </a:lnTo>
                  <a:lnTo>
                    <a:pt x="22" y="13"/>
                  </a:lnTo>
                  <a:lnTo>
                    <a:pt x="19" y="10"/>
                  </a:lnTo>
                  <a:lnTo>
                    <a:pt x="17" y="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95" name="Freeform 464"/>
            <p:cNvSpPr>
              <a:spLocks/>
            </p:cNvSpPr>
            <p:nvPr/>
          </p:nvSpPr>
          <p:spPr bwMode="auto">
            <a:xfrm>
              <a:off x="6867689" y="5522830"/>
              <a:ext cx="11763" cy="16924"/>
            </a:xfrm>
            <a:custGeom>
              <a:avLst/>
              <a:gdLst>
                <a:gd name="T0" fmla="*/ 9 w 15"/>
                <a:gd name="T1" fmla="*/ 0 h 20"/>
                <a:gd name="T2" fmla="*/ 6 w 15"/>
                <a:gd name="T3" fmla="*/ 3 h 20"/>
                <a:gd name="T4" fmla="*/ 3 w 15"/>
                <a:gd name="T5" fmla="*/ 8 h 20"/>
                <a:gd name="T6" fmla="*/ 0 w 15"/>
                <a:gd name="T7" fmla="*/ 12 h 20"/>
                <a:gd name="T8" fmla="*/ 0 w 15"/>
                <a:gd name="T9" fmla="*/ 17 h 20"/>
                <a:gd name="T10" fmla="*/ 3 w 15"/>
                <a:gd name="T11" fmla="*/ 20 h 20"/>
                <a:gd name="T12" fmla="*/ 6 w 15"/>
                <a:gd name="T13" fmla="*/ 20 h 20"/>
                <a:gd name="T14" fmla="*/ 11 w 15"/>
                <a:gd name="T15" fmla="*/ 19 h 20"/>
                <a:gd name="T16" fmla="*/ 12 w 15"/>
                <a:gd name="T17" fmla="*/ 15 h 20"/>
                <a:gd name="T18" fmla="*/ 15 w 15"/>
                <a:gd name="T19" fmla="*/ 11 h 20"/>
                <a:gd name="T20" fmla="*/ 15 w 15"/>
                <a:gd name="T21" fmla="*/ 8 h 20"/>
                <a:gd name="T22" fmla="*/ 14 w 15"/>
                <a:gd name="T23" fmla="*/ 4 h 20"/>
                <a:gd name="T24" fmla="*/ 12 w 15"/>
                <a:gd name="T25" fmla="*/ 0 h 20"/>
                <a:gd name="T26" fmla="*/ 9 w 15"/>
                <a:gd name="T27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" h="20">
                  <a:moveTo>
                    <a:pt x="9" y="0"/>
                  </a:moveTo>
                  <a:lnTo>
                    <a:pt x="6" y="3"/>
                  </a:lnTo>
                  <a:lnTo>
                    <a:pt x="3" y="8"/>
                  </a:lnTo>
                  <a:lnTo>
                    <a:pt x="0" y="12"/>
                  </a:lnTo>
                  <a:lnTo>
                    <a:pt x="0" y="17"/>
                  </a:lnTo>
                  <a:lnTo>
                    <a:pt x="3" y="20"/>
                  </a:lnTo>
                  <a:lnTo>
                    <a:pt x="6" y="20"/>
                  </a:lnTo>
                  <a:lnTo>
                    <a:pt x="11" y="19"/>
                  </a:lnTo>
                  <a:lnTo>
                    <a:pt x="12" y="15"/>
                  </a:lnTo>
                  <a:lnTo>
                    <a:pt x="15" y="11"/>
                  </a:lnTo>
                  <a:lnTo>
                    <a:pt x="15" y="8"/>
                  </a:lnTo>
                  <a:lnTo>
                    <a:pt x="14" y="4"/>
                  </a:lnTo>
                  <a:lnTo>
                    <a:pt x="12" y="0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grpSp>
          <p:nvGrpSpPr>
            <p:cNvPr id="296" name="Group 465"/>
            <p:cNvGrpSpPr>
              <a:grpSpLocks/>
            </p:cNvGrpSpPr>
            <p:nvPr/>
          </p:nvGrpSpPr>
          <p:grpSpPr bwMode="auto">
            <a:xfrm>
              <a:off x="6510628" y="5223356"/>
              <a:ext cx="52935" cy="55852"/>
              <a:chOff x="3376" y="2722"/>
              <a:chExt cx="36" cy="33"/>
            </a:xfrm>
            <a:solidFill>
              <a:schemeClr val="bg1">
                <a:lumMod val="65000"/>
              </a:schemeClr>
            </a:solidFill>
          </p:grpSpPr>
          <p:sp>
            <p:nvSpPr>
              <p:cNvPr id="717" name="Freeform 466"/>
              <p:cNvSpPr>
                <a:spLocks/>
              </p:cNvSpPr>
              <p:nvPr/>
            </p:nvSpPr>
            <p:spPr bwMode="auto">
              <a:xfrm>
                <a:off x="3409" y="2750"/>
                <a:ext cx="3" cy="5"/>
              </a:xfrm>
              <a:custGeom>
                <a:avLst/>
                <a:gdLst>
                  <a:gd name="T0" fmla="*/ 0 w 5"/>
                  <a:gd name="T1" fmla="*/ 12 h 12"/>
                  <a:gd name="T2" fmla="*/ 3 w 5"/>
                  <a:gd name="T3" fmla="*/ 8 h 12"/>
                  <a:gd name="T4" fmla="*/ 3 w 5"/>
                  <a:gd name="T5" fmla="*/ 5 h 12"/>
                  <a:gd name="T6" fmla="*/ 5 w 5"/>
                  <a:gd name="T7" fmla="*/ 4 h 12"/>
                  <a:gd name="T8" fmla="*/ 0 w 5"/>
                  <a:gd name="T9" fmla="*/ 0 h 12"/>
                  <a:gd name="T10" fmla="*/ 0 w 5"/>
                  <a:gd name="T11" fmla="*/ 4 h 12"/>
                  <a:gd name="T12" fmla="*/ 0 w 5"/>
                  <a:gd name="T13" fmla="*/ 7 h 12"/>
                  <a:gd name="T14" fmla="*/ 0 w 5"/>
                  <a:gd name="T15" fmla="*/ 10 h 12"/>
                  <a:gd name="T16" fmla="*/ 0 w 5"/>
                  <a:gd name="T17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" h="12">
                    <a:moveTo>
                      <a:pt x="0" y="12"/>
                    </a:moveTo>
                    <a:lnTo>
                      <a:pt x="3" y="8"/>
                    </a:lnTo>
                    <a:lnTo>
                      <a:pt x="3" y="5"/>
                    </a:lnTo>
                    <a:lnTo>
                      <a:pt x="5" y="4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7"/>
                    </a:lnTo>
                    <a:lnTo>
                      <a:pt x="0" y="10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18" name="Freeform 467"/>
              <p:cNvSpPr>
                <a:spLocks/>
              </p:cNvSpPr>
              <p:nvPr/>
            </p:nvSpPr>
            <p:spPr bwMode="auto">
              <a:xfrm>
                <a:off x="3376" y="2722"/>
                <a:ext cx="5" cy="12"/>
              </a:xfrm>
              <a:custGeom>
                <a:avLst/>
                <a:gdLst>
                  <a:gd name="T0" fmla="*/ 8 w 9"/>
                  <a:gd name="T1" fmla="*/ 24 h 24"/>
                  <a:gd name="T2" fmla="*/ 9 w 9"/>
                  <a:gd name="T3" fmla="*/ 22 h 24"/>
                  <a:gd name="T4" fmla="*/ 8 w 9"/>
                  <a:gd name="T5" fmla="*/ 17 h 24"/>
                  <a:gd name="T6" fmla="*/ 8 w 9"/>
                  <a:gd name="T7" fmla="*/ 14 h 24"/>
                  <a:gd name="T8" fmla="*/ 6 w 9"/>
                  <a:gd name="T9" fmla="*/ 11 h 24"/>
                  <a:gd name="T10" fmla="*/ 6 w 9"/>
                  <a:gd name="T11" fmla="*/ 8 h 24"/>
                  <a:gd name="T12" fmla="*/ 6 w 9"/>
                  <a:gd name="T13" fmla="*/ 5 h 24"/>
                  <a:gd name="T14" fmla="*/ 6 w 9"/>
                  <a:gd name="T15" fmla="*/ 0 h 24"/>
                  <a:gd name="T16" fmla="*/ 3 w 9"/>
                  <a:gd name="T17" fmla="*/ 2 h 24"/>
                  <a:gd name="T18" fmla="*/ 1 w 9"/>
                  <a:gd name="T19" fmla="*/ 5 h 24"/>
                  <a:gd name="T20" fmla="*/ 1 w 9"/>
                  <a:gd name="T21" fmla="*/ 8 h 24"/>
                  <a:gd name="T22" fmla="*/ 1 w 9"/>
                  <a:gd name="T23" fmla="*/ 13 h 24"/>
                  <a:gd name="T24" fmla="*/ 0 w 9"/>
                  <a:gd name="T25" fmla="*/ 16 h 24"/>
                  <a:gd name="T26" fmla="*/ 1 w 9"/>
                  <a:gd name="T27" fmla="*/ 19 h 24"/>
                  <a:gd name="T28" fmla="*/ 4 w 9"/>
                  <a:gd name="T29" fmla="*/ 21 h 24"/>
                  <a:gd name="T30" fmla="*/ 8 w 9"/>
                  <a:gd name="T31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" h="24">
                    <a:moveTo>
                      <a:pt x="8" y="24"/>
                    </a:moveTo>
                    <a:lnTo>
                      <a:pt x="9" y="22"/>
                    </a:lnTo>
                    <a:lnTo>
                      <a:pt x="8" y="17"/>
                    </a:lnTo>
                    <a:lnTo>
                      <a:pt x="8" y="14"/>
                    </a:lnTo>
                    <a:lnTo>
                      <a:pt x="6" y="11"/>
                    </a:lnTo>
                    <a:lnTo>
                      <a:pt x="6" y="8"/>
                    </a:lnTo>
                    <a:lnTo>
                      <a:pt x="6" y="5"/>
                    </a:lnTo>
                    <a:lnTo>
                      <a:pt x="6" y="0"/>
                    </a:lnTo>
                    <a:lnTo>
                      <a:pt x="3" y="2"/>
                    </a:lnTo>
                    <a:lnTo>
                      <a:pt x="1" y="5"/>
                    </a:lnTo>
                    <a:lnTo>
                      <a:pt x="1" y="8"/>
                    </a:lnTo>
                    <a:lnTo>
                      <a:pt x="1" y="13"/>
                    </a:lnTo>
                    <a:lnTo>
                      <a:pt x="0" y="16"/>
                    </a:lnTo>
                    <a:lnTo>
                      <a:pt x="1" y="19"/>
                    </a:lnTo>
                    <a:lnTo>
                      <a:pt x="4" y="21"/>
                    </a:lnTo>
                    <a:lnTo>
                      <a:pt x="8" y="2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19" name="Freeform 468"/>
              <p:cNvSpPr>
                <a:spLocks/>
              </p:cNvSpPr>
              <p:nvPr/>
            </p:nvSpPr>
            <p:spPr bwMode="auto">
              <a:xfrm>
                <a:off x="3383" y="2740"/>
                <a:ext cx="4" cy="3"/>
              </a:xfrm>
              <a:custGeom>
                <a:avLst/>
                <a:gdLst>
                  <a:gd name="T0" fmla="*/ 8 w 8"/>
                  <a:gd name="T1" fmla="*/ 7 h 7"/>
                  <a:gd name="T2" fmla="*/ 6 w 8"/>
                  <a:gd name="T3" fmla="*/ 4 h 7"/>
                  <a:gd name="T4" fmla="*/ 3 w 8"/>
                  <a:gd name="T5" fmla="*/ 0 h 7"/>
                  <a:gd name="T6" fmla="*/ 0 w 8"/>
                  <a:gd name="T7" fmla="*/ 0 h 7"/>
                  <a:gd name="T8" fmla="*/ 2 w 8"/>
                  <a:gd name="T9" fmla="*/ 5 h 7"/>
                  <a:gd name="T10" fmla="*/ 5 w 8"/>
                  <a:gd name="T11" fmla="*/ 5 h 7"/>
                  <a:gd name="T12" fmla="*/ 8 w 8"/>
                  <a:gd name="T1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7">
                    <a:moveTo>
                      <a:pt x="8" y="7"/>
                    </a:moveTo>
                    <a:lnTo>
                      <a:pt x="6" y="4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2" y="5"/>
                    </a:lnTo>
                    <a:lnTo>
                      <a:pt x="5" y="5"/>
                    </a:lnTo>
                    <a:lnTo>
                      <a:pt x="8" y="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20" name="Freeform 469"/>
              <p:cNvSpPr>
                <a:spLocks/>
              </p:cNvSpPr>
              <p:nvPr/>
            </p:nvSpPr>
            <p:spPr bwMode="auto">
              <a:xfrm>
                <a:off x="3394" y="2738"/>
                <a:ext cx="5" cy="5"/>
              </a:xfrm>
              <a:custGeom>
                <a:avLst/>
                <a:gdLst>
                  <a:gd name="T0" fmla="*/ 10 w 10"/>
                  <a:gd name="T1" fmla="*/ 9 h 9"/>
                  <a:gd name="T2" fmla="*/ 10 w 10"/>
                  <a:gd name="T3" fmla="*/ 9 h 9"/>
                  <a:gd name="T4" fmla="*/ 10 w 10"/>
                  <a:gd name="T5" fmla="*/ 4 h 9"/>
                  <a:gd name="T6" fmla="*/ 10 w 10"/>
                  <a:gd name="T7" fmla="*/ 1 h 9"/>
                  <a:gd name="T8" fmla="*/ 6 w 10"/>
                  <a:gd name="T9" fmla="*/ 0 h 9"/>
                  <a:gd name="T10" fmla="*/ 3 w 10"/>
                  <a:gd name="T11" fmla="*/ 3 h 9"/>
                  <a:gd name="T12" fmla="*/ 0 w 10"/>
                  <a:gd name="T13" fmla="*/ 1 h 9"/>
                  <a:gd name="T14" fmla="*/ 6 w 10"/>
                  <a:gd name="T15" fmla="*/ 6 h 9"/>
                  <a:gd name="T16" fmla="*/ 10 w 10"/>
                  <a:gd name="T1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" h="9">
                    <a:moveTo>
                      <a:pt x="10" y="9"/>
                    </a:moveTo>
                    <a:lnTo>
                      <a:pt x="10" y="9"/>
                    </a:lnTo>
                    <a:lnTo>
                      <a:pt x="10" y="4"/>
                    </a:lnTo>
                    <a:lnTo>
                      <a:pt x="10" y="1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1"/>
                    </a:lnTo>
                    <a:lnTo>
                      <a:pt x="6" y="6"/>
                    </a:lnTo>
                    <a:lnTo>
                      <a:pt x="10" y="9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sp>
          <p:nvSpPr>
            <p:cNvPr id="297" name="Freeform 470"/>
            <p:cNvSpPr>
              <a:spLocks/>
            </p:cNvSpPr>
            <p:nvPr/>
          </p:nvSpPr>
          <p:spPr bwMode="auto">
            <a:xfrm>
              <a:off x="6138390" y="4910171"/>
              <a:ext cx="48522" cy="74467"/>
            </a:xfrm>
            <a:custGeom>
              <a:avLst/>
              <a:gdLst>
                <a:gd name="T0" fmla="*/ 1 w 66"/>
                <a:gd name="T1" fmla="*/ 18 h 88"/>
                <a:gd name="T2" fmla="*/ 4 w 66"/>
                <a:gd name="T3" fmla="*/ 12 h 88"/>
                <a:gd name="T4" fmla="*/ 12 w 66"/>
                <a:gd name="T5" fmla="*/ 16 h 88"/>
                <a:gd name="T6" fmla="*/ 16 w 66"/>
                <a:gd name="T7" fmla="*/ 20 h 88"/>
                <a:gd name="T8" fmla="*/ 20 w 66"/>
                <a:gd name="T9" fmla="*/ 20 h 88"/>
                <a:gd name="T10" fmla="*/ 27 w 66"/>
                <a:gd name="T11" fmla="*/ 18 h 88"/>
                <a:gd name="T12" fmla="*/ 33 w 66"/>
                <a:gd name="T13" fmla="*/ 15 h 88"/>
                <a:gd name="T14" fmla="*/ 33 w 66"/>
                <a:gd name="T15" fmla="*/ 8 h 88"/>
                <a:gd name="T16" fmla="*/ 33 w 66"/>
                <a:gd name="T17" fmla="*/ 0 h 88"/>
                <a:gd name="T18" fmla="*/ 35 w 66"/>
                <a:gd name="T19" fmla="*/ 2 h 88"/>
                <a:gd name="T20" fmla="*/ 39 w 66"/>
                <a:gd name="T21" fmla="*/ 4 h 88"/>
                <a:gd name="T22" fmla="*/ 44 w 66"/>
                <a:gd name="T23" fmla="*/ 2 h 88"/>
                <a:gd name="T24" fmla="*/ 49 w 66"/>
                <a:gd name="T25" fmla="*/ 0 h 88"/>
                <a:gd name="T26" fmla="*/ 55 w 66"/>
                <a:gd name="T27" fmla="*/ 4 h 88"/>
                <a:gd name="T28" fmla="*/ 54 w 66"/>
                <a:gd name="T29" fmla="*/ 7 h 88"/>
                <a:gd name="T30" fmla="*/ 50 w 66"/>
                <a:gd name="T31" fmla="*/ 15 h 88"/>
                <a:gd name="T32" fmla="*/ 54 w 66"/>
                <a:gd name="T33" fmla="*/ 16 h 88"/>
                <a:gd name="T34" fmla="*/ 50 w 66"/>
                <a:gd name="T35" fmla="*/ 23 h 88"/>
                <a:gd name="T36" fmla="*/ 57 w 66"/>
                <a:gd name="T37" fmla="*/ 24 h 88"/>
                <a:gd name="T38" fmla="*/ 63 w 66"/>
                <a:gd name="T39" fmla="*/ 27 h 88"/>
                <a:gd name="T40" fmla="*/ 65 w 66"/>
                <a:gd name="T41" fmla="*/ 31 h 88"/>
                <a:gd name="T42" fmla="*/ 66 w 66"/>
                <a:gd name="T43" fmla="*/ 37 h 88"/>
                <a:gd name="T44" fmla="*/ 62 w 66"/>
                <a:gd name="T45" fmla="*/ 42 h 88"/>
                <a:gd name="T46" fmla="*/ 58 w 66"/>
                <a:gd name="T47" fmla="*/ 46 h 88"/>
                <a:gd name="T48" fmla="*/ 52 w 66"/>
                <a:gd name="T49" fmla="*/ 51 h 88"/>
                <a:gd name="T50" fmla="*/ 49 w 66"/>
                <a:gd name="T51" fmla="*/ 58 h 88"/>
                <a:gd name="T52" fmla="*/ 47 w 66"/>
                <a:gd name="T53" fmla="*/ 61 h 88"/>
                <a:gd name="T54" fmla="*/ 44 w 66"/>
                <a:gd name="T55" fmla="*/ 67 h 88"/>
                <a:gd name="T56" fmla="*/ 41 w 66"/>
                <a:gd name="T57" fmla="*/ 73 h 88"/>
                <a:gd name="T58" fmla="*/ 35 w 66"/>
                <a:gd name="T59" fmla="*/ 81 h 88"/>
                <a:gd name="T60" fmla="*/ 30 w 66"/>
                <a:gd name="T61" fmla="*/ 85 h 88"/>
                <a:gd name="T62" fmla="*/ 27 w 66"/>
                <a:gd name="T63" fmla="*/ 88 h 88"/>
                <a:gd name="T64" fmla="*/ 14 w 66"/>
                <a:gd name="T65" fmla="*/ 88 h 88"/>
                <a:gd name="T66" fmla="*/ 12 w 66"/>
                <a:gd name="T67" fmla="*/ 80 h 88"/>
                <a:gd name="T68" fmla="*/ 12 w 66"/>
                <a:gd name="T69" fmla="*/ 73 h 88"/>
                <a:gd name="T70" fmla="*/ 8 w 66"/>
                <a:gd name="T71" fmla="*/ 67 h 88"/>
                <a:gd name="T72" fmla="*/ 8 w 66"/>
                <a:gd name="T73" fmla="*/ 59 h 88"/>
                <a:gd name="T74" fmla="*/ 8 w 66"/>
                <a:gd name="T75" fmla="*/ 50 h 88"/>
                <a:gd name="T76" fmla="*/ 8 w 66"/>
                <a:gd name="T77" fmla="*/ 42 h 88"/>
                <a:gd name="T78" fmla="*/ 8 w 66"/>
                <a:gd name="T79" fmla="*/ 40 h 88"/>
                <a:gd name="T80" fmla="*/ 8 w 66"/>
                <a:gd name="T81" fmla="*/ 35 h 88"/>
                <a:gd name="T82" fmla="*/ 4 w 66"/>
                <a:gd name="T83" fmla="*/ 29 h 88"/>
                <a:gd name="T84" fmla="*/ 1 w 66"/>
                <a:gd name="T85" fmla="*/ 21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6" h="88">
                  <a:moveTo>
                    <a:pt x="0" y="18"/>
                  </a:moveTo>
                  <a:lnTo>
                    <a:pt x="1" y="18"/>
                  </a:lnTo>
                  <a:lnTo>
                    <a:pt x="1" y="13"/>
                  </a:lnTo>
                  <a:lnTo>
                    <a:pt x="4" y="12"/>
                  </a:lnTo>
                  <a:lnTo>
                    <a:pt x="8" y="13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9" y="21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7" y="18"/>
                  </a:lnTo>
                  <a:lnTo>
                    <a:pt x="30" y="18"/>
                  </a:lnTo>
                  <a:lnTo>
                    <a:pt x="33" y="15"/>
                  </a:lnTo>
                  <a:lnTo>
                    <a:pt x="33" y="12"/>
                  </a:lnTo>
                  <a:lnTo>
                    <a:pt x="33" y="8"/>
                  </a:lnTo>
                  <a:lnTo>
                    <a:pt x="33" y="4"/>
                  </a:lnTo>
                  <a:lnTo>
                    <a:pt x="33" y="0"/>
                  </a:lnTo>
                  <a:lnTo>
                    <a:pt x="35" y="0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9" y="4"/>
                  </a:lnTo>
                  <a:lnTo>
                    <a:pt x="41" y="5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9" y="0"/>
                  </a:lnTo>
                  <a:lnTo>
                    <a:pt x="52" y="0"/>
                  </a:lnTo>
                  <a:lnTo>
                    <a:pt x="55" y="4"/>
                  </a:lnTo>
                  <a:lnTo>
                    <a:pt x="57" y="4"/>
                  </a:lnTo>
                  <a:lnTo>
                    <a:pt x="54" y="7"/>
                  </a:lnTo>
                  <a:lnTo>
                    <a:pt x="54" y="10"/>
                  </a:lnTo>
                  <a:lnTo>
                    <a:pt x="50" y="15"/>
                  </a:lnTo>
                  <a:lnTo>
                    <a:pt x="54" y="15"/>
                  </a:lnTo>
                  <a:lnTo>
                    <a:pt x="54" y="16"/>
                  </a:lnTo>
                  <a:lnTo>
                    <a:pt x="52" y="20"/>
                  </a:lnTo>
                  <a:lnTo>
                    <a:pt x="50" y="23"/>
                  </a:lnTo>
                  <a:lnTo>
                    <a:pt x="54" y="26"/>
                  </a:lnTo>
                  <a:lnTo>
                    <a:pt x="57" y="24"/>
                  </a:lnTo>
                  <a:lnTo>
                    <a:pt x="60" y="27"/>
                  </a:lnTo>
                  <a:lnTo>
                    <a:pt x="63" y="27"/>
                  </a:lnTo>
                  <a:lnTo>
                    <a:pt x="66" y="27"/>
                  </a:lnTo>
                  <a:lnTo>
                    <a:pt x="65" y="31"/>
                  </a:lnTo>
                  <a:lnTo>
                    <a:pt x="66" y="34"/>
                  </a:lnTo>
                  <a:lnTo>
                    <a:pt x="66" y="37"/>
                  </a:lnTo>
                  <a:lnTo>
                    <a:pt x="63" y="40"/>
                  </a:lnTo>
                  <a:lnTo>
                    <a:pt x="62" y="42"/>
                  </a:lnTo>
                  <a:lnTo>
                    <a:pt x="58" y="43"/>
                  </a:lnTo>
                  <a:lnTo>
                    <a:pt x="58" y="46"/>
                  </a:lnTo>
                  <a:lnTo>
                    <a:pt x="55" y="48"/>
                  </a:lnTo>
                  <a:lnTo>
                    <a:pt x="52" y="51"/>
                  </a:lnTo>
                  <a:lnTo>
                    <a:pt x="50" y="54"/>
                  </a:lnTo>
                  <a:lnTo>
                    <a:pt x="49" y="58"/>
                  </a:lnTo>
                  <a:lnTo>
                    <a:pt x="49" y="61"/>
                  </a:lnTo>
                  <a:lnTo>
                    <a:pt x="47" y="61"/>
                  </a:lnTo>
                  <a:lnTo>
                    <a:pt x="46" y="64"/>
                  </a:lnTo>
                  <a:lnTo>
                    <a:pt x="44" y="67"/>
                  </a:lnTo>
                  <a:lnTo>
                    <a:pt x="43" y="70"/>
                  </a:lnTo>
                  <a:lnTo>
                    <a:pt x="41" y="73"/>
                  </a:lnTo>
                  <a:lnTo>
                    <a:pt x="36" y="78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0" y="85"/>
                  </a:lnTo>
                  <a:lnTo>
                    <a:pt x="27" y="86"/>
                  </a:lnTo>
                  <a:lnTo>
                    <a:pt x="27" y="88"/>
                  </a:lnTo>
                  <a:lnTo>
                    <a:pt x="20" y="88"/>
                  </a:lnTo>
                  <a:lnTo>
                    <a:pt x="14" y="88"/>
                  </a:lnTo>
                  <a:lnTo>
                    <a:pt x="14" y="85"/>
                  </a:lnTo>
                  <a:lnTo>
                    <a:pt x="12" y="80"/>
                  </a:lnTo>
                  <a:lnTo>
                    <a:pt x="12" y="77"/>
                  </a:lnTo>
                  <a:lnTo>
                    <a:pt x="12" y="73"/>
                  </a:lnTo>
                  <a:lnTo>
                    <a:pt x="11" y="70"/>
                  </a:lnTo>
                  <a:lnTo>
                    <a:pt x="8" y="67"/>
                  </a:lnTo>
                  <a:lnTo>
                    <a:pt x="8" y="62"/>
                  </a:lnTo>
                  <a:lnTo>
                    <a:pt x="8" y="59"/>
                  </a:lnTo>
                  <a:lnTo>
                    <a:pt x="8" y="56"/>
                  </a:lnTo>
                  <a:lnTo>
                    <a:pt x="8" y="50"/>
                  </a:lnTo>
                  <a:lnTo>
                    <a:pt x="8" y="46"/>
                  </a:lnTo>
                  <a:lnTo>
                    <a:pt x="8" y="42"/>
                  </a:lnTo>
                  <a:lnTo>
                    <a:pt x="6" y="42"/>
                  </a:lnTo>
                  <a:lnTo>
                    <a:pt x="8" y="40"/>
                  </a:lnTo>
                  <a:lnTo>
                    <a:pt x="8" y="39"/>
                  </a:lnTo>
                  <a:lnTo>
                    <a:pt x="8" y="35"/>
                  </a:lnTo>
                  <a:lnTo>
                    <a:pt x="8" y="32"/>
                  </a:lnTo>
                  <a:lnTo>
                    <a:pt x="4" y="29"/>
                  </a:lnTo>
                  <a:lnTo>
                    <a:pt x="3" y="24"/>
                  </a:lnTo>
                  <a:lnTo>
                    <a:pt x="1" y="21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98" name="Freeform 471"/>
            <p:cNvSpPr>
              <a:spLocks/>
            </p:cNvSpPr>
            <p:nvPr/>
          </p:nvSpPr>
          <p:spPr bwMode="auto">
            <a:xfrm>
              <a:off x="6133978" y="4866167"/>
              <a:ext cx="54403" cy="62619"/>
            </a:xfrm>
            <a:custGeom>
              <a:avLst/>
              <a:gdLst>
                <a:gd name="T0" fmla="*/ 0 w 73"/>
                <a:gd name="T1" fmla="*/ 59 h 73"/>
                <a:gd name="T2" fmla="*/ 3 w 73"/>
                <a:gd name="T3" fmla="*/ 54 h 73"/>
                <a:gd name="T4" fmla="*/ 9 w 73"/>
                <a:gd name="T5" fmla="*/ 48 h 73"/>
                <a:gd name="T6" fmla="*/ 11 w 73"/>
                <a:gd name="T7" fmla="*/ 41 h 73"/>
                <a:gd name="T8" fmla="*/ 9 w 73"/>
                <a:gd name="T9" fmla="*/ 33 h 73"/>
                <a:gd name="T10" fmla="*/ 13 w 73"/>
                <a:gd name="T11" fmla="*/ 27 h 73"/>
                <a:gd name="T12" fmla="*/ 16 w 73"/>
                <a:gd name="T13" fmla="*/ 22 h 73"/>
                <a:gd name="T14" fmla="*/ 27 w 73"/>
                <a:gd name="T15" fmla="*/ 14 h 73"/>
                <a:gd name="T16" fmla="*/ 36 w 73"/>
                <a:gd name="T17" fmla="*/ 14 h 73"/>
                <a:gd name="T18" fmla="*/ 48 w 73"/>
                <a:gd name="T19" fmla="*/ 10 h 73"/>
                <a:gd name="T20" fmla="*/ 57 w 73"/>
                <a:gd name="T21" fmla="*/ 0 h 73"/>
                <a:gd name="T22" fmla="*/ 57 w 73"/>
                <a:gd name="T23" fmla="*/ 3 h 73"/>
                <a:gd name="T24" fmla="*/ 60 w 73"/>
                <a:gd name="T25" fmla="*/ 10 h 73"/>
                <a:gd name="T26" fmla="*/ 65 w 73"/>
                <a:gd name="T27" fmla="*/ 14 h 73"/>
                <a:gd name="T28" fmla="*/ 68 w 73"/>
                <a:gd name="T29" fmla="*/ 19 h 73"/>
                <a:gd name="T30" fmla="*/ 70 w 73"/>
                <a:gd name="T31" fmla="*/ 22 h 73"/>
                <a:gd name="T32" fmla="*/ 71 w 73"/>
                <a:gd name="T33" fmla="*/ 32 h 73"/>
                <a:gd name="T34" fmla="*/ 70 w 73"/>
                <a:gd name="T35" fmla="*/ 37 h 73"/>
                <a:gd name="T36" fmla="*/ 73 w 73"/>
                <a:gd name="T37" fmla="*/ 41 h 73"/>
                <a:gd name="T38" fmla="*/ 71 w 73"/>
                <a:gd name="T39" fmla="*/ 48 h 73"/>
                <a:gd name="T40" fmla="*/ 70 w 73"/>
                <a:gd name="T41" fmla="*/ 56 h 73"/>
                <a:gd name="T42" fmla="*/ 68 w 73"/>
                <a:gd name="T43" fmla="*/ 56 h 73"/>
                <a:gd name="T44" fmla="*/ 62 w 73"/>
                <a:gd name="T45" fmla="*/ 56 h 73"/>
                <a:gd name="T46" fmla="*/ 57 w 73"/>
                <a:gd name="T47" fmla="*/ 52 h 73"/>
                <a:gd name="T48" fmla="*/ 51 w 73"/>
                <a:gd name="T49" fmla="*/ 54 h 73"/>
                <a:gd name="T50" fmla="*/ 46 w 73"/>
                <a:gd name="T51" fmla="*/ 57 h 73"/>
                <a:gd name="T52" fmla="*/ 41 w 73"/>
                <a:gd name="T53" fmla="*/ 54 h 73"/>
                <a:gd name="T54" fmla="*/ 40 w 73"/>
                <a:gd name="T55" fmla="*/ 52 h 73"/>
                <a:gd name="T56" fmla="*/ 38 w 73"/>
                <a:gd name="T57" fmla="*/ 56 h 73"/>
                <a:gd name="T58" fmla="*/ 38 w 73"/>
                <a:gd name="T59" fmla="*/ 64 h 73"/>
                <a:gd name="T60" fmla="*/ 35 w 73"/>
                <a:gd name="T61" fmla="*/ 70 h 73"/>
                <a:gd name="T62" fmla="*/ 29 w 73"/>
                <a:gd name="T63" fmla="*/ 72 h 73"/>
                <a:gd name="T64" fmla="*/ 24 w 73"/>
                <a:gd name="T65" fmla="*/ 73 h 73"/>
                <a:gd name="T66" fmla="*/ 17 w 73"/>
                <a:gd name="T67" fmla="*/ 72 h 73"/>
                <a:gd name="T68" fmla="*/ 13 w 73"/>
                <a:gd name="T69" fmla="*/ 65 h 73"/>
                <a:gd name="T70" fmla="*/ 6 w 73"/>
                <a:gd name="T71" fmla="*/ 65 h 73"/>
                <a:gd name="T72" fmla="*/ 5 w 73"/>
                <a:gd name="T73" fmla="*/ 70 h 73"/>
                <a:gd name="T74" fmla="*/ 2 w 73"/>
                <a:gd name="T75" fmla="*/ 67 h 73"/>
                <a:gd name="T76" fmla="*/ 0 w 73"/>
                <a:gd name="T77" fmla="*/ 6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3" h="73">
                  <a:moveTo>
                    <a:pt x="0" y="60"/>
                  </a:moveTo>
                  <a:lnTo>
                    <a:pt x="0" y="59"/>
                  </a:lnTo>
                  <a:lnTo>
                    <a:pt x="0" y="56"/>
                  </a:lnTo>
                  <a:lnTo>
                    <a:pt x="3" y="54"/>
                  </a:lnTo>
                  <a:lnTo>
                    <a:pt x="6" y="51"/>
                  </a:lnTo>
                  <a:lnTo>
                    <a:pt x="9" y="48"/>
                  </a:lnTo>
                  <a:lnTo>
                    <a:pt x="11" y="45"/>
                  </a:lnTo>
                  <a:lnTo>
                    <a:pt x="11" y="41"/>
                  </a:lnTo>
                  <a:lnTo>
                    <a:pt x="9" y="38"/>
                  </a:lnTo>
                  <a:lnTo>
                    <a:pt x="9" y="33"/>
                  </a:lnTo>
                  <a:lnTo>
                    <a:pt x="11" y="30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6" y="22"/>
                  </a:lnTo>
                  <a:lnTo>
                    <a:pt x="19" y="19"/>
                  </a:lnTo>
                  <a:lnTo>
                    <a:pt x="27" y="14"/>
                  </a:lnTo>
                  <a:lnTo>
                    <a:pt x="35" y="11"/>
                  </a:lnTo>
                  <a:lnTo>
                    <a:pt x="36" y="14"/>
                  </a:lnTo>
                  <a:lnTo>
                    <a:pt x="40" y="18"/>
                  </a:lnTo>
                  <a:lnTo>
                    <a:pt x="48" y="10"/>
                  </a:lnTo>
                  <a:lnTo>
                    <a:pt x="54" y="2"/>
                  </a:lnTo>
                  <a:lnTo>
                    <a:pt x="57" y="0"/>
                  </a:lnTo>
                  <a:lnTo>
                    <a:pt x="59" y="2"/>
                  </a:lnTo>
                  <a:lnTo>
                    <a:pt x="57" y="3"/>
                  </a:lnTo>
                  <a:lnTo>
                    <a:pt x="59" y="7"/>
                  </a:lnTo>
                  <a:lnTo>
                    <a:pt x="60" y="10"/>
                  </a:lnTo>
                  <a:lnTo>
                    <a:pt x="63" y="14"/>
                  </a:lnTo>
                  <a:lnTo>
                    <a:pt x="65" y="14"/>
                  </a:lnTo>
                  <a:lnTo>
                    <a:pt x="68" y="16"/>
                  </a:lnTo>
                  <a:lnTo>
                    <a:pt x="68" y="19"/>
                  </a:lnTo>
                  <a:lnTo>
                    <a:pt x="68" y="21"/>
                  </a:lnTo>
                  <a:lnTo>
                    <a:pt x="70" y="22"/>
                  </a:lnTo>
                  <a:lnTo>
                    <a:pt x="71" y="26"/>
                  </a:lnTo>
                  <a:lnTo>
                    <a:pt x="71" y="32"/>
                  </a:lnTo>
                  <a:lnTo>
                    <a:pt x="70" y="37"/>
                  </a:lnTo>
                  <a:lnTo>
                    <a:pt x="70" y="37"/>
                  </a:lnTo>
                  <a:lnTo>
                    <a:pt x="71" y="38"/>
                  </a:lnTo>
                  <a:lnTo>
                    <a:pt x="73" y="41"/>
                  </a:lnTo>
                  <a:lnTo>
                    <a:pt x="73" y="45"/>
                  </a:lnTo>
                  <a:lnTo>
                    <a:pt x="71" y="48"/>
                  </a:lnTo>
                  <a:lnTo>
                    <a:pt x="71" y="51"/>
                  </a:lnTo>
                  <a:lnTo>
                    <a:pt x="70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5" y="56"/>
                  </a:lnTo>
                  <a:lnTo>
                    <a:pt x="62" y="56"/>
                  </a:lnTo>
                  <a:lnTo>
                    <a:pt x="60" y="56"/>
                  </a:lnTo>
                  <a:lnTo>
                    <a:pt x="57" y="52"/>
                  </a:lnTo>
                  <a:lnTo>
                    <a:pt x="54" y="52"/>
                  </a:lnTo>
                  <a:lnTo>
                    <a:pt x="51" y="54"/>
                  </a:lnTo>
                  <a:lnTo>
                    <a:pt x="49" y="54"/>
                  </a:lnTo>
                  <a:lnTo>
                    <a:pt x="46" y="57"/>
                  </a:lnTo>
                  <a:lnTo>
                    <a:pt x="44" y="56"/>
                  </a:lnTo>
                  <a:lnTo>
                    <a:pt x="41" y="54"/>
                  </a:lnTo>
                  <a:lnTo>
                    <a:pt x="40" y="54"/>
                  </a:lnTo>
                  <a:lnTo>
                    <a:pt x="40" y="52"/>
                  </a:lnTo>
                  <a:lnTo>
                    <a:pt x="38" y="52"/>
                  </a:lnTo>
                  <a:lnTo>
                    <a:pt x="38" y="56"/>
                  </a:lnTo>
                  <a:lnTo>
                    <a:pt x="38" y="60"/>
                  </a:lnTo>
                  <a:lnTo>
                    <a:pt x="38" y="64"/>
                  </a:lnTo>
                  <a:lnTo>
                    <a:pt x="38" y="67"/>
                  </a:lnTo>
                  <a:lnTo>
                    <a:pt x="35" y="70"/>
                  </a:lnTo>
                  <a:lnTo>
                    <a:pt x="32" y="70"/>
                  </a:lnTo>
                  <a:lnTo>
                    <a:pt x="29" y="72"/>
                  </a:lnTo>
                  <a:lnTo>
                    <a:pt x="25" y="72"/>
                  </a:lnTo>
                  <a:lnTo>
                    <a:pt x="24" y="73"/>
                  </a:lnTo>
                  <a:lnTo>
                    <a:pt x="21" y="72"/>
                  </a:lnTo>
                  <a:lnTo>
                    <a:pt x="17" y="72"/>
                  </a:lnTo>
                  <a:lnTo>
                    <a:pt x="17" y="68"/>
                  </a:lnTo>
                  <a:lnTo>
                    <a:pt x="13" y="65"/>
                  </a:lnTo>
                  <a:lnTo>
                    <a:pt x="9" y="64"/>
                  </a:lnTo>
                  <a:lnTo>
                    <a:pt x="6" y="65"/>
                  </a:lnTo>
                  <a:lnTo>
                    <a:pt x="6" y="70"/>
                  </a:lnTo>
                  <a:lnTo>
                    <a:pt x="5" y="70"/>
                  </a:lnTo>
                  <a:lnTo>
                    <a:pt x="3" y="68"/>
                  </a:lnTo>
                  <a:lnTo>
                    <a:pt x="2" y="67"/>
                  </a:lnTo>
                  <a:lnTo>
                    <a:pt x="0" y="64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299" name="Freeform 472"/>
            <p:cNvSpPr>
              <a:spLocks/>
            </p:cNvSpPr>
            <p:nvPr/>
          </p:nvSpPr>
          <p:spPr bwMode="auto">
            <a:xfrm>
              <a:off x="6153093" y="4683385"/>
              <a:ext cx="145566" cy="198014"/>
            </a:xfrm>
            <a:custGeom>
              <a:avLst/>
              <a:gdLst>
                <a:gd name="T0" fmla="*/ 0 w 197"/>
                <a:gd name="T1" fmla="*/ 211 h 234"/>
                <a:gd name="T2" fmla="*/ 2 w 197"/>
                <a:gd name="T3" fmla="*/ 200 h 234"/>
                <a:gd name="T4" fmla="*/ 4 w 197"/>
                <a:gd name="T5" fmla="*/ 186 h 234"/>
                <a:gd name="T6" fmla="*/ 5 w 197"/>
                <a:gd name="T7" fmla="*/ 177 h 234"/>
                <a:gd name="T8" fmla="*/ 10 w 197"/>
                <a:gd name="T9" fmla="*/ 167 h 234"/>
                <a:gd name="T10" fmla="*/ 15 w 197"/>
                <a:gd name="T11" fmla="*/ 153 h 234"/>
                <a:gd name="T12" fmla="*/ 15 w 197"/>
                <a:gd name="T13" fmla="*/ 138 h 234"/>
                <a:gd name="T14" fmla="*/ 24 w 197"/>
                <a:gd name="T15" fmla="*/ 132 h 234"/>
                <a:gd name="T16" fmla="*/ 37 w 197"/>
                <a:gd name="T17" fmla="*/ 118 h 234"/>
                <a:gd name="T18" fmla="*/ 59 w 197"/>
                <a:gd name="T19" fmla="*/ 92 h 234"/>
                <a:gd name="T20" fmla="*/ 50 w 197"/>
                <a:gd name="T21" fmla="*/ 78 h 234"/>
                <a:gd name="T22" fmla="*/ 43 w 197"/>
                <a:gd name="T23" fmla="*/ 64 h 234"/>
                <a:gd name="T24" fmla="*/ 43 w 197"/>
                <a:gd name="T25" fmla="*/ 48 h 234"/>
                <a:gd name="T26" fmla="*/ 50 w 197"/>
                <a:gd name="T27" fmla="*/ 34 h 234"/>
                <a:gd name="T28" fmla="*/ 59 w 197"/>
                <a:gd name="T29" fmla="*/ 20 h 234"/>
                <a:gd name="T30" fmla="*/ 75 w 197"/>
                <a:gd name="T31" fmla="*/ 23 h 234"/>
                <a:gd name="T32" fmla="*/ 84 w 197"/>
                <a:gd name="T33" fmla="*/ 23 h 234"/>
                <a:gd name="T34" fmla="*/ 89 w 197"/>
                <a:gd name="T35" fmla="*/ 27 h 234"/>
                <a:gd name="T36" fmla="*/ 99 w 197"/>
                <a:gd name="T37" fmla="*/ 24 h 234"/>
                <a:gd name="T38" fmla="*/ 111 w 197"/>
                <a:gd name="T39" fmla="*/ 20 h 234"/>
                <a:gd name="T40" fmla="*/ 126 w 197"/>
                <a:gd name="T41" fmla="*/ 16 h 234"/>
                <a:gd name="T42" fmla="*/ 137 w 197"/>
                <a:gd name="T43" fmla="*/ 20 h 234"/>
                <a:gd name="T44" fmla="*/ 159 w 197"/>
                <a:gd name="T45" fmla="*/ 0 h 234"/>
                <a:gd name="T46" fmla="*/ 164 w 197"/>
                <a:gd name="T47" fmla="*/ 15 h 234"/>
                <a:gd name="T48" fmla="*/ 173 w 197"/>
                <a:gd name="T49" fmla="*/ 21 h 234"/>
                <a:gd name="T50" fmla="*/ 175 w 197"/>
                <a:gd name="T51" fmla="*/ 35 h 234"/>
                <a:gd name="T52" fmla="*/ 180 w 197"/>
                <a:gd name="T53" fmla="*/ 46 h 234"/>
                <a:gd name="T54" fmla="*/ 187 w 197"/>
                <a:gd name="T55" fmla="*/ 59 h 234"/>
                <a:gd name="T56" fmla="*/ 194 w 197"/>
                <a:gd name="T57" fmla="*/ 72 h 234"/>
                <a:gd name="T58" fmla="*/ 194 w 197"/>
                <a:gd name="T59" fmla="*/ 83 h 234"/>
                <a:gd name="T60" fmla="*/ 197 w 197"/>
                <a:gd name="T61" fmla="*/ 94 h 234"/>
                <a:gd name="T62" fmla="*/ 189 w 197"/>
                <a:gd name="T63" fmla="*/ 116 h 234"/>
                <a:gd name="T64" fmla="*/ 189 w 197"/>
                <a:gd name="T65" fmla="*/ 124 h 234"/>
                <a:gd name="T66" fmla="*/ 181 w 197"/>
                <a:gd name="T67" fmla="*/ 129 h 234"/>
                <a:gd name="T68" fmla="*/ 178 w 197"/>
                <a:gd name="T69" fmla="*/ 135 h 234"/>
                <a:gd name="T70" fmla="*/ 172 w 197"/>
                <a:gd name="T71" fmla="*/ 145 h 234"/>
                <a:gd name="T72" fmla="*/ 165 w 197"/>
                <a:gd name="T73" fmla="*/ 150 h 234"/>
                <a:gd name="T74" fmla="*/ 162 w 197"/>
                <a:gd name="T75" fmla="*/ 162 h 234"/>
                <a:gd name="T76" fmla="*/ 157 w 197"/>
                <a:gd name="T77" fmla="*/ 165 h 234"/>
                <a:gd name="T78" fmla="*/ 146 w 197"/>
                <a:gd name="T79" fmla="*/ 161 h 234"/>
                <a:gd name="T80" fmla="*/ 140 w 197"/>
                <a:gd name="T81" fmla="*/ 164 h 234"/>
                <a:gd name="T82" fmla="*/ 137 w 197"/>
                <a:gd name="T83" fmla="*/ 157 h 234"/>
                <a:gd name="T84" fmla="*/ 130 w 197"/>
                <a:gd name="T85" fmla="*/ 156 h 234"/>
                <a:gd name="T86" fmla="*/ 126 w 197"/>
                <a:gd name="T87" fmla="*/ 164 h 234"/>
                <a:gd name="T88" fmla="*/ 116 w 197"/>
                <a:gd name="T89" fmla="*/ 169 h 234"/>
                <a:gd name="T90" fmla="*/ 111 w 197"/>
                <a:gd name="T91" fmla="*/ 164 h 234"/>
                <a:gd name="T92" fmla="*/ 105 w 197"/>
                <a:gd name="T93" fmla="*/ 172 h 234"/>
                <a:gd name="T94" fmla="*/ 94 w 197"/>
                <a:gd name="T95" fmla="*/ 177 h 234"/>
                <a:gd name="T96" fmla="*/ 88 w 197"/>
                <a:gd name="T97" fmla="*/ 184 h 234"/>
                <a:gd name="T98" fmla="*/ 81 w 197"/>
                <a:gd name="T99" fmla="*/ 197 h 234"/>
                <a:gd name="T100" fmla="*/ 80 w 197"/>
                <a:gd name="T101" fmla="*/ 208 h 234"/>
                <a:gd name="T102" fmla="*/ 45 w 197"/>
                <a:gd name="T103" fmla="*/ 215 h 234"/>
                <a:gd name="T104" fmla="*/ 23 w 197"/>
                <a:gd name="T105" fmla="*/ 226 h 234"/>
                <a:gd name="T106" fmla="*/ 7 w 197"/>
                <a:gd name="T107" fmla="*/ 229 h 234"/>
                <a:gd name="T108" fmla="*/ 0 w 197"/>
                <a:gd name="T109" fmla="*/ 221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7" h="234">
                  <a:moveTo>
                    <a:pt x="0" y="221"/>
                  </a:moveTo>
                  <a:lnTo>
                    <a:pt x="0" y="218"/>
                  </a:lnTo>
                  <a:lnTo>
                    <a:pt x="0" y="215"/>
                  </a:lnTo>
                  <a:lnTo>
                    <a:pt x="0" y="211"/>
                  </a:lnTo>
                  <a:lnTo>
                    <a:pt x="2" y="208"/>
                  </a:lnTo>
                  <a:lnTo>
                    <a:pt x="2" y="205"/>
                  </a:lnTo>
                  <a:lnTo>
                    <a:pt x="2" y="203"/>
                  </a:lnTo>
                  <a:lnTo>
                    <a:pt x="2" y="200"/>
                  </a:lnTo>
                  <a:lnTo>
                    <a:pt x="4" y="197"/>
                  </a:lnTo>
                  <a:lnTo>
                    <a:pt x="4" y="194"/>
                  </a:lnTo>
                  <a:lnTo>
                    <a:pt x="4" y="189"/>
                  </a:lnTo>
                  <a:lnTo>
                    <a:pt x="4" y="186"/>
                  </a:lnTo>
                  <a:lnTo>
                    <a:pt x="4" y="186"/>
                  </a:lnTo>
                  <a:lnTo>
                    <a:pt x="5" y="183"/>
                  </a:lnTo>
                  <a:lnTo>
                    <a:pt x="5" y="180"/>
                  </a:lnTo>
                  <a:lnTo>
                    <a:pt x="5" y="177"/>
                  </a:lnTo>
                  <a:lnTo>
                    <a:pt x="7" y="173"/>
                  </a:lnTo>
                  <a:lnTo>
                    <a:pt x="5" y="172"/>
                  </a:lnTo>
                  <a:lnTo>
                    <a:pt x="5" y="170"/>
                  </a:lnTo>
                  <a:lnTo>
                    <a:pt x="10" y="167"/>
                  </a:lnTo>
                  <a:lnTo>
                    <a:pt x="10" y="164"/>
                  </a:lnTo>
                  <a:lnTo>
                    <a:pt x="10" y="161"/>
                  </a:lnTo>
                  <a:lnTo>
                    <a:pt x="13" y="156"/>
                  </a:lnTo>
                  <a:lnTo>
                    <a:pt x="15" y="153"/>
                  </a:lnTo>
                  <a:lnTo>
                    <a:pt x="15" y="150"/>
                  </a:lnTo>
                  <a:lnTo>
                    <a:pt x="15" y="143"/>
                  </a:lnTo>
                  <a:lnTo>
                    <a:pt x="15" y="140"/>
                  </a:lnTo>
                  <a:lnTo>
                    <a:pt x="15" y="138"/>
                  </a:lnTo>
                  <a:lnTo>
                    <a:pt x="16" y="138"/>
                  </a:lnTo>
                  <a:lnTo>
                    <a:pt x="19" y="137"/>
                  </a:lnTo>
                  <a:lnTo>
                    <a:pt x="23" y="134"/>
                  </a:lnTo>
                  <a:lnTo>
                    <a:pt x="24" y="132"/>
                  </a:lnTo>
                  <a:lnTo>
                    <a:pt x="24" y="127"/>
                  </a:lnTo>
                  <a:lnTo>
                    <a:pt x="32" y="124"/>
                  </a:lnTo>
                  <a:lnTo>
                    <a:pt x="35" y="121"/>
                  </a:lnTo>
                  <a:lnTo>
                    <a:pt x="37" y="118"/>
                  </a:lnTo>
                  <a:lnTo>
                    <a:pt x="42" y="111"/>
                  </a:lnTo>
                  <a:lnTo>
                    <a:pt x="48" y="107"/>
                  </a:lnTo>
                  <a:lnTo>
                    <a:pt x="54" y="100"/>
                  </a:lnTo>
                  <a:lnTo>
                    <a:pt x="59" y="92"/>
                  </a:lnTo>
                  <a:lnTo>
                    <a:pt x="62" y="86"/>
                  </a:lnTo>
                  <a:lnTo>
                    <a:pt x="57" y="81"/>
                  </a:lnTo>
                  <a:lnTo>
                    <a:pt x="53" y="77"/>
                  </a:lnTo>
                  <a:lnTo>
                    <a:pt x="50" y="78"/>
                  </a:lnTo>
                  <a:lnTo>
                    <a:pt x="45" y="75"/>
                  </a:lnTo>
                  <a:lnTo>
                    <a:pt x="42" y="72"/>
                  </a:lnTo>
                  <a:lnTo>
                    <a:pt x="43" y="69"/>
                  </a:lnTo>
                  <a:lnTo>
                    <a:pt x="43" y="64"/>
                  </a:lnTo>
                  <a:lnTo>
                    <a:pt x="46" y="59"/>
                  </a:lnTo>
                  <a:lnTo>
                    <a:pt x="48" y="56"/>
                  </a:lnTo>
                  <a:lnTo>
                    <a:pt x="46" y="53"/>
                  </a:lnTo>
                  <a:lnTo>
                    <a:pt x="43" y="48"/>
                  </a:lnTo>
                  <a:lnTo>
                    <a:pt x="45" y="45"/>
                  </a:lnTo>
                  <a:lnTo>
                    <a:pt x="45" y="42"/>
                  </a:lnTo>
                  <a:lnTo>
                    <a:pt x="46" y="39"/>
                  </a:lnTo>
                  <a:lnTo>
                    <a:pt x="50" y="34"/>
                  </a:lnTo>
                  <a:lnTo>
                    <a:pt x="46" y="31"/>
                  </a:lnTo>
                  <a:lnTo>
                    <a:pt x="51" y="23"/>
                  </a:lnTo>
                  <a:lnTo>
                    <a:pt x="56" y="20"/>
                  </a:lnTo>
                  <a:lnTo>
                    <a:pt x="59" y="20"/>
                  </a:lnTo>
                  <a:lnTo>
                    <a:pt x="62" y="20"/>
                  </a:lnTo>
                  <a:lnTo>
                    <a:pt x="67" y="21"/>
                  </a:lnTo>
                  <a:lnTo>
                    <a:pt x="70" y="24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80" y="20"/>
                  </a:lnTo>
                  <a:lnTo>
                    <a:pt x="83" y="20"/>
                  </a:lnTo>
                  <a:lnTo>
                    <a:pt x="84" y="23"/>
                  </a:lnTo>
                  <a:lnTo>
                    <a:pt x="86" y="26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94" y="31"/>
                  </a:lnTo>
                  <a:lnTo>
                    <a:pt x="94" y="31"/>
                  </a:lnTo>
                  <a:lnTo>
                    <a:pt x="94" y="26"/>
                  </a:lnTo>
                  <a:lnTo>
                    <a:pt x="99" y="24"/>
                  </a:lnTo>
                  <a:lnTo>
                    <a:pt x="102" y="21"/>
                  </a:lnTo>
                  <a:lnTo>
                    <a:pt x="105" y="21"/>
                  </a:lnTo>
                  <a:lnTo>
                    <a:pt x="108" y="21"/>
                  </a:lnTo>
                  <a:lnTo>
                    <a:pt x="111" y="20"/>
                  </a:lnTo>
                  <a:lnTo>
                    <a:pt x="116" y="20"/>
                  </a:lnTo>
                  <a:lnTo>
                    <a:pt x="119" y="18"/>
                  </a:lnTo>
                  <a:lnTo>
                    <a:pt x="122" y="16"/>
                  </a:lnTo>
                  <a:lnTo>
                    <a:pt x="126" y="16"/>
                  </a:lnTo>
                  <a:lnTo>
                    <a:pt x="130" y="20"/>
                  </a:lnTo>
                  <a:lnTo>
                    <a:pt x="130" y="20"/>
                  </a:lnTo>
                  <a:lnTo>
                    <a:pt x="134" y="20"/>
                  </a:lnTo>
                  <a:lnTo>
                    <a:pt x="137" y="20"/>
                  </a:lnTo>
                  <a:lnTo>
                    <a:pt x="140" y="20"/>
                  </a:lnTo>
                  <a:lnTo>
                    <a:pt x="142" y="21"/>
                  </a:lnTo>
                  <a:lnTo>
                    <a:pt x="151" y="10"/>
                  </a:lnTo>
                  <a:lnTo>
                    <a:pt x="159" y="0"/>
                  </a:lnTo>
                  <a:lnTo>
                    <a:pt x="162" y="5"/>
                  </a:lnTo>
                  <a:lnTo>
                    <a:pt x="164" y="8"/>
                  </a:lnTo>
                  <a:lnTo>
                    <a:pt x="164" y="12"/>
                  </a:lnTo>
                  <a:lnTo>
                    <a:pt x="164" y="15"/>
                  </a:lnTo>
                  <a:lnTo>
                    <a:pt x="167" y="15"/>
                  </a:lnTo>
                  <a:lnTo>
                    <a:pt x="167" y="18"/>
                  </a:lnTo>
                  <a:lnTo>
                    <a:pt x="170" y="21"/>
                  </a:lnTo>
                  <a:lnTo>
                    <a:pt x="173" y="21"/>
                  </a:lnTo>
                  <a:lnTo>
                    <a:pt x="176" y="24"/>
                  </a:lnTo>
                  <a:lnTo>
                    <a:pt x="176" y="29"/>
                  </a:lnTo>
                  <a:lnTo>
                    <a:pt x="175" y="32"/>
                  </a:lnTo>
                  <a:lnTo>
                    <a:pt x="175" y="35"/>
                  </a:lnTo>
                  <a:lnTo>
                    <a:pt x="176" y="39"/>
                  </a:lnTo>
                  <a:lnTo>
                    <a:pt x="176" y="42"/>
                  </a:lnTo>
                  <a:lnTo>
                    <a:pt x="180" y="45"/>
                  </a:lnTo>
                  <a:lnTo>
                    <a:pt x="180" y="46"/>
                  </a:lnTo>
                  <a:lnTo>
                    <a:pt x="181" y="50"/>
                  </a:lnTo>
                  <a:lnTo>
                    <a:pt x="181" y="53"/>
                  </a:lnTo>
                  <a:lnTo>
                    <a:pt x="184" y="56"/>
                  </a:lnTo>
                  <a:lnTo>
                    <a:pt x="187" y="59"/>
                  </a:lnTo>
                  <a:lnTo>
                    <a:pt x="189" y="62"/>
                  </a:lnTo>
                  <a:lnTo>
                    <a:pt x="191" y="67"/>
                  </a:lnTo>
                  <a:lnTo>
                    <a:pt x="192" y="70"/>
                  </a:lnTo>
                  <a:lnTo>
                    <a:pt x="194" y="72"/>
                  </a:lnTo>
                  <a:lnTo>
                    <a:pt x="192" y="75"/>
                  </a:lnTo>
                  <a:lnTo>
                    <a:pt x="192" y="77"/>
                  </a:lnTo>
                  <a:lnTo>
                    <a:pt x="192" y="80"/>
                  </a:lnTo>
                  <a:lnTo>
                    <a:pt x="194" y="83"/>
                  </a:lnTo>
                  <a:lnTo>
                    <a:pt x="195" y="86"/>
                  </a:lnTo>
                  <a:lnTo>
                    <a:pt x="195" y="91"/>
                  </a:lnTo>
                  <a:lnTo>
                    <a:pt x="195" y="94"/>
                  </a:lnTo>
                  <a:lnTo>
                    <a:pt x="197" y="94"/>
                  </a:lnTo>
                  <a:lnTo>
                    <a:pt x="197" y="102"/>
                  </a:lnTo>
                  <a:lnTo>
                    <a:pt x="195" y="105"/>
                  </a:lnTo>
                  <a:lnTo>
                    <a:pt x="194" y="110"/>
                  </a:lnTo>
                  <a:lnTo>
                    <a:pt x="189" y="116"/>
                  </a:lnTo>
                  <a:lnTo>
                    <a:pt x="189" y="116"/>
                  </a:lnTo>
                  <a:lnTo>
                    <a:pt x="191" y="119"/>
                  </a:lnTo>
                  <a:lnTo>
                    <a:pt x="191" y="121"/>
                  </a:lnTo>
                  <a:lnTo>
                    <a:pt x="189" y="124"/>
                  </a:lnTo>
                  <a:lnTo>
                    <a:pt x="187" y="124"/>
                  </a:lnTo>
                  <a:lnTo>
                    <a:pt x="184" y="126"/>
                  </a:lnTo>
                  <a:lnTo>
                    <a:pt x="181" y="129"/>
                  </a:lnTo>
                  <a:lnTo>
                    <a:pt x="181" y="129"/>
                  </a:lnTo>
                  <a:lnTo>
                    <a:pt x="180" y="129"/>
                  </a:lnTo>
                  <a:lnTo>
                    <a:pt x="180" y="129"/>
                  </a:lnTo>
                  <a:lnTo>
                    <a:pt x="178" y="132"/>
                  </a:lnTo>
                  <a:lnTo>
                    <a:pt x="178" y="135"/>
                  </a:lnTo>
                  <a:lnTo>
                    <a:pt x="175" y="138"/>
                  </a:lnTo>
                  <a:lnTo>
                    <a:pt x="173" y="142"/>
                  </a:lnTo>
                  <a:lnTo>
                    <a:pt x="172" y="142"/>
                  </a:lnTo>
                  <a:lnTo>
                    <a:pt x="172" y="145"/>
                  </a:lnTo>
                  <a:lnTo>
                    <a:pt x="170" y="148"/>
                  </a:lnTo>
                  <a:lnTo>
                    <a:pt x="170" y="148"/>
                  </a:lnTo>
                  <a:lnTo>
                    <a:pt x="167" y="148"/>
                  </a:lnTo>
                  <a:lnTo>
                    <a:pt x="165" y="150"/>
                  </a:lnTo>
                  <a:lnTo>
                    <a:pt x="165" y="153"/>
                  </a:lnTo>
                  <a:lnTo>
                    <a:pt x="165" y="154"/>
                  </a:lnTo>
                  <a:lnTo>
                    <a:pt x="164" y="157"/>
                  </a:lnTo>
                  <a:lnTo>
                    <a:pt x="162" y="162"/>
                  </a:lnTo>
                  <a:lnTo>
                    <a:pt x="161" y="164"/>
                  </a:lnTo>
                  <a:lnTo>
                    <a:pt x="161" y="164"/>
                  </a:lnTo>
                  <a:lnTo>
                    <a:pt x="159" y="164"/>
                  </a:lnTo>
                  <a:lnTo>
                    <a:pt x="157" y="165"/>
                  </a:lnTo>
                  <a:lnTo>
                    <a:pt x="154" y="167"/>
                  </a:lnTo>
                  <a:lnTo>
                    <a:pt x="151" y="164"/>
                  </a:lnTo>
                  <a:lnTo>
                    <a:pt x="149" y="161"/>
                  </a:lnTo>
                  <a:lnTo>
                    <a:pt x="146" y="161"/>
                  </a:lnTo>
                  <a:lnTo>
                    <a:pt x="146" y="165"/>
                  </a:lnTo>
                  <a:lnTo>
                    <a:pt x="143" y="165"/>
                  </a:lnTo>
                  <a:lnTo>
                    <a:pt x="140" y="164"/>
                  </a:lnTo>
                  <a:lnTo>
                    <a:pt x="140" y="164"/>
                  </a:lnTo>
                  <a:lnTo>
                    <a:pt x="138" y="162"/>
                  </a:lnTo>
                  <a:lnTo>
                    <a:pt x="142" y="162"/>
                  </a:lnTo>
                  <a:lnTo>
                    <a:pt x="142" y="159"/>
                  </a:lnTo>
                  <a:lnTo>
                    <a:pt x="137" y="157"/>
                  </a:lnTo>
                  <a:lnTo>
                    <a:pt x="138" y="154"/>
                  </a:lnTo>
                  <a:lnTo>
                    <a:pt x="135" y="154"/>
                  </a:lnTo>
                  <a:lnTo>
                    <a:pt x="132" y="156"/>
                  </a:lnTo>
                  <a:lnTo>
                    <a:pt x="130" y="156"/>
                  </a:lnTo>
                  <a:lnTo>
                    <a:pt x="134" y="159"/>
                  </a:lnTo>
                  <a:lnTo>
                    <a:pt x="130" y="161"/>
                  </a:lnTo>
                  <a:lnTo>
                    <a:pt x="129" y="165"/>
                  </a:lnTo>
                  <a:lnTo>
                    <a:pt x="126" y="164"/>
                  </a:lnTo>
                  <a:lnTo>
                    <a:pt x="126" y="169"/>
                  </a:lnTo>
                  <a:lnTo>
                    <a:pt x="122" y="170"/>
                  </a:lnTo>
                  <a:lnTo>
                    <a:pt x="119" y="167"/>
                  </a:lnTo>
                  <a:lnTo>
                    <a:pt x="116" y="169"/>
                  </a:lnTo>
                  <a:lnTo>
                    <a:pt x="111" y="169"/>
                  </a:lnTo>
                  <a:lnTo>
                    <a:pt x="113" y="165"/>
                  </a:lnTo>
                  <a:lnTo>
                    <a:pt x="113" y="162"/>
                  </a:lnTo>
                  <a:lnTo>
                    <a:pt x="111" y="164"/>
                  </a:lnTo>
                  <a:lnTo>
                    <a:pt x="111" y="165"/>
                  </a:lnTo>
                  <a:lnTo>
                    <a:pt x="108" y="169"/>
                  </a:lnTo>
                  <a:lnTo>
                    <a:pt x="108" y="172"/>
                  </a:lnTo>
                  <a:lnTo>
                    <a:pt x="105" y="172"/>
                  </a:lnTo>
                  <a:lnTo>
                    <a:pt x="102" y="170"/>
                  </a:lnTo>
                  <a:lnTo>
                    <a:pt x="102" y="173"/>
                  </a:lnTo>
                  <a:lnTo>
                    <a:pt x="96" y="173"/>
                  </a:lnTo>
                  <a:lnTo>
                    <a:pt x="94" y="177"/>
                  </a:lnTo>
                  <a:lnTo>
                    <a:pt x="91" y="178"/>
                  </a:lnTo>
                  <a:lnTo>
                    <a:pt x="86" y="178"/>
                  </a:lnTo>
                  <a:lnTo>
                    <a:pt x="86" y="180"/>
                  </a:lnTo>
                  <a:lnTo>
                    <a:pt x="88" y="184"/>
                  </a:lnTo>
                  <a:lnTo>
                    <a:pt x="88" y="186"/>
                  </a:lnTo>
                  <a:lnTo>
                    <a:pt x="86" y="189"/>
                  </a:lnTo>
                  <a:lnTo>
                    <a:pt x="83" y="192"/>
                  </a:lnTo>
                  <a:lnTo>
                    <a:pt x="81" y="197"/>
                  </a:lnTo>
                  <a:lnTo>
                    <a:pt x="81" y="200"/>
                  </a:lnTo>
                  <a:lnTo>
                    <a:pt x="78" y="203"/>
                  </a:lnTo>
                  <a:lnTo>
                    <a:pt x="78" y="205"/>
                  </a:lnTo>
                  <a:lnTo>
                    <a:pt x="80" y="208"/>
                  </a:lnTo>
                  <a:lnTo>
                    <a:pt x="80" y="211"/>
                  </a:lnTo>
                  <a:lnTo>
                    <a:pt x="80" y="215"/>
                  </a:lnTo>
                  <a:lnTo>
                    <a:pt x="80" y="215"/>
                  </a:lnTo>
                  <a:lnTo>
                    <a:pt x="45" y="215"/>
                  </a:lnTo>
                  <a:lnTo>
                    <a:pt x="43" y="215"/>
                  </a:lnTo>
                  <a:lnTo>
                    <a:pt x="35" y="218"/>
                  </a:lnTo>
                  <a:lnTo>
                    <a:pt x="29" y="218"/>
                  </a:lnTo>
                  <a:lnTo>
                    <a:pt x="23" y="226"/>
                  </a:lnTo>
                  <a:lnTo>
                    <a:pt x="15" y="234"/>
                  </a:lnTo>
                  <a:lnTo>
                    <a:pt x="11" y="230"/>
                  </a:lnTo>
                  <a:lnTo>
                    <a:pt x="10" y="227"/>
                  </a:lnTo>
                  <a:lnTo>
                    <a:pt x="7" y="229"/>
                  </a:lnTo>
                  <a:lnTo>
                    <a:pt x="5" y="230"/>
                  </a:lnTo>
                  <a:lnTo>
                    <a:pt x="2" y="230"/>
                  </a:lnTo>
                  <a:lnTo>
                    <a:pt x="2" y="226"/>
                  </a:lnTo>
                  <a:lnTo>
                    <a:pt x="0" y="22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00" name="Freeform 473"/>
            <p:cNvSpPr>
              <a:spLocks/>
            </p:cNvSpPr>
            <p:nvPr/>
          </p:nvSpPr>
          <p:spPr bwMode="auto">
            <a:xfrm>
              <a:off x="6455987" y="4415982"/>
              <a:ext cx="272016" cy="472188"/>
            </a:xfrm>
            <a:custGeom>
              <a:avLst/>
              <a:gdLst>
                <a:gd name="T0" fmla="*/ 1 w 369"/>
                <a:gd name="T1" fmla="*/ 371 h 557"/>
                <a:gd name="T2" fmla="*/ 25 w 369"/>
                <a:gd name="T3" fmla="*/ 338 h 557"/>
                <a:gd name="T4" fmla="*/ 36 w 369"/>
                <a:gd name="T5" fmla="*/ 319 h 557"/>
                <a:gd name="T6" fmla="*/ 54 w 369"/>
                <a:gd name="T7" fmla="*/ 315 h 557"/>
                <a:gd name="T8" fmla="*/ 68 w 369"/>
                <a:gd name="T9" fmla="*/ 309 h 557"/>
                <a:gd name="T10" fmla="*/ 79 w 369"/>
                <a:gd name="T11" fmla="*/ 296 h 557"/>
                <a:gd name="T12" fmla="*/ 103 w 369"/>
                <a:gd name="T13" fmla="*/ 287 h 557"/>
                <a:gd name="T14" fmla="*/ 119 w 369"/>
                <a:gd name="T15" fmla="*/ 287 h 557"/>
                <a:gd name="T16" fmla="*/ 141 w 369"/>
                <a:gd name="T17" fmla="*/ 289 h 557"/>
                <a:gd name="T18" fmla="*/ 163 w 369"/>
                <a:gd name="T19" fmla="*/ 260 h 557"/>
                <a:gd name="T20" fmla="*/ 230 w 369"/>
                <a:gd name="T21" fmla="*/ 181 h 557"/>
                <a:gd name="T22" fmla="*/ 211 w 369"/>
                <a:gd name="T23" fmla="*/ 160 h 557"/>
                <a:gd name="T24" fmla="*/ 165 w 369"/>
                <a:gd name="T25" fmla="*/ 143 h 557"/>
                <a:gd name="T26" fmla="*/ 101 w 369"/>
                <a:gd name="T27" fmla="*/ 117 h 557"/>
                <a:gd name="T28" fmla="*/ 84 w 369"/>
                <a:gd name="T29" fmla="*/ 103 h 557"/>
                <a:gd name="T30" fmla="*/ 68 w 369"/>
                <a:gd name="T31" fmla="*/ 81 h 557"/>
                <a:gd name="T32" fmla="*/ 62 w 369"/>
                <a:gd name="T33" fmla="*/ 70 h 557"/>
                <a:gd name="T34" fmla="*/ 55 w 369"/>
                <a:gd name="T35" fmla="*/ 55 h 557"/>
                <a:gd name="T36" fmla="*/ 60 w 369"/>
                <a:gd name="T37" fmla="*/ 46 h 557"/>
                <a:gd name="T38" fmla="*/ 69 w 369"/>
                <a:gd name="T39" fmla="*/ 27 h 557"/>
                <a:gd name="T40" fmla="*/ 82 w 369"/>
                <a:gd name="T41" fmla="*/ 27 h 557"/>
                <a:gd name="T42" fmla="*/ 89 w 369"/>
                <a:gd name="T43" fmla="*/ 38 h 557"/>
                <a:gd name="T44" fmla="*/ 119 w 369"/>
                <a:gd name="T45" fmla="*/ 62 h 557"/>
                <a:gd name="T46" fmla="*/ 131 w 369"/>
                <a:gd name="T47" fmla="*/ 62 h 557"/>
                <a:gd name="T48" fmla="*/ 144 w 369"/>
                <a:gd name="T49" fmla="*/ 57 h 557"/>
                <a:gd name="T50" fmla="*/ 158 w 369"/>
                <a:gd name="T51" fmla="*/ 49 h 557"/>
                <a:gd name="T52" fmla="*/ 169 w 369"/>
                <a:gd name="T53" fmla="*/ 46 h 557"/>
                <a:gd name="T54" fmla="*/ 185 w 369"/>
                <a:gd name="T55" fmla="*/ 49 h 557"/>
                <a:gd name="T56" fmla="*/ 203 w 369"/>
                <a:gd name="T57" fmla="*/ 46 h 557"/>
                <a:gd name="T58" fmla="*/ 215 w 369"/>
                <a:gd name="T59" fmla="*/ 36 h 557"/>
                <a:gd name="T60" fmla="*/ 231 w 369"/>
                <a:gd name="T61" fmla="*/ 33 h 557"/>
                <a:gd name="T62" fmla="*/ 246 w 369"/>
                <a:gd name="T63" fmla="*/ 33 h 557"/>
                <a:gd name="T64" fmla="*/ 282 w 369"/>
                <a:gd name="T65" fmla="*/ 28 h 557"/>
                <a:gd name="T66" fmla="*/ 299 w 369"/>
                <a:gd name="T67" fmla="*/ 24 h 557"/>
                <a:gd name="T68" fmla="*/ 314 w 369"/>
                <a:gd name="T69" fmla="*/ 19 h 557"/>
                <a:gd name="T70" fmla="*/ 326 w 369"/>
                <a:gd name="T71" fmla="*/ 14 h 557"/>
                <a:gd name="T72" fmla="*/ 336 w 369"/>
                <a:gd name="T73" fmla="*/ 3 h 557"/>
                <a:gd name="T74" fmla="*/ 347 w 369"/>
                <a:gd name="T75" fmla="*/ 0 h 557"/>
                <a:gd name="T76" fmla="*/ 361 w 369"/>
                <a:gd name="T77" fmla="*/ 11 h 557"/>
                <a:gd name="T78" fmla="*/ 357 w 369"/>
                <a:gd name="T79" fmla="*/ 25 h 557"/>
                <a:gd name="T80" fmla="*/ 358 w 369"/>
                <a:gd name="T81" fmla="*/ 40 h 557"/>
                <a:gd name="T82" fmla="*/ 360 w 369"/>
                <a:gd name="T83" fmla="*/ 54 h 557"/>
                <a:gd name="T84" fmla="*/ 358 w 369"/>
                <a:gd name="T85" fmla="*/ 62 h 557"/>
                <a:gd name="T86" fmla="*/ 369 w 369"/>
                <a:gd name="T87" fmla="*/ 62 h 557"/>
                <a:gd name="T88" fmla="*/ 357 w 369"/>
                <a:gd name="T89" fmla="*/ 63 h 557"/>
                <a:gd name="T90" fmla="*/ 350 w 369"/>
                <a:gd name="T91" fmla="*/ 73 h 557"/>
                <a:gd name="T92" fmla="*/ 349 w 369"/>
                <a:gd name="T93" fmla="*/ 97 h 557"/>
                <a:gd name="T94" fmla="*/ 347 w 369"/>
                <a:gd name="T95" fmla="*/ 108 h 557"/>
                <a:gd name="T96" fmla="*/ 334 w 369"/>
                <a:gd name="T97" fmla="*/ 128 h 557"/>
                <a:gd name="T98" fmla="*/ 320 w 369"/>
                <a:gd name="T99" fmla="*/ 157 h 557"/>
                <a:gd name="T100" fmla="*/ 314 w 369"/>
                <a:gd name="T101" fmla="*/ 168 h 557"/>
                <a:gd name="T102" fmla="*/ 311 w 369"/>
                <a:gd name="T103" fmla="*/ 182 h 557"/>
                <a:gd name="T104" fmla="*/ 293 w 369"/>
                <a:gd name="T105" fmla="*/ 214 h 557"/>
                <a:gd name="T106" fmla="*/ 273 w 369"/>
                <a:gd name="T107" fmla="*/ 266 h 557"/>
                <a:gd name="T108" fmla="*/ 234 w 369"/>
                <a:gd name="T109" fmla="*/ 327 h 557"/>
                <a:gd name="T110" fmla="*/ 201 w 369"/>
                <a:gd name="T111" fmla="*/ 366 h 557"/>
                <a:gd name="T112" fmla="*/ 179 w 369"/>
                <a:gd name="T113" fmla="*/ 390 h 557"/>
                <a:gd name="T114" fmla="*/ 119 w 369"/>
                <a:gd name="T115" fmla="*/ 434 h 557"/>
                <a:gd name="T116" fmla="*/ 63 w 369"/>
                <a:gd name="T117" fmla="*/ 495 h 557"/>
                <a:gd name="T118" fmla="*/ 35 w 369"/>
                <a:gd name="T119" fmla="*/ 531 h 557"/>
                <a:gd name="T120" fmla="*/ 25 w 369"/>
                <a:gd name="T121" fmla="*/ 550 h 557"/>
                <a:gd name="T122" fmla="*/ 16 w 369"/>
                <a:gd name="T123" fmla="*/ 547 h 557"/>
                <a:gd name="T124" fmla="*/ 0 w 369"/>
                <a:gd name="T125" fmla="*/ 492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9" h="557">
                  <a:moveTo>
                    <a:pt x="0" y="393"/>
                  </a:moveTo>
                  <a:lnTo>
                    <a:pt x="0" y="382"/>
                  </a:lnTo>
                  <a:lnTo>
                    <a:pt x="0" y="376"/>
                  </a:lnTo>
                  <a:lnTo>
                    <a:pt x="1" y="371"/>
                  </a:lnTo>
                  <a:lnTo>
                    <a:pt x="3" y="369"/>
                  </a:lnTo>
                  <a:lnTo>
                    <a:pt x="8" y="363"/>
                  </a:lnTo>
                  <a:lnTo>
                    <a:pt x="19" y="349"/>
                  </a:lnTo>
                  <a:lnTo>
                    <a:pt x="25" y="338"/>
                  </a:lnTo>
                  <a:lnTo>
                    <a:pt x="31" y="328"/>
                  </a:lnTo>
                  <a:lnTo>
                    <a:pt x="31" y="327"/>
                  </a:lnTo>
                  <a:lnTo>
                    <a:pt x="33" y="322"/>
                  </a:lnTo>
                  <a:lnTo>
                    <a:pt x="36" y="319"/>
                  </a:lnTo>
                  <a:lnTo>
                    <a:pt x="38" y="319"/>
                  </a:lnTo>
                  <a:lnTo>
                    <a:pt x="41" y="317"/>
                  </a:lnTo>
                  <a:lnTo>
                    <a:pt x="46" y="317"/>
                  </a:lnTo>
                  <a:lnTo>
                    <a:pt x="54" y="315"/>
                  </a:lnTo>
                  <a:lnTo>
                    <a:pt x="62" y="314"/>
                  </a:lnTo>
                  <a:lnTo>
                    <a:pt x="62" y="314"/>
                  </a:lnTo>
                  <a:lnTo>
                    <a:pt x="65" y="312"/>
                  </a:lnTo>
                  <a:lnTo>
                    <a:pt x="68" y="309"/>
                  </a:lnTo>
                  <a:lnTo>
                    <a:pt x="69" y="306"/>
                  </a:lnTo>
                  <a:lnTo>
                    <a:pt x="73" y="303"/>
                  </a:lnTo>
                  <a:lnTo>
                    <a:pt x="76" y="300"/>
                  </a:lnTo>
                  <a:lnTo>
                    <a:pt x="79" y="296"/>
                  </a:lnTo>
                  <a:lnTo>
                    <a:pt x="92" y="290"/>
                  </a:lnTo>
                  <a:lnTo>
                    <a:pt x="96" y="289"/>
                  </a:lnTo>
                  <a:lnTo>
                    <a:pt x="100" y="289"/>
                  </a:lnTo>
                  <a:lnTo>
                    <a:pt x="103" y="287"/>
                  </a:lnTo>
                  <a:lnTo>
                    <a:pt x="108" y="285"/>
                  </a:lnTo>
                  <a:lnTo>
                    <a:pt x="111" y="285"/>
                  </a:lnTo>
                  <a:lnTo>
                    <a:pt x="114" y="287"/>
                  </a:lnTo>
                  <a:lnTo>
                    <a:pt x="119" y="287"/>
                  </a:lnTo>
                  <a:lnTo>
                    <a:pt x="127" y="287"/>
                  </a:lnTo>
                  <a:lnTo>
                    <a:pt x="133" y="289"/>
                  </a:lnTo>
                  <a:lnTo>
                    <a:pt x="138" y="289"/>
                  </a:lnTo>
                  <a:lnTo>
                    <a:pt x="141" y="289"/>
                  </a:lnTo>
                  <a:lnTo>
                    <a:pt x="144" y="285"/>
                  </a:lnTo>
                  <a:lnTo>
                    <a:pt x="144" y="284"/>
                  </a:lnTo>
                  <a:lnTo>
                    <a:pt x="147" y="281"/>
                  </a:lnTo>
                  <a:lnTo>
                    <a:pt x="163" y="260"/>
                  </a:lnTo>
                  <a:lnTo>
                    <a:pt x="179" y="241"/>
                  </a:lnTo>
                  <a:lnTo>
                    <a:pt x="196" y="220"/>
                  </a:lnTo>
                  <a:lnTo>
                    <a:pt x="214" y="201"/>
                  </a:lnTo>
                  <a:lnTo>
                    <a:pt x="230" y="181"/>
                  </a:lnTo>
                  <a:lnTo>
                    <a:pt x="249" y="162"/>
                  </a:lnTo>
                  <a:lnTo>
                    <a:pt x="212" y="162"/>
                  </a:lnTo>
                  <a:lnTo>
                    <a:pt x="212" y="162"/>
                  </a:lnTo>
                  <a:lnTo>
                    <a:pt x="211" y="160"/>
                  </a:lnTo>
                  <a:lnTo>
                    <a:pt x="207" y="159"/>
                  </a:lnTo>
                  <a:lnTo>
                    <a:pt x="196" y="155"/>
                  </a:lnTo>
                  <a:lnTo>
                    <a:pt x="185" y="151"/>
                  </a:lnTo>
                  <a:lnTo>
                    <a:pt x="165" y="143"/>
                  </a:lnTo>
                  <a:lnTo>
                    <a:pt x="144" y="135"/>
                  </a:lnTo>
                  <a:lnTo>
                    <a:pt x="125" y="128"/>
                  </a:lnTo>
                  <a:lnTo>
                    <a:pt x="104" y="120"/>
                  </a:lnTo>
                  <a:lnTo>
                    <a:pt x="101" y="117"/>
                  </a:lnTo>
                  <a:lnTo>
                    <a:pt x="93" y="109"/>
                  </a:lnTo>
                  <a:lnTo>
                    <a:pt x="90" y="106"/>
                  </a:lnTo>
                  <a:lnTo>
                    <a:pt x="87" y="106"/>
                  </a:lnTo>
                  <a:lnTo>
                    <a:pt x="84" y="103"/>
                  </a:lnTo>
                  <a:lnTo>
                    <a:pt x="79" y="95"/>
                  </a:lnTo>
                  <a:lnTo>
                    <a:pt x="76" y="86"/>
                  </a:lnTo>
                  <a:lnTo>
                    <a:pt x="71" y="84"/>
                  </a:lnTo>
                  <a:lnTo>
                    <a:pt x="68" y="81"/>
                  </a:lnTo>
                  <a:lnTo>
                    <a:pt x="68" y="79"/>
                  </a:lnTo>
                  <a:lnTo>
                    <a:pt x="68" y="76"/>
                  </a:lnTo>
                  <a:lnTo>
                    <a:pt x="63" y="73"/>
                  </a:lnTo>
                  <a:lnTo>
                    <a:pt x="62" y="70"/>
                  </a:lnTo>
                  <a:lnTo>
                    <a:pt x="60" y="67"/>
                  </a:lnTo>
                  <a:lnTo>
                    <a:pt x="60" y="63"/>
                  </a:lnTo>
                  <a:lnTo>
                    <a:pt x="57" y="60"/>
                  </a:lnTo>
                  <a:lnTo>
                    <a:pt x="55" y="55"/>
                  </a:lnTo>
                  <a:lnTo>
                    <a:pt x="55" y="55"/>
                  </a:lnTo>
                  <a:lnTo>
                    <a:pt x="57" y="52"/>
                  </a:lnTo>
                  <a:lnTo>
                    <a:pt x="58" y="47"/>
                  </a:lnTo>
                  <a:lnTo>
                    <a:pt x="60" y="46"/>
                  </a:lnTo>
                  <a:lnTo>
                    <a:pt x="63" y="41"/>
                  </a:lnTo>
                  <a:lnTo>
                    <a:pt x="63" y="38"/>
                  </a:lnTo>
                  <a:lnTo>
                    <a:pt x="66" y="35"/>
                  </a:lnTo>
                  <a:lnTo>
                    <a:pt x="69" y="27"/>
                  </a:lnTo>
                  <a:lnTo>
                    <a:pt x="74" y="19"/>
                  </a:lnTo>
                  <a:lnTo>
                    <a:pt x="77" y="22"/>
                  </a:lnTo>
                  <a:lnTo>
                    <a:pt x="82" y="24"/>
                  </a:lnTo>
                  <a:lnTo>
                    <a:pt x="82" y="27"/>
                  </a:lnTo>
                  <a:lnTo>
                    <a:pt x="84" y="30"/>
                  </a:lnTo>
                  <a:lnTo>
                    <a:pt x="87" y="33"/>
                  </a:lnTo>
                  <a:lnTo>
                    <a:pt x="89" y="36"/>
                  </a:lnTo>
                  <a:lnTo>
                    <a:pt x="89" y="38"/>
                  </a:lnTo>
                  <a:lnTo>
                    <a:pt x="100" y="51"/>
                  </a:lnTo>
                  <a:lnTo>
                    <a:pt x="111" y="60"/>
                  </a:lnTo>
                  <a:lnTo>
                    <a:pt x="115" y="62"/>
                  </a:lnTo>
                  <a:lnTo>
                    <a:pt x="119" y="62"/>
                  </a:lnTo>
                  <a:lnTo>
                    <a:pt x="122" y="63"/>
                  </a:lnTo>
                  <a:lnTo>
                    <a:pt x="125" y="62"/>
                  </a:lnTo>
                  <a:lnTo>
                    <a:pt x="128" y="62"/>
                  </a:lnTo>
                  <a:lnTo>
                    <a:pt x="131" y="62"/>
                  </a:lnTo>
                  <a:lnTo>
                    <a:pt x="135" y="62"/>
                  </a:lnTo>
                  <a:lnTo>
                    <a:pt x="138" y="62"/>
                  </a:lnTo>
                  <a:lnTo>
                    <a:pt x="141" y="59"/>
                  </a:lnTo>
                  <a:lnTo>
                    <a:pt x="144" y="57"/>
                  </a:lnTo>
                  <a:lnTo>
                    <a:pt x="149" y="54"/>
                  </a:lnTo>
                  <a:lnTo>
                    <a:pt x="152" y="52"/>
                  </a:lnTo>
                  <a:lnTo>
                    <a:pt x="155" y="52"/>
                  </a:lnTo>
                  <a:lnTo>
                    <a:pt x="158" y="49"/>
                  </a:lnTo>
                  <a:lnTo>
                    <a:pt x="161" y="47"/>
                  </a:lnTo>
                  <a:lnTo>
                    <a:pt x="166" y="44"/>
                  </a:lnTo>
                  <a:lnTo>
                    <a:pt x="169" y="46"/>
                  </a:lnTo>
                  <a:lnTo>
                    <a:pt x="169" y="46"/>
                  </a:lnTo>
                  <a:lnTo>
                    <a:pt x="174" y="47"/>
                  </a:lnTo>
                  <a:lnTo>
                    <a:pt x="177" y="47"/>
                  </a:lnTo>
                  <a:lnTo>
                    <a:pt x="181" y="47"/>
                  </a:lnTo>
                  <a:lnTo>
                    <a:pt x="185" y="49"/>
                  </a:lnTo>
                  <a:lnTo>
                    <a:pt x="188" y="51"/>
                  </a:lnTo>
                  <a:lnTo>
                    <a:pt x="192" y="51"/>
                  </a:lnTo>
                  <a:lnTo>
                    <a:pt x="198" y="47"/>
                  </a:lnTo>
                  <a:lnTo>
                    <a:pt x="203" y="46"/>
                  </a:lnTo>
                  <a:lnTo>
                    <a:pt x="206" y="43"/>
                  </a:lnTo>
                  <a:lnTo>
                    <a:pt x="209" y="41"/>
                  </a:lnTo>
                  <a:lnTo>
                    <a:pt x="212" y="40"/>
                  </a:lnTo>
                  <a:lnTo>
                    <a:pt x="215" y="36"/>
                  </a:lnTo>
                  <a:lnTo>
                    <a:pt x="219" y="33"/>
                  </a:lnTo>
                  <a:lnTo>
                    <a:pt x="223" y="32"/>
                  </a:lnTo>
                  <a:lnTo>
                    <a:pt x="227" y="32"/>
                  </a:lnTo>
                  <a:lnTo>
                    <a:pt x="231" y="33"/>
                  </a:lnTo>
                  <a:lnTo>
                    <a:pt x="234" y="35"/>
                  </a:lnTo>
                  <a:lnTo>
                    <a:pt x="238" y="33"/>
                  </a:lnTo>
                  <a:lnTo>
                    <a:pt x="241" y="33"/>
                  </a:lnTo>
                  <a:lnTo>
                    <a:pt x="246" y="33"/>
                  </a:lnTo>
                  <a:lnTo>
                    <a:pt x="257" y="28"/>
                  </a:lnTo>
                  <a:lnTo>
                    <a:pt x="269" y="25"/>
                  </a:lnTo>
                  <a:lnTo>
                    <a:pt x="276" y="28"/>
                  </a:lnTo>
                  <a:lnTo>
                    <a:pt x="282" y="28"/>
                  </a:lnTo>
                  <a:lnTo>
                    <a:pt x="287" y="27"/>
                  </a:lnTo>
                  <a:lnTo>
                    <a:pt x="293" y="25"/>
                  </a:lnTo>
                  <a:lnTo>
                    <a:pt x="296" y="25"/>
                  </a:lnTo>
                  <a:lnTo>
                    <a:pt x="299" y="24"/>
                  </a:lnTo>
                  <a:lnTo>
                    <a:pt x="303" y="21"/>
                  </a:lnTo>
                  <a:lnTo>
                    <a:pt x="307" y="21"/>
                  </a:lnTo>
                  <a:lnTo>
                    <a:pt x="311" y="21"/>
                  </a:lnTo>
                  <a:lnTo>
                    <a:pt x="314" y="19"/>
                  </a:lnTo>
                  <a:lnTo>
                    <a:pt x="317" y="19"/>
                  </a:lnTo>
                  <a:lnTo>
                    <a:pt x="320" y="17"/>
                  </a:lnTo>
                  <a:lnTo>
                    <a:pt x="323" y="16"/>
                  </a:lnTo>
                  <a:lnTo>
                    <a:pt x="326" y="14"/>
                  </a:lnTo>
                  <a:lnTo>
                    <a:pt x="330" y="13"/>
                  </a:lnTo>
                  <a:lnTo>
                    <a:pt x="334" y="9"/>
                  </a:lnTo>
                  <a:lnTo>
                    <a:pt x="334" y="6"/>
                  </a:lnTo>
                  <a:lnTo>
                    <a:pt x="336" y="3"/>
                  </a:lnTo>
                  <a:lnTo>
                    <a:pt x="339" y="0"/>
                  </a:lnTo>
                  <a:lnTo>
                    <a:pt x="342" y="0"/>
                  </a:lnTo>
                  <a:lnTo>
                    <a:pt x="345" y="0"/>
                  </a:lnTo>
                  <a:lnTo>
                    <a:pt x="347" y="0"/>
                  </a:lnTo>
                  <a:lnTo>
                    <a:pt x="353" y="3"/>
                  </a:lnTo>
                  <a:lnTo>
                    <a:pt x="360" y="5"/>
                  </a:lnTo>
                  <a:lnTo>
                    <a:pt x="361" y="8"/>
                  </a:lnTo>
                  <a:lnTo>
                    <a:pt x="361" y="11"/>
                  </a:lnTo>
                  <a:lnTo>
                    <a:pt x="358" y="14"/>
                  </a:lnTo>
                  <a:lnTo>
                    <a:pt x="357" y="19"/>
                  </a:lnTo>
                  <a:lnTo>
                    <a:pt x="357" y="22"/>
                  </a:lnTo>
                  <a:lnTo>
                    <a:pt x="357" y="25"/>
                  </a:lnTo>
                  <a:lnTo>
                    <a:pt x="357" y="28"/>
                  </a:lnTo>
                  <a:lnTo>
                    <a:pt x="357" y="32"/>
                  </a:lnTo>
                  <a:lnTo>
                    <a:pt x="358" y="35"/>
                  </a:lnTo>
                  <a:lnTo>
                    <a:pt x="358" y="40"/>
                  </a:lnTo>
                  <a:lnTo>
                    <a:pt x="358" y="41"/>
                  </a:lnTo>
                  <a:lnTo>
                    <a:pt x="358" y="44"/>
                  </a:lnTo>
                  <a:lnTo>
                    <a:pt x="358" y="51"/>
                  </a:lnTo>
                  <a:lnTo>
                    <a:pt x="360" y="54"/>
                  </a:lnTo>
                  <a:lnTo>
                    <a:pt x="358" y="57"/>
                  </a:lnTo>
                  <a:lnTo>
                    <a:pt x="355" y="62"/>
                  </a:lnTo>
                  <a:lnTo>
                    <a:pt x="355" y="63"/>
                  </a:lnTo>
                  <a:lnTo>
                    <a:pt x="358" y="62"/>
                  </a:lnTo>
                  <a:lnTo>
                    <a:pt x="363" y="62"/>
                  </a:lnTo>
                  <a:lnTo>
                    <a:pt x="361" y="59"/>
                  </a:lnTo>
                  <a:lnTo>
                    <a:pt x="366" y="60"/>
                  </a:lnTo>
                  <a:lnTo>
                    <a:pt x="369" y="62"/>
                  </a:lnTo>
                  <a:lnTo>
                    <a:pt x="368" y="65"/>
                  </a:lnTo>
                  <a:lnTo>
                    <a:pt x="363" y="63"/>
                  </a:lnTo>
                  <a:lnTo>
                    <a:pt x="360" y="62"/>
                  </a:lnTo>
                  <a:lnTo>
                    <a:pt x="357" y="63"/>
                  </a:lnTo>
                  <a:lnTo>
                    <a:pt x="353" y="65"/>
                  </a:lnTo>
                  <a:lnTo>
                    <a:pt x="352" y="67"/>
                  </a:lnTo>
                  <a:lnTo>
                    <a:pt x="350" y="70"/>
                  </a:lnTo>
                  <a:lnTo>
                    <a:pt x="350" y="73"/>
                  </a:lnTo>
                  <a:lnTo>
                    <a:pt x="350" y="76"/>
                  </a:lnTo>
                  <a:lnTo>
                    <a:pt x="352" y="79"/>
                  </a:lnTo>
                  <a:lnTo>
                    <a:pt x="350" y="89"/>
                  </a:lnTo>
                  <a:lnTo>
                    <a:pt x="349" y="97"/>
                  </a:lnTo>
                  <a:lnTo>
                    <a:pt x="349" y="98"/>
                  </a:lnTo>
                  <a:lnTo>
                    <a:pt x="349" y="101"/>
                  </a:lnTo>
                  <a:lnTo>
                    <a:pt x="349" y="105"/>
                  </a:lnTo>
                  <a:lnTo>
                    <a:pt x="347" y="108"/>
                  </a:lnTo>
                  <a:lnTo>
                    <a:pt x="344" y="111"/>
                  </a:lnTo>
                  <a:lnTo>
                    <a:pt x="342" y="119"/>
                  </a:lnTo>
                  <a:lnTo>
                    <a:pt x="339" y="122"/>
                  </a:lnTo>
                  <a:lnTo>
                    <a:pt x="334" y="128"/>
                  </a:lnTo>
                  <a:lnTo>
                    <a:pt x="331" y="141"/>
                  </a:lnTo>
                  <a:lnTo>
                    <a:pt x="326" y="149"/>
                  </a:lnTo>
                  <a:lnTo>
                    <a:pt x="323" y="157"/>
                  </a:lnTo>
                  <a:lnTo>
                    <a:pt x="320" y="157"/>
                  </a:lnTo>
                  <a:lnTo>
                    <a:pt x="317" y="160"/>
                  </a:lnTo>
                  <a:lnTo>
                    <a:pt x="315" y="163"/>
                  </a:lnTo>
                  <a:lnTo>
                    <a:pt x="314" y="166"/>
                  </a:lnTo>
                  <a:lnTo>
                    <a:pt x="314" y="168"/>
                  </a:lnTo>
                  <a:lnTo>
                    <a:pt x="315" y="171"/>
                  </a:lnTo>
                  <a:lnTo>
                    <a:pt x="312" y="176"/>
                  </a:lnTo>
                  <a:lnTo>
                    <a:pt x="312" y="179"/>
                  </a:lnTo>
                  <a:lnTo>
                    <a:pt x="311" y="182"/>
                  </a:lnTo>
                  <a:lnTo>
                    <a:pt x="306" y="190"/>
                  </a:lnTo>
                  <a:lnTo>
                    <a:pt x="303" y="197"/>
                  </a:lnTo>
                  <a:lnTo>
                    <a:pt x="298" y="206"/>
                  </a:lnTo>
                  <a:lnTo>
                    <a:pt x="293" y="214"/>
                  </a:lnTo>
                  <a:lnTo>
                    <a:pt x="290" y="224"/>
                  </a:lnTo>
                  <a:lnTo>
                    <a:pt x="290" y="231"/>
                  </a:lnTo>
                  <a:lnTo>
                    <a:pt x="282" y="250"/>
                  </a:lnTo>
                  <a:lnTo>
                    <a:pt x="273" y="266"/>
                  </a:lnTo>
                  <a:lnTo>
                    <a:pt x="263" y="282"/>
                  </a:lnTo>
                  <a:lnTo>
                    <a:pt x="253" y="300"/>
                  </a:lnTo>
                  <a:lnTo>
                    <a:pt x="244" y="314"/>
                  </a:lnTo>
                  <a:lnTo>
                    <a:pt x="234" y="327"/>
                  </a:lnTo>
                  <a:lnTo>
                    <a:pt x="220" y="342"/>
                  </a:lnTo>
                  <a:lnTo>
                    <a:pt x="207" y="360"/>
                  </a:lnTo>
                  <a:lnTo>
                    <a:pt x="204" y="363"/>
                  </a:lnTo>
                  <a:lnTo>
                    <a:pt x="201" y="366"/>
                  </a:lnTo>
                  <a:lnTo>
                    <a:pt x="198" y="369"/>
                  </a:lnTo>
                  <a:lnTo>
                    <a:pt x="195" y="374"/>
                  </a:lnTo>
                  <a:lnTo>
                    <a:pt x="187" y="382"/>
                  </a:lnTo>
                  <a:lnTo>
                    <a:pt x="179" y="390"/>
                  </a:lnTo>
                  <a:lnTo>
                    <a:pt x="165" y="401"/>
                  </a:lnTo>
                  <a:lnTo>
                    <a:pt x="149" y="411"/>
                  </a:lnTo>
                  <a:lnTo>
                    <a:pt x="133" y="422"/>
                  </a:lnTo>
                  <a:lnTo>
                    <a:pt x="119" y="434"/>
                  </a:lnTo>
                  <a:lnTo>
                    <a:pt x="104" y="449"/>
                  </a:lnTo>
                  <a:lnTo>
                    <a:pt x="90" y="463"/>
                  </a:lnTo>
                  <a:lnTo>
                    <a:pt x="76" y="479"/>
                  </a:lnTo>
                  <a:lnTo>
                    <a:pt x="63" y="495"/>
                  </a:lnTo>
                  <a:lnTo>
                    <a:pt x="49" y="512"/>
                  </a:lnTo>
                  <a:lnTo>
                    <a:pt x="35" y="528"/>
                  </a:lnTo>
                  <a:lnTo>
                    <a:pt x="35" y="525"/>
                  </a:lnTo>
                  <a:lnTo>
                    <a:pt x="35" y="531"/>
                  </a:lnTo>
                  <a:lnTo>
                    <a:pt x="35" y="534"/>
                  </a:lnTo>
                  <a:lnTo>
                    <a:pt x="31" y="536"/>
                  </a:lnTo>
                  <a:lnTo>
                    <a:pt x="30" y="542"/>
                  </a:lnTo>
                  <a:lnTo>
                    <a:pt x="25" y="550"/>
                  </a:lnTo>
                  <a:lnTo>
                    <a:pt x="20" y="557"/>
                  </a:lnTo>
                  <a:lnTo>
                    <a:pt x="20" y="555"/>
                  </a:lnTo>
                  <a:lnTo>
                    <a:pt x="19" y="552"/>
                  </a:lnTo>
                  <a:lnTo>
                    <a:pt x="16" y="547"/>
                  </a:lnTo>
                  <a:lnTo>
                    <a:pt x="12" y="544"/>
                  </a:lnTo>
                  <a:lnTo>
                    <a:pt x="6" y="534"/>
                  </a:lnTo>
                  <a:lnTo>
                    <a:pt x="0" y="525"/>
                  </a:lnTo>
                  <a:lnTo>
                    <a:pt x="0" y="492"/>
                  </a:lnTo>
                  <a:lnTo>
                    <a:pt x="0" y="460"/>
                  </a:lnTo>
                  <a:lnTo>
                    <a:pt x="0" y="426"/>
                  </a:lnTo>
                  <a:lnTo>
                    <a:pt x="0" y="39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01" name="Freeform 474"/>
            <p:cNvSpPr>
              <a:spLocks/>
            </p:cNvSpPr>
            <p:nvPr/>
          </p:nvSpPr>
          <p:spPr bwMode="auto">
            <a:xfrm>
              <a:off x="6241315" y="4314436"/>
              <a:ext cx="398468" cy="397720"/>
            </a:xfrm>
            <a:custGeom>
              <a:avLst/>
              <a:gdLst>
                <a:gd name="T0" fmla="*/ 6 w 541"/>
                <a:gd name="T1" fmla="*/ 273 h 470"/>
                <a:gd name="T2" fmla="*/ 17 w 541"/>
                <a:gd name="T3" fmla="*/ 264 h 470"/>
                <a:gd name="T4" fmla="*/ 36 w 541"/>
                <a:gd name="T5" fmla="*/ 264 h 470"/>
                <a:gd name="T6" fmla="*/ 40 w 541"/>
                <a:gd name="T7" fmla="*/ 216 h 470"/>
                <a:gd name="T8" fmla="*/ 46 w 541"/>
                <a:gd name="T9" fmla="*/ 197 h 470"/>
                <a:gd name="T10" fmla="*/ 46 w 541"/>
                <a:gd name="T11" fmla="*/ 178 h 470"/>
                <a:gd name="T12" fmla="*/ 60 w 541"/>
                <a:gd name="T13" fmla="*/ 167 h 470"/>
                <a:gd name="T14" fmla="*/ 70 w 541"/>
                <a:gd name="T15" fmla="*/ 154 h 470"/>
                <a:gd name="T16" fmla="*/ 71 w 541"/>
                <a:gd name="T17" fmla="*/ 143 h 470"/>
                <a:gd name="T18" fmla="*/ 84 w 541"/>
                <a:gd name="T19" fmla="*/ 111 h 470"/>
                <a:gd name="T20" fmla="*/ 101 w 541"/>
                <a:gd name="T21" fmla="*/ 91 h 470"/>
                <a:gd name="T22" fmla="*/ 112 w 541"/>
                <a:gd name="T23" fmla="*/ 65 h 470"/>
                <a:gd name="T24" fmla="*/ 120 w 541"/>
                <a:gd name="T25" fmla="*/ 40 h 470"/>
                <a:gd name="T26" fmla="*/ 136 w 541"/>
                <a:gd name="T27" fmla="*/ 24 h 470"/>
                <a:gd name="T28" fmla="*/ 152 w 541"/>
                <a:gd name="T29" fmla="*/ 23 h 470"/>
                <a:gd name="T30" fmla="*/ 162 w 541"/>
                <a:gd name="T31" fmla="*/ 26 h 470"/>
                <a:gd name="T32" fmla="*/ 178 w 541"/>
                <a:gd name="T33" fmla="*/ 8 h 470"/>
                <a:gd name="T34" fmla="*/ 197 w 541"/>
                <a:gd name="T35" fmla="*/ 19 h 470"/>
                <a:gd name="T36" fmla="*/ 216 w 541"/>
                <a:gd name="T37" fmla="*/ 13 h 470"/>
                <a:gd name="T38" fmla="*/ 225 w 541"/>
                <a:gd name="T39" fmla="*/ 16 h 470"/>
                <a:gd name="T40" fmla="*/ 246 w 541"/>
                <a:gd name="T41" fmla="*/ 18 h 470"/>
                <a:gd name="T42" fmla="*/ 263 w 541"/>
                <a:gd name="T43" fmla="*/ 26 h 470"/>
                <a:gd name="T44" fmla="*/ 284 w 541"/>
                <a:gd name="T45" fmla="*/ 42 h 470"/>
                <a:gd name="T46" fmla="*/ 320 w 541"/>
                <a:gd name="T47" fmla="*/ 84 h 470"/>
                <a:gd name="T48" fmla="*/ 335 w 541"/>
                <a:gd name="T49" fmla="*/ 100 h 470"/>
                <a:gd name="T50" fmla="*/ 322 w 541"/>
                <a:gd name="T51" fmla="*/ 123 h 470"/>
                <a:gd name="T52" fmla="*/ 314 w 541"/>
                <a:gd name="T53" fmla="*/ 138 h 470"/>
                <a:gd name="T54" fmla="*/ 320 w 541"/>
                <a:gd name="T55" fmla="*/ 162 h 470"/>
                <a:gd name="T56" fmla="*/ 341 w 541"/>
                <a:gd name="T57" fmla="*/ 157 h 470"/>
                <a:gd name="T58" fmla="*/ 355 w 541"/>
                <a:gd name="T59" fmla="*/ 159 h 470"/>
                <a:gd name="T60" fmla="*/ 347 w 541"/>
                <a:gd name="T61" fmla="*/ 176 h 470"/>
                <a:gd name="T62" fmla="*/ 360 w 541"/>
                <a:gd name="T63" fmla="*/ 197 h 470"/>
                <a:gd name="T64" fmla="*/ 374 w 541"/>
                <a:gd name="T65" fmla="*/ 221 h 470"/>
                <a:gd name="T66" fmla="*/ 396 w 541"/>
                <a:gd name="T67" fmla="*/ 241 h 470"/>
                <a:gd name="T68" fmla="*/ 453 w 541"/>
                <a:gd name="T69" fmla="*/ 262 h 470"/>
                <a:gd name="T70" fmla="*/ 504 w 541"/>
                <a:gd name="T71" fmla="*/ 283 h 470"/>
                <a:gd name="T72" fmla="*/ 460 w 541"/>
                <a:gd name="T73" fmla="*/ 375 h 470"/>
                <a:gd name="T74" fmla="*/ 425 w 541"/>
                <a:gd name="T75" fmla="*/ 410 h 470"/>
                <a:gd name="T76" fmla="*/ 395 w 541"/>
                <a:gd name="T77" fmla="*/ 408 h 470"/>
                <a:gd name="T78" fmla="*/ 365 w 541"/>
                <a:gd name="T79" fmla="*/ 424 h 470"/>
                <a:gd name="T80" fmla="*/ 346 w 541"/>
                <a:gd name="T81" fmla="*/ 436 h 470"/>
                <a:gd name="T82" fmla="*/ 323 w 541"/>
                <a:gd name="T83" fmla="*/ 448 h 470"/>
                <a:gd name="T84" fmla="*/ 303 w 541"/>
                <a:gd name="T85" fmla="*/ 448 h 470"/>
                <a:gd name="T86" fmla="*/ 250 w 541"/>
                <a:gd name="T87" fmla="*/ 452 h 470"/>
                <a:gd name="T88" fmla="*/ 230 w 541"/>
                <a:gd name="T89" fmla="*/ 468 h 470"/>
                <a:gd name="T90" fmla="*/ 208 w 541"/>
                <a:gd name="T91" fmla="*/ 462 h 470"/>
                <a:gd name="T92" fmla="*/ 182 w 541"/>
                <a:gd name="T93" fmla="*/ 457 h 470"/>
                <a:gd name="T94" fmla="*/ 143 w 541"/>
                <a:gd name="T95" fmla="*/ 429 h 470"/>
                <a:gd name="T96" fmla="*/ 112 w 541"/>
                <a:gd name="T97" fmla="*/ 429 h 470"/>
                <a:gd name="T98" fmla="*/ 103 w 541"/>
                <a:gd name="T99" fmla="*/ 402 h 470"/>
                <a:gd name="T100" fmla="*/ 93 w 541"/>
                <a:gd name="T101" fmla="*/ 387 h 470"/>
                <a:gd name="T102" fmla="*/ 78 w 541"/>
                <a:gd name="T103" fmla="*/ 378 h 470"/>
                <a:gd name="T104" fmla="*/ 66 w 541"/>
                <a:gd name="T105" fmla="*/ 346 h 470"/>
                <a:gd name="T106" fmla="*/ 55 w 541"/>
                <a:gd name="T107" fmla="*/ 329 h 470"/>
                <a:gd name="T108" fmla="*/ 38 w 541"/>
                <a:gd name="T109" fmla="*/ 311 h 470"/>
                <a:gd name="T110" fmla="*/ 22 w 541"/>
                <a:gd name="T111" fmla="*/ 295 h 470"/>
                <a:gd name="T112" fmla="*/ 1 w 541"/>
                <a:gd name="T113" fmla="*/ 287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41" h="470">
                  <a:moveTo>
                    <a:pt x="0" y="287"/>
                  </a:moveTo>
                  <a:lnTo>
                    <a:pt x="1" y="284"/>
                  </a:lnTo>
                  <a:lnTo>
                    <a:pt x="1" y="283"/>
                  </a:lnTo>
                  <a:lnTo>
                    <a:pt x="5" y="280"/>
                  </a:lnTo>
                  <a:lnTo>
                    <a:pt x="8" y="276"/>
                  </a:lnTo>
                  <a:lnTo>
                    <a:pt x="6" y="273"/>
                  </a:lnTo>
                  <a:lnTo>
                    <a:pt x="6" y="270"/>
                  </a:lnTo>
                  <a:lnTo>
                    <a:pt x="6" y="267"/>
                  </a:lnTo>
                  <a:lnTo>
                    <a:pt x="8" y="265"/>
                  </a:lnTo>
                  <a:lnTo>
                    <a:pt x="11" y="264"/>
                  </a:lnTo>
                  <a:lnTo>
                    <a:pt x="14" y="265"/>
                  </a:lnTo>
                  <a:lnTo>
                    <a:pt x="17" y="264"/>
                  </a:lnTo>
                  <a:lnTo>
                    <a:pt x="21" y="264"/>
                  </a:lnTo>
                  <a:lnTo>
                    <a:pt x="25" y="265"/>
                  </a:lnTo>
                  <a:lnTo>
                    <a:pt x="28" y="267"/>
                  </a:lnTo>
                  <a:lnTo>
                    <a:pt x="28" y="267"/>
                  </a:lnTo>
                  <a:lnTo>
                    <a:pt x="33" y="265"/>
                  </a:lnTo>
                  <a:lnTo>
                    <a:pt x="36" y="264"/>
                  </a:lnTo>
                  <a:lnTo>
                    <a:pt x="40" y="260"/>
                  </a:lnTo>
                  <a:lnTo>
                    <a:pt x="41" y="259"/>
                  </a:lnTo>
                  <a:lnTo>
                    <a:pt x="41" y="251"/>
                  </a:lnTo>
                  <a:lnTo>
                    <a:pt x="41" y="248"/>
                  </a:lnTo>
                  <a:lnTo>
                    <a:pt x="40" y="232"/>
                  </a:lnTo>
                  <a:lnTo>
                    <a:pt x="40" y="216"/>
                  </a:lnTo>
                  <a:lnTo>
                    <a:pt x="40" y="213"/>
                  </a:lnTo>
                  <a:lnTo>
                    <a:pt x="41" y="208"/>
                  </a:lnTo>
                  <a:lnTo>
                    <a:pt x="43" y="205"/>
                  </a:lnTo>
                  <a:lnTo>
                    <a:pt x="43" y="202"/>
                  </a:lnTo>
                  <a:lnTo>
                    <a:pt x="43" y="200"/>
                  </a:lnTo>
                  <a:lnTo>
                    <a:pt x="46" y="197"/>
                  </a:lnTo>
                  <a:lnTo>
                    <a:pt x="47" y="194"/>
                  </a:lnTo>
                  <a:lnTo>
                    <a:pt x="47" y="189"/>
                  </a:lnTo>
                  <a:lnTo>
                    <a:pt x="47" y="186"/>
                  </a:lnTo>
                  <a:lnTo>
                    <a:pt x="46" y="183"/>
                  </a:lnTo>
                  <a:lnTo>
                    <a:pt x="46" y="178"/>
                  </a:lnTo>
                  <a:lnTo>
                    <a:pt x="46" y="178"/>
                  </a:lnTo>
                  <a:lnTo>
                    <a:pt x="46" y="178"/>
                  </a:lnTo>
                  <a:lnTo>
                    <a:pt x="47" y="173"/>
                  </a:lnTo>
                  <a:lnTo>
                    <a:pt x="49" y="170"/>
                  </a:lnTo>
                  <a:lnTo>
                    <a:pt x="52" y="167"/>
                  </a:lnTo>
                  <a:lnTo>
                    <a:pt x="57" y="164"/>
                  </a:lnTo>
                  <a:lnTo>
                    <a:pt x="60" y="167"/>
                  </a:lnTo>
                  <a:lnTo>
                    <a:pt x="63" y="172"/>
                  </a:lnTo>
                  <a:lnTo>
                    <a:pt x="63" y="173"/>
                  </a:lnTo>
                  <a:lnTo>
                    <a:pt x="70" y="165"/>
                  </a:lnTo>
                  <a:lnTo>
                    <a:pt x="68" y="162"/>
                  </a:lnTo>
                  <a:lnTo>
                    <a:pt x="70" y="159"/>
                  </a:lnTo>
                  <a:lnTo>
                    <a:pt x="70" y="154"/>
                  </a:lnTo>
                  <a:lnTo>
                    <a:pt x="70" y="154"/>
                  </a:lnTo>
                  <a:lnTo>
                    <a:pt x="70" y="151"/>
                  </a:lnTo>
                  <a:lnTo>
                    <a:pt x="70" y="151"/>
                  </a:lnTo>
                  <a:lnTo>
                    <a:pt x="70" y="149"/>
                  </a:lnTo>
                  <a:lnTo>
                    <a:pt x="70" y="146"/>
                  </a:lnTo>
                  <a:lnTo>
                    <a:pt x="71" y="143"/>
                  </a:lnTo>
                  <a:lnTo>
                    <a:pt x="73" y="138"/>
                  </a:lnTo>
                  <a:lnTo>
                    <a:pt x="73" y="135"/>
                  </a:lnTo>
                  <a:lnTo>
                    <a:pt x="73" y="132"/>
                  </a:lnTo>
                  <a:lnTo>
                    <a:pt x="76" y="124"/>
                  </a:lnTo>
                  <a:lnTo>
                    <a:pt x="82" y="115"/>
                  </a:lnTo>
                  <a:lnTo>
                    <a:pt x="84" y="111"/>
                  </a:lnTo>
                  <a:lnTo>
                    <a:pt x="86" y="107"/>
                  </a:lnTo>
                  <a:lnTo>
                    <a:pt x="87" y="103"/>
                  </a:lnTo>
                  <a:lnTo>
                    <a:pt x="90" y="97"/>
                  </a:lnTo>
                  <a:lnTo>
                    <a:pt x="93" y="94"/>
                  </a:lnTo>
                  <a:lnTo>
                    <a:pt x="93" y="92"/>
                  </a:lnTo>
                  <a:lnTo>
                    <a:pt x="101" y="91"/>
                  </a:lnTo>
                  <a:lnTo>
                    <a:pt x="105" y="89"/>
                  </a:lnTo>
                  <a:lnTo>
                    <a:pt x="109" y="91"/>
                  </a:lnTo>
                  <a:lnTo>
                    <a:pt x="109" y="89"/>
                  </a:lnTo>
                  <a:lnTo>
                    <a:pt x="111" y="81"/>
                  </a:lnTo>
                  <a:lnTo>
                    <a:pt x="111" y="73"/>
                  </a:lnTo>
                  <a:lnTo>
                    <a:pt x="112" y="65"/>
                  </a:lnTo>
                  <a:lnTo>
                    <a:pt x="116" y="59"/>
                  </a:lnTo>
                  <a:lnTo>
                    <a:pt x="119" y="54"/>
                  </a:lnTo>
                  <a:lnTo>
                    <a:pt x="119" y="51"/>
                  </a:lnTo>
                  <a:lnTo>
                    <a:pt x="119" y="48"/>
                  </a:lnTo>
                  <a:lnTo>
                    <a:pt x="120" y="45"/>
                  </a:lnTo>
                  <a:lnTo>
                    <a:pt x="120" y="40"/>
                  </a:lnTo>
                  <a:lnTo>
                    <a:pt x="120" y="32"/>
                  </a:lnTo>
                  <a:lnTo>
                    <a:pt x="122" y="26"/>
                  </a:lnTo>
                  <a:lnTo>
                    <a:pt x="127" y="24"/>
                  </a:lnTo>
                  <a:lnTo>
                    <a:pt x="128" y="24"/>
                  </a:lnTo>
                  <a:lnTo>
                    <a:pt x="133" y="24"/>
                  </a:lnTo>
                  <a:lnTo>
                    <a:pt x="136" y="24"/>
                  </a:lnTo>
                  <a:lnTo>
                    <a:pt x="139" y="26"/>
                  </a:lnTo>
                  <a:lnTo>
                    <a:pt x="143" y="23"/>
                  </a:lnTo>
                  <a:lnTo>
                    <a:pt x="144" y="19"/>
                  </a:lnTo>
                  <a:lnTo>
                    <a:pt x="147" y="19"/>
                  </a:lnTo>
                  <a:lnTo>
                    <a:pt x="151" y="21"/>
                  </a:lnTo>
                  <a:lnTo>
                    <a:pt x="152" y="23"/>
                  </a:lnTo>
                  <a:lnTo>
                    <a:pt x="154" y="26"/>
                  </a:lnTo>
                  <a:lnTo>
                    <a:pt x="157" y="29"/>
                  </a:lnTo>
                  <a:lnTo>
                    <a:pt x="160" y="34"/>
                  </a:lnTo>
                  <a:lnTo>
                    <a:pt x="160" y="32"/>
                  </a:lnTo>
                  <a:lnTo>
                    <a:pt x="160" y="29"/>
                  </a:lnTo>
                  <a:lnTo>
                    <a:pt x="162" y="26"/>
                  </a:lnTo>
                  <a:lnTo>
                    <a:pt x="163" y="23"/>
                  </a:lnTo>
                  <a:lnTo>
                    <a:pt x="165" y="19"/>
                  </a:lnTo>
                  <a:lnTo>
                    <a:pt x="168" y="10"/>
                  </a:lnTo>
                  <a:lnTo>
                    <a:pt x="171" y="0"/>
                  </a:lnTo>
                  <a:lnTo>
                    <a:pt x="173" y="5"/>
                  </a:lnTo>
                  <a:lnTo>
                    <a:pt x="178" y="8"/>
                  </a:lnTo>
                  <a:lnTo>
                    <a:pt x="181" y="10"/>
                  </a:lnTo>
                  <a:lnTo>
                    <a:pt x="184" y="10"/>
                  </a:lnTo>
                  <a:lnTo>
                    <a:pt x="187" y="16"/>
                  </a:lnTo>
                  <a:lnTo>
                    <a:pt x="190" y="19"/>
                  </a:lnTo>
                  <a:lnTo>
                    <a:pt x="193" y="19"/>
                  </a:lnTo>
                  <a:lnTo>
                    <a:pt x="197" y="19"/>
                  </a:lnTo>
                  <a:lnTo>
                    <a:pt x="201" y="18"/>
                  </a:lnTo>
                  <a:lnTo>
                    <a:pt x="206" y="18"/>
                  </a:lnTo>
                  <a:lnTo>
                    <a:pt x="209" y="15"/>
                  </a:lnTo>
                  <a:lnTo>
                    <a:pt x="211" y="10"/>
                  </a:lnTo>
                  <a:lnTo>
                    <a:pt x="214" y="12"/>
                  </a:lnTo>
                  <a:lnTo>
                    <a:pt x="216" y="13"/>
                  </a:lnTo>
                  <a:lnTo>
                    <a:pt x="217" y="15"/>
                  </a:lnTo>
                  <a:lnTo>
                    <a:pt x="217" y="18"/>
                  </a:lnTo>
                  <a:lnTo>
                    <a:pt x="219" y="19"/>
                  </a:lnTo>
                  <a:lnTo>
                    <a:pt x="220" y="18"/>
                  </a:lnTo>
                  <a:lnTo>
                    <a:pt x="224" y="18"/>
                  </a:lnTo>
                  <a:lnTo>
                    <a:pt x="225" y="16"/>
                  </a:lnTo>
                  <a:lnTo>
                    <a:pt x="228" y="15"/>
                  </a:lnTo>
                  <a:lnTo>
                    <a:pt x="233" y="16"/>
                  </a:lnTo>
                  <a:lnTo>
                    <a:pt x="236" y="18"/>
                  </a:lnTo>
                  <a:lnTo>
                    <a:pt x="239" y="16"/>
                  </a:lnTo>
                  <a:lnTo>
                    <a:pt x="243" y="19"/>
                  </a:lnTo>
                  <a:lnTo>
                    <a:pt x="246" y="18"/>
                  </a:lnTo>
                  <a:lnTo>
                    <a:pt x="247" y="18"/>
                  </a:lnTo>
                  <a:lnTo>
                    <a:pt x="250" y="18"/>
                  </a:lnTo>
                  <a:lnTo>
                    <a:pt x="254" y="19"/>
                  </a:lnTo>
                  <a:lnTo>
                    <a:pt x="255" y="19"/>
                  </a:lnTo>
                  <a:lnTo>
                    <a:pt x="258" y="23"/>
                  </a:lnTo>
                  <a:lnTo>
                    <a:pt x="263" y="26"/>
                  </a:lnTo>
                  <a:lnTo>
                    <a:pt x="266" y="29"/>
                  </a:lnTo>
                  <a:lnTo>
                    <a:pt x="270" y="29"/>
                  </a:lnTo>
                  <a:lnTo>
                    <a:pt x="273" y="31"/>
                  </a:lnTo>
                  <a:lnTo>
                    <a:pt x="277" y="34"/>
                  </a:lnTo>
                  <a:lnTo>
                    <a:pt x="277" y="34"/>
                  </a:lnTo>
                  <a:lnTo>
                    <a:pt x="284" y="42"/>
                  </a:lnTo>
                  <a:lnTo>
                    <a:pt x="290" y="51"/>
                  </a:lnTo>
                  <a:lnTo>
                    <a:pt x="303" y="62"/>
                  </a:lnTo>
                  <a:lnTo>
                    <a:pt x="314" y="75"/>
                  </a:lnTo>
                  <a:lnTo>
                    <a:pt x="316" y="78"/>
                  </a:lnTo>
                  <a:lnTo>
                    <a:pt x="317" y="81"/>
                  </a:lnTo>
                  <a:lnTo>
                    <a:pt x="320" y="84"/>
                  </a:lnTo>
                  <a:lnTo>
                    <a:pt x="325" y="86"/>
                  </a:lnTo>
                  <a:lnTo>
                    <a:pt x="328" y="89"/>
                  </a:lnTo>
                  <a:lnTo>
                    <a:pt x="330" y="94"/>
                  </a:lnTo>
                  <a:lnTo>
                    <a:pt x="331" y="96"/>
                  </a:lnTo>
                  <a:lnTo>
                    <a:pt x="331" y="97"/>
                  </a:lnTo>
                  <a:lnTo>
                    <a:pt x="335" y="100"/>
                  </a:lnTo>
                  <a:lnTo>
                    <a:pt x="333" y="103"/>
                  </a:lnTo>
                  <a:lnTo>
                    <a:pt x="331" y="107"/>
                  </a:lnTo>
                  <a:lnTo>
                    <a:pt x="328" y="111"/>
                  </a:lnTo>
                  <a:lnTo>
                    <a:pt x="327" y="115"/>
                  </a:lnTo>
                  <a:lnTo>
                    <a:pt x="323" y="119"/>
                  </a:lnTo>
                  <a:lnTo>
                    <a:pt x="322" y="123"/>
                  </a:lnTo>
                  <a:lnTo>
                    <a:pt x="322" y="123"/>
                  </a:lnTo>
                  <a:lnTo>
                    <a:pt x="320" y="126"/>
                  </a:lnTo>
                  <a:lnTo>
                    <a:pt x="316" y="129"/>
                  </a:lnTo>
                  <a:lnTo>
                    <a:pt x="316" y="130"/>
                  </a:lnTo>
                  <a:lnTo>
                    <a:pt x="314" y="134"/>
                  </a:lnTo>
                  <a:lnTo>
                    <a:pt x="314" y="138"/>
                  </a:lnTo>
                  <a:lnTo>
                    <a:pt x="314" y="142"/>
                  </a:lnTo>
                  <a:lnTo>
                    <a:pt x="314" y="145"/>
                  </a:lnTo>
                  <a:lnTo>
                    <a:pt x="316" y="149"/>
                  </a:lnTo>
                  <a:lnTo>
                    <a:pt x="316" y="159"/>
                  </a:lnTo>
                  <a:lnTo>
                    <a:pt x="317" y="162"/>
                  </a:lnTo>
                  <a:lnTo>
                    <a:pt x="320" y="162"/>
                  </a:lnTo>
                  <a:lnTo>
                    <a:pt x="323" y="162"/>
                  </a:lnTo>
                  <a:lnTo>
                    <a:pt x="328" y="161"/>
                  </a:lnTo>
                  <a:lnTo>
                    <a:pt x="331" y="161"/>
                  </a:lnTo>
                  <a:lnTo>
                    <a:pt x="333" y="159"/>
                  </a:lnTo>
                  <a:lnTo>
                    <a:pt x="336" y="159"/>
                  </a:lnTo>
                  <a:lnTo>
                    <a:pt x="341" y="157"/>
                  </a:lnTo>
                  <a:lnTo>
                    <a:pt x="344" y="156"/>
                  </a:lnTo>
                  <a:lnTo>
                    <a:pt x="346" y="156"/>
                  </a:lnTo>
                  <a:lnTo>
                    <a:pt x="346" y="156"/>
                  </a:lnTo>
                  <a:lnTo>
                    <a:pt x="349" y="157"/>
                  </a:lnTo>
                  <a:lnTo>
                    <a:pt x="352" y="161"/>
                  </a:lnTo>
                  <a:lnTo>
                    <a:pt x="355" y="159"/>
                  </a:lnTo>
                  <a:lnTo>
                    <a:pt x="355" y="162"/>
                  </a:lnTo>
                  <a:lnTo>
                    <a:pt x="352" y="167"/>
                  </a:lnTo>
                  <a:lnTo>
                    <a:pt x="350" y="168"/>
                  </a:lnTo>
                  <a:lnTo>
                    <a:pt x="349" y="173"/>
                  </a:lnTo>
                  <a:lnTo>
                    <a:pt x="347" y="176"/>
                  </a:lnTo>
                  <a:lnTo>
                    <a:pt x="347" y="176"/>
                  </a:lnTo>
                  <a:lnTo>
                    <a:pt x="349" y="181"/>
                  </a:lnTo>
                  <a:lnTo>
                    <a:pt x="352" y="184"/>
                  </a:lnTo>
                  <a:lnTo>
                    <a:pt x="352" y="188"/>
                  </a:lnTo>
                  <a:lnTo>
                    <a:pt x="354" y="191"/>
                  </a:lnTo>
                  <a:lnTo>
                    <a:pt x="355" y="194"/>
                  </a:lnTo>
                  <a:lnTo>
                    <a:pt x="360" y="197"/>
                  </a:lnTo>
                  <a:lnTo>
                    <a:pt x="360" y="200"/>
                  </a:lnTo>
                  <a:lnTo>
                    <a:pt x="360" y="202"/>
                  </a:lnTo>
                  <a:lnTo>
                    <a:pt x="363" y="205"/>
                  </a:lnTo>
                  <a:lnTo>
                    <a:pt x="368" y="207"/>
                  </a:lnTo>
                  <a:lnTo>
                    <a:pt x="369" y="214"/>
                  </a:lnTo>
                  <a:lnTo>
                    <a:pt x="374" y="221"/>
                  </a:lnTo>
                  <a:lnTo>
                    <a:pt x="376" y="224"/>
                  </a:lnTo>
                  <a:lnTo>
                    <a:pt x="379" y="227"/>
                  </a:lnTo>
                  <a:lnTo>
                    <a:pt x="382" y="227"/>
                  </a:lnTo>
                  <a:lnTo>
                    <a:pt x="385" y="230"/>
                  </a:lnTo>
                  <a:lnTo>
                    <a:pt x="393" y="238"/>
                  </a:lnTo>
                  <a:lnTo>
                    <a:pt x="396" y="241"/>
                  </a:lnTo>
                  <a:lnTo>
                    <a:pt x="401" y="243"/>
                  </a:lnTo>
                  <a:lnTo>
                    <a:pt x="407" y="246"/>
                  </a:lnTo>
                  <a:lnTo>
                    <a:pt x="412" y="248"/>
                  </a:lnTo>
                  <a:lnTo>
                    <a:pt x="422" y="251"/>
                  </a:lnTo>
                  <a:lnTo>
                    <a:pt x="433" y="254"/>
                  </a:lnTo>
                  <a:lnTo>
                    <a:pt x="453" y="262"/>
                  </a:lnTo>
                  <a:lnTo>
                    <a:pt x="473" y="270"/>
                  </a:lnTo>
                  <a:lnTo>
                    <a:pt x="485" y="275"/>
                  </a:lnTo>
                  <a:lnTo>
                    <a:pt x="495" y="280"/>
                  </a:lnTo>
                  <a:lnTo>
                    <a:pt x="503" y="281"/>
                  </a:lnTo>
                  <a:lnTo>
                    <a:pt x="504" y="283"/>
                  </a:lnTo>
                  <a:lnTo>
                    <a:pt x="504" y="283"/>
                  </a:lnTo>
                  <a:lnTo>
                    <a:pt x="541" y="283"/>
                  </a:lnTo>
                  <a:lnTo>
                    <a:pt x="523" y="302"/>
                  </a:lnTo>
                  <a:lnTo>
                    <a:pt x="507" y="319"/>
                  </a:lnTo>
                  <a:lnTo>
                    <a:pt x="492" y="338"/>
                  </a:lnTo>
                  <a:lnTo>
                    <a:pt x="476" y="357"/>
                  </a:lnTo>
                  <a:lnTo>
                    <a:pt x="460" y="375"/>
                  </a:lnTo>
                  <a:lnTo>
                    <a:pt x="446" y="394"/>
                  </a:lnTo>
                  <a:lnTo>
                    <a:pt x="441" y="400"/>
                  </a:lnTo>
                  <a:lnTo>
                    <a:pt x="436" y="406"/>
                  </a:lnTo>
                  <a:lnTo>
                    <a:pt x="433" y="410"/>
                  </a:lnTo>
                  <a:lnTo>
                    <a:pt x="430" y="410"/>
                  </a:lnTo>
                  <a:lnTo>
                    <a:pt x="425" y="410"/>
                  </a:lnTo>
                  <a:lnTo>
                    <a:pt x="422" y="408"/>
                  </a:lnTo>
                  <a:lnTo>
                    <a:pt x="419" y="408"/>
                  </a:lnTo>
                  <a:lnTo>
                    <a:pt x="411" y="408"/>
                  </a:lnTo>
                  <a:lnTo>
                    <a:pt x="403" y="406"/>
                  </a:lnTo>
                  <a:lnTo>
                    <a:pt x="400" y="406"/>
                  </a:lnTo>
                  <a:lnTo>
                    <a:pt x="395" y="408"/>
                  </a:lnTo>
                  <a:lnTo>
                    <a:pt x="392" y="410"/>
                  </a:lnTo>
                  <a:lnTo>
                    <a:pt x="388" y="410"/>
                  </a:lnTo>
                  <a:lnTo>
                    <a:pt x="384" y="411"/>
                  </a:lnTo>
                  <a:lnTo>
                    <a:pt x="376" y="416"/>
                  </a:lnTo>
                  <a:lnTo>
                    <a:pt x="368" y="421"/>
                  </a:lnTo>
                  <a:lnTo>
                    <a:pt x="365" y="424"/>
                  </a:lnTo>
                  <a:lnTo>
                    <a:pt x="361" y="427"/>
                  </a:lnTo>
                  <a:lnTo>
                    <a:pt x="360" y="430"/>
                  </a:lnTo>
                  <a:lnTo>
                    <a:pt x="357" y="433"/>
                  </a:lnTo>
                  <a:lnTo>
                    <a:pt x="354" y="435"/>
                  </a:lnTo>
                  <a:lnTo>
                    <a:pt x="354" y="435"/>
                  </a:lnTo>
                  <a:lnTo>
                    <a:pt x="346" y="436"/>
                  </a:lnTo>
                  <a:lnTo>
                    <a:pt x="338" y="438"/>
                  </a:lnTo>
                  <a:lnTo>
                    <a:pt x="333" y="438"/>
                  </a:lnTo>
                  <a:lnTo>
                    <a:pt x="330" y="440"/>
                  </a:lnTo>
                  <a:lnTo>
                    <a:pt x="328" y="440"/>
                  </a:lnTo>
                  <a:lnTo>
                    <a:pt x="325" y="443"/>
                  </a:lnTo>
                  <a:lnTo>
                    <a:pt x="323" y="448"/>
                  </a:lnTo>
                  <a:lnTo>
                    <a:pt x="320" y="448"/>
                  </a:lnTo>
                  <a:lnTo>
                    <a:pt x="317" y="446"/>
                  </a:lnTo>
                  <a:lnTo>
                    <a:pt x="314" y="446"/>
                  </a:lnTo>
                  <a:lnTo>
                    <a:pt x="311" y="448"/>
                  </a:lnTo>
                  <a:lnTo>
                    <a:pt x="308" y="448"/>
                  </a:lnTo>
                  <a:lnTo>
                    <a:pt x="303" y="448"/>
                  </a:lnTo>
                  <a:lnTo>
                    <a:pt x="296" y="448"/>
                  </a:lnTo>
                  <a:lnTo>
                    <a:pt x="293" y="444"/>
                  </a:lnTo>
                  <a:lnTo>
                    <a:pt x="290" y="440"/>
                  </a:lnTo>
                  <a:lnTo>
                    <a:pt x="284" y="435"/>
                  </a:lnTo>
                  <a:lnTo>
                    <a:pt x="266" y="443"/>
                  </a:lnTo>
                  <a:lnTo>
                    <a:pt x="250" y="452"/>
                  </a:lnTo>
                  <a:lnTo>
                    <a:pt x="247" y="459"/>
                  </a:lnTo>
                  <a:lnTo>
                    <a:pt x="241" y="467"/>
                  </a:lnTo>
                  <a:lnTo>
                    <a:pt x="239" y="470"/>
                  </a:lnTo>
                  <a:lnTo>
                    <a:pt x="236" y="468"/>
                  </a:lnTo>
                  <a:lnTo>
                    <a:pt x="231" y="468"/>
                  </a:lnTo>
                  <a:lnTo>
                    <a:pt x="230" y="468"/>
                  </a:lnTo>
                  <a:lnTo>
                    <a:pt x="227" y="467"/>
                  </a:lnTo>
                  <a:lnTo>
                    <a:pt x="222" y="465"/>
                  </a:lnTo>
                  <a:lnTo>
                    <a:pt x="222" y="465"/>
                  </a:lnTo>
                  <a:lnTo>
                    <a:pt x="217" y="467"/>
                  </a:lnTo>
                  <a:lnTo>
                    <a:pt x="212" y="465"/>
                  </a:lnTo>
                  <a:lnTo>
                    <a:pt x="208" y="462"/>
                  </a:lnTo>
                  <a:lnTo>
                    <a:pt x="203" y="462"/>
                  </a:lnTo>
                  <a:lnTo>
                    <a:pt x="200" y="462"/>
                  </a:lnTo>
                  <a:lnTo>
                    <a:pt x="195" y="462"/>
                  </a:lnTo>
                  <a:lnTo>
                    <a:pt x="189" y="462"/>
                  </a:lnTo>
                  <a:lnTo>
                    <a:pt x="185" y="460"/>
                  </a:lnTo>
                  <a:lnTo>
                    <a:pt x="182" y="457"/>
                  </a:lnTo>
                  <a:lnTo>
                    <a:pt x="173" y="449"/>
                  </a:lnTo>
                  <a:lnTo>
                    <a:pt x="168" y="446"/>
                  </a:lnTo>
                  <a:lnTo>
                    <a:pt x="157" y="438"/>
                  </a:lnTo>
                  <a:lnTo>
                    <a:pt x="152" y="435"/>
                  </a:lnTo>
                  <a:lnTo>
                    <a:pt x="149" y="430"/>
                  </a:lnTo>
                  <a:lnTo>
                    <a:pt x="143" y="429"/>
                  </a:lnTo>
                  <a:lnTo>
                    <a:pt x="136" y="429"/>
                  </a:lnTo>
                  <a:lnTo>
                    <a:pt x="128" y="429"/>
                  </a:lnTo>
                  <a:lnTo>
                    <a:pt x="120" y="429"/>
                  </a:lnTo>
                  <a:lnTo>
                    <a:pt x="120" y="427"/>
                  </a:lnTo>
                  <a:lnTo>
                    <a:pt x="119" y="429"/>
                  </a:lnTo>
                  <a:lnTo>
                    <a:pt x="112" y="429"/>
                  </a:lnTo>
                  <a:lnTo>
                    <a:pt x="109" y="425"/>
                  </a:lnTo>
                  <a:lnTo>
                    <a:pt x="109" y="422"/>
                  </a:lnTo>
                  <a:lnTo>
                    <a:pt x="108" y="421"/>
                  </a:lnTo>
                  <a:lnTo>
                    <a:pt x="105" y="417"/>
                  </a:lnTo>
                  <a:lnTo>
                    <a:pt x="103" y="414"/>
                  </a:lnTo>
                  <a:lnTo>
                    <a:pt x="103" y="402"/>
                  </a:lnTo>
                  <a:lnTo>
                    <a:pt x="105" y="398"/>
                  </a:lnTo>
                  <a:lnTo>
                    <a:pt x="103" y="395"/>
                  </a:lnTo>
                  <a:lnTo>
                    <a:pt x="103" y="392"/>
                  </a:lnTo>
                  <a:lnTo>
                    <a:pt x="100" y="391"/>
                  </a:lnTo>
                  <a:lnTo>
                    <a:pt x="97" y="391"/>
                  </a:lnTo>
                  <a:lnTo>
                    <a:pt x="93" y="387"/>
                  </a:lnTo>
                  <a:lnTo>
                    <a:pt x="90" y="387"/>
                  </a:lnTo>
                  <a:lnTo>
                    <a:pt x="86" y="391"/>
                  </a:lnTo>
                  <a:lnTo>
                    <a:pt x="84" y="387"/>
                  </a:lnTo>
                  <a:lnTo>
                    <a:pt x="84" y="384"/>
                  </a:lnTo>
                  <a:lnTo>
                    <a:pt x="81" y="381"/>
                  </a:lnTo>
                  <a:lnTo>
                    <a:pt x="78" y="378"/>
                  </a:lnTo>
                  <a:lnTo>
                    <a:pt x="76" y="373"/>
                  </a:lnTo>
                  <a:lnTo>
                    <a:pt x="74" y="370"/>
                  </a:lnTo>
                  <a:lnTo>
                    <a:pt x="73" y="362"/>
                  </a:lnTo>
                  <a:lnTo>
                    <a:pt x="68" y="354"/>
                  </a:lnTo>
                  <a:lnTo>
                    <a:pt x="68" y="349"/>
                  </a:lnTo>
                  <a:lnTo>
                    <a:pt x="66" y="346"/>
                  </a:lnTo>
                  <a:lnTo>
                    <a:pt x="65" y="343"/>
                  </a:lnTo>
                  <a:lnTo>
                    <a:pt x="65" y="340"/>
                  </a:lnTo>
                  <a:lnTo>
                    <a:pt x="62" y="335"/>
                  </a:lnTo>
                  <a:lnTo>
                    <a:pt x="59" y="335"/>
                  </a:lnTo>
                  <a:lnTo>
                    <a:pt x="55" y="332"/>
                  </a:lnTo>
                  <a:lnTo>
                    <a:pt x="55" y="329"/>
                  </a:lnTo>
                  <a:lnTo>
                    <a:pt x="52" y="325"/>
                  </a:lnTo>
                  <a:lnTo>
                    <a:pt x="47" y="325"/>
                  </a:lnTo>
                  <a:lnTo>
                    <a:pt x="46" y="322"/>
                  </a:lnTo>
                  <a:lnTo>
                    <a:pt x="44" y="318"/>
                  </a:lnTo>
                  <a:lnTo>
                    <a:pt x="41" y="316"/>
                  </a:lnTo>
                  <a:lnTo>
                    <a:pt x="38" y="311"/>
                  </a:lnTo>
                  <a:lnTo>
                    <a:pt x="38" y="308"/>
                  </a:lnTo>
                  <a:lnTo>
                    <a:pt x="35" y="305"/>
                  </a:lnTo>
                  <a:lnTo>
                    <a:pt x="32" y="302"/>
                  </a:lnTo>
                  <a:lnTo>
                    <a:pt x="28" y="300"/>
                  </a:lnTo>
                  <a:lnTo>
                    <a:pt x="25" y="297"/>
                  </a:lnTo>
                  <a:lnTo>
                    <a:pt x="22" y="295"/>
                  </a:lnTo>
                  <a:lnTo>
                    <a:pt x="19" y="294"/>
                  </a:lnTo>
                  <a:lnTo>
                    <a:pt x="14" y="294"/>
                  </a:lnTo>
                  <a:lnTo>
                    <a:pt x="11" y="294"/>
                  </a:lnTo>
                  <a:lnTo>
                    <a:pt x="8" y="292"/>
                  </a:lnTo>
                  <a:lnTo>
                    <a:pt x="5" y="292"/>
                  </a:lnTo>
                  <a:lnTo>
                    <a:pt x="1" y="287"/>
                  </a:lnTo>
                  <a:lnTo>
                    <a:pt x="0" y="28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02" name="Freeform 475"/>
            <p:cNvSpPr>
              <a:spLocks/>
            </p:cNvSpPr>
            <p:nvPr/>
          </p:nvSpPr>
          <p:spPr bwMode="auto">
            <a:xfrm>
              <a:off x="6328066" y="4207813"/>
              <a:ext cx="177914" cy="194630"/>
            </a:xfrm>
            <a:custGeom>
              <a:avLst/>
              <a:gdLst>
                <a:gd name="T0" fmla="*/ 5 w 243"/>
                <a:gd name="T1" fmla="*/ 107 h 229"/>
                <a:gd name="T2" fmla="*/ 15 w 243"/>
                <a:gd name="T3" fmla="*/ 79 h 229"/>
                <a:gd name="T4" fmla="*/ 16 w 243"/>
                <a:gd name="T5" fmla="*/ 61 h 229"/>
                <a:gd name="T6" fmla="*/ 26 w 243"/>
                <a:gd name="T7" fmla="*/ 39 h 229"/>
                <a:gd name="T8" fmla="*/ 35 w 243"/>
                <a:gd name="T9" fmla="*/ 36 h 229"/>
                <a:gd name="T10" fmla="*/ 40 w 243"/>
                <a:gd name="T11" fmla="*/ 27 h 229"/>
                <a:gd name="T12" fmla="*/ 53 w 243"/>
                <a:gd name="T13" fmla="*/ 20 h 229"/>
                <a:gd name="T14" fmla="*/ 67 w 243"/>
                <a:gd name="T15" fmla="*/ 9 h 229"/>
                <a:gd name="T16" fmla="*/ 89 w 243"/>
                <a:gd name="T17" fmla="*/ 36 h 229"/>
                <a:gd name="T18" fmla="*/ 95 w 243"/>
                <a:gd name="T19" fmla="*/ 57 h 229"/>
                <a:gd name="T20" fmla="*/ 99 w 243"/>
                <a:gd name="T21" fmla="*/ 71 h 229"/>
                <a:gd name="T22" fmla="*/ 102 w 243"/>
                <a:gd name="T23" fmla="*/ 84 h 229"/>
                <a:gd name="T24" fmla="*/ 110 w 243"/>
                <a:gd name="T25" fmla="*/ 101 h 229"/>
                <a:gd name="T26" fmla="*/ 118 w 243"/>
                <a:gd name="T27" fmla="*/ 112 h 229"/>
                <a:gd name="T28" fmla="*/ 122 w 243"/>
                <a:gd name="T29" fmla="*/ 115 h 229"/>
                <a:gd name="T30" fmla="*/ 124 w 243"/>
                <a:gd name="T31" fmla="*/ 104 h 229"/>
                <a:gd name="T32" fmla="*/ 130 w 243"/>
                <a:gd name="T33" fmla="*/ 115 h 229"/>
                <a:gd name="T34" fmla="*/ 140 w 243"/>
                <a:gd name="T35" fmla="*/ 125 h 229"/>
                <a:gd name="T36" fmla="*/ 153 w 243"/>
                <a:gd name="T37" fmla="*/ 126 h 229"/>
                <a:gd name="T38" fmla="*/ 164 w 243"/>
                <a:gd name="T39" fmla="*/ 136 h 229"/>
                <a:gd name="T40" fmla="*/ 175 w 243"/>
                <a:gd name="T41" fmla="*/ 142 h 229"/>
                <a:gd name="T42" fmla="*/ 184 w 243"/>
                <a:gd name="T43" fmla="*/ 155 h 229"/>
                <a:gd name="T44" fmla="*/ 210 w 243"/>
                <a:gd name="T45" fmla="*/ 182 h 229"/>
                <a:gd name="T46" fmla="*/ 214 w 243"/>
                <a:gd name="T47" fmla="*/ 188 h 229"/>
                <a:gd name="T48" fmla="*/ 222 w 243"/>
                <a:gd name="T49" fmla="*/ 196 h 229"/>
                <a:gd name="T50" fmla="*/ 233 w 243"/>
                <a:gd name="T51" fmla="*/ 210 h 229"/>
                <a:gd name="T52" fmla="*/ 243 w 243"/>
                <a:gd name="T53" fmla="*/ 212 h 229"/>
                <a:gd name="T54" fmla="*/ 233 w 243"/>
                <a:gd name="T55" fmla="*/ 223 h 229"/>
                <a:gd name="T56" fmla="*/ 224 w 243"/>
                <a:gd name="T57" fmla="*/ 226 h 229"/>
                <a:gd name="T58" fmla="*/ 214 w 243"/>
                <a:gd name="T59" fmla="*/ 222 h 229"/>
                <a:gd name="T60" fmla="*/ 203 w 243"/>
                <a:gd name="T61" fmla="*/ 210 h 229"/>
                <a:gd name="T62" fmla="*/ 189 w 243"/>
                <a:gd name="T63" fmla="*/ 190 h 229"/>
                <a:gd name="T64" fmla="*/ 165 w 243"/>
                <a:gd name="T65" fmla="*/ 164 h 229"/>
                <a:gd name="T66" fmla="*/ 146 w 243"/>
                <a:gd name="T67" fmla="*/ 152 h 229"/>
                <a:gd name="T68" fmla="*/ 133 w 243"/>
                <a:gd name="T69" fmla="*/ 144 h 229"/>
                <a:gd name="T70" fmla="*/ 122 w 243"/>
                <a:gd name="T71" fmla="*/ 142 h 229"/>
                <a:gd name="T72" fmla="*/ 108 w 243"/>
                <a:gd name="T73" fmla="*/ 142 h 229"/>
                <a:gd name="T74" fmla="*/ 100 w 243"/>
                <a:gd name="T75" fmla="*/ 144 h 229"/>
                <a:gd name="T76" fmla="*/ 94 w 243"/>
                <a:gd name="T77" fmla="*/ 136 h 229"/>
                <a:gd name="T78" fmla="*/ 84 w 243"/>
                <a:gd name="T79" fmla="*/ 144 h 229"/>
                <a:gd name="T80" fmla="*/ 70 w 243"/>
                <a:gd name="T81" fmla="*/ 142 h 229"/>
                <a:gd name="T82" fmla="*/ 56 w 243"/>
                <a:gd name="T83" fmla="*/ 131 h 229"/>
                <a:gd name="T84" fmla="*/ 48 w 243"/>
                <a:gd name="T85" fmla="*/ 145 h 229"/>
                <a:gd name="T86" fmla="*/ 43 w 243"/>
                <a:gd name="T87" fmla="*/ 158 h 229"/>
                <a:gd name="T88" fmla="*/ 35 w 243"/>
                <a:gd name="T89" fmla="*/ 149 h 229"/>
                <a:gd name="T90" fmla="*/ 26 w 243"/>
                <a:gd name="T91" fmla="*/ 149 h 229"/>
                <a:gd name="T92" fmla="*/ 11 w 243"/>
                <a:gd name="T93" fmla="*/ 150 h 229"/>
                <a:gd name="T94" fmla="*/ 3 w 243"/>
                <a:gd name="T95" fmla="*/ 134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3" h="229">
                  <a:moveTo>
                    <a:pt x="0" y="117"/>
                  </a:moveTo>
                  <a:lnTo>
                    <a:pt x="3" y="114"/>
                  </a:lnTo>
                  <a:lnTo>
                    <a:pt x="5" y="111"/>
                  </a:lnTo>
                  <a:lnTo>
                    <a:pt x="5" y="107"/>
                  </a:lnTo>
                  <a:lnTo>
                    <a:pt x="8" y="104"/>
                  </a:lnTo>
                  <a:lnTo>
                    <a:pt x="7" y="101"/>
                  </a:lnTo>
                  <a:lnTo>
                    <a:pt x="10" y="90"/>
                  </a:lnTo>
                  <a:lnTo>
                    <a:pt x="15" y="79"/>
                  </a:lnTo>
                  <a:lnTo>
                    <a:pt x="16" y="74"/>
                  </a:lnTo>
                  <a:lnTo>
                    <a:pt x="18" y="71"/>
                  </a:lnTo>
                  <a:lnTo>
                    <a:pt x="18" y="66"/>
                  </a:lnTo>
                  <a:lnTo>
                    <a:pt x="16" y="61"/>
                  </a:lnTo>
                  <a:lnTo>
                    <a:pt x="18" y="52"/>
                  </a:lnTo>
                  <a:lnTo>
                    <a:pt x="19" y="41"/>
                  </a:lnTo>
                  <a:lnTo>
                    <a:pt x="22" y="39"/>
                  </a:lnTo>
                  <a:lnTo>
                    <a:pt x="26" y="39"/>
                  </a:lnTo>
                  <a:lnTo>
                    <a:pt x="29" y="38"/>
                  </a:lnTo>
                  <a:lnTo>
                    <a:pt x="34" y="39"/>
                  </a:lnTo>
                  <a:lnTo>
                    <a:pt x="34" y="39"/>
                  </a:lnTo>
                  <a:lnTo>
                    <a:pt x="35" y="36"/>
                  </a:lnTo>
                  <a:lnTo>
                    <a:pt x="37" y="33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40" y="27"/>
                  </a:lnTo>
                  <a:lnTo>
                    <a:pt x="43" y="25"/>
                  </a:lnTo>
                  <a:lnTo>
                    <a:pt x="46" y="22"/>
                  </a:lnTo>
                  <a:lnTo>
                    <a:pt x="49" y="22"/>
                  </a:lnTo>
                  <a:lnTo>
                    <a:pt x="53" y="20"/>
                  </a:lnTo>
                  <a:lnTo>
                    <a:pt x="56" y="19"/>
                  </a:lnTo>
                  <a:lnTo>
                    <a:pt x="59" y="17"/>
                  </a:lnTo>
                  <a:lnTo>
                    <a:pt x="62" y="15"/>
                  </a:lnTo>
                  <a:lnTo>
                    <a:pt x="67" y="9"/>
                  </a:lnTo>
                  <a:lnTo>
                    <a:pt x="73" y="0"/>
                  </a:lnTo>
                  <a:lnTo>
                    <a:pt x="80" y="12"/>
                  </a:lnTo>
                  <a:lnTo>
                    <a:pt x="86" y="23"/>
                  </a:lnTo>
                  <a:lnTo>
                    <a:pt x="89" y="36"/>
                  </a:lnTo>
                  <a:lnTo>
                    <a:pt x="94" y="49"/>
                  </a:lnTo>
                  <a:lnTo>
                    <a:pt x="95" y="52"/>
                  </a:lnTo>
                  <a:lnTo>
                    <a:pt x="95" y="55"/>
                  </a:lnTo>
                  <a:lnTo>
                    <a:pt x="95" y="57"/>
                  </a:lnTo>
                  <a:lnTo>
                    <a:pt x="95" y="60"/>
                  </a:lnTo>
                  <a:lnTo>
                    <a:pt x="97" y="63"/>
                  </a:lnTo>
                  <a:lnTo>
                    <a:pt x="99" y="66"/>
                  </a:lnTo>
                  <a:lnTo>
                    <a:pt x="99" y="71"/>
                  </a:lnTo>
                  <a:lnTo>
                    <a:pt x="99" y="74"/>
                  </a:lnTo>
                  <a:lnTo>
                    <a:pt x="100" y="77"/>
                  </a:lnTo>
                  <a:lnTo>
                    <a:pt x="100" y="80"/>
                  </a:lnTo>
                  <a:lnTo>
                    <a:pt x="102" y="84"/>
                  </a:lnTo>
                  <a:lnTo>
                    <a:pt x="105" y="88"/>
                  </a:lnTo>
                  <a:lnTo>
                    <a:pt x="108" y="95"/>
                  </a:lnTo>
                  <a:lnTo>
                    <a:pt x="107" y="98"/>
                  </a:lnTo>
                  <a:lnTo>
                    <a:pt x="110" y="101"/>
                  </a:lnTo>
                  <a:lnTo>
                    <a:pt x="113" y="103"/>
                  </a:lnTo>
                  <a:lnTo>
                    <a:pt x="114" y="106"/>
                  </a:lnTo>
                  <a:lnTo>
                    <a:pt x="116" y="109"/>
                  </a:lnTo>
                  <a:lnTo>
                    <a:pt x="118" y="112"/>
                  </a:lnTo>
                  <a:lnTo>
                    <a:pt x="118" y="117"/>
                  </a:lnTo>
                  <a:lnTo>
                    <a:pt x="121" y="120"/>
                  </a:lnTo>
                  <a:lnTo>
                    <a:pt x="122" y="118"/>
                  </a:lnTo>
                  <a:lnTo>
                    <a:pt x="122" y="115"/>
                  </a:lnTo>
                  <a:lnTo>
                    <a:pt x="121" y="111"/>
                  </a:lnTo>
                  <a:lnTo>
                    <a:pt x="119" y="107"/>
                  </a:lnTo>
                  <a:lnTo>
                    <a:pt x="121" y="104"/>
                  </a:lnTo>
                  <a:lnTo>
                    <a:pt x="124" y="104"/>
                  </a:lnTo>
                  <a:lnTo>
                    <a:pt x="127" y="107"/>
                  </a:lnTo>
                  <a:lnTo>
                    <a:pt x="130" y="109"/>
                  </a:lnTo>
                  <a:lnTo>
                    <a:pt x="129" y="112"/>
                  </a:lnTo>
                  <a:lnTo>
                    <a:pt x="130" y="115"/>
                  </a:lnTo>
                  <a:lnTo>
                    <a:pt x="132" y="118"/>
                  </a:lnTo>
                  <a:lnTo>
                    <a:pt x="133" y="122"/>
                  </a:lnTo>
                  <a:lnTo>
                    <a:pt x="137" y="125"/>
                  </a:lnTo>
                  <a:lnTo>
                    <a:pt x="140" y="125"/>
                  </a:lnTo>
                  <a:lnTo>
                    <a:pt x="145" y="122"/>
                  </a:lnTo>
                  <a:lnTo>
                    <a:pt x="148" y="122"/>
                  </a:lnTo>
                  <a:lnTo>
                    <a:pt x="149" y="125"/>
                  </a:lnTo>
                  <a:lnTo>
                    <a:pt x="153" y="126"/>
                  </a:lnTo>
                  <a:lnTo>
                    <a:pt x="154" y="131"/>
                  </a:lnTo>
                  <a:lnTo>
                    <a:pt x="157" y="134"/>
                  </a:lnTo>
                  <a:lnTo>
                    <a:pt x="160" y="134"/>
                  </a:lnTo>
                  <a:lnTo>
                    <a:pt x="164" y="136"/>
                  </a:lnTo>
                  <a:lnTo>
                    <a:pt x="168" y="136"/>
                  </a:lnTo>
                  <a:lnTo>
                    <a:pt x="172" y="138"/>
                  </a:lnTo>
                  <a:lnTo>
                    <a:pt x="173" y="141"/>
                  </a:lnTo>
                  <a:lnTo>
                    <a:pt x="175" y="142"/>
                  </a:lnTo>
                  <a:lnTo>
                    <a:pt x="176" y="145"/>
                  </a:lnTo>
                  <a:lnTo>
                    <a:pt x="179" y="149"/>
                  </a:lnTo>
                  <a:lnTo>
                    <a:pt x="181" y="152"/>
                  </a:lnTo>
                  <a:lnTo>
                    <a:pt x="184" y="155"/>
                  </a:lnTo>
                  <a:lnTo>
                    <a:pt x="189" y="163"/>
                  </a:lnTo>
                  <a:lnTo>
                    <a:pt x="195" y="168"/>
                  </a:lnTo>
                  <a:lnTo>
                    <a:pt x="203" y="172"/>
                  </a:lnTo>
                  <a:lnTo>
                    <a:pt x="210" y="182"/>
                  </a:lnTo>
                  <a:lnTo>
                    <a:pt x="210" y="177"/>
                  </a:lnTo>
                  <a:lnTo>
                    <a:pt x="213" y="180"/>
                  </a:lnTo>
                  <a:lnTo>
                    <a:pt x="213" y="185"/>
                  </a:lnTo>
                  <a:lnTo>
                    <a:pt x="214" y="188"/>
                  </a:lnTo>
                  <a:lnTo>
                    <a:pt x="214" y="191"/>
                  </a:lnTo>
                  <a:lnTo>
                    <a:pt x="216" y="195"/>
                  </a:lnTo>
                  <a:lnTo>
                    <a:pt x="219" y="196"/>
                  </a:lnTo>
                  <a:lnTo>
                    <a:pt x="222" y="196"/>
                  </a:lnTo>
                  <a:lnTo>
                    <a:pt x="225" y="199"/>
                  </a:lnTo>
                  <a:lnTo>
                    <a:pt x="229" y="204"/>
                  </a:lnTo>
                  <a:lnTo>
                    <a:pt x="230" y="207"/>
                  </a:lnTo>
                  <a:lnTo>
                    <a:pt x="233" y="210"/>
                  </a:lnTo>
                  <a:lnTo>
                    <a:pt x="233" y="210"/>
                  </a:lnTo>
                  <a:lnTo>
                    <a:pt x="237" y="212"/>
                  </a:lnTo>
                  <a:lnTo>
                    <a:pt x="240" y="209"/>
                  </a:lnTo>
                  <a:lnTo>
                    <a:pt x="243" y="212"/>
                  </a:lnTo>
                  <a:lnTo>
                    <a:pt x="243" y="215"/>
                  </a:lnTo>
                  <a:lnTo>
                    <a:pt x="241" y="217"/>
                  </a:lnTo>
                  <a:lnTo>
                    <a:pt x="237" y="220"/>
                  </a:lnTo>
                  <a:lnTo>
                    <a:pt x="233" y="223"/>
                  </a:lnTo>
                  <a:lnTo>
                    <a:pt x="233" y="226"/>
                  </a:lnTo>
                  <a:lnTo>
                    <a:pt x="230" y="229"/>
                  </a:lnTo>
                  <a:lnTo>
                    <a:pt x="227" y="228"/>
                  </a:lnTo>
                  <a:lnTo>
                    <a:pt x="224" y="226"/>
                  </a:lnTo>
                  <a:lnTo>
                    <a:pt x="221" y="223"/>
                  </a:lnTo>
                  <a:lnTo>
                    <a:pt x="218" y="226"/>
                  </a:lnTo>
                  <a:lnTo>
                    <a:pt x="214" y="223"/>
                  </a:lnTo>
                  <a:lnTo>
                    <a:pt x="214" y="222"/>
                  </a:lnTo>
                  <a:lnTo>
                    <a:pt x="213" y="220"/>
                  </a:lnTo>
                  <a:lnTo>
                    <a:pt x="211" y="215"/>
                  </a:lnTo>
                  <a:lnTo>
                    <a:pt x="208" y="212"/>
                  </a:lnTo>
                  <a:lnTo>
                    <a:pt x="203" y="210"/>
                  </a:lnTo>
                  <a:lnTo>
                    <a:pt x="200" y="207"/>
                  </a:lnTo>
                  <a:lnTo>
                    <a:pt x="199" y="204"/>
                  </a:lnTo>
                  <a:lnTo>
                    <a:pt x="195" y="196"/>
                  </a:lnTo>
                  <a:lnTo>
                    <a:pt x="189" y="190"/>
                  </a:lnTo>
                  <a:lnTo>
                    <a:pt x="181" y="185"/>
                  </a:lnTo>
                  <a:lnTo>
                    <a:pt x="175" y="180"/>
                  </a:lnTo>
                  <a:lnTo>
                    <a:pt x="172" y="172"/>
                  </a:lnTo>
                  <a:lnTo>
                    <a:pt x="165" y="164"/>
                  </a:lnTo>
                  <a:lnTo>
                    <a:pt x="159" y="158"/>
                  </a:lnTo>
                  <a:lnTo>
                    <a:pt x="153" y="155"/>
                  </a:lnTo>
                  <a:lnTo>
                    <a:pt x="149" y="155"/>
                  </a:lnTo>
                  <a:lnTo>
                    <a:pt x="146" y="152"/>
                  </a:lnTo>
                  <a:lnTo>
                    <a:pt x="141" y="149"/>
                  </a:lnTo>
                  <a:lnTo>
                    <a:pt x="138" y="145"/>
                  </a:lnTo>
                  <a:lnTo>
                    <a:pt x="137" y="145"/>
                  </a:lnTo>
                  <a:lnTo>
                    <a:pt x="133" y="144"/>
                  </a:lnTo>
                  <a:lnTo>
                    <a:pt x="130" y="144"/>
                  </a:lnTo>
                  <a:lnTo>
                    <a:pt x="129" y="144"/>
                  </a:lnTo>
                  <a:lnTo>
                    <a:pt x="126" y="145"/>
                  </a:lnTo>
                  <a:lnTo>
                    <a:pt x="122" y="142"/>
                  </a:lnTo>
                  <a:lnTo>
                    <a:pt x="119" y="144"/>
                  </a:lnTo>
                  <a:lnTo>
                    <a:pt x="116" y="142"/>
                  </a:lnTo>
                  <a:lnTo>
                    <a:pt x="111" y="141"/>
                  </a:lnTo>
                  <a:lnTo>
                    <a:pt x="108" y="142"/>
                  </a:lnTo>
                  <a:lnTo>
                    <a:pt x="107" y="144"/>
                  </a:lnTo>
                  <a:lnTo>
                    <a:pt x="103" y="144"/>
                  </a:lnTo>
                  <a:lnTo>
                    <a:pt x="102" y="145"/>
                  </a:lnTo>
                  <a:lnTo>
                    <a:pt x="100" y="144"/>
                  </a:lnTo>
                  <a:lnTo>
                    <a:pt x="100" y="141"/>
                  </a:lnTo>
                  <a:lnTo>
                    <a:pt x="99" y="139"/>
                  </a:lnTo>
                  <a:lnTo>
                    <a:pt x="97" y="138"/>
                  </a:lnTo>
                  <a:lnTo>
                    <a:pt x="94" y="136"/>
                  </a:lnTo>
                  <a:lnTo>
                    <a:pt x="92" y="141"/>
                  </a:lnTo>
                  <a:lnTo>
                    <a:pt x="91" y="142"/>
                  </a:lnTo>
                  <a:lnTo>
                    <a:pt x="87" y="144"/>
                  </a:lnTo>
                  <a:lnTo>
                    <a:pt x="84" y="144"/>
                  </a:lnTo>
                  <a:lnTo>
                    <a:pt x="80" y="145"/>
                  </a:lnTo>
                  <a:lnTo>
                    <a:pt x="76" y="145"/>
                  </a:lnTo>
                  <a:lnTo>
                    <a:pt x="73" y="145"/>
                  </a:lnTo>
                  <a:lnTo>
                    <a:pt x="70" y="142"/>
                  </a:lnTo>
                  <a:lnTo>
                    <a:pt x="67" y="136"/>
                  </a:lnTo>
                  <a:lnTo>
                    <a:pt x="64" y="136"/>
                  </a:lnTo>
                  <a:lnTo>
                    <a:pt x="61" y="134"/>
                  </a:lnTo>
                  <a:lnTo>
                    <a:pt x="56" y="131"/>
                  </a:lnTo>
                  <a:lnTo>
                    <a:pt x="54" y="126"/>
                  </a:lnTo>
                  <a:lnTo>
                    <a:pt x="51" y="134"/>
                  </a:lnTo>
                  <a:lnTo>
                    <a:pt x="48" y="142"/>
                  </a:lnTo>
                  <a:lnTo>
                    <a:pt x="48" y="145"/>
                  </a:lnTo>
                  <a:lnTo>
                    <a:pt x="46" y="149"/>
                  </a:lnTo>
                  <a:lnTo>
                    <a:pt x="45" y="152"/>
                  </a:lnTo>
                  <a:lnTo>
                    <a:pt x="43" y="155"/>
                  </a:lnTo>
                  <a:lnTo>
                    <a:pt x="43" y="158"/>
                  </a:lnTo>
                  <a:lnTo>
                    <a:pt x="43" y="160"/>
                  </a:lnTo>
                  <a:lnTo>
                    <a:pt x="40" y="155"/>
                  </a:lnTo>
                  <a:lnTo>
                    <a:pt x="37" y="152"/>
                  </a:lnTo>
                  <a:lnTo>
                    <a:pt x="35" y="149"/>
                  </a:lnTo>
                  <a:lnTo>
                    <a:pt x="34" y="147"/>
                  </a:lnTo>
                  <a:lnTo>
                    <a:pt x="30" y="145"/>
                  </a:lnTo>
                  <a:lnTo>
                    <a:pt x="27" y="145"/>
                  </a:lnTo>
                  <a:lnTo>
                    <a:pt x="26" y="149"/>
                  </a:lnTo>
                  <a:lnTo>
                    <a:pt x="22" y="152"/>
                  </a:lnTo>
                  <a:lnTo>
                    <a:pt x="19" y="150"/>
                  </a:lnTo>
                  <a:lnTo>
                    <a:pt x="16" y="150"/>
                  </a:lnTo>
                  <a:lnTo>
                    <a:pt x="11" y="150"/>
                  </a:lnTo>
                  <a:lnTo>
                    <a:pt x="10" y="150"/>
                  </a:lnTo>
                  <a:lnTo>
                    <a:pt x="5" y="152"/>
                  </a:lnTo>
                  <a:lnTo>
                    <a:pt x="5" y="153"/>
                  </a:lnTo>
                  <a:lnTo>
                    <a:pt x="3" y="134"/>
                  </a:lnTo>
                  <a:lnTo>
                    <a:pt x="0" y="11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03" name="Freeform 476"/>
            <p:cNvSpPr>
              <a:spLocks/>
            </p:cNvSpPr>
            <p:nvPr/>
          </p:nvSpPr>
          <p:spPr bwMode="auto">
            <a:xfrm>
              <a:off x="6472161" y="4390595"/>
              <a:ext cx="42641" cy="60928"/>
            </a:xfrm>
            <a:custGeom>
              <a:avLst/>
              <a:gdLst>
                <a:gd name="T0" fmla="*/ 2 w 57"/>
                <a:gd name="T1" fmla="*/ 60 h 73"/>
                <a:gd name="T2" fmla="*/ 0 w 57"/>
                <a:gd name="T3" fmla="*/ 53 h 73"/>
                <a:gd name="T4" fmla="*/ 0 w 57"/>
                <a:gd name="T5" fmla="*/ 45 h 73"/>
                <a:gd name="T6" fmla="*/ 2 w 57"/>
                <a:gd name="T7" fmla="*/ 40 h 73"/>
                <a:gd name="T8" fmla="*/ 8 w 57"/>
                <a:gd name="T9" fmla="*/ 34 h 73"/>
                <a:gd name="T10" fmla="*/ 9 w 57"/>
                <a:gd name="T11" fmla="*/ 30 h 73"/>
                <a:gd name="T12" fmla="*/ 14 w 57"/>
                <a:gd name="T13" fmla="*/ 22 h 73"/>
                <a:gd name="T14" fmla="*/ 19 w 57"/>
                <a:gd name="T15" fmla="*/ 14 h 73"/>
                <a:gd name="T16" fmla="*/ 24 w 57"/>
                <a:gd name="T17" fmla="*/ 8 h 73"/>
                <a:gd name="T18" fmla="*/ 30 w 57"/>
                <a:gd name="T19" fmla="*/ 13 h 73"/>
                <a:gd name="T20" fmla="*/ 36 w 57"/>
                <a:gd name="T21" fmla="*/ 11 h 73"/>
                <a:gd name="T22" fmla="*/ 40 w 57"/>
                <a:gd name="T23" fmla="*/ 5 h 73"/>
                <a:gd name="T24" fmla="*/ 46 w 57"/>
                <a:gd name="T25" fmla="*/ 0 h 73"/>
                <a:gd name="T26" fmla="*/ 55 w 57"/>
                <a:gd name="T27" fmla="*/ 19 h 73"/>
                <a:gd name="T28" fmla="*/ 57 w 57"/>
                <a:gd name="T29" fmla="*/ 27 h 73"/>
                <a:gd name="T30" fmla="*/ 52 w 57"/>
                <a:gd name="T31" fmla="*/ 32 h 73"/>
                <a:gd name="T32" fmla="*/ 46 w 57"/>
                <a:gd name="T33" fmla="*/ 37 h 73"/>
                <a:gd name="T34" fmla="*/ 43 w 57"/>
                <a:gd name="T35" fmla="*/ 38 h 73"/>
                <a:gd name="T36" fmla="*/ 35 w 57"/>
                <a:gd name="T37" fmla="*/ 41 h 73"/>
                <a:gd name="T38" fmla="*/ 32 w 57"/>
                <a:gd name="T39" fmla="*/ 48 h 73"/>
                <a:gd name="T40" fmla="*/ 27 w 57"/>
                <a:gd name="T41" fmla="*/ 49 h 73"/>
                <a:gd name="T42" fmla="*/ 33 w 57"/>
                <a:gd name="T43" fmla="*/ 48 h 73"/>
                <a:gd name="T44" fmla="*/ 38 w 57"/>
                <a:gd name="T45" fmla="*/ 46 h 73"/>
                <a:gd name="T46" fmla="*/ 44 w 57"/>
                <a:gd name="T47" fmla="*/ 48 h 73"/>
                <a:gd name="T48" fmla="*/ 49 w 57"/>
                <a:gd name="T49" fmla="*/ 48 h 73"/>
                <a:gd name="T50" fmla="*/ 49 w 57"/>
                <a:gd name="T51" fmla="*/ 57 h 73"/>
                <a:gd name="T52" fmla="*/ 44 w 57"/>
                <a:gd name="T53" fmla="*/ 67 h 73"/>
                <a:gd name="T54" fmla="*/ 38 w 57"/>
                <a:gd name="T55" fmla="*/ 72 h 73"/>
                <a:gd name="T56" fmla="*/ 32 w 57"/>
                <a:gd name="T57" fmla="*/ 67 h 73"/>
                <a:gd name="T58" fmla="*/ 30 w 57"/>
                <a:gd name="T59" fmla="*/ 67 h 73"/>
                <a:gd name="T60" fmla="*/ 22 w 57"/>
                <a:gd name="T61" fmla="*/ 70 h 73"/>
                <a:gd name="T62" fmla="*/ 17 w 57"/>
                <a:gd name="T63" fmla="*/ 72 h 73"/>
                <a:gd name="T64" fmla="*/ 9 w 57"/>
                <a:gd name="T65" fmla="*/ 73 h 73"/>
                <a:gd name="T66" fmla="*/ 3 w 57"/>
                <a:gd name="T67" fmla="*/ 7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7" h="73">
                  <a:moveTo>
                    <a:pt x="2" y="70"/>
                  </a:moveTo>
                  <a:lnTo>
                    <a:pt x="2" y="60"/>
                  </a:lnTo>
                  <a:lnTo>
                    <a:pt x="0" y="56"/>
                  </a:lnTo>
                  <a:lnTo>
                    <a:pt x="0" y="53"/>
                  </a:lnTo>
                  <a:lnTo>
                    <a:pt x="0" y="49"/>
                  </a:lnTo>
                  <a:lnTo>
                    <a:pt x="0" y="45"/>
                  </a:lnTo>
                  <a:lnTo>
                    <a:pt x="2" y="41"/>
                  </a:lnTo>
                  <a:lnTo>
                    <a:pt x="2" y="40"/>
                  </a:lnTo>
                  <a:lnTo>
                    <a:pt x="6" y="37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9" y="30"/>
                  </a:lnTo>
                  <a:lnTo>
                    <a:pt x="13" y="26"/>
                  </a:lnTo>
                  <a:lnTo>
                    <a:pt x="14" y="22"/>
                  </a:lnTo>
                  <a:lnTo>
                    <a:pt x="17" y="18"/>
                  </a:lnTo>
                  <a:lnTo>
                    <a:pt x="19" y="14"/>
                  </a:lnTo>
                  <a:lnTo>
                    <a:pt x="21" y="11"/>
                  </a:lnTo>
                  <a:lnTo>
                    <a:pt x="24" y="8"/>
                  </a:lnTo>
                  <a:lnTo>
                    <a:pt x="27" y="11"/>
                  </a:lnTo>
                  <a:lnTo>
                    <a:pt x="30" y="13"/>
                  </a:lnTo>
                  <a:lnTo>
                    <a:pt x="33" y="14"/>
                  </a:lnTo>
                  <a:lnTo>
                    <a:pt x="36" y="11"/>
                  </a:lnTo>
                  <a:lnTo>
                    <a:pt x="36" y="8"/>
                  </a:lnTo>
                  <a:lnTo>
                    <a:pt x="40" y="5"/>
                  </a:lnTo>
                  <a:lnTo>
                    <a:pt x="44" y="2"/>
                  </a:lnTo>
                  <a:lnTo>
                    <a:pt x="46" y="0"/>
                  </a:lnTo>
                  <a:lnTo>
                    <a:pt x="52" y="10"/>
                  </a:lnTo>
                  <a:lnTo>
                    <a:pt x="55" y="19"/>
                  </a:lnTo>
                  <a:lnTo>
                    <a:pt x="57" y="22"/>
                  </a:lnTo>
                  <a:lnTo>
                    <a:pt x="57" y="27"/>
                  </a:lnTo>
                  <a:lnTo>
                    <a:pt x="57" y="30"/>
                  </a:lnTo>
                  <a:lnTo>
                    <a:pt x="52" y="32"/>
                  </a:lnTo>
                  <a:lnTo>
                    <a:pt x="49" y="34"/>
                  </a:lnTo>
                  <a:lnTo>
                    <a:pt x="46" y="37"/>
                  </a:lnTo>
                  <a:lnTo>
                    <a:pt x="46" y="37"/>
                  </a:lnTo>
                  <a:lnTo>
                    <a:pt x="43" y="38"/>
                  </a:lnTo>
                  <a:lnTo>
                    <a:pt x="38" y="40"/>
                  </a:lnTo>
                  <a:lnTo>
                    <a:pt x="35" y="41"/>
                  </a:lnTo>
                  <a:lnTo>
                    <a:pt x="33" y="45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7" y="49"/>
                  </a:lnTo>
                  <a:lnTo>
                    <a:pt x="30" y="51"/>
                  </a:lnTo>
                  <a:lnTo>
                    <a:pt x="33" y="48"/>
                  </a:lnTo>
                  <a:lnTo>
                    <a:pt x="36" y="48"/>
                  </a:lnTo>
                  <a:lnTo>
                    <a:pt x="38" y="46"/>
                  </a:lnTo>
                  <a:lnTo>
                    <a:pt x="43" y="46"/>
                  </a:lnTo>
                  <a:lnTo>
                    <a:pt x="44" y="48"/>
                  </a:lnTo>
                  <a:lnTo>
                    <a:pt x="47" y="48"/>
                  </a:lnTo>
                  <a:lnTo>
                    <a:pt x="49" y="48"/>
                  </a:lnTo>
                  <a:lnTo>
                    <a:pt x="52" y="51"/>
                  </a:lnTo>
                  <a:lnTo>
                    <a:pt x="49" y="57"/>
                  </a:lnTo>
                  <a:lnTo>
                    <a:pt x="46" y="64"/>
                  </a:lnTo>
                  <a:lnTo>
                    <a:pt x="44" y="67"/>
                  </a:lnTo>
                  <a:lnTo>
                    <a:pt x="41" y="70"/>
                  </a:lnTo>
                  <a:lnTo>
                    <a:pt x="38" y="72"/>
                  </a:lnTo>
                  <a:lnTo>
                    <a:pt x="35" y="68"/>
                  </a:lnTo>
                  <a:lnTo>
                    <a:pt x="32" y="67"/>
                  </a:lnTo>
                  <a:lnTo>
                    <a:pt x="32" y="67"/>
                  </a:lnTo>
                  <a:lnTo>
                    <a:pt x="30" y="67"/>
                  </a:lnTo>
                  <a:lnTo>
                    <a:pt x="27" y="68"/>
                  </a:lnTo>
                  <a:lnTo>
                    <a:pt x="22" y="70"/>
                  </a:lnTo>
                  <a:lnTo>
                    <a:pt x="19" y="70"/>
                  </a:lnTo>
                  <a:lnTo>
                    <a:pt x="17" y="72"/>
                  </a:lnTo>
                  <a:lnTo>
                    <a:pt x="14" y="72"/>
                  </a:lnTo>
                  <a:lnTo>
                    <a:pt x="9" y="73"/>
                  </a:lnTo>
                  <a:lnTo>
                    <a:pt x="6" y="73"/>
                  </a:lnTo>
                  <a:lnTo>
                    <a:pt x="3" y="73"/>
                  </a:lnTo>
                  <a:lnTo>
                    <a:pt x="2" y="7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grpSp>
          <p:nvGrpSpPr>
            <p:cNvPr id="304" name="Group 478"/>
            <p:cNvGrpSpPr>
              <a:grpSpLocks/>
            </p:cNvGrpSpPr>
            <p:nvPr/>
          </p:nvGrpSpPr>
          <p:grpSpPr bwMode="auto">
            <a:xfrm>
              <a:off x="5729654" y="3266823"/>
              <a:ext cx="133804" cy="94776"/>
              <a:chOff x="2845" y="1566"/>
              <a:chExt cx="91" cy="56"/>
            </a:xfrm>
            <a:solidFill>
              <a:schemeClr val="bg1">
                <a:lumMod val="65000"/>
              </a:schemeClr>
            </a:solidFill>
          </p:grpSpPr>
          <p:sp>
            <p:nvSpPr>
              <p:cNvPr id="695" name="Freeform 479"/>
              <p:cNvSpPr>
                <a:spLocks/>
              </p:cNvSpPr>
              <p:nvPr/>
            </p:nvSpPr>
            <p:spPr bwMode="auto">
              <a:xfrm>
                <a:off x="2845" y="1589"/>
                <a:ext cx="2" cy="1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96" name="Freeform 480"/>
              <p:cNvSpPr>
                <a:spLocks/>
              </p:cNvSpPr>
              <p:nvPr/>
            </p:nvSpPr>
            <p:spPr bwMode="auto">
              <a:xfrm>
                <a:off x="2855" y="1602"/>
                <a:ext cx="1" cy="1"/>
              </a:xfrm>
              <a:custGeom>
                <a:avLst/>
                <a:gdLst>
                  <a:gd name="T0" fmla="*/ 0 w 1"/>
                  <a:gd name="T1" fmla="*/ 1 w 1"/>
                  <a:gd name="T2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97" name="Freeform 481"/>
              <p:cNvSpPr>
                <a:spLocks/>
              </p:cNvSpPr>
              <p:nvPr/>
            </p:nvSpPr>
            <p:spPr bwMode="auto">
              <a:xfrm>
                <a:off x="2866" y="1607"/>
                <a:ext cx="2" cy="1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98" name="Freeform 482"/>
              <p:cNvSpPr>
                <a:spLocks/>
              </p:cNvSpPr>
              <p:nvPr/>
            </p:nvSpPr>
            <p:spPr bwMode="auto">
              <a:xfrm>
                <a:off x="2896" y="1611"/>
                <a:ext cx="23" cy="11"/>
              </a:xfrm>
              <a:custGeom>
                <a:avLst/>
                <a:gdLst>
                  <a:gd name="T0" fmla="*/ 18 w 46"/>
                  <a:gd name="T1" fmla="*/ 5 h 23"/>
                  <a:gd name="T2" fmla="*/ 19 w 46"/>
                  <a:gd name="T3" fmla="*/ 5 h 23"/>
                  <a:gd name="T4" fmla="*/ 21 w 46"/>
                  <a:gd name="T5" fmla="*/ 5 h 23"/>
                  <a:gd name="T6" fmla="*/ 24 w 46"/>
                  <a:gd name="T7" fmla="*/ 5 h 23"/>
                  <a:gd name="T8" fmla="*/ 24 w 46"/>
                  <a:gd name="T9" fmla="*/ 7 h 23"/>
                  <a:gd name="T10" fmla="*/ 29 w 46"/>
                  <a:gd name="T11" fmla="*/ 10 h 23"/>
                  <a:gd name="T12" fmla="*/ 32 w 46"/>
                  <a:gd name="T13" fmla="*/ 11 h 23"/>
                  <a:gd name="T14" fmla="*/ 35 w 46"/>
                  <a:gd name="T15" fmla="*/ 13 h 23"/>
                  <a:gd name="T16" fmla="*/ 37 w 46"/>
                  <a:gd name="T17" fmla="*/ 15 h 23"/>
                  <a:gd name="T18" fmla="*/ 38 w 46"/>
                  <a:gd name="T19" fmla="*/ 16 h 23"/>
                  <a:gd name="T20" fmla="*/ 41 w 46"/>
                  <a:gd name="T21" fmla="*/ 16 h 23"/>
                  <a:gd name="T22" fmla="*/ 45 w 46"/>
                  <a:gd name="T23" fmla="*/ 19 h 23"/>
                  <a:gd name="T24" fmla="*/ 46 w 46"/>
                  <a:gd name="T25" fmla="*/ 23 h 23"/>
                  <a:gd name="T26" fmla="*/ 46 w 46"/>
                  <a:gd name="T27" fmla="*/ 23 h 23"/>
                  <a:gd name="T28" fmla="*/ 43 w 46"/>
                  <a:gd name="T29" fmla="*/ 23 h 23"/>
                  <a:gd name="T30" fmla="*/ 40 w 46"/>
                  <a:gd name="T31" fmla="*/ 21 h 23"/>
                  <a:gd name="T32" fmla="*/ 37 w 46"/>
                  <a:gd name="T33" fmla="*/ 18 h 23"/>
                  <a:gd name="T34" fmla="*/ 33 w 46"/>
                  <a:gd name="T35" fmla="*/ 16 h 23"/>
                  <a:gd name="T36" fmla="*/ 33 w 46"/>
                  <a:gd name="T37" fmla="*/ 16 h 23"/>
                  <a:gd name="T38" fmla="*/ 32 w 46"/>
                  <a:gd name="T39" fmla="*/ 13 h 23"/>
                  <a:gd name="T40" fmla="*/ 32 w 46"/>
                  <a:gd name="T41" fmla="*/ 13 h 23"/>
                  <a:gd name="T42" fmla="*/ 27 w 46"/>
                  <a:gd name="T43" fmla="*/ 11 h 23"/>
                  <a:gd name="T44" fmla="*/ 24 w 46"/>
                  <a:gd name="T45" fmla="*/ 10 h 23"/>
                  <a:gd name="T46" fmla="*/ 21 w 46"/>
                  <a:gd name="T47" fmla="*/ 8 h 23"/>
                  <a:gd name="T48" fmla="*/ 18 w 46"/>
                  <a:gd name="T49" fmla="*/ 8 h 23"/>
                  <a:gd name="T50" fmla="*/ 8 w 46"/>
                  <a:gd name="T51" fmla="*/ 5 h 23"/>
                  <a:gd name="T52" fmla="*/ 0 w 46"/>
                  <a:gd name="T53" fmla="*/ 2 h 23"/>
                  <a:gd name="T54" fmla="*/ 3 w 46"/>
                  <a:gd name="T55" fmla="*/ 0 h 23"/>
                  <a:gd name="T56" fmla="*/ 6 w 46"/>
                  <a:gd name="T57" fmla="*/ 0 h 23"/>
                  <a:gd name="T58" fmla="*/ 10 w 46"/>
                  <a:gd name="T59" fmla="*/ 3 h 23"/>
                  <a:gd name="T60" fmla="*/ 14 w 46"/>
                  <a:gd name="T61" fmla="*/ 5 h 23"/>
                  <a:gd name="T62" fmla="*/ 18 w 46"/>
                  <a:gd name="T63" fmla="*/ 5 h 23"/>
                  <a:gd name="T64" fmla="*/ 21 w 46"/>
                  <a:gd name="T65" fmla="*/ 8 h 23"/>
                  <a:gd name="T66" fmla="*/ 18 w 46"/>
                  <a:gd name="T67" fmla="*/ 5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6" h="23">
                    <a:moveTo>
                      <a:pt x="18" y="5"/>
                    </a:moveTo>
                    <a:lnTo>
                      <a:pt x="19" y="5"/>
                    </a:lnTo>
                    <a:lnTo>
                      <a:pt x="21" y="5"/>
                    </a:lnTo>
                    <a:lnTo>
                      <a:pt x="24" y="5"/>
                    </a:lnTo>
                    <a:lnTo>
                      <a:pt x="24" y="7"/>
                    </a:lnTo>
                    <a:lnTo>
                      <a:pt x="29" y="10"/>
                    </a:lnTo>
                    <a:lnTo>
                      <a:pt x="32" y="11"/>
                    </a:lnTo>
                    <a:lnTo>
                      <a:pt x="35" y="13"/>
                    </a:lnTo>
                    <a:lnTo>
                      <a:pt x="37" y="15"/>
                    </a:lnTo>
                    <a:lnTo>
                      <a:pt x="38" y="16"/>
                    </a:lnTo>
                    <a:lnTo>
                      <a:pt x="41" y="16"/>
                    </a:lnTo>
                    <a:lnTo>
                      <a:pt x="45" y="19"/>
                    </a:lnTo>
                    <a:lnTo>
                      <a:pt x="46" y="23"/>
                    </a:lnTo>
                    <a:lnTo>
                      <a:pt x="46" y="23"/>
                    </a:lnTo>
                    <a:lnTo>
                      <a:pt x="43" y="23"/>
                    </a:lnTo>
                    <a:lnTo>
                      <a:pt x="40" y="21"/>
                    </a:lnTo>
                    <a:lnTo>
                      <a:pt x="37" y="18"/>
                    </a:lnTo>
                    <a:lnTo>
                      <a:pt x="33" y="16"/>
                    </a:lnTo>
                    <a:lnTo>
                      <a:pt x="33" y="16"/>
                    </a:lnTo>
                    <a:lnTo>
                      <a:pt x="32" y="13"/>
                    </a:lnTo>
                    <a:lnTo>
                      <a:pt x="32" y="13"/>
                    </a:lnTo>
                    <a:lnTo>
                      <a:pt x="27" y="11"/>
                    </a:lnTo>
                    <a:lnTo>
                      <a:pt x="24" y="10"/>
                    </a:lnTo>
                    <a:lnTo>
                      <a:pt x="21" y="8"/>
                    </a:lnTo>
                    <a:lnTo>
                      <a:pt x="18" y="8"/>
                    </a:lnTo>
                    <a:lnTo>
                      <a:pt x="8" y="5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10" y="3"/>
                    </a:lnTo>
                    <a:lnTo>
                      <a:pt x="14" y="5"/>
                    </a:lnTo>
                    <a:lnTo>
                      <a:pt x="18" y="5"/>
                    </a:lnTo>
                    <a:lnTo>
                      <a:pt x="21" y="8"/>
                    </a:lnTo>
                    <a:lnTo>
                      <a:pt x="18" y="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99" name="Freeform 483"/>
              <p:cNvSpPr>
                <a:spLocks/>
              </p:cNvSpPr>
              <p:nvPr/>
            </p:nvSpPr>
            <p:spPr bwMode="auto">
              <a:xfrm>
                <a:off x="2849" y="1568"/>
                <a:ext cx="3" cy="11"/>
              </a:xfrm>
              <a:custGeom>
                <a:avLst/>
                <a:gdLst>
                  <a:gd name="T0" fmla="*/ 1 w 6"/>
                  <a:gd name="T1" fmla="*/ 8 h 22"/>
                  <a:gd name="T2" fmla="*/ 0 w 6"/>
                  <a:gd name="T3" fmla="*/ 5 h 22"/>
                  <a:gd name="T4" fmla="*/ 0 w 6"/>
                  <a:gd name="T5" fmla="*/ 0 h 22"/>
                  <a:gd name="T6" fmla="*/ 1 w 6"/>
                  <a:gd name="T7" fmla="*/ 5 h 22"/>
                  <a:gd name="T8" fmla="*/ 3 w 6"/>
                  <a:gd name="T9" fmla="*/ 8 h 22"/>
                  <a:gd name="T10" fmla="*/ 4 w 6"/>
                  <a:gd name="T11" fmla="*/ 11 h 22"/>
                  <a:gd name="T12" fmla="*/ 4 w 6"/>
                  <a:gd name="T13" fmla="*/ 14 h 22"/>
                  <a:gd name="T14" fmla="*/ 6 w 6"/>
                  <a:gd name="T15" fmla="*/ 18 h 22"/>
                  <a:gd name="T16" fmla="*/ 6 w 6"/>
                  <a:gd name="T17" fmla="*/ 22 h 22"/>
                  <a:gd name="T18" fmla="*/ 3 w 6"/>
                  <a:gd name="T19" fmla="*/ 21 h 22"/>
                  <a:gd name="T20" fmla="*/ 3 w 6"/>
                  <a:gd name="T21" fmla="*/ 18 h 22"/>
                  <a:gd name="T22" fmla="*/ 1 w 6"/>
                  <a:gd name="T23" fmla="*/ 13 h 22"/>
                  <a:gd name="T24" fmla="*/ 0 w 6"/>
                  <a:gd name="T25" fmla="*/ 10 h 22"/>
                  <a:gd name="T26" fmla="*/ 1 w 6"/>
                  <a:gd name="T27" fmla="*/ 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" h="22">
                    <a:moveTo>
                      <a:pt x="1" y="8"/>
                    </a:moveTo>
                    <a:lnTo>
                      <a:pt x="0" y="5"/>
                    </a:lnTo>
                    <a:lnTo>
                      <a:pt x="0" y="0"/>
                    </a:lnTo>
                    <a:lnTo>
                      <a:pt x="1" y="5"/>
                    </a:lnTo>
                    <a:lnTo>
                      <a:pt x="3" y="8"/>
                    </a:lnTo>
                    <a:lnTo>
                      <a:pt x="4" y="11"/>
                    </a:lnTo>
                    <a:lnTo>
                      <a:pt x="4" y="14"/>
                    </a:lnTo>
                    <a:lnTo>
                      <a:pt x="6" y="18"/>
                    </a:lnTo>
                    <a:lnTo>
                      <a:pt x="6" y="22"/>
                    </a:lnTo>
                    <a:lnTo>
                      <a:pt x="3" y="21"/>
                    </a:lnTo>
                    <a:lnTo>
                      <a:pt x="3" y="18"/>
                    </a:lnTo>
                    <a:lnTo>
                      <a:pt x="1" y="13"/>
                    </a:lnTo>
                    <a:lnTo>
                      <a:pt x="0" y="10"/>
                    </a:lnTo>
                    <a:lnTo>
                      <a:pt x="1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00" name="Freeform 484"/>
              <p:cNvSpPr>
                <a:spLocks/>
              </p:cNvSpPr>
              <p:nvPr/>
            </p:nvSpPr>
            <p:spPr bwMode="auto">
              <a:xfrm>
                <a:off x="2850" y="1579"/>
                <a:ext cx="3" cy="3"/>
              </a:xfrm>
              <a:custGeom>
                <a:avLst/>
                <a:gdLst>
                  <a:gd name="T0" fmla="*/ 6 w 6"/>
                  <a:gd name="T1" fmla="*/ 7 h 7"/>
                  <a:gd name="T2" fmla="*/ 3 w 6"/>
                  <a:gd name="T3" fmla="*/ 3 h 7"/>
                  <a:gd name="T4" fmla="*/ 0 w 6"/>
                  <a:gd name="T5" fmla="*/ 0 h 7"/>
                  <a:gd name="T6" fmla="*/ 3 w 6"/>
                  <a:gd name="T7" fmla="*/ 3 h 7"/>
                  <a:gd name="T8" fmla="*/ 6 w 6"/>
                  <a:gd name="T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7">
                    <a:moveTo>
                      <a:pt x="6" y="7"/>
                    </a:moveTo>
                    <a:lnTo>
                      <a:pt x="3" y="3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6" y="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01" name="Freeform 485"/>
              <p:cNvSpPr>
                <a:spLocks/>
              </p:cNvSpPr>
              <p:nvPr/>
            </p:nvSpPr>
            <p:spPr bwMode="auto">
              <a:xfrm>
                <a:off x="2852" y="1568"/>
                <a:ext cx="5" cy="4"/>
              </a:xfrm>
              <a:custGeom>
                <a:avLst/>
                <a:gdLst>
                  <a:gd name="T0" fmla="*/ 7 w 11"/>
                  <a:gd name="T1" fmla="*/ 8 h 10"/>
                  <a:gd name="T2" fmla="*/ 2 w 11"/>
                  <a:gd name="T3" fmla="*/ 6 h 10"/>
                  <a:gd name="T4" fmla="*/ 0 w 11"/>
                  <a:gd name="T5" fmla="*/ 3 h 10"/>
                  <a:gd name="T6" fmla="*/ 3 w 11"/>
                  <a:gd name="T7" fmla="*/ 0 h 10"/>
                  <a:gd name="T8" fmla="*/ 7 w 11"/>
                  <a:gd name="T9" fmla="*/ 2 h 10"/>
                  <a:gd name="T10" fmla="*/ 8 w 11"/>
                  <a:gd name="T11" fmla="*/ 5 h 10"/>
                  <a:gd name="T12" fmla="*/ 11 w 11"/>
                  <a:gd name="T13" fmla="*/ 6 h 10"/>
                  <a:gd name="T14" fmla="*/ 11 w 11"/>
                  <a:gd name="T15" fmla="*/ 8 h 10"/>
                  <a:gd name="T16" fmla="*/ 8 w 11"/>
                  <a:gd name="T17" fmla="*/ 10 h 10"/>
                  <a:gd name="T18" fmla="*/ 7 w 11"/>
                  <a:gd name="T19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10">
                    <a:moveTo>
                      <a:pt x="7" y="8"/>
                    </a:moveTo>
                    <a:lnTo>
                      <a:pt x="2" y="6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7" y="2"/>
                    </a:lnTo>
                    <a:lnTo>
                      <a:pt x="8" y="5"/>
                    </a:lnTo>
                    <a:lnTo>
                      <a:pt x="11" y="6"/>
                    </a:lnTo>
                    <a:lnTo>
                      <a:pt x="11" y="8"/>
                    </a:lnTo>
                    <a:lnTo>
                      <a:pt x="8" y="10"/>
                    </a:lnTo>
                    <a:lnTo>
                      <a:pt x="7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02" name="Freeform 486"/>
              <p:cNvSpPr>
                <a:spLocks/>
              </p:cNvSpPr>
              <p:nvPr/>
            </p:nvSpPr>
            <p:spPr bwMode="auto">
              <a:xfrm>
                <a:off x="2856" y="1575"/>
                <a:ext cx="1" cy="1"/>
              </a:xfrm>
              <a:custGeom>
                <a:avLst/>
                <a:gdLst>
                  <a:gd name="T0" fmla="*/ 0 w 3"/>
                  <a:gd name="T1" fmla="*/ 0 h 4"/>
                  <a:gd name="T2" fmla="*/ 3 w 3"/>
                  <a:gd name="T3" fmla="*/ 2 h 4"/>
                  <a:gd name="T4" fmla="*/ 0 w 3"/>
                  <a:gd name="T5" fmla="*/ 4 h 4"/>
                  <a:gd name="T6" fmla="*/ 0 w 3"/>
                  <a:gd name="T7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0" y="0"/>
                    </a:moveTo>
                    <a:lnTo>
                      <a:pt x="3" y="2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03" name="Freeform 487"/>
              <p:cNvSpPr>
                <a:spLocks/>
              </p:cNvSpPr>
              <p:nvPr/>
            </p:nvSpPr>
            <p:spPr bwMode="auto">
              <a:xfrm>
                <a:off x="2857" y="1586"/>
                <a:ext cx="2" cy="1"/>
              </a:xfrm>
              <a:custGeom>
                <a:avLst/>
                <a:gdLst>
                  <a:gd name="T0" fmla="*/ 4 w 4"/>
                  <a:gd name="T1" fmla="*/ 3 h 3"/>
                  <a:gd name="T2" fmla="*/ 0 w 4"/>
                  <a:gd name="T3" fmla="*/ 0 h 3"/>
                  <a:gd name="T4" fmla="*/ 4 w 4"/>
                  <a:gd name="T5" fmla="*/ 3 h 3"/>
                  <a:gd name="T6" fmla="*/ 4 w 4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lnTo>
                      <a:pt x="0" y="0"/>
                    </a:lnTo>
                    <a:lnTo>
                      <a:pt x="4" y="3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04" name="Freeform 488"/>
              <p:cNvSpPr>
                <a:spLocks/>
              </p:cNvSpPr>
              <p:nvPr/>
            </p:nvSpPr>
            <p:spPr bwMode="auto">
              <a:xfrm>
                <a:off x="2856" y="1577"/>
                <a:ext cx="8" cy="8"/>
              </a:xfrm>
              <a:custGeom>
                <a:avLst/>
                <a:gdLst>
                  <a:gd name="T0" fmla="*/ 9 w 16"/>
                  <a:gd name="T1" fmla="*/ 11 h 16"/>
                  <a:gd name="T2" fmla="*/ 5 w 16"/>
                  <a:gd name="T3" fmla="*/ 8 h 16"/>
                  <a:gd name="T4" fmla="*/ 3 w 16"/>
                  <a:gd name="T5" fmla="*/ 5 h 16"/>
                  <a:gd name="T6" fmla="*/ 0 w 16"/>
                  <a:gd name="T7" fmla="*/ 0 h 16"/>
                  <a:gd name="T8" fmla="*/ 3 w 16"/>
                  <a:gd name="T9" fmla="*/ 3 h 16"/>
                  <a:gd name="T10" fmla="*/ 6 w 16"/>
                  <a:gd name="T11" fmla="*/ 5 h 16"/>
                  <a:gd name="T12" fmla="*/ 9 w 16"/>
                  <a:gd name="T13" fmla="*/ 6 h 16"/>
                  <a:gd name="T14" fmla="*/ 9 w 16"/>
                  <a:gd name="T15" fmla="*/ 10 h 16"/>
                  <a:gd name="T16" fmla="*/ 13 w 16"/>
                  <a:gd name="T17" fmla="*/ 11 h 16"/>
                  <a:gd name="T18" fmla="*/ 16 w 16"/>
                  <a:gd name="T19" fmla="*/ 14 h 16"/>
                  <a:gd name="T20" fmla="*/ 13 w 16"/>
                  <a:gd name="T21" fmla="*/ 16 h 16"/>
                  <a:gd name="T22" fmla="*/ 9 w 16"/>
                  <a:gd name="T23" fmla="*/ 13 h 16"/>
                  <a:gd name="T24" fmla="*/ 9 w 16"/>
                  <a:gd name="T25" fmla="*/ 1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16">
                    <a:moveTo>
                      <a:pt x="9" y="11"/>
                    </a:moveTo>
                    <a:lnTo>
                      <a:pt x="5" y="8"/>
                    </a:lnTo>
                    <a:lnTo>
                      <a:pt x="3" y="5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6" y="5"/>
                    </a:lnTo>
                    <a:lnTo>
                      <a:pt x="9" y="6"/>
                    </a:lnTo>
                    <a:lnTo>
                      <a:pt x="9" y="10"/>
                    </a:lnTo>
                    <a:lnTo>
                      <a:pt x="13" y="11"/>
                    </a:lnTo>
                    <a:lnTo>
                      <a:pt x="16" y="14"/>
                    </a:lnTo>
                    <a:lnTo>
                      <a:pt x="13" y="16"/>
                    </a:lnTo>
                    <a:lnTo>
                      <a:pt x="9" y="13"/>
                    </a:lnTo>
                    <a:lnTo>
                      <a:pt x="9" y="1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05" name="Freeform 489"/>
              <p:cNvSpPr>
                <a:spLocks/>
              </p:cNvSpPr>
              <p:nvPr/>
            </p:nvSpPr>
            <p:spPr bwMode="auto">
              <a:xfrm>
                <a:off x="2860" y="1589"/>
                <a:ext cx="4" cy="4"/>
              </a:xfrm>
              <a:custGeom>
                <a:avLst/>
                <a:gdLst>
                  <a:gd name="T0" fmla="*/ 3 w 8"/>
                  <a:gd name="T1" fmla="*/ 3 h 8"/>
                  <a:gd name="T2" fmla="*/ 0 w 8"/>
                  <a:gd name="T3" fmla="*/ 0 h 8"/>
                  <a:gd name="T4" fmla="*/ 3 w 8"/>
                  <a:gd name="T5" fmla="*/ 1 h 8"/>
                  <a:gd name="T6" fmla="*/ 5 w 8"/>
                  <a:gd name="T7" fmla="*/ 5 h 8"/>
                  <a:gd name="T8" fmla="*/ 8 w 8"/>
                  <a:gd name="T9" fmla="*/ 8 h 8"/>
                  <a:gd name="T10" fmla="*/ 5 w 8"/>
                  <a:gd name="T11" fmla="*/ 6 h 8"/>
                  <a:gd name="T12" fmla="*/ 3 w 8"/>
                  <a:gd name="T13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3" y="3"/>
                    </a:moveTo>
                    <a:lnTo>
                      <a:pt x="0" y="0"/>
                    </a:lnTo>
                    <a:lnTo>
                      <a:pt x="3" y="1"/>
                    </a:lnTo>
                    <a:lnTo>
                      <a:pt x="5" y="5"/>
                    </a:lnTo>
                    <a:lnTo>
                      <a:pt x="8" y="8"/>
                    </a:lnTo>
                    <a:lnTo>
                      <a:pt x="5" y="6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06" name="Freeform 490"/>
              <p:cNvSpPr>
                <a:spLocks/>
              </p:cNvSpPr>
              <p:nvPr/>
            </p:nvSpPr>
            <p:spPr bwMode="auto">
              <a:xfrm>
                <a:off x="2861" y="1585"/>
                <a:ext cx="2" cy="1"/>
              </a:xfrm>
              <a:custGeom>
                <a:avLst/>
                <a:gdLst>
                  <a:gd name="T0" fmla="*/ 4 w 4"/>
                  <a:gd name="T1" fmla="*/ 2 h 2"/>
                  <a:gd name="T2" fmla="*/ 0 w 4"/>
                  <a:gd name="T3" fmla="*/ 0 h 2"/>
                  <a:gd name="T4" fmla="*/ 4 w 4"/>
                  <a:gd name="T5" fmla="*/ 2 h 2"/>
                  <a:gd name="T6" fmla="*/ 4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0" y="0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07" name="Freeform 491"/>
              <p:cNvSpPr>
                <a:spLocks/>
              </p:cNvSpPr>
              <p:nvPr/>
            </p:nvSpPr>
            <p:spPr bwMode="auto">
              <a:xfrm>
                <a:off x="2865" y="1594"/>
                <a:ext cx="3" cy="3"/>
              </a:xfrm>
              <a:custGeom>
                <a:avLst/>
                <a:gdLst>
                  <a:gd name="T0" fmla="*/ 0 w 7"/>
                  <a:gd name="T1" fmla="*/ 0 h 7"/>
                  <a:gd name="T2" fmla="*/ 3 w 7"/>
                  <a:gd name="T3" fmla="*/ 4 h 7"/>
                  <a:gd name="T4" fmla="*/ 7 w 7"/>
                  <a:gd name="T5" fmla="*/ 7 h 7"/>
                  <a:gd name="T6" fmla="*/ 3 w 7"/>
                  <a:gd name="T7" fmla="*/ 5 h 7"/>
                  <a:gd name="T8" fmla="*/ 0 w 7"/>
                  <a:gd name="T9" fmla="*/ 2 h 7"/>
                  <a:gd name="T10" fmla="*/ 0 w 7"/>
                  <a:gd name="T11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7">
                    <a:moveTo>
                      <a:pt x="0" y="0"/>
                    </a:moveTo>
                    <a:lnTo>
                      <a:pt x="3" y="4"/>
                    </a:lnTo>
                    <a:lnTo>
                      <a:pt x="7" y="7"/>
                    </a:lnTo>
                    <a:lnTo>
                      <a:pt x="3" y="5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08" name="Freeform 492"/>
              <p:cNvSpPr>
                <a:spLocks/>
              </p:cNvSpPr>
              <p:nvPr/>
            </p:nvSpPr>
            <p:spPr bwMode="auto">
              <a:xfrm>
                <a:off x="2864" y="1590"/>
                <a:ext cx="1" cy="1"/>
              </a:xfrm>
              <a:custGeom>
                <a:avLst/>
                <a:gdLst>
                  <a:gd name="T0" fmla="*/ 3 w 3"/>
                  <a:gd name="T1" fmla="*/ 4 h 4"/>
                  <a:gd name="T2" fmla="*/ 0 w 3"/>
                  <a:gd name="T3" fmla="*/ 0 h 4"/>
                  <a:gd name="T4" fmla="*/ 3 w 3"/>
                  <a:gd name="T5" fmla="*/ 2 h 4"/>
                  <a:gd name="T6" fmla="*/ 3 w 3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0" y="0"/>
                    </a:lnTo>
                    <a:lnTo>
                      <a:pt x="3" y="2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09" name="Freeform 493"/>
              <p:cNvSpPr>
                <a:spLocks/>
              </p:cNvSpPr>
              <p:nvPr/>
            </p:nvSpPr>
            <p:spPr bwMode="auto">
              <a:xfrm>
                <a:off x="2871" y="1598"/>
                <a:ext cx="2" cy="1"/>
              </a:xfrm>
              <a:custGeom>
                <a:avLst/>
                <a:gdLst>
                  <a:gd name="T0" fmla="*/ 0 w 3"/>
                  <a:gd name="T1" fmla="*/ 0 h 2"/>
                  <a:gd name="T2" fmla="*/ 3 w 3"/>
                  <a:gd name="T3" fmla="*/ 2 h 2"/>
                  <a:gd name="T4" fmla="*/ 0 w 3"/>
                  <a:gd name="T5" fmla="*/ 0 h 2"/>
                  <a:gd name="T6" fmla="*/ 0 w 3"/>
                  <a:gd name="T7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10" name="Freeform 494"/>
              <p:cNvSpPr>
                <a:spLocks/>
              </p:cNvSpPr>
              <p:nvPr/>
            </p:nvSpPr>
            <p:spPr bwMode="auto">
              <a:xfrm>
                <a:off x="2881" y="1602"/>
                <a:ext cx="2" cy="1"/>
              </a:xfrm>
              <a:custGeom>
                <a:avLst/>
                <a:gdLst>
                  <a:gd name="T0" fmla="*/ 0 w 3"/>
                  <a:gd name="T1" fmla="*/ 3 w 3"/>
                  <a:gd name="T2" fmla="*/ 0 w 3"/>
                  <a:gd name="T3" fmla="*/ 0 w 3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</a:cxnLst>
                <a:rect l="0" t="0" r="r" b="b"/>
                <a:pathLst>
                  <a:path w="3">
                    <a:moveTo>
                      <a:pt x="0" y="0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11" name="Freeform 495"/>
              <p:cNvSpPr>
                <a:spLocks/>
              </p:cNvSpPr>
              <p:nvPr/>
            </p:nvSpPr>
            <p:spPr bwMode="auto">
              <a:xfrm>
                <a:off x="2882" y="1604"/>
                <a:ext cx="2" cy="1"/>
              </a:xfrm>
              <a:custGeom>
                <a:avLst/>
                <a:gdLst>
                  <a:gd name="T0" fmla="*/ 4 w 4"/>
                  <a:gd name="T1" fmla="*/ 2 h 2"/>
                  <a:gd name="T2" fmla="*/ 0 w 4"/>
                  <a:gd name="T3" fmla="*/ 0 h 2"/>
                  <a:gd name="T4" fmla="*/ 4 w 4"/>
                  <a:gd name="T5" fmla="*/ 2 h 2"/>
                  <a:gd name="T6" fmla="*/ 4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0" y="0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12" name="Freeform 496"/>
              <p:cNvSpPr>
                <a:spLocks/>
              </p:cNvSpPr>
              <p:nvPr/>
            </p:nvSpPr>
            <p:spPr bwMode="auto">
              <a:xfrm>
                <a:off x="2885" y="1604"/>
                <a:ext cx="6" cy="2"/>
              </a:xfrm>
              <a:custGeom>
                <a:avLst/>
                <a:gdLst>
                  <a:gd name="T0" fmla="*/ 8 w 13"/>
                  <a:gd name="T1" fmla="*/ 5 h 5"/>
                  <a:gd name="T2" fmla="*/ 5 w 13"/>
                  <a:gd name="T3" fmla="*/ 5 h 5"/>
                  <a:gd name="T4" fmla="*/ 2 w 13"/>
                  <a:gd name="T5" fmla="*/ 3 h 5"/>
                  <a:gd name="T6" fmla="*/ 0 w 13"/>
                  <a:gd name="T7" fmla="*/ 0 h 5"/>
                  <a:gd name="T8" fmla="*/ 3 w 13"/>
                  <a:gd name="T9" fmla="*/ 0 h 5"/>
                  <a:gd name="T10" fmla="*/ 6 w 13"/>
                  <a:gd name="T11" fmla="*/ 0 h 5"/>
                  <a:gd name="T12" fmla="*/ 9 w 13"/>
                  <a:gd name="T13" fmla="*/ 0 h 5"/>
                  <a:gd name="T14" fmla="*/ 13 w 13"/>
                  <a:gd name="T15" fmla="*/ 2 h 5"/>
                  <a:gd name="T16" fmla="*/ 9 w 13"/>
                  <a:gd name="T17" fmla="*/ 5 h 5"/>
                  <a:gd name="T18" fmla="*/ 8 w 13"/>
                  <a:gd name="T1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3" h="5">
                    <a:moveTo>
                      <a:pt x="8" y="5"/>
                    </a:moveTo>
                    <a:lnTo>
                      <a:pt x="5" y="5"/>
                    </a:lnTo>
                    <a:lnTo>
                      <a:pt x="2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9" y="0"/>
                    </a:lnTo>
                    <a:lnTo>
                      <a:pt x="13" y="2"/>
                    </a:lnTo>
                    <a:lnTo>
                      <a:pt x="9" y="5"/>
                    </a:lnTo>
                    <a:lnTo>
                      <a:pt x="8" y="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13" name="Freeform 497"/>
              <p:cNvSpPr>
                <a:spLocks/>
              </p:cNvSpPr>
              <p:nvPr/>
            </p:nvSpPr>
            <p:spPr bwMode="auto">
              <a:xfrm>
                <a:off x="2889" y="1612"/>
                <a:ext cx="9" cy="2"/>
              </a:xfrm>
              <a:custGeom>
                <a:avLst/>
                <a:gdLst>
                  <a:gd name="T0" fmla="*/ 6 w 17"/>
                  <a:gd name="T1" fmla="*/ 3 h 3"/>
                  <a:gd name="T2" fmla="*/ 3 w 17"/>
                  <a:gd name="T3" fmla="*/ 3 h 3"/>
                  <a:gd name="T4" fmla="*/ 0 w 17"/>
                  <a:gd name="T5" fmla="*/ 3 h 3"/>
                  <a:gd name="T6" fmla="*/ 3 w 17"/>
                  <a:gd name="T7" fmla="*/ 0 h 3"/>
                  <a:gd name="T8" fmla="*/ 6 w 17"/>
                  <a:gd name="T9" fmla="*/ 1 h 3"/>
                  <a:gd name="T10" fmla="*/ 9 w 17"/>
                  <a:gd name="T11" fmla="*/ 0 h 3"/>
                  <a:gd name="T12" fmla="*/ 13 w 17"/>
                  <a:gd name="T13" fmla="*/ 0 h 3"/>
                  <a:gd name="T14" fmla="*/ 17 w 17"/>
                  <a:gd name="T15" fmla="*/ 1 h 3"/>
                  <a:gd name="T16" fmla="*/ 14 w 17"/>
                  <a:gd name="T17" fmla="*/ 3 h 3"/>
                  <a:gd name="T18" fmla="*/ 9 w 17"/>
                  <a:gd name="T19" fmla="*/ 1 h 3"/>
                  <a:gd name="T20" fmla="*/ 6 w 17"/>
                  <a:gd name="T2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7" h="3">
                    <a:moveTo>
                      <a:pt x="6" y="3"/>
                    </a:moveTo>
                    <a:lnTo>
                      <a:pt x="3" y="3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6" y="1"/>
                    </a:lnTo>
                    <a:lnTo>
                      <a:pt x="9" y="0"/>
                    </a:lnTo>
                    <a:lnTo>
                      <a:pt x="13" y="0"/>
                    </a:lnTo>
                    <a:lnTo>
                      <a:pt x="17" y="1"/>
                    </a:lnTo>
                    <a:lnTo>
                      <a:pt x="14" y="3"/>
                    </a:lnTo>
                    <a:lnTo>
                      <a:pt x="9" y="1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14" name="Freeform 498"/>
              <p:cNvSpPr>
                <a:spLocks/>
              </p:cNvSpPr>
              <p:nvPr/>
            </p:nvSpPr>
            <p:spPr bwMode="auto">
              <a:xfrm>
                <a:off x="2885" y="1607"/>
                <a:ext cx="12" cy="3"/>
              </a:xfrm>
              <a:custGeom>
                <a:avLst/>
                <a:gdLst>
                  <a:gd name="T0" fmla="*/ 21 w 24"/>
                  <a:gd name="T1" fmla="*/ 5 h 5"/>
                  <a:gd name="T2" fmla="*/ 9 w 24"/>
                  <a:gd name="T3" fmla="*/ 4 h 5"/>
                  <a:gd name="T4" fmla="*/ 0 w 24"/>
                  <a:gd name="T5" fmla="*/ 2 h 5"/>
                  <a:gd name="T6" fmla="*/ 3 w 24"/>
                  <a:gd name="T7" fmla="*/ 2 h 5"/>
                  <a:gd name="T8" fmla="*/ 6 w 24"/>
                  <a:gd name="T9" fmla="*/ 0 h 5"/>
                  <a:gd name="T10" fmla="*/ 9 w 24"/>
                  <a:gd name="T11" fmla="*/ 2 h 5"/>
                  <a:gd name="T12" fmla="*/ 21 w 24"/>
                  <a:gd name="T13" fmla="*/ 4 h 5"/>
                  <a:gd name="T14" fmla="*/ 24 w 24"/>
                  <a:gd name="T15" fmla="*/ 4 h 5"/>
                  <a:gd name="T16" fmla="*/ 21 w 24"/>
                  <a:gd name="T1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5">
                    <a:moveTo>
                      <a:pt x="21" y="5"/>
                    </a:moveTo>
                    <a:lnTo>
                      <a:pt x="9" y="4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6" y="0"/>
                    </a:lnTo>
                    <a:lnTo>
                      <a:pt x="9" y="2"/>
                    </a:lnTo>
                    <a:lnTo>
                      <a:pt x="21" y="4"/>
                    </a:lnTo>
                    <a:lnTo>
                      <a:pt x="24" y="4"/>
                    </a:lnTo>
                    <a:lnTo>
                      <a:pt x="21" y="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15" name="Freeform 499"/>
              <p:cNvSpPr>
                <a:spLocks/>
              </p:cNvSpPr>
              <p:nvPr/>
            </p:nvSpPr>
            <p:spPr bwMode="auto">
              <a:xfrm>
                <a:off x="2902" y="1617"/>
                <a:ext cx="4" cy="1"/>
              </a:xfrm>
              <a:custGeom>
                <a:avLst/>
                <a:gdLst>
                  <a:gd name="T0" fmla="*/ 10 w 10"/>
                  <a:gd name="T1" fmla="*/ 2 h 2"/>
                  <a:gd name="T2" fmla="*/ 7 w 10"/>
                  <a:gd name="T3" fmla="*/ 2 h 2"/>
                  <a:gd name="T4" fmla="*/ 3 w 10"/>
                  <a:gd name="T5" fmla="*/ 0 h 2"/>
                  <a:gd name="T6" fmla="*/ 0 w 10"/>
                  <a:gd name="T7" fmla="*/ 0 h 2"/>
                  <a:gd name="T8" fmla="*/ 3 w 10"/>
                  <a:gd name="T9" fmla="*/ 0 h 2"/>
                  <a:gd name="T10" fmla="*/ 7 w 10"/>
                  <a:gd name="T11" fmla="*/ 0 h 2"/>
                  <a:gd name="T12" fmla="*/ 10 w 10"/>
                  <a:gd name="T13" fmla="*/ 2 h 2"/>
                  <a:gd name="T14" fmla="*/ 10 w 10"/>
                  <a:gd name="T1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2">
                    <a:moveTo>
                      <a:pt x="10" y="2"/>
                    </a:moveTo>
                    <a:lnTo>
                      <a:pt x="7" y="2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7" y="0"/>
                    </a:lnTo>
                    <a:lnTo>
                      <a:pt x="10" y="2"/>
                    </a:lnTo>
                    <a:lnTo>
                      <a:pt x="10" y="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716" name="Freeform 500"/>
              <p:cNvSpPr>
                <a:spLocks/>
              </p:cNvSpPr>
              <p:nvPr/>
            </p:nvSpPr>
            <p:spPr bwMode="auto">
              <a:xfrm>
                <a:off x="2873" y="1566"/>
                <a:ext cx="63" cy="55"/>
              </a:xfrm>
              <a:custGeom>
                <a:avLst/>
                <a:gdLst>
                  <a:gd name="T0" fmla="*/ 2 w 125"/>
                  <a:gd name="T1" fmla="*/ 3 h 109"/>
                  <a:gd name="T2" fmla="*/ 6 w 125"/>
                  <a:gd name="T3" fmla="*/ 1 h 109"/>
                  <a:gd name="T4" fmla="*/ 13 w 125"/>
                  <a:gd name="T5" fmla="*/ 8 h 109"/>
                  <a:gd name="T6" fmla="*/ 21 w 125"/>
                  <a:gd name="T7" fmla="*/ 6 h 109"/>
                  <a:gd name="T8" fmla="*/ 32 w 125"/>
                  <a:gd name="T9" fmla="*/ 1 h 109"/>
                  <a:gd name="T10" fmla="*/ 37 w 125"/>
                  <a:gd name="T11" fmla="*/ 0 h 109"/>
                  <a:gd name="T12" fmla="*/ 43 w 125"/>
                  <a:gd name="T13" fmla="*/ 3 h 109"/>
                  <a:gd name="T14" fmla="*/ 54 w 125"/>
                  <a:gd name="T15" fmla="*/ 5 h 109"/>
                  <a:gd name="T16" fmla="*/ 60 w 125"/>
                  <a:gd name="T17" fmla="*/ 5 h 109"/>
                  <a:gd name="T18" fmla="*/ 70 w 125"/>
                  <a:gd name="T19" fmla="*/ 8 h 109"/>
                  <a:gd name="T20" fmla="*/ 73 w 125"/>
                  <a:gd name="T21" fmla="*/ 5 h 109"/>
                  <a:gd name="T22" fmla="*/ 83 w 125"/>
                  <a:gd name="T23" fmla="*/ 6 h 109"/>
                  <a:gd name="T24" fmla="*/ 92 w 125"/>
                  <a:gd name="T25" fmla="*/ 8 h 109"/>
                  <a:gd name="T26" fmla="*/ 97 w 125"/>
                  <a:gd name="T27" fmla="*/ 11 h 109"/>
                  <a:gd name="T28" fmla="*/ 105 w 125"/>
                  <a:gd name="T29" fmla="*/ 16 h 109"/>
                  <a:gd name="T30" fmla="*/ 111 w 125"/>
                  <a:gd name="T31" fmla="*/ 14 h 109"/>
                  <a:gd name="T32" fmla="*/ 116 w 125"/>
                  <a:gd name="T33" fmla="*/ 19 h 109"/>
                  <a:gd name="T34" fmla="*/ 113 w 125"/>
                  <a:gd name="T35" fmla="*/ 25 h 109"/>
                  <a:gd name="T36" fmla="*/ 110 w 125"/>
                  <a:gd name="T37" fmla="*/ 32 h 109"/>
                  <a:gd name="T38" fmla="*/ 111 w 125"/>
                  <a:gd name="T39" fmla="*/ 40 h 109"/>
                  <a:gd name="T40" fmla="*/ 119 w 125"/>
                  <a:gd name="T41" fmla="*/ 44 h 109"/>
                  <a:gd name="T42" fmla="*/ 125 w 125"/>
                  <a:gd name="T43" fmla="*/ 49 h 109"/>
                  <a:gd name="T44" fmla="*/ 119 w 125"/>
                  <a:gd name="T45" fmla="*/ 52 h 109"/>
                  <a:gd name="T46" fmla="*/ 118 w 125"/>
                  <a:gd name="T47" fmla="*/ 55 h 109"/>
                  <a:gd name="T48" fmla="*/ 122 w 125"/>
                  <a:gd name="T49" fmla="*/ 60 h 109"/>
                  <a:gd name="T50" fmla="*/ 121 w 125"/>
                  <a:gd name="T51" fmla="*/ 68 h 109"/>
                  <a:gd name="T52" fmla="*/ 114 w 125"/>
                  <a:gd name="T53" fmla="*/ 70 h 109"/>
                  <a:gd name="T54" fmla="*/ 105 w 125"/>
                  <a:gd name="T55" fmla="*/ 70 h 109"/>
                  <a:gd name="T56" fmla="*/ 108 w 125"/>
                  <a:gd name="T57" fmla="*/ 81 h 109"/>
                  <a:gd name="T58" fmla="*/ 102 w 125"/>
                  <a:gd name="T59" fmla="*/ 78 h 109"/>
                  <a:gd name="T60" fmla="*/ 100 w 125"/>
                  <a:gd name="T61" fmla="*/ 79 h 109"/>
                  <a:gd name="T62" fmla="*/ 95 w 125"/>
                  <a:gd name="T63" fmla="*/ 87 h 109"/>
                  <a:gd name="T64" fmla="*/ 92 w 125"/>
                  <a:gd name="T65" fmla="*/ 90 h 109"/>
                  <a:gd name="T66" fmla="*/ 91 w 125"/>
                  <a:gd name="T67" fmla="*/ 98 h 109"/>
                  <a:gd name="T68" fmla="*/ 95 w 125"/>
                  <a:gd name="T69" fmla="*/ 105 h 109"/>
                  <a:gd name="T70" fmla="*/ 91 w 125"/>
                  <a:gd name="T71" fmla="*/ 109 h 109"/>
                  <a:gd name="T72" fmla="*/ 83 w 125"/>
                  <a:gd name="T73" fmla="*/ 105 h 109"/>
                  <a:gd name="T74" fmla="*/ 75 w 125"/>
                  <a:gd name="T75" fmla="*/ 100 h 109"/>
                  <a:gd name="T76" fmla="*/ 67 w 125"/>
                  <a:gd name="T77" fmla="*/ 95 h 109"/>
                  <a:gd name="T78" fmla="*/ 62 w 125"/>
                  <a:gd name="T79" fmla="*/ 93 h 109"/>
                  <a:gd name="T80" fmla="*/ 64 w 125"/>
                  <a:gd name="T81" fmla="*/ 90 h 109"/>
                  <a:gd name="T82" fmla="*/ 62 w 125"/>
                  <a:gd name="T83" fmla="*/ 87 h 109"/>
                  <a:gd name="T84" fmla="*/ 52 w 125"/>
                  <a:gd name="T85" fmla="*/ 81 h 109"/>
                  <a:gd name="T86" fmla="*/ 51 w 125"/>
                  <a:gd name="T87" fmla="*/ 74 h 109"/>
                  <a:gd name="T88" fmla="*/ 48 w 125"/>
                  <a:gd name="T89" fmla="*/ 71 h 109"/>
                  <a:gd name="T90" fmla="*/ 40 w 125"/>
                  <a:gd name="T91" fmla="*/ 65 h 109"/>
                  <a:gd name="T92" fmla="*/ 32 w 125"/>
                  <a:gd name="T93" fmla="*/ 57 h 109"/>
                  <a:gd name="T94" fmla="*/ 16 w 125"/>
                  <a:gd name="T95" fmla="*/ 38 h 109"/>
                  <a:gd name="T96" fmla="*/ 13 w 125"/>
                  <a:gd name="T97" fmla="*/ 33 h 109"/>
                  <a:gd name="T98" fmla="*/ 8 w 125"/>
                  <a:gd name="T99" fmla="*/ 25 h 109"/>
                  <a:gd name="T100" fmla="*/ 5 w 125"/>
                  <a:gd name="T101" fmla="*/ 22 h 109"/>
                  <a:gd name="T102" fmla="*/ 2 w 125"/>
                  <a:gd name="T103" fmla="*/ 16 h 109"/>
                  <a:gd name="T104" fmla="*/ 0 w 125"/>
                  <a:gd name="T105" fmla="*/ 8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25" h="109">
                    <a:moveTo>
                      <a:pt x="0" y="8"/>
                    </a:moveTo>
                    <a:lnTo>
                      <a:pt x="0" y="6"/>
                    </a:lnTo>
                    <a:lnTo>
                      <a:pt x="2" y="3"/>
                    </a:lnTo>
                    <a:lnTo>
                      <a:pt x="2" y="1"/>
                    </a:lnTo>
                    <a:lnTo>
                      <a:pt x="3" y="1"/>
                    </a:lnTo>
                    <a:lnTo>
                      <a:pt x="6" y="1"/>
                    </a:lnTo>
                    <a:lnTo>
                      <a:pt x="8" y="5"/>
                    </a:lnTo>
                    <a:lnTo>
                      <a:pt x="10" y="5"/>
                    </a:lnTo>
                    <a:lnTo>
                      <a:pt x="13" y="8"/>
                    </a:lnTo>
                    <a:lnTo>
                      <a:pt x="18" y="11"/>
                    </a:lnTo>
                    <a:lnTo>
                      <a:pt x="18" y="11"/>
                    </a:lnTo>
                    <a:lnTo>
                      <a:pt x="21" y="6"/>
                    </a:lnTo>
                    <a:lnTo>
                      <a:pt x="24" y="1"/>
                    </a:lnTo>
                    <a:lnTo>
                      <a:pt x="27" y="1"/>
                    </a:lnTo>
                    <a:lnTo>
                      <a:pt x="32" y="1"/>
                    </a:lnTo>
                    <a:lnTo>
                      <a:pt x="35" y="3"/>
                    </a:lnTo>
                    <a:lnTo>
                      <a:pt x="35" y="1"/>
                    </a:lnTo>
                    <a:lnTo>
                      <a:pt x="37" y="0"/>
                    </a:lnTo>
                    <a:lnTo>
                      <a:pt x="40" y="1"/>
                    </a:lnTo>
                    <a:lnTo>
                      <a:pt x="40" y="1"/>
                    </a:lnTo>
                    <a:lnTo>
                      <a:pt x="43" y="3"/>
                    </a:lnTo>
                    <a:lnTo>
                      <a:pt x="48" y="5"/>
                    </a:lnTo>
                    <a:lnTo>
                      <a:pt x="51" y="5"/>
                    </a:lnTo>
                    <a:lnTo>
                      <a:pt x="54" y="5"/>
                    </a:lnTo>
                    <a:lnTo>
                      <a:pt x="56" y="6"/>
                    </a:lnTo>
                    <a:lnTo>
                      <a:pt x="60" y="6"/>
                    </a:lnTo>
                    <a:lnTo>
                      <a:pt x="60" y="5"/>
                    </a:lnTo>
                    <a:lnTo>
                      <a:pt x="65" y="8"/>
                    </a:lnTo>
                    <a:lnTo>
                      <a:pt x="65" y="8"/>
                    </a:lnTo>
                    <a:lnTo>
                      <a:pt x="70" y="8"/>
                    </a:lnTo>
                    <a:lnTo>
                      <a:pt x="70" y="6"/>
                    </a:lnTo>
                    <a:lnTo>
                      <a:pt x="72" y="6"/>
                    </a:lnTo>
                    <a:lnTo>
                      <a:pt x="73" y="5"/>
                    </a:lnTo>
                    <a:lnTo>
                      <a:pt x="76" y="8"/>
                    </a:lnTo>
                    <a:lnTo>
                      <a:pt x="79" y="6"/>
                    </a:lnTo>
                    <a:lnTo>
                      <a:pt x="83" y="6"/>
                    </a:lnTo>
                    <a:lnTo>
                      <a:pt x="86" y="6"/>
                    </a:lnTo>
                    <a:lnTo>
                      <a:pt x="87" y="8"/>
                    </a:lnTo>
                    <a:lnTo>
                      <a:pt x="92" y="8"/>
                    </a:lnTo>
                    <a:lnTo>
                      <a:pt x="95" y="9"/>
                    </a:lnTo>
                    <a:lnTo>
                      <a:pt x="95" y="11"/>
                    </a:lnTo>
                    <a:lnTo>
                      <a:pt x="97" y="11"/>
                    </a:lnTo>
                    <a:lnTo>
                      <a:pt x="97" y="13"/>
                    </a:lnTo>
                    <a:lnTo>
                      <a:pt x="100" y="16"/>
                    </a:lnTo>
                    <a:lnTo>
                      <a:pt x="105" y="16"/>
                    </a:lnTo>
                    <a:lnTo>
                      <a:pt x="106" y="16"/>
                    </a:lnTo>
                    <a:lnTo>
                      <a:pt x="110" y="14"/>
                    </a:lnTo>
                    <a:lnTo>
                      <a:pt x="111" y="14"/>
                    </a:lnTo>
                    <a:lnTo>
                      <a:pt x="114" y="14"/>
                    </a:lnTo>
                    <a:lnTo>
                      <a:pt x="116" y="14"/>
                    </a:lnTo>
                    <a:lnTo>
                      <a:pt x="116" y="19"/>
                    </a:lnTo>
                    <a:lnTo>
                      <a:pt x="116" y="21"/>
                    </a:lnTo>
                    <a:lnTo>
                      <a:pt x="116" y="22"/>
                    </a:lnTo>
                    <a:lnTo>
                      <a:pt x="113" y="25"/>
                    </a:lnTo>
                    <a:lnTo>
                      <a:pt x="111" y="28"/>
                    </a:lnTo>
                    <a:lnTo>
                      <a:pt x="111" y="28"/>
                    </a:lnTo>
                    <a:lnTo>
                      <a:pt x="110" y="32"/>
                    </a:lnTo>
                    <a:lnTo>
                      <a:pt x="110" y="35"/>
                    </a:lnTo>
                    <a:lnTo>
                      <a:pt x="110" y="36"/>
                    </a:lnTo>
                    <a:lnTo>
                      <a:pt x="111" y="40"/>
                    </a:lnTo>
                    <a:lnTo>
                      <a:pt x="113" y="40"/>
                    </a:lnTo>
                    <a:lnTo>
                      <a:pt x="116" y="40"/>
                    </a:lnTo>
                    <a:lnTo>
                      <a:pt x="119" y="44"/>
                    </a:lnTo>
                    <a:lnTo>
                      <a:pt x="122" y="46"/>
                    </a:lnTo>
                    <a:lnTo>
                      <a:pt x="122" y="47"/>
                    </a:lnTo>
                    <a:lnTo>
                      <a:pt x="125" y="49"/>
                    </a:lnTo>
                    <a:lnTo>
                      <a:pt x="125" y="49"/>
                    </a:lnTo>
                    <a:lnTo>
                      <a:pt x="122" y="52"/>
                    </a:lnTo>
                    <a:lnTo>
                      <a:pt x="119" y="52"/>
                    </a:lnTo>
                    <a:lnTo>
                      <a:pt x="116" y="51"/>
                    </a:lnTo>
                    <a:lnTo>
                      <a:pt x="114" y="52"/>
                    </a:lnTo>
                    <a:lnTo>
                      <a:pt x="118" y="55"/>
                    </a:lnTo>
                    <a:lnTo>
                      <a:pt x="121" y="59"/>
                    </a:lnTo>
                    <a:lnTo>
                      <a:pt x="122" y="60"/>
                    </a:lnTo>
                    <a:lnTo>
                      <a:pt x="122" y="60"/>
                    </a:lnTo>
                    <a:lnTo>
                      <a:pt x="124" y="62"/>
                    </a:lnTo>
                    <a:lnTo>
                      <a:pt x="124" y="67"/>
                    </a:lnTo>
                    <a:lnTo>
                      <a:pt x="121" y="68"/>
                    </a:lnTo>
                    <a:lnTo>
                      <a:pt x="118" y="68"/>
                    </a:lnTo>
                    <a:lnTo>
                      <a:pt x="116" y="68"/>
                    </a:lnTo>
                    <a:lnTo>
                      <a:pt x="114" y="70"/>
                    </a:lnTo>
                    <a:lnTo>
                      <a:pt x="111" y="70"/>
                    </a:lnTo>
                    <a:lnTo>
                      <a:pt x="108" y="71"/>
                    </a:lnTo>
                    <a:lnTo>
                      <a:pt x="105" y="70"/>
                    </a:lnTo>
                    <a:lnTo>
                      <a:pt x="105" y="73"/>
                    </a:lnTo>
                    <a:lnTo>
                      <a:pt x="108" y="76"/>
                    </a:lnTo>
                    <a:lnTo>
                      <a:pt x="108" y="81"/>
                    </a:lnTo>
                    <a:lnTo>
                      <a:pt x="106" y="81"/>
                    </a:lnTo>
                    <a:lnTo>
                      <a:pt x="106" y="78"/>
                    </a:lnTo>
                    <a:lnTo>
                      <a:pt x="102" y="78"/>
                    </a:lnTo>
                    <a:lnTo>
                      <a:pt x="103" y="78"/>
                    </a:lnTo>
                    <a:lnTo>
                      <a:pt x="102" y="78"/>
                    </a:lnTo>
                    <a:lnTo>
                      <a:pt x="100" y="79"/>
                    </a:lnTo>
                    <a:lnTo>
                      <a:pt x="97" y="81"/>
                    </a:lnTo>
                    <a:lnTo>
                      <a:pt x="97" y="82"/>
                    </a:lnTo>
                    <a:lnTo>
                      <a:pt x="95" y="87"/>
                    </a:lnTo>
                    <a:lnTo>
                      <a:pt x="95" y="87"/>
                    </a:lnTo>
                    <a:lnTo>
                      <a:pt x="97" y="90"/>
                    </a:lnTo>
                    <a:lnTo>
                      <a:pt x="92" y="90"/>
                    </a:lnTo>
                    <a:lnTo>
                      <a:pt x="91" y="93"/>
                    </a:lnTo>
                    <a:lnTo>
                      <a:pt x="91" y="98"/>
                    </a:lnTo>
                    <a:lnTo>
                      <a:pt x="91" y="98"/>
                    </a:lnTo>
                    <a:lnTo>
                      <a:pt x="92" y="101"/>
                    </a:lnTo>
                    <a:lnTo>
                      <a:pt x="94" y="103"/>
                    </a:lnTo>
                    <a:lnTo>
                      <a:pt x="95" y="105"/>
                    </a:lnTo>
                    <a:lnTo>
                      <a:pt x="92" y="108"/>
                    </a:lnTo>
                    <a:lnTo>
                      <a:pt x="92" y="109"/>
                    </a:lnTo>
                    <a:lnTo>
                      <a:pt x="91" y="109"/>
                    </a:lnTo>
                    <a:lnTo>
                      <a:pt x="87" y="106"/>
                    </a:lnTo>
                    <a:lnTo>
                      <a:pt x="84" y="106"/>
                    </a:lnTo>
                    <a:lnTo>
                      <a:pt x="83" y="105"/>
                    </a:lnTo>
                    <a:lnTo>
                      <a:pt x="81" y="103"/>
                    </a:lnTo>
                    <a:lnTo>
                      <a:pt x="78" y="101"/>
                    </a:lnTo>
                    <a:lnTo>
                      <a:pt x="75" y="100"/>
                    </a:lnTo>
                    <a:lnTo>
                      <a:pt x="70" y="97"/>
                    </a:lnTo>
                    <a:lnTo>
                      <a:pt x="70" y="95"/>
                    </a:lnTo>
                    <a:lnTo>
                      <a:pt x="67" y="95"/>
                    </a:lnTo>
                    <a:lnTo>
                      <a:pt x="65" y="95"/>
                    </a:lnTo>
                    <a:lnTo>
                      <a:pt x="64" y="95"/>
                    </a:lnTo>
                    <a:lnTo>
                      <a:pt x="62" y="93"/>
                    </a:lnTo>
                    <a:lnTo>
                      <a:pt x="62" y="93"/>
                    </a:lnTo>
                    <a:lnTo>
                      <a:pt x="65" y="92"/>
                    </a:lnTo>
                    <a:lnTo>
                      <a:pt x="64" y="90"/>
                    </a:lnTo>
                    <a:lnTo>
                      <a:pt x="64" y="89"/>
                    </a:lnTo>
                    <a:lnTo>
                      <a:pt x="64" y="89"/>
                    </a:lnTo>
                    <a:lnTo>
                      <a:pt x="62" y="87"/>
                    </a:lnTo>
                    <a:lnTo>
                      <a:pt x="59" y="86"/>
                    </a:lnTo>
                    <a:lnTo>
                      <a:pt x="57" y="84"/>
                    </a:lnTo>
                    <a:lnTo>
                      <a:pt x="52" y="81"/>
                    </a:lnTo>
                    <a:lnTo>
                      <a:pt x="52" y="81"/>
                    </a:lnTo>
                    <a:lnTo>
                      <a:pt x="51" y="78"/>
                    </a:lnTo>
                    <a:lnTo>
                      <a:pt x="51" y="74"/>
                    </a:lnTo>
                    <a:lnTo>
                      <a:pt x="51" y="74"/>
                    </a:lnTo>
                    <a:lnTo>
                      <a:pt x="51" y="74"/>
                    </a:lnTo>
                    <a:lnTo>
                      <a:pt x="48" y="71"/>
                    </a:lnTo>
                    <a:lnTo>
                      <a:pt x="45" y="70"/>
                    </a:lnTo>
                    <a:lnTo>
                      <a:pt x="41" y="67"/>
                    </a:lnTo>
                    <a:lnTo>
                      <a:pt x="40" y="65"/>
                    </a:lnTo>
                    <a:lnTo>
                      <a:pt x="35" y="62"/>
                    </a:lnTo>
                    <a:lnTo>
                      <a:pt x="33" y="60"/>
                    </a:lnTo>
                    <a:lnTo>
                      <a:pt x="32" y="57"/>
                    </a:lnTo>
                    <a:lnTo>
                      <a:pt x="24" y="49"/>
                    </a:lnTo>
                    <a:lnTo>
                      <a:pt x="16" y="43"/>
                    </a:lnTo>
                    <a:lnTo>
                      <a:pt x="16" y="38"/>
                    </a:lnTo>
                    <a:lnTo>
                      <a:pt x="16" y="36"/>
                    </a:lnTo>
                    <a:lnTo>
                      <a:pt x="13" y="35"/>
                    </a:lnTo>
                    <a:lnTo>
                      <a:pt x="13" y="33"/>
                    </a:lnTo>
                    <a:lnTo>
                      <a:pt x="13" y="32"/>
                    </a:lnTo>
                    <a:lnTo>
                      <a:pt x="11" y="30"/>
                    </a:lnTo>
                    <a:lnTo>
                      <a:pt x="8" y="25"/>
                    </a:lnTo>
                    <a:lnTo>
                      <a:pt x="6" y="24"/>
                    </a:lnTo>
                    <a:lnTo>
                      <a:pt x="6" y="22"/>
                    </a:lnTo>
                    <a:lnTo>
                      <a:pt x="5" y="22"/>
                    </a:lnTo>
                    <a:lnTo>
                      <a:pt x="3" y="22"/>
                    </a:lnTo>
                    <a:lnTo>
                      <a:pt x="0" y="19"/>
                    </a:lnTo>
                    <a:lnTo>
                      <a:pt x="2" y="16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sp>
          <p:nvSpPr>
            <p:cNvPr id="305" name="Freeform 501"/>
            <p:cNvSpPr>
              <a:spLocks/>
            </p:cNvSpPr>
            <p:nvPr/>
          </p:nvSpPr>
          <p:spPr bwMode="auto">
            <a:xfrm>
              <a:off x="5716395" y="3224512"/>
              <a:ext cx="141155" cy="121855"/>
            </a:xfrm>
            <a:custGeom>
              <a:avLst/>
              <a:gdLst>
                <a:gd name="T0" fmla="*/ 12 w 192"/>
                <a:gd name="T1" fmla="*/ 45 h 144"/>
                <a:gd name="T2" fmla="*/ 22 w 192"/>
                <a:gd name="T3" fmla="*/ 43 h 144"/>
                <a:gd name="T4" fmla="*/ 28 w 192"/>
                <a:gd name="T5" fmla="*/ 41 h 144"/>
                <a:gd name="T6" fmla="*/ 36 w 192"/>
                <a:gd name="T7" fmla="*/ 35 h 144"/>
                <a:gd name="T8" fmla="*/ 49 w 192"/>
                <a:gd name="T9" fmla="*/ 41 h 144"/>
                <a:gd name="T10" fmla="*/ 55 w 192"/>
                <a:gd name="T11" fmla="*/ 45 h 144"/>
                <a:gd name="T12" fmla="*/ 60 w 192"/>
                <a:gd name="T13" fmla="*/ 35 h 144"/>
                <a:gd name="T14" fmla="*/ 57 w 192"/>
                <a:gd name="T15" fmla="*/ 33 h 144"/>
                <a:gd name="T16" fmla="*/ 66 w 192"/>
                <a:gd name="T17" fmla="*/ 29 h 144"/>
                <a:gd name="T18" fmla="*/ 71 w 192"/>
                <a:gd name="T19" fmla="*/ 24 h 144"/>
                <a:gd name="T20" fmla="*/ 73 w 192"/>
                <a:gd name="T21" fmla="*/ 13 h 144"/>
                <a:gd name="T22" fmla="*/ 82 w 192"/>
                <a:gd name="T23" fmla="*/ 10 h 144"/>
                <a:gd name="T24" fmla="*/ 90 w 192"/>
                <a:gd name="T25" fmla="*/ 5 h 144"/>
                <a:gd name="T26" fmla="*/ 98 w 192"/>
                <a:gd name="T27" fmla="*/ 2 h 144"/>
                <a:gd name="T28" fmla="*/ 109 w 192"/>
                <a:gd name="T29" fmla="*/ 10 h 144"/>
                <a:gd name="T30" fmla="*/ 119 w 192"/>
                <a:gd name="T31" fmla="*/ 18 h 144"/>
                <a:gd name="T32" fmla="*/ 120 w 192"/>
                <a:gd name="T33" fmla="*/ 19 h 144"/>
                <a:gd name="T34" fmla="*/ 125 w 192"/>
                <a:gd name="T35" fmla="*/ 24 h 144"/>
                <a:gd name="T36" fmla="*/ 131 w 192"/>
                <a:gd name="T37" fmla="*/ 24 h 144"/>
                <a:gd name="T38" fmla="*/ 142 w 192"/>
                <a:gd name="T39" fmla="*/ 30 h 144"/>
                <a:gd name="T40" fmla="*/ 165 w 192"/>
                <a:gd name="T41" fmla="*/ 27 h 144"/>
                <a:gd name="T42" fmla="*/ 172 w 192"/>
                <a:gd name="T43" fmla="*/ 27 h 144"/>
                <a:gd name="T44" fmla="*/ 176 w 192"/>
                <a:gd name="T45" fmla="*/ 40 h 144"/>
                <a:gd name="T46" fmla="*/ 179 w 192"/>
                <a:gd name="T47" fmla="*/ 43 h 144"/>
                <a:gd name="T48" fmla="*/ 185 w 192"/>
                <a:gd name="T49" fmla="*/ 51 h 144"/>
                <a:gd name="T50" fmla="*/ 192 w 192"/>
                <a:gd name="T51" fmla="*/ 54 h 144"/>
                <a:gd name="T52" fmla="*/ 182 w 192"/>
                <a:gd name="T53" fmla="*/ 62 h 144"/>
                <a:gd name="T54" fmla="*/ 171 w 192"/>
                <a:gd name="T55" fmla="*/ 64 h 144"/>
                <a:gd name="T56" fmla="*/ 161 w 192"/>
                <a:gd name="T57" fmla="*/ 59 h 144"/>
                <a:gd name="T58" fmla="*/ 147 w 192"/>
                <a:gd name="T59" fmla="*/ 56 h 144"/>
                <a:gd name="T60" fmla="*/ 139 w 192"/>
                <a:gd name="T61" fmla="*/ 59 h 144"/>
                <a:gd name="T62" fmla="*/ 125 w 192"/>
                <a:gd name="T63" fmla="*/ 56 h 144"/>
                <a:gd name="T64" fmla="*/ 111 w 192"/>
                <a:gd name="T65" fmla="*/ 51 h 144"/>
                <a:gd name="T66" fmla="*/ 98 w 192"/>
                <a:gd name="T67" fmla="*/ 52 h 144"/>
                <a:gd name="T68" fmla="*/ 87 w 192"/>
                <a:gd name="T69" fmla="*/ 59 h 144"/>
                <a:gd name="T70" fmla="*/ 76 w 192"/>
                <a:gd name="T71" fmla="*/ 52 h 144"/>
                <a:gd name="T72" fmla="*/ 74 w 192"/>
                <a:gd name="T73" fmla="*/ 64 h 144"/>
                <a:gd name="T74" fmla="*/ 80 w 192"/>
                <a:gd name="T75" fmla="*/ 73 h 144"/>
                <a:gd name="T76" fmla="*/ 87 w 192"/>
                <a:gd name="T77" fmla="*/ 84 h 144"/>
                <a:gd name="T78" fmla="*/ 98 w 192"/>
                <a:gd name="T79" fmla="*/ 100 h 144"/>
                <a:gd name="T80" fmla="*/ 115 w 192"/>
                <a:gd name="T81" fmla="*/ 118 h 144"/>
                <a:gd name="T82" fmla="*/ 125 w 192"/>
                <a:gd name="T83" fmla="*/ 125 h 144"/>
                <a:gd name="T84" fmla="*/ 133 w 192"/>
                <a:gd name="T85" fmla="*/ 137 h 144"/>
                <a:gd name="T86" fmla="*/ 139 w 192"/>
                <a:gd name="T87" fmla="*/ 143 h 144"/>
                <a:gd name="T88" fmla="*/ 131 w 192"/>
                <a:gd name="T89" fmla="*/ 140 h 144"/>
                <a:gd name="T90" fmla="*/ 100 w 192"/>
                <a:gd name="T91" fmla="*/ 122 h 144"/>
                <a:gd name="T92" fmla="*/ 84 w 192"/>
                <a:gd name="T93" fmla="*/ 122 h 144"/>
                <a:gd name="T94" fmla="*/ 60 w 192"/>
                <a:gd name="T95" fmla="*/ 98 h 144"/>
                <a:gd name="T96" fmla="*/ 68 w 192"/>
                <a:gd name="T97" fmla="*/ 92 h 144"/>
                <a:gd name="T98" fmla="*/ 46 w 192"/>
                <a:gd name="T99" fmla="*/ 72 h 144"/>
                <a:gd name="T100" fmla="*/ 44 w 192"/>
                <a:gd name="T101" fmla="*/ 57 h 144"/>
                <a:gd name="T102" fmla="*/ 30 w 192"/>
                <a:gd name="T103" fmla="*/ 48 h 144"/>
                <a:gd name="T104" fmla="*/ 22 w 192"/>
                <a:gd name="T105" fmla="*/ 59 h 144"/>
                <a:gd name="T106" fmla="*/ 17 w 192"/>
                <a:gd name="T107" fmla="*/ 65 h 144"/>
                <a:gd name="T108" fmla="*/ 8 w 192"/>
                <a:gd name="T109" fmla="*/ 62 h 144"/>
                <a:gd name="T110" fmla="*/ 3 w 192"/>
                <a:gd name="T111" fmla="*/ 49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92" h="144">
                  <a:moveTo>
                    <a:pt x="3" y="43"/>
                  </a:moveTo>
                  <a:lnTo>
                    <a:pt x="4" y="43"/>
                  </a:lnTo>
                  <a:lnTo>
                    <a:pt x="6" y="43"/>
                  </a:lnTo>
                  <a:lnTo>
                    <a:pt x="9" y="43"/>
                  </a:lnTo>
                  <a:lnTo>
                    <a:pt x="12" y="45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7" y="41"/>
                  </a:lnTo>
                  <a:lnTo>
                    <a:pt x="20" y="43"/>
                  </a:lnTo>
                  <a:lnTo>
                    <a:pt x="22" y="43"/>
                  </a:lnTo>
                  <a:lnTo>
                    <a:pt x="23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7" y="41"/>
                  </a:lnTo>
                  <a:lnTo>
                    <a:pt x="28" y="41"/>
                  </a:lnTo>
                  <a:lnTo>
                    <a:pt x="31" y="40"/>
                  </a:lnTo>
                  <a:lnTo>
                    <a:pt x="33" y="38"/>
                  </a:lnTo>
                  <a:lnTo>
                    <a:pt x="34" y="37"/>
                  </a:lnTo>
                  <a:lnTo>
                    <a:pt x="34" y="35"/>
                  </a:lnTo>
                  <a:lnTo>
                    <a:pt x="36" y="35"/>
                  </a:lnTo>
                  <a:lnTo>
                    <a:pt x="36" y="37"/>
                  </a:lnTo>
                  <a:lnTo>
                    <a:pt x="39" y="40"/>
                  </a:lnTo>
                  <a:lnTo>
                    <a:pt x="41" y="41"/>
                  </a:lnTo>
                  <a:lnTo>
                    <a:pt x="46" y="43"/>
                  </a:lnTo>
                  <a:lnTo>
                    <a:pt x="49" y="41"/>
                  </a:lnTo>
                  <a:lnTo>
                    <a:pt x="49" y="41"/>
                  </a:lnTo>
                  <a:lnTo>
                    <a:pt x="50" y="41"/>
                  </a:lnTo>
                  <a:lnTo>
                    <a:pt x="52" y="43"/>
                  </a:lnTo>
                  <a:lnTo>
                    <a:pt x="55" y="45"/>
                  </a:lnTo>
                  <a:lnTo>
                    <a:pt x="55" y="45"/>
                  </a:lnTo>
                  <a:lnTo>
                    <a:pt x="60" y="41"/>
                  </a:lnTo>
                  <a:lnTo>
                    <a:pt x="58" y="41"/>
                  </a:lnTo>
                  <a:lnTo>
                    <a:pt x="58" y="38"/>
                  </a:lnTo>
                  <a:lnTo>
                    <a:pt x="58" y="37"/>
                  </a:lnTo>
                  <a:lnTo>
                    <a:pt x="60" y="35"/>
                  </a:lnTo>
                  <a:lnTo>
                    <a:pt x="61" y="35"/>
                  </a:lnTo>
                  <a:lnTo>
                    <a:pt x="61" y="35"/>
                  </a:lnTo>
                  <a:lnTo>
                    <a:pt x="57" y="33"/>
                  </a:lnTo>
                  <a:lnTo>
                    <a:pt x="57" y="33"/>
                  </a:lnTo>
                  <a:lnTo>
                    <a:pt x="57" y="33"/>
                  </a:lnTo>
                  <a:lnTo>
                    <a:pt x="58" y="32"/>
                  </a:lnTo>
                  <a:lnTo>
                    <a:pt x="61" y="30"/>
                  </a:lnTo>
                  <a:lnTo>
                    <a:pt x="63" y="30"/>
                  </a:lnTo>
                  <a:lnTo>
                    <a:pt x="65" y="29"/>
                  </a:lnTo>
                  <a:lnTo>
                    <a:pt x="66" y="29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1" y="26"/>
                  </a:lnTo>
                  <a:lnTo>
                    <a:pt x="71" y="24"/>
                  </a:lnTo>
                  <a:lnTo>
                    <a:pt x="71" y="21"/>
                  </a:lnTo>
                  <a:lnTo>
                    <a:pt x="69" y="19"/>
                  </a:lnTo>
                  <a:lnTo>
                    <a:pt x="68" y="16"/>
                  </a:lnTo>
                  <a:lnTo>
                    <a:pt x="69" y="13"/>
                  </a:lnTo>
                  <a:lnTo>
                    <a:pt x="73" y="13"/>
                  </a:lnTo>
                  <a:lnTo>
                    <a:pt x="74" y="11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7" y="10"/>
                  </a:lnTo>
                  <a:lnTo>
                    <a:pt x="82" y="10"/>
                  </a:lnTo>
                  <a:lnTo>
                    <a:pt x="82" y="7"/>
                  </a:lnTo>
                  <a:lnTo>
                    <a:pt x="85" y="5"/>
                  </a:lnTo>
                  <a:lnTo>
                    <a:pt x="85" y="7"/>
                  </a:lnTo>
                  <a:lnTo>
                    <a:pt x="90" y="7"/>
                  </a:lnTo>
                  <a:lnTo>
                    <a:pt x="90" y="5"/>
                  </a:lnTo>
                  <a:lnTo>
                    <a:pt x="88" y="3"/>
                  </a:lnTo>
                  <a:lnTo>
                    <a:pt x="90" y="0"/>
                  </a:lnTo>
                  <a:lnTo>
                    <a:pt x="93" y="0"/>
                  </a:lnTo>
                  <a:lnTo>
                    <a:pt x="95" y="0"/>
                  </a:lnTo>
                  <a:lnTo>
                    <a:pt x="98" y="2"/>
                  </a:lnTo>
                  <a:lnTo>
                    <a:pt x="100" y="2"/>
                  </a:lnTo>
                  <a:lnTo>
                    <a:pt x="103" y="5"/>
                  </a:lnTo>
                  <a:lnTo>
                    <a:pt x="106" y="7"/>
                  </a:lnTo>
                  <a:lnTo>
                    <a:pt x="107" y="7"/>
                  </a:lnTo>
                  <a:lnTo>
                    <a:pt x="109" y="10"/>
                  </a:lnTo>
                  <a:lnTo>
                    <a:pt x="109" y="10"/>
                  </a:lnTo>
                  <a:lnTo>
                    <a:pt x="111" y="11"/>
                  </a:lnTo>
                  <a:lnTo>
                    <a:pt x="114" y="13"/>
                  </a:lnTo>
                  <a:lnTo>
                    <a:pt x="117" y="14"/>
                  </a:lnTo>
                  <a:lnTo>
                    <a:pt x="119" y="18"/>
                  </a:lnTo>
                  <a:lnTo>
                    <a:pt x="119" y="18"/>
                  </a:lnTo>
                  <a:lnTo>
                    <a:pt x="120" y="18"/>
                  </a:lnTo>
                  <a:lnTo>
                    <a:pt x="120" y="19"/>
                  </a:lnTo>
                  <a:lnTo>
                    <a:pt x="120" y="19"/>
                  </a:lnTo>
                  <a:lnTo>
                    <a:pt x="120" y="19"/>
                  </a:lnTo>
                  <a:lnTo>
                    <a:pt x="122" y="21"/>
                  </a:lnTo>
                  <a:lnTo>
                    <a:pt x="122" y="21"/>
                  </a:lnTo>
                  <a:lnTo>
                    <a:pt x="122" y="21"/>
                  </a:lnTo>
                  <a:lnTo>
                    <a:pt x="122" y="22"/>
                  </a:lnTo>
                  <a:lnTo>
                    <a:pt x="125" y="24"/>
                  </a:lnTo>
                  <a:lnTo>
                    <a:pt x="125" y="24"/>
                  </a:lnTo>
                  <a:lnTo>
                    <a:pt x="125" y="24"/>
                  </a:lnTo>
                  <a:lnTo>
                    <a:pt x="126" y="24"/>
                  </a:lnTo>
                  <a:lnTo>
                    <a:pt x="128" y="24"/>
                  </a:lnTo>
                  <a:lnTo>
                    <a:pt x="131" y="24"/>
                  </a:lnTo>
                  <a:lnTo>
                    <a:pt x="134" y="27"/>
                  </a:lnTo>
                  <a:lnTo>
                    <a:pt x="134" y="29"/>
                  </a:lnTo>
                  <a:lnTo>
                    <a:pt x="138" y="29"/>
                  </a:lnTo>
                  <a:lnTo>
                    <a:pt x="142" y="30"/>
                  </a:lnTo>
                  <a:lnTo>
                    <a:pt x="142" y="30"/>
                  </a:lnTo>
                  <a:lnTo>
                    <a:pt x="149" y="30"/>
                  </a:lnTo>
                  <a:lnTo>
                    <a:pt x="155" y="32"/>
                  </a:lnTo>
                  <a:lnTo>
                    <a:pt x="160" y="32"/>
                  </a:lnTo>
                  <a:lnTo>
                    <a:pt x="163" y="30"/>
                  </a:lnTo>
                  <a:lnTo>
                    <a:pt x="165" y="27"/>
                  </a:lnTo>
                  <a:lnTo>
                    <a:pt x="166" y="24"/>
                  </a:lnTo>
                  <a:lnTo>
                    <a:pt x="168" y="24"/>
                  </a:lnTo>
                  <a:lnTo>
                    <a:pt x="171" y="26"/>
                  </a:lnTo>
                  <a:lnTo>
                    <a:pt x="172" y="27"/>
                  </a:lnTo>
                  <a:lnTo>
                    <a:pt x="172" y="27"/>
                  </a:lnTo>
                  <a:lnTo>
                    <a:pt x="176" y="30"/>
                  </a:lnTo>
                  <a:lnTo>
                    <a:pt x="174" y="33"/>
                  </a:lnTo>
                  <a:lnTo>
                    <a:pt x="174" y="33"/>
                  </a:lnTo>
                  <a:lnTo>
                    <a:pt x="176" y="37"/>
                  </a:lnTo>
                  <a:lnTo>
                    <a:pt x="176" y="40"/>
                  </a:lnTo>
                  <a:lnTo>
                    <a:pt x="179" y="40"/>
                  </a:lnTo>
                  <a:lnTo>
                    <a:pt x="180" y="40"/>
                  </a:lnTo>
                  <a:lnTo>
                    <a:pt x="180" y="40"/>
                  </a:lnTo>
                  <a:lnTo>
                    <a:pt x="179" y="41"/>
                  </a:lnTo>
                  <a:lnTo>
                    <a:pt x="179" y="43"/>
                  </a:lnTo>
                  <a:lnTo>
                    <a:pt x="179" y="48"/>
                  </a:lnTo>
                  <a:lnTo>
                    <a:pt x="182" y="49"/>
                  </a:lnTo>
                  <a:lnTo>
                    <a:pt x="184" y="51"/>
                  </a:lnTo>
                  <a:lnTo>
                    <a:pt x="185" y="51"/>
                  </a:lnTo>
                  <a:lnTo>
                    <a:pt x="185" y="51"/>
                  </a:lnTo>
                  <a:lnTo>
                    <a:pt x="187" y="51"/>
                  </a:lnTo>
                  <a:lnTo>
                    <a:pt x="187" y="51"/>
                  </a:lnTo>
                  <a:lnTo>
                    <a:pt x="190" y="52"/>
                  </a:lnTo>
                  <a:lnTo>
                    <a:pt x="192" y="52"/>
                  </a:lnTo>
                  <a:lnTo>
                    <a:pt x="192" y="54"/>
                  </a:lnTo>
                  <a:lnTo>
                    <a:pt x="185" y="54"/>
                  </a:lnTo>
                  <a:lnTo>
                    <a:pt x="180" y="56"/>
                  </a:lnTo>
                  <a:lnTo>
                    <a:pt x="182" y="60"/>
                  </a:lnTo>
                  <a:lnTo>
                    <a:pt x="182" y="62"/>
                  </a:lnTo>
                  <a:lnTo>
                    <a:pt x="182" y="62"/>
                  </a:lnTo>
                  <a:lnTo>
                    <a:pt x="179" y="67"/>
                  </a:lnTo>
                  <a:lnTo>
                    <a:pt x="180" y="67"/>
                  </a:lnTo>
                  <a:lnTo>
                    <a:pt x="179" y="67"/>
                  </a:lnTo>
                  <a:lnTo>
                    <a:pt x="174" y="67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69" y="62"/>
                  </a:lnTo>
                  <a:lnTo>
                    <a:pt x="169" y="60"/>
                  </a:lnTo>
                  <a:lnTo>
                    <a:pt x="166" y="59"/>
                  </a:lnTo>
                  <a:lnTo>
                    <a:pt x="161" y="59"/>
                  </a:lnTo>
                  <a:lnTo>
                    <a:pt x="160" y="57"/>
                  </a:lnTo>
                  <a:lnTo>
                    <a:pt x="157" y="57"/>
                  </a:lnTo>
                  <a:lnTo>
                    <a:pt x="153" y="57"/>
                  </a:lnTo>
                  <a:lnTo>
                    <a:pt x="150" y="59"/>
                  </a:lnTo>
                  <a:lnTo>
                    <a:pt x="147" y="56"/>
                  </a:lnTo>
                  <a:lnTo>
                    <a:pt x="146" y="57"/>
                  </a:lnTo>
                  <a:lnTo>
                    <a:pt x="144" y="57"/>
                  </a:lnTo>
                  <a:lnTo>
                    <a:pt x="144" y="59"/>
                  </a:lnTo>
                  <a:lnTo>
                    <a:pt x="139" y="59"/>
                  </a:lnTo>
                  <a:lnTo>
                    <a:pt x="139" y="59"/>
                  </a:lnTo>
                  <a:lnTo>
                    <a:pt x="134" y="56"/>
                  </a:lnTo>
                  <a:lnTo>
                    <a:pt x="134" y="57"/>
                  </a:lnTo>
                  <a:lnTo>
                    <a:pt x="130" y="57"/>
                  </a:lnTo>
                  <a:lnTo>
                    <a:pt x="128" y="56"/>
                  </a:lnTo>
                  <a:lnTo>
                    <a:pt x="125" y="56"/>
                  </a:lnTo>
                  <a:lnTo>
                    <a:pt x="122" y="56"/>
                  </a:lnTo>
                  <a:lnTo>
                    <a:pt x="117" y="54"/>
                  </a:lnTo>
                  <a:lnTo>
                    <a:pt x="114" y="52"/>
                  </a:lnTo>
                  <a:lnTo>
                    <a:pt x="114" y="52"/>
                  </a:lnTo>
                  <a:lnTo>
                    <a:pt x="111" y="51"/>
                  </a:lnTo>
                  <a:lnTo>
                    <a:pt x="109" y="52"/>
                  </a:lnTo>
                  <a:lnTo>
                    <a:pt x="109" y="54"/>
                  </a:lnTo>
                  <a:lnTo>
                    <a:pt x="106" y="52"/>
                  </a:lnTo>
                  <a:lnTo>
                    <a:pt x="101" y="52"/>
                  </a:lnTo>
                  <a:lnTo>
                    <a:pt x="98" y="52"/>
                  </a:lnTo>
                  <a:lnTo>
                    <a:pt x="95" y="57"/>
                  </a:lnTo>
                  <a:lnTo>
                    <a:pt x="92" y="62"/>
                  </a:lnTo>
                  <a:lnTo>
                    <a:pt x="92" y="62"/>
                  </a:lnTo>
                  <a:lnTo>
                    <a:pt x="92" y="62"/>
                  </a:lnTo>
                  <a:lnTo>
                    <a:pt x="87" y="59"/>
                  </a:lnTo>
                  <a:lnTo>
                    <a:pt x="84" y="56"/>
                  </a:lnTo>
                  <a:lnTo>
                    <a:pt x="82" y="56"/>
                  </a:lnTo>
                  <a:lnTo>
                    <a:pt x="80" y="52"/>
                  </a:lnTo>
                  <a:lnTo>
                    <a:pt x="77" y="52"/>
                  </a:lnTo>
                  <a:lnTo>
                    <a:pt x="76" y="52"/>
                  </a:lnTo>
                  <a:lnTo>
                    <a:pt x="76" y="54"/>
                  </a:lnTo>
                  <a:lnTo>
                    <a:pt x="74" y="57"/>
                  </a:lnTo>
                  <a:lnTo>
                    <a:pt x="74" y="59"/>
                  </a:lnTo>
                  <a:lnTo>
                    <a:pt x="74" y="62"/>
                  </a:lnTo>
                  <a:lnTo>
                    <a:pt x="74" y="64"/>
                  </a:lnTo>
                  <a:lnTo>
                    <a:pt x="76" y="67"/>
                  </a:lnTo>
                  <a:lnTo>
                    <a:pt x="74" y="70"/>
                  </a:lnTo>
                  <a:lnTo>
                    <a:pt x="77" y="73"/>
                  </a:lnTo>
                  <a:lnTo>
                    <a:pt x="79" y="73"/>
                  </a:lnTo>
                  <a:lnTo>
                    <a:pt x="80" y="73"/>
                  </a:lnTo>
                  <a:lnTo>
                    <a:pt x="80" y="75"/>
                  </a:lnTo>
                  <a:lnTo>
                    <a:pt x="82" y="76"/>
                  </a:lnTo>
                  <a:lnTo>
                    <a:pt x="85" y="81"/>
                  </a:lnTo>
                  <a:lnTo>
                    <a:pt x="87" y="83"/>
                  </a:lnTo>
                  <a:lnTo>
                    <a:pt x="87" y="84"/>
                  </a:lnTo>
                  <a:lnTo>
                    <a:pt x="87" y="86"/>
                  </a:lnTo>
                  <a:lnTo>
                    <a:pt x="90" y="87"/>
                  </a:lnTo>
                  <a:lnTo>
                    <a:pt x="90" y="89"/>
                  </a:lnTo>
                  <a:lnTo>
                    <a:pt x="90" y="94"/>
                  </a:lnTo>
                  <a:lnTo>
                    <a:pt x="98" y="100"/>
                  </a:lnTo>
                  <a:lnTo>
                    <a:pt x="106" y="108"/>
                  </a:lnTo>
                  <a:lnTo>
                    <a:pt x="107" y="111"/>
                  </a:lnTo>
                  <a:lnTo>
                    <a:pt x="109" y="113"/>
                  </a:lnTo>
                  <a:lnTo>
                    <a:pt x="114" y="116"/>
                  </a:lnTo>
                  <a:lnTo>
                    <a:pt x="115" y="118"/>
                  </a:lnTo>
                  <a:lnTo>
                    <a:pt x="119" y="121"/>
                  </a:lnTo>
                  <a:lnTo>
                    <a:pt x="122" y="122"/>
                  </a:lnTo>
                  <a:lnTo>
                    <a:pt x="125" y="125"/>
                  </a:lnTo>
                  <a:lnTo>
                    <a:pt x="125" y="125"/>
                  </a:lnTo>
                  <a:lnTo>
                    <a:pt x="125" y="125"/>
                  </a:lnTo>
                  <a:lnTo>
                    <a:pt x="125" y="129"/>
                  </a:lnTo>
                  <a:lnTo>
                    <a:pt x="126" y="132"/>
                  </a:lnTo>
                  <a:lnTo>
                    <a:pt x="126" y="132"/>
                  </a:lnTo>
                  <a:lnTo>
                    <a:pt x="131" y="135"/>
                  </a:lnTo>
                  <a:lnTo>
                    <a:pt x="133" y="137"/>
                  </a:lnTo>
                  <a:lnTo>
                    <a:pt x="136" y="138"/>
                  </a:lnTo>
                  <a:lnTo>
                    <a:pt x="138" y="140"/>
                  </a:lnTo>
                  <a:lnTo>
                    <a:pt x="138" y="140"/>
                  </a:lnTo>
                  <a:lnTo>
                    <a:pt x="138" y="141"/>
                  </a:lnTo>
                  <a:lnTo>
                    <a:pt x="139" y="143"/>
                  </a:lnTo>
                  <a:lnTo>
                    <a:pt x="136" y="144"/>
                  </a:lnTo>
                  <a:lnTo>
                    <a:pt x="136" y="144"/>
                  </a:lnTo>
                  <a:lnTo>
                    <a:pt x="133" y="143"/>
                  </a:lnTo>
                  <a:lnTo>
                    <a:pt x="131" y="141"/>
                  </a:lnTo>
                  <a:lnTo>
                    <a:pt x="131" y="140"/>
                  </a:lnTo>
                  <a:lnTo>
                    <a:pt x="123" y="137"/>
                  </a:lnTo>
                  <a:lnTo>
                    <a:pt x="115" y="130"/>
                  </a:lnTo>
                  <a:lnTo>
                    <a:pt x="112" y="125"/>
                  </a:lnTo>
                  <a:lnTo>
                    <a:pt x="109" y="125"/>
                  </a:lnTo>
                  <a:lnTo>
                    <a:pt x="100" y="122"/>
                  </a:lnTo>
                  <a:lnTo>
                    <a:pt x="95" y="121"/>
                  </a:lnTo>
                  <a:lnTo>
                    <a:pt x="93" y="121"/>
                  </a:lnTo>
                  <a:lnTo>
                    <a:pt x="90" y="121"/>
                  </a:lnTo>
                  <a:lnTo>
                    <a:pt x="87" y="122"/>
                  </a:lnTo>
                  <a:lnTo>
                    <a:pt x="84" y="122"/>
                  </a:lnTo>
                  <a:lnTo>
                    <a:pt x="80" y="119"/>
                  </a:lnTo>
                  <a:lnTo>
                    <a:pt x="82" y="116"/>
                  </a:lnTo>
                  <a:lnTo>
                    <a:pt x="73" y="111"/>
                  </a:lnTo>
                  <a:lnTo>
                    <a:pt x="66" y="105"/>
                  </a:lnTo>
                  <a:lnTo>
                    <a:pt x="60" y="98"/>
                  </a:lnTo>
                  <a:lnTo>
                    <a:pt x="54" y="91"/>
                  </a:lnTo>
                  <a:lnTo>
                    <a:pt x="57" y="91"/>
                  </a:lnTo>
                  <a:lnTo>
                    <a:pt x="60" y="89"/>
                  </a:lnTo>
                  <a:lnTo>
                    <a:pt x="65" y="91"/>
                  </a:lnTo>
                  <a:lnTo>
                    <a:pt x="68" y="92"/>
                  </a:lnTo>
                  <a:lnTo>
                    <a:pt x="68" y="91"/>
                  </a:lnTo>
                  <a:lnTo>
                    <a:pt x="58" y="87"/>
                  </a:lnTo>
                  <a:lnTo>
                    <a:pt x="52" y="81"/>
                  </a:lnTo>
                  <a:lnTo>
                    <a:pt x="47" y="76"/>
                  </a:lnTo>
                  <a:lnTo>
                    <a:pt x="46" y="72"/>
                  </a:lnTo>
                  <a:lnTo>
                    <a:pt x="46" y="67"/>
                  </a:lnTo>
                  <a:lnTo>
                    <a:pt x="46" y="62"/>
                  </a:lnTo>
                  <a:lnTo>
                    <a:pt x="46" y="62"/>
                  </a:lnTo>
                  <a:lnTo>
                    <a:pt x="46" y="60"/>
                  </a:lnTo>
                  <a:lnTo>
                    <a:pt x="44" y="57"/>
                  </a:lnTo>
                  <a:lnTo>
                    <a:pt x="41" y="56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3" y="49"/>
                  </a:lnTo>
                  <a:lnTo>
                    <a:pt x="30" y="48"/>
                  </a:lnTo>
                  <a:lnTo>
                    <a:pt x="27" y="48"/>
                  </a:lnTo>
                  <a:lnTo>
                    <a:pt x="25" y="51"/>
                  </a:lnTo>
                  <a:lnTo>
                    <a:pt x="25" y="54"/>
                  </a:lnTo>
                  <a:lnTo>
                    <a:pt x="25" y="56"/>
                  </a:lnTo>
                  <a:lnTo>
                    <a:pt x="22" y="59"/>
                  </a:lnTo>
                  <a:lnTo>
                    <a:pt x="22" y="62"/>
                  </a:lnTo>
                  <a:lnTo>
                    <a:pt x="20" y="62"/>
                  </a:lnTo>
                  <a:lnTo>
                    <a:pt x="19" y="60"/>
                  </a:lnTo>
                  <a:lnTo>
                    <a:pt x="19" y="62"/>
                  </a:lnTo>
                  <a:lnTo>
                    <a:pt x="17" y="65"/>
                  </a:lnTo>
                  <a:lnTo>
                    <a:pt x="15" y="68"/>
                  </a:lnTo>
                  <a:lnTo>
                    <a:pt x="14" y="72"/>
                  </a:lnTo>
                  <a:lnTo>
                    <a:pt x="11" y="67"/>
                  </a:lnTo>
                  <a:lnTo>
                    <a:pt x="11" y="64"/>
                  </a:lnTo>
                  <a:lnTo>
                    <a:pt x="8" y="62"/>
                  </a:lnTo>
                  <a:lnTo>
                    <a:pt x="6" y="59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3" y="52"/>
                  </a:lnTo>
                  <a:lnTo>
                    <a:pt x="3" y="49"/>
                  </a:lnTo>
                  <a:lnTo>
                    <a:pt x="4" y="49"/>
                  </a:lnTo>
                  <a:lnTo>
                    <a:pt x="1" y="46"/>
                  </a:lnTo>
                  <a:lnTo>
                    <a:pt x="0" y="41"/>
                  </a:lnTo>
                  <a:lnTo>
                    <a:pt x="3" y="4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06" name="Freeform 502"/>
            <p:cNvSpPr>
              <a:spLocks noEditPoints="1"/>
            </p:cNvSpPr>
            <p:nvPr/>
          </p:nvSpPr>
          <p:spPr bwMode="auto">
            <a:xfrm>
              <a:off x="5841375" y="3236359"/>
              <a:ext cx="105866" cy="148934"/>
            </a:xfrm>
            <a:custGeom>
              <a:avLst/>
              <a:gdLst>
                <a:gd name="T0" fmla="*/ 11 w 143"/>
                <a:gd name="T1" fmla="*/ 8 h 176"/>
                <a:gd name="T2" fmla="*/ 28 w 143"/>
                <a:gd name="T3" fmla="*/ 0 h 176"/>
                <a:gd name="T4" fmla="*/ 43 w 143"/>
                <a:gd name="T5" fmla="*/ 2 h 176"/>
                <a:gd name="T6" fmla="*/ 60 w 143"/>
                <a:gd name="T7" fmla="*/ 15 h 176"/>
                <a:gd name="T8" fmla="*/ 65 w 143"/>
                <a:gd name="T9" fmla="*/ 26 h 176"/>
                <a:gd name="T10" fmla="*/ 84 w 143"/>
                <a:gd name="T11" fmla="*/ 38 h 176"/>
                <a:gd name="T12" fmla="*/ 89 w 143"/>
                <a:gd name="T13" fmla="*/ 53 h 176"/>
                <a:gd name="T14" fmla="*/ 95 w 143"/>
                <a:gd name="T15" fmla="*/ 61 h 176"/>
                <a:gd name="T16" fmla="*/ 109 w 143"/>
                <a:gd name="T17" fmla="*/ 67 h 176"/>
                <a:gd name="T18" fmla="*/ 125 w 143"/>
                <a:gd name="T19" fmla="*/ 62 h 176"/>
                <a:gd name="T20" fmla="*/ 120 w 143"/>
                <a:gd name="T21" fmla="*/ 69 h 176"/>
                <a:gd name="T22" fmla="*/ 128 w 143"/>
                <a:gd name="T23" fmla="*/ 78 h 176"/>
                <a:gd name="T24" fmla="*/ 120 w 143"/>
                <a:gd name="T25" fmla="*/ 94 h 176"/>
                <a:gd name="T26" fmla="*/ 132 w 143"/>
                <a:gd name="T27" fmla="*/ 111 h 176"/>
                <a:gd name="T28" fmla="*/ 139 w 143"/>
                <a:gd name="T29" fmla="*/ 126 h 176"/>
                <a:gd name="T30" fmla="*/ 130 w 143"/>
                <a:gd name="T31" fmla="*/ 132 h 176"/>
                <a:gd name="T32" fmla="*/ 125 w 143"/>
                <a:gd name="T33" fmla="*/ 143 h 176"/>
                <a:gd name="T34" fmla="*/ 120 w 143"/>
                <a:gd name="T35" fmla="*/ 154 h 176"/>
                <a:gd name="T36" fmla="*/ 106 w 143"/>
                <a:gd name="T37" fmla="*/ 156 h 176"/>
                <a:gd name="T38" fmla="*/ 98 w 143"/>
                <a:gd name="T39" fmla="*/ 153 h 176"/>
                <a:gd name="T40" fmla="*/ 101 w 143"/>
                <a:gd name="T41" fmla="*/ 140 h 176"/>
                <a:gd name="T42" fmla="*/ 92 w 143"/>
                <a:gd name="T43" fmla="*/ 134 h 176"/>
                <a:gd name="T44" fmla="*/ 76 w 143"/>
                <a:gd name="T45" fmla="*/ 123 h 176"/>
                <a:gd name="T46" fmla="*/ 63 w 143"/>
                <a:gd name="T47" fmla="*/ 119 h 176"/>
                <a:gd name="T48" fmla="*/ 60 w 143"/>
                <a:gd name="T49" fmla="*/ 130 h 176"/>
                <a:gd name="T50" fmla="*/ 52 w 143"/>
                <a:gd name="T51" fmla="*/ 130 h 176"/>
                <a:gd name="T52" fmla="*/ 40 w 143"/>
                <a:gd name="T53" fmla="*/ 124 h 176"/>
                <a:gd name="T54" fmla="*/ 28 w 143"/>
                <a:gd name="T55" fmla="*/ 118 h 176"/>
                <a:gd name="T56" fmla="*/ 17 w 143"/>
                <a:gd name="T57" fmla="*/ 110 h 176"/>
                <a:gd name="T58" fmla="*/ 27 w 143"/>
                <a:gd name="T59" fmla="*/ 104 h 176"/>
                <a:gd name="T60" fmla="*/ 17 w 143"/>
                <a:gd name="T61" fmla="*/ 89 h 176"/>
                <a:gd name="T62" fmla="*/ 25 w 143"/>
                <a:gd name="T63" fmla="*/ 84 h 176"/>
                <a:gd name="T64" fmla="*/ 13 w 143"/>
                <a:gd name="T65" fmla="*/ 73 h 176"/>
                <a:gd name="T66" fmla="*/ 19 w 143"/>
                <a:gd name="T67" fmla="*/ 59 h 176"/>
                <a:gd name="T68" fmla="*/ 9 w 143"/>
                <a:gd name="T69" fmla="*/ 53 h 176"/>
                <a:gd name="T70" fmla="*/ 14 w 143"/>
                <a:gd name="T71" fmla="*/ 40 h 176"/>
                <a:gd name="T72" fmla="*/ 14 w 143"/>
                <a:gd name="T73" fmla="*/ 37 h 176"/>
                <a:gd name="T74" fmla="*/ 8 w 143"/>
                <a:gd name="T75" fmla="*/ 27 h 176"/>
                <a:gd name="T76" fmla="*/ 3 w 143"/>
                <a:gd name="T77" fmla="*/ 19 h 176"/>
                <a:gd name="T78" fmla="*/ 84 w 143"/>
                <a:gd name="T79" fmla="*/ 54 h 176"/>
                <a:gd name="T80" fmla="*/ 84 w 143"/>
                <a:gd name="T81" fmla="*/ 54 h 176"/>
                <a:gd name="T82" fmla="*/ 55 w 143"/>
                <a:gd name="T83" fmla="*/ 135 h 176"/>
                <a:gd name="T84" fmla="*/ 62 w 143"/>
                <a:gd name="T85" fmla="*/ 129 h 176"/>
                <a:gd name="T86" fmla="*/ 67 w 143"/>
                <a:gd name="T87" fmla="*/ 119 h 176"/>
                <a:gd name="T88" fmla="*/ 82 w 143"/>
                <a:gd name="T89" fmla="*/ 127 h 176"/>
                <a:gd name="T90" fmla="*/ 90 w 143"/>
                <a:gd name="T91" fmla="*/ 138 h 176"/>
                <a:gd name="T92" fmla="*/ 101 w 143"/>
                <a:gd name="T93" fmla="*/ 145 h 176"/>
                <a:gd name="T94" fmla="*/ 97 w 143"/>
                <a:gd name="T95" fmla="*/ 159 h 176"/>
                <a:gd name="T96" fmla="*/ 89 w 143"/>
                <a:gd name="T97" fmla="*/ 162 h 176"/>
                <a:gd name="T98" fmla="*/ 78 w 143"/>
                <a:gd name="T99" fmla="*/ 164 h 176"/>
                <a:gd name="T100" fmla="*/ 65 w 143"/>
                <a:gd name="T101" fmla="*/ 176 h 176"/>
                <a:gd name="T102" fmla="*/ 63 w 143"/>
                <a:gd name="T103" fmla="*/ 162 h 176"/>
                <a:gd name="T104" fmla="*/ 52 w 143"/>
                <a:gd name="T105" fmla="*/ 153 h 176"/>
                <a:gd name="T106" fmla="*/ 46 w 143"/>
                <a:gd name="T107" fmla="*/ 14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3" h="176">
                  <a:moveTo>
                    <a:pt x="0" y="12"/>
                  </a:moveTo>
                  <a:lnTo>
                    <a:pt x="3" y="10"/>
                  </a:lnTo>
                  <a:lnTo>
                    <a:pt x="3" y="10"/>
                  </a:lnTo>
                  <a:lnTo>
                    <a:pt x="8" y="8"/>
                  </a:lnTo>
                  <a:lnTo>
                    <a:pt x="8" y="7"/>
                  </a:lnTo>
                  <a:lnTo>
                    <a:pt x="11" y="8"/>
                  </a:lnTo>
                  <a:lnTo>
                    <a:pt x="16" y="8"/>
                  </a:lnTo>
                  <a:lnTo>
                    <a:pt x="17" y="5"/>
                  </a:lnTo>
                  <a:lnTo>
                    <a:pt x="21" y="4"/>
                  </a:lnTo>
                  <a:lnTo>
                    <a:pt x="24" y="0"/>
                  </a:lnTo>
                  <a:lnTo>
                    <a:pt x="25" y="0"/>
                  </a:lnTo>
                  <a:lnTo>
                    <a:pt x="28" y="0"/>
                  </a:lnTo>
                  <a:lnTo>
                    <a:pt x="32" y="2"/>
                  </a:lnTo>
                  <a:lnTo>
                    <a:pt x="35" y="0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40" y="2"/>
                  </a:lnTo>
                  <a:lnTo>
                    <a:pt x="43" y="2"/>
                  </a:lnTo>
                  <a:lnTo>
                    <a:pt x="46" y="4"/>
                  </a:lnTo>
                  <a:lnTo>
                    <a:pt x="47" y="5"/>
                  </a:lnTo>
                  <a:lnTo>
                    <a:pt x="51" y="8"/>
                  </a:lnTo>
                  <a:lnTo>
                    <a:pt x="54" y="10"/>
                  </a:lnTo>
                  <a:lnTo>
                    <a:pt x="57" y="12"/>
                  </a:lnTo>
                  <a:lnTo>
                    <a:pt x="60" y="15"/>
                  </a:lnTo>
                  <a:lnTo>
                    <a:pt x="60" y="16"/>
                  </a:lnTo>
                  <a:lnTo>
                    <a:pt x="62" y="18"/>
                  </a:lnTo>
                  <a:lnTo>
                    <a:pt x="65" y="16"/>
                  </a:lnTo>
                  <a:lnTo>
                    <a:pt x="65" y="21"/>
                  </a:lnTo>
                  <a:lnTo>
                    <a:pt x="63" y="23"/>
                  </a:lnTo>
                  <a:lnTo>
                    <a:pt x="65" y="26"/>
                  </a:lnTo>
                  <a:lnTo>
                    <a:pt x="65" y="27"/>
                  </a:lnTo>
                  <a:lnTo>
                    <a:pt x="71" y="34"/>
                  </a:lnTo>
                  <a:lnTo>
                    <a:pt x="79" y="37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4" y="38"/>
                  </a:lnTo>
                  <a:lnTo>
                    <a:pt x="87" y="40"/>
                  </a:lnTo>
                  <a:lnTo>
                    <a:pt x="87" y="40"/>
                  </a:lnTo>
                  <a:lnTo>
                    <a:pt x="87" y="43"/>
                  </a:lnTo>
                  <a:lnTo>
                    <a:pt x="84" y="48"/>
                  </a:lnTo>
                  <a:lnTo>
                    <a:pt x="89" y="50"/>
                  </a:lnTo>
                  <a:lnTo>
                    <a:pt x="89" y="53"/>
                  </a:lnTo>
                  <a:lnTo>
                    <a:pt x="84" y="54"/>
                  </a:lnTo>
                  <a:lnTo>
                    <a:pt x="86" y="56"/>
                  </a:lnTo>
                  <a:lnTo>
                    <a:pt x="89" y="56"/>
                  </a:lnTo>
                  <a:lnTo>
                    <a:pt x="92" y="58"/>
                  </a:lnTo>
                  <a:lnTo>
                    <a:pt x="93" y="59"/>
                  </a:lnTo>
                  <a:lnTo>
                    <a:pt x="95" y="61"/>
                  </a:lnTo>
                  <a:lnTo>
                    <a:pt x="98" y="61"/>
                  </a:lnTo>
                  <a:lnTo>
                    <a:pt x="103" y="62"/>
                  </a:lnTo>
                  <a:lnTo>
                    <a:pt x="106" y="62"/>
                  </a:lnTo>
                  <a:lnTo>
                    <a:pt x="106" y="64"/>
                  </a:lnTo>
                  <a:lnTo>
                    <a:pt x="106" y="64"/>
                  </a:lnTo>
                  <a:lnTo>
                    <a:pt x="109" y="67"/>
                  </a:lnTo>
                  <a:lnTo>
                    <a:pt x="112" y="67"/>
                  </a:lnTo>
                  <a:lnTo>
                    <a:pt x="114" y="64"/>
                  </a:lnTo>
                  <a:lnTo>
                    <a:pt x="114" y="64"/>
                  </a:lnTo>
                  <a:lnTo>
                    <a:pt x="117" y="61"/>
                  </a:lnTo>
                  <a:lnTo>
                    <a:pt x="122" y="59"/>
                  </a:lnTo>
                  <a:lnTo>
                    <a:pt x="125" y="62"/>
                  </a:lnTo>
                  <a:lnTo>
                    <a:pt x="128" y="62"/>
                  </a:lnTo>
                  <a:lnTo>
                    <a:pt x="130" y="65"/>
                  </a:lnTo>
                  <a:lnTo>
                    <a:pt x="128" y="67"/>
                  </a:lnTo>
                  <a:lnTo>
                    <a:pt x="125" y="65"/>
                  </a:lnTo>
                  <a:lnTo>
                    <a:pt x="122" y="69"/>
                  </a:lnTo>
                  <a:lnTo>
                    <a:pt x="120" y="69"/>
                  </a:lnTo>
                  <a:lnTo>
                    <a:pt x="122" y="70"/>
                  </a:lnTo>
                  <a:lnTo>
                    <a:pt x="122" y="70"/>
                  </a:lnTo>
                  <a:lnTo>
                    <a:pt x="122" y="72"/>
                  </a:lnTo>
                  <a:lnTo>
                    <a:pt x="125" y="75"/>
                  </a:lnTo>
                  <a:lnTo>
                    <a:pt x="127" y="75"/>
                  </a:lnTo>
                  <a:lnTo>
                    <a:pt x="128" y="78"/>
                  </a:lnTo>
                  <a:lnTo>
                    <a:pt x="128" y="80"/>
                  </a:lnTo>
                  <a:lnTo>
                    <a:pt x="127" y="83"/>
                  </a:lnTo>
                  <a:lnTo>
                    <a:pt x="125" y="86"/>
                  </a:lnTo>
                  <a:lnTo>
                    <a:pt x="124" y="88"/>
                  </a:lnTo>
                  <a:lnTo>
                    <a:pt x="120" y="89"/>
                  </a:lnTo>
                  <a:lnTo>
                    <a:pt x="120" y="94"/>
                  </a:lnTo>
                  <a:lnTo>
                    <a:pt x="120" y="97"/>
                  </a:lnTo>
                  <a:lnTo>
                    <a:pt x="122" y="100"/>
                  </a:lnTo>
                  <a:lnTo>
                    <a:pt x="124" y="104"/>
                  </a:lnTo>
                  <a:lnTo>
                    <a:pt x="125" y="107"/>
                  </a:lnTo>
                  <a:lnTo>
                    <a:pt x="127" y="110"/>
                  </a:lnTo>
                  <a:lnTo>
                    <a:pt x="132" y="111"/>
                  </a:lnTo>
                  <a:lnTo>
                    <a:pt x="133" y="113"/>
                  </a:lnTo>
                  <a:lnTo>
                    <a:pt x="136" y="116"/>
                  </a:lnTo>
                  <a:lnTo>
                    <a:pt x="139" y="119"/>
                  </a:lnTo>
                  <a:lnTo>
                    <a:pt x="143" y="121"/>
                  </a:lnTo>
                  <a:lnTo>
                    <a:pt x="141" y="121"/>
                  </a:lnTo>
                  <a:lnTo>
                    <a:pt x="139" y="126"/>
                  </a:lnTo>
                  <a:lnTo>
                    <a:pt x="138" y="129"/>
                  </a:lnTo>
                  <a:lnTo>
                    <a:pt x="136" y="129"/>
                  </a:lnTo>
                  <a:lnTo>
                    <a:pt x="135" y="129"/>
                  </a:lnTo>
                  <a:lnTo>
                    <a:pt x="133" y="132"/>
                  </a:lnTo>
                  <a:lnTo>
                    <a:pt x="130" y="132"/>
                  </a:lnTo>
                  <a:lnTo>
                    <a:pt x="130" y="132"/>
                  </a:lnTo>
                  <a:lnTo>
                    <a:pt x="127" y="134"/>
                  </a:lnTo>
                  <a:lnTo>
                    <a:pt x="124" y="135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40"/>
                  </a:lnTo>
                  <a:lnTo>
                    <a:pt x="125" y="143"/>
                  </a:lnTo>
                  <a:lnTo>
                    <a:pt x="125" y="145"/>
                  </a:lnTo>
                  <a:lnTo>
                    <a:pt x="128" y="148"/>
                  </a:lnTo>
                  <a:lnTo>
                    <a:pt x="128" y="151"/>
                  </a:lnTo>
                  <a:lnTo>
                    <a:pt x="127" y="153"/>
                  </a:lnTo>
                  <a:lnTo>
                    <a:pt x="122" y="156"/>
                  </a:lnTo>
                  <a:lnTo>
                    <a:pt x="120" y="154"/>
                  </a:lnTo>
                  <a:lnTo>
                    <a:pt x="120" y="154"/>
                  </a:lnTo>
                  <a:lnTo>
                    <a:pt x="117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08" y="154"/>
                  </a:lnTo>
                  <a:lnTo>
                    <a:pt x="106" y="156"/>
                  </a:lnTo>
                  <a:lnTo>
                    <a:pt x="103" y="157"/>
                  </a:lnTo>
                  <a:lnTo>
                    <a:pt x="101" y="159"/>
                  </a:lnTo>
                  <a:lnTo>
                    <a:pt x="101" y="159"/>
                  </a:lnTo>
                  <a:lnTo>
                    <a:pt x="97" y="159"/>
                  </a:lnTo>
                  <a:lnTo>
                    <a:pt x="95" y="154"/>
                  </a:lnTo>
                  <a:lnTo>
                    <a:pt x="98" y="153"/>
                  </a:lnTo>
                  <a:lnTo>
                    <a:pt x="98" y="150"/>
                  </a:lnTo>
                  <a:lnTo>
                    <a:pt x="100" y="150"/>
                  </a:lnTo>
                  <a:lnTo>
                    <a:pt x="101" y="148"/>
                  </a:lnTo>
                  <a:lnTo>
                    <a:pt x="101" y="145"/>
                  </a:lnTo>
                  <a:lnTo>
                    <a:pt x="103" y="142"/>
                  </a:lnTo>
                  <a:lnTo>
                    <a:pt x="101" y="140"/>
                  </a:lnTo>
                  <a:lnTo>
                    <a:pt x="100" y="140"/>
                  </a:lnTo>
                  <a:lnTo>
                    <a:pt x="97" y="140"/>
                  </a:lnTo>
                  <a:lnTo>
                    <a:pt x="90" y="138"/>
                  </a:lnTo>
                  <a:lnTo>
                    <a:pt x="90" y="138"/>
                  </a:lnTo>
                  <a:lnTo>
                    <a:pt x="92" y="135"/>
                  </a:lnTo>
                  <a:lnTo>
                    <a:pt x="92" y="134"/>
                  </a:lnTo>
                  <a:lnTo>
                    <a:pt x="87" y="132"/>
                  </a:lnTo>
                  <a:lnTo>
                    <a:pt x="84" y="130"/>
                  </a:lnTo>
                  <a:lnTo>
                    <a:pt x="84" y="130"/>
                  </a:lnTo>
                  <a:lnTo>
                    <a:pt x="82" y="127"/>
                  </a:lnTo>
                  <a:lnTo>
                    <a:pt x="78" y="124"/>
                  </a:lnTo>
                  <a:lnTo>
                    <a:pt x="76" y="123"/>
                  </a:lnTo>
                  <a:lnTo>
                    <a:pt x="74" y="123"/>
                  </a:lnTo>
                  <a:lnTo>
                    <a:pt x="71" y="121"/>
                  </a:lnTo>
                  <a:lnTo>
                    <a:pt x="70" y="118"/>
                  </a:lnTo>
                  <a:lnTo>
                    <a:pt x="67" y="119"/>
                  </a:lnTo>
                  <a:lnTo>
                    <a:pt x="67" y="119"/>
                  </a:lnTo>
                  <a:lnTo>
                    <a:pt x="63" y="119"/>
                  </a:lnTo>
                  <a:lnTo>
                    <a:pt x="65" y="123"/>
                  </a:lnTo>
                  <a:lnTo>
                    <a:pt x="65" y="126"/>
                  </a:lnTo>
                  <a:lnTo>
                    <a:pt x="65" y="127"/>
                  </a:lnTo>
                  <a:lnTo>
                    <a:pt x="62" y="129"/>
                  </a:lnTo>
                  <a:lnTo>
                    <a:pt x="62" y="129"/>
                  </a:lnTo>
                  <a:lnTo>
                    <a:pt x="60" y="130"/>
                  </a:lnTo>
                  <a:lnTo>
                    <a:pt x="62" y="134"/>
                  </a:lnTo>
                  <a:lnTo>
                    <a:pt x="60" y="134"/>
                  </a:lnTo>
                  <a:lnTo>
                    <a:pt x="55" y="135"/>
                  </a:lnTo>
                  <a:lnTo>
                    <a:pt x="57" y="135"/>
                  </a:lnTo>
                  <a:lnTo>
                    <a:pt x="55" y="132"/>
                  </a:lnTo>
                  <a:lnTo>
                    <a:pt x="52" y="130"/>
                  </a:lnTo>
                  <a:lnTo>
                    <a:pt x="49" y="129"/>
                  </a:lnTo>
                  <a:lnTo>
                    <a:pt x="49" y="129"/>
                  </a:lnTo>
                  <a:lnTo>
                    <a:pt x="47" y="129"/>
                  </a:lnTo>
                  <a:lnTo>
                    <a:pt x="47" y="127"/>
                  </a:lnTo>
                  <a:lnTo>
                    <a:pt x="43" y="126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6" y="123"/>
                  </a:lnTo>
                  <a:lnTo>
                    <a:pt x="35" y="123"/>
                  </a:lnTo>
                  <a:lnTo>
                    <a:pt x="35" y="121"/>
                  </a:lnTo>
                  <a:lnTo>
                    <a:pt x="32" y="121"/>
                  </a:lnTo>
                  <a:lnTo>
                    <a:pt x="28" y="118"/>
                  </a:lnTo>
                  <a:lnTo>
                    <a:pt x="25" y="115"/>
                  </a:lnTo>
                  <a:lnTo>
                    <a:pt x="25" y="115"/>
                  </a:lnTo>
                  <a:lnTo>
                    <a:pt x="24" y="113"/>
                  </a:lnTo>
                  <a:lnTo>
                    <a:pt x="22" y="111"/>
                  </a:lnTo>
                  <a:lnTo>
                    <a:pt x="19" y="110"/>
                  </a:lnTo>
                  <a:lnTo>
                    <a:pt x="17" y="110"/>
                  </a:lnTo>
                  <a:lnTo>
                    <a:pt x="17" y="110"/>
                  </a:lnTo>
                  <a:lnTo>
                    <a:pt x="17" y="107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4" y="105"/>
                  </a:lnTo>
                  <a:lnTo>
                    <a:pt x="27" y="104"/>
                  </a:lnTo>
                  <a:lnTo>
                    <a:pt x="27" y="99"/>
                  </a:lnTo>
                  <a:lnTo>
                    <a:pt x="25" y="97"/>
                  </a:lnTo>
                  <a:lnTo>
                    <a:pt x="25" y="97"/>
                  </a:lnTo>
                  <a:lnTo>
                    <a:pt x="24" y="96"/>
                  </a:lnTo>
                  <a:lnTo>
                    <a:pt x="21" y="92"/>
                  </a:lnTo>
                  <a:lnTo>
                    <a:pt x="17" y="89"/>
                  </a:lnTo>
                  <a:lnTo>
                    <a:pt x="19" y="88"/>
                  </a:lnTo>
                  <a:lnTo>
                    <a:pt x="22" y="89"/>
                  </a:lnTo>
                  <a:lnTo>
                    <a:pt x="25" y="89"/>
                  </a:lnTo>
                  <a:lnTo>
                    <a:pt x="28" y="86"/>
                  </a:lnTo>
                  <a:lnTo>
                    <a:pt x="28" y="86"/>
                  </a:lnTo>
                  <a:lnTo>
                    <a:pt x="25" y="84"/>
                  </a:lnTo>
                  <a:lnTo>
                    <a:pt x="25" y="83"/>
                  </a:lnTo>
                  <a:lnTo>
                    <a:pt x="22" y="81"/>
                  </a:lnTo>
                  <a:lnTo>
                    <a:pt x="19" y="77"/>
                  </a:lnTo>
                  <a:lnTo>
                    <a:pt x="16" y="77"/>
                  </a:lnTo>
                  <a:lnTo>
                    <a:pt x="14" y="77"/>
                  </a:lnTo>
                  <a:lnTo>
                    <a:pt x="13" y="73"/>
                  </a:lnTo>
                  <a:lnTo>
                    <a:pt x="13" y="72"/>
                  </a:lnTo>
                  <a:lnTo>
                    <a:pt x="13" y="69"/>
                  </a:lnTo>
                  <a:lnTo>
                    <a:pt x="14" y="65"/>
                  </a:lnTo>
                  <a:lnTo>
                    <a:pt x="14" y="65"/>
                  </a:lnTo>
                  <a:lnTo>
                    <a:pt x="17" y="61"/>
                  </a:lnTo>
                  <a:lnTo>
                    <a:pt x="19" y="59"/>
                  </a:lnTo>
                  <a:lnTo>
                    <a:pt x="19" y="56"/>
                  </a:lnTo>
                  <a:lnTo>
                    <a:pt x="19" y="51"/>
                  </a:lnTo>
                  <a:lnTo>
                    <a:pt x="17" y="51"/>
                  </a:lnTo>
                  <a:lnTo>
                    <a:pt x="14" y="51"/>
                  </a:lnTo>
                  <a:lnTo>
                    <a:pt x="13" y="51"/>
                  </a:lnTo>
                  <a:lnTo>
                    <a:pt x="9" y="53"/>
                  </a:lnTo>
                  <a:lnTo>
                    <a:pt x="8" y="53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46"/>
                  </a:lnTo>
                  <a:lnTo>
                    <a:pt x="9" y="42"/>
                  </a:lnTo>
                  <a:lnTo>
                    <a:pt x="14" y="40"/>
                  </a:lnTo>
                  <a:lnTo>
                    <a:pt x="21" y="40"/>
                  </a:lnTo>
                  <a:lnTo>
                    <a:pt x="21" y="38"/>
                  </a:lnTo>
                  <a:lnTo>
                    <a:pt x="19" y="38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3" y="37"/>
                  </a:lnTo>
                  <a:lnTo>
                    <a:pt x="11" y="35"/>
                  </a:lnTo>
                  <a:lnTo>
                    <a:pt x="8" y="34"/>
                  </a:lnTo>
                  <a:lnTo>
                    <a:pt x="8" y="29"/>
                  </a:lnTo>
                  <a:lnTo>
                    <a:pt x="8" y="27"/>
                  </a:lnTo>
                  <a:lnTo>
                    <a:pt x="9" y="26"/>
                  </a:lnTo>
                  <a:lnTo>
                    <a:pt x="9" y="26"/>
                  </a:lnTo>
                  <a:lnTo>
                    <a:pt x="8" y="26"/>
                  </a:lnTo>
                  <a:lnTo>
                    <a:pt x="5" y="26"/>
                  </a:lnTo>
                  <a:lnTo>
                    <a:pt x="5" y="23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5" y="16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0" y="12"/>
                  </a:lnTo>
                  <a:close/>
                  <a:moveTo>
                    <a:pt x="84" y="54"/>
                  </a:moveTo>
                  <a:lnTo>
                    <a:pt x="82" y="56"/>
                  </a:lnTo>
                  <a:lnTo>
                    <a:pt x="81" y="56"/>
                  </a:lnTo>
                  <a:lnTo>
                    <a:pt x="79" y="56"/>
                  </a:lnTo>
                  <a:lnTo>
                    <a:pt x="79" y="58"/>
                  </a:lnTo>
                  <a:lnTo>
                    <a:pt x="81" y="56"/>
                  </a:lnTo>
                  <a:lnTo>
                    <a:pt x="84" y="54"/>
                  </a:lnTo>
                  <a:close/>
                  <a:moveTo>
                    <a:pt x="46" y="140"/>
                  </a:moveTo>
                  <a:lnTo>
                    <a:pt x="46" y="138"/>
                  </a:lnTo>
                  <a:lnTo>
                    <a:pt x="49" y="138"/>
                  </a:lnTo>
                  <a:lnTo>
                    <a:pt x="51" y="138"/>
                  </a:lnTo>
                  <a:lnTo>
                    <a:pt x="52" y="137"/>
                  </a:lnTo>
                  <a:lnTo>
                    <a:pt x="55" y="135"/>
                  </a:lnTo>
                  <a:lnTo>
                    <a:pt x="55" y="135"/>
                  </a:lnTo>
                  <a:lnTo>
                    <a:pt x="60" y="134"/>
                  </a:lnTo>
                  <a:lnTo>
                    <a:pt x="62" y="134"/>
                  </a:lnTo>
                  <a:lnTo>
                    <a:pt x="60" y="130"/>
                  </a:lnTo>
                  <a:lnTo>
                    <a:pt x="62" y="129"/>
                  </a:lnTo>
                  <a:lnTo>
                    <a:pt x="62" y="129"/>
                  </a:lnTo>
                  <a:lnTo>
                    <a:pt x="65" y="127"/>
                  </a:lnTo>
                  <a:lnTo>
                    <a:pt x="65" y="126"/>
                  </a:lnTo>
                  <a:lnTo>
                    <a:pt x="65" y="123"/>
                  </a:lnTo>
                  <a:lnTo>
                    <a:pt x="63" y="119"/>
                  </a:lnTo>
                  <a:lnTo>
                    <a:pt x="67" y="119"/>
                  </a:lnTo>
                  <a:lnTo>
                    <a:pt x="67" y="119"/>
                  </a:lnTo>
                  <a:lnTo>
                    <a:pt x="70" y="118"/>
                  </a:lnTo>
                  <a:lnTo>
                    <a:pt x="71" y="121"/>
                  </a:lnTo>
                  <a:lnTo>
                    <a:pt x="74" y="123"/>
                  </a:lnTo>
                  <a:lnTo>
                    <a:pt x="76" y="123"/>
                  </a:lnTo>
                  <a:lnTo>
                    <a:pt x="78" y="124"/>
                  </a:lnTo>
                  <a:lnTo>
                    <a:pt x="82" y="127"/>
                  </a:lnTo>
                  <a:lnTo>
                    <a:pt x="84" y="130"/>
                  </a:lnTo>
                  <a:lnTo>
                    <a:pt x="84" y="130"/>
                  </a:lnTo>
                  <a:lnTo>
                    <a:pt x="87" y="132"/>
                  </a:lnTo>
                  <a:lnTo>
                    <a:pt x="92" y="134"/>
                  </a:lnTo>
                  <a:lnTo>
                    <a:pt x="92" y="135"/>
                  </a:lnTo>
                  <a:lnTo>
                    <a:pt x="90" y="138"/>
                  </a:lnTo>
                  <a:lnTo>
                    <a:pt x="90" y="138"/>
                  </a:lnTo>
                  <a:lnTo>
                    <a:pt x="97" y="140"/>
                  </a:lnTo>
                  <a:lnTo>
                    <a:pt x="100" y="140"/>
                  </a:lnTo>
                  <a:lnTo>
                    <a:pt x="101" y="140"/>
                  </a:lnTo>
                  <a:lnTo>
                    <a:pt x="103" y="142"/>
                  </a:lnTo>
                  <a:lnTo>
                    <a:pt x="101" y="145"/>
                  </a:lnTo>
                  <a:lnTo>
                    <a:pt x="101" y="148"/>
                  </a:lnTo>
                  <a:lnTo>
                    <a:pt x="100" y="150"/>
                  </a:lnTo>
                  <a:lnTo>
                    <a:pt x="98" y="150"/>
                  </a:lnTo>
                  <a:lnTo>
                    <a:pt x="98" y="153"/>
                  </a:lnTo>
                  <a:lnTo>
                    <a:pt x="95" y="154"/>
                  </a:lnTo>
                  <a:lnTo>
                    <a:pt x="97" y="159"/>
                  </a:lnTo>
                  <a:lnTo>
                    <a:pt x="95" y="159"/>
                  </a:lnTo>
                  <a:lnTo>
                    <a:pt x="93" y="159"/>
                  </a:lnTo>
                  <a:lnTo>
                    <a:pt x="90" y="159"/>
                  </a:lnTo>
                  <a:lnTo>
                    <a:pt x="90" y="161"/>
                  </a:lnTo>
                  <a:lnTo>
                    <a:pt x="90" y="161"/>
                  </a:lnTo>
                  <a:lnTo>
                    <a:pt x="89" y="162"/>
                  </a:lnTo>
                  <a:lnTo>
                    <a:pt x="89" y="164"/>
                  </a:lnTo>
                  <a:lnTo>
                    <a:pt x="87" y="164"/>
                  </a:lnTo>
                  <a:lnTo>
                    <a:pt x="84" y="162"/>
                  </a:lnTo>
                  <a:lnTo>
                    <a:pt x="82" y="161"/>
                  </a:lnTo>
                  <a:lnTo>
                    <a:pt x="81" y="161"/>
                  </a:lnTo>
                  <a:lnTo>
                    <a:pt x="78" y="164"/>
                  </a:lnTo>
                  <a:lnTo>
                    <a:pt x="74" y="164"/>
                  </a:lnTo>
                  <a:lnTo>
                    <a:pt x="71" y="165"/>
                  </a:lnTo>
                  <a:lnTo>
                    <a:pt x="71" y="169"/>
                  </a:lnTo>
                  <a:lnTo>
                    <a:pt x="71" y="172"/>
                  </a:lnTo>
                  <a:lnTo>
                    <a:pt x="68" y="175"/>
                  </a:lnTo>
                  <a:lnTo>
                    <a:pt x="65" y="176"/>
                  </a:lnTo>
                  <a:lnTo>
                    <a:pt x="65" y="173"/>
                  </a:lnTo>
                  <a:lnTo>
                    <a:pt x="67" y="170"/>
                  </a:lnTo>
                  <a:lnTo>
                    <a:pt x="65" y="167"/>
                  </a:lnTo>
                  <a:lnTo>
                    <a:pt x="65" y="164"/>
                  </a:lnTo>
                  <a:lnTo>
                    <a:pt x="63" y="162"/>
                  </a:lnTo>
                  <a:lnTo>
                    <a:pt x="63" y="162"/>
                  </a:lnTo>
                  <a:lnTo>
                    <a:pt x="62" y="159"/>
                  </a:lnTo>
                  <a:lnTo>
                    <a:pt x="62" y="159"/>
                  </a:lnTo>
                  <a:lnTo>
                    <a:pt x="59" y="156"/>
                  </a:lnTo>
                  <a:lnTo>
                    <a:pt x="57" y="156"/>
                  </a:lnTo>
                  <a:lnTo>
                    <a:pt x="54" y="156"/>
                  </a:lnTo>
                  <a:lnTo>
                    <a:pt x="52" y="153"/>
                  </a:lnTo>
                  <a:lnTo>
                    <a:pt x="51" y="150"/>
                  </a:lnTo>
                  <a:lnTo>
                    <a:pt x="47" y="146"/>
                  </a:lnTo>
                  <a:lnTo>
                    <a:pt x="47" y="143"/>
                  </a:lnTo>
                  <a:lnTo>
                    <a:pt x="49" y="142"/>
                  </a:lnTo>
                  <a:lnTo>
                    <a:pt x="47" y="140"/>
                  </a:lnTo>
                  <a:lnTo>
                    <a:pt x="46" y="14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07" name="Freeform 503"/>
            <p:cNvSpPr>
              <a:spLocks/>
            </p:cNvSpPr>
            <p:nvPr/>
          </p:nvSpPr>
          <p:spPr bwMode="auto">
            <a:xfrm>
              <a:off x="5875193" y="3165276"/>
              <a:ext cx="224965" cy="155703"/>
            </a:xfrm>
            <a:custGeom>
              <a:avLst/>
              <a:gdLst>
                <a:gd name="T0" fmla="*/ 14 w 306"/>
                <a:gd name="T1" fmla="*/ 84 h 184"/>
                <a:gd name="T2" fmla="*/ 24 w 306"/>
                <a:gd name="T3" fmla="*/ 79 h 184"/>
                <a:gd name="T4" fmla="*/ 33 w 306"/>
                <a:gd name="T5" fmla="*/ 65 h 184"/>
                <a:gd name="T6" fmla="*/ 43 w 306"/>
                <a:gd name="T7" fmla="*/ 52 h 184"/>
                <a:gd name="T8" fmla="*/ 49 w 306"/>
                <a:gd name="T9" fmla="*/ 41 h 184"/>
                <a:gd name="T10" fmla="*/ 57 w 306"/>
                <a:gd name="T11" fmla="*/ 27 h 184"/>
                <a:gd name="T12" fmla="*/ 74 w 306"/>
                <a:gd name="T13" fmla="*/ 16 h 184"/>
                <a:gd name="T14" fmla="*/ 93 w 306"/>
                <a:gd name="T15" fmla="*/ 8 h 184"/>
                <a:gd name="T16" fmla="*/ 108 w 306"/>
                <a:gd name="T17" fmla="*/ 11 h 184"/>
                <a:gd name="T18" fmla="*/ 128 w 306"/>
                <a:gd name="T19" fmla="*/ 11 h 184"/>
                <a:gd name="T20" fmla="*/ 146 w 306"/>
                <a:gd name="T21" fmla="*/ 21 h 184"/>
                <a:gd name="T22" fmla="*/ 158 w 306"/>
                <a:gd name="T23" fmla="*/ 13 h 184"/>
                <a:gd name="T24" fmla="*/ 182 w 306"/>
                <a:gd name="T25" fmla="*/ 11 h 184"/>
                <a:gd name="T26" fmla="*/ 195 w 306"/>
                <a:gd name="T27" fmla="*/ 2 h 184"/>
                <a:gd name="T28" fmla="*/ 214 w 306"/>
                <a:gd name="T29" fmla="*/ 9 h 184"/>
                <a:gd name="T30" fmla="*/ 224 w 306"/>
                <a:gd name="T31" fmla="*/ 25 h 184"/>
                <a:gd name="T32" fmla="*/ 235 w 306"/>
                <a:gd name="T33" fmla="*/ 38 h 184"/>
                <a:gd name="T34" fmla="*/ 249 w 306"/>
                <a:gd name="T35" fmla="*/ 52 h 184"/>
                <a:gd name="T36" fmla="*/ 255 w 306"/>
                <a:gd name="T37" fmla="*/ 68 h 184"/>
                <a:gd name="T38" fmla="*/ 254 w 306"/>
                <a:gd name="T39" fmla="*/ 84 h 184"/>
                <a:gd name="T40" fmla="*/ 255 w 306"/>
                <a:gd name="T41" fmla="*/ 103 h 184"/>
                <a:gd name="T42" fmla="*/ 277 w 306"/>
                <a:gd name="T43" fmla="*/ 117 h 184"/>
                <a:gd name="T44" fmla="*/ 290 w 306"/>
                <a:gd name="T45" fmla="*/ 113 h 184"/>
                <a:gd name="T46" fmla="*/ 301 w 306"/>
                <a:gd name="T47" fmla="*/ 114 h 184"/>
                <a:gd name="T48" fmla="*/ 306 w 306"/>
                <a:gd name="T49" fmla="*/ 135 h 184"/>
                <a:gd name="T50" fmla="*/ 285 w 306"/>
                <a:gd name="T51" fmla="*/ 140 h 184"/>
                <a:gd name="T52" fmla="*/ 284 w 306"/>
                <a:gd name="T53" fmla="*/ 136 h 184"/>
                <a:gd name="T54" fmla="*/ 285 w 306"/>
                <a:gd name="T55" fmla="*/ 143 h 184"/>
                <a:gd name="T56" fmla="*/ 281 w 306"/>
                <a:gd name="T57" fmla="*/ 152 h 184"/>
                <a:gd name="T58" fmla="*/ 277 w 306"/>
                <a:gd name="T59" fmla="*/ 173 h 184"/>
                <a:gd name="T60" fmla="*/ 254 w 306"/>
                <a:gd name="T61" fmla="*/ 170 h 184"/>
                <a:gd name="T62" fmla="*/ 233 w 306"/>
                <a:gd name="T63" fmla="*/ 165 h 184"/>
                <a:gd name="T64" fmla="*/ 220 w 306"/>
                <a:gd name="T65" fmla="*/ 165 h 184"/>
                <a:gd name="T66" fmla="*/ 203 w 306"/>
                <a:gd name="T67" fmla="*/ 168 h 184"/>
                <a:gd name="T68" fmla="*/ 197 w 306"/>
                <a:gd name="T69" fmla="*/ 170 h 184"/>
                <a:gd name="T70" fmla="*/ 192 w 306"/>
                <a:gd name="T71" fmla="*/ 174 h 184"/>
                <a:gd name="T72" fmla="*/ 182 w 306"/>
                <a:gd name="T73" fmla="*/ 182 h 184"/>
                <a:gd name="T74" fmla="*/ 160 w 306"/>
                <a:gd name="T75" fmla="*/ 181 h 184"/>
                <a:gd name="T76" fmla="*/ 146 w 306"/>
                <a:gd name="T77" fmla="*/ 179 h 184"/>
                <a:gd name="T78" fmla="*/ 132 w 306"/>
                <a:gd name="T79" fmla="*/ 182 h 184"/>
                <a:gd name="T80" fmla="*/ 122 w 306"/>
                <a:gd name="T81" fmla="*/ 179 h 184"/>
                <a:gd name="T82" fmla="*/ 111 w 306"/>
                <a:gd name="T83" fmla="*/ 176 h 184"/>
                <a:gd name="T84" fmla="*/ 100 w 306"/>
                <a:gd name="T85" fmla="*/ 178 h 184"/>
                <a:gd name="T86" fmla="*/ 89 w 306"/>
                <a:gd name="T87" fmla="*/ 176 h 184"/>
                <a:gd name="T88" fmla="*/ 92 w 306"/>
                <a:gd name="T89" fmla="*/ 170 h 184"/>
                <a:gd name="T90" fmla="*/ 82 w 306"/>
                <a:gd name="T91" fmla="*/ 160 h 184"/>
                <a:gd name="T92" fmla="*/ 74 w 306"/>
                <a:gd name="T93" fmla="*/ 151 h 184"/>
                <a:gd name="T94" fmla="*/ 79 w 306"/>
                <a:gd name="T95" fmla="*/ 144 h 184"/>
                <a:gd name="T96" fmla="*/ 63 w 306"/>
                <a:gd name="T97" fmla="*/ 149 h 184"/>
                <a:gd name="T98" fmla="*/ 49 w 306"/>
                <a:gd name="T99" fmla="*/ 143 h 184"/>
                <a:gd name="T100" fmla="*/ 43 w 306"/>
                <a:gd name="T101" fmla="*/ 135 h 184"/>
                <a:gd name="T102" fmla="*/ 38 w 306"/>
                <a:gd name="T103" fmla="*/ 120 h 184"/>
                <a:gd name="T104" fmla="*/ 17 w 306"/>
                <a:gd name="T105" fmla="*/ 105 h 184"/>
                <a:gd name="T106" fmla="*/ 11 w 306"/>
                <a:gd name="T107" fmla="*/ 94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06" h="184">
                  <a:moveTo>
                    <a:pt x="0" y="86"/>
                  </a:moveTo>
                  <a:lnTo>
                    <a:pt x="5" y="82"/>
                  </a:lnTo>
                  <a:lnTo>
                    <a:pt x="8" y="84"/>
                  </a:lnTo>
                  <a:lnTo>
                    <a:pt x="8" y="82"/>
                  </a:lnTo>
                  <a:lnTo>
                    <a:pt x="11" y="84"/>
                  </a:lnTo>
                  <a:lnTo>
                    <a:pt x="14" y="84"/>
                  </a:lnTo>
                  <a:lnTo>
                    <a:pt x="14" y="82"/>
                  </a:lnTo>
                  <a:lnTo>
                    <a:pt x="16" y="82"/>
                  </a:lnTo>
                  <a:lnTo>
                    <a:pt x="17" y="79"/>
                  </a:lnTo>
                  <a:lnTo>
                    <a:pt x="17" y="79"/>
                  </a:lnTo>
                  <a:lnTo>
                    <a:pt x="21" y="79"/>
                  </a:lnTo>
                  <a:lnTo>
                    <a:pt x="24" y="79"/>
                  </a:lnTo>
                  <a:lnTo>
                    <a:pt x="27" y="78"/>
                  </a:lnTo>
                  <a:lnTo>
                    <a:pt x="30" y="75"/>
                  </a:lnTo>
                  <a:lnTo>
                    <a:pt x="32" y="73"/>
                  </a:lnTo>
                  <a:lnTo>
                    <a:pt x="32" y="70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3" y="65"/>
                  </a:lnTo>
                  <a:lnTo>
                    <a:pt x="36" y="63"/>
                  </a:lnTo>
                  <a:lnTo>
                    <a:pt x="38" y="62"/>
                  </a:lnTo>
                  <a:lnTo>
                    <a:pt x="38" y="59"/>
                  </a:lnTo>
                  <a:lnTo>
                    <a:pt x="40" y="55"/>
                  </a:lnTo>
                  <a:lnTo>
                    <a:pt x="43" y="52"/>
                  </a:lnTo>
                  <a:lnTo>
                    <a:pt x="44" y="49"/>
                  </a:lnTo>
                  <a:lnTo>
                    <a:pt x="43" y="49"/>
                  </a:lnTo>
                  <a:lnTo>
                    <a:pt x="46" y="46"/>
                  </a:lnTo>
                  <a:lnTo>
                    <a:pt x="47" y="44"/>
                  </a:lnTo>
                  <a:lnTo>
                    <a:pt x="47" y="44"/>
                  </a:lnTo>
                  <a:lnTo>
                    <a:pt x="49" y="41"/>
                  </a:lnTo>
                  <a:lnTo>
                    <a:pt x="49" y="36"/>
                  </a:lnTo>
                  <a:lnTo>
                    <a:pt x="52" y="35"/>
                  </a:lnTo>
                  <a:lnTo>
                    <a:pt x="54" y="32"/>
                  </a:lnTo>
                  <a:lnTo>
                    <a:pt x="52" y="30"/>
                  </a:lnTo>
                  <a:lnTo>
                    <a:pt x="54" y="29"/>
                  </a:lnTo>
                  <a:lnTo>
                    <a:pt x="57" y="27"/>
                  </a:lnTo>
                  <a:lnTo>
                    <a:pt x="59" y="25"/>
                  </a:lnTo>
                  <a:lnTo>
                    <a:pt x="60" y="22"/>
                  </a:lnTo>
                  <a:lnTo>
                    <a:pt x="63" y="21"/>
                  </a:lnTo>
                  <a:lnTo>
                    <a:pt x="66" y="19"/>
                  </a:lnTo>
                  <a:lnTo>
                    <a:pt x="73" y="19"/>
                  </a:lnTo>
                  <a:lnTo>
                    <a:pt x="74" y="16"/>
                  </a:lnTo>
                  <a:lnTo>
                    <a:pt x="78" y="14"/>
                  </a:lnTo>
                  <a:lnTo>
                    <a:pt x="81" y="11"/>
                  </a:lnTo>
                  <a:lnTo>
                    <a:pt x="84" y="9"/>
                  </a:lnTo>
                  <a:lnTo>
                    <a:pt x="87" y="6"/>
                  </a:lnTo>
                  <a:lnTo>
                    <a:pt x="90" y="6"/>
                  </a:lnTo>
                  <a:lnTo>
                    <a:pt x="93" y="8"/>
                  </a:lnTo>
                  <a:lnTo>
                    <a:pt x="97" y="9"/>
                  </a:lnTo>
                  <a:lnTo>
                    <a:pt x="100" y="9"/>
                  </a:lnTo>
                  <a:lnTo>
                    <a:pt x="101" y="9"/>
                  </a:lnTo>
                  <a:lnTo>
                    <a:pt x="103" y="9"/>
                  </a:lnTo>
                  <a:lnTo>
                    <a:pt x="108" y="11"/>
                  </a:lnTo>
                  <a:lnTo>
                    <a:pt x="108" y="11"/>
                  </a:lnTo>
                  <a:lnTo>
                    <a:pt x="112" y="13"/>
                  </a:lnTo>
                  <a:lnTo>
                    <a:pt x="114" y="11"/>
                  </a:lnTo>
                  <a:lnTo>
                    <a:pt x="117" y="11"/>
                  </a:lnTo>
                  <a:lnTo>
                    <a:pt x="120" y="13"/>
                  </a:lnTo>
                  <a:lnTo>
                    <a:pt x="125" y="13"/>
                  </a:lnTo>
                  <a:lnTo>
                    <a:pt x="128" y="11"/>
                  </a:lnTo>
                  <a:lnTo>
                    <a:pt x="132" y="11"/>
                  </a:lnTo>
                  <a:lnTo>
                    <a:pt x="133" y="11"/>
                  </a:lnTo>
                  <a:lnTo>
                    <a:pt x="136" y="16"/>
                  </a:lnTo>
                  <a:lnTo>
                    <a:pt x="141" y="17"/>
                  </a:lnTo>
                  <a:lnTo>
                    <a:pt x="144" y="21"/>
                  </a:lnTo>
                  <a:lnTo>
                    <a:pt x="146" y="21"/>
                  </a:lnTo>
                  <a:lnTo>
                    <a:pt x="147" y="21"/>
                  </a:lnTo>
                  <a:lnTo>
                    <a:pt x="147" y="21"/>
                  </a:lnTo>
                  <a:lnTo>
                    <a:pt x="151" y="19"/>
                  </a:lnTo>
                  <a:lnTo>
                    <a:pt x="154" y="16"/>
                  </a:lnTo>
                  <a:lnTo>
                    <a:pt x="155" y="14"/>
                  </a:lnTo>
                  <a:lnTo>
                    <a:pt x="158" y="13"/>
                  </a:lnTo>
                  <a:lnTo>
                    <a:pt x="162" y="13"/>
                  </a:lnTo>
                  <a:lnTo>
                    <a:pt x="168" y="13"/>
                  </a:lnTo>
                  <a:lnTo>
                    <a:pt x="174" y="11"/>
                  </a:lnTo>
                  <a:lnTo>
                    <a:pt x="178" y="11"/>
                  </a:lnTo>
                  <a:lnTo>
                    <a:pt x="181" y="11"/>
                  </a:lnTo>
                  <a:lnTo>
                    <a:pt x="182" y="11"/>
                  </a:lnTo>
                  <a:lnTo>
                    <a:pt x="185" y="9"/>
                  </a:lnTo>
                  <a:lnTo>
                    <a:pt x="187" y="6"/>
                  </a:lnTo>
                  <a:lnTo>
                    <a:pt x="189" y="3"/>
                  </a:lnTo>
                  <a:lnTo>
                    <a:pt x="189" y="2"/>
                  </a:lnTo>
                  <a:lnTo>
                    <a:pt x="192" y="2"/>
                  </a:lnTo>
                  <a:lnTo>
                    <a:pt x="195" y="2"/>
                  </a:lnTo>
                  <a:lnTo>
                    <a:pt x="198" y="0"/>
                  </a:lnTo>
                  <a:lnTo>
                    <a:pt x="201" y="0"/>
                  </a:lnTo>
                  <a:lnTo>
                    <a:pt x="204" y="2"/>
                  </a:lnTo>
                  <a:lnTo>
                    <a:pt x="209" y="3"/>
                  </a:lnTo>
                  <a:lnTo>
                    <a:pt x="211" y="6"/>
                  </a:lnTo>
                  <a:lnTo>
                    <a:pt x="214" y="9"/>
                  </a:lnTo>
                  <a:lnTo>
                    <a:pt x="214" y="9"/>
                  </a:lnTo>
                  <a:lnTo>
                    <a:pt x="216" y="11"/>
                  </a:lnTo>
                  <a:lnTo>
                    <a:pt x="217" y="14"/>
                  </a:lnTo>
                  <a:lnTo>
                    <a:pt x="219" y="17"/>
                  </a:lnTo>
                  <a:lnTo>
                    <a:pt x="220" y="21"/>
                  </a:lnTo>
                  <a:lnTo>
                    <a:pt x="224" y="25"/>
                  </a:lnTo>
                  <a:lnTo>
                    <a:pt x="224" y="25"/>
                  </a:lnTo>
                  <a:lnTo>
                    <a:pt x="227" y="30"/>
                  </a:lnTo>
                  <a:lnTo>
                    <a:pt x="228" y="30"/>
                  </a:lnTo>
                  <a:lnTo>
                    <a:pt x="231" y="32"/>
                  </a:lnTo>
                  <a:lnTo>
                    <a:pt x="231" y="35"/>
                  </a:lnTo>
                  <a:lnTo>
                    <a:pt x="235" y="38"/>
                  </a:lnTo>
                  <a:lnTo>
                    <a:pt x="238" y="41"/>
                  </a:lnTo>
                  <a:lnTo>
                    <a:pt x="238" y="41"/>
                  </a:lnTo>
                  <a:lnTo>
                    <a:pt x="239" y="44"/>
                  </a:lnTo>
                  <a:lnTo>
                    <a:pt x="243" y="46"/>
                  </a:lnTo>
                  <a:lnTo>
                    <a:pt x="246" y="49"/>
                  </a:lnTo>
                  <a:lnTo>
                    <a:pt x="249" y="52"/>
                  </a:lnTo>
                  <a:lnTo>
                    <a:pt x="250" y="55"/>
                  </a:lnTo>
                  <a:lnTo>
                    <a:pt x="252" y="59"/>
                  </a:lnTo>
                  <a:lnTo>
                    <a:pt x="252" y="59"/>
                  </a:lnTo>
                  <a:lnTo>
                    <a:pt x="254" y="62"/>
                  </a:lnTo>
                  <a:lnTo>
                    <a:pt x="255" y="65"/>
                  </a:lnTo>
                  <a:lnTo>
                    <a:pt x="255" y="68"/>
                  </a:lnTo>
                  <a:lnTo>
                    <a:pt x="255" y="71"/>
                  </a:lnTo>
                  <a:lnTo>
                    <a:pt x="255" y="75"/>
                  </a:lnTo>
                  <a:lnTo>
                    <a:pt x="254" y="78"/>
                  </a:lnTo>
                  <a:lnTo>
                    <a:pt x="252" y="79"/>
                  </a:lnTo>
                  <a:lnTo>
                    <a:pt x="252" y="81"/>
                  </a:lnTo>
                  <a:lnTo>
                    <a:pt x="254" y="84"/>
                  </a:lnTo>
                  <a:lnTo>
                    <a:pt x="252" y="86"/>
                  </a:lnTo>
                  <a:lnTo>
                    <a:pt x="252" y="89"/>
                  </a:lnTo>
                  <a:lnTo>
                    <a:pt x="254" y="94"/>
                  </a:lnTo>
                  <a:lnTo>
                    <a:pt x="254" y="97"/>
                  </a:lnTo>
                  <a:lnTo>
                    <a:pt x="255" y="100"/>
                  </a:lnTo>
                  <a:lnTo>
                    <a:pt x="255" y="103"/>
                  </a:lnTo>
                  <a:lnTo>
                    <a:pt x="255" y="106"/>
                  </a:lnTo>
                  <a:lnTo>
                    <a:pt x="258" y="113"/>
                  </a:lnTo>
                  <a:lnTo>
                    <a:pt x="263" y="117"/>
                  </a:lnTo>
                  <a:lnTo>
                    <a:pt x="270" y="119"/>
                  </a:lnTo>
                  <a:lnTo>
                    <a:pt x="276" y="120"/>
                  </a:lnTo>
                  <a:lnTo>
                    <a:pt x="277" y="117"/>
                  </a:lnTo>
                  <a:lnTo>
                    <a:pt x="281" y="117"/>
                  </a:lnTo>
                  <a:lnTo>
                    <a:pt x="284" y="117"/>
                  </a:lnTo>
                  <a:lnTo>
                    <a:pt x="284" y="116"/>
                  </a:lnTo>
                  <a:lnTo>
                    <a:pt x="287" y="116"/>
                  </a:lnTo>
                  <a:lnTo>
                    <a:pt x="289" y="114"/>
                  </a:lnTo>
                  <a:lnTo>
                    <a:pt x="290" y="113"/>
                  </a:lnTo>
                  <a:lnTo>
                    <a:pt x="292" y="113"/>
                  </a:lnTo>
                  <a:lnTo>
                    <a:pt x="292" y="113"/>
                  </a:lnTo>
                  <a:lnTo>
                    <a:pt x="295" y="113"/>
                  </a:lnTo>
                  <a:lnTo>
                    <a:pt x="298" y="113"/>
                  </a:lnTo>
                  <a:lnTo>
                    <a:pt x="300" y="113"/>
                  </a:lnTo>
                  <a:lnTo>
                    <a:pt x="301" y="114"/>
                  </a:lnTo>
                  <a:lnTo>
                    <a:pt x="301" y="114"/>
                  </a:lnTo>
                  <a:lnTo>
                    <a:pt x="303" y="114"/>
                  </a:lnTo>
                  <a:lnTo>
                    <a:pt x="304" y="116"/>
                  </a:lnTo>
                  <a:lnTo>
                    <a:pt x="306" y="124"/>
                  </a:lnTo>
                  <a:lnTo>
                    <a:pt x="306" y="130"/>
                  </a:lnTo>
                  <a:lnTo>
                    <a:pt x="306" y="135"/>
                  </a:lnTo>
                  <a:lnTo>
                    <a:pt x="303" y="136"/>
                  </a:lnTo>
                  <a:lnTo>
                    <a:pt x="300" y="138"/>
                  </a:lnTo>
                  <a:lnTo>
                    <a:pt x="296" y="138"/>
                  </a:lnTo>
                  <a:lnTo>
                    <a:pt x="293" y="138"/>
                  </a:lnTo>
                  <a:lnTo>
                    <a:pt x="289" y="140"/>
                  </a:lnTo>
                  <a:lnTo>
                    <a:pt x="285" y="140"/>
                  </a:lnTo>
                  <a:lnTo>
                    <a:pt x="289" y="136"/>
                  </a:lnTo>
                  <a:lnTo>
                    <a:pt x="287" y="133"/>
                  </a:lnTo>
                  <a:lnTo>
                    <a:pt x="287" y="130"/>
                  </a:lnTo>
                  <a:lnTo>
                    <a:pt x="284" y="130"/>
                  </a:lnTo>
                  <a:lnTo>
                    <a:pt x="281" y="133"/>
                  </a:lnTo>
                  <a:lnTo>
                    <a:pt x="284" y="136"/>
                  </a:lnTo>
                  <a:lnTo>
                    <a:pt x="284" y="140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84" y="143"/>
                  </a:lnTo>
                  <a:lnTo>
                    <a:pt x="287" y="143"/>
                  </a:lnTo>
                  <a:lnTo>
                    <a:pt x="285" y="143"/>
                  </a:lnTo>
                  <a:lnTo>
                    <a:pt x="282" y="144"/>
                  </a:lnTo>
                  <a:lnTo>
                    <a:pt x="279" y="146"/>
                  </a:lnTo>
                  <a:lnTo>
                    <a:pt x="281" y="149"/>
                  </a:lnTo>
                  <a:lnTo>
                    <a:pt x="284" y="146"/>
                  </a:lnTo>
                  <a:lnTo>
                    <a:pt x="284" y="149"/>
                  </a:lnTo>
                  <a:lnTo>
                    <a:pt x="281" y="152"/>
                  </a:lnTo>
                  <a:lnTo>
                    <a:pt x="277" y="155"/>
                  </a:lnTo>
                  <a:lnTo>
                    <a:pt x="276" y="159"/>
                  </a:lnTo>
                  <a:lnTo>
                    <a:pt x="277" y="163"/>
                  </a:lnTo>
                  <a:lnTo>
                    <a:pt x="277" y="166"/>
                  </a:lnTo>
                  <a:lnTo>
                    <a:pt x="279" y="170"/>
                  </a:lnTo>
                  <a:lnTo>
                    <a:pt x="277" y="173"/>
                  </a:lnTo>
                  <a:lnTo>
                    <a:pt x="276" y="176"/>
                  </a:lnTo>
                  <a:lnTo>
                    <a:pt x="276" y="181"/>
                  </a:lnTo>
                  <a:lnTo>
                    <a:pt x="270" y="179"/>
                  </a:lnTo>
                  <a:lnTo>
                    <a:pt x="263" y="179"/>
                  </a:lnTo>
                  <a:lnTo>
                    <a:pt x="258" y="176"/>
                  </a:lnTo>
                  <a:lnTo>
                    <a:pt x="254" y="170"/>
                  </a:lnTo>
                  <a:lnTo>
                    <a:pt x="250" y="171"/>
                  </a:lnTo>
                  <a:lnTo>
                    <a:pt x="247" y="170"/>
                  </a:lnTo>
                  <a:lnTo>
                    <a:pt x="244" y="170"/>
                  </a:lnTo>
                  <a:lnTo>
                    <a:pt x="239" y="170"/>
                  </a:lnTo>
                  <a:lnTo>
                    <a:pt x="236" y="168"/>
                  </a:lnTo>
                  <a:lnTo>
                    <a:pt x="233" y="165"/>
                  </a:lnTo>
                  <a:lnTo>
                    <a:pt x="233" y="165"/>
                  </a:lnTo>
                  <a:lnTo>
                    <a:pt x="233" y="165"/>
                  </a:lnTo>
                  <a:lnTo>
                    <a:pt x="228" y="165"/>
                  </a:lnTo>
                  <a:lnTo>
                    <a:pt x="227" y="165"/>
                  </a:lnTo>
                  <a:lnTo>
                    <a:pt x="225" y="165"/>
                  </a:lnTo>
                  <a:lnTo>
                    <a:pt x="220" y="165"/>
                  </a:lnTo>
                  <a:lnTo>
                    <a:pt x="220" y="165"/>
                  </a:lnTo>
                  <a:lnTo>
                    <a:pt x="216" y="166"/>
                  </a:lnTo>
                  <a:lnTo>
                    <a:pt x="211" y="166"/>
                  </a:lnTo>
                  <a:lnTo>
                    <a:pt x="206" y="168"/>
                  </a:lnTo>
                  <a:lnTo>
                    <a:pt x="204" y="168"/>
                  </a:lnTo>
                  <a:lnTo>
                    <a:pt x="203" y="168"/>
                  </a:lnTo>
                  <a:lnTo>
                    <a:pt x="201" y="168"/>
                  </a:lnTo>
                  <a:lnTo>
                    <a:pt x="200" y="170"/>
                  </a:lnTo>
                  <a:lnTo>
                    <a:pt x="200" y="170"/>
                  </a:lnTo>
                  <a:lnTo>
                    <a:pt x="200" y="170"/>
                  </a:lnTo>
                  <a:lnTo>
                    <a:pt x="198" y="170"/>
                  </a:lnTo>
                  <a:lnTo>
                    <a:pt x="197" y="170"/>
                  </a:lnTo>
                  <a:lnTo>
                    <a:pt x="195" y="173"/>
                  </a:lnTo>
                  <a:lnTo>
                    <a:pt x="193" y="173"/>
                  </a:lnTo>
                  <a:lnTo>
                    <a:pt x="193" y="173"/>
                  </a:lnTo>
                  <a:lnTo>
                    <a:pt x="193" y="174"/>
                  </a:lnTo>
                  <a:lnTo>
                    <a:pt x="192" y="174"/>
                  </a:lnTo>
                  <a:lnTo>
                    <a:pt x="192" y="174"/>
                  </a:lnTo>
                  <a:lnTo>
                    <a:pt x="190" y="176"/>
                  </a:lnTo>
                  <a:lnTo>
                    <a:pt x="190" y="176"/>
                  </a:lnTo>
                  <a:lnTo>
                    <a:pt x="189" y="178"/>
                  </a:lnTo>
                  <a:lnTo>
                    <a:pt x="189" y="179"/>
                  </a:lnTo>
                  <a:lnTo>
                    <a:pt x="189" y="179"/>
                  </a:lnTo>
                  <a:lnTo>
                    <a:pt x="182" y="182"/>
                  </a:lnTo>
                  <a:lnTo>
                    <a:pt x="176" y="184"/>
                  </a:lnTo>
                  <a:lnTo>
                    <a:pt x="170" y="184"/>
                  </a:lnTo>
                  <a:lnTo>
                    <a:pt x="163" y="182"/>
                  </a:lnTo>
                  <a:lnTo>
                    <a:pt x="163" y="182"/>
                  </a:lnTo>
                  <a:lnTo>
                    <a:pt x="160" y="181"/>
                  </a:lnTo>
                  <a:lnTo>
                    <a:pt x="160" y="181"/>
                  </a:lnTo>
                  <a:lnTo>
                    <a:pt x="157" y="181"/>
                  </a:lnTo>
                  <a:lnTo>
                    <a:pt x="154" y="181"/>
                  </a:lnTo>
                  <a:lnTo>
                    <a:pt x="154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6" y="179"/>
                  </a:lnTo>
                  <a:lnTo>
                    <a:pt x="143" y="179"/>
                  </a:lnTo>
                  <a:lnTo>
                    <a:pt x="141" y="181"/>
                  </a:lnTo>
                  <a:lnTo>
                    <a:pt x="139" y="182"/>
                  </a:lnTo>
                  <a:lnTo>
                    <a:pt x="138" y="182"/>
                  </a:lnTo>
                  <a:lnTo>
                    <a:pt x="136" y="182"/>
                  </a:lnTo>
                  <a:lnTo>
                    <a:pt x="132" y="182"/>
                  </a:lnTo>
                  <a:lnTo>
                    <a:pt x="132" y="182"/>
                  </a:lnTo>
                  <a:lnTo>
                    <a:pt x="130" y="182"/>
                  </a:lnTo>
                  <a:lnTo>
                    <a:pt x="130" y="181"/>
                  </a:lnTo>
                  <a:lnTo>
                    <a:pt x="128" y="181"/>
                  </a:lnTo>
                  <a:lnTo>
                    <a:pt x="125" y="181"/>
                  </a:lnTo>
                  <a:lnTo>
                    <a:pt x="122" y="179"/>
                  </a:lnTo>
                  <a:lnTo>
                    <a:pt x="120" y="179"/>
                  </a:lnTo>
                  <a:lnTo>
                    <a:pt x="119" y="178"/>
                  </a:lnTo>
                  <a:lnTo>
                    <a:pt x="117" y="178"/>
                  </a:lnTo>
                  <a:lnTo>
                    <a:pt x="116" y="178"/>
                  </a:lnTo>
                  <a:lnTo>
                    <a:pt x="111" y="178"/>
                  </a:lnTo>
                  <a:lnTo>
                    <a:pt x="111" y="176"/>
                  </a:lnTo>
                  <a:lnTo>
                    <a:pt x="109" y="176"/>
                  </a:lnTo>
                  <a:lnTo>
                    <a:pt x="108" y="176"/>
                  </a:lnTo>
                  <a:lnTo>
                    <a:pt x="106" y="176"/>
                  </a:lnTo>
                  <a:lnTo>
                    <a:pt x="103" y="176"/>
                  </a:lnTo>
                  <a:lnTo>
                    <a:pt x="101" y="176"/>
                  </a:lnTo>
                  <a:lnTo>
                    <a:pt x="100" y="178"/>
                  </a:lnTo>
                  <a:lnTo>
                    <a:pt x="97" y="178"/>
                  </a:lnTo>
                  <a:lnTo>
                    <a:pt x="95" y="178"/>
                  </a:lnTo>
                  <a:lnTo>
                    <a:pt x="93" y="178"/>
                  </a:lnTo>
                  <a:lnTo>
                    <a:pt x="92" y="178"/>
                  </a:lnTo>
                  <a:lnTo>
                    <a:pt x="92" y="176"/>
                  </a:lnTo>
                  <a:lnTo>
                    <a:pt x="89" y="176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2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3" y="166"/>
                  </a:lnTo>
                  <a:lnTo>
                    <a:pt x="93" y="166"/>
                  </a:lnTo>
                  <a:lnTo>
                    <a:pt x="90" y="165"/>
                  </a:lnTo>
                  <a:lnTo>
                    <a:pt x="82" y="160"/>
                  </a:lnTo>
                  <a:lnTo>
                    <a:pt x="81" y="157"/>
                  </a:lnTo>
                  <a:lnTo>
                    <a:pt x="79" y="157"/>
                  </a:lnTo>
                  <a:lnTo>
                    <a:pt x="76" y="154"/>
                  </a:lnTo>
                  <a:lnTo>
                    <a:pt x="76" y="152"/>
                  </a:lnTo>
                  <a:lnTo>
                    <a:pt x="76" y="152"/>
                  </a:lnTo>
                  <a:lnTo>
                    <a:pt x="74" y="151"/>
                  </a:lnTo>
                  <a:lnTo>
                    <a:pt x="76" y="151"/>
                  </a:lnTo>
                  <a:lnTo>
                    <a:pt x="79" y="147"/>
                  </a:lnTo>
                  <a:lnTo>
                    <a:pt x="82" y="149"/>
                  </a:lnTo>
                  <a:lnTo>
                    <a:pt x="84" y="147"/>
                  </a:lnTo>
                  <a:lnTo>
                    <a:pt x="82" y="144"/>
                  </a:lnTo>
                  <a:lnTo>
                    <a:pt x="79" y="144"/>
                  </a:lnTo>
                  <a:lnTo>
                    <a:pt x="76" y="141"/>
                  </a:lnTo>
                  <a:lnTo>
                    <a:pt x="71" y="143"/>
                  </a:lnTo>
                  <a:lnTo>
                    <a:pt x="68" y="146"/>
                  </a:lnTo>
                  <a:lnTo>
                    <a:pt x="68" y="146"/>
                  </a:lnTo>
                  <a:lnTo>
                    <a:pt x="66" y="149"/>
                  </a:lnTo>
                  <a:lnTo>
                    <a:pt x="63" y="149"/>
                  </a:lnTo>
                  <a:lnTo>
                    <a:pt x="60" y="146"/>
                  </a:lnTo>
                  <a:lnTo>
                    <a:pt x="60" y="146"/>
                  </a:lnTo>
                  <a:lnTo>
                    <a:pt x="60" y="144"/>
                  </a:lnTo>
                  <a:lnTo>
                    <a:pt x="57" y="144"/>
                  </a:lnTo>
                  <a:lnTo>
                    <a:pt x="52" y="143"/>
                  </a:lnTo>
                  <a:lnTo>
                    <a:pt x="49" y="143"/>
                  </a:lnTo>
                  <a:lnTo>
                    <a:pt x="47" y="141"/>
                  </a:lnTo>
                  <a:lnTo>
                    <a:pt x="46" y="140"/>
                  </a:lnTo>
                  <a:lnTo>
                    <a:pt x="43" y="138"/>
                  </a:lnTo>
                  <a:lnTo>
                    <a:pt x="40" y="138"/>
                  </a:lnTo>
                  <a:lnTo>
                    <a:pt x="38" y="136"/>
                  </a:lnTo>
                  <a:lnTo>
                    <a:pt x="43" y="135"/>
                  </a:lnTo>
                  <a:lnTo>
                    <a:pt x="43" y="132"/>
                  </a:lnTo>
                  <a:lnTo>
                    <a:pt x="38" y="130"/>
                  </a:lnTo>
                  <a:lnTo>
                    <a:pt x="41" y="125"/>
                  </a:lnTo>
                  <a:lnTo>
                    <a:pt x="41" y="122"/>
                  </a:lnTo>
                  <a:lnTo>
                    <a:pt x="41" y="122"/>
                  </a:lnTo>
                  <a:lnTo>
                    <a:pt x="38" y="120"/>
                  </a:lnTo>
                  <a:lnTo>
                    <a:pt x="35" y="120"/>
                  </a:lnTo>
                  <a:lnTo>
                    <a:pt x="35" y="120"/>
                  </a:lnTo>
                  <a:lnTo>
                    <a:pt x="25" y="116"/>
                  </a:lnTo>
                  <a:lnTo>
                    <a:pt x="19" y="109"/>
                  </a:lnTo>
                  <a:lnTo>
                    <a:pt x="19" y="108"/>
                  </a:lnTo>
                  <a:lnTo>
                    <a:pt x="17" y="105"/>
                  </a:lnTo>
                  <a:lnTo>
                    <a:pt x="19" y="103"/>
                  </a:lnTo>
                  <a:lnTo>
                    <a:pt x="19" y="98"/>
                  </a:lnTo>
                  <a:lnTo>
                    <a:pt x="16" y="100"/>
                  </a:lnTo>
                  <a:lnTo>
                    <a:pt x="14" y="98"/>
                  </a:lnTo>
                  <a:lnTo>
                    <a:pt x="14" y="97"/>
                  </a:lnTo>
                  <a:lnTo>
                    <a:pt x="11" y="94"/>
                  </a:lnTo>
                  <a:lnTo>
                    <a:pt x="8" y="92"/>
                  </a:lnTo>
                  <a:lnTo>
                    <a:pt x="5" y="90"/>
                  </a:lnTo>
                  <a:lnTo>
                    <a:pt x="1" y="87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08" name="Freeform 504"/>
            <p:cNvSpPr>
              <a:spLocks/>
            </p:cNvSpPr>
            <p:nvPr/>
          </p:nvSpPr>
          <p:spPr bwMode="auto">
            <a:xfrm>
              <a:off x="5932538" y="2904642"/>
              <a:ext cx="211732" cy="160780"/>
            </a:xfrm>
            <a:custGeom>
              <a:avLst/>
              <a:gdLst>
                <a:gd name="T0" fmla="*/ 17 w 289"/>
                <a:gd name="T1" fmla="*/ 136 h 190"/>
                <a:gd name="T2" fmla="*/ 22 w 289"/>
                <a:gd name="T3" fmla="*/ 125 h 190"/>
                <a:gd name="T4" fmla="*/ 19 w 289"/>
                <a:gd name="T5" fmla="*/ 112 h 190"/>
                <a:gd name="T6" fmla="*/ 8 w 289"/>
                <a:gd name="T7" fmla="*/ 93 h 190"/>
                <a:gd name="T8" fmla="*/ 16 w 289"/>
                <a:gd name="T9" fmla="*/ 85 h 190"/>
                <a:gd name="T10" fmla="*/ 27 w 289"/>
                <a:gd name="T11" fmla="*/ 84 h 190"/>
                <a:gd name="T12" fmla="*/ 43 w 289"/>
                <a:gd name="T13" fmla="*/ 84 h 190"/>
                <a:gd name="T14" fmla="*/ 54 w 289"/>
                <a:gd name="T15" fmla="*/ 76 h 190"/>
                <a:gd name="T16" fmla="*/ 63 w 289"/>
                <a:gd name="T17" fmla="*/ 71 h 190"/>
                <a:gd name="T18" fmla="*/ 73 w 289"/>
                <a:gd name="T19" fmla="*/ 71 h 190"/>
                <a:gd name="T20" fmla="*/ 71 w 289"/>
                <a:gd name="T21" fmla="*/ 60 h 190"/>
                <a:gd name="T22" fmla="*/ 71 w 289"/>
                <a:gd name="T23" fmla="*/ 47 h 190"/>
                <a:gd name="T24" fmla="*/ 84 w 289"/>
                <a:gd name="T25" fmla="*/ 41 h 190"/>
                <a:gd name="T26" fmla="*/ 95 w 289"/>
                <a:gd name="T27" fmla="*/ 38 h 190"/>
                <a:gd name="T28" fmla="*/ 94 w 289"/>
                <a:gd name="T29" fmla="*/ 31 h 190"/>
                <a:gd name="T30" fmla="*/ 94 w 289"/>
                <a:gd name="T31" fmla="*/ 19 h 190"/>
                <a:gd name="T32" fmla="*/ 100 w 289"/>
                <a:gd name="T33" fmla="*/ 14 h 190"/>
                <a:gd name="T34" fmla="*/ 114 w 289"/>
                <a:gd name="T35" fmla="*/ 12 h 190"/>
                <a:gd name="T36" fmla="*/ 124 w 289"/>
                <a:gd name="T37" fmla="*/ 8 h 190"/>
                <a:gd name="T38" fmla="*/ 138 w 289"/>
                <a:gd name="T39" fmla="*/ 0 h 190"/>
                <a:gd name="T40" fmla="*/ 152 w 289"/>
                <a:gd name="T41" fmla="*/ 1 h 190"/>
                <a:gd name="T42" fmla="*/ 159 w 289"/>
                <a:gd name="T43" fmla="*/ 6 h 190"/>
                <a:gd name="T44" fmla="*/ 176 w 289"/>
                <a:gd name="T45" fmla="*/ 8 h 190"/>
                <a:gd name="T46" fmla="*/ 186 w 289"/>
                <a:gd name="T47" fmla="*/ 14 h 190"/>
                <a:gd name="T48" fmla="*/ 211 w 289"/>
                <a:gd name="T49" fmla="*/ 16 h 190"/>
                <a:gd name="T50" fmla="*/ 222 w 289"/>
                <a:gd name="T51" fmla="*/ 30 h 190"/>
                <a:gd name="T52" fmla="*/ 227 w 289"/>
                <a:gd name="T53" fmla="*/ 44 h 190"/>
                <a:gd name="T54" fmla="*/ 225 w 289"/>
                <a:gd name="T55" fmla="*/ 52 h 190"/>
                <a:gd name="T56" fmla="*/ 233 w 289"/>
                <a:gd name="T57" fmla="*/ 60 h 190"/>
                <a:gd name="T58" fmla="*/ 244 w 289"/>
                <a:gd name="T59" fmla="*/ 74 h 190"/>
                <a:gd name="T60" fmla="*/ 260 w 289"/>
                <a:gd name="T61" fmla="*/ 82 h 190"/>
                <a:gd name="T62" fmla="*/ 257 w 289"/>
                <a:gd name="T63" fmla="*/ 90 h 190"/>
                <a:gd name="T64" fmla="*/ 273 w 289"/>
                <a:gd name="T65" fmla="*/ 92 h 190"/>
                <a:gd name="T66" fmla="*/ 282 w 289"/>
                <a:gd name="T67" fmla="*/ 101 h 190"/>
                <a:gd name="T68" fmla="*/ 282 w 289"/>
                <a:gd name="T69" fmla="*/ 109 h 190"/>
                <a:gd name="T70" fmla="*/ 271 w 289"/>
                <a:gd name="T71" fmla="*/ 117 h 190"/>
                <a:gd name="T72" fmla="*/ 254 w 289"/>
                <a:gd name="T73" fmla="*/ 114 h 190"/>
                <a:gd name="T74" fmla="*/ 254 w 289"/>
                <a:gd name="T75" fmla="*/ 127 h 190"/>
                <a:gd name="T76" fmla="*/ 260 w 289"/>
                <a:gd name="T77" fmla="*/ 141 h 190"/>
                <a:gd name="T78" fmla="*/ 266 w 289"/>
                <a:gd name="T79" fmla="*/ 157 h 190"/>
                <a:gd name="T80" fmla="*/ 251 w 289"/>
                <a:gd name="T81" fmla="*/ 158 h 190"/>
                <a:gd name="T82" fmla="*/ 241 w 289"/>
                <a:gd name="T83" fmla="*/ 160 h 190"/>
                <a:gd name="T84" fmla="*/ 232 w 289"/>
                <a:gd name="T85" fmla="*/ 173 h 190"/>
                <a:gd name="T86" fmla="*/ 235 w 289"/>
                <a:gd name="T87" fmla="*/ 187 h 190"/>
                <a:gd name="T88" fmla="*/ 227 w 289"/>
                <a:gd name="T89" fmla="*/ 185 h 190"/>
                <a:gd name="T90" fmla="*/ 214 w 289"/>
                <a:gd name="T91" fmla="*/ 181 h 190"/>
                <a:gd name="T92" fmla="*/ 200 w 289"/>
                <a:gd name="T93" fmla="*/ 184 h 190"/>
                <a:gd name="T94" fmla="*/ 189 w 289"/>
                <a:gd name="T95" fmla="*/ 176 h 190"/>
                <a:gd name="T96" fmla="*/ 176 w 289"/>
                <a:gd name="T97" fmla="*/ 181 h 190"/>
                <a:gd name="T98" fmla="*/ 165 w 289"/>
                <a:gd name="T99" fmla="*/ 179 h 190"/>
                <a:gd name="T100" fmla="*/ 148 w 289"/>
                <a:gd name="T101" fmla="*/ 176 h 190"/>
                <a:gd name="T102" fmla="*/ 133 w 289"/>
                <a:gd name="T103" fmla="*/ 176 h 190"/>
                <a:gd name="T104" fmla="*/ 117 w 289"/>
                <a:gd name="T105" fmla="*/ 169 h 190"/>
                <a:gd name="T106" fmla="*/ 102 w 289"/>
                <a:gd name="T107" fmla="*/ 166 h 190"/>
                <a:gd name="T108" fmla="*/ 65 w 289"/>
                <a:gd name="T109" fmla="*/ 162 h 190"/>
                <a:gd name="T110" fmla="*/ 36 w 289"/>
                <a:gd name="T111" fmla="*/ 168 h 190"/>
                <a:gd name="T112" fmla="*/ 24 w 289"/>
                <a:gd name="T113" fmla="*/ 174 h 190"/>
                <a:gd name="T114" fmla="*/ 17 w 289"/>
                <a:gd name="T115" fmla="*/ 177 h 190"/>
                <a:gd name="T116" fmla="*/ 14 w 289"/>
                <a:gd name="T117" fmla="*/ 171 h 190"/>
                <a:gd name="T118" fmla="*/ 16 w 289"/>
                <a:gd name="T119" fmla="*/ 158 h 190"/>
                <a:gd name="T120" fmla="*/ 10 w 289"/>
                <a:gd name="T121" fmla="*/ 154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89" h="190">
                  <a:moveTo>
                    <a:pt x="0" y="149"/>
                  </a:moveTo>
                  <a:lnTo>
                    <a:pt x="3" y="144"/>
                  </a:lnTo>
                  <a:lnTo>
                    <a:pt x="6" y="141"/>
                  </a:lnTo>
                  <a:lnTo>
                    <a:pt x="11" y="138"/>
                  </a:lnTo>
                  <a:lnTo>
                    <a:pt x="17" y="136"/>
                  </a:lnTo>
                  <a:lnTo>
                    <a:pt x="21" y="135"/>
                  </a:lnTo>
                  <a:lnTo>
                    <a:pt x="22" y="131"/>
                  </a:lnTo>
                  <a:lnTo>
                    <a:pt x="22" y="130"/>
                  </a:lnTo>
                  <a:lnTo>
                    <a:pt x="22" y="127"/>
                  </a:lnTo>
                  <a:lnTo>
                    <a:pt x="22" y="125"/>
                  </a:lnTo>
                  <a:lnTo>
                    <a:pt x="22" y="123"/>
                  </a:lnTo>
                  <a:lnTo>
                    <a:pt x="22" y="120"/>
                  </a:lnTo>
                  <a:lnTo>
                    <a:pt x="19" y="117"/>
                  </a:lnTo>
                  <a:lnTo>
                    <a:pt x="21" y="116"/>
                  </a:lnTo>
                  <a:lnTo>
                    <a:pt x="19" y="112"/>
                  </a:lnTo>
                  <a:lnTo>
                    <a:pt x="16" y="109"/>
                  </a:lnTo>
                  <a:lnTo>
                    <a:pt x="14" y="106"/>
                  </a:lnTo>
                  <a:lnTo>
                    <a:pt x="13" y="103"/>
                  </a:lnTo>
                  <a:lnTo>
                    <a:pt x="11" y="101"/>
                  </a:lnTo>
                  <a:lnTo>
                    <a:pt x="8" y="93"/>
                  </a:lnTo>
                  <a:lnTo>
                    <a:pt x="5" y="84"/>
                  </a:lnTo>
                  <a:lnTo>
                    <a:pt x="8" y="85"/>
                  </a:lnTo>
                  <a:lnTo>
                    <a:pt x="11" y="85"/>
                  </a:lnTo>
                  <a:lnTo>
                    <a:pt x="14" y="85"/>
                  </a:lnTo>
                  <a:lnTo>
                    <a:pt x="16" y="85"/>
                  </a:lnTo>
                  <a:lnTo>
                    <a:pt x="19" y="84"/>
                  </a:lnTo>
                  <a:lnTo>
                    <a:pt x="22" y="85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7" y="84"/>
                  </a:lnTo>
                  <a:lnTo>
                    <a:pt x="30" y="87"/>
                  </a:lnTo>
                  <a:lnTo>
                    <a:pt x="33" y="85"/>
                  </a:lnTo>
                  <a:lnTo>
                    <a:pt x="36" y="84"/>
                  </a:lnTo>
                  <a:lnTo>
                    <a:pt x="40" y="82"/>
                  </a:lnTo>
                  <a:lnTo>
                    <a:pt x="43" y="84"/>
                  </a:lnTo>
                  <a:lnTo>
                    <a:pt x="44" y="81"/>
                  </a:lnTo>
                  <a:lnTo>
                    <a:pt x="46" y="77"/>
                  </a:lnTo>
                  <a:lnTo>
                    <a:pt x="51" y="77"/>
                  </a:lnTo>
                  <a:lnTo>
                    <a:pt x="51" y="77"/>
                  </a:lnTo>
                  <a:lnTo>
                    <a:pt x="54" y="76"/>
                  </a:lnTo>
                  <a:lnTo>
                    <a:pt x="56" y="74"/>
                  </a:lnTo>
                  <a:lnTo>
                    <a:pt x="57" y="73"/>
                  </a:lnTo>
                  <a:lnTo>
                    <a:pt x="60" y="73"/>
                  </a:lnTo>
                  <a:lnTo>
                    <a:pt x="60" y="73"/>
                  </a:lnTo>
                  <a:lnTo>
                    <a:pt x="63" y="71"/>
                  </a:lnTo>
                  <a:lnTo>
                    <a:pt x="67" y="73"/>
                  </a:lnTo>
                  <a:lnTo>
                    <a:pt x="67" y="77"/>
                  </a:lnTo>
                  <a:lnTo>
                    <a:pt x="70" y="77"/>
                  </a:lnTo>
                  <a:lnTo>
                    <a:pt x="73" y="74"/>
                  </a:lnTo>
                  <a:lnTo>
                    <a:pt x="73" y="71"/>
                  </a:lnTo>
                  <a:lnTo>
                    <a:pt x="70" y="70"/>
                  </a:lnTo>
                  <a:lnTo>
                    <a:pt x="65" y="68"/>
                  </a:lnTo>
                  <a:lnTo>
                    <a:pt x="68" y="65"/>
                  </a:lnTo>
                  <a:lnTo>
                    <a:pt x="68" y="62"/>
                  </a:lnTo>
                  <a:lnTo>
                    <a:pt x="71" y="60"/>
                  </a:lnTo>
                  <a:lnTo>
                    <a:pt x="71" y="58"/>
                  </a:lnTo>
                  <a:lnTo>
                    <a:pt x="70" y="55"/>
                  </a:lnTo>
                  <a:lnTo>
                    <a:pt x="70" y="52"/>
                  </a:lnTo>
                  <a:lnTo>
                    <a:pt x="71" y="49"/>
                  </a:lnTo>
                  <a:lnTo>
                    <a:pt x="71" y="47"/>
                  </a:lnTo>
                  <a:lnTo>
                    <a:pt x="75" y="46"/>
                  </a:lnTo>
                  <a:lnTo>
                    <a:pt x="78" y="46"/>
                  </a:lnTo>
                  <a:lnTo>
                    <a:pt x="82" y="44"/>
                  </a:lnTo>
                  <a:lnTo>
                    <a:pt x="82" y="44"/>
                  </a:lnTo>
                  <a:lnTo>
                    <a:pt x="84" y="41"/>
                  </a:lnTo>
                  <a:lnTo>
                    <a:pt x="84" y="38"/>
                  </a:lnTo>
                  <a:lnTo>
                    <a:pt x="87" y="38"/>
                  </a:lnTo>
                  <a:lnTo>
                    <a:pt x="92" y="38"/>
                  </a:lnTo>
                  <a:lnTo>
                    <a:pt x="94" y="38"/>
                  </a:lnTo>
                  <a:lnTo>
                    <a:pt x="95" y="38"/>
                  </a:lnTo>
                  <a:lnTo>
                    <a:pt x="95" y="38"/>
                  </a:lnTo>
                  <a:lnTo>
                    <a:pt x="97" y="35"/>
                  </a:lnTo>
                  <a:lnTo>
                    <a:pt x="100" y="31"/>
                  </a:lnTo>
                  <a:lnTo>
                    <a:pt x="97" y="31"/>
                  </a:lnTo>
                  <a:lnTo>
                    <a:pt x="94" y="31"/>
                  </a:lnTo>
                  <a:lnTo>
                    <a:pt x="90" y="30"/>
                  </a:lnTo>
                  <a:lnTo>
                    <a:pt x="90" y="27"/>
                  </a:lnTo>
                  <a:lnTo>
                    <a:pt x="92" y="24"/>
                  </a:lnTo>
                  <a:lnTo>
                    <a:pt x="94" y="22"/>
                  </a:lnTo>
                  <a:lnTo>
                    <a:pt x="94" y="19"/>
                  </a:lnTo>
                  <a:lnTo>
                    <a:pt x="92" y="17"/>
                  </a:lnTo>
                  <a:lnTo>
                    <a:pt x="95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100" y="14"/>
                  </a:lnTo>
                  <a:lnTo>
                    <a:pt x="103" y="11"/>
                  </a:lnTo>
                  <a:lnTo>
                    <a:pt x="106" y="11"/>
                  </a:lnTo>
                  <a:lnTo>
                    <a:pt x="111" y="12"/>
                  </a:lnTo>
                  <a:lnTo>
                    <a:pt x="114" y="12"/>
                  </a:lnTo>
                  <a:lnTo>
                    <a:pt x="114" y="12"/>
                  </a:lnTo>
                  <a:lnTo>
                    <a:pt x="117" y="12"/>
                  </a:lnTo>
                  <a:lnTo>
                    <a:pt x="122" y="12"/>
                  </a:lnTo>
                  <a:lnTo>
                    <a:pt x="122" y="12"/>
                  </a:lnTo>
                  <a:lnTo>
                    <a:pt x="122" y="11"/>
                  </a:lnTo>
                  <a:lnTo>
                    <a:pt x="124" y="8"/>
                  </a:lnTo>
                  <a:lnTo>
                    <a:pt x="127" y="5"/>
                  </a:lnTo>
                  <a:lnTo>
                    <a:pt x="130" y="1"/>
                  </a:lnTo>
                  <a:lnTo>
                    <a:pt x="133" y="0"/>
                  </a:lnTo>
                  <a:lnTo>
                    <a:pt x="136" y="0"/>
                  </a:lnTo>
                  <a:lnTo>
                    <a:pt x="138" y="0"/>
                  </a:lnTo>
                  <a:lnTo>
                    <a:pt x="141" y="3"/>
                  </a:lnTo>
                  <a:lnTo>
                    <a:pt x="143" y="3"/>
                  </a:lnTo>
                  <a:lnTo>
                    <a:pt x="144" y="1"/>
                  </a:lnTo>
                  <a:lnTo>
                    <a:pt x="149" y="1"/>
                  </a:lnTo>
                  <a:lnTo>
                    <a:pt x="152" y="1"/>
                  </a:lnTo>
                  <a:lnTo>
                    <a:pt x="152" y="3"/>
                  </a:lnTo>
                  <a:lnTo>
                    <a:pt x="154" y="6"/>
                  </a:lnTo>
                  <a:lnTo>
                    <a:pt x="154" y="6"/>
                  </a:lnTo>
                  <a:lnTo>
                    <a:pt x="155" y="8"/>
                  </a:lnTo>
                  <a:lnTo>
                    <a:pt x="159" y="6"/>
                  </a:lnTo>
                  <a:lnTo>
                    <a:pt x="162" y="5"/>
                  </a:lnTo>
                  <a:lnTo>
                    <a:pt x="165" y="5"/>
                  </a:lnTo>
                  <a:lnTo>
                    <a:pt x="170" y="5"/>
                  </a:lnTo>
                  <a:lnTo>
                    <a:pt x="173" y="6"/>
                  </a:lnTo>
                  <a:lnTo>
                    <a:pt x="176" y="8"/>
                  </a:lnTo>
                  <a:lnTo>
                    <a:pt x="174" y="11"/>
                  </a:lnTo>
                  <a:lnTo>
                    <a:pt x="176" y="14"/>
                  </a:lnTo>
                  <a:lnTo>
                    <a:pt x="178" y="17"/>
                  </a:lnTo>
                  <a:lnTo>
                    <a:pt x="181" y="16"/>
                  </a:lnTo>
                  <a:lnTo>
                    <a:pt x="186" y="14"/>
                  </a:lnTo>
                  <a:lnTo>
                    <a:pt x="189" y="14"/>
                  </a:lnTo>
                  <a:lnTo>
                    <a:pt x="192" y="11"/>
                  </a:lnTo>
                  <a:lnTo>
                    <a:pt x="195" y="11"/>
                  </a:lnTo>
                  <a:lnTo>
                    <a:pt x="200" y="11"/>
                  </a:lnTo>
                  <a:lnTo>
                    <a:pt x="211" y="16"/>
                  </a:lnTo>
                  <a:lnTo>
                    <a:pt x="222" y="20"/>
                  </a:lnTo>
                  <a:lnTo>
                    <a:pt x="222" y="24"/>
                  </a:lnTo>
                  <a:lnTo>
                    <a:pt x="222" y="25"/>
                  </a:lnTo>
                  <a:lnTo>
                    <a:pt x="222" y="27"/>
                  </a:lnTo>
                  <a:lnTo>
                    <a:pt x="222" y="30"/>
                  </a:lnTo>
                  <a:lnTo>
                    <a:pt x="222" y="33"/>
                  </a:lnTo>
                  <a:lnTo>
                    <a:pt x="225" y="36"/>
                  </a:lnTo>
                  <a:lnTo>
                    <a:pt x="227" y="39"/>
                  </a:lnTo>
                  <a:lnTo>
                    <a:pt x="227" y="43"/>
                  </a:lnTo>
                  <a:lnTo>
                    <a:pt x="227" y="44"/>
                  </a:lnTo>
                  <a:lnTo>
                    <a:pt x="227" y="44"/>
                  </a:lnTo>
                  <a:lnTo>
                    <a:pt x="227" y="44"/>
                  </a:lnTo>
                  <a:lnTo>
                    <a:pt x="224" y="46"/>
                  </a:lnTo>
                  <a:lnTo>
                    <a:pt x="222" y="49"/>
                  </a:lnTo>
                  <a:lnTo>
                    <a:pt x="225" y="52"/>
                  </a:lnTo>
                  <a:lnTo>
                    <a:pt x="228" y="54"/>
                  </a:lnTo>
                  <a:lnTo>
                    <a:pt x="230" y="55"/>
                  </a:lnTo>
                  <a:lnTo>
                    <a:pt x="230" y="57"/>
                  </a:lnTo>
                  <a:lnTo>
                    <a:pt x="233" y="57"/>
                  </a:lnTo>
                  <a:lnTo>
                    <a:pt x="233" y="60"/>
                  </a:lnTo>
                  <a:lnTo>
                    <a:pt x="236" y="65"/>
                  </a:lnTo>
                  <a:lnTo>
                    <a:pt x="236" y="65"/>
                  </a:lnTo>
                  <a:lnTo>
                    <a:pt x="239" y="68"/>
                  </a:lnTo>
                  <a:lnTo>
                    <a:pt x="241" y="71"/>
                  </a:lnTo>
                  <a:lnTo>
                    <a:pt x="244" y="74"/>
                  </a:lnTo>
                  <a:lnTo>
                    <a:pt x="247" y="76"/>
                  </a:lnTo>
                  <a:lnTo>
                    <a:pt x="251" y="77"/>
                  </a:lnTo>
                  <a:lnTo>
                    <a:pt x="255" y="77"/>
                  </a:lnTo>
                  <a:lnTo>
                    <a:pt x="255" y="79"/>
                  </a:lnTo>
                  <a:lnTo>
                    <a:pt x="260" y="82"/>
                  </a:lnTo>
                  <a:lnTo>
                    <a:pt x="260" y="82"/>
                  </a:lnTo>
                  <a:lnTo>
                    <a:pt x="259" y="82"/>
                  </a:lnTo>
                  <a:lnTo>
                    <a:pt x="259" y="87"/>
                  </a:lnTo>
                  <a:lnTo>
                    <a:pt x="257" y="90"/>
                  </a:lnTo>
                  <a:lnTo>
                    <a:pt x="257" y="90"/>
                  </a:lnTo>
                  <a:lnTo>
                    <a:pt x="260" y="92"/>
                  </a:lnTo>
                  <a:lnTo>
                    <a:pt x="265" y="90"/>
                  </a:lnTo>
                  <a:lnTo>
                    <a:pt x="268" y="89"/>
                  </a:lnTo>
                  <a:lnTo>
                    <a:pt x="271" y="92"/>
                  </a:lnTo>
                  <a:lnTo>
                    <a:pt x="273" y="92"/>
                  </a:lnTo>
                  <a:lnTo>
                    <a:pt x="274" y="92"/>
                  </a:lnTo>
                  <a:lnTo>
                    <a:pt x="279" y="93"/>
                  </a:lnTo>
                  <a:lnTo>
                    <a:pt x="278" y="96"/>
                  </a:lnTo>
                  <a:lnTo>
                    <a:pt x="281" y="100"/>
                  </a:lnTo>
                  <a:lnTo>
                    <a:pt x="282" y="101"/>
                  </a:lnTo>
                  <a:lnTo>
                    <a:pt x="287" y="101"/>
                  </a:lnTo>
                  <a:lnTo>
                    <a:pt x="289" y="104"/>
                  </a:lnTo>
                  <a:lnTo>
                    <a:pt x="289" y="108"/>
                  </a:lnTo>
                  <a:lnTo>
                    <a:pt x="287" y="108"/>
                  </a:lnTo>
                  <a:lnTo>
                    <a:pt x="282" y="109"/>
                  </a:lnTo>
                  <a:lnTo>
                    <a:pt x="282" y="112"/>
                  </a:lnTo>
                  <a:lnTo>
                    <a:pt x="278" y="116"/>
                  </a:lnTo>
                  <a:lnTo>
                    <a:pt x="278" y="116"/>
                  </a:lnTo>
                  <a:lnTo>
                    <a:pt x="274" y="117"/>
                  </a:lnTo>
                  <a:lnTo>
                    <a:pt x="271" y="117"/>
                  </a:lnTo>
                  <a:lnTo>
                    <a:pt x="268" y="117"/>
                  </a:lnTo>
                  <a:lnTo>
                    <a:pt x="263" y="117"/>
                  </a:lnTo>
                  <a:lnTo>
                    <a:pt x="260" y="114"/>
                  </a:lnTo>
                  <a:lnTo>
                    <a:pt x="257" y="112"/>
                  </a:lnTo>
                  <a:lnTo>
                    <a:pt x="254" y="114"/>
                  </a:lnTo>
                  <a:lnTo>
                    <a:pt x="249" y="114"/>
                  </a:lnTo>
                  <a:lnTo>
                    <a:pt x="249" y="117"/>
                  </a:lnTo>
                  <a:lnTo>
                    <a:pt x="247" y="120"/>
                  </a:lnTo>
                  <a:lnTo>
                    <a:pt x="251" y="123"/>
                  </a:lnTo>
                  <a:lnTo>
                    <a:pt x="254" y="127"/>
                  </a:lnTo>
                  <a:lnTo>
                    <a:pt x="257" y="128"/>
                  </a:lnTo>
                  <a:lnTo>
                    <a:pt x="257" y="133"/>
                  </a:lnTo>
                  <a:lnTo>
                    <a:pt x="257" y="136"/>
                  </a:lnTo>
                  <a:lnTo>
                    <a:pt x="259" y="139"/>
                  </a:lnTo>
                  <a:lnTo>
                    <a:pt x="260" y="141"/>
                  </a:lnTo>
                  <a:lnTo>
                    <a:pt x="260" y="142"/>
                  </a:lnTo>
                  <a:lnTo>
                    <a:pt x="260" y="146"/>
                  </a:lnTo>
                  <a:lnTo>
                    <a:pt x="262" y="149"/>
                  </a:lnTo>
                  <a:lnTo>
                    <a:pt x="265" y="154"/>
                  </a:lnTo>
                  <a:lnTo>
                    <a:pt x="266" y="157"/>
                  </a:lnTo>
                  <a:lnTo>
                    <a:pt x="263" y="157"/>
                  </a:lnTo>
                  <a:lnTo>
                    <a:pt x="260" y="157"/>
                  </a:lnTo>
                  <a:lnTo>
                    <a:pt x="257" y="155"/>
                  </a:lnTo>
                  <a:lnTo>
                    <a:pt x="254" y="155"/>
                  </a:lnTo>
                  <a:lnTo>
                    <a:pt x="251" y="158"/>
                  </a:lnTo>
                  <a:lnTo>
                    <a:pt x="247" y="157"/>
                  </a:lnTo>
                  <a:lnTo>
                    <a:pt x="243" y="157"/>
                  </a:lnTo>
                  <a:lnTo>
                    <a:pt x="241" y="157"/>
                  </a:lnTo>
                  <a:lnTo>
                    <a:pt x="241" y="160"/>
                  </a:lnTo>
                  <a:lnTo>
                    <a:pt x="241" y="160"/>
                  </a:lnTo>
                  <a:lnTo>
                    <a:pt x="238" y="163"/>
                  </a:lnTo>
                  <a:lnTo>
                    <a:pt x="238" y="163"/>
                  </a:lnTo>
                  <a:lnTo>
                    <a:pt x="235" y="166"/>
                  </a:lnTo>
                  <a:lnTo>
                    <a:pt x="233" y="169"/>
                  </a:lnTo>
                  <a:lnTo>
                    <a:pt x="232" y="173"/>
                  </a:lnTo>
                  <a:lnTo>
                    <a:pt x="230" y="176"/>
                  </a:lnTo>
                  <a:lnTo>
                    <a:pt x="233" y="181"/>
                  </a:lnTo>
                  <a:lnTo>
                    <a:pt x="233" y="181"/>
                  </a:lnTo>
                  <a:lnTo>
                    <a:pt x="235" y="185"/>
                  </a:lnTo>
                  <a:lnTo>
                    <a:pt x="235" y="187"/>
                  </a:lnTo>
                  <a:lnTo>
                    <a:pt x="233" y="188"/>
                  </a:lnTo>
                  <a:lnTo>
                    <a:pt x="233" y="190"/>
                  </a:lnTo>
                  <a:lnTo>
                    <a:pt x="232" y="190"/>
                  </a:lnTo>
                  <a:lnTo>
                    <a:pt x="227" y="187"/>
                  </a:lnTo>
                  <a:lnTo>
                    <a:pt x="227" y="185"/>
                  </a:lnTo>
                  <a:lnTo>
                    <a:pt x="222" y="182"/>
                  </a:lnTo>
                  <a:lnTo>
                    <a:pt x="222" y="182"/>
                  </a:lnTo>
                  <a:lnTo>
                    <a:pt x="222" y="181"/>
                  </a:lnTo>
                  <a:lnTo>
                    <a:pt x="219" y="181"/>
                  </a:lnTo>
                  <a:lnTo>
                    <a:pt x="214" y="181"/>
                  </a:lnTo>
                  <a:lnTo>
                    <a:pt x="213" y="182"/>
                  </a:lnTo>
                  <a:lnTo>
                    <a:pt x="209" y="182"/>
                  </a:lnTo>
                  <a:lnTo>
                    <a:pt x="206" y="181"/>
                  </a:lnTo>
                  <a:lnTo>
                    <a:pt x="203" y="181"/>
                  </a:lnTo>
                  <a:lnTo>
                    <a:pt x="200" y="184"/>
                  </a:lnTo>
                  <a:lnTo>
                    <a:pt x="195" y="184"/>
                  </a:lnTo>
                  <a:lnTo>
                    <a:pt x="195" y="185"/>
                  </a:lnTo>
                  <a:lnTo>
                    <a:pt x="192" y="182"/>
                  </a:lnTo>
                  <a:lnTo>
                    <a:pt x="190" y="179"/>
                  </a:lnTo>
                  <a:lnTo>
                    <a:pt x="189" y="176"/>
                  </a:lnTo>
                  <a:lnTo>
                    <a:pt x="186" y="174"/>
                  </a:lnTo>
                  <a:lnTo>
                    <a:pt x="186" y="174"/>
                  </a:lnTo>
                  <a:lnTo>
                    <a:pt x="184" y="177"/>
                  </a:lnTo>
                  <a:lnTo>
                    <a:pt x="181" y="177"/>
                  </a:lnTo>
                  <a:lnTo>
                    <a:pt x="176" y="181"/>
                  </a:lnTo>
                  <a:lnTo>
                    <a:pt x="176" y="184"/>
                  </a:lnTo>
                  <a:lnTo>
                    <a:pt x="173" y="181"/>
                  </a:lnTo>
                  <a:lnTo>
                    <a:pt x="171" y="177"/>
                  </a:lnTo>
                  <a:lnTo>
                    <a:pt x="168" y="177"/>
                  </a:lnTo>
                  <a:lnTo>
                    <a:pt x="165" y="179"/>
                  </a:lnTo>
                  <a:lnTo>
                    <a:pt x="160" y="176"/>
                  </a:lnTo>
                  <a:lnTo>
                    <a:pt x="157" y="176"/>
                  </a:lnTo>
                  <a:lnTo>
                    <a:pt x="154" y="177"/>
                  </a:lnTo>
                  <a:lnTo>
                    <a:pt x="151" y="177"/>
                  </a:lnTo>
                  <a:lnTo>
                    <a:pt x="148" y="176"/>
                  </a:lnTo>
                  <a:lnTo>
                    <a:pt x="146" y="179"/>
                  </a:lnTo>
                  <a:lnTo>
                    <a:pt x="143" y="177"/>
                  </a:lnTo>
                  <a:lnTo>
                    <a:pt x="140" y="176"/>
                  </a:lnTo>
                  <a:lnTo>
                    <a:pt x="136" y="176"/>
                  </a:lnTo>
                  <a:lnTo>
                    <a:pt x="133" y="176"/>
                  </a:lnTo>
                  <a:lnTo>
                    <a:pt x="130" y="176"/>
                  </a:lnTo>
                  <a:lnTo>
                    <a:pt x="127" y="173"/>
                  </a:lnTo>
                  <a:lnTo>
                    <a:pt x="124" y="169"/>
                  </a:lnTo>
                  <a:lnTo>
                    <a:pt x="121" y="169"/>
                  </a:lnTo>
                  <a:lnTo>
                    <a:pt x="117" y="169"/>
                  </a:lnTo>
                  <a:lnTo>
                    <a:pt x="114" y="169"/>
                  </a:lnTo>
                  <a:lnTo>
                    <a:pt x="111" y="168"/>
                  </a:lnTo>
                  <a:lnTo>
                    <a:pt x="108" y="168"/>
                  </a:lnTo>
                  <a:lnTo>
                    <a:pt x="105" y="168"/>
                  </a:lnTo>
                  <a:lnTo>
                    <a:pt x="102" y="166"/>
                  </a:lnTo>
                  <a:lnTo>
                    <a:pt x="98" y="166"/>
                  </a:lnTo>
                  <a:lnTo>
                    <a:pt x="89" y="163"/>
                  </a:lnTo>
                  <a:lnTo>
                    <a:pt x="78" y="163"/>
                  </a:lnTo>
                  <a:lnTo>
                    <a:pt x="71" y="163"/>
                  </a:lnTo>
                  <a:lnTo>
                    <a:pt x="65" y="162"/>
                  </a:lnTo>
                  <a:lnTo>
                    <a:pt x="57" y="163"/>
                  </a:lnTo>
                  <a:lnTo>
                    <a:pt x="48" y="165"/>
                  </a:lnTo>
                  <a:lnTo>
                    <a:pt x="44" y="165"/>
                  </a:lnTo>
                  <a:lnTo>
                    <a:pt x="41" y="165"/>
                  </a:lnTo>
                  <a:lnTo>
                    <a:pt x="36" y="168"/>
                  </a:lnTo>
                  <a:lnTo>
                    <a:pt x="36" y="171"/>
                  </a:lnTo>
                  <a:lnTo>
                    <a:pt x="33" y="173"/>
                  </a:lnTo>
                  <a:lnTo>
                    <a:pt x="30" y="176"/>
                  </a:lnTo>
                  <a:lnTo>
                    <a:pt x="27" y="176"/>
                  </a:lnTo>
                  <a:lnTo>
                    <a:pt x="24" y="174"/>
                  </a:lnTo>
                  <a:lnTo>
                    <a:pt x="21" y="174"/>
                  </a:lnTo>
                  <a:lnTo>
                    <a:pt x="17" y="174"/>
                  </a:lnTo>
                  <a:lnTo>
                    <a:pt x="16" y="176"/>
                  </a:lnTo>
                  <a:lnTo>
                    <a:pt x="17" y="177"/>
                  </a:lnTo>
                  <a:lnTo>
                    <a:pt x="17" y="177"/>
                  </a:lnTo>
                  <a:lnTo>
                    <a:pt x="16" y="179"/>
                  </a:lnTo>
                  <a:lnTo>
                    <a:pt x="14" y="179"/>
                  </a:lnTo>
                  <a:lnTo>
                    <a:pt x="14" y="174"/>
                  </a:lnTo>
                  <a:lnTo>
                    <a:pt x="14" y="174"/>
                  </a:lnTo>
                  <a:lnTo>
                    <a:pt x="14" y="171"/>
                  </a:lnTo>
                  <a:lnTo>
                    <a:pt x="14" y="169"/>
                  </a:lnTo>
                  <a:lnTo>
                    <a:pt x="16" y="166"/>
                  </a:lnTo>
                  <a:lnTo>
                    <a:pt x="16" y="163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6" y="158"/>
                  </a:lnTo>
                  <a:lnTo>
                    <a:pt x="16" y="157"/>
                  </a:lnTo>
                  <a:lnTo>
                    <a:pt x="16" y="157"/>
                  </a:lnTo>
                  <a:lnTo>
                    <a:pt x="13" y="157"/>
                  </a:lnTo>
                  <a:lnTo>
                    <a:pt x="10" y="154"/>
                  </a:lnTo>
                  <a:lnTo>
                    <a:pt x="6" y="152"/>
                  </a:lnTo>
                  <a:lnTo>
                    <a:pt x="3" y="152"/>
                  </a:lnTo>
                  <a:lnTo>
                    <a:pt x="0" y="149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09" name="Freeform 505"/>
            <p:cNvSpPr>
              <a:spLocks/>
            </p:cNvSpPr>
            <p:nvPr/>
          </p:nvSpPr>
          <p:spPr bwMode="auto">
            <a:xfrm>
              <a:off x="5873724" y="2842022"/>
              <a:ext cx="158799" cy="77851"/>
            </a:xfrm>
            <a:custGeom>
              <a:avLst/>
              <a:gdLst>
                <a:gd name="T0" fmla="*/ 3 w 217"/>
                <a:gd name="T1" fmla="*/ 60 h 92"/>
                <a:gd name="T2" fmla="*/ 3 w 217"/>
                <a:gd name="T3" fmla="*/ 53 h 92"/>
                <a:gd name="T4" fmla="*/ 11 w 217"/>
                <a:gd name="T5" fmla="*/ 41 h 92"/>
                <a:gd name="T6" fmla="*/ 12 w 217"/>
                <a:gd name="T7" fmla="*/ 30 h 92"/>
                <a:gd name="T8" fmla="*/ 22 w 217"/>
                <a:gd name="T9" fmla="*/ 19 h 92"/>
                <a:gd name="T10" fmla="*/ 43 w 217"/>
                <a:gd name="T11" fmla="*/ 13 h 92"/>
                <a:gd name="T12" fmla="*/ 50 w 217"/>
                <a:gd name="T13" fmla="*/ 22 h 92"/>
                <a:gd name="T14" fmla="*/ 63 w 217"/>
                <a:gd name="T15" fmla="*/ 32 h 92"/>
                <a:gd name="T16" fmla="*/ 73 w 217"/>
                <a:gd name="T17" fmla="*/ 40 h 92"/>
                <a:gd name="T18" fmla="*/ 84 w 217"/>
                <a:gd name="T19" fmla="*/ 43 h 92"/>
                <a:gd name="T20" fmla="*/ 93 w 217"/>
                <a:gd name="T21" fmla="*/ 38 h 92"/>
                <a:gd name="T22" fmla="*/ 100 w 217"/>
                <a:gd name="T23" fmla="*/ 29 h 92"/>
                <a:gd name="T24" fmla="*/ 96 w 217"/>
                <a:gd name="T25" fmla="*/ 18 h 92"/>
                <a:gd name="T26" fmla="*/ 95 w 217"/>
                <a:gd name="T27" fmla="*/ 8 h 92"/>
                <a:gd name="T28" fmla="*/ 100 w 217"/>
                <a:gd name="T29" fmla="*/ 7 h 92"/>
                <a:gd name="T30" fmla="*/ 111 w 217"/>
                <a:gd name="T31" fmla="*/ 3 h 92"/>
                <a:gd name="T32" fmla="*/ 120 w 217"/>
                <a:gd name="T33" fmla="*/ 3 h 92"/>
                <a:gd name="T34" fmla="*/ 130 w 217"/>
                <a:gd name="T35" fmla="*/ 5 h 92"/>
                <a:gd name="T36" fmla="*/ 139 w 217"/>
                <a:gd name="T37" fmla="*/ 10 h 92"/>
                <a:gd name="T38" fmla="*/ 147 w 217"/>
                <a:gd name="T39" fmla="*/ 13 h 92"/>
                <a:gd name="T40" fmla="*/ 157 w 217"/>
                <a:gd name="T41" fmla="*/ 19 h 92"/>
                <a:gd name="T42" fmla="*/ 163 w 217"/>
                <a:gd name="T43" fmla="*/ 21 h 92"/>
                <a:gd name="T44" fmla="*/ 174 w 217"/>
                <a:gd name="T45" fmla="*/ 18 h 92"/>
                <a:gd name="T46" fmla="*/ 184 w 217"/>
                <a:gd name="T47" fmla="*/ 21 h 92"/>
                <a:gd name="T48" fmla="*/ 192 w 217"/>
                <a:gd name="T49" fmla="*/ 26 h 92"/>
                <a:gd name="T50" fmla="*/ 201 w 217"/>
                <a:gd name="T51" fmla="*/ 30 h 92"/>
                <a:gd name="T52" fmla="*/ 200 w 217"/>
                <a:gd name="T53" fmla="*/ 37 h 92"/>
                <a:gd name="T54" fmla="*/ 198 w 217"/>
                <a:gd name="T55" fmla="*/ 46 h 92"/>
                <a:gd name="T56" fmla="*/ 206 w 217"/>
                <a:gd name="T57" fmla="*/ 48 h 92"/>
                <a:gd name="T58" fmla="*/ 209 w 217"/>
                <a:gd name="T59" fmla="*/ 57 h 92"/>
                <a:gd name="T60" fmla="*/ 214 w 217"/>
                <a:gd name="T61" fmla="*/ 62 h 92"/>
                <a:gd name="T62" fmla="*/ 217 w 217"/>
                <a:gd name="T63" fmla="*/ 72 h 92"/>
                <a:gd name="T64" fmla="*/ 209 w 217"/>
                <a:gd name="T65" fmla="*/ 76 h 92"/>
                <a:gd name="T66" fmla="*/ 201 w 217"/>
                <a:gd name="T67" fmla="*/ 86 h 92"/>
                <a:gd name="T68" fmla="*/ 196 w 217"/>
                <a:gd name="T69" fmla="*/ 87 h 92"/>
                <a:gd name="T70" fmla="*/ 190 w 217"/>
                <a:gd name="T71" fmla="*/ 87 h 92"/>
                <a:gd name="T72" fmla="*/ 179 w 217"/>
                <a:gd name="T73" fmla="*/ 89 h 92"/>
                <a:gd name="T74" fmla="*/ 174 w 217"/>
                <a:gd name="T75" fmla="*/ 92 h 92"/>
                <a:gd name="T76" fmla="*/ 166 w 217"/>
                <a:gd name="T77" fmla="*/ 92 h 92"/>
                <a:gd name="T78" fmla="*/ 152 w 217"/>
                <a:gd name="T79" fmla="*/ 81 h 92"/>
                <a:gd name="T80" fmla="*/ 127 w 217"/>
                <a:gd name="T81" fmla="*/ 73 h 92"/>
                <a:gd name="T82" fmla="*/ 114 w 217"/>
                <a:gd name="T83" fmla="*/ 65 h 92"/>
                <a:gd name="T84" fmla="*/ 104 w 217"/>
                <a:gd name="T85" fmla="*/ 70 h 92"/>
                <a:gd name="T86" fmla="*/ 95 w 217"/>
                <a:gd name="T87" fmla="*/ 70 h 92"/>
                <a:gd name="T88" fmla="*/ 84 w 217"/>
                <a:gd name="T89" fmla="*/ 67 h 92"/>
                <a:gd name="T90" fmla="*/ 76 w 217"/>
                <a:gd name="T91" fmla="*/ 67 h 92"/>
                <a:gd name="T92" fmla="*/ 66 w 217"/>
                <a:gd name="T93" fmla="*/ 65 h 92"/>
                <a:gd name="T94" fmla="*/ 57 w 217"/>
                <a:gd name="T95" fmla="*/ 65 h 92"/>
                <a:gd name="T96" fmla="*/ 49 w 217"/>
                <a:gd name="T97" fmla="*/ 65 h 92"/>
                <a:gd name="T98" fmla="*/ 28 w 217"/>
                <a:gd name="T99" fmla="*/ 67 h 92"/>
                <a:gd name="T100" fmla="*/ 17 w 217"/>
                <a:gd name="T101" fmla="*/ 70 h 92"/>
                <a:gd name="T102" fmla="*/ 9 w 217"/>
                <a:gd name="T103" fmla="*/ 73 h 92"/>
                <a:gd name="T104" fmla="*/ 3 w 217"/>
                <a:gd name="T105" fmla="*/ 78 h 92"/>
                <a:gd name="T106" fmla="*/ 1 w 217"/>
                <a:gd name="T107" fmla="*/ 65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7" h="92">
                  <a:moveTo>
                    <a:pt x="1" y="60"/>
                  </a:moveTo>
                  <a:lnTo>
                    <a:pt x="3" y="64"/>
                  </a:lnTo>
                  <a:lnTo>
                    <a:pt x="3" y="60"/>
                  </a:lnTo>
                  <a:lnTo>
                    <a:pt x="1" y="60"/>
                  </a:lnTo>
                  <a:lnTo>
                    <a:pt x="1" y="56"/>
                  </a:lnTo>
                  <a:lnTo>
                    <a:pt x="3" y="53"/>
                  </a:lnTo>
                  <a:lnTo>
                    <a:pt x="1" y="49"/>
                  </a:lnTo>
                  <a:lnTo>
                    <a:pt x="4" y="46"/>
                  </a:lnTo>
                  <a:lnTo>
                    <a:pt x="11" y="41"/>
                  </a:lnTo>
                  <a:lnTo>
                    <a:pt x="12" y="38"/>
                  </a:lnTo>
                  <a:lnTo>
                    <a:pt x="11" y="35"/>
                  </a:lnTo>
                  <a:lnTo>
                    <a:pt x="12" y="30"/>
                  </a:lnTo>
                  <a:lnTo>
                    <a:pt x="16" y="26"/>
                  </a:lnTo>
                  <a:lnTo>
                    <a:pt x="19" y="21"/>
                  </a:lnTo>
                  <a:lnTo>
                    <a:pt x="22" y="19"/>
                  </a:lnTo>
                  <a:lnTo>
                    <a:pt x="28" y="19"/>
                  </a:lnTo>
                  <a:lnTo>
                    <a:pt x="35" y="16"/>
                  </a:lnTo>
                  <a:lnTo>
                    <a:pt x="43" y="13"/>
                  </a:lnTo>
                  <a:lnTo>
                    <a:pt x="44" y="16"/>
                  </a:lnTo>
                  <a:lnTo>
                    <a:pt x="47" y="21"/>
                  </a:lnTo>
                  <a:lnTo>
                    <a:pt x="50" y="22"/>
                  </a:lnTo>
                  <a:lnTo>
                    <a:pt x="58" y="27"/>
                  </a:lnTo>
                  <a:lnTo>
                    <a:pt x="62" y="27"/>
                  </a:lnTo>
                  <a:lnTo>
                    <a:pt x="63" y="32"/>
                  </a:lnTo>
                  <a:lnTo>
                    <a:pt x="66" y="38"/>
                  </a:lnTo>
                  <a:lnTo>
                    <a:pt x="69" y="40"/>
                  </a:lnTo>
                  <a:lnTo>
                    <a:pt x="73" y="40"/>
                  </a:lnTo>
                  <a:lnTo>
                    <a:pt x="77" y="43"/>
                  </a:lnTo>
                  <a:lnTo>
                    <a:pt x="81" y="43"/>
                  </a:lnTo>
                  <a:lnTo>
                    <a:pt x="84" y="43"/>
                  </a:lnTo>
                  <a:lnTo>
                    <a:pt x="87" y="41"/>
                  </a:lnTo>
                  <a:lnTo>
                    <a:pt x="90" y="38"/>
                  </a:lnTo>
                  <a:lnTo>
                    <a:pt x="93" y="38"/>
                  </a:lnTo>
                  <a:lnTo>
                    <a:pt x="96" y="35"/>
                  </a:lnTo>
                  <a:lnTo>
                    <a:pt x="100" y="32"/>
                  </a:lnTo>
                  <a:lnTo>
                    <a:pt x="100" y="29"/>
                  </a:lnTo>
                  <a:lnTo>
                    <a:pt x="98" y="24"/>
                  </a:lnTo>
                  <a:lnTo>
                    <a:pt x="96" y="21"/>
                  </a:lnTo>
                  <a:lnTo>
                    <a:pt x="96" y="18"/>
                  </a:lnTo>
                  <a:lnTo>
                    <a:pt x="95" y="14"/>
                  </a:lnTo>
                  <a:lnTo>
                    <a:pt x="95" y="11"/>
                  </a:lnTo>
                  <a:lnTo>
                    <a:pt x="95" y="8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100" y="7"/>
                  </a:lnTo>
                  <a:lnTo>
                    <a:pt x="104" y="5"/>
                  </a:lnTo>
                  <a:lnTo>
                    <a:pt x="108" y="3"/>
                  </a:lnTo>
                  <a:lnTo>
                    <a:pt x="111" y="3"/>
                  </a:lnTo>
                  <a:lnTo>
                    <a:pt x="114" y="3"/>
                  </a:lnTo>
                  <a:lnTo>
                    <a:pt x="117" y="0"/>
                  </a:lnTo>
                  <a:lnTo>
                    <a:pt x="120" y="3"/>
                  </a:lnTo>
                  <a:lnTo>
                    <a:pt x="122" y="3"/>
                  </a:lnTo>
                  <a:lnTo>
                    <a:pt x="125" y="2"/>
                  </a:lnTo>
                  <a:lnTo>
                    <a:pt x="130" y="5"/>
                  </a:lnTo>
                  <a:lnTo>
                    <a:pt x="133" y="7"/>
                  </a:lnTo>
                  <a:lnTo>
                    <a:pt x="136" y="7"/>
                  </a:lnTo>
                  <a:lnTo>
                    <a:pt x="139" y="10"/>
                  </a:lnTo>
                  <a:lnTo>
                    <a:pt x="142" y="10"/>
                  </a:lnTo>
                  <a:lnTo>
                    <a:pt x="146" y="11"/>
                  </a:lnTo>
                  <a:lnTo>
                    <a:pt x="147" y="13"/>
                  </a:lnTo>
                  <a:lnTo>
                    <a:pt x="150" y="14"/>
                  </a:lnTo>
                  <a:lnTo>
                    <a:pt x="154" y="18"/>
                  </a:lnTo>
                  <a:lnTo>
                    <a:pt x="157" y="19"/>
                  </a:lnTo>
                  <a:lnTo>
                    <a:pt x="160" y="21"/>
                  </a:lnTo>
                  <a:lnTo>
                    <a:pt x="163" y="22"/>
                  </a:lnTo>
                  <a:lnTo>
                    <a:pt x="163" y="21"/>
                  </a:lnTo>
                  <a:lnTo>
                    <a:pt x="168" y="19"/>
                  </a:lnTo>
                  <a:lnTo>
                    <a:pt x="171" y="18"/>
                  </a:lnTo>
                  <a:lnTo>
                    <a:pt x="174" y="18"/>
                  </a:lnTo>
                  <a:lnTo>
                    <a:pt x="176" y="19"/>
                  </a:lnTo>
                  <a:lnTo>
                    <a:pt x="181" y="21"/>
                  </a:lnTo>
                  <a:lnTo>
                    <a:pt x="184" y="21"/>
                  </a:lnTo>
                  <a:lnTo>
                    <a:pt x="185" y="21"/>
                  </a:lnTo>
                  <a:lnTo>
                    <a:pt x="188" y="22"/>
                  </a:lnTo>
                  <a:lnTo>
                    <a:pt x="192" y="26"/>
                  </a:lnTo>
                  <a:lnTo>
                    <a:pt x="195" y="27"/>
                  </a:lnTo>
                  <a:lnTo>
                    <a:pt x="198" y="29"/>
                  </a:lnTo>
                  <a:lnTo>
                    <a:pt x="201" y="30"/>
                  </a:lnTo>
                  <a:lnTo>
                    <a:pt x="201" y="34"/>
                  </a:lnTo>
                  <a:lnTo>
                    <a:pt x="201" y="37"/>
                  </a:lnTo>
                  <a:lnTo>
                    <a:pt x="200" y="37"/>
                  </a:lnTo>
                  <a:lnTo>
                    <a:pt x="200" y="40"/>
                  </a:lnTo>
                  <a:lnTo>
                    <a:pt x="200" y="43"/>
                  </a:lnTo>
                  <a:lnTo>
                    <a:pt x="198" y="46"/>
                  </a:lnTo>
                  <a:lnTo>
                    <a:pt x="200" y="46"/>
                  </a:lnTo>
                  <a:lnTo>
                    <a:pt x="203" y="46"/>
                  </a:lnTo>
                  <a:lnTo>
                    <a:pt x="206" y="48"/>
                  </a:lnTo>
                  <a:lnTo>
                    <a:pt x="206" y="53"/>
                  </a:lnTo>
                  <a:lnTo>
                    <a:pt x="209" y="54"/>
                  </a:lnTo>
                  <a:lnTo>
                    <a:pt x="209" y="57"/>
                  </a:lnTo>
                  <a:lnTo>
                    <a:pt x="209" y="57"/>
                  </a:lnTo>
                  <a:lnTo>
                    <a:pt x="214" y="59"/>
                  </a:lnTo>
                  <a:lnTo>
                    <a:pt x="214" y="62"/>
                  </a:lnTo>
                  <a:lnTo>
                    <a:pt x="215" y="65"/>
                  </a:lnTo>
                  <a:lnTo>
                    <a:pt x="217" y="68"/>
                  </a:lnTo>
                  <a:lnTo>
                    <a:pt x="217" y="72"/>
                  </a:lnTo>
                  <a:lnTo>
                    <a:pt x="215" y="75"/>
                  </a:lnTo>
                  <a:lnTo>
                    <a:pt x="212" y="75"/>
                  </a:lnTo>
                  <a:lnTo>
                    <a:pt x="209" y="76"/>
                  </a:lnTo>
                  <a:lnTo>
                    <a:pt x="206" y="80"/>
                  </a:lnTo>
                  <a:lnTo>
                    <a:pt x="203" y="83"/>
                  </a:lnTo>
                  <a:lnTo>
                    <a:pt x="201" y="86"/>
                  </a:lnTo>
                  <a:lnTo>
                    <a:pt x="201" y="87"/>
                  </a:lnTo>
                  <a:lnTo>
                    <a:pt x="201" y="87"/>
                  </a:lnTo>
                  <a:lnTo>
                    <a:pt x="196" y="87"/>
                  </a:lnTo>
                  <a:lnTo>
                    <a:pt x="193" y="87"/>
                  </a:lnTo>
                  <a:lnTo>
                    <a:pt x="193" y="87"/>
                  </a:lnTo>
                  <a:lnTo>
                    <a:pt x="190" y="87"/>
                  </a:lnTo>
                  <a:lnTo>
                    <a:pt x="185" y="86"/>
                  </a:lnTo>
                  <a:lnTo>
                    <a:pt x="182" y="86"/>
                  </a:lnTo>
                  <a:lnTo>
                    <a:pt x="179" y="89"/>
                  </a:lnTo>
                  <a:lnTo>
                    <a:pt x="176" y="92"/>
                  </a:lnTo>
                  <a:lnTo>
                    <a:pt x="176" y="92"/>
                  </a:lnTo>
                  <a:lnTo>
                    <a:pt x="174" y="92"/>
                  </a:lnTo>
                  <a:lnTo>
                    <a:pt x="171" y="92"/>
                  </a:lnTo>
                  <a:lnTo>
                    <a:pt x="171" y="92"/>
                  </a:lnTo>
                  <a:lnTo>
                    <a:pt x="166" y="92"/>
                  </a:lnTo>
                  <a:lnTo>
                    <a:pt x="166" y="91"/>
                  </a:lnTo>
                  <a:lnTo>
                    <a:pt x="161" y="89"/>
                  </a:lnTo>
                  <a:lnTo>
                    <a:pt x="152" y="81"/>
                  </a:lnTo>
                  <a:lnTo>
                    <a:pt x="142" y="75"/>
                  </a:lnTo>
                  <a:lnTo>
                    <a:pt x="133" y="73"/>
                  </a:lnTo>
                  <a:lnTo>
                    <a:pt x="127" y="73"/>
                  </a:lnTo>
                  <a:lnTo>
                    <a:pt x="123" y="70"/>
                  </a:lnTo>
                  <a:lnTo>
                    <a:pt x="117" y="64"/>
                  </a:lnTo>
                  <a:lnTo>
                    <a:pt x="114" y="65"/>
                  </a:lnTo>
                  <a:lnTo>
                    <a:pt x="111" y="65"/>
                  </a:lnTo>
                  <a:lnTo>
                    <a:pt x="108" y="68"/>
                  </a:lnTo>
                  <a:lnTo>
                    <a:pt x="104" y="70"/>
                  </a:lnTo>
                  <a:lnTo>
                    <a:pt x="100" y="68"/>
                  </a:lnTo>
                  <a:lnTo>
                    <a:pt x="98" y="70"/>
                  </a:lnTo>
                  <a:lnTo>
                    <a:pt x="95" y="70"/>
                  </a:lnTo>
                  <a:lnTo>
                    <a:pt x="92" y="68"/>
                  </a:lnTo>
                  <a:lnTo>
                    <a:pt x="87" y="67"/>
                  </a:lnTo>
                  <a:lnTo>
                    <a:pt x="84" y="67"/>
                  </a:lnTo>
                  <a:lnTo>
                    <a:pt x="81" y="67"/>
                  </a:lnTo>
                  <a:lnTo>
                    <a:pt x="79" y="67"/>
                  </a:lnTo>
                  <a:lnTo>
                    <a:pt x="76" y="67"/>
                  </a:lnTo>
                  <a:lnTo>
                    <a:pt x="73" y="67"/>
                  </a:lnTo>
                  <a:lnTo>
                    <a:pt x="69" y="65"/>
                  </a:lnTo>
                  <a:lnTo>
                    <a:pt x="66" y="65"/>
                  </a:lnTo>
                  <a:lnTo>
                    <a:pt x="63" y="68"/>
                  </a:lnTo>
                  <a:lnTo>
                    <a:pt x="60" y="65"/>
                  </a:lnTo>
                  <a:lnTo>
                    <a:pt x="57" y="65"/>
                  </a:lnTo>
                  <a:lnTo>
                    <a:pt x="54" y="65"/>
                  </a:lnTo>
                  <a:lnTo>
                    <a:pt x="50" y="65"/>
                  </a:lnTo>
                  <a:lnTo>
                    <a:pt x="49" y="65"/>
                  </a:lnTo>
                  <a:lnTo>
                    <a:pt x="41" y="65"/>
                  </a:lnTo>
                  <a:lnTo>
                    <a:pt x="35" y="64"/>
                  </a:lnTo>
                  <a:lnTo>
                    <a:pt x="28" y="67"/>
                  </a:lnTo>
                  <a:lnTo>
                    <a:pt x="22" y="68"/>
                  </a:lnTo>
                  <a:lnTo>
                    <a:pt x="17" y="68"/>
                  </a:lnTo>
                  <a:lnTo>
                    <a:pt x="17" y="70"/>
                  </a:lnTo>
                  <a:lnTo>
                    <a:pt x="16" y="70"/>
                  </a:lnTo>
                  <a:lnTo>
                    <a:pt x="12" y="70"/>
                  </a:lnTo>
                  <a:lnTo>
                    <a:pt x="9" y="73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3" y="78"/>
                  </a:lnTo>
                  <a:lnTo>
                    <a:pt x="1" y="72"/>
                  </a:lnTo>
                  <a:lnTo>
                    <a:pt x="0" y="68"/>
                  </a:lnTo>
                  <a:lnTo>
                    <a:pt x="1" y="65"/>
                  </a:lnTo>
                  <a:lnTo>
                    <a:pt x="1" y="6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grpSp>
          <p:nvGrpSpPr>
            <p:cNvPr id="310" name="Group 506"/>
            <p:cNvGrpSpPr>
              <a:grpSpLocks/>
            </p:cNvGrpSpPr>
            <p:nvPr/>
          </p:nvGrpSpPr>
          <p:grpSpPr bwMode="auto">
            <a:xfrm>
              <a:off x="5889898" y="2792942"/>
              <a:ext cx="132333" cy="67697"/>
              <a:chOff x="2954" y="1286"/>
              <a:chExt cx="90" cy="40"/>
            </a:xfrm>
            <a:solidFill>
              <a:srgbClr val="A6A6A6"/>
            </a:solidFill>
          </p:grpSpPr>
          <p:sp>
            <p:nvSpPr>
              <p:cNvPr id="692" name="Freeform 507"/>
              <p:cNvSpPr>
                <a:spLocks/>
              </p:cNvSpPr>
              <p:nvPr/>
            </p:nvSpPr>
            <p:spPr bwMode="auto">
              <a:xfrm>
                <a:off x="2954" y="1304"/>
                <a:ext cx="20" cy="14"/>
              </a:xfrm>
              <a:custGeom>
                <a:avLst/>
                <a:gdLst>
                  <a:gd name="T0" fmla="*/ 5 w 40"/>
                  <a:gd name="T1" fmla="*/ 27 h 27"/>
                  <a:gd name="T2" fmla="*/ 9 w 40"/>
                  <a:gd name="T3" fmla="*/ 25 h 27"/>
                  <a:gd name="T4" fmla="*/ 11 w 40"/>
                  <a:gd name="T5" fmla="*/ 22 h 27"/>
                  <a:gd name="T6" fmla="*/ 11 w 40"/>
                  <a:gd name="T7" fmla="*/ 19 h 27"/>
                  <a:gd name="T8" fmla="*/ 14 w 40"/>
                  <a:gd name="T9" fmla="*/ 15 h 27"/>
                  <a:gd name="T10" fmla="*/ 19 w 40"/>
                  <a:gd name="T11" fmla="*/ 15 h 27"/>
                  <a:gd name="T12" fmla="*/ 22 w 40"/>
                  <a:gd name="T13" fmla="*/ 14 h 27"/>
                  <a:gd name="T14" fmla="*/ 25 w 40"/>
                  <a:gd name="T15" fmla="*/ 15 h 27"/>
                  <a:gd name="T16" fmla="*/ 28 w 40"/>
                  <a:gd name="T17" fmla="*/ 12 h 27"/>
                  <a:gd name="T18" fmla="*/ 33 w 40"/>
                  <a:gd name="T19" fmla="*/ 11 h 27"/>
                  <a:gd name="T20" fmla="*/ 36 w 40"/>
                  <a:gd name="T21" fmla="*/ 8 h 27"/>
                  <a:gd name="T22" fmla="*/ 40 w 40"/>
                  <a:gd name="T23" fmla="*/ 8 h 27"/>
                  <a:gd name="T24" fmla="*/ 36 w 40"/>
                  <a:gd name="T25" fmla="*/ 4 h 27"/>
                  <a:gd name="T26" fmla="*/ 35 w 40"/>
                  <a:gd name="T27" fmla="*/ 3 h 27"/>
                  <a:gd name="T28" fmla="*/ 32 w 40"/>
                  <a:gd name="T29" fmla="*/ 1 h 27"/>
                  <a:gd name="T30" fmla="*/ 27 w 40"/>
                  <a:gd name="T31" fmla="*/ 0 h 27"/>
                  <a:gd name="T32" fmla="*/ 24 w 40"/>
                  <a:gd name="T33" fmla="*/ 1 h 27"/>
                  <a:gd name="T34" fmla="*/ 21 w 40"/>
                  <a:gd name="T35" fmla="*/ 1 h 27"/>
                  <a:gd name="T36" fmla="*/ 17 w 40"/>
                  <a:gd name="T37" fmla="*/ 1 h 27"/>
                  <a:gd name="T38" fmla="*/ 14 w 40"/>
                  <a:gd name="T39" fmla="*/ 1 h 27"/>
                  <a:gd name="T40" fmla="*/ 9 w 40"/>
                  <a:gd name="T41" fmla="*/ 4 h 27"/>
                  <a:gd name="T42" fmla="*/ 6 w 40"/>
                  <a:gd name="T43" fmla="*/ 4 h 27"/>
                  <a:gd name="T44" fmla="*/ 3 w 40"/>
                  <a:gd name="T45" fmla="*/ 4 h 27"/>
                  <a:gd name="T46" fmla="*/ 0 w 40"/>
                  <a:gd name="T47" fmla="*/ 4 h 27"/>
                  <a:gd name="T48" fmla="*/ 2 w 40"/>
                  <a:gd name="T49" fmla="*/ 9 h 27"/>
                  <a:gd name="T50" fmla="*/ 0 w 40"/>
                  <a:gd name="T51" fmla="*/ 12 h 27"/>
                  <a:gd name="T52" fmla="*/ 3 w 40"/>
                  <a:gd name="T53" fmla="*/ 15 h 27"/>
                  <a:gd name="T54" fmla="*/ 8 w 40"/>
                  <a:gd name="T55" fmla="*/ 17 h 27"/>
                  <a:gd name="T56" fmla="*/ 8 w 40"/>
                  <a:gd name="T57" fmla="*/ 20 h 27"/>
                  <a:gd name="T58" fmla="*/ 5 w 40"/>
                  <a:gd name="T59" fmla="*/ 23 h 27"/>
                  <a:gd name="T60" fmla="*/ 5 w 40"/>
                  <a:gd name="T61" fmla="*/ 27 h 27"/>
                  <a:gd name="T62" fmla="*/ 5 w 40"/>
                  <a:gd name="T63" fmla="*/ 2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0" h="27">
                    <a:moveTo>
                      <a:pt x="5" y="27"/>
                    </a:moveTo>
                    <a:lnTo>
                      <a:pt x="9" y="25"/>
                    </a:lnTo>
                    <a:lnTo>
                      <a:pt x="11" y="22"/>
                    </a:lnTo>
                    <a:lnTo>
                      <a:pt x="11" y="19"/>
                    </a:lnTo>
                    <a:lnTo>
                      <a:pt x="14" y="15"/>
                    </a:lnTo>
                    <a:lnTo>
                      <a:pt x="19" y="15"/>
                    </a:lnTo>
                    <a:lnTo>
                      <a:pt x="22" y="14"/>
                    </a:lnTo>
                    <a:lnTo>
                      <a:pt x="25" y="15"/>
                    </a:lnTo>
                    <a:lnTo>
                      <a:pt x="28" y="12"/>
                    </a:lnTo>
                    <a:lnTo>
                      <a:pt x="33" y="11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36" y="4"/>
                    </a:lnTo>
                    <a:lnTo>
                      <a:pt x="35" y="3"/>
                    </a:lnTo>
                    <a:lnTo>
                      <a:pt x="32" y="1"/>
                    </a:lnTo>
                    <a:lnTo>
                      <a:pt x="27" y="0"/>
                    </a:lnTo>
                    <a:lnTo>
                      <a:pt x="24" y="1"/>
                    </a:lnTo>
                    <a:lnTo>
                      <a:pt x="21" y="1"/>
                    </a:lnTo>
                    <a:lnTo>
                      <a:pt x="17" y="1"/>
                    </a:lnTo>
                    <a:lnTo>
                      <a:pt x="14" y="1"/>
                    </a:lnTo>
                    <a:lnTo>
                      <a:pt x="9" y="4"/>
                    </a:lnTo>
                    <a:lnTo>
                      <a:pt x="6" y="4"/>
                    </a:lnTo>
                    <a:lnTo>
                      <a:pt x="3" y="4"/>
                    </a:lnTo>
                    <a:lnTo>
                      <a:pt x="0" y="4"/>
                    </a:lnTo>
                    <a:lnTo>
                      <a:pt x="2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8" y="17"/>
                    </a:lnTo>
                    <a:lnTo>
                      <a:pt x="8" y="20"/>
                    </a:lnTo>
                    <a:lnTo>
                      <a:pt x="5" y="23"/>
                    </a:lnTo>
                    <a:lnTo>
                      <a:pt x="5" y="27"/>
                    </a:lnTo>
                    <a:lnTo>
                      <a:pt x="5" y="2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93" name="Freeform 508"/>
              <p:cNvSpPr>
                <a:spLocks/>
              </p:cNvSpPr>
              <p:nvPr/>
            </p:nvSpPr>
            <p:spPr bwMode="auto">
              <a:xfrm>
                <a:off x="2956" y="1296"/>
                <a:ext cx="13" cy="8"/>
              </a:xfrm>
              <a:custGeom>
                <a:avLst/>
                <a:gdLst>
                  <a:gd name="T0" fmla="*/ 16 w 27"/>
                  <a:gd name="T1" fmla="*/ 0 h 16"/>
                  <a:gd name="T2" fmla="*/ 11 w 27"/>
                  <a:gd name="T3" fmla="*/ 5 h 16"/>
                  <a:gd name="T4" fmla="*/ 10 w 27"/>
                  <a:gd name="T5" fmla="*/ 5 h 16"/>
                  <a:gd name="T6" fmla="*/ 5 w 27"/>
                  <a:gd name="T7" fmla="*/ 5 h 16"/>
                  <a:gd name="T8" fmla="*/ 0 w 27"/>
                  <a:gd name="T9" fmla="*/ 7 h 16"/>
                  <a:gd name="T10" fmla="*/ 3 w 27"/>
                  <a:gd name="T11" fmla="*/ 8 h 16"/>
                  <a:gd name="T12" fmla="*/ 6 w 27"/>
                  <a:gd name="T13" fmla="*/ 8 h 16"/>
                  <a:gd name="T14" fmla="*/ 10 w 27"/>
                  <a:gd name="T15" fmla="*/ 8 h 16"/>
                  <a:gd name="T16" fmla="*/ 11 w 27"/>
                  <a:gd name="T17" fmla="*/ 11 h 16"/>
                  <a:gd name="T18" fmla="*/ 14 w 27"/>
                  <a:gd name="T19" fmla="*/ 16 h 16"/>
                  <a:gd name="T20" fmla="*/ 19 w 27"/>
                  <a:gd name="T21" fmla="*/ 14 h 16"/>
                  <a:gd name="T22" fmla="*/ 21 w 27"/>
                  <a:gd name="T23" fmla="*/ 11 h 16"/>
                  <a:gd name="T24" fmla="*/ 24 w 27"/>
                  <a:gd name="T25" fmla="*/ 11 h 16"/>
                  <a:gd name="T26" fmla="*/ 27 w 27"/>
                  <a:gd name="T27" fmla="*/ 7 h 16"/>
                  <a:gd name="T28" fmla="*/ 24 w 27"/>
                  <a:gd name="T29" fmla="*/ 3 h 16"/>
                  <a:gd name="T30" fmla="*/ 19 w 27"/>
                  <a:gd name="T31" fmla="*/ 3 h 16"/>
                  <a:gd name="T32" fmla="*/ 16 w 27"/>
                  <a:gd name="T33" fmla="*/ 0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7" h="16">
                    <a:moveTo>
                      <a:pt x="16" y="0"/>
                    </a:moveTo>
                    <a:lnTo>
                      <a:pt x="11" y="5"/>
                    </a:lnTo>
                    <a:lnTo>
                      <a:pt x="10" y="5"/>
                    </a:lnTo>
                    <a:lnTo>
                      <a:pt x="5" y="5"/>
                    </a:lnTo>
                    <a:lnTo>
                      <a:pt x="0" y="7"/>
                    </a:lnTo>
                    <a:lnTo>
                      <a:pt x="3" y="8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11" y="11"/>
                    </a:lnTo>
                    <a:lnTo>
                      <a:pt x="14" y="16"/>
                    </a:lnTo>
                    <a:lnTo>
                      <a:pt x="19" y="14"/>
                    </a:lnTo>
                    <a:lnTo>
                      <a:pt x="21" y="11"/>
                    </a:lnTo>
                    <a:lnTo>
                      <a:pt x="24" y="11"/>
                    </a:lnTo>
                    <a:lnTo>
                      <a:pt x="27" y="7"/>
                    </a:lnTo>
                    <a:lnTo>
                      <a:pt x="24" y="3"/>
                    </a:lnTo>
                    <a:lnTo>
                      <a:pt x="19" y="3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94" name="Freeform 509"/>
              <p:cNvSpPr>
                <a:spLocks/>
              </p:cNvSpPr>
              <p:nvPr/>
            </p:nvSpPr>
            <p:spPr bwMode="auto">
              <a:xfrm>
                <a:off x="2975" y="1286"/>
                <a:ext cx="69" cy="40"/>
              </a:xfrm>
              <a:custGeom>
                <a:avLst/>
                <a:gdLst>
                  <a:gd name="T0" fmla="*/ 3 w 136"/>
                  <a:gd name="T1" fmla="*/ 35 h 79"/>
                  <a:gd name="T2" fmla="*/ 12 w 136"/>
                  <a:gd name="T3" fmla="*/ 32 h 79"/>
                  <a:gd name="T4" fmla="*/ 3 w 136"/>
                  <a:gd name="T5" fmla="*/ 32 h 79"/>
                  <a:gd name="T6" fmla="*/ 3 w 136"/>
                  <a:gd name="T7" fmla="*/ 21 h 79"/>
                  <a:gd name="T8" fmla="*/ 0 w 136"/>
                  <a:gd name="T9" fmla="*/ 16 h 79"/>
                  <a:gd name="T10" fmla="*/ 11 w 136"/>
                  <a:gd name="T11" fmla="*/ 11 h 79"/>
                  <a:gd name="T12" fmla="*/ 16 w 136"/>
                  <a:gd name="T13" fmla="*/ 10 h 79"/>
                  <a:gd name="T14" fmla="*/ 22 w 136"/>
                  <a:gd name="T15" fmla="*/ 8 h 79"/>
                  <a:gd name="T16" fmla="*/ 33 w 136"/>
                  <a:gd name="T17" fmla="*/ 6 h 79"/>
                  <a:gd name="T18" fmla="*/ 41 w 136"/>
                  <a:gd name="T19" fmla="*/ 3 h 79"/>
                  <a:gd name="T20" fmla="*/ 50 w 136"/>
                  <a:gd name="T21" fmla="*/ 3 h 79"/>
                  <a:gd name="T22" fmla="*/ 57 w 136"/>
                  <a:gd name="T23" fmla="*/ 0 h 79"/>
                  <a:gd name="T24" fmla="*/ 82 w 136"/>
                  <a:gd name="T25" fmla="*/ 2 h 79"/>
                  <a:gd name="T26" fmla="*/ 101 w 136"/>
                  <a:gd name="T27" fmla="*/ 6 h 79"/>
                  <a:gd name="T28" fmla="*/ 114 w 136"/>
                  <a:gd name="T29" fmla="*/ 6 h 79"/>
                  <a:gd name="T30" fmla="*/ 125 w 136"/>
                  <a:gd name="T31" fmla="*/ 6 h 79"/>
                  <a:gd name="T32" fmla="*/ 133 w 136"/>
                  <a:gd name="T33" fmla="*/ 5 h 79"/>
                  <a:gd name="T34" fmla="*/ 136 w 136"/>
                  <a:gd name="T35" fmla="*/ 10 h 79"/>
                  <a:gd name="T36" fmla="*/ 128 w 136"/>
                  <a:gd name="T37" fmla="*/ 13 h 79"/>
                  <a:gd name="T38" fmla="*/ 125 w 136"/>
                  <a:gd name="T39" fmla="*/ 24 h 79"/>
                  <a:gd name="T40" fmla="*/ 117 w 136"/>
                  <a:gd name="T41" fmla="*/ 32 h 79"/>
                  <a:gd name="T42" fmla="*/ 120 w 136"/>
                  <a:gd name="T43" fmla="*/ 41 h 79"/>
                  <a:gd name="T44" fmla="*/ 120 w 136"/>
                  <a:gd name="T45" fmla="*/ 52 h 79"/>
                  <a:gd name="T46" fmla="*/ 128 w 136"/>
                  <a:gd name="T47" fmla="*/ 60 h 79"/>
                  <a:gd name="T48" fmla="*/ 128 w 136"/>
                  <a:gd name="T49" fmla="*/ 67 h 79"/>
                  <a:gd name="T50" fmla="*/ 125 w 136"/>
                  <a:gd name="T51" fmla="*/ 71 h 79"/>
                  <a:gd name="T52" fmla="*/ 120 w 136"/>
                  <a:gd name="T53" fmla="*/ 78 h 79"/>
                  <a:gd name="T54" fmla="*/ 116 w 136"/>
                  <a:gd name="T55" fmla="*/ 78 h 79"/>
                  <a:gd name="T56" fmla="*/ 106 w 136"/>
                  <a:gd name="T57" fmla="*/ 75 h 79"/>
                  <a:gd name="T58" fmla="*/ 98 w 136"/>
                  <a:gd name="T59" fmla="*/ 79 h 79"/>
                  <a:gd name="T60" fmla="*/ 89 w 136"/>
                  <a:gd name="T61" fmla="*/ 75 h 79"/>
                  <a:gd name="T62" fmla="*/ 81 w 136"/>
                  <a:gd name="T63" fmla="*/ 68 h 79"/>
                  <a:gd name="T64" fmla="*/ 71 w 136"/>
                  <a:gd name="T65" fmla="*/ 64 h 79"/>
                  <a:gd name="T66" fmla="*/ 60 w 136"/>
                  <a:gd name="T67" fmla="*/ 59 h 79"/>
                  <a:gd name="T68" fmla="*/ 52 w 136"/>
                  <a:gd name="T69" fmla="*/ 57 h 79"/>
                  <a:gd name="T70" fmla="*/ 43 w 136"/>
                  <a:gd name="T71" fmla="*/ 60 h 79"/>
                  <a:gd name="T72" fmla="*/ 31 w 136"/>
                  <a:gd name="T73" fmla="*/ 65 h 79"/>
                  <a:gd name="T74" fmla="*/ 30 w 136"/>
                  <a:gd name="T75" fmla="*/ 62 h 79"/>
                  <a:gd name="T76" fmla="*/ 33 w 136"/>
                  <a:gd name="T77" fmla="*/ 52 h 79"/>
                  <a:gd name="T78" fmla="*/ 28 w 136"/>
                  <a:gd name="T79" fmla="*/ 46 h 79"/>
                  <a:gd name="T80" fmla="*/ 19 w 136"/>
                  <a:gd name="T81" fmla="*/ 49 h 79"/>
                  <a:gd name="T82" fmla="*/ 9 w 136"/>
                  <a:gd name="T83" fmla="*/ 45 h 79"/>
                  <a:gd name="T84" fmla="*/ 3 w 136"/>
                  <a:gd name="T85" fmla="*/ 4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36" h="79">
                    <a:moveTo>
                      <a:pt x="3" y="40"/>
                    </a:moveTo>
                    <a:lnTo>
                      <a:pt x="3" y="38"/>
                    </a:lnTo>
                    <a:lnTo>
                      <a:pt x="3" y="35"/>
                    </a:lnTo>
                    <a:lnTo>
                      <a:pt x="6" y="33"/>
                    </a:lnTo>
                    <a:lnTo>
                      <a:pt x="9" y="33"/>
                    </a:lnTo>
                    <a:lnTo>
                      <a:pt x="12" y="32"/>
                    </a:lnTo>
                    <a:lnTo>
                      <a:pt x="9" y="30"/>
                    </a:lnTo>
                    <a:lnTo>
                      <a:pt x="6" y="30"/>
                    </a:lnTo>
                    <a:lnTo>
                      <a:pt x="3" y="32"/>
                    </a:lnTo>
                    <a:lnTo>
                      <a:pt x="1" y="27"/>
                    </a:lnTo>
                    <a:lnTo>
                      <a:pt x="4" y="24"/>
                    </a:lnTo>
                    <a:lnTo>
                      <a:pt x="3" y="21"/>
                    </a:lnTo>
                    <a:lnTo>
                      <a:pt x="0" y="24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3" y="14"/>
                    </a:lnTo>
                    <a:lnTo>
                      <a:pt x="6" y="14"/>
                    </a:lnTo>
                    <a:lnTo>
                      <a:pt x="11" y="11"/>
                    </a:lnTo>
                    <a:lnTo>
                      <a:pt x="14" y="13"/>
                    </a:lnTo>
                    <a:lnTo>
                      <a:pt x="17" y="13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9" y="10"/>
                    </a:lnTo>
                    <a:lnTo>
                      <a:pt x="22" y="8"/>
                    </a:lnTo>
                    <a:lnTo>
                      <a:pt x="27" y="5"/>
                    </a:lnTo>
                    <a:lnTo>
                      <a:pt x="30" y="6"/>
                    </a:lnTo>
                    <a:lnTo>
                      <a:pt x="33" y="6"/>
                    </a:lnTo>
                    <a:lnTo>
                      <a:pt x="36" y="6"/>
                    </a:lnTo>
                    <a:lnTo>
                      <a:pt x="36" y="3"/>
                    </a:lnTo>
                    <a:lnTo>
                      <a:pt x="41" y="3"/>
                    </a:lnTo>
                    <a:lnTo>
                      <a:pt x="43" y="3"/>
                    </a:lnTo>
                    <a:lnTo>
                      <a:pt x="46" y="5"/>
                    </a:lnTo>
                    <a:lnTo>
                      <a:pt x="50" y="3"/>
                    </a:lnTo>
                    <a:lnTo>
                      <a:pt x="54" y="5"/>
                    </a:lnTo>
                    <a:lnTo>
                      <a:pt x="57" y="3"/>
                    </a:lnTo>
                    <a:lnTo>
                      <a:pt x="57" y="0"/>
                    </a:lnTo>
                    <a:lnTo>
                      <a:pt x="66" y="2"/>
                    </a:lnTo>
                    <a:lnTo>
                      <a:pt x="74" y="0"/>
                    </a:lnTo>
                    <a:lnTo>
                      <a:pt x="82" y="2"/>
                    </a:lnTo>
                    <a:lnTo>
                      <a:pt x="92" y="2"/>
                    </a:lnTo>
                    <a:lnTo>
                      <a:pt x="98" y="5"/>
                    </a:lnTo>
                    <a:lnTo>
                      <a:pt x="101" y="6"/>
                    </a:lnTo>
                    <a:lnTo>
                      <a:pt x="106" y="6"/>
                    </a:lnTo>
                    <a:lnTo>
                      <a:pt x="111" y="6"/>
                    </a:lnTo>
                    <a:lnTo>
                      <a:pt x="114" y="6"/>
                    </a:lnTo>
                    <a:lnTo>
                      <a:pt x="119" y="6"/>
                    </a:lnTo>
                    <a:lnTo>
                      <a:pt x="122" y="6"/>
                    </a:lnTo>
                    <a:lnTo>
                      <a:pt x="125" y="6"/>
                    </a:lnTo>
                    <a:lnTo>
                      <a:pt x="128" y="6"/>
                    </a:lnTo>
                    <a:lnTo>
                      <a:pt x="130" y="5"/>
                    </a:lnTo>
                    <a:lnTo>
                      <a:pt x="133" y="5"/>
                    </a:lnTo>
                    <a:lnTo>
                      <a:pt x="136" y="8"/>
                    </a:lnTo>
                    <a:lnTo>
                      <a:pt x="136" y="8"/>
                    </a:lnTo>
                    <a:lnTo>
                      <a:pt x="136" y="10"/>
                    </a:lnTo>
                    <a:lnTo>
                      <a:pt x="133" y="10"/>
                    </a:lnTo>
                    <a:lnTo>
                      <a:pt x="130" y="11"/>
                    </a:lnTo>
                    <a:lnTo>
                      <a:pt x="128" y="13"/>
                    </a:lnTo>
                    <a:lnTo>
                      <a:pt x="127" y="16"/>
                    </a:lnTo>
                    <a:lnTo>
                      <a:pt x="127" y="21"/>
                    </a:lnTo>
                    <a:lnTo>
                      <a:pt x="125" y="24"/>
                    </a:lnTo>
                    <a:lnTo>
                      <a:pt x="122" y="26"/>
                    </a:lnTo>
                    <a:lnTo>
                      <a:pt x="117" y="29"/>
                    </a:lnTo>
                    <a:lnTo>
                      <a:pt x="117" y="32"/>
                    </a:lnTo>
                    <a:lnTo>
                      <a:pt x="119" y="35"/>
                    </a:lnTo>
                    <a:lnTo>
                      <a:pt x="120" y="38"/>
                    </a:lnTo>
                    <a:lnTo>
                      <a:pt x="120" y="41"/>
                    </a:lnTo>
                    <a:lnTo>
                      <a:pt x="122" y="46"/>
                    </a:lnTo>
                    <a:lnTo>
                      <a:pt x="120" y="49"/>
                    </a:lnTo>
                    <a:lnTo>
                      <a:pt x="120" y="52"/>
                    </a:lnTo>
                    <a:lnTo>
                      <a:pt x="125" y="56"/>
                    </a:lnTo>
                    <a:lnTo>
                      <a:pt x="128" y="59"/>
                    </a:lnTo>
                    <a:lnTo>
                      <a:pt x="128" y="60"/>
                    </a:lnTo>
                    <a:lnTo>
                      <a:pt x="128" y="64"/>
                    </a:lnTo>
                    <a:lnTo>
                      <a:pt x="133" y="65"/>
                    </a:lnTo>
                    <a:lnTo>
                      <a:pt x="128" y="67"/>
                    </a:lnTo>
                    <a:lnTo>
                      <a:pt x="128" y="67"/>
                    </a:lnTo>
                    <a:lnTo>
                      <a:pt x="127" y="67"/>
                    </a:lnTo>
                    <a:lnTo>
                      <a:pt x="125" y="71"/>
                    </a:lnTo>
                    <a:lnTo>
                      <a:pt x="122" y="73"/>
                    </a:lnTo>
                    <a:lnTo>
                      <a:pt x="122" y="75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19" y="78"/>
                    </a:lnTo>
                    <a:lnTo>
                      <a:pt x="116" y="78"/>
                    </a:lnTo>
                    <a:lnTo>
                      <a:pt x="111" y="76"/>
                    </a:lnTo>
                    <a:lnTo>
                      <a:pt x="109" y="75"/>
                    </a:lnTo>
                    <a:lnTo>
                      <a:pt x="106" y="75"/>
                    </a:lnTo>
                    <a:lnTo>
                      <a:pt x="103" y="76"/>
                    </a:lnTo>
                    <a:lnTo>
                      <a:pt x="98" y="78"/>
                    </a:lnTo>
                    <a:lnTo>
                      <a:pt x="98" y="79"/>
                    </a:lnTo>
                    <a:lnTo>
                      <a:pt x="95" y="78"/>
                    </a:lnTo>
                    <a:lnTo>
                      <a:pt x="92" y="76"/>
                    </a:lnTo>
                    <a:lnTo>
                      <a:pt x="89" y="75"/>
                    </a:lnTo>
                    <a:lnTo>
                      <a:pt x="85" y="71"/>
                    </a:lnTo>
                    <a:lnTo>
                      <a:pt x="82" y="70"/>
                    </a:lnTo>
                    <a:lnTo>
                      <a:pt x="81" y="68"/>
                    </a:lnTo>
                    <a:lnTo>
                      <a:pt x="77" y="67"/>
                    </a:lnTo>
                    <a:lnTo>
                      <a:pt x="74" y="67"/>
                    </a:lnTo>
                    <a:lnTo>
                      <a:pt x="71" y="64"/>
                    </a:lnTo>
                    <a:lnTo>
                      <a:pt x="68" y="64"/>
                    </a:lnTo>
                    <a:lnTo>
                      <a:pt x="65" y="62"/>
                    </a:lnTo>
                    <a:lnTo>
                      <a:pt x="60" y="59"/>
                    </a:lnTo>
                    <a:lnTo>
                      <a:pt x="57" y="60"/>
                    </a:lnTo>
                    <a:lnTo>
                      <a:pt x="55" y="60"/>
                    </a:lnTo>
                    <a:lnTo>
                      <a:pt x="52" y="57"/>
                    </a:lnTo>
                    <a:lnTo>
                      <a:pt x="49" y="60"/>
                    </a:lnTo>
                    <a:lnTo>
                      <a:pt x="46" y="60"/>
                    </a:lnTo>
                    <a:lnTo>
                      <a:pt x="43" y="60"/>
                    </a:lnTo>
                    <a:lnTo>
                      <a:pt x="39" y="62"/>
                    </a:lnTo>
                    <a:lnTo>
                      <a:pt x="35" y="64"/>
                    </a:lnTo>
                    <a:lnTo>
                      <a:pt x="31" y="65"/>
                    </a:lnTo>
                    <a:lnTo>
                      <a:pt x="31" y="65"/>
                    </a:lnTo>
                    <a:lnTo>
                      <a:pt x="30" y="65"/>
                    </a:lnTo>
                    <a:lnTo>
                      <a:pt x="30" y="62"/>
                    </a:lnTo>
                    <a:lnTo>
                      <a:pt x="33" y="59"/>
                    </a:lnTo>
                    <a:lnTo>
                      <a:pt x="33" y="56"/>
                    </a:lnTo>
                    <a:lnTo>
                      <a:pt x="33" y="52"/>
                    </a:lnTo>
                    <a:lnTo>
                      <a:pt x="35" y="48"/>
                    </a:lnTo>
                    <a:lnTo>
                      <a:pt x="31" y="46"/>
                    </a:lnTo>
                    <a:lnTo>
                      <a:pt x="28" y="46"/>
                    </a:lnTo>
                    <a:lnTo>
                      <a:pt x="27" y="49"/>
                    </a:lnTo>
                    <a:lnTo>
                      <a:pt x="24" y="51"/>
                    </a:lnTo>
                    <a:lnTo>
                      <a:pt x="19" y="49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9" y="45"/>
                    </a:lnTo>
                    <a:lnTo>
                      <a:pt x="8" y="41"/>
                    </a:lnTo>
                    <a:lnTo>
                      <a:pt x="4" y="40"/>
                    </a:lnTo>
                    <a:lnTo>
                      <a:pt x="3" y="4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sp>
          <p:nvSpPr>
            <p:cNvPr id="311" name="Freeform 510"/>
            <p:cNvSpPr>
              <a:spLocks/>
            </p:cNvSpPr>
            <p:nvPr/>
          </p:nvSpPr>
          <p:spPr bwMode="auto">
            <a:xfrm>
              <a:off x="5875193" y="2894489"/>
              <a:ext cx="129392" cy="82929"/>
            </a:xfrm>
            <a:custGeom>
              <a:avLst/>
              <a:gdLst>
                <a:gd name="T0" fmla="*/ 5 w 176"/>
                <a:gd name="T1" fmla="*/ 12 h 98"/>
                <a:gd name="T2" fmla="*/ 13 w 176"/>
                <a:gd name="T3" fmla="*/ 6 h 98"/>
                <a:gd name="T4" fmla="*/ 21 w 176"/>
                <a:gd name="T5" fmla="*/ 3 h 98"/>
                <a:gd name="T6" fmla="*/ 35 w 176"/>
                <a:gd name="T7" fmla="*/ 1 h 98"/>
                <a:gd name="T8" fmla="*/ 47 w 176"/>
                <a:gd name="T9" fmla="*/ 1 h 98"/>
                <a:gd name="T10" fmla="*/ 57 w 176"/>
                <a:gd name="T11" fmla="*/ 1 h 98"/>
                <a:gd name="T12" fmla="*/ 66 w 176"/>
                <a:gd name="T13" fmla="*/ 1 h 98"/>
                <a:gd name="T14" fmla="*/ 76 w 176"/>
                <a:gd name="T15" fmla="*/ 3 h 98"/>
                <a:gd name="T16" fmla="*/ 84 w 176"/>
                <a:gd name="T17" fmla="*/ 3 h 98"/>
                <a:gd name="T18" fmla="*/ 95 w 176"/>
                <a:gd name="T19" fmla="*/ 6 h 98"/>
                <a:gd name="T20" fmla="*/ 105 w 176"/>
                <a:gd name="T21" fmla="*/ 4 h 98"/>
                <a:gd name="T22" fmla="*/ 114 w 176"/>
                <a:gd name="T23" fmla="*/ 0 h 98"/>
                <a:gd name="T24" fmla="*/ 119 w 176"/>
                <a:gd name="T25" fmla="*/ 6 h 98"/>
                <a:gd name="T26" fmla="*/ 128 w 176"/>
                <a:gd name="T27" fmla="*/ 9 h 98"/>
                <a:gd name="T28" fmla="*/ 139 w 176"/>
                <a:gd name="T29" fmla="*/ 11 h 98"/>
                <a:gd name="T30" fmla="*/ 146 w 176"/>
                <a:gd name="T31" fmla="*/ 16 h 98"/>
                <a:gd name="T32" fmla="*/ 154 w 176"/>
                <a:gd name="T33" fmla="*/ 20 h 98"/>
                <a:gd name="T34" fmla="*/ 165 w 176"/>
                <a:gd name="T35" fmla="*/ 28 h 98"/>
                <a:gd name="T36" fmla="*/ 170 w 176"/>
                <a:gd name="T37" fmla="*/ 33 h 98"/>
                <a:gd name="T38" fmla="*/ 166 w 176"/>
                <a:gd name="T39" fmla="*/ 41 h 98"/>
                <a:gd name="T40" fmla="*/ 176 w 176"/>
                <a:gd name="T41" fmla="*/ 42 h 98"/>
                <a:gd name="T42" fmla="*/ 171 w 176"/>
                <a:gd name="T43" fmla="*/ 49 h 98"/>
                <a:gd name="T44" fmla="*/ 163 w 176"/>
                <a:gd name="T45" fmla="*/ 49 h 98"/>
                <a:gd name="T46" fmla="*/ 158 w 176"/>
                <a:gd name="T47" fmla="*/ 55 h 98"/>
                <a:gd name="T48" fmla="*/ 151 w 176"/>
                <a:gd name="T49" fmla="*/ 57 h 98"/>
                <a:gd name="T50" fmla="*/ 146 w 176"/>
                <a:gd name="T51" fmla="*/ 66 h 98"/>
                <a:gd name="T52" fmla="*/ 144 w 176"/>
                <a:gd name="T53" fmla="*/ 76 h 98"/>
                <a:gd name="T54" fmla="*/ 149 w 176"/>
                <a:gd name="T55" fmla="*/ 82 h 98"/>
                <a:gd name="T56" fmla="*/ 143 w 176"/>
                <a:gd name="T57" fmla="*/ 88 h 98"/>
                <a:gd name="T58" fmla="*/ 136 w 176"/>
                <a:gd name="T59" fmla="*/ 84 h 98"/>
                <a:gd name="T60" fmla="*/ 132 w 176"/>
                <a:gd name="T61" fmla="*/ 85 h 98"/>
                <a:gd name="T62" fmla="*/ 127 w 176"/>
                <a:gd name="T63" fmla="*/ 88 h 98"/>
                <a:gd name="T64" fmla="*/ 119 w 176"/>
                <a:gd name="T65" fmla="*/ 95 h 98"/>
                <a:gd name="T66" fmla="*/ 109 w 176"/>
                <a:gd name="T67" fmla="*/ 96 h 98"/>
                <a:gd name="T68" fmla="*/ 100 w 176"/>
                <a:gd name="T69" fmla="*/ 95 h 98"/>
                <a:gd name="T70" fmla="*/ 95 w 176"/>
                <a:gd name="T71" fmla="*/ 95 h 98"/>
                <a:gd name="T72" fmla="*/ 87 w 176"/>
                <a:gd name="T73" fmla="*/ 96 h 98"/>
                <a:gd name="T74" fmla="*/ 81 w 176"/>
                <a:gd name="T75" fmla="*/ 92 h 98"/>
                <a:gd name="T76" fmla="*/ 79 w 176"/>
                <a:gd name="T77" fmla="*/ 87 h 98"/>
                <a:gd name="T78" fmla="*/ 71 w 176"/>
                <a:gd name="T79" fmla="*/ 84 h 98"/>
                <a:gd name="T80" fmla="*/ 62 w 176"/>
                <a:gd name="T81" fmla="*/ 77 h 98"/>
                <a:gd name="T82" fmla="*/ 55 w 176"/>
                <a:gd name="T83" fmla="*/ 76 h 98"/>
                <a:gd name="T84" fmla="*/ 55 w 176"/>
                <a:gd name="T85" fmla="*/ 68 h 98"/>
                <a:gd name="T86" fmla="*/ 59 w 176"/>
                <a:gd name="T87" fmla="*/ 61 h 98"/>
                <a:gd name="T88" fmla="*/ 51 w 176"/>
                <a:gd name="T89" fmla="*/ 55 h 98"/>
                <a:gd name="T90" fmla="*/ 46 w 176"/>
                <a:gd name="T91" fmla="*/ 52 h 98"/>
                <a:gd name="T92" fmla="*/ 36 w 176"/>
                <a:gd name="T93" fmla="*/ 54 h 98"/>
                <a:gd name="T94" fmla="*/ 27 w 176"/>
                <a:gd name="T95" fmla="*/ 50 h 98"/>
                <a:gd name="T96" fmla="*/ 16 w 176"/>
                <a:gd name="T97" fmla="*/ 47 h 98"/>
                <a:gd name="T98" fmla="*/ 9 w 176"/>
                <a:gd name="T99" fmla="*/ 44 h 98"/>
                <a:gd name="T100" fmla="*/ 8 w 176"/>
                <a:gd name="T101" fmla="*/ 38 h 98"/>
                <a:gd name="T102" fmla="*/ 3 w 176"/>
                <a:gd name="T103" fmla="*/ 28 h 98"/>
                <a:gd name="T104" fmla="*/ 1 w 176"/>
                <a:gd name="T105" fmla="*/ 17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76" h="98">
                  <a:moveTo>
                    <a:pt x="0" y="14"/>
                  </a:moveTo>
                  <a:lnTo>
                    <a:pt x="1" y="12"/>
                  </a:lnTo>
                  <a:lnTo>
                    <a:pt x="5" y="12"/>
                  </a:lnTo>
                  <a:lnTo>
                    <a:pt x="6" y="9"/>
                  </a:lnTo>
                  <a:lnTo>
                    <a:pt x="9" y="6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21" y="3"/>
                  </a:lnTo>
                  <a:lnTo>
                    <a:pt x="27" y="1"/>
                  </a:lnTo>
                  <a:lnTo>
                    <a:pt x="32" y="0"/>
                  </a:lnTo>
                  <a:lnTo>
                    <a:pt x="35" y="1"/>
                  </a:lnTo>
                  <a:lnTo>
                    <a:pt x="43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51" y="1"/>
                  </a:lnTo>
                  <a:lnTo>
                    <a:pt x="54" y="1"/>
                  </a:lnTo>
                  <a:lnTo>
                    <a:pt x="57" y="1"/>
                  </a:lnTo>
                  <a:lnTo>
                    <a:pt x="60" y="4"/>
                  </a:lnTo>
                  <a:lnTo>
                    <a:pt x="63" y="1"/>
                  </a:lnTo>
                  <a:lnTo>
                    <a:pt x="66" y="1"/>
                  </a:lnTo>
                  <a:lnTo>
                    <a:pt x="70" y="3"/>
                  </a:lnTo>
                  <a:lnTo>
                    <a:pt x="73" y="3"/>
                  </a:lnTo>
                  <a:lnTo>
                    <a:pt x="76" y="3"/>
                  </a:lnTo>
                  <a:lnTo>
                    <a:pt x="78" y="3"/>
                  </a:lnTo>
                  <a:lnTo>
                    <a:pt x="81" y="3"/>
                  </a:lnTo>
                  <a:lnTo>
                    <a:pt x="84" y="3"/>
                  </a:lnTo>
                  <a:lnTo>
                    <a:pt x="89" y="4"/>
                  </a:lnTo>
                  <a:lnTo>
                    <a:pt x="92" y="6"/>
                  </a:lnTo>
                  <a:lnTo>
                    <a:pt x="95" y="6"/>
                  </a:lnTo>
                  <a:lnTo>
                    <a:pt x="97" y="4"/>
                  </a:lnTo>
                  <a:lnTo>
                    <a:pt x="101" y="6"/>
                  </a:lnTo>
                  <a:lnTo>
                    <a:pt x="105" y="4"/>
                  </a:lnTo>
                  <a:lnTo>
                    <a:pt x="108" y="1"/>
                  </a:lnTo>
                  <a:lnTo>
                    <a:pt x="111" y="1"/>
                  </a:lnTo>
                  <a:lnTo>
                    <a:pt x="114" y="0"/>
                  </a:lnTo>
                  <a:lnTo>
                    <a:pt x="116" y="1"/>
                  </a:lnTo>
                  <a:lnTo>
                    <a:pt x="117" y="4"/>
                  </a:lnTo>
                  <a:lnTo>
                    <a:pt x="119" y="6"/>
                  </a:lnTo>
                  <a:lnTo>
                    <a:pt x="122" y="9"/>
                  </a:lnTo>
                  <a:lnTo>
                    <a:pt x="127" y="9"/>
                  </a:lnTo>
                  <a:lnTo>
                    <a:pt x="128" y="9"/>
                  </a:lnTo>
                  <a:lnTo>
                    <a:pt x="132" y="9"/>
                  </a:lnTo>
                  <a:lnTo>
                    <a:pt x="135" y="9"/>
                  </a:lnTo>
                  <a:lnTo>
                    <a:pt x="139" y="11"/>
                  </a:lnTo>
                  <a:lnTo>
                    <a:pt x="143" y="14"/>
                  </a:lnTo>
                  <a:lnTo>
                    <a:pt x="146" y="16"/>
                  </a:lnTo>
                  <a:lnTo>
                    <a:pt x="146" y="16"/>
                  </a:lnTo>
                  <a:lnTo>
                    <a:pt x="149" y="19"/>
                  </a:lnTo>
                  <a:lnTo>
                    <a:pt x="151" y="19"/>
                  </a:lnTo>
                  <a:lnTo>
                    <a:pt x="154" y="20"/>
                  </a:lnTo>
                  <a:lnTo>
                    <a:pt x="157" y="23"/>
                  </a:lnTo>
                  <a:lnTo>
                    <a:pt x="160" y="27"/>
                  </a:lnTo>
                  <a:lnTo>
                    <a:pt x="165" y="28"/>
                  </a:lnTo>
                  <a:lnTo>
                    <a:pt x="168" y="28"/>
                  </a:lnTo>
                  <a:lnTo>
                    <a:pt x="170" y="30"/>
                  </a:lnTo>
                  <a:lnTo>
                    <a:pt x="170" y="33"/>
                  </a:lnTo>
                  <a:lnTo>
                    <a:pt x="168" y="35"/>
                  </a:lnTo>
                  <a:lnTo>
                    <a:pt x="166" y="38"/>
                  </a:lnTo>
                  <a:lnTo>
                    <a:pt x="166" y="41"/>
                  </a:lnTo>
                  <a:lnTo>
                    <a:pt x="170" y="42"/>
                  </a:lnTo>
                  <a:lnTo>
                    <a:pt x="173" y="42"/>
                  </a:lnTo>
                  <a:lnTo>
                    <a:pt x="176" y="42"/>
                  </a:lnTo>
                  <a:lnTo>
                    <a:pt x="173" y="46"/>
                  </a:lnTo>
                  <a:lnTo>
                    <a:pt x="171" y="49"/>
                  </a:lnTo>
                  <a:lnTo>
                    <a:pt x="171" y="49"/>
                  </a:lnTo>
                  <a:lnTo>
                    <a:pt x="170" y="49"/>
                  </a:lnTo>
                  <a:lnTo>
                    <a:pt x="168" y="49"/>
                  </a:lnTo>
                  <a:lnTo>
                    <a:pt x="163" y="49"/>
                  </a:lnTo>
                  <a:lnTo>
                    <a:pt x="160" y="49"/>
                  </a:lnTo>
                  <a:lnTo>
                    <a:pt x="160" y="52"/>
                  </a:lnTo>
                  <a:lnTo>
                    <a:pt x="158" y="55"/>
                  </a:lnTo>
                  <a:lnTo>
                    <a:pt x="158" y="55"/>
                  </a:lnTo>
                  <a:lnTo>
                    <a:pt x="154" y="57"/>
                  </a:lnTo>
                  <a:lnTo>
                    <a:pt x="151" y="57"/>
                  </a:lnTo>
                  <a:lnTo>
                    <a:pt x="147" y="60"/>
                  </a:lnTo>
                  <a:lnTo>
                    <a:pt x="146" y="63"/>
                  </a:lnTo>
                  <a:lnTo>
                    <a:pt x="146" y="66"/>
                  </a:lnTo>
                  <a:lnTo>
                    <a:pt x="147" y="71"/>
                  </a:lnTo>
                  <a:lnTo>
                    <a:pt x="144" y="73"/>
                  </a:lnTo>
                  <a:lnTo>
                    <a:pt x="144" y="76"/>
                  </a:lnTo>
                  <a:lnTo>
                    <a:pt x="141" y="79"/>
                  </a:lnTo>
                  <a:lnTo>
                    <a:pt x="146" y="81"/>
                  </a:lnTo>
                  <a:lnTo>
                    <a:pt x="149" y="82"/>
                  </a:lnTo>
                  <a:lnTo>
                    <a:pt x="149" y="85"/>
                  </a:lnTo>
                  <a:lnTo>
                    <a:pt x="146" y="88"/>
                  </a:lnTo>
                  <a:lnTo>
                    <a:pt x="143" y="88"/>
                  </a:lnTo>
                  <a:lnTo>
                    <a:pt x="143" y="84"/>
                  </a:lnTo>
                  <a:lnTo>
                    <a:pt x="139" y="82"/>
                  </a:lnTo>
                  <a:lnTo>
                    <a:pt x="136" y="84"/>
                  </a:lnTo>
                  <a:lnTo>
                    <a:pt x="136" y="84"/>
                  </a:lnTo>
                  <a:lnTo>
                    <a:pt x="133" y="84"/>
                  </a:lnTo>
                  <a:lnTo>
                    <a:pt x="132" y="85"/>
                  </a:lnTo>
                  <a:lnTo>
                    <a:pt x="130" y="87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2" y="88"/>
                  </a:lnTo>
                  <a:lnTo>
                    <a:pt x="120" y="92"/>
                  </a:lnTo>
                  <a:lnTo>
                    <a:pt x="119" y="95"/>
                  </a:lnTo>
                  <a:lnTo>
                    <a:pt x="116" y="93"/>
                  </a:lnTo>
                  <a:lnTo>
                    <a:pt x="112" y="95"/>
                  </a:lnTo>
                  <a:lnTo>
                    <a:pt x="109" y="96"/>
                  </a:lnTo>
                  <a:lnTo>
                    <a:pt x="106" y="98"/>
                  </a:lnTo>
                  <a:lnTo>
                    <a:pt x="103" y="95"/>
                  </a:lnTo>
                  <a:lnTo>
                    <a:pt x="100" y="95"/>
                  </a:lnTo>
                  <a:lnTo>
                    <a:pt x="100" y="95"/>
                  </a:lnTo>
                  <a:lnTo>
                    <a:pt x="98" y="96"/>
                  </a:lnTo>
                  <a:lnTo>
                    <a:pt x="95" y="95"/>
                  </a:lnTo>
                  <a:lnTo>
                    <a:pt x="92" y="96"/>
                  </a:lnTo>
                  <a:lnTo>
                    <a:pt x="90" y="96"/>
                  </a:lnTo>
                  <a:lnTo>
                    <a:pt x="87" y="96"/>
                  </a:lnTo>
                  <a:lnTo>
                    <a:pt x="84" y="96"/>
                  </a:lnTo>
                  <a:lnTo>
                    <a:pt x="81" y="95"/>
                  </a:lnTo>
                  <a:lnTo>
                    <a:pt x="81" y="92"/>
                  </a:lnTo>
                  <a:lnTo>
                    <a:pt x="81" y="92"/>
                  </a:lnTo>
                  <a:lnTo>
                    <a:pt x="81" y="90"/>
                  </a:lnTo>
                  <a:lnTo>
                    <a:pt x="79" y="87"/>
                  </a:lnTo>
                  <a:lnTo>
                    <a:pt x="76" y="84"/>
                  </a:lnTo>
                  <a:lnTo>
                    <a:pt x="71" y="84"/>
                  </a:lnTo>
                  <a:lnTo>
                    <a:pt x="71" y="84"/>
                  </a:lnTo>
                  <a:lnTo>
                    <a:pt x="68" y="81"/>
                  </a:lnTo>
                  <a:lnTo>
                    <a:pt x="65" y="79"/>
                  </a:lnTo>
                  <a:lnTo>
                    <a:pt x="62" y="77"/>
                  </a:lnTo>
                  <a:lnTo>
                    <a:pt x="59" y="79"/>
                  </a:lnTo>
                  <a:lnTo>
                    <a:pt x="57" y="79"/>
                  </a:lnTo>
                  <a:lnTo>
                    <a:pt x="55" y="76"/>
                  </a:lnTo>
                  <a:lnTo>
                    <a:pt x="55" y="76"/>
                  </a:lnTo>
                  <a:lnTo>
                    <a:pt x="55" y="73"/>
                  </a:lnTo>
                  <a:lnTo>
                    <a:pt x="55" y="68"/>
                  </a:lnTo>
                  <a:lnTo>
                    <a:pt x="55" y="68"/>
                  </a:lnTo>
                  <a:lnTo>
                    <a:pt x="55" y="65"/>
                  </a:lnTo>
                  <a:lnTo>
                    <a:pt x="59" y="61"/>
                  </a:lnTo>
                  <a:lnTo>
                    <a:pt x="59" y="58"/>
                  </a:lnTo>
                  <a:lnTo>
                    <a:pt x="55" y="57"/>
                  </a:lnTo>
                  <a:lnTo>
                    <a:pt x="51" y="55"/>
                  </a:lnTo>
                  <a:lnTo>
                    <a:pt x="51" y="52"/>
                  </a:lnTo>
                  <a:lnTo>
                    <a:pt x="51" y="52"/>
                  </a:lnTo>
                  <a:lnTo>
                    <a:pt x="46" y="52"/>
                  </a:lnTo>
                  <a:lnTo>
                    <a:pt x="43" y="52"/>
                  </a:lnTo>
                  <a:lnTo>
                    <a:pt x="40" y="52"/>
                  </a:lnTo>
                  <a:lnTo>
                    <a:pt x="36" y="54"/>
                  </a:lnTo>
                  <a:lnTo>
                    <a:pt x="33" y="52"/>
                  </a:lnTo>
                  <a:lnTo>
                    <a:pt x="28" y="52"/>
                  </a:lnTo>
                  <a:lnTo>
                    <a:pt x="27" y="50"/>
                  </a:lnTo>
                  <a:lnTo>
                    <a:pt x="24" y="49"/>
                  </a:lnTo>
                  <a:lnTo>
                    <a:pt x="19" y="47"/>
                  </a:lnTo>
                  <a:lnTo>
                    <a:pt x="16" y="47"/>
                  </a:lnTo>
                  <a:lnTo>
                    <a:pt x="13" y="44"/>
                  </a:lnTo>
                  <a:lnTo>
                    <a:pt x="11" y="44"/>
                  </a:lnTo>
                  <a:lnTo>
                    <a:pt x="9" y="44"/>
                  </a:lnTo>
                  <a:lnTo>
                    <a:pt x="9" y="44"/>
                  </a:lnTo>
                  <a:lnTo>
                    <a:pt x="9" y="41"/>
                  </a:lnTo>
                  <a:lnTo>
                    <a:pt x="8" y="38"/>
                  </a:lnTo>
                  <a:lnTo>
                    <a:pt x="6" y="35"/>
                  </a:lnTo>
                  <a:lnTo>
                    <a:pt x="6" y="31"/>
                  </a:lnTo>
                  <a:lnTo>
                    <a:pt x="3" y="28"/>
                  </a:lnTo>
                  <a:lnTo>
                    <a:pt x="1" y="23"/>
                  </a:lnTo>
                  <a:lnTo>
                    <a:pt x="1" y="20"/>
                  </a:lnTo>
                  <a:lnTo>
                    <a:pt x="1" y="17"/>
                  </a:lnTo>
                  <a:lnTo>
                    <a:pt x="1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12" name="Freeform 511"/>
            <p:cNvSpPr>
              <a:spLocks noEditPoints="1"/>
            </p:cNvSpPr>
            <p:nvPr/>
          </p:nvSpPr>
          <p:spPr bwMode="auto">
            <a:xfrm>
              <a:off x="5916364" y="3028190"/>
              <a:ext cx="416112" cy="267403"/>
            </a:xfrm>
            <a:custGeom>
              <a:avLst/>
              <a:gdLst>
                <a:gd name="T0" fmla="*/ 21 w 567"/>
                <a:gd name="T1" fmla="*/ 130 h 317"/>
                <a:gd name="T2" fmla="*/ 21 w 567"/>
                <a:gd name="T3" fmla="*/ 101 h 317"/>
                <a:gd name="T4" fmla="*/ 56 w 567"/>
                <a:gd name="T5" fmla="*/ 73 h 317"/>
                <a:gd name="T6" fmla="*/ 42 w 567"/>
                <a:gd name="T7" fmla="*/ 42 h 317"/>
                <a:gd name="T8" fmla="*/ 57 w 567"/>
                <a:gd name="T9" fmla="*/ 25 h 317"/>
                <a:gd name="T10" fmla="*/ 119 w 567"/>
                <a:gd name="T11" fmla="*/ 20 h 317"/>
                <a:gd name="T12" fmla="*/ 161 w 567"/>
                <a:gd name="T13" fmla="*/ 30 h 317"/>
                <a:gd name="T14" fmla="*/ 197 w 567"/>
                <a:gd name="T15" fmla="*/ 35 h 317"/>
                <a:gd name="T16" fmla="*/ 230 w 567"/>
                <a:gd name="T17" fmla="*/ 36 h 317"/>
                <a:gd name="T18" fmla="*/ 256 w 567"/>
                <a:gd name="T19" fmla="*/ 39 h 317"/>
                <a:gd name="T20" fmla="*/ 268 w 567"/>
                <a:gd name="T21" fmla="*/ 11 h 317"/>
                <a:gd name="T22" fmla="*/ 305 w 567"/>
                <a:gd name="T23" fmla="*/ 1 h 317"/>
                <a:gd name="T24" fmla="*/ 340 w 567"/>
                <a:gd name="T25" fmla="*/ 1 h 317"/>
                <a:gd name="T26" fmla="*/ 372 w 567"/>
                <a:gd name="T27" fmla="*/ 23 h 317"/>
                <a:gd name="T28" fmla="*/ 368 w 567"/>
                <a:gd name="T29" fmla="*/ 44 h 317"/>
                <a:gd name="T30" fmla="*/ 402 w 567"/>
                <a:gd name="T31" fmla="*/ 52 h 317"/>
                <a:gd name="T32" fmla="*/ 424 w 567"/>
                <a:gd name="T33" fmla="*/ 76 h 317"/>
                <a:gd name="T34" fmla="*/ 468 w 567"/>
                <a:gd name="T35" fmla="*/ 77 h 317"/>
                <a:gd name="T36" fmla="*/ 502 w 567"/>
                <a:gd name="T37" fmla="*/ 90 h 317"/>
                <a:gd name="T38" fmla="*/ 544 w 567"/>
                <a:gd name="T39" fmla="*/ 104 h 317"/>
                <a:gd name="T40" fmla="*/ 563 w 567"/>
                <a:gd name="T41" fmla="*/ 125 h 317"/>
                <a:gd name="T42" fmla="*/ 555 w 567"/>
                <a:gd name="T43" fmla="*/ 144 h 317"/>
                <a:gd name="T44" fmla="*/ 567 w 567"/>
                <a:gd name="T45" fmla="*/ 163 h 317"/>
                <a:gd name="T46" fmla="*/ 541 w 567"/>
                <a:gd name="T47" fmla="*/ 179 h 317"/>
                <a:gd name="T48" fmla="*/ 519 w 567"/>
                <a:gd name="T49" fmla="*/ 201 h 317"/>
                <a:gd name="T50" fmla="*/ 484 w 567"/>
                <a:gd name="T51" fmla="*/ 217 h 317"/>
                <a:gd name="T52" fmla="*/ 437 w 567"/>
                <a:gd name="T53" fmla="*/ 233 h 317"/>
                <a:gd name="T54" fmla="*/ 422 w 567"/>
                <a:gd name="T55" fmla="*/ 233 h 317"/>
                <a:gd name="T56" fmla="*/ 446 w 567"/>
                <a:gd name="T57" fmla="*/ 279 h 317"/>
                <a:gd name="T58" fmla="*/ 470 w 567"/>
                <a:gd name="T59" fmla="*/ 283 h 317"/>
                <a:gd name="T60" fmla="*/ 441 w 567"/>
                <a:gd name="T61" fmla="*/ 288 h 317"/>
                <a:gd name="T62" fmla="*/ 402 w 567"/>
                <a:gd name="T63" fmla="*/ 312 h 317"/>
                <a:gd name="T64" fmla="*/ 379 w 567"/>
                <a:gd name="T65" fmla="*/ 304 h 317"/>
                <a:gd name="T66" fmla="*/ 351 w 567"/>
                <a:gd name="T67" fmla="*/ 279 h 317"/>
                <a:gd name="T68" fmla="*/ 379 w 567"/>
                <a:gd name="T69" fmla="*/ 255 h 317"/>
                <a:gd name="T70" fmla="*/ 348 w 567"/>
                <a:gd name="T71" fmla="*/ 247 h 317"/>
                <a:gd name="T72" fmla="*/ 322 w 567"/>
                <a:gd name="T73" fmla="*/ 234 h 317"/>
                <a:gd name="T74" fmla="*/ 332 w 567"/>
                <a:gd name="T75" fmla="*/ 234 h 317"/>
                <a:gd name="T76" fmla="*/ 318 w 567"/>
                <a:gd name="T77" fmla="*/ 220 h 317"/>
                <a:gd name="T78" fmla="*/ 305 w 567"/>
                <a:gd name="T79" fmla="*/ 225 h 317"/>
                <a:gd name="T80" fmla="*/ 276 w 567"/>
                <a:gd name="T81" fmla="*/ 245 h 317"/>
                <a:gd name="T82" fmla="*/ 273 w 567"/>
                <a:gd name="T83" fmla="*/ 250 h 317"/>
                <a:gd name="T84" fmla="*/ 249 w 567"/>
                <a:gd name="T85" fmla="*/ 263 h 317"/>
                <a:gd name="T86" fmla="*/ 246 w 567"/>
                <a:gd name="T87" fmla="*/ 276 h 317"/>
                <a:gd name="T88" fmla="*/ 221 w 567"/>
                <a:gd name="T89" fmla="*/ 283 h 317"/>
                <a:gd name="T90" fmla="*/ 215 w 567"/>
                <a:gd name="T91" fmla="*/ 264 h 317"/>
                <a:gd name="T92" fmla="*/ 224 w 567"/>
                <a:gd name="T93" fmla="*/ 234 h 317"/>
                <a:gd name="T94" fmla="*/ 257 w 567"/>
                <a:gd name="T95" fmla="*/ 238 h 317"/>
                <a:gd name="T96" fmla="*/ 251 w 567"/>
                <a:gd name="T97" fmla="*/ 218 h 317"/>
                <a:gd name="T98" fmla="*/ 227 w 567"/>
                <a:gd name="T99" fmla="*/ 188 h 317"/>
                <a:gd name="T100" fmla="*/ 200 w 567"/>
                <a:gd name="T101" fmla="*/ 166 h 317"/>
                <a:gd name="T102" fmla="*/ 164 w 567"/>
                <a:gd name="T103" fmla="*/ 155 h 317"/>
                <a:gd name="T104" fmla="*/ 137 w 567"/>
                <a:gd name="T105" fmla="*/ 165 h 317"/>
                <a:gd name="T106" fmla="*/ 102 w 567"/>
                <a:gd name="T107" fmla="*/ 176 h 317"/>
                <a:gd name="T108" fmla="*/ 65 w 567"/>
                <a:gd name="T109" fmla="*/ 176 h 317"/>
                <a:gd name="T110" fmla="*/ 29 w 567"/>
                <a:gd name="T111" fmla="*/ 172 h 317"/>
                <a:gd name="T112" fmla="*/ 0 w 567"/>
                <a:gd name="T113" fmla="*/ 157 h 317"/>
                <a:gd name="T114" fmla="*/ 403 w 567"/>
                <a:gd name="T115" fmla="*/ 255 h 317"/>
                <a:gd name="T116" fmla="*/ 425 w 567"/>
                <a:gd name="T117" fmla="*/ 274 h 317"/>
                <a:gd name="T118" fmla="*/ 408 w 567"/>
                <a:gd name="T119" fmla="*/ 249 h 317"/>
                <a:gd name="T120" fmla="*/ 392 w 567"/>
                <a:gd name="T121" fmla="*/ 245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67" h="317">
                  <a:moveTo>
                    <a:pt x="0" y="157"/>
                  </a:moveTo>
                  <a:lnTo>
                    <a:pt x="0" y="150"/>
                  </a:lnTo>
                  <a:lnTo>
                    <a:pt x="2" y="147"/>
                  </a:lnTo>
                  <a:lnTo>
                    <a:pt x="4" y="147"/>
                  </a:lnTo>
                  <a:lnTo>
                    <a:pt x="5" y="142"/>
                  </a:lnTo>
                  <a:lnTo>
                    <a:pt x="7" y="139"/>
                  </a:lnTo>
                  <a:lnTo>
                    <a:pt x="8" y="136"/>
                  </a:lnTo>
                  <a:lnTo>
                    <a:pt x="11" y="133"/>
                  </a:lnTo>
                  <a:lnTo>
                    <a:pt x="11" y="130"/>
                  </a:lnTo>
                  <a:lnTo>
                    <a:pt x="15" y="131"/>
                  </a:lnTo>
                  <a:lnTo>
                    <a:pt x="18" y="131"/>
                  </a:lnTo>
                  <a:lnTo>
                    <a:pt x="21" y="133"/>
                  </a:lnTo>
                  <a:lnTo>
                    <a:pt x="21" y="130"/>
                  </a:lnTo>
                  <a:lnTo>
                    <a:pt x="18" y="127"/>
                  </a:lnTo>
                  <a:lnTo>
                    <a:pt x="16" y="123"/>
                  </a:lnTo>
                  <a:lnTo>
                    <a:pt x="16" y="120"/>
                  </a:lnTo>
                  <a:lnTo>
                    <a:pt x="16" y="117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1"/>
                  </a:lnTo>
                  <a:lnTo>
                    <a:pt x="15" y="111"/>
                  </a:lnTo>
                  <a:lnTo>
                    <a:pt x="16" y="106"/>
                  </a:lnTo>
                  <a:lnTo>
                    <a:pt x="18" y="106"/>
                  </a:lnTo>
                  <a:lnTo>
                    <a:pt x="18" y="106"/>
                  </a:lnTo>
                  <a:lnTo>
                    <a:pt x="21" y="101"/>
                  </a:lnTo>
                  <a:lnTo>
                    <a:pt x="21" y="101"/>
                  </a:lnTo>
                  <a:lnTo>
                    <a:pt x="21" y="101"/>
                  </a:lnTo>
                  <a:lnTo>
                    <a:pt x="24" y="98"/>
                  </a:lnTo>
                  <a:lnTo>
                    <a:pt x="26" y="95"/>
                  </a:lnTo>
                  <a:lnTo>
                    <a:pt x="32" y="90"/>
                  </a:lnTo>
                  <a:lnTo>
                    <a:pt x="37" y="85"/>
                  </a:lnTo>
                  <a:lnTo>
                    <a:pt x="40" y="82"/>
                  </a:lnTo>
                  <a:lnTo>
                    <a:pt x="42" y="82"/>
                  </a:lnTo>
                  <a:lnTo>
                    <a:pt x="43" y="79"/>
                  </a:lnTo>
                  <a:lnTo>
                    <a:pt x="48" y="77"/>
                  </a:lnTo>
                  <a:lnTo>
                    <a:pt x="51" y="77"/>
                  </a:lnTo>
                  <a:lnTo>
                    <a:pt x="53" y="74"/>
                  </a:lnTo>
                  <a:lnTo>
                    <a:pt x="54" y="73"/>
                  </a:lnTo>
                  <a:lnTo>
                    <a:pt x="56" y="73"/>
                  </a:lnTo>
                  <a:lnTo>
                    <a:pt x="56" y="71"/>
                  </a:lnTo>
                  <a:lnTo>
                    <a:pt x="56" y="68"/>
                  </a:lnTo>
                  <a:lnTo>
                    <a:pt x="53" y="65"/>
                  </a:lnTo>
                  <a:lnTo>
                    <a:pt x="51" y="61"/>
                  </a:lnTo>
                  <a:lnTo>
                    <a:pt x="54" y="60"/>
                  </a:lnTo>
                  <a:lnTo>
                    <a:pt x="56" y="60"/>
                  </a:lnTo>
                  <a:lnTo>
                    <a:pt x="53" y="58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46" y="50"/>
                  </a:lnTo>
                  <a:lnTo>
                    <a:pt x="45" y="47"/>
                  </a:lnTo>
                  <a:lnTo>
                    <a:pt x="43" y="46"/>
                  </a:lnTo>
                  <a:lnTo>
                    <a:pt x="42" y="42"/>
                  </a:lnTo>
                  <a:lnTo>
                    <a:pt x="38" y="39"/>
                  </a:lnTo>
                  <a:lnTo>
                    <a:pt x="38" y="36"/>
                  </a:lnTo>
                  <a:lnTo>
                    <a:pt x="37" y="33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7" y="30"/>
                  </a:lnTo>
                  <a:lnTo>
                    <a:pt x="38" y="28"/>
                  </a:lnTo>
                  <a:lnTo>
                    <a:pt x="42" y="28"/>
                  </a:lnTo>
                  <a:lnTo>
                    <a:pt x="45" y="28"/>
                  </a:lnTo>
                  <a:lnTo>
                    <a:pt x="48" y="30"/>
                  </a:lnTo>
                  <a:lnTo>
                    <a:pt x="51" y="30"/>
                  </a:lnTo>
                  <a:lnTo>
                    <a:pt x="54" y="27"/>
                  </a:lnTo>
                  <a:lnTo>
                    <a:pt x="57" y="25"/>
                  </a:lnTo>
                  <a:lnTo>
                    <a:pt x="57" y="22"/>
                  </a:lnTo>
                  <a:lnTo>
                    <a:pt x="62" y="19"/>
                  </a:lnTo>
                  <a:lnTo>
                    <a:pt x="65" y="19"/>
                  </a:lnTo>
                  <a:lnTo>
                    <a:pt x="73" y="19"/>
                  </a:lnTo>
                  <a:lnTo>
                    <a:pt x="83" y="17"/>
                  </a:lnTo>
                  <a:lnTo>
                    <a:pt x="89" y="17"/>
                  </a:lnTo>
                  <a:lnTo>
                    <a:pt x="99" y="17"/>
                  </a:lnTo>
                  <a:lnTo>
                    <a:pt x="103" y="17"/>
                  </a:lnTo>
                  <a:lnTo>
                    <a:pt x="107" y="17"/>
                  </a:lnTo>
                  <a:lnTo>
                    <a:pt x="108" y="17"/>
                  </a:lnTo>
                  <a:lnTo>
                    <a:pt x="111" y="17"/>
                  </a:lnTo>
                  <a:lnTo>
                    <a:pt x="116" y="20"/>
                  </a:lnTo>
                  <a:lnTo>
                    <a:pt x="119" y="20"/>
                  </a:lnTo>
                  <a:lnTo>
                    <a:pt x="123" y="20"/>
                  </a:lnTo>
                  <a:lnTo>
                    <a:pt x="126" y="22"/>
                  </a:lnTo>
                  <a:lnTo>
                    <a:pt x="129" y="22"/>
                  </a:lnTo>
                  <a:lnTo>
                    <a:pt x="132" y="22"/>
                  </a:lnTo>
                  <a:lnTo>
                    <a:pt x="135" y="23"/>
                  </a:lnTo>
                  <a:lnTo>
                    <a:pt x="138" y="23"/>
                  </a:lnTo>
                  <a:lnTo>
                    <a:pt x="142" y="23"/>
                  </a:lnTo>
                  <a:lnTo>
                    <a:pt x="145" y="23"/>
                  </a:lnTo>
                  <a:lnTo>
                    <a:pt x="148" y="27"/>
                  </a:lnTo>
                  <a:lnTo>
                    <a:pt x="151" y="30"/>
                  </a:lnTo>
                  <a:lnTo>
                    <a:pt x="154" y="30"/>
                  </a:lnTo>
                  <a:lnTo>
                    <a:pt x="157" y="30"/>
                  </a:lnTo>
                  <a:lnTo>
                    <a:pt x="161" y="30"/>
                  </a:lnTo>
                  <a:lnTo>
                    <a:pt x="164" y="31"/>
                  </a:lnTo>
                  <a:lnTo>
                    <a:pt x="167" y="33"/>
                  </a:lnTo>
                  <a:lnTo>
                    <a:pt x="169" y="30"/>
                  </a:lnTo>
                  <a:lnTo>
                    <a:pt x="172" y="31"/>
                  </a:lnTo>
                  <a:lnTo>
                    <a:pt x="175" y="31"/>
                  </a:lnTo>
                  <a:lnTo>
                    <a:pt x="178" y="30"/>
                  </a:lnTo>
                  <a:lnTo>
                    <a:pt x="181" y="30"/>
                  </a:lnTo>
                  <a:lnTo>
                    <a:pt x="186" y="33"/>
                  </a:lnTo>
                  <a:lnTo>
                    <a:pt x="189" y="31"/>
                  </a:lnTo>
                  <a:lnTo>
                    <a:pt x="192" y="31"/>
                  </a:lnTo>
                  <a:lnTo>
                    <a:pt x="194" y="35"/>
                  </a:lnTo>
                  <a:lnTo>
                    <a:pt x="197" y="38"/>
                  </a:lnTo>
                  <a:lnTo>
                    <a:pt x="197" y="35"/>
                  </a:lnTo>
                  <a:lnTo>
                    <a:pt x="202" y="31"/>
                  </a:lnTo>
                  <a:lnTo>
                    <a:pt x="205" y="31"/>
                  </a:lnTo>
                  <a:lnTo>
                    <a:pt x="207" y="28"/>
                  </a:lnTo>
                  <a:lnTo>
                    <a:pt x="207" y="28"/>
                  </a:lnTo>
                  <a:lnTo>
                    <a:pt x="210" y="30"/>
                  </a:lnTo>
                  <a:lnTo>
                    <a:pt x="211" y="33"/>
                  </a:lnTo>
                  <a:lnTo>
                    <a:pt x="213" y="36"/>
                  </a:lnTo>
                  <a:lnTo>
                    <a:pt x="216" y="39"/>
                  </a:lnTo>
                  <a:lnTo>
                    <a:pt x="216" y="38"/>
                  </a:lnTo>
                  <a:lnTo>
                    <a:pt x="221" y="38"/>
                  </a:lnTo>
                  <a:lnTo>
                    <a:pt x="224" y="35"/>
                  </a:lnTo>
                  <a:lnTo>
                    <a:pt x="227" y="35"/>
                  </a:lnTo>
                  <a:lnTo>
                    <a:pt x="230" y="36"/>
                  </a:lnTo>
                  <a:lnTo>
                    <a:pt x="234" y="36"/>
                  </a:lnTo>
                  <a:lnTo>
                    <a:pt x="235" y="35"/>
                  </a:lnTo>
                  <a:lnTo>
                    <a:pt x="240" y="35"/>
                  </a:lnTo>
                  <a:lnTo>
                    <a:pt x="243" y="35"/>
                  </a:lnTo>
                  <a:lnTo>
                    <a:pt x="243" y="36"/>
                  </a:lnTo>
                  <a:lnTo>
                    <a:pt x="243" y="36"/>
                  </a:lnTo>
                  <a:lnTo>
                    <a:pt x="248" y="39"/>
                  </a:lnTo>
                  <a:lnTo>
                    <a:pt x="248" y="41"/>
                  </a:lnTo>
                  <a:lnTo>
                    <a:pt x="253" y="44"/>
                  </a:lnTo>
                  <a:lnTo>
                    <a:pt x="254" y="44"/>
                  </a:lnTo>
                  <a:lnTo>
                    <a:pt x="254" y="42"/>
                  </a:lnTo>
                  <a:lnTo>
                    <a:pt x="256" y="41"/>
                  </a:lnTo>
                  <a:lnTo>
                    <a:pt x="256" y="39"/>
                  </a:lnTo>
                  <a:lnTo>
                    <a:pt x="254" y="35"/>
                  </a:lnTo>
                  <a:lnTo>
                    <a:pt x="254" y="35"/>
                  </a:lnTo>
                  <a:lnTo>
                    <a:pt x="251" y="30"/>
                  </a:lnTo>
                  <a:lnTo>
                    <a:pt x="253" y="27"/>
                  </a:lnTo>
                  <a:lnTo>
                    <a:pt x="254" y="23"/>
                  </a:lnTo>
                  <a:lnTo>
                    <a:pt x="256" y="20"/>
                  </a:lnTo>
                  <a:lnTo>
                    <a:pt x="259" y="17"/>
                  </a:lnTo>
                  <a:lnTo>
                    <a:pt x="259" y="17"/>
                  </a:lnTo>
                  <a:lnTo>
                    <a:pt x="262" y="14"/>
                  </a:lnTo>
                  <a:lnTo>
                    <a:pt x="262" y="14"/>
                  </a:lnTo>
                  <a:lnTo>
                    <a:pt x="262" y="11"/>
                  </a:lnTo>
                  <a:lnTo>
                    <a:pt x="264" y="11"/>
                  </a:lnTo>
                  <a:lnTo>
                    <a:pt x="268" y="11"/>
                  </a:lnTo>
                  <a:lnTo>
                    <a:pt x="272" y="12"/>
                  </a:lnTo>
                  <a:lnTo>
                    <a:pt x="275" y="9"/>
                  </a:lnTo>
                  <a:lnTo>
                    <a:pt x="278" y="9"/>
                  </a:lnTo>
                  <a:lnTo>
                    <a:pt x="281" y="11"/>
                  </a:lnTo>
                  <a:lnTo>
                    <a:pt x="284" y="11"/>
                  </a:lnTo>
                  <a:lnTo>
                    <a:pt x="287" y="11"/>
                  </a:lnTo>
                  <a:lnTo>
                    <a:pt x="291" y="11"/>
                  </a:lnTo>
                  <a:lnTo>
                    <a:pt x="294" y="12"/>
                  </a:lnTo>
                  <a:lnTo>
                    <a:pt x="297" y="12"/>
                  </a:lnTo>
                  <a:lnTo>
                    <a:pt x="300" y="12"/>
                  </a:lnTo>
                  <a:lnTo>
                    <a:pt x="302" y="11"/>
                  </a:lnTo>
                  <a:lnTo>
                    <a:pt x="305" y="8"/>
                  </a:lnTo>
                  <a:lnTo>
                    <a:pt x="305" y="1"/>
                  </a:lnTo>
                  <a:lnTo>
                    <a:pt x="308" y="1"/>
                  </a:lnTo>
                  <a:lnTo>
                    <a:pt x="311" y="3"/>
                  </a:lnTo>
                  <a:lnTo>
                    <a:pt x="314" y="4"/>
                  </a:lnTo>
                  <a:lnTo>
                    <a:pt x="319" y="4"/>
                  </a:lnTo>
                  <a:lnTo>
                    <a:pt x="322" y="4"/>
                  </a:lnTo>
                  <a:lnTo>
                    <a:pt x="326" y="3"/>
                  </a:lnTo>
                  <a:lnTo>
                    <a:pt x="329" y="1"/>
                  </a:lnTo>
                  <a:lnTo>
                    <a:pt x="332" y="0"/>
                  </a:lnTo>
                  <a:lnTo>
                    <a:pt x="335" y="0"/>
                  </a:lnTo>
                  <a:lnTo>
                    <a:pt x="337" y="1"/>
                  </a:lnTo>
                  <a:lnTo>
                    <a:pt x="338" y="1"/>
                  </a:lnTo>
                  <a:lnTo>
                    <a:pt x="340" y="0"/>
                  </a:lnTo>
                  <a:lnTo>
                    <a:pt x="340" y="1"/>
                  </a:lnTo>
                  <a:lnTo>
                    <a:pt x="341" y="3"/>
                  </a:lnTo>
                  <a:lnTo>
                    <a:pt x="345" y="1"/>
                  </a:lnTo>
                  <a:lnTo>
                    <a:pt x="348" y="0"/>
                  </a:lnTo>
                  <a:lnTo>
                    <a:pt x="351" y="3"/>
                  </a:lnTo>
                  <a:lnTo>
                    <a:pt x="356" y="6"/>
                  </a:lnTo>
                  <a:lnTo>
                    <a:pt x="357" y="6"/>
                  </a:lnTo>
                  <a:lnTo>
                    <a:pt x="359" y="9"/>
                  </a:lnTo>
                  <a:lnTo>
                    <a:pt x="359" y="12"/>
                  </a:lnTo>
                  <a:lnTo>
                    <a:pt x="364" y="16"/>
                  </a:lnTo>
                  <a:lnTo>
                    <a:pt x="367" y="19"/>
                  </a:lnTo>
                  <a:lnTo>
                    <a:pt x="368" y="20"/>
                  </a:lnTo>
                  <a:lnTo>
                    <a:pt x="370" y="20"/>
                  </a:lnTo>
                  <a:lnTo>
                    <a:pt x="372" y="23"/>
                  </a:lnTo>
                  <a:lnTo>
                    <a:pt x="368" y="25"/>
                  </a:lnTo>
                  <a:lnTo>
                    <a:pt x="365" y="27"/>
                  </a:lnTo>
                  <a:lnTo>
                    <a:pt x="364" y="27"/>
                  </a:lnTo>
                  <a:lnTo>
                    <a:pt x="362" y="27"/>
                  </a:lnTo>
                  <a:lnTo>
                    <a:pt x="362" y="28"/>
                  </a:lnTo>
                  <a:lnTo>
                    <a:pt x="365" y="31"/>
                  </a:lnTo>
                  <a:lnTo>
                    <a:pt x="367" y="35"/>
                  </a:lnTo>
                  <a:lnTo>
                    <a:pt x="367" y="38"/>
                  </a:lnTo>
                  <a:lnTo>
                    <a:pt x="368" y="39"/>
                  </a:lnTo>
                  <a:lnTo>
                    <a:pt x="370" y="39"/>
                  </a:lnTo>
                  <a:lnTo>
                    <a:pt x="370" y="42"/>
                  </a:lnTo>
                  <a:lnTo>
                    <a:pt x="368" y="42"/>
                  </a:lnTo>
                  <a:lnTo>
                    <a:pt x="368" y="44"/>
                  </a:lnTo>
                  <a:lnTo>
                    <a:pt x="368" y="44"/>
                  </a:lnTo>
                  <a:lnTo>
                    <a:pt x="372" y="44"/>
                  </a:lnTo>
                  <a:lnTo>
                    <a:pt x="375" y="44"/>
                  </a:lnTo>
                  <a:lnTo>
                    <a:pt x="376" y="44"/>
                  </a:lnTo>
                  <a:lnTo>
                    <a:pt x="379" y="44"/>
                  </a:lnTo>
                  <a:lnTo>
                    <a:pt x="384" y="47"/>
                  </a:lnTo>
                  <a:lnTo>
                    <a:pt x="387" y="47"/>
                  </a:lnTo>
                  <a:lnTo>
                    <a:pt x="391" y="46"/>
                  </a:lnTo>
                  <a:lnTo>
                    <a:pt x="392" y="46"/>
                  </a:lnTo>
                  <a:lnTo>
                    <a:pt x="394" y="46"/>
                  </a:lnTo>
                  <a:lnTo>
                    <a:pt x="397" y="47"/>
                  </a:lnTo>
                  <a:lnTo>
                    <a:pt x="397" y="49"/>
                  </a:lnTo>
                  <a:lnTo>
                    <a:pt x="402" y="52"/>
                  </a:lnTo>
                  <a:lnTo>
                    <a:pt x="405" y="52"/>
                  </a:lnTo>
                  <a:lnTo>
                    <a:pt x="403" y="55"/>
                  </a:lnTo>
                  <a:lnTo>
                    <a:pt x="405" y="57"/>
                  </a:lnTo>
                  <a:lnTo>
                    <a:pt x="406" y="60"/>
                  </a:lnTo>
                  <a:lnTo>
                    <a:pt x="410" y="65"/>
                  </a:lnTo>
                  <a:lnTo>
                    <a:pt x="408" y="68"/>
                  </a:lnTo>
                  <a:lnTo>
                    <a:pt x="410" y="71"/>
                  </a:lnTo>
                  <a:lnTo>
                    <a:pt x="411" y="74"/>
                  </a:lnTo>
                  <a:lnTo>
                    <a:pt x="414" y="76"/>
                  </a:lnTo>
                  <a:lnTo>
                    <a:pt x="416" y="77"/>
                  </a:lnTo>
                  <a:lnTo>
                    <a:pt x="419" y="79"/>
                  </a:lnTo>
                  <a:lnTo>
                    <a:pt x="421" y="79"/>
                  </a:lnTo>
                  <a:lnTo>
                    <a:pt x="424" y="76"/>
                  </a:lnTo>
                  <a:lnTo>
                    <a:pt x="425" y="76"/>
                  </a:lnTo>
                  <a:lnTo>
                    <a:pt x="429" y="76"/>
                  </a:lnTo>
                  <a:lnTo>
                    <a:pt x="432" y="76"/>
                  </a:lnTo>
                  <a:lnTo>
                    <a:pt x="435" y="79"/>
                  </a:lnTo>
                  <a:lnTo>
                    <a:pt x="438" y="82"/>
                  </a:lnTo>
                  <a:lnTo>
                    <a:pt x="440" y="82"/>
                  </a:lnTo>
                  <a:lnTo>
                    <a:pt x="444" y="81"/>
                  </a:lnTo>
                  <a:lnTo>
                    <a:pt x="448" y="85"/>
                  </a:lnTo>
                  <a:lnTo>
                    <a:pt x="451" y="82"/>
                  </a:lnTo>
                  <a:lnTo>
                    <a:pt x="454" y="81"/>
                  </a:lnTo>
                  <a:lnTo>
                    <a:pt x="456" y="81"/>
                  </a:lnTo>
                  <a:lnTo>
                    <a:pt x="459" y="79"/>
                  </a:lnTo>
                  <a:lnTo>
                    <a:pt x="468" y="77"/>
                  </a:lnTo>
                  <a:lnTo>
                    <a:pt x="473" y="76"/>
                  </a:lnTo>
                  <a:lnTo>
                    <a:pt x="476" y="81"/>
                  </a:lnTo>
                  <a:lnTo>
                    <a:pt x="479" y="82"/>
                  </a:lnTo>
                  <a:lnTo>
                    <a:pt x="481" y="85"/>
                  </a:lnTo>
                  <a:lnTo>
                    <a:pt x="484" y="88"/>
                  </a:lnTo>
                  <a:lnTo>
                    <a:pt x="490" y="92"/>
                  </a:lnTo>
                  <a:lnTo>
                    <a:pt x="492" y="93"/>
                  </a:lnTo>
                  <a:lnTo>
                    <a:pt x="492" y="93"/>
                  </a:lnTo>
                  <a:lnTo>
                    <a:pt x="495" y="96"/>
                  </a:lnTo>
                  <a:lnTo>
                    <a:pt x="495" y="96"/>
                  </a:lnTo>
                  <a:lnTo>
                    <a:pt x="500" y="93"/>
                  </a:lnTo>
                  <a:lnTo>
                    <a:pt x="498" y="92"/>
                  </a:lnTo>
                  <a:lnTo>
                    <a:pt x="502" y="90"/>
                  </a:lnTo>
                  <a:lnTo>
                    <a:pt x="505" y="93"/>
                  </a:lnTo>
                  <a:lnTo>
                    <a:pt x="506" y="93"/>
                  </a:lnTo>
                  <a:lnTo>
                    <a:pt x="509" y="95"/>
                  </a:lnTo>
                  <a:lnTo>
                    <a:pt x="514" y="95"/>
                  </a:lnTo>
                  <a:lnTo>
                    <a:pt x="517" y="96"/>
                  </a:lnTo>
                  <a:lnTo>
                    <a:pt x="521" y="98"/>
                  </a:lnTo>
                  <a:lnTo>
                    <a:pt x="524" y="101"/>
                  </a:lnTo>
                  <a:lnTo>
                    <a:pt x="527" y="101"/>
                  </a:lnTo>
                  <a:lnTo>
                    <a:pt x="532" y="98"/>
                  </a:lnTo>
                  <a:lnTo>
                    <a:pt x="533" y="101"/>
                  </a:lnTo>
                  <a:lnTo>
                    <a:pt x="536" y="104"/>
                  </a:lnTo>
                  <a:lnTo>
                    <a:pt x="541" y="103"/>
                  </a:lnTo>
                  <a:lnTo>
                    <a:pt x="544" y="104"/>
                  </a:lnTo>
                  <a:lnTo>
                    <a:pt x="546" y="107"/>
                  </a:lnTo>
                  <a:lnTo>
                    <a:pt x="549" y="109"/>
                  </a:lnTo>
                  <a:lnTo>
                    <a:pt x="552" y="111"/>
                  </a:lnTo>
                  <a:lnTo>
                    <a:pt x="555" y="111"/>
                  </a:lnTo>
                  <a:lnTo>
                    <a:pt x="557" y="109"/>
                  </a:lnTo>
                  <a:lnTo>
                    <a:pt x="559" y="109"/>
                  </a:lnTo>
                  <a:lnTo>
                    <a:pt x="562" y="109"/>
                  </a:lnTo>
                  <a:lnTo>
                    <a:pt x="563" y="109"/>
                  </a:lnTo>
                  <a:lnTo>
                    <a:pt x="560" y="112"/>
                  </a:lnTo>
                  <a:lnTo>
                    <a:pt x="562" y="115"/>
                  </a:lnTo>
                  <a:lnTo>
                    <a:pt x="563" y="117"/>
                  </a:lnTo>
                  <a:lnTo>
                    <a:pt x="565" y="120"/>
                  </a:lnTo>
                  <a:lnTo>
                    <a:pt x="563" y="125"/>
                  </a:lnTo>
                  <a:lnTo>
                    <a:pt x="562" y="127"/>
                  </a:lnTo>
                  <a:lnTo>
                    <a:pt x="560" y="130"/>
                  </a:lnTo>
                  <a:lnTo>
                    <a:pt x="557" y="130"/>
                  </a:lnTo>
                  <a:lnTo>
                    <a:pt x="554" y="131"/>
                  </a:lnTo>
                  <a:lnTo>
                    <a:pt x="554" y="134"/>
                  </a:lnTo>
                  <a:lnTo>
                    <a:pt x="555" y="136"/>
                  </a:lnTo>
                  <a:lnTo>
                    <a:pt x="559" y="138"/>
                  </a:lnTo>
                  <a:lnTo>
                    <a:pt x="562" y="138"/>
                  </a:lnTo>
                  <a:lnTo>
                    <a:pt x="563" y="138"/>
                  </a:lnTo>
                  <a:lnTo>
                    <a:pt x="563" y="141"/>
                  </a:lnTo>
                  <a:lnTo>
                    <a:pt x="560" y="141"/>
                  </a:lnTo>
                  <a:lnTo>
                    <a:pt x="557" y="141"/>
                  </a:lnTo>
                  <a:lnTo>
                    <a:pt x="555" y="144"/>
                  </a:lnTo>
                  <a:lnTo>
                    <a:pt x="554" y="147"/>
                  </a:lnTo>
                  <a:lnTo>
                    <a:pt x="554" y="149"/>
                  </a:lnTo>
                  <a:lnTo>
                    <a:pt x="559" y="149"/>
                  </a:lnTo>
                  <a:lnTo>
                    <a:pt x="562" y="153"/>
                  </a:lnTo>
                  <a:lnTo>
                    <a:pt x="563" y="157"/>
                  </a:lnTo>
                  <a:lnTo>
                    <a:pt x="563" y="158"/>
                  </a:lnTo>
                  <a:lnTo>
                    <a:pt x="562" y="160"/>
                  </a:lnTo>
                  <a:lnTo>
                    <a:pt x="563" y="161"/>
                  </a:lnTo>
                  <a:lnTo>
                    <a:pt x="563" y="161"/>
                  </a:lnTo>
                  <a:lnTo>
                    <a:pt x="565" y="161"/>
                  </a:lnTo>
                  <a:lnTo>
                    <a:pt x="567" y="161"/>
                  </a:lnTo>
                  <a:lnTo>
                    <a:pt x="567" y="163"/>
                  </a:lnTo>
                  <a:lnTo>
                    <a:pt x="567" y="163"/>
                  </a:lnTo>
                  <a:lnTo>
                    <a:pt x="565" y="166"/>
                  </a:lnTo>
                  <a:lnTo>
                    <a:pt x="563" y="169"/>
                  </a:lnTo>
                  <a:lnTo>
                    <a:pt x="563" y="171"/>
                  </a:lnTo>
                  <a:lnTo>
                    <a:pt x="562" y="172"/>
                  </a:lnTo>
                  <a:lnTo>
                    <a:pt x="562" y="176"/>
                  </a:lnTo>
                  <a:lnTo>
                    <a:pt x="562" y="179"/>
                  </a:lnTo>
                  <a:lnTo>
                    <a:pt x="562" y="179"/>
                  </a:lnTo>
                  <a:lnTo>
                    <a:pt x="559" y="179"/>
                  </a:lnTo>
                  <a:lnTo>
                    <a:pt x="555" y="179"/>
                  </a:lnTo>
                  <a:lnTo>
                    <a:pt x="552" y="179"/>
                  </a:lnTo>
                  <a:lnTo>
                    <a:pt x="549" y="179"/>
                  </a:lnTo>
                  <a:lnTo>
                    <a:pt x="544" y="179"/>
                  </a:lnTo>
                  <a:lnTo>
                    <a:pt x="541" y="179"/>
                  </a:lnTo>
                  <a:lnTo>
                    <a:pt x="538" y="179"/>
                  </a:lnTo>
                  <a:lnTo>
                    <a:pt x="535" y="177"/>
                  </a:lnTo>
                  <a:lnTo>
                    <a:pt x="532" y="179"/>
                  </a:lnTo>
                  <a:lnTo>
                    <a:pt x="532" y="184"/>
                  </a:lnTo>
                  <a:lnTo>
                    <a:pt x="530" y="185"/>
                  </a:lnTo>
                  <a:lnTo>
                    <a:pt x="529" y="185"/>
                  </a:lnTo>
                  <a:lnTo>
                    <a:pt x="524" y="187"/>
                  </a:lnTo>
                  <a:lnTo>
                    <a:pt x="521" y="188"/>
                  </a:lnTo>
                  <a:lnTo>
                    <a:pt x="517" y="190"/>
                  </a:lnTo>
                  <a:lnTo>
                    <a:pt x="517" y="193"/>
                  </a:lnTo>
                  <a:lnTo>
                    <a:pt x="517" y="196"/>
                  </a:lnTo>
                  <a:lnTo>
                    <a:pt x="516" y="199"/>
                  </a:lnTo>
                  <a:lnTo>
                    <a:pt x="519" y="201"/>
                  </a:lnTo>
                  <a:lnTo>
                    <a:pt x="517" y="204"/>
                  </a:lnTo>
                  <a:lnTo>
                    <a:pt x="517" y="207"/>
                  </a:lnTo>
                  <a:lnTo>
                    <a:pt x="517" y="207"/>
                  </a:lnTo>
                  <a:lnTo>
                    <a:pt x="516" y="209"/>
                  </a:lnTo>
                  <a:lnTo>
                    <a:pt x="513" y="209"/>
                  </a:lnTo>
                  <a:lnTo>
                    <a:pt x="505" y="209"/>
                  </a:lnTo>
                  <a:lnTo>
                    <a:pt x="502" y="209"/>
                  </a:lnTo>
                  <a:lnTo>
                    <a:pt x="498" y="209"/>
                  </a:lnTo>
                  <a:lnTo>
                    <a:pt x="495" y="211"/>
                  </a:lnTo>
                  <a:lnTo>
                    <a:pt x="494" y="212"/>
                  </a:lnTo>
                  <a:lnTo>
                    <a:pt x="490" y="215"/>
                  </a:lnTo>
                  <a:lnTo>
                    <a:pt x="487" y="215"/>
                  </a:lnTo>
                  <a:lnTo>
                    <a:pt x="484" y="217"/>
                  </a:lnTo>
                  <a:lnTo>
                    <a:pt x="481" y="217"/>
                  </a:lnTo>
                  <a:lnTo>
                    <a:pt x="479" y="218"/>
                  </a:lnTo>
                  <a:lnTo>
                    <a:pt x="476" y="222"/>
                  </a:lnTo>
                  <a:lnTo>
                    <a:pt x="475" y="225"/>
                  </a:lnTo>
                  <a:lnTo>
                    <a:pt x="471" y="222"/>
                  </a:lnTo>
                  <a:lnTo>
                    <a:pt x="467" y="222"/>
                  </a:lnTo>
                  <a:lnTo>
                    <a:pt x="464" y="223"/>
                  </a:lnTo>
                  <a:lnTo>
                    <a:pt x="460" y="223"/>
                  </a:lnTo>
                  <a:lnTo>
                    <a:pt x="457" y="228"/>
                  </a:lnTo>
                  <a:lnTo>
                    <a:pt x="451" y="226"/>
                  </a:lnTo>
                  <a:lnTo>
                    <a:pt x="446" y="226"/>
                  </a:lnTo>
                  <a:lnTo>
                    <a:pt x="441" y="230"/>
                  </a:lnTo>
                  <a:lnTo>
                    <a:pt x="437" y="233"/>
                  </a:lnTo>
                  <a:lnTo>
                    <a:pt x="433" y="236"/>
                  </a:lnTo>
                  <a:lnTo>
                    <a:pt x="430" y="239"/>
                  </a:lnTo>
                  <a:lnTo>
                    <a:pt x="427" y="242"/>
                  </a:lnTo>
                  <a:lnTo>
                    <a:pt x="425" y="245"/>
                  </a:lnTo>
                  <a:lnTo>
                    <a:pt x="422" y="249"/>
                  </a:lnTo>
                  <a:lnTo>
                    <a:pt x="419" y="250"/>
                  </a:lnTo>
                  <a:lnTo>
                    <a:pt x="419" y="249"/>
                  </a:lnTo>
                  <a:lnTo>
                    <a:pt x="421" y="247"/>
                  </a:lnTo>
                  <a:lnTo>
                    <a:pt x="425" y="245"/>
                  </a:lnTo>
                  <a:lnTo>
                    <a:pt x="427" y="242"/>
                  </a:lnTo>
                  <a:lnTo>
                    <a:pt x="427" y="238"/>
                  </a:lnTo>
                  <a:lnTo>
                    <a:pt x="427" y="234"/>
                  </a:lnTo>
                  <a:lnTo>
                    <a:pt x="422" y="233"/>
                  </a:lnTo>
                  <a:lnTo>
                    <a:pt x="424" y="238"/>
                  </a:lnTo>
                  <a:lnTo>
                    <a:pt x="422" y="241"/>
                  </a:lnTo>
                  <a:lnTo>
                    <a:pt x="419" y="242"/>
                  </a:lnTo>
                  <a:lnTo>
                    <a:pt x="418" y="242"/>
                  </a:lnTo>
                  <a:lnTo>
                    <a:pt x="413" y="244"/>
                  </a:lnTo>
                  <a:lnTo>
                    <a:pt x="416" y="255"/>
                  </a:lnTo>
                  <a:lnTo>
                    <a:pt x="421" y="263"/>
                  </a:lnTo>
                  <a:lnTo>
                    <a:pt x="421" y="263"/>
                  </a:lnTo>
                  <a:lnTo>
                    <a:pt x="427" y="271"/>
                  </a:lnTo>
                  <a:lnTo>
                    <a:pt x="435" y="279"/>
                  </a:lnTo>
                  <a:lnTo>
                    <a:pt x="438" y="280"/>
                  </a:lnTo>
                  <a:lnTo>
                    <a:pt x="441" y="280"/>
                  </a:lnTo>
                  <a:lnTo>
                    <a:pt x="446" y="279"/>
                  </a:lnTo>
                  <a:lnTo>
                    <a:pt x="449" y="274"/>
                  </a:lnTo>
                  <a:lnTo>
                    <a:pt x="452" y="277"/>
                  </a:lnTo>
                  <a:lnTo>
                    <a:pt x="452" y="277"/>
                  </a:lnTo>
                  <a:lnTo>
                    <a:pt x="456" y="279"/>
                  </a:lnTo>
                  <a:lnTo>
                    <a:pt x="459" y="274"/>
                  </a:lnTo>
                  <a:lnTo>
                    <a:pt x="462" y="274"/>
                  </a:lnTo>
                  <a:lnTo>
                    <a:pt x="465" y="274"/>
                  </a:lnTo>
                  <a:lnTo>
                    <a:pt x="468" y="276"/>
                  </a:lnTo>
                  <a:lnTo>
                    <a:pt x="473" y="277"/>
                  </a:lnTo>
                  <a:lnTo>
                    <a:pt x="476" y="279"/>
                  </a:lnTo>
                  <a:lnTo>
                    <a:pt x="475" y="279"/>
                  </a:lnTo>
                  <a:lnTo>
                    <a:pt x="471" y="280"/>
                  </a:lnTo>
                  <a:lnTo>
                    <a:pt x="470" y="283"/>
                  </a:lnTo>
                  <a:lnTo>
                    <a:pt x="470" y="287"/>
                  </a:lnTo>
                  <a:lnTo>
                    <a:pt x="470" y="291"/>
                  </a:lnTo>
                  <a:lnTo>
                    <a:pt x="467" y="291"/>
                  </a:lnTo>
                  <a:lnTo>
                    <a:pt x="462" y="291"/>
                  </a:lnTo>
                  <a:lnTo>
                    <a:pt x="460" y="291"/>
                  </a:lnTo>
                  <a:lnTo>
                    <a:pt x="457" y="293"/>
                  </a:lnTo>
                  <a:lnTo>
                    <a:pt x="456" y="293"/>
                  </a:lnTo>
                  <a:lnTo>
                    <a:pt x="456" y="293"/>
                  </a:lnTo>
                  <a:lnTo>
                    <a:pt x="454" y="293"/>
                  </a:lnTo>
                  <a:lnTo>
                    <a:pt x="452" y="293"/>
                  </a:lnTo>
                  <a:lnTo>
                    <a:pt x="448" y="290"/>
                  </a:lnTo>
                  <a:lnTo>
                    <a:pt x="444" y="288"/>
                  </a:lnTo>
                  <a:lnTo>
                    <a:pt x="441" y="288"/>
                  </a:lnTo>
                  <a:lnTo>
                    <a:pt x="438" y="290"/>
                  </a:lnTo>
                  <a:lnTo>
                    <a:pt x="438" y="293"/>
                  </a:lnTo>
                  <a:lnTo>
                    <a:pt x="435" y="295"/>
                  </a:lnTo>
                  <a:lnTo>
                    <a:pt x="432" y="296"/>
                  </a:lnTo>
                  <a:lnTo>
                    <a:pt x="429" y="299"/>
                  </a:lnTo>
                  <a:lnTo>
                    <a:pt x="425" y="299"/>
                  </a:lnTo>
                  <a:lnTo>
                    <a:pt x="425" y="299"/>
                  </a:lnTo>
                  <a:lnTo>
                    <a:pt x="422" y="301"/>
                  </a:lnTo>
                  <a:lnTo>
                    <a:pt x="419" y="299"/>
                  </a:lnTo>
                  <a:lnTo>
                    <a:pt x="408" y="304"/>
                  </a:lnTo>
                  <a:lnTo>
                    <a:pt x="406" y="307"/>
                  </a:lnTo>
                  <a:lnTo>
                    <a:pt x="405" y="310"/>
                  </a:lnTo>
                  <a:lnTo>
                    <a:pt x="402" y="312"/>
                  </a:lnTo>
                  <a:lnTo>
                    <a:pt x="398" y="315"/>
                  </a:lnTo>
                  <a:lnTo>
                    <a:pt x="395" y="317"/>
                  </a:lnTo>
                  <a:lnTo>
                    <a:pt x="392" y="317"/>
                  </a:lnTo>
                  <a:lnTo>
                    <a:pt x="387" y="317"/>
                  </a:lnTo>
                  <a:lnTo>
                    <a:pt x="384" y="315"/>
                  </a:lnTo>
                  <a:lnTo>
                    <a:pt x="381" y="314"/>
                  </a:lnTo>
                  <a:lnTo>
                    <a:pt x="379" y="314"/>
                  </a:lnTo>
                  <a:lnTo>
                    <a:pt x="376" y="312"/>
                  </a:lnTo>
                  <a:lnTo>
                    <a:pt x="375" y="309"/>
                  </a:lnTo>
                  <a:lnTo>
                    <a:pt x="375" y="309"/>
                  </a:lnTo>
                  <a:lnTo>
                    <a:pt x="378" y="309"/>
                  </a:lnTo>
                  <a:lnTo>
                    <a:pt x="378" y="307"/>
                  </a:lnTo>
                  <a:lnTo>
                    <a:pt x="379" y="304"/>
                  </a:lnTo>
                  <a:lnTo>
                    <a:pt x="378" y="301"/>
                  </a:lnTo>
                  <a:lnTo>
                    <a:pt x="381" y="296"/>
                  </a:lnTo>
                  <a:lnTo>
                    <a:pt x="379" y="293"/>
                  </a:lnTo>
                  <a:lnTo>
                    <a:pt x="379" y="293"/>
                  </a:lnTo>
                  <a:lnTo>
                    <a:pt x="378" y="288"/>
                  </a:lnTo>
                  <a:lnTo>
                    <a:pt x="375" y="287"/>
                  </a:lnTo>
                  <a:lnTo>
                    <a:pt x="372" y="285"/>
                  </a:lnTo>
                  <a:lnTo>
                    <a:pt x="370" y="285"/>
                  </a:lnTo>
                  <a:lnTo>
                    <a:pt x="365" y="285"/>
                  </a:lnTo>
                  <a:lnTo>
                    <a:pt x="362" y="283"/>
                  </a:lnTo>
                  <a:lnTo>
                    <a:pt x="357" y="279"/>
                  </a:lnTo>
                  <a:lnTo>
                    <a:pt x="354" y="279"/>
                  </a:lnTo>
                  <a:lnTo>
                    <a:pt x="351" y="279"/>
                  </a:lnTo>
                  <a:lnTo>
                    <a:pt x="345" y="280"/>
                  </a:lnTo>
                  <a:lnTo>
                    <a:pt x="341" y="277"/>
                  </a:lnTo>
                  <a:lnTo>
                    <a:pt x="345" y="272"/>
                  </a:lnTo>
                  <a:lnTo>
                    <a:pt x="349" y="271"/>
                  </a:lnTo>
                  <a:lnTo>
                    <a:pt x="352" y="271"/>
                  </a:lnTo>
                  <a:lnTo>
                    <a:pt x="354" y="268"/>
                  </a:lnTo>
                  <a:lnTo>
                    <a:pt x="360" y="263"/>
                  </a:lnTo>
                  <a:lnTo>
                    <a:pt x="364" y="263"/>
                  </a:lnTo>
                  <a:lnTo>
                    <a:pt x="368" y="261"/>
                  </a:lnTo>
                  <a:lnTo>
                    <a:pt x="372" y="260"/>
                  </a:lnTo>
                  <a:lnTo>
                    <a:pt x="375" y="258"/>
                  </a:lnTo>
                  <a:lnTo>
                    <a:pt x="378" y="258"/>
                  </a:lnTo>
                  <a:lnTo>
                    <a:pt x="379" y="255"/>
                  </a:lnTo>
                  <a:lnTo>
                    <a:pt x="376" y="255"/>
                  </a:lnTo>
                  <a:lnTo>
                    <a:pt x="375" y="250"/>
                  </a:lnTo>
                  <a:lnTo>
                    <a:pt x="375" y="249"/>
                  </a:lnTo>
                  <a:lnTo>
                    <a:pt x="375" y="247"/>
                  </a:lnTo>
                  <a:lnTo>
                    <a:pt x="372" y="249"/>
                  </a:lnTo>
                  <a:lnTo>
                    <a:pt x="372" y="250"/>
                  </a:lnTo>
                  <a:lnTo>
                    <a:pt x="368" y="250"/>
                  </a:lnTo>
                  <a:lnTo>
                    <a:pt x="365" y="249"/>
                  </a:lnTo>
                  <a:lnTo>
                    <a:pt x="362" y="245"/>
                  </a:lnTo>
                  <a:lnTo>
                    <a:pt x="359" y="247"/>
                  </a:lnTo>
                  <a:lnTo>
                    <a:pt x="356" y="249"/>
                  </a:lnTo>
                  <a:lnTo>
                    <a:pt x="351" y="249"/>
                  </a:lnTo>
                  <a:lnTo>
                    <a:pt x="348" y="247"/>
                  </a:lnTo>
                  <a:lnTo>
                    <a:pt x="345" y="249"/>
                  </a:lnTo>
                  <a:lnTo>
                    <a:pt x="341" y="249"/>
                  </a:lnTo>
                  <a:lnTo>
                    <a:pt x="337" y="249"/>
                  </a:lnTo>
                  <a:lnTo>
                    <a:pt x="333" y="249"/>
                  </a:lnTo>
                  <a:lnTo>
                    <a:pt x="330" y="245"/>
                  </a:lnTo>
                  <a:lnTo>
                    <a:pt x="327" y="244"/>
                  </a:lnTo>
                  <a:lnTo>
                    <a:pt x="324" y="242"/>
                  </a:lnTo>
                  <a:lnTo>
                    <a:pt x="322" y="242"/>
                  </a:lnTo>
                  <a:lnTo>
                    <a:pt x="318" y="241"/>
                  </a:lnTo>
                  <a:lnTo>
                    <a:pt x="314" y="241"/>
                  </a:lnTo>
                  <a:lnTo>
                    <a:pt x="318" y="239"/>
                  </a:lnTo>
                  <a:lnTo>
                    <a:pt x="322" y="238"/>
                  </a:lnTo>
                  <a:lnTo>
                    <a:pt x="322" y="234"/>
                  </a:lnTo>
                  <a:lnTo>
                    <a:pt x="318" y="234"/>
                  </a:lnTo>
                  <a:lnTo>
                    <a:pt x="314" y="233"/>
                  </a:lnTo>
                  <a:lnTo>
                    <a:pt x="313" y="233"/>
                  </a:lnTo>
                  <a:lnTo>
                    <a:pt x="310" y="233"/>
                  </a:lnTo>
                  <a:lnTo>
                    <a:pt x="305" y="230"/>
                  </a:lnTo>
                  <a:lnTo>
                    <a:pt x="310" y="231"/>
                  </a:lnTo>
                  <a:lnTo>
                    <a:pt x="313" y="230"/>
                  </a:lnTo>
                  <a:lnTo>
                    <a:pt x="316" y="231"/>
                  </a:lnTo>
                  <a:lnTo>
                    <a:pt x="318" y="231"/>
                  </a:lnTo>
                  <a:lnTo>
                    <a:pt x="321" y="233"/>
                  </a:lnTo>
                  <a:lnTo>
                    <a:pt x="324" y="233"/>
                  </a:lnTo>
                  <a:lnTo>
                    <a:pt x="327" y="233"/>
                  </a:lnTo>
                  <a:lnTo>
                    <a:pt x="332" y="234"/>
                  </a:lnTo>
                  <a:lnTo>
                    <a:pt x="335" y="233"/>
                  </a:lnTo>
                  <a:lnTo>
                    <a:pt x="333" y="231"/>
                  </a:lnTo>
                  <a:lnTo>
                    <a:pt x="338" y="230"/>
                  </a:lnTo>
                  <a:lnTo>
                    <a:pt x="341" y="226"/>
                  </a:lnTo>
                  <a:lnTo>
                    <a:pt x="341" y="226"/>
                  </a:lnTo>
                  <a:lnTo>
                    <a:pt x="338" y="228"/>
                  </a:lnTo>
                  <a:lnTo>
                    <a:pt x="335" y="230"/>
                  </a:lnTo>
                  <a:lnTo>
                    <a:pt x="332" y="230"/>
                  </a:lnTo>
                  <a:lnTo>
                    <a:pt x="327" y="230"/>
                  </a:lnTo>
                  <a:lnTo>
                    <a:pt x="324" y="228"/>
                  </a:lnTo>
                  <a:lnTo>
                    <a:pt x="321" y="226"/>
                  </a:lnTo>
                  <a:lnTo>
                    <a:pt x="319" y="223"/>
                  </a:lnTo>
                  <a:lnTo>
                    <a:pt x="318" y="220"/>
                  </a:lnTo>
                  <a:lnTo>
                    <a:pt x="319" y="217"/>
                  </a:lnTo>
                  <a:lnTo>
                    <a:pt x="318" y="214"/>
                  </a:lnTo>
                  <a:lnTo>
                    <a:pt x="314" y="211"/>
                  </a:lnTo>
                  <a:lnTo>
                    <a:pt x="318" y="214"/>
                  </a:lnTo>
                  <a:lnTo>
                    <a:pt x="316" y="214"/>
                  </a:lnTo>
                  <a:lnTo>
                    <a:pt x="318" y="217"/>
                  </a:lnTo>
                  <a:lnTo>
                    <a:pt x="316" y="220"/>
                  </a:lnTo>
                  <a:lnTo>
                    <a:pt x="318" y="223"/>
                  </a:lnTo>
                  <a:lnTo>
                    <a:pt x="316" y="226"/>
                  </a:lnTo>
                  <a:lnTo>
                    <a:pt x="313" y="228"/>
                  </a:lnTo>
                  <a:lnTo>
                    <a:pt x="310" y="226"/>
                  </a:lnTo>
                  <a:lnTo>
                    <a:pt x="306" y="228"/>
                  </a:lnTo>
                  <a:lnTo>
                    <a:pt x="305" y="225"/>
                  </a:lnTo>
                  <a:lnTo>
                    <a:pt x="306" y="222"/>
                  </a:lnTo>
                  <a:lnTo>
                    <a:pt x="303" y="223"/>
                  </a:lnTo>
                  <a:lnTo>
                    <a:pt x="303" y="226"/>
                  </a:lnTo>
                  <a:lnTo>
                    <a:pt x="299" y="228"/>
                  </a:lnTo>
                  <a:lnTo>
                    <a:pt x="299" y="228"/>
                  </a:lnTo>
                  <a:lnTo>
                    <a:pt x="294" y="228"/>
                  </a:lnTo>
                  <a:lnTo>
                    <a:pt x="291" y="228"/>
                  </a:lnTo>
                  <a:lnTo>
                    <a:pt x="287" y="228"/>
                  </a:lnTo>
                  <a:lnTo>
                    <a:pt x="281" y="233"/>
                  </a:lnTo>
                  <a:lnTo>
                    <a:pt x="283" y="236"/>
                  </a:lnTo>
                  <a:lnTo>
                    <a:pt x="280" y="239"/>
                  </a:lnTo>
                  <a:lnTo>
                    <a:pt x="280" y="242"/>
                  </a:lnTo>
                  <a:lnTo>
                    <a:pt x="276" y="245"/>
                  </a:lnTo>
                  <a:lnTo>
                    <a:pt x="273" y="249"/>
                  </a:lnTo>
                  <a:lnTo>
                    <a:pt x="275" y="249"/>
                  </a:lnTo>
                  <a:lnTo>
                    <a:pt x="272" y="245"/>
                  </a:lnTo>
                  <a:lnTo>
                    <a:pt x="270" y="242"/>
                  </a:lnTo>
                  <a:lnTo>
                    <a:pt x="267" y="241"/>
                  </a:lnTo>
                  <a:lnTo>
                    <a:pt x="265" y="239"/>
                  </a:lnTo>
                  <a:lnTo>
                    <a:pt x="265" y="238"/>
                  </a:lnTo>
                  <a:lnTo>
                    <a:pt x="262" y="238"/>
                  </a:lnTo>
                  <a:lnTo>
                    <a:pt x="264" y="242"/>
                  </a:lnTo>
                  <a:lnTo>
                    <a:pt x="267" y="244"/>
                  </a:lnTo>
                  <a:lnTo>
                    <a:pt x="270" y="245"/>
                  </a:lnTo>
                  <a:lnTo>
                    <a:pt x="273" y="250"/>
                  </a:lnTo>
                  <a:lnTo>
                    <a:pt x="273" y="250"/>
                  </a:lnTo>
                  <a:lnTo>
                    <a:pt x="272" y="252"/>
                  </a:lnTo>
                  <a:lnTo>
                    <a:pt x="264" y="260"/>
                  </a:lnTo>
                  <a:lnTo>
                    <a:pt x="253" y="268"/>
                  </a:lnTo>
                  <a:lnTo>
                    <a:pt x="257" y="266"/>
                  </a:lnTo>
                  <a:lnTo>
                    <a:pt x="260" y="263"/>
                  </a:lnTo>
                  <a:lnTo>
                    <a:pt x="262" y="261"/>
                  </a:lnTo>
                  <a:lnTo>
                    <a:pt x="264" y="258"/>
                  </a:lnTo>
                  <a:lnTo>
                    <a:pt x="259" y="258"/>
                  </a:lnTo>
                  <a:lnTo>
                    <a:pt x="257" y="263"/>
                  </a:lnTo>
                  <a:lnTo>
                    <a:pt x="254" y="263"/>
                  </a:lnTo>
                  <a:lnTo>
                    <a:pt x="254" y="266"/>
                  </a:lnTo>
                  <a:lnTo>
                    <a:pt x="251" y="266"/>
                  </a:lnTo>
                  <a:lnTo>
                    <a:pt x="249" y="263"/>
                  </a:lnTo>
                  <a:lnTo>
                    <a:pt x="248" y="266"/>
                  </a:lnTo>
                  <a:lnTo>
                    <a:pt x="248" y="269"/>
                  </a:lnTo>
                  <a:lnTo>
                    <a:pt x="251" y="269"/>
                  </a:lnTo>
                  <a:lnTo>
                    <a:pt x="249" y="272"/>
                  </a:lnTo>
                  <a:lnTo>
                    <a:pt x="253" y="274"/>
                  </a:lnTo>
                  <a:lnTo>
                    <a:pt x="253" y="276"/>
                  </a:lnTo>
                  <a:lnTo>
                    <a:pt x="254" y="279"/>
                  </a:lnTo>
                  <a:lnTo>
                    <a:pt x="253" y="282"/>
                  </a:lnTo>
                  <a:lnTo>
                    <a:pt x="253" y="283"/>
                  </a:lnTo>
                  <a:lnTo>
                    <a:pt x="251" y="283"/>
                  </a:lnTo>
                  <a:lnTo>
                    <a:pt x="251" y="280"/>
                  </a:lnTo>
                  <a:lnTo>
                    <a:pt x="249" y="277"/>
                  </a:lnTo>
                  <a:lnTo>
                    <a:pt x="246" y="276"/>
                  </a:lnTo>
                  <a:lnTo>
                    <a:pt x="243" y="276"/>
                  </a:lnTo>
                  <a:lnTo>
                    <a:pt x="240" y="276"/>
                  </a:lnTo>
                  <a:lnTo>
                    <a:pt x="237" y="276"/>
                  </a:lnTo>
                  <a:lnTo>
                    <a:pt x="237" y="276"/>
                  </a:lnTo>
                  <a:lnTo>
                    <a:pt x="235" y="276"/>
                  </a:lnTo>
                  <a:lnTo>
                    <a:pt x="234" y="277"/>
                  </a:lnTo>
                  <a:lnTo>
                    <a:pt x="232" y="279"/>
                  </a:lnTo>
                  <a:lnTo>
                    <a:pt x="229" y="279"/>
                  </a:lnTo>
                  <a:lnTo>
                    <a:pt x="229" y="280"/>
                  </a:lnTo>
                  <a:lnTo>
                    <a:pt x="226" y="280"/>
                  </a:lnTo>
                  <a:lnTo>
                    <a:pt x="222" y="280"/>
                  </a:lnTo>
                  <a:lnTo>
                    <a:pt x="221" y="283"/>
                  </a:lnTo>
                  <a:lnTo>
                    <a:pt x="221" y="283"/>
                  </a:lnTo>
                  <a:lnTo>
                    <a:pt x="216" y="283"/>
                  </a:lnTo>
                  <a:lnTo>
                    <a:pt x="210" y="280"/>
                  </a:lnTo>
                  <a:lnTo>
                    <a:pt x="207" y="279"/>
                  </a:lnTo>
                  <a:lnTo>
                    <a:pt x="203" y="274"/>
                  </a:lnTo>
                  <a:lnTo>
                    <a:pt x="203" y="272"/>
                  </a:lnTo>
                  <a:lnTo>
                    <a:pt x="203" y="272"/>
                  </a:lnTo>
                  <a:lnTo>
                    <a:pt x="207" y="272"/>
                  </a:lnTo>
                  <a:lnTo>
                    <a:pt x="210" y="272"/>
                  </a:lnTo>
                  <a:lnTo>
                    <a:pt x="210" y="272"/>
                  </a:lnTo>
                  <a:lnTo>
                    <a:pt x="213" y="271"/>
                  </a:lnTo>
                  <a:lnTo>
                    <a:pt x="213" y="268"/>
                  </a:lnTo>
                  <a:lnTo>
                    <a:pt x="213" y="264"/>
                  </a:lnTo>
                  <a:lnTo>
                    <a:pt x="215" y="264"/>
                  </a:lnTo>
                  <a:lnTo>
                    <a:pt x="215" y="264"/>
                  </a:lnTo>
                  <a:lnTo>
                    <a:pt x="215" y="261"/>
                  </a:lnTo>
                  <a:lnTo>
                    <a:pt x="218" y="260"/>
                  </a:lnTo>
                  <a:lnTo>
                    <a:pt x="219" y="257"/>
                  </a:lnTo>
                  <a:lnTo>
                    <a:pt x="222" y="253"/>
                  </a:lnTo>
                  <a:lnTo>
                    <a:pt x="224" y="253"/>
                  </a:lnTo>
                  <a:lnTo>
                    <a:pt x="226" y="250"/>
                  </a:lnTo>
                  <a:lnTo>
                    <a:pt x="227" y="247"/>
                  </a:lnTo>
                  <a:lnTo>
                    <a:pt x="226" y="242"/>
                  </a:lnTo>
                  <a:lnTo>
                    <a:pt x="224" y="239"/>
                  </a:lnTo>
                  <a:lnTo>
                    <a:pt x="224" y="238"/>
                  </a:lnTo>
                  <a:lnTo>
                    <a:pt x="224" y="234"/>
                  </a:lnTo>
                  <a:lnTo>
                    <a:pt x="224" y="234"/>
                  </a:lnTo>
                  <a:lnTo>
                    <a:pt x="227" y="233"/>
                  </a:lnTo>
                  <a:lnTo>
                    <a:pt x="230" y="231"/>
                  </a:lnTo>
                  <a:lnTo>
                    <a:pt x="232" y="233"/>
                  </a:lnTo>
                  <a:lnTo>
                    <a:pt x="234" y="238"/>
                  </a:lnTo>
                  <a:lnTo>
                    <a:pt x="237" y="233"/>
                  </a:lnTo>
                  <a:lnTo>
                    <a:pt x="237" y="234"/>
                  </a:lnTo>
                  <a:lnTo>
                    <a:pt x="240" y="233"/>
                  </a:lnTo>
                  <a:lnTo>
                    <a:pt x="243" y="236"/>
                  </a:lnTo>
                  <a:lnTo>
                    <a:pt x="246" y="238"/>
                  </a:lnTo>
                  <a:lnTo>
                    <a:pt x="248" y="236"/>
                  </a:lnTo>
                  <a:lnTo>
                    <a:pt x="251" y="236"/>
                  </a:lnTo>
                  <a:lnTo>
                    <a:pt x="253" y="239"/>
                  </a:lnTo>
                  <a:lnTo>
                    <a:pt x="257" y="238"/>
                  </a:lnTo>
                  <a:lnTo>
                    <a:pt x="260" y="238"/>
                  </a:lnTo>
                  <a:lnTo>
                    <a:pt x="262" y="236"/>
                  </a:lnTo>
                  <a:lnTo>
                    <a:pt x="262" y="236"/>
                  </a:lnTo>
                  <a:lnTo>
                    <a:pt x="257" y="234"/>
                  </a:lnTo>
                  <a:lnTo>
                    <a:pt x="257" y="233"/>
                  </a:lnTo>
                  <a:lnTo>
                    <a:pt x="254" y="231"/>
                  </a:lnTo>
                  <a:lnTo>
                    <a:pt x="253" y="231"/>
                  </a:lnTo>
                  <a:lnTo>
                    <a:pt x="256" y="230"/>
                  </a:lnTo>
                  <a:lnTo>
                    <a:pt x="254" y="225"/>
                  </a:lnTo>
                  <a:lnTo>
                    <a:pt x="254" y="223"/>
                  </a:lnTo>
                  <a:lnTo>
                    <a:pt x="254" y="222"/>
                  </a:lnTo>
                  <a:lnTo>
                    <a:pt x="254" y="222"/>
                  </a:lnTo>
                  <a:lnTo>
                    <a:pt x="251" y="218"/>
                  </a:lnTo>
                  <a:lnTo>
                    <a:pt x="248" y="218"/>
                  </a:lnTo>
                  <a:lnTo>
                    <a:pt x="245" y="215"/>
                  </a:lnTo>
                  <a:lnTo>
                    <a:pt x="241" y="212"/>
                  </a:lnTo>
                  <a:lnTo>
                    <a:pt x="240" y="209"/>
                  </a:lnTo>
                  <a:lnTo>
                    <a:pt x="240" y="206"/>
                  </a:lnTo>
                  <a:lnTo>
                    <a:pt x="241" y="203"/>
                  </a:lnTo>
                  <a:lnTo>
                    <a:pt x="238" y="198"/>
                  </a:lnTo>
                  <a:lnTo>
                    <a:pt x="235" y="199"/>
                  </a:lnTo>
                  <a:lnTo>
                    <a:pt x="232" y="196"/>
                  </a:lnTo>
                  <a:lnTo>
                    <a:pt x="229" y="195"/>
                  </a:lnTo>
                  <a:lnTo>
                    <a:pt x="226" y="193"/>
                  </a:lnTo>
                  <a:lnTo>
                    <a:pt x="226" y="188"/>
                  </a:lnTo>
                  <a:lnTo>
                    <a:pt x="227" y="188"/>
                  </a:lnTo>
                  <a:lnTo>
                    <a:pt x="227" y="185"/>
                  </a:lnTo>
                  <a:lnTo>
                    <a:pt x="227" y="182"/>
                  </a:lnTo>
                  <a:lnTo>
                    <a:pt x="226" y="180"/>
                  </a:lnTo>
                  <a:lnTo>
                    <a:pt x="226" y="177"/>
                  </a:lnTo>
                  <a:lnTo>
                    <a:pt x="222" y="172"/>
                  </a:lnTo>
                  <a:lnTo>
                    <a:pt x="219" y="176"/>
                  </a:lnTo>
                  <a:lnTo>
                    <a:pt x="215" y="172"/>
                  </a:lnTo>
                  <a:lnTo>
                    <a:pt x="213" y="169"/>
                  </a:lnTo>
                  <a:lnTo>
                    <a:pt x="210" y="168"/>
                  </a:lnTo>
                  <a:lnTo>
                    <a:pt x="203" y="166"/>
                  </a:lnTo>
                  <a:lnTo>
                    <a:pt x="202" y="169"/>
                  </a:lnTo>
                  <a:lnTo>
                    <a:pt x="202" y="169"/>
                  </a:lnTo>
                  <a:lnTo>
                    <a:pt x="200" y="166"/>
                  </a:lnTo>
                  <a:lnTo>
                    <a:pt x="197" y="166"/>
                  </a:lnTo>
                  <a:lnTo>
                    <a:pt x="195" y="163"/>
                  </a:lnTo>
                  <a:lnTo>
                    <a:pt x="192" y="165"/>
                  </a:lnTo>
                  <a:lnTo>
                    <a:pt x="189" y="163"/>
                  </a:lnTo>
                  <a:lnTo>
                    <a:pt x="186" y="160"/>
                  </a:lnTo>
                  <a:lnTo>
                    <a:pt x="183" y="158"/>
                  </a:lnTo>
                  <a:lnTo>
                    <a:pt x="180" y="155"/>
                  </a:lnTo>
                  <a:lnTo>
                    <a:pt x="176" y="155"/>
                  </a:lnTo>
                  <a:lnTo>
                    <a:pt x="173" y="155"/>
                  </a:lnTo>
                  <a:lnTo>
                    <a:pt x="170" y="153"/>
                  </a:lnTo>
                  <a:lnTo>
                    <a:pt x="169" y="155"/>
                  </a:lnTo>
                  <a:lnTo>
                    <a:pt x="165" y="155"/>
                  </a:lnTo>
                  <a:lnTo>
                    <a:pt x="164" y="155"/>
                  </a:lnTo>
                  <a:lnTo>
                    <a:pt x="164" y="157"/>
                  </a:lnTo>
                  <a:lnTo>
                    <a:pt x="161" y="158"/>
                  </a:lnTo>
                  <a:lnTo>
                    <a:pt x="159" y="158"/>
                  </a:lnTo>
                  <a:lnTo>
                    <a:pt x="156" y="157"/>
                  </a:lnTo>
                  <a:lnTo>
                    <a:pt x="154" y="158"/>
                  </a:lnTo>
                  <a:lnTo>
                    <a:pt x="151" y="157"/>
                  </a:lnTo>
                  <a:lnTo>
                    <a:pt x="148" y="157"/>
                  </a:lnTo>
                  <a:lnTo>
                    <a:pt x="148" y="161"/>
                  </a:lnTo>
                  <a:lnTo>
                    <a:pt x="146" y="161"/>
                  </a:lnTo>
                  <a:lnTo>
                    <a:pt x="143" y="161"/>
                  </a:lnTo>
                  <a:lnTo>
                    <a:pt x="143" y="163"/>
                  </a:lnTo>
                  <a:lnTo>
                    <a:pt x="140" y="165"/>
                  </a:lnTo>
                  <a:lnTo>
                    <a:pt x="137" y="165"/>
                  </a:lnTo>
                  <a:lnTo>
                    <a:pt x="134" y="165"/>
                  </a:lnTo>
                  <a:lnTo>
                    <a:pt x="134" y="166"/>
                  </a:lnTo>
                  <a:lnTo>
                    <a:pt x="132" y="169"/>
                  </a:lnTo>
                  <a:lnTo>
                    <a:pt x="130" y="172"/>
                  </a:lnTo>
                  <a:lnTo>
                    <a:pt x="127" y="174"/>
                  </a:lnTo>
                  <a:lnTo>
                    <a:pt x="126" y="174"/>
                  </a:lnTo>
                  <a:lnTo>
                    <a:pt x="123" y="174"/>
                  </a:lnTo>
                  <a:lnTo>
                    <a:pt x="119" y="174"/>
                  </a:lnTo>
                  <a:lnTo>
                    <a:pt x="116" y="176"/>
                  </a:lnTo>
                  <a:lnTo>
                    <a:pt x="113" y="176"/>
                  </a:lnTo>
                  <a:lnTo>
                    <a:pt x="110" y="176"/>
                  </a:lnTo>
                  <a:lnTo>
                    <a:pt x="105" y="176"/>
                  </a:lnTo>
                  <a:lnTo>
                    <a:pt x="102" y="176"/>
                  </a:lnTo>
                  <a:lnTo>
                    <a:pt x="99" y="179"/>
                  </a:lnTo>
                  <a:lnTo>
                    <a:pt x="96" y="182"/>
                  </a:lnTo>
                  <a:lnTo>
                    <a:pt x="92" y="184"/>
                  </a:lnTo>
                  <a:lnTo>
                    <a:pt x="92" y="184"/>
                  </a:lnTo>
                  <a:lnTo>
                    <a:pt x="91" y="184"/>
                  </a:lnTo>
                  <a:lnTo>
                    <a:pt x="89" y="184"/>
                  </a:lnTo>
                  <a:lnTo>
                    <a:pt x="86" y="180"/>
                  </a:lnTo>
                  <a:lnTo>
                    <a:pt x="81" y="179"/>
                  </a:lnTo>
                  <a:lnTo>
                    <a:pt x="78" y="174"/>
                  </a:lnTo>
                  <a:lnTo>
                    <a:pt x="77" y="174"/>
                  </a:lnTo>
                  <a:lnTo>
                    <a:pt x="73" y="174"/>
                  </a:lnTo>
                  <a:lnTo>
                    <a:pt x="70" y="176"/>
                  </a:lnTo>
                  <a:lnTo>
                    <a:pt x="65" y="176"/>
                  </a:lnTo>
                  <a:lnTo>
                    <a:pt x="62" y="174"/>
                  </a:lnTo>
                  <a:lnTo>
                    <a:pt x="59" y="174"/>
                  </a:lnTo>
                  <a:lnTo>
                    <a:pt x="57" y="176"/>
                  </a:lnTo>
                  <a:lnTo>
                    <a:pt x="53" y="174"/>
                  </a:lnTo>
                  <a:lnTo>
                    <a:pt x="53" y="174"/>
                  </a:lnTo>
                  <a:lnTo>
                    <a:pt x="48" y="172"/>
                  </a:lnTo>
                  <a:lnTo>
                    <a:pt x="46" y="172"/>
                  </a:lnTo>
                  <a:lnTo>
                    <a:pt x="45" y="172"/>
                  </a:lnTo>
                  <a:lnTo>
                    <a:pt x="42" y="172"/>
                  </a:lnTo>
                  <a:lnTo>
                    <a:pt x="38" y="171"/>
                  </a:lnTo>
                  <a:lnTo>
                    <a:pt x="35" y="169"/>
                  </a:lnTo>
                  <a:lnTo>
                    <a:pt x="32" y="169"/>
                  </a:lnTo>
                  <a:lnTo>
                    <a:pt x="29" y="172"/>
                  </a:lnTo>
                  <a:lnTo>
                    <a:pt x="26" y="174"/>
                  </a:lnTo>
                  <a:lnTo>
                    <a:pt x="24" y="171"/>
                  </a:lnTo>
                  <a:lnTo>
                    <a:pt x="23" y="169"/>
                  </a:lnTo>
                  <a:lnTo>
                    <a:pt x="23" y="169"/>
                  </a:lnTo>
                  <a:lnTo>
                    <a:pt x="16" y="169"/>
                  </a:lnTo>
                  <a:lnTo>
                    <a:pt x="15" y="166"/>
                  </a:lnTo>
                  <a:lnTo>
                    <a:pt x="11" y="163"/>
                  </a:lnTo>
                  <a:lnTo>
                    <a:pt x="8" y="163"/>
                  </a:lnTo>
                  <a:lnTo>
                    <a:pt x="5" y="158"/>
                  </a:lnTo>
                  <a:lnTo>
                    <a:pt x="4" y="158"/>
                  </a:lnTo>
                  <a:lnTo>
                    <a:pt x="4" y="157"/>
                  </a:lnTo>
                  <a:lnTo>
                    <a:pt x="2" y="157"/>
                  </a:lnTo>
                  <a:lnTo>
                    <a:pt x="0" y="157"/>
                  </a:lnTo>
                  <a:close/>
                  <a:moveTo>
                    <a:pt x="376" y="244"/>
                  </a:moveTo>
                  <a:lnTo>
                    <a:pt x="379" y="247"/>
                  </a:lnTo>
                  <a:lnTo>
                    <a:pt x="383" y="247"/>
                  </a:lnTo>
                  <a:lnTo>
                    <a:pt x="383" y="250"/>
                  </a:lnTo>
                  <a:lnTo>
                    <a:pt x="387" y="252"/>
                  </a:lnTo>
                  <a:lnTo>
                    <a:pt x="387" y="250"/>
                  </a:lnTo>
                  <a:lnTo>
                    <a:pt x="391" y="252"/>
                  </a:lnTo>
                  <a:lnTo>
                    <a:pt x="392" y="255"/>
                  </a:lnTo>
                  <a:lnTo>
                    <a:pt x="392" y="252"/>
                  </a:lnTo>
                  <a:lnTo>
                    <a:pt x="395" y="252"/>
                  </a:lnTo>
                  <a:lnTo>
                    <a:pt x="398" y="252"/>
                  </a:lnTo>
                  <a:lnTo>
                    <a:pt x="402" y="255"/>
                  </a:lnTo>
                  <a:lnTo>
                    <a:pt x="403" y="255"/>
                  </a:lnTo>
                  <a:lnTo>
                    <a:pt x="406" y="257"/>
                  </a:lnTo>
                  <a:lnTo>
                    <a:pt x="406" y="255"/>
                  </a:lnTo>
                  <a:lnTo>
                    <a:pt x="408" y="258"/>
                  </a:lnTo>
                  <a:lnTo>
                    <a:pt x="405" y="261"/>
                  </a:lnTo>
                  <a:lnTo>
                    <a:pt x="403" y="261"/>
                  </a:lnTo>
                  <a:lnTo>
                    <a:pt x="411" y="258"/>
                  </a:lnTo>
                  <a:lnTo>
                    <a:pt x="410" y="261"/>
                  </a:lnTo>
                  <a:lnTo>
                    <a:pt x="413" y="261"/>
                  </a:lnTo>
                  <a:lnTo>
                    <a:pt x="416" y="263"/>
                  </a:lnTo>
                  <a:lnTo>
                    <a:pt x="421" y="266"/>
                  </a:lnTo>
                  <a:lnTo>
                    <a:pt x="422" y="268"/>
                  </a:lnTo>
                  <a:lnTo>
                    <a:pt x="425" y="271"/>
                  </a:lnTo>
                  <a:lnTo>
                    <a:pt x="425" y="274"/>
                  </a:lnTo>
                  <a:lnTo>
                    <a:pt x="425" y="279"/>
                  </a:lnTo>
                  <a:lnTo>
                    <a:pt x="429" y="279"/>
                  </a:lnTo>
                  <a:lnTo>
                    <a:pt x="432" y="280"/>
                  </a:lnTo>
                  <a:lnTo>
                    <a:pt x="435" y="282"/>
                  </a:lnTo>
                  <a:lnTo>
                    <a:pt x="433" y="279"/>
                  </a:lnTo>
                  <a:lnTo>
                    <a:pt x="430" y="276"/>
                  </a:lnTo>
                  <a:lnTo>
                    <a:pt x="424" y="269"/>
                  </a:lnTo>
                  <a:lnTo>
                    <a:pt x="421" y="266"/>
                  </a:lnTo>
                  <a:lnTo>
                    <a:pt x="418" y="257"/>
                  </a:lnTo>
                  <a:lnTo>
                    <a:pt x="410" y="250"/>
                  </a:lnTo>
                  <a:lnTo>
                    <a:pt x="413" y="247"/>
                  </a:lnTo>
                  <a:lnTo>
                    <a:pt x="408" y="245"/>
                  </a:lnTo>
                  <a:lnTo>
                    <a:pt x="408" y="249"/>
                  </a:lnTo>
                  <a:lnTo>
                    <a:pt x="406" y="252"/>
                  </a:lnTo>
                  <a:lnTo>
                    <a:pt x="406" y="253"/>
                  </a:lnTo>
                  <a:lnTo>
                    <a:pt x="403" y="255"/>
                  </a:lnTo>
                  <a:lnTo>
                    <a:pt x="402" y="250"/>
                  </a:lnTo>
                  <a:lnTo>
                    <a:pt x="402" y="249"/>
                  </a:lnTo>
                  <a:lnTo>
                    <a:pt x="405" y="249"/>
                  </a:lnTo>
                  <a:lnTo>
                    <a:pt x="405" y="245"/>
                  </a:lnTo>
                  <a:lnTo>
                    <a:pt x="402" y="247"/>
                  </a:lnTo>
                  <a:lnTo>
                    <a:pt x="398" y="245"/>
                  </a:lnTo>
                  <a:lnTo>
                    <a:pt x="397" y="249"/>
                  </a:lnTo>
                  <a:lnTo>
                    <a:pt x="395" y="245"/>
                  </a:lnTo>
                  <a:lnTo>
                    <a:pt x="392" y="241"/>
                  </a:lnTo>
                  <a:lnTo>
                    <a:pt x="392" y="245"/>
                  </a:lnTo>
                  <a:lnTo>
                    <a:pt x="389" y="247"/>
                  </a:lnTo>
                  <a:lnTo>
                    <a:pt x="386" y="244"/>
                  </a:lnTo>
                  <a:lnTo>
                    <a:pt x="383" y="244"/>
                  </a:lnTo>
                  <a:lnTo>
                    <a:pt x="378" y="242"/>
                  </a:lnTo>
                  <a:lnTo>
                    <a:pt x="376" y="244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13" name="Freeform 512"/>
            <p:cNvSpPr>
              <a:spLocks/>
            </p:cNvSpPr>
            <p:nvPr/>
          </p:nvSpPr>
          <p:spPr bwMode="auto">
            <a:xfrm>
              <a:off x="5776679" y="3155123"/>
              <a:ext cx="158799" cy="94776"/>
            </a:xfrm>
            <a:custGeom>
              <a:avLst/>
              <a:gdLst>
                <a:gd name="T0" fmla="*/ 5 w 216"/>
                <a:gd name="T1" fmla="*/ 64 h 113"/>
                <a:gd name="T2" fmla="*/ 13 w 216"/>
                <a:gd name="T3" fmla="*/ 59 h 113"/>
                <a:gd name="T4" fmla="*/ 13 w 216"/>
                <a:gd name="T5" fmla="*/ 46 h 113"/>
                <a:gd name="T6" fmla="*/ 18 w 216"/>
                <a:gd name="T7" fmla="*/ 38 h 113"/>
                <a:gd name="T8" fmla="*/ 13 w 216"/>
                <a:gd name="T9" fmla="*/ 34 h 113"/>
                <a:gd name="T10" fmla="*/ 22 w 216"/>
                <a:gd name="T11" fmla="*/ 35 h 113"/>
                <a:gd name="T12" fmla="*/ 30 w 216"/>
                <a:gd name="T13" fmla="*/ 30 h 113"/>
                <a:gd name="T14" fmla="*/ 33 w 216"/>
                <a:gd name="T15" fmla="*/ 22 h 113"/>
                <a:gd name="T16" fmla="*/ 40 w 216"/>
                <a:gd name="T17" fmla="*/ 24 h 113"/>
                <a:gd name="T18" fmla="*/ 44 w 216"/>
                <a:gd name="T19" fmla="*/ 27 h 113"/>
                <a:gd name="T20" fmla="*/ 52 w 216"/>
                <a:gd name="T21" fmla="*/ 32 h 113"/>
                <a:gd name="T22" fmla="*/ 65 w 216"/>
                <a:gd name="T23" fmla="*/ 32 h 113"/>
                <a:gd name="T24" fmla="*/ 79 w 216"/>
                <a:gd name="T25" fmla="*/ 32 h 113"/>
                <a:gd name="T26" fmla="*/ 87 w 216"/>
                <a:gd name="T27" fmla="*/ 29 h 113"/>
                <a:gd name="T28" fmla="*/ 89 w 216"/>
                <a:gd name="T29" fmla="*/ 21 h 113"/>
                <a:gd name="T30" fmla="*/ 106 w 216"/>
                <a:gd name="T31" fmla="*/ 19 h 113"/>
                <a:gd name="T32" fmla="*/ 108 w 216"/>
                <a:gd name="T33" fmla="*/ 15 h 113"/>
                <a:gd name="T34" fmla="*/ 117 w 216"/>
                <a:gd name="T35" fmla="*/ 16 h 113"/>
                <a:gd name="T36" fmla="*/ 125 w 216"/>
                <a:gd name="T37" fmla="*/ 15 h 113"/>
                <a:gd name="T38" fmla="*/ 133 w 216"/>
                <a:gd name="T39" fmla="*/ 11 h 113"/>
                <a:gd name="T40" fmla="*/ 141 w 216"/>
                <a:gd name="T41" fmla="*/ 0 h 113"/>
                <a:gd name="T42" fmla="*/ 159 w 216"/>
                <a:gd name="T43" fmla="*/ 2 h 113"/>
                <a:gd name="T44" fmla="*/ 163 w 216"/>
                <a:gd name="T45" fmla="*/ 0 h 113"/>
                <a:gd name="T46" fmla="*/ 176 w 216"/>
                <a:gd name="T47" fmla="*/ 7 h 113"/>
                <a:gd name="T48" fmla="*/ 187 w 216"/>
                <a:gd name="T49" fmla="*/ 7 h 113"/>
                <a:gd name="T50" fmla="*/ 194 w 216"/>
                <a:gd name="T51" fmla="*/ 8 h 113"/>
                <a:gd name="T52" fmla="*/ 205 w 216"/>
                <a:gd name="T53" fmla="*/ 16 h 113"/>
                <a:gd name="T54" fmla="*/ 214 w 216"/>
                <a:gd name="T55" fmla="*/ 21 h 113"/>
                <a:gd name="T56" fmla="*/ 208 w 216"/>
                <a:gd name="T57" fmla="*/ 32 h 113"/>
                <a:gd name="T58" fmla="*/ 194 w 216"/>
                <a:gd name="T59" fmla="*/ 38 h 113"/>
                <a:gd name="T60" fmla="*/ 189 w 216"/>
                <a:gd name="T61" fmla="*/ 45 h 113"/>
                <a:gd name="T62" fmla="*/ 182 w 216"/>
                <a:gd name="T63" fmla="*/ 57 h 113"/>
                <a:gd name="T64" fmla="*/ 179 w 216"/>
                <a:gd name="T65" fmla="*/ 62 h 113"/>
                <a:gd name="T66" fmla="*/ 173 w 216"/>
                <a:gd name="T67" fmla="*/ 75 h 113"/>
                <a:gd name="T68" fmla="*/ 168 w 216"/>
                <a:gd name="T69" fmla="*/ 78 h 113"/>
                <a:gd name="T70" fmla="*/ 162 w 216"/>
                <a:gd name="T71" fmla="*/ 91 h 113"/>
                <a:gd name="T72" fmla="*/ 152 w 216"/>
                <a:gd name="T73" fmla="*/ 92 h 113"/>
                <a:gd name="T74" fmla="*/ 146 w 216"/>
                <a:gd name="T75" fmla="*/ 97 h 113"/>
                <a:gd name="T76" fmla="*/ 135 w 216"/>
                <a:gd name="T77" fmla="*/ 99 h 113"/>
                <a:gd name="T78" fmla="*/ 125 w 216"/>
                <a:gd name="T79" fmla="*/ 95 h 113"/>
                <a:gd name="T80" fmla="*/ 114 w 216"/>
                <a:gd name="T81" fmla="*/ 95 h 113"/>
                <a:gd name="T82" fmla="*/ 105 w 216"/>
                <a:gd name="T83" fmla="*/ 103 h 113"/>
                <a:gd name="T84" fmla="*/ 84 w 216"/>
                <a:gd name="T85" fmla="*/ 105 h 113"/>
                <a:gd name="T86" fmla="*/ 75 w 216"/>
                <a:gd name="T87" fmla="*/ 113 h 113"/>
                <a:gd name="T88" fmla="*/ 64 w 216"/>
                <a:gd name="T89" fmla="*/ 111 h 113"/>
                <a:gd name="T90" fmla="*/ 52 w 216"/>
                <a:gd name="T91" fmla="*/ 110 h 113"/>
                <a:gd name="T92" fmla="*/ 44 w 216"/>
                <a:gd name="T93" fmla="*/ 105 h 113"/>
                <a:gd name="T94" fmla="*/ 40 w 216"/>
                <a:gd name="T95" fmla="*/ 103 h 113"/>
                <a:gd name="T96" fmla="*/ 38 w 216"/>
                <a:gd name="T97" fmla="*/ 100 h 113"/>
                <a:gd name="T98" fmla="*/ 37 w 216"/>
                <a:gd name="T99" fmla="*/ 99 h 113"/>
                <a:gd name="T100" fmla="*/ 29 w 216"/>
                <a:gd name="T101" fmla="*/ 92 h 113"/>
                <a:gd name="T102" fmla="*/ 24 w 216"/>
                <a:gd name="T103" fmla="*/ 88 h 113"/>
                <a:gd name="T104" fmla="*/ 11 w 216"/>
                <a:gd name="T105" fmla="*/ 76 h 113"/>
                <a:gd name="T106" fmla="*/ 5 w 216"/>
                <a:gd name="T107" fmla="*/ 67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16" h="113">
                  <a:moveTo>
                    <a:pt x="0" y="67"/>
                  </a:moveTo>
                  <a:lnTo>
                    <a:pt x="3" y="65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6" y="64"/>
                  </a:lnTo>
                  <a:lnTo>
                    <a:pt x="10" y="62"/>
                  </a:lnTo>
                  <a:lnTo>
                    <a:pt x="13" y="62"/>
                  </a:lnTo>
                  <a:lnTo>
                    <a:pt x="13" y="59"/>
                  </a:lnTo>
                  <a:lnTo>
                    <a:pt x="11" y="56"/>
                  </a:lnTo>
                  <a:lnTo>
                    <a:pt x="13" y="53"/>
                  </a:lnTo>
                  <a:lnTo>
                    <a:pt x="11" y="48"/>
                  </a:lnTo>
                  <a:lnTo>
                    <a:pt x="13" y="46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3"/>
                  </a:lnTo>
                  <a:lnTo>
                    <a:pt x="18" y="38"/>
                  </a:lnTo>
                  <a:lnTo>
                    <a:pt x="16" y="37"/>
                  </a:lnTo>
                  <a:lnTo>
                    <a:pt x="13" y="37"/>
                  </a:lnTo>
                  <a:lnTo>
                    <a:pt x="13" y="35"/>
                  </a:lnTo>
                  <a:lnTo>
                    <a:pt x="13" y="34"/>
                  </a:lnTo>
                  <a:lnTo>
                    <a:pt x="14" y="32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4" y="35"/>
                  </a:lnTo>
                  <a:lnTo>
                    <a:pt x="29" y="35"/>
                  </a:lnTo>
                  <a:lnTo>
                    <a:pt x="30" y="30"/>
                  </a:lnTo>
                  <a:lnTo>
                    <a:pt x="29" y="27"/>
                  </a:lnTo>
                  <a:lnTo>
                    <a:pt x="32" y="26"/>
                  </a:lnTo>
                  <a:lnTo>
                    <a:pt x="30" y="26"/>
                  </a:lnTo>
                  <a:lnTo>
                    <a:pt x="33" y="22"/>
                  </a:lnTo>
                  <a:lnTo>
                    <a:pt x="33" y="21"/>
                  </a:lnTo>
                  <a:lnTo>
                    <a:pt x="35" y="21"/>
                  </a:lnTo>
                  <a:lnTo>
                    <a:pt x="37" y="22"/>
                  </a:lnTo>
                  <a:lnTo>
                    <a:pt x="40" y="24"/>
                  </a:lnTo>
                  <a:lnTo>
                    <a:pt x="41" y="24"/>
                  </a:lnTo>
                  <a:lnTo>
                    <a:pt x="41" y="26"/>
                  </a:lnTo>
                  <a:lnTo>
                    <a:pt x="43" y="27"/>
                  </a:lnTo>
                  <a:lnTo>
                    <a:pt x="44" y="27"/>
                  </a:lnTo>
                  <a:lnTo>
                    <a:pt x="46" y="29"/>
                  </a:lnTo>
                  <a:lnTo>
                    <a:pt x="46" y="29"/>
                  </a:lnTo>
                  <a:lnTo>
                    <a:pt x="48" y="30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7" y="32"/>
                  </a:lnTo>
                  <a:lnTo>
                    <a:pt x="60" y="32"/>
                  </a:lnTo>
                  <a:lnTo>
                    <a:pt x="65" y="32"/>
                  </a:lnTo>
                  <a:lnTo>
                    <a:pt x="68" y="34"/>
                  </a:lnTo>
                  <a:lnTo>
                    <a:pt x="73" y="32"/>
                  </a:lnTo>
                  <a:lnTo>
                    <a:pt x="76" y="32"/>
                  </a:lnTo>
                  <a:lnTo>
                    <a:pt x="79" y="32"/>
                  </a:lnTo>
                  <a:lnTo>
                    <a:pt x="83" y="30"/>
                  </a:lnTo>
                  <a:lnTo>
                    <a:pt x="84" y="30"/>
                  </a:lnTo>
                  <a:lnTo>
                    <a:pt x="87" y="30"/>
                  </a:lnTo>
                  <a:lnTo>
                    <a:pt x="87" y="29"/>
                  </a:lnTo>
                  <a:lnTo>
                    <a:pt x="86" y="29"/>
                  </a:lnTo>
                  <a:lnTo>
                    <a:pt x="84" y="24"/>
                  </a:lnTo>
                  <a:lnTo>
                    <a:pt x="86" y="21"/>
                  </a:lnTo>
                  <a:lnTo>
                    <a:pt x="89" y="21"/>
                  </a:lnTo>
                  <a:lnTo>
                    <a:pt x="90" y="21"/>
                  </a:lnTo>
                  <a:lnTo>
                    <a:pt x="90" y="19"/>
                  </a:lnTo>
                  <a:lnTo>
                    <a:pt x="98" y="19"/>
                  </a:lnTo>
                  <a:lnTo>
                    <a:pt x="106" y="19"/>
                  </a:lnTo>
                  <a:lnTo>
                    <a:pt x="106" y="16"/>
                  </a:lnTo>
                  <a:lnTo>
                    <a:pt x="108" y="16"/>
                  </a:lnTo>
                  <a:lnTo>
                    <a:pt x="108" y="15"/>
                  </a:lnTo>
                  <a:lnTo>
                    <a:pt x="108" y="15"/>
                  </a:lnTo>
                  <a:lnTo>
                    <a:pt x="108" y="15"/>
                  </a:lnTo>
                  <a:lnTo>
                    <a:pt x="111" y="13"/>
                  </a:lnTo>
                  <a:lnTo>
                    <a:pt x="113" y="15"/>
                  </a:lnTo>
                  <a:lnTo>
                    <a:pt x="117" y="16"/>
                  </a:lnTo>
                  <a:lnTo>
                    <a:pt x="119" y="16"/>
                  </a:lnTo>
                  <a:lnTo>
                    <a:pt x="122" y="16"/>
                  </a:lnTo>
                  <a:lnTo>
                    <a:pt x="125" y="16"/>
                  </a:lnTo>
                  <a:lnTo>
                    <a:pt x="125" y="15"/>
                  </a:lnTo>
                  <a:lnTo>
                    <a:pt x="130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3" y="11"/>
                  </a:lnTo>
                  <a:lnTo>
                    <a:pt x="135" y="8"/>
                  </a:lnTo>
                  <a:lnTo>
                    <a:pt x="136" y="3"/>
                  </a:lnTo>
                  <a:lnTo>
                    <a:pt x="138" y="2"/>
                  </a:lnTo>
                  <a:lnTo>
                    <a:pt x="141" y="0"/>
                  </a:lnTo>
                  <a:lnTo>
                    <a:pt x="144" y="0"/>
                  </a:lnTo>
                  <a:lnTo>
                    <a:pt x="149" y="0"/>
                  </a:lnTo>
                  <a:lnTo>
                    <a:pt x="151" y="2"/>
                  </a:lnTo>
                  <a:lnTo>
                    <a:pt x="159" y="2"/>
                  </a:lnTo>
                  <a:lnTo>
                    <a:pt x="162" y="2"/>
                  </a:lnTo>
                  <a:lnTo>
                    <a:pt x="162" y="2"/>
                  </a:lnTo>
                  <a:lnTo>
                    <a:pt x="162" y="2"/>
                  </a:lnTo>
                  <a:lnTo>
                    <a:pt x="163" y="0"/>
                  </a:lnTo>
                  <a:lnTo>
                    <a:pt x="167" y="0"/>
                  </a:lnTo>
                  <a:lnTo>
                    <a:pt x="170" y="2"/>
                  </a:lnTo>
                  <a:lnTo>
                    <a:pt x="173" y="3"/>
                  </a:lnTo>
                  <a:lnTo>
                    <a:pt x="176" y="7"/>
                  </a:lnTo>
                  <a:lnTo>
                    <a:pt x="176" y="8"/>
                  </a:lnTo>
                  <a:lnTo>
                    <a:pt x="179" y="8"/>
                  </a:lnTo>
                  <a:lnTo>
                    <a:pt x="182" y="8"/>
                  </a:lnTo>
                  <a:lnTo>
                    <a:pt x="187" y="7"/>
                  </a:lnTo>
                  <a:lnTo>
                    <a:pt x="190" y="7"/>
                  </a:lnTo>
                  <a:lnTo>
                    <a:pt x="192" y="7"/>
                  </a:lnTo>
                  <a:lnTo>
                    <a:pt x="194" y="7"/>
                  </a:lnTo>
                  <a:lnTo>
                    <a:pt x="194" y="8"/>
                  </a:lnTo>
                  <a:lnTo>
                    <a:pt x="195" y="8"/>
                  </a:lnTo>
                  <a:lnTo>
                    <a:pt x="198" y="13"/>
                  </a:lnTo>
                  <a:lnTo>
                    <a:pt x="201" y="13"/>
                  </a:lnTo>
                  <a:lnTo>
                    <a:pt x="205" y="16"/>
                  </a:lnTo>
                  <a:lnTo>
                    <a:pt x="206" y="19"/>
                  </a:lnTo>
                  <a:lnTo>
                    <a:pt x="213" y="19"/>
                  </a:lnTo>
                  <a:lnTo>
                    <a:pt x="213" y="19"/>
                  </a:lnTo>
                  <a:lnTo>
                    <a:pt x="214" y="21"/>
                  </a:lnTo>
                  <a:lnTo>
                    <a:pt x="216" y="24"/>
                  </a:lnTo>
                  <a:lnTo>
                    <a:pt x="213" y="27"/>
                  </a:lnTo>
                  <a:lnTo>
                    <a:pt x="209" y="29"/>
                  </a:lnTo>
                  <a:lnTo>
                    <a:pt x="208" y="32"/>
                  </a:lnTo>
                  <a:lnTo>
                    <a:pt x="201" y="32"/>
                  </a:lnTo>
                  <a:lnTo>
                    <a:pt x="198" y="34"/>
                  </a:lnTo>
                  <a:lnTo>
                    <a:pt x="195" y="35"/>
                  </a:lnTo>
                  <a:lnTo>
                    <a:pt x="194" y="38"/>
                  </a:lnTo>
                  <a:lnTo>
                    <a:pt x="192" y="40"/>
                  </a:lnTo>
                  <a:lnTo>
                    <a:pt x="189" y="42"/>
                  </a:lnTo>
                  <a:lnTo>
                    <a:pt x="187" y="43"/>
                  </a:lnTo>
                  <a:lnTo>
                    <a:pt x="189" y="45"/>
                  </a:lnTo>
                  <a:lnTo>
                    <a:pt x="187" y="48"/>
                  </a:lnTo>
                  <a:lnTo>
                    <a:pt x="184" y="49"/>
                  </a:lnTo>
                  <a:lnTo>
                    <a:pt x="184" y="54"/>
                  </a:lnTo>
                  <a:lnTo>
                    <a:pt x="182" y="57"/>
                  </a:lnTo>
                  <a:lnTo>
                    <a:pt x="182" y="57"/>
                  </a:lnTo>
                  <a:lnTo>
                    <a:pt x="181" y="59"/>
                  </a:lnTo>
                  <a:lnTo>
                    <a:pt x="178" y="62"/>
                  </a:lnTo>
                  <a:lnTo>
                    <a:pt x="179" y="62"/>
                  </a:lnTo>
                  <a:lnTo>
                    <a:pt x="178" y="65"/>
                  </a:lnTo>
                  <a:lnTo>
                    <a:pt x="175" y="68"/>
                  </a:lnTo>
                  <a:lnTo>
                    <a:pt x="173" y="72"/>
                  </a:lnTo>
                  <a:lnTo>
                    <a:pt x="173" y="75"/>
                  </a:lnTo>
                  <a:lnTo>
                    <a:pt x="171" y="76"/>
                  </a:lnTo>
                  <a:lnTo>
                    <a:pt x="168" y="78"/>
                  </a:lnTo>
                  <a:lnTo>
                    <a:pt x="168" y="78"/>
                  </a:lnTo>
                  <a:lnTo>
                    <a:pt x="168" y="78"/>
                  </a:lnTo>
                  <a:lnTo>
                    <a:pt x="167" y="83"/>
                  </a:lnTo>
                  <a:lnTo>
                    <a:pt x="167" y="86"/>
                  </a:lnTo>
                  <a:lnTo>
                    <a:pt x="165" y="88"/>
                  </a:lnTo>
                  <a:lnTo>
                    <a:pt x="162" y="91"/>
                  </a:lnTo>
                  <a:lnTo>
                    <a:pt x="159" y="92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52" y="92"/>
                  </a:lnTo>
                  <a:lnTo>
                    <a:pt x="151" y="95"/>
                  </a:lnTo>
                  <a:lnTo>
                    <a:pt x="149" y="95"/>
                  </a:lnTo>
                  <a:lnTo>
                    <a:pt x="149" y="97"/>
                  </a:lnTo>
                  <a:lnTo>
                    <a:pt x="146" y="97"/>
                  </a:lnTo>
                  <a:lnTo>
                    <a:pt x="143" y="95"/>
                  </a:lnTo>
                  <a:lnTo>
                    <a:pt x="143" y="97"/>
                  </a:lnTo>
                  <a:lnTo>
                    <a:pt x="140" y="95"/>
                  </a:lnTo>
                  <a:lnTo>
                    <a:pt x="135" y="99"/>
                  </a:lnTo>
                  <a:lnTo>
                    <a:pt x="132" y="97"/>
                  </a:lnTo>
                  <a:lnTo>
                    <a:pt x="129" y="97"/>
                  </a:lnTo>
                  <a:lnTo>
                    <a:pt x="127" y="95"/>
                  </a:lnTo>
                  <a:lnTo>
                    <a:pt x="125" y="95"/>
                  </a:lnTo>
                  <a:lnTo>
                    <a:pt x="124" y="95"/>
                  </a:lnTo>
                  <a:lnTo>
                    <a:pt x="121" y="97"/>
                  </a:lnTo>
                  <a:lnTo>
                    <a:pt x="117" y="95"/>
                  </a:lnTo>
                  <a:lnTo>
                    <a:pt x="114" y="95"/>
                  </a:lnTo>
                  <a:lnTo>
                    <a:pt x="113" y="95"/>
                  </a:lnTo>
                  <a:lnTo>
                    <a:pt x="110" y="99"/>
                  </a:lnTo>
                  <a:lnTo>
                    <a:pt x="106" y="100"/>
                  </a:lnTo>
                  <a:lnTo>
                    <a:pt x="105" y="103"/>
                  </a:lnTo>
                  <a:lnTo>
                    <a:pt x="100" y="103"/>
                  </a:lnTo>
                  <a:lnTo>
                    <a:pt x="97" y="102"/>
                  </a:lnTo>
                  <a:lnTo>
                    <a:pt x="92" y="105"/>
                  </a:lnTo>
                  <a:lnTo>
                    <a:pt x="84" y="105"/>
                  </a:lnTo>
                  <a:lnTo>
                    <a:pt x="83" y="110"/>
                  </a:lnTo>
                  <a:lnTo>
                    <a:pt x="81" y="110"/>
                  </a:lnTo>
                  <a:lnTo>
                    <a:pt x="78" y="113"/>
                  </a:lnTo>
                  <a:lnTo>
                    <a:pt x="75" y="113"/>
                  </a:lnTo>
                  <a:lnTo>
                    <a:pt x="73" y="113"/>
                  </a:lnTo>
                  <a:lnTo>
                    <a:pt x="73" y="113"/>
                  </a:lnTo>
                  <a:lnTo>
                    <a:pt x="70" y="111"/>
                  </a:lnTo>
                  <a:lnTo>
                    <a:pt x="64" y="111"/>
                  </a:lnTo>
                  <a:lnTo>
                    <a:pt x="60" y="111"/>
                  </a:lnTo>
                  <a:lnTo>
                    <a:pt x="60" y="111"/>
                  </a:lnTo>
                  <a:lnTo>
                    <a:pt x="56" y="110"/>
                  </a:lnTo>
                  <a:lnTo>
                    <a:pt x="52" y="110"/>
                  </a:lnTo>
                  <a:lnTo>
                    <a:pt x="52" y="108"/>
                  </a:lnTo>
                  <a:lnTo>
                    <a:pt x="49" y="105"/>
                  </a:lnTo>
                  <a:lnTo>
                    <a:pt x="46" y="105"/>
                  </a:lnTo>
                  <a:lnTo>
                    <a:pt x="44" y="105"/>
                  </a:lnTo>
                  <a:lnTo>
                    <a:pt x="43" y="105"/>
                  </a:lnTo>
                  <a:lnTo>
                    <a:pt x="43" y="105"/>
                  </a:lnTo>
                  <a:lnTo>
                    <a:pt x="43" y="105"/>
                  </a:lnTo>
                  <a:lnTo>
                    <a:pt x="40" y="103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40" y="102"/>
                  </a:lnTo>
                  <a:lnTo>
                    <a:pt x="38" y="100"/>
                  </a:lnTo>
                  <a:lnTo>
                    <a:pt x="38" y="100"/>
                  </a:lnTo>
                  <a:lnTo>
                    <a:pt x="38" y="100"/>
                  </a:lnTo>
                  <a:lnTo>
                    <a:pt x="38" y="99"/>
                  </a:lnTo>
                  <a:lnTo>
                    <a:pt x="37" y="99"/>
                  </a:lnTo>
                  <a:lnTo>
                    <a:pt x="37" y="99"/>
                  </a:lnTo>
                  <a:lnTo>
                    <a:pt x="35" y="95"/>
                  </a:lnTo>
                  <a:lnTo>
                    <a:pt x="32" y="94"/>
                  </a:lnTo>
                  <a:lnTo>
                    <a:pt x="29" y="92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5" y="88"/>
                  </a:lnTo>
                  <a:lnTo>
                    <a:pt x="24" y="88"/>
                  </a:lnTo>
                  <a:lnTo>
                    <a:pt x="21" y="86"/>
                  </a:lnTo>
                  <a:lnTo>
                    <a:pt x="18" y="83"/>
                  </a:lnTo>
                  <a:lnTo>
                    <a:pt x="14" y="80"/>
                  </a:lnTo>
                  <a:lnTo>
                    <a:pt x="11" y="76"/>
                  </a:lnTo>
                  <a:lnTo>
                    <a:pt x="10" y="75"/>
                  </a:lnTo>
                  <a:lnTo>
                    <a:pt x="10" y="73"/>
                  </a:lnTo>
                  <a:lnTo>
                    <a:pt x="8" y="70"/>
                  </a:lnTo>
                  <a:lnTo>
                    <a:pt x="5" y="67"/>
                  </a:lnTo>
                  <a:lnTo>
                    <a:pt x="2" y="68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14" name="Freeform 513"/>
            <p:cNvSpPr>
              <a:spLocks/>
            </p:cNvSpPr>
            <p:nvPr/>
          </p:nvSpPr>
          <p:spPr bwMode="auto">
            <a:xfrm>
              <a:off x="5792853" y="3121274"/>
              <a:ext cx="132333" cy="60928"/>
            </a:xfrm>
            <a:custGeom>
              <a:avLst/>
              <a:gdLst>
                <a:gd name="T0" fmla="*/ 5 w 179"/>
                <a:gd name="T1" fmla="*/ 33 h 71"/>
                <a:gd name="T2" fmla="*/ 10 w 179"/>
                <a:gd name="T3" fmla="*/ 27 h 71"/>
                <a:gd name="T4" fmla="*/ 18 w 179"/>
                <a:gd name="T5" fmla="*/ 28 h 71"/>
                <a:gd name="T6" fmla="*/ 22 w 179"/>
                <a:gd name="T7" fmla="*/ 28 h 71"/>
                <a:gd name="T8" fmla="*/ 32 w 179"/>
                <a:gd name="T9" fmla="*/ 23 h 71"/>
                <a:gd name="T10" fmla="*/ 38 w 179"/>
                <a:gd name="T11" fmla="*/ 20 h 71"/>
                <a:gd name="T12" fmla="*/ 42 w 179"/>
                <a:gd name="T13" fmla="*/ 11 h 71"/>
                <a:gd name="T14" fmla="*/ 48 w 179"/>
                <a:gd name="T15" fmla="*/ 6 h 71"/>
                <a:gd name="T16" fmla="*/ 59 w 179"/>
                <a:gd name="T17" fmla="*/ 3 h 71"/>
                <a:gd name="T18" fmla="*/ 65 w 179"/>
                <a:gd name="T19" fmla="*/ 1 h 71"/>
                <a:gd name="T20" fmla="*/ 73 w 179"/>
                <a:gd name="T21" fmla="*/ 4 h 71"/>
                <a:gd name="T22" fmla="*/ 83 w 179"/>
                <a:gd name="T23" fmla="*/ 0 h 71"/>
                <a:gd name="T24" fmla="*/ 88 w 179"/>
                <a:gd name="T25" fmla="*/ 6 h 71"/>
                <a:gd name="T26" fmla="*/ 92 w 179"/>
                <a:gd name="T27" fmla="*/ 8 h 71"/>
                <a:gd name="T28" fmla="*/ 95 w 179"/>
                <a:gd name="T29" fmla="*/ 14 h 71"/>
                <a:gd name="T30" fmla="*/ 102 w 179"/>
                <a:gd name="T31" fmla="*/ 11 h 71"/>
                <a:gd name="T32" fmla="*/ 111 w 179"/>
                <a:gd name="T33" fmla="*/ 6 h 71"/>
                <a:gd name="T34" fmla="*/ 119 w 179"/>
                <a:gd name="T35" fmla="*/ 6 h 71"/>
                <a:gd name="T36" fmla="*/ 127 w 179"/>
                <a:gd name="T37" fmla="*/ 9 h 71"/>
                <a:gd name="T38" fmla="*/ 138 w 179"/>
                <a:gd name="T39" fmla="*/ 4 h 71"/>
                <a:gd name="T40" fmla="*/ 146 w 179"/>
                <a:gd name="T41" fmla="*/ 4 h 71"/>
                <a:gd name="T42" fmla="*/ 154 w 179"/>
                <a:gd name="T43" fmla="*/ 8 h 71"/>
                <a:gd name="T44" fmla="*/ 162 w 179"/>
                <a:gd name="T45" fmla="*/ 12 h 71"/>
                <a:gd name="T46" fmla="*/ 179 w 179"/>
                <a:gd name="T47" fmla="*/ 22 h 71"/>
                <a:gd name="T48" fmla="*/ 173 w 179"/>
                <a:gd name="T49" fmla="*/ 31 h 71"/>
                <a:gd name="T50" fmla="*/ 168 w 179"/>
                <a:gd name="T51" fmla="*/ 39 h 71"/>
                <a:gd name="T52" fmla="*/ 160 w 179"/>
                <a:gd name="T53" fmla="*/ 47 h 71"/>
                <a:gd name="T54" fmla="*/ 154 w 179"/>
                <a:gd name="T55" fmla="*/ 46 h 71"/>
                <a:gd name="T56" fmla="*/ 145 w 179"/>
                <a:gd name="T57" fmla="*/ 39 h 71"/>
                <a:gd name="T58" fmla="*/ 140 w 179"/>
                <a:gd name="T59" fmla="*/ 41 h 71"/>
                <a:gd name="T60" fmla="*/ 129 w 179"/>
                <a:gd name="T61" fmla="*/ 41 h 71"/>
                <a:gd name="T62" fmla="*/ 119 w 179"/>
                <a:gd name="T63" fmla="*/ 39 h 71"/>
                <a:gd name="T64" fmla="*/ 113 w 179"/>
                <a:gd name="T65" fmla="*/ 47 h 71"/>
                <a:gd name="T66" fmla="*/ 111 w 179"/>
                <a:gd name="T67" fmla="*/ 50 h 71"/>
                <a:gd name="T68" fmla="*/ 103 w 179"/>
                <a:gd name="T69" fmla="*/ 55 h 71"/>
                <a:gd name="T70" fmla="*/ 95 w 179"/>
                <a:gd name="T71" fmla="*/ 55 h 71"/>
                <a:gd name="T72" fmla="*/ 86 w 179"/>
                <a:gd name="T73" fmla="*/ 54 h 71"/>
                <a:gd name="T74" fmla="*/ 86 w 179"/>
                <a:gd name="T75" fmla="*/ 55 h 71"/>
                <a:gd name="T76" fmla="*/ 76 w 179"/>
                <a:gd name="T77" fmla="*/ 58 h 71"/>
                <a:gd name="T78" fmla="*/ 67 w 179"/>
                <a:gd name="T79" fmla="*/ 60 h 71"/>
                <a:gd name="T80" fmla="*/ 64 w 179"/>
                <a:gd name="T81" fmla="*/ 68 h 71"/>
                <a:gd name="T82" fmla="*/ 59 w 179"/>
                <a:gd name="T83" fmla="*/ 71 h 71"/>
                <a:gd name="T84" fmla="*/ 40 w 179"/>
                <a:gd name="T85" fmla="*/ 71 h 71"/>
                <a:gd name="T86" fmla="*/ 30 w 179"/>
                <a:gd name="T87" fmla="*/ 71 h 71"/>
                <a:gd name="T88" fmla="*/ 24 w 179"/>
                <a:gd name="T89" fmla="*/ 68 h 71"/>
                <a:gd name="T90" fmla="*/ 21 w 179"/>
                <a:gd name="T91" fmla="*/ 66 h 71"/>
                <a:gd name="T92" fmla="*/ 18 w 179"/>
                <a:gd name="T93" fmla="*/ 63 h 71"/>
                <a:gd name="T94" fmla="*/ 11 w 179"/>
                <a:gd name="T95" fmla="*/ 60 h 71"/>
                <a:gd name="T96" fmla="*/ 8 w 179"/>
                <a:gd name="T97" fmla="*/ 57 h 71"/>
                <a:gd name="T98" fmla="*/ 5 w 179"/>
                <a:gd name="T99" fmla="*/ 55 h 71"/>
                <a:gd name="T100" fmla="*/ 3 w 179"/>
                <a:gd name="T101" fmla="*/ 50 h 71"/>
                <a:gd name="T102" fmla="*/ 3 w 179"/>
                <a:gd name="T103" fmla="*/ 4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9" h="71">
                  <a:moveTo>
                    <a:pt x="3" y="36"/>
                  </a:moveTo>
                  <a:lnTo>
                    <a:pt x="5" y="35"/>
                  </a:lnTo>
                  <a:lnTo>
                    <a:pt x="5" y="33"/>
                  </a:lnTo>
                  <a:lnTo>
                    <a:pt x="5" y="31"/>
                  </a:lnTo>
                  <a:lnTo>
                    <a:pt x="8" y="28"/>
                  </a:lnTo>
                  <a:lnTo>
                    <a:pt x="10" y="27"/>
                  </a:lnTo>
                  <a:lnTo>
                    <a:pt x="11" y="27"/>
                  </a:lnTo>
                  <a:lnTo>
                    <a:pt x="15" y="28"/>
                  </a:lnTo>
                  <a:lnTo>
                    <a:pt x="18" y="28"/>
                  </a:lnTo>
                  <a:lnTo>
                    <a:pt x="21" y="30"/>
                  </a:lnTo>
                  <a:lnTo>
                    <a:pt x="21" y="28"/>
                  </a:lnTo>
                  <a:lnTo>
                    <a:pt x="22" y="28"/>
                  </a:lnTo>
                  <a:lnTo>
                    <a:pt x="26" y="28"/>
                  </a:lnTo>
                  <a:lnTo>
                    <a:pt x="29" y="25"/>
                  </a:lnTo>
                  <a:lnTo>
                    <a:pt x="32" y="23"/>
                  </a:lnTo>
                  <a:lnTo>
                    <a:pt x="34" y="20"/>
                  </a:lnTo>
                  <a:lnTo>
                    <a:pt x="37" y="20"/>
                  </a:lnTo>
                  <a:lnTo>
                    <a:pt x="38" y="20"/>
                  </a:lnTo>
                  <a:lnTo>
                    <a:pt x="40" y="17"/>
                  </a:lnTo>
                  <a:lnTo>
                    <a:pt x="40" y="14"/>
                  </a:lnTo>
                  <a:lnTo>
                    <a:pt x="42" y="11"/>
                  </a:lnTo>
                  <a:lnTo>
                    <a:pt x="45" y="9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53" y="4"/>
                  </a:lnTo>
                  <a:lnTo>
                    <a:pt x="56" y="1"/>
                  </a:lnTo>
                  <a:lnTo>
                    <a:pt x="59" y="3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5" y="1"/>
                  </a:lnTo>
                  <a:lnTo>
                    <a:pt x="65" y="6"/>
                  </a:lnTo>
                  <a:lnTo>
                    <a:pt x="70" y="6"/>
                  </a:lnTo>
                  <a:lnTo>
                    <a:pt x="73" y="4"/>
                  </a:lnTo>
                  <a:lnTo>
                    <a:pt x="76" y="1"/>
                  </a:lnTo>
                  <a:lnTo>
                    <a:pt x="80" y="0"/>
                  </a:lnTo>
                  <a:lnTo>
                    <a:pt x="83" y="0"/>
                  </a:lnTo>
                  <a:lnTo>
                    <a:pt x="83" y="0"/>
                  </a:lnTo>
                  <a:lnTo>
                    <a:pt x="84" y="3"/>
                  </a:lnTo>
                  <a:lnTo>
                    <a:pt x="88" y="6"/>
                  </a:lnTo>
                  <a:lnTo>
                    <a:pt x="89" y="6"/>
                  </a:lnTo>
                  <a:lnTo>
                    <a:pt x="92" y="6"/>
                  </a:lnTo>
                  <a:lnTo>
                    <a:pt x="92" y="8"/>
                  </a:lnTo>
                  <a:lnTo>
                    <a:pt x="92" y="11"/>
                  </a:lnTo>
                  <a:lnTo>
                    <a:pt x="94" y="14"/>
                  </a:lnTo>
                  <a:lnTo>
                    <a:pt x="95" y="14"/>
                  </a:lnTo>
                  <a:lnTo>
                    <a:pt x="99" y="14"/>
                  </a:lnTo>
                  <a:lnTo>
                    <a:pt x="102" y="12"/>
                  </a:lnTo>
                  <a:lnTo>
                    <a:pt x="102" y="11"/>
                  </a:lnTo>
                  <a:lnTo>
                    <a:pt x="105" y="8"/>
                  </a:lnTo>
                  <a:lnTo>
                    <a:pt x="108" y="6"/>
                  </a:lnTo>
                  <a:lnTo>
                    <a:pt x="111" y="6"/>
                  </a:lnTo>
                  <a:lnTo>
                    <a:pt x="113" y="6"/>
                  </a:lnTo>
                  <a:lnTo>
                    <a:pt x="116" y="8"/>
                  </a:lnTo>
                  <a:lnTo>
                    <a:pt x="119" y="6"/>
                  </a:lnTo>
                  <a:lnTo>
                    <a:pt x="119" y="4"/>
                  </a:lnTo>
                  <a:lnTo>
                    <a:pt x="124" y="8"/>
                  </a:lnTo>
                  <a:lnTo>
                    <a:pt x="127" y="9"/>
                  </a:lnTo>
                  <a:lnTo>
                    <a:pt x="130" y="8"/>
                  </a:lnTo>
                  <a:lnTo>
                    <a:pt x="135" y="4"/>
                  </a:lnTo>
                  <a:lnTo>
                    <a:pt x="138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6" y="4"/>
                  </a:lnTo>
                  <a:lnTo>
                    <a:pt x="149" y="4"/>
                  </a:lnTo>
                  <a:lnTo>
                    <a:pt x="151" y="4"/>
                  </a:lnTo>
                  <a:lnTo>
                    <a:pt x="154" y="8"/>
                  </a:lnTo>
                  <a:lnTo>
                    <a:pt x="159" y="8"/>
                  </a:lnTo>
                  <a:lnTo>
                    <a:pt x="162" y="11"/>
                  </a:lnTo>
                  <a:lnTo>
                    <a:pt x="162" y="12"/>
                  </a:lnTo>
                  <a:lnTo>
                    <a:pt x="170" y="16"/>
                  </a:lnTo>
                  <a:lnTo>
                    <a:pt x="179" y="19"/>
                  </a:lnTo>
                  <a:lnTo>
                    <a:pt x="179" y="22"/>
                  </a:lnTo>
                  <a:lnTo>
                    <a:pt x="176" y="25"/>
                  </a:lnTo>
                  <a:lnTo>
                    <a:pt x="175" y="28"/>
                  </a:lnTo>
                  <a:lnTo>
                    <a:pt x="173" y="31"/>
                  </a:lnTo>
                  <a:lnTo>
                    <a:pt x="172" y="36"/>
                  </a:lnTo>
                  <a:lnTo>
                    <a:pt x="170" y="36"/>
                  </a:lnTo>
                  <a:lnTo>
                    <a:pt x="168" y="39"/>
                  </a:lnTo>
                  <a:lnTo>
                    <a:pt x="168" y="46"/>
                  </a:lnTo>
                  <a:lnTo>
                    <a:pt x="165" y="46"/>
                  </a:lnTo>
                  <a:lnTo>
                    <a:pt x="160" y="47"/>
                  </a:lnTo>
                  <a:lnTo>
                    <a:pt x="157" y="47"/>
                  </a:lnTo>
                  <a:lnTo>
                    <a:pt x="154" y="47"/>
                  </a:lnTo>
                  <a:lnTo>
                    <a:pt x="154" y="46"/>
                  </a:lnTo>
                  <a:lnTo>
                    <a:pt x="151" y="42"/>
                  </a:lnTo>
                  <a:lnTo>
                    <a:pt x="148" y="41"/>
                  </a:lnTo>
                  <a:lnTo>
                    <a:pt x="145" y="39"/>
                  </a:lnTo>
                  <a:lnTo>
                    <a:pt x="141" y="39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40" y="41"/>
                  </a:lnTo>
                  <a:lnTo>
                    <a:pt x="137" y="41"/>
                  </a:lnTo>
                  <a:lnTo>
                    <a:pt x="129" y="41"/>
                  </a:lnTo>
                  <a:lnTo>
                    <a:pt x="127" y="39"/>
                  </a:lnTo>
                  <a:lnTo>
                    <a:pt x="122" y="39"/>
                  </a:lnTo>
                  <a:lnTo>
                    <a:pt x="119" y="39"/>
                  </a:lnTo>
                  <a:lnTo>
                    <a:pt x="116" y="41"/>
                  </a:lnTo>
                  <a:lnTo>
                    <a:pt x="114" y="42"/>
                  </a:lnTo>
                  <a:lnTo>
                    <a:pt x="113" y="47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11" y="50"/>
                  </a:lnTo>
                  <a:lnTo>
                    <a:pt x="108" y="50"/>
                  </a:lnTo>
                  <a:lnTo>
                    <a:pt x="103" y="54"/>
                  </a:lnTo>
                  <a:lnTo>
                    <a:pt x="103" y="55"/>
                  </a:lnTo>
                  <a:lnTo>
                    <a:pt x="100" y="55"/>
                  </a:lnTo>
                  <a:lnTo>
                    <a:pt x="97" y="55"/>
                  </a:lnTo>
                  <a:lnTo>
                    <a:pt x="95" y="55"/>
                  </a:lnTo>
                  <a:lnTo>
                    <a:pt x="91" y="54"/>
                  </a:lnTo>
                  <a:lnTo>
                    <a:pt x="89" y="52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4"/>
                  </a:lnTo>
                  <a:lnTo>
                    <a:pt x="86" y="55"/>
                  </a:lnTo>
                  <a:lnTo>
                    <a:pt x="84" y="55"/>
                  </a:lnTo>
                  <a:lnTo>
                    <a:pt x="84" y="58"/>
                  </a:lnTo>
                  <a:lnTo>
                    <a:pt x="76" y="58"/>
                  </a:lnTo>
                  <a:lnTo>
                    <a:pt x="68" y="58"/>
                  </a:lnTo>
                  <a:lnTo>
                    <a:pt x="68" y="60"/>
                  </a:lnTo>
                  <a:lnTo>
                    <a:pt x="67" y="60"/>
                  </a:lnTo>
                  <a:lnTo>
                    <a:pt x="64" y="60"/>
                  </a:lnTo>
                  <a:lnTo>
                    <a:pt x="62" y="63"/>
                  </a:lnTo>
                  <a:lnTo>
                    <a:pt x="64" y="68"/>
                  </a:lnTo>
                  <a:lnTo>
                    <a:pt x="65" y="68"/>
                  </a:lnTo>
                  <a:lnTo>
                    <a:pt x="65" y="69"/>
                  </a:lnTo>
                  <a:lnTo>
                    <a:pt x="59" y="71"/>
                  </a:lnTo>
                  <a:lnTo>
                    <a:pt x="51" y="71"/>
                  </a:lnTo>
                  <a:lnTo>
                    <a:pt x="46" y="71"/>
                  </a:lnTo>
                  <a:lnTo>
                    <a:pt x="40" y="71"/>
                  </a:lnTo>
                  <a:lnTo>
                    <a:pt x="38" y="71"/>
                  </a:lnTo>
                  <a:lnTo>
                    <a:pt x="35" y="71"/>
                  </a:lnTo>
                  <a:lnTo>
                    <a:pt x="30" y="71"/>
                  </a:lnTo>
                  <a:lnTo>
                    <a:pt x="30" y="71"/>
                  </a:lnTo>
                  <a:lnTo>
                    <a:pt x="26" y="69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2" y="66"/>
                  </a:lnTo>
                  <a:lnTo>
                    <a:pt x="21" y="66"/>
                  </a:lnTo>
                  <a:lnTo>
                    <a:pt x="19" y="65"/>
                  </a:lnTo>
                  <a:lnTo>
                    <a:pt x="19" y="63"/>
                  </a:lnTo>
                  <a:lnTo>
                    <a:pt x="18" y="63"/>
                  </a:lnTo>
                  <a:lnTo>
                    <a:pt x="15" y="61"/>
                  </a:lnTo>
                  <a:lnTo>
                    <a:pt x="13" y="60"/>
                  </a:lnTo>
                  <a:lnTo>
                    <a:pt x="11" y="60"/>
                  </a:lnTo>
                  <a:lnTo>
                    <a:pt x="11" y="61"/>
                  </a:lnTo>
                  <a:lnTo>
                    <a:pt x="8" y="58"/>
                  </a:lnTo>
                  <a:lnTo>
                    <a:pt x="8" y="57"/>
                  </a:lnTo>
                  <a:lnTo>
                    <a:pt x="8" y="57"/>
                  </a:lnTo>
                  <a:lnTo>
                    <a:pt x="7" y="55"/>
                  </a:lnTo>
                  <a:lnTo>
                    <a:pt x="5" y="55"/>
                  </a:lnTo>
                  <a:lnTo>
                    <a:pt x="3" y="52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0" y="47"/>
                  </a:lnTo>
                  <a:lnTo>
                    <a:pt x="0" y="44"/>
                  </a:lnTo>
                  <a:lnTo>
                    <a:pt x="3" y="41"/>
                  </a:lnTo>
                  <a:lnTo>
                    <a:pt x="3" y="3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15" name="Freeform 514"/>
            <p:cNvSpPr>
              <a:spLocks/>
            </p:cNvSpPr>
            <p:nvPr/>
          </p:nvSpPr>
          <p:spPr bwMode="auto">
            <a:xfrm>
              <a:off x="5728158" y="2946953"/>
              <a:ext cx="229377" cy="192937"/>
            </a:xfrm>
            <a:custGeom>
              <a:avLst/>
              <a:gdLst>
                <a:gd name="T0" fmla="*/ 4 w 313"/>
                <a:gd name="T1" fmla="*/ 70 h 229"/>
                <a:gd name="T2" fmla="*/ 7 w 313"/>
                <a:gd name="T3" fmla="*/ 66 h 229"/>
                <a:gd name="T4" fmla="*/ 12 w 313"/>
                <a:gd name="T5" fmla="*/ 45 h 229"/>
                <a:gd name="T6" fmla="*/ 8 w 313"/>
                <a:gd name="T7" fmla="*/ 37 h 229"/>
                <a:gd name="T8" fmla="*/ 0 w 313"/>
                <a:gd name="T9" fmla="*/ 35 h 229"/>
                <a:gd name="T10" fmla="*/ 23 w 313"/>
                <a:gd name="T11" fmla="*/ 29 h 229"/>
                <a:gd name="T12" fmla="*/ 61 w 313"/>
                <a:gd name="T13" fmla="*/ 21 h 229"/>
                <a:gd name="T14" fmla="*/ 91 w 313"/>
                <a:gd name="T15" fmla="*/ 5 h 229"/>
                <a:gd name="T16" fmla="*/ 127 w 313"/>
                <a:gd name="T17" fmla="*/ 2 h 229"/>
                <a:gd name="T18" fmla="*/ 127 w 313"/>
                <a:gd name="T19" fmla="*/ 4 h 229"/>
                <a:gd name="T20" fmla="*/ 138 w 313"/>
                <a:gd name="T21" fmla="*/ 18 h 229"/>
                <a:gd name="T22" fmla="*/ 165 w 313"/>
                <a:gd name="T23" fmla="*/ 15 h 229"/>
                <a:gd name="T24" fmla="*/ 154 w 313"/>
                <a:gd name="T25" fmla="*/ 21 h 229"/>
                <a:gd name="T26" fmla="*/ 172 w 313"/>
                <a:gd name="T27" fmla="*/ 16 h 229"/>
                <a:gd name="T28" fmla="*/ 249 w 313"/>
                <a:gd name="T29" fmla="*/ 20 h 229"/>
                <a:gd name="T30" fmla="*/ 270 w 313"/>
                <a:gd name="T31" fmla="*/ 20 h 229"/>
                <a:gd name="T32" fmla="*/ 283 w 313"/>
                <a:gd name="T33" fmla="*/ 31 h 229"/>
                <a:gd name="T34" fmla="*/ 289 w 313"/>
                <a:gd name="T35" fmla="*/ 51 h 229"/>
                <a:gd name="T36" fmla="*/ 297 w 313"/>
                <a:gd name="T37" fmla="*/ 67 h 229"/>
                <a:gd name="T38" fmla="*/ 300 w 313"/>
                <a:gd name="T39" fmla="*/ 81 h 229"/>
                <a:gd name="T40" fmla="*/ 281 w 313"/>
                <a:gd name="T41" fmla="*/ 96 h 229"/>
                <a:gd name="T42" fmla="*/ 294 w 313"/>
                <a:gd name="T43" fmla="*/ 107 h 229"/>
                <a:gd name="T44" fmla="*/ 294 w 313"/>
                <a:gd name="T45" fmla="*/ 116 h 229"/>
                <a:gd name="T46" fmla="*/ 294 w 313"/>
                <a:gd name="T47" fmla="*/ 129 h 229"/>
                <a:gd name="T48" fmla="*/ 303 w 313"/>
                <a:gd name="T49" fmla="*/ 146 h 229"/>
                <a:gd name="T50" fmla="*/ 308 w 313"/>
                <a:gd name="T51" fmla="*/ 157 h 229"/>
                <a:gd name="T52" fmla="*/ 310 w 313"/>
                <a:gd name="T53" fmla="*/ 170 h 229"/>
                <a:gd name="T54" fmla="*/ 289 w 313"/>
                <a:gd name="T55" fmla="*/ 186 h 229"/>
                <a:gd name="T56" fmla="*/ 278 w 313"/>
                <a:gd name="T57" fmla="*/ 197 h 229"/>
                <a:gd name="T58" fmla="*/ 272 w 313"/>
                <a:gd name="T59" fmla="*/ 210 h 229"/>
                <a:gd name="T60" fmla="*/ 278 w 313"/>
                <a:gd name="T61" fmla="*/ 226 h 229"/>
                <a:gd name="T62" fmla="*/ 262 w 313"/>
                <a:gd name="T63" fmla="*/ 224 h 229"/>
                <a:gd name="T64" fmla="*/ 240 w 313"/>
                <a:gd name="T65" fmla="*/ 211 h 229"/>
                <a:gd name="T66" fmla="*/ 224 w 313"/>
                <a:gd name="T67" fmla="*/ 211 h 229"/>
                <a:gd name="T68" fmla="*/ 205 w 313"/>
                <a:gd name="T69" fmla="*/ 215 h 229"/>
                <a:gd name="T70" fmla="*/ 191 w 313"/>
                <a:gd name="T71" fmla="*/ 219 h 229"/>
                <a:gd name="T72" fmla="*/ 181 w 313"/>
                <a:gd name="T73" fmla="*/ 213 h 229"/>
                <a:gd name="T74" fmla="*/ 169 w 313"/>
                <a:gd name="T75" fmla="*/ 207 h 229"/>
                <a:gd name="T76" fmla="*/ 151 w 313"/>
                <a:gd name="T77" fmla="*/ 208 h 229"/>
                <a:gd name="T78" fmla="*/ 142 w 313"/>
                <a:gd name="T79" fmla="*/ 197 h 229"/>
                <a:gd name="T80" fmla="*/ 134 w 313"/>
                <a:gd name="T81" fmla="*/ 192 h 229"/>
                <a:gd name="T82" fmla="*/ 118 w 313"/>
                <a:gd name="T83" fmla="*/ 189 h 229"/>
                <a:gd name="T84" fmla="*/ 108 w 313"/>
                <a:gd name="T85" fmla="*/ 178 h 229"/>
                <a:gd name="T86" fmla="*/ 89 w 313"/>
                <a:gd name="T87" fmla="*/ 175 h 229"/>
                <a:gd name="T88" fmla="*/ 81 w 313"/>
                <a:gd name="T89" fmla="*/ 186 h 229"/>
                <a:gd name="T90" fmla="*/ 65 w 313"/>
                <a:gd name="T91" fmla="*/ 172 h 229"/>
                <a:gd name="T92" fmla="*/ 64 w 313"/>
                <a:gd name="T93" fmla="*/ 164 h 229"/>
                <a:gd name="T94" fmla="*/ 50 w 313"/>
                <a:gd name="T95" fmla="*/ 159 h 229"/>
                <a:gd name="T96" fmla="*/ 35 w 313"/>
                <a:gd name="T97" fmla="*/ 150 h 229"/>
                <a:gd name="T98" fmla="*/ 23 w 313"/>
                <a:gd name="T99" fmla="*/ 154 h 229"/>
                <a:gd name="T100" fmla="*/ 27 w 313"/>
                <a:gd name="T101" fmla="*/ 145 h 229"/>
                <a:gd name="T102" fmla="*/ 26 w 313"/>
                <a:gd name="T103" fmla="*/ 134 h 229"/>
                <a:gd name="T104" fmla="*/ 16 w 313"/>
                <a:gd name="T105" fmla="*/ 121 h 229"/>
                <a:gd name="T106" fmla="*/ 18 w 313"/>
                <a:gd name="T107" fmla="*/ 112 h 229"/>
                <a:gd name="T108" fmla="*/ 13 w 313"/>
                <a:gd name="T109" fmla="*/ 99 h 229"/>
                <a:gd name="T110" fmla="*/ 15 w 313"/>
                <a:gd name="T111" fmla="*/ 88 h 229"/>
                <a:gd name="T112" fmla="*/ 0 w 313"/>
                <a:gd name="T113" fmla="*/ 7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13" h="229">
                  <a:moveTo>
                    <a:pt x="0" y="77"/>
                  </a:moveTo>
                  <a:lnTo>
                    <a:pt x="0" y="77"/>
                  </a:lnTo>
                  <a:lnTo>
                    <a:pt x="0" y="77"/>
                  </a:lnTo>
                  <a:lnTo>
                    <a:pt x="0" y="75"/>
                  </a:lnTo>
                  <a:lnTo>
                    <a:pt x="0" y="72"/>
                  </a:lnTo>
                  <a:lnTo>
                    <a:pt x="4" y="70"/>
                  </a:lnTo>
                  <a:lnTo>
                    <a:pt x="5" y="70"/>
                  </a:lnTo>
                  <a:lnTo>
                    <a:pt x="5" y="70"/>
                  </a:lnTo>
                  <a:lnTo>
                    <a:pt x="7" y="69"/>
                  </a:lnTo>
                  <a:lnTo>
                    <a:pt x="7" y="67"/>
                  </a:lnTo>
                  <a:lnTo>
                    <a:pt x="7" y="66"/>
                  </a:lnTo>
                  <a:lnTo>
                    <a:pt x="7" y="66"/>
                  </a:lnTo>
                  <a:lnTo>
                    <a:pt x="8" y="61"/>
                  </a:lnTo>
                  <a:lnTo>
                    <a:pt x="5" y="53"/>
                  </a:lnTo>
                  <a:lnTo>
                    <a:pt x="2" y="43"/>
                  </a:lnTo>
                  <a:lnTo>
                    <a:pt x="5" y="43"/>
                  </a:lnTo>
                  <a:lnTo>
                    <a:pt x="8" y="45"/>
                  </a:lnTo>
                  <a:lnTo>
                    <a:pt x="12" y="45"/>
                  </a:lnTo>
                  <a:lnTo>
                    <a:pt x="12" y="42"/>
                  </a:lnTo>
                  <a:lnTo>
                    <a:pt x="12" y="40"/>
                  </a:lnTo>
                  <a:lnTo>
                    <a:pt x="13" y="39"/>
                  </a:lnTo>
                  <a:lnTo>
                    <a:pt x="13" y="39"/>
                  </a:lnTo>
                  <a:lnTo>
                    <a:pt x="12" y="40"/>
                  </a:lnTo>
                  <a:lnTo>
                    <a:pt x="8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7" y="37"/>
                  </a:lnTo>
                  <a:lnTo>
                    <a:pt x="4" y="40"/>
                  </a:lnTo>
                  <a:lnTo>
                    <a:pt x="0" y="37"/>
                  </a:lnTo>
                  <a:lnTo>
                    <a:pt x="0" y="35"/>
                  </a:lnTo>
                  <a:lnTo>
                    <a:pt x="2" y="35"/>
                  </a:lnTo>
                  <a:lnTo>
                    <a:pt x="5" y="35"/>
                  </a:lnTo>
                  <a:lnTo>
                    <a:pt x="8" y="34"/>
                  </a:lnTo>
                  <a:lnTo>
                    <a:pt x="13" y="32"/>
                  </a:lnTo>
                  <a:lnTo>
                    <a:pt x="16" y="32"/>
                  </a:lnTo>
                  <a:lnTo>
                    <a:pt x="23" y="29"/>
                  </a:lnTo>
                  <a:lnTo>
                    <a:pt x="29" y="27"/>
                  </a:lnTo>
                  <a:lnTo>
                    <a:pt x="39" y="26"/>
                  </a:lnTo>
                  <a:lnTo>
                    <a:pt x="46" y="24"/>
                  </a:lnTo>
                  <a:lnTo>
                    <a:pt x="53" y="23"/>
                  </a:lnTo>
                  <a:lnTo>
                    <a:pt x="58" y="23"/>
                  </a:lnTo>
                  <a:lnTo>
                    <a:pt x="61" y="21"/>
                  </a:lnTo>
                  <a:lnTo>
                    <a:pt x="65" y="15"/>
                  </a:lnTo>
                  <a:lnTo>
                    <a:pt x="70" y="12"/>
                  </a:lnTo>
                  <a:lnTo>
                    <a:pt x="73" y="10"/>
                  </a:lnTo>
                  <a:lnTo>
                    <a:pt x="77" y="10"/>
                  </a:lnTo>
                  <a:lnTo>
                    <a:pt x="80" y="10"/>
                  </a:lnTo>
                  <a:lnTo>
                    <a:pt x="91" y="5"/>
                  </a:lnTo>
                  <a:lnTo>
                    <a:pt x="100" y="2"/>
                  </a:lnTo>
                  <a:lnTo>
                    <a:pt x="110" y="0"/>
                  </a:lnTo>
                  <a:lnTo>
                    <a:pt x="118" y="0"/>
                  </a:lnTo>
                  <a:lnTo>
                    <a:pt x="121" y="0"/>
                  </a:lnTo>
                  <a:lnTo>
                    <a:pt x="124" y="0"/>
                  </a:lnTo>
                  <a:lnTo>
                    <a:pt x="127" y="2"/>
                  </a:lnTo>
                  <a:lnTo>
                    <a:pt x="131" y="2"/>
                  </a:lnTo>
                  <a:lnTo>
                    <a:pt x="134" y="4"/>
                  </a:lnTo>
                  <a:lnTo>
                    <a:pt x="137" y="7"/>
                  </a:lnTo>
                  <a:lnTo>
                    <a:pt x="134" y="5"/>
                  </a:lnTo>
                  <a:lnTo>
                    <a:pt x="131" y="4"/>
                  </a:lnTo>
                  <a:lnTo>
                    <a:pt x="127" y="4"/>
                  </a:lnTo>
                  <a:lnTo>
                    <a:pt x="131" y="7"/>
                  </a:lnTo>
                  <a:lnTo>
                    <a:pt x="131" y="10"/>
                  </a:lnTo>
                  <a:lnTo>
                    <a:pt x="132" y="13"/>
                  </a:lnTo>
                  <a:lnTo>
                    <a:pt x="135" y="16"/>
                  </a:lnTo>
                  <a:lnTo>
                    <a:pt x="135" y="16"/>
                  </a:lnTo>
                  <a:lnTo>
                    <a:pt x="138" y="18"/>
                  </a:lnTo>
                  <a:lnTo>
                    <a:pt x="140" y="18"/>
                  </a:lnTo>
                  <a:lnTo>
                    <a:pt x="146" y="18"/>
                  </a:lnTo>
                  <a:lnTo>
                    <a:pt x="153" y="18"/>
                  </a:lnTo>
                  <a:lnTo>
                    <a:pt x="159" y="16"/>
                  </a:lnTo>
                  <a:lnTo>
                    <a:pt x="164" y="15"/>
                  </a:lnTo>
                  <a:lnTo>
                    <a:pt x="165" y="15"/>
                  </a:lnTo>
                  <a:lnTo>
                    <a:pt x="161" y="16"/>
                  </a:lnTo>
                  <a:lnTo>
                    <a:pt x="157" y="18"/>
                  </a:lnTo>
                  <a:lnTo>
                    <a:pt x="154" y="20"/>
                  </a:lnTo>
                  <a:lnTo>
                    <a:pt x="153" y="20"/>
                  </a:lnTo>
                  <a:lnTo>
                    <a:pt x="153" y="21"/>
                  </a:lnTo>
                  <a:lnTo>
                    <a:pt x="154" y="21"/>
                  </a:lnTo>
                  <a:lnTo>
                    <a:pt x="159" y="21"/>
                  </a:lnTo>
                  <a:lnTo>
                    <a:pt x="162" y="20"/>
                  </a:lnTo>
                  <a:lnTo>
                    <a:pt x="165" y="18"/>
                  </a:lnTo>
                  <a:lnTo>
                    <a:pt x="169" y="15"/>
                  </a:lnTo>
                  <a:lnTo>
                    <a:pt x="170" y="15"/>
                  </a:lnTo>
                  <a:lnTo>
                    <a:pt x="172" y="16"/>
                  </a:lnTo>
                  <a:lnTo>
                    <a:pt x="181" y="16"/>
                  </a:lnTo>
                  <a:lnTo>
                    <a:pt x="191" y="18"/>
                  </a:lnTo>
                  <a:lnTo>
                    <a:pt x="210" y="20"/>
                  </a:lnTo>
                  <a:lnTo>
                    <a:pt x="229" y="20"/>
                  </a:lnTo>
                  <a:lnTo>
                    <a:pt x="238" y="20"/>
                  </a:lnTo>
                  <a:lnTo>
                    <a:pt x="249" y="20"/>
                  </a:lnTo>
                  <a:lnTo>
                    <a:pt x="253" y="20"/>
                  </a:lnTo>
                  <a:lnTo>
                    <a:pt x="257" y="18"/>
                  </a:lnTo>
                  <a:lnTo>
                    <a:pt x="261" y="18"/>
                  </a:lnTo>
                  <a:lnTo>
                    <a:pt x="264" y="16"/>
                  </a:lnTo>
                  <a:lnTo>
                    <a:pt x="267" y="18"/>
                  </a:lnTo>
                  <a:lnTo>
                    <a:pt x="270" y="20"/>
                  </a:lnTo>
                  <a:lnTo>
                    <a:pt x="273" y="23"/>
                  </a:lnTo>
                  <a:lnTo>
                    <a:pt x="273" y="23"/>
                  </a:lnTo>
                  <a:lnTo>
                    <a:pt x="278" y="23"/>
                  </a:lnTo>
                  <a:lnTo>
                    <a:pt x="281" y="26"/>
                  </a:lnTo>
                  <a:lnTo>
                    <a:pt x="283" y="29"/>
                  </a:lnTo>
                  <a:lnTo>
                    <a:pt x="283" y="31"/>
                  </a:lnTo>
                  <a:lnTo>
                    <a:pt x="283" y="31"/>
                  </a:lnTo>
                  <a:lnTo>
                    <a:pt x="284" y="39"/>
                  </a:lnTo>
                  <a:lnTo>
                    <a:pt x="286" y="43"/>
                  </a:lnTo>
                  <a:lnTo>
                    <a:pt x="288" y="48"/>
                  </a:lnTo>
                  <a:lnTo>
                    <a:pt x="289" y="50"/>
                  </a:lnTo>
                  <a:lnTo>
                    <a:pt x="289" y="51"/>
                  </a:lnTo>
                  <a:lnTo>
                    <a:pt x="291" y="53"/>
                  </a:lnTo>
                  <a:lnTo>
                    <a:pt x="292" y="56"/>
                  </a:lnTo>
                  <a:lnTo>
                    <a:pt x="294" y="59"/>
                  </a:lnTo>
                  <a:lnTo>
                    <a:pt x="297" y="62"/>
                  </a:lnTo>
                  <a:lnTo>
                    <a:pt x="299" y="66"/>
                  </a:lnTo>
                  <a:lnTo>
                    <a:pt x="297" y="67"/>
                  </a:lnTo>
                  <a:lnTo>
                    <a:pt x="300" y="70"/>
                  </a:lnTo>
                  <a:lnTo>
                    <a:pt x="300" y="73"/>
                  </a:lnTo>
                  <a:lnTo>
                    <a:pt x="300" y="75"/>
                  </a:lnTo>
                  <a:lnTo>
                    <a:pt x="300" y="77"/>
                  </a:lnTo>
                  <a:lnTo>
                    <a:pt x="300" y="80"/>
                  </a:lnTo>
                  <a:lnTo>
                    <a:pt x="300" y="81"/>
                  </a:lnTo>
                  <a:lnTo>
                    <a:pt x="299" y="85"/>
                  </a:lnTo>
                  <a:lnTo>
                    <a:pt x="295" y="86"/>
                  </a:lnTo>
                  <a:lnTo>
                    <a:pt x="291" y="86"/>
                  </a:lnTo>
                  <a:lnTo>
                    <a:pt x="288" y="88"/>
                  </a:lnTo>
                  <a:lnTo>
                    <a:pt x="284" y="91"/>
                  </a:lnTo>
                  <a:lnTo>
                    <a:pt x="281" y="96"/>
                  </a:lnTo>
                  <a:lnTo>
                    <a:pt x="278" y="99"/>
                  </a:lnTo>
                  <a:lnTo>
                    <a:pt x="281" y="102"/>
                  </a:lnTo>
                  <a:lnTo>
                    <a:pt x="284" y="102"/>
                  </a:lnTo>
                  <a:lnTo>
                    <a:pt x="288" y="104"/>
                  </a:lnTo>
                  <a:lnTo>
                    <a:pt x="291" y="107"/>
                  </a:lnTo>
                  <a:lnTo>
                    <a:pt x="294" y="107"/>
                  </a:lnTo>
                  <a:lnTo>
                    <a:pt x="294" y="107"/>
                  </a:lnTo>
                  <a:lnTo>
                    <a:pt x="294" y="108"/>
                  </a:lnTo>
                  <a:lnTo>
                    <a:pt x="294" y="108"/>
                  </a:lnTo>
                  <a:lnTo>
                    <a:pt x="294" y="108"/>
                  </a:lnTo>
                  <a:lnTo>
                    <a:pt x="294" y="113"/>
                  </a:lnTo>
                  <a:lnTo>
                    <a:pt x="294" y="116"/>
                  </a:lnTo>
                  <a:lnTo>
                    <a:pt x="292" y="119"/>
                  </a:lnTo>
                  <a:lnTo>
                    <a:pt x="292" y="121"/>
                  </a:lnTo>
                  <a:lnTo>
                    <a:pt x="292" y="124"/>
                  </a:lnTo>
                  <a:lnTo>
                    <a:pt x="292" y="124"/>
                  </a:lnTo>
                  <a:lnTo>
                    <a:pt x="292" y="129"/>
                  </a:lnTo>
                  <a:lnTo>
                    <a:pt x="294" y="129"/>
                  </a:lnTo>
                  <a:lnTo>
                    <a:pt x="295" y="132"/>
                  </a:lnTo>
                  <a:lnTo>
                    <a:pt x="295" y="135"/>
                  </a:lnTo>
                  <a:lnTo>
                    <a:pt x="299" y="138"/>
                  </a:lnTo>
                  <a:lnTo>
                    <a:pt x="300" y="142"/>
                  </a:lnTo>
                  <a:lnTo>
                    <a:pt x="302" y="143"/>
                  </a:lnTo>
                  <a:lnTo>
                    <a:pt x="303" y="146"/>
                  </a:lnTo>
                  <a:lnTo>
                    <a:pt x="307" y="150"/>
                  </a:lnTo>
                  <a:lnTo>
                    <a:pt x="307" y="150"/>
                  </a:lnTo>
                  <a:lnTo>
                    <a:pt x="310" y="154"/>
                  </a:lnTo>
                  <a:lnTo>
                    <a:pt x="313" y="156"/>
                  </a:lnTo>
                  <a:lnTo>
                    <a:pt x="311" y="156"/>
                  </a:lnTo>
                  <a:lnTo>
                    <a:pt x="308" y="157"/>
                  </a:lnTo>
                  <a:lnTo>
                    <a:pt x="310" y="161"/>
                  </a:lnTo>
                  <a:lnTo>
                    <a:pt x="313" y="164"/>
                  </a:lnTo>
                  <a:lnTo>
                    <a:pt x="313" y="167"/>
                  </a:lnTo>
                  <a:lnTo>
                    <a:pt x="313" y="169"/>
                  </a:lnTo>
                  <a:lnTo>
                    <a:pt x="311" y="169"/>
                  </a:lnTo>
                  <a:lnTo>
                    <a:pt x="310" y="170"/>
                  </a:lnTo>
                  <a:lnTo>
                    <a:pt x="308" y="173"/>
                  </a:lnTo>
                  <a:lnTo>
                    <a:pt x="305" y="173"/>
                  </a:lnTo>
                  <a:lnTo>
                    <a:pt x="300" y="175"/>
                  </a:lnTo>
                  <a:lnTo>
                    <a:pt x="299" y="178"/>
                  </a:lnTo>
                  <a:lnTo>
                    <a:pt x="294" y="181"/>
                  </a:lnTo>
                  <a:lnTo>
                    <a:pt x="289" y="186"/>
                  </a:lnTo>
                  <a:lnTo>
                    <a:pt x="289" y="186"/>
                  </a:lnTo>
                  <a:lnTo>
                    <a:pt x="283" y="191"/>
                  </a:lnTo>
                  <a:lnTo>
                    <a:pt x="281" y="194"/>
                  </a:lnTo>
                  <a:lnTo>
                    <a:pt x="278" y="197"/>
                  </a:lnTo>
                  <a:lnTo>
                    <a:pt x="278" y="197"/>
                  </a:lnTo>
                  <a:lnTo>
                    <a:pt x="278" y="197"/>
                  </a:lnTo>
                  <a:lnTo>
                    <a:pt x="275" y="202"/>
                  </a:lnTo>
                  <a:lnTo>
                    <a:pt x="275" y="202"/>
                  </a:lnTo>
                  <a:lnTo>
                    <a:pt x="273" y="202"/>
                  </a:lnTo>
                  <a:lnTo>
                    <a:pt x="272" y="207"/>
                  </a:lnTo>
                  <a:lnTo>
                    <a:pt x="272" y="207"/>
                  </a:lnTo>
                  <a:lnTo>
                    <a:pt x="272" y="210"/>
                  </a:lnTo>
                  <a:lnTo>
                    <a:pt x="272" y="210"/>
                  </a:lnTo>
                  <a:lnTo>
                    <a:pt x="273" y="213"/>
                  </a:lnTo>
                  <a:lnTo>
                    <a:pt x="273" y="216"/>
                  </a:lnTo>
                  <a:lnTo>
                    <a:pt x="273" y="219"/>
                  </a:lnTo>
                  <a:lnTo>
                    <a:pt x="275" y="223"/>
                  </a:lnTo>
                  <a:lnTo>
                    <a:pt x="278" y="226"/>
                  </a:lnTo>
                  <a:lnTo>
                    <a:pt x="278" y="229"/>
                  </a:lnTo>
                  <a:lnTo>
                    <a:pt x="275" y="227"/>
                  </a:lnTo>
                  <a:lnTo>
                    <a:pt x="272" y="227"/>
                  </a:lnTo>
                  <a:lnTo>
                    <a:pt x="268" y="226"/>
                  </a:lnTo>
                  <a:lnTo>
                    <a:pt x="265" y="226"/>
                  </a:lnTo>
                  <a:lnTo>
                    <a:pt x="262" y="224"/>
                  </a:lnTo>
                  <a:lnTo>
                    <a:pt x="257" y="223"/>
                  </a:lnTo>
                  <a:lnTo>
                    <a:pt x="254" y="221"/>
                  </a:lnTo>
                  <a:lnTo>
                    <a:pt x="251" y="218"/>
                  </a:lnTo>
                  <a:lnTo>
                    <a:pt x="248" y="215"/>
                  </a:lnTo>
                  <a:lnTo>
                    <a:pt x="243" y="215"/>
                  </a:lnTo>
                  <a:lnTo>
                    <a:pt x="240" y="211"/>
                  </a:lnTo>
                  <a:lnTo>
                    <a:pt x="238" y="211"/>
                  </a:lnTo>
                  <a:lnTo>
                    <a:pt x="235" y="211"/>
                  </a:lnTo>
                  <a:lnTo>
                    <a:pt x="230" y="211"/>
                  </a:lnTo>
                  <a:lnTo>
                    <a:pt x="230" y="211"/>
                  </a:lnTo>
                  <a:lnTo>
                    <a:pt x="227" y="211"/>
                  </a:lnTo>
                  <a:lnTo>
                    <a:pt x="224" y="211"/>
                  </a:lnTo>
                  <a:lnTo>
                    <a:pt x="219" y="215"/>
                  </a:lnTo>
                  <a:lnTo>
                    <a:pt x="216" y="216"/>
                  </a:lnTo>
                  <a:lnTo>
                    <a:pt x="213" y="215"/>
                  </a:lnTo>
                  <a:lnTo>
                    <a:pt x="208" y="211"/>
                  </a:lnTo>
                  <a:lnTo>
                    <a:pt x="208" y="213"/>
                  </a:lnTo>
                  <a:lnTo>
                    <a:pt x="205" y="215"/>
                  </a:lnTo>
                  <a:lnTo>
                    <a:pt x="202" y="213"/>
                  </a:lnTo>
                  <a:lnTo>
                    <a:pt x="200" y="213"/>
                  </a:lnTo>
                  <a:lnTo>
                    <a:pt x="197" y="213"/>
                  </a:lnTo>
                  <a:lnTo>
                    <a:pt x="194" y="215"/>
                  </a:lnTo>
                  <a:lnTo>
                    <a:pt x="191" y="218"/>
                  </a:lnTo>
                  <a:lnTo>
                    <a:pt x="191" y="219"/>
                  </a:lnTo>
                  <a:lnTo>
                    <a:pt x="188" y="221"/>
                  </a:lnTo>
                  <a:lnTo>
                    <a:pt x="184" y="221"/>
                  </a:lnTo>
                  <a:lnTo>
                    <a:pt x="183" y="221"/>
                  </a:lnTo>
                  <a:lnTo>
                    <a:pt x="181" y="218"/>
                  </a:lnTo>
                  <a:lnTo>
                    <a:pt x="181" y="215"/>
                  </a:lnTo>
                  <a:lnTo>
                    <a:pt x="181" y="213"/>
                  </a:lnTo>
                  <a:lnTo>
                    <a:pt x="178" y="213"/>
                  </a:lnTo>
                  <a:lnTo>
                    <a:pt x="177" y="213"/>
                  </a:lnTo>
                  <a:lnTo>
                    <a:pt x="173" y="210"/>
                  </a:lnTo>
                  <a:lnTo>
                    <a:pt x="172" y="207"/>
                  </a:lnTo>
                  <a:lnTo>
                    <a:pt x="172" y="207"/>
                  </a:lnTo>
                  <a:lnTo>
                    <a:pt x="169" y="207"/>
                  </a:lnTo>
                  <a:lnTo>
                    <a:pt x="165" y="208"/>
                  </a:lnTo>
                  <a:lnTo>
                    <a:pt x="162" y="211"/>
                  </a:lnTo>
                  <a:lnTo>
                    <a:pt x="159" y="213"/>
                  </a:lnTo>
                  <a:lnTo>
                    <a:pt x="154" y="213"/>
                  </a:lnTo>
                  <a:lnTo>
                    <a:pt x="154" y="208"/>
                  </a:lnTo>
                  <a:lnTo>
                    <a:pt x="151" y="208"/>
                  </a:lnTo>
                  <a:lnTo>
                    <a:pt x="151" y="208"/>
                  </a:lnTo>
                  <a:lnTo>
                    <a:pt x="150" y="205"/>
                  </a:lnTo>
                  <a:lnTo>
                    <a:pt x="146" y="202"/>
                  </a:lnTo>
                  <a:lnTo>
                    <a:pt x="143" y="200"/>
                  </a:lnTo>
                  <a:lnTo>
                    <a:pt x="143" y="199"/>
                  </a:lnTo>
                  <a:lnTo>
                    <a:pt x="142" y="197"/>
                  </a:lnTo>
                  <a:lnTo>
                    <a:pt x="142" y="194"/>
                  </a:lnTo>
                  <a:lnTo>
                    <a:pt x="138" y="192"/>
                  </a:lnTo>
                  <a:lnTo>
                    <a:pt x="134" y="191"/>
                  </a:lnTo>
                  <a:lnTo>
                    <a:pt x="134" y="192"/>
                  </a:lnTo>
                  <a:lnTo>
                    <a:pt x="134" y="192"/>
                  </a:lnTo>
                  <a:lnTo>
                    <a:pt x="134" y="192"/>
                  </a:lnTo>
                  <a:lnTo>
                    <a:pt x="131" y="191"/>
                  </a:lnTo>
                  <a:lnTo>
                    <a:pt x="127" y="189"/>
                  </a:lnTo>
                  <a:lnTo>
                    <a:pt x="124" y="188"/>
                  </a:lnTo>
                  <a:lnTo>
                    <a:pt x="123" y="189"/>
                  </a:lnTo>
                  <a:lnTo>
                    <a:pt x="118" y="189"/>
                  </a:lnTo>
                  <a:lnTo>
                    <a:pt x="118" y="189"/>
                  </a:lnTo>
                  <a:lnTo>
                    <a:pt x="115" y="186"/>
                  </a:lnTo>
                  <a:lnTo>
                    <a:pt x="113" y="184"/>
                  </a:lnTo>
                  <a:lnTo>
                    <a:pt x="115" y="181"/>
                  </a:lnTo>
                  <a:lnTo>
                    <a:pt x="115" y="178"/>
                  </a:lnTo>
                  <a:lnTo>
                    <a:pt x="111" y="178"/>
                  </a:lnTo>
                  <a:lnTo>
                    <a:pt x="108" y="178"/>
                  </a:lnTo>
                  <a:lnTo>
                    <a:pt x="107" y="178"/>
                  </a:lnTo>
                  <a:lnTo>
                    <a:pt x="107" y="178"/>
                  </a:lnTo>
                  <a:lnTo>
                    <a:pt x="104" y="178"/>
                  </a:lnTo>
                  <a:lnTo>
                    <a:pt x="96" y="173"/>
                  </a:lnTo>
                  <a:lnTo>
                    <a:pt x="88" y="172"/>
                  </a:lnTo>
                  <a:lnTo>
                    <a:pt x="89" y="175"/>
                  </a:lnTo>
                  <a:lnTo>
                    <a:pt x="92" y="178"/>
                  </a:lnTo>
                  <a:lnTo>
                    <a:pt x="89" y="181"/>
                  </a:lnTo>
                  <a:lnTo>
                    <a:pt x="88" y="181"/>
                  </a:lnTo>
                  <a:lnTo>
                    <a:pt x="85" y="184"/>
                  </a:lnTo>
                  <a:lnTo>
                    <a:pt x="83" y="186"/>
                  </a:lnTo>
                  <a:lnTo>
                    <a:pt x="81" y="186"/>
                  </a:lnTo>
                  <a:lnTo>
                    <a:pt x="78" y="183"/>
                  </a:lnTo>
                  <a:lnTo>
                    <a:pt x="77" y="180"/>
                  </a:lnTo>
                  <a:lnTo>
                    <a:pt x="73" y="177"/>
                  </a:lnTo>
                  <a:lnTo>
                    <a:pt x="70" y="173"/>
                  </a:lnTo>
                  <a:lnTo>
                    <a:pt x="67" y="173"/>
                  </a:lnTo>
                  <a:lnTo>
                    <a:pt x="65" y="172"/>
                  </a:lnTo>
                  <a:lnTo>
                    <a:pt x="70" y="169"/>
                  </a:lnTo>
                  <a:lnTo>
                    <a:pt x="72" y="167"/>
                  </a:lnTo>
                  <a:lnTo>
                    <a:pt x="72" y="164"/>
                  </a:lnTo>
                  <a:lnTo>
                    <a:pt x="69" y="162"/>
                  </a:lnTo>
                  <a:lnTo>
                    <a:pt x="67" y="164"/>
                  </a:lnTo>
                  <a:lnTo>
                    <a:pt x="64" y="164"/>
                  </a:lnTo>
                  <a:lnTo>
                    <a:pt x="61" y="165"/>
                  </a:lnTo>
                  <a:lnTo>
                    <a:pt x="59" y="162"/>
                  </a:lnTo>
                  <a:lnTo>
                    <a:pt x="59" y="162"/>
                  </a:lnTo>
                  <a:lnTo>
                    <a:pt x="56" y="162"/>
                  </a:lnTo>
                  <a:lnTo>
                    <a:pt x="53" y="159"/>
                  </a:lnTo>
                  <a:lnTo>
                    <a:pt x="50" y="159"/>
                  </a:lnTo>
                  <a:lnTo>
                    <a:pt x="45" y="159"/>
                  </a:lnTo>
                  <a:lnTo>
                    <a:pt x="42" y="157"/>
                  </a:lnTo>
                  <a:lnTo>
                    <a:pt x="40" y="157"/>
                  </a:lnTo>
                  <a:lnTo>
                    <a:pt x="37" y="154"/>
                  </a:lnTo>
                  <a:lnTo>
                    <a:pt x="37" y="151"/>
                  </a:lnTo>
                  <a:lnTo>
                    <a:pt x="35" y="150"/>
                  </a:lnTo>
                  <a:lnTo>
                    <a:pt x="32" y="150"/>
                  </a:lnTo>
                  <a:lnTo>
                    <a:pt x="31" y="150"/>
                  </a:lnTo>
                  <a:lnTo>
                    <a:pt x="29" y="150"/>
                  </a:lnTo>
                  <a:lnTo>
                    <a:pt x="27" y="150"/>
                  </a:lnTo>
                  <a:lnTo>
                    <a:pt x="27" y="154"/>
                  </a:lnTo>
                  <a:lnTo>
                    <a:pt x="23" y="154"/>
                  </a:lnTo>
                  <a:lnTo>
                    <a:pt x="23" y="154"/>
                  </a:lnTo>
                  <a:lnTo>
                    <a:pt x="23" y="154"/>
                  </a:lnTo>
                  <a:lnTo>
                    <a:pt x="24" y="151"/>
                  </a:lnTo>
                  <a:lnTo>
                    <a:pt x="26" y="148"/>
                  </a:lnTo>
                  <a:lnTo>
                    <a:pt x="26" y="148"/>
                  </a:lnTo>
                  <a:lnTo>
                    <a:pt x="27" y="145"/>
                  </a:lnTo>
                  <a:lnTo>
                    <a:pt x="27" y="143"/>
                  </a:lnTo>
                  <a:lnTo>
                    <a:pt x="29" y="140"/>
                  </a:lnTo>
                  <a:lnTo>
                    <a:pt x="29" y="138"/>
                  </a:lnTo>
                  <a:lnTo>
                    <a:pt x="27" y="137"/>
                  </a:lnTo>
                  <a:lnTo>
                    <a:pt x="27" y="135"/>
                  </a:lnTo>
                  <a:lnTo>
                    <a:pt x="26" y="134"/>
                  </a:lnTo>
                  <a:lnTo>
                    <a:pt x="23" y="131"/>
                  </a:lnTo>
                  <a:lnTo>
                    <a:pt x="19" y="129"/>
                  </a:lnTo>
                  <a:lnTo>
                    <a:pt x="19" y="129"/>
                  </a:lnTo>
                  <a:lnTo>
                    <a:pt x="19" y="126"/>
                  </a:lnTo>
                  <a:lnTo>
                    <a:pt x="19" y="123"/>
                  </a:lnTo>
                  <a:lnTo>
                    <a:pt x="16" y="121"/>
                  </a:lnTo>
                  <a:lnTo>
                    <a:pt x="15" y="118"/>
                  </a:lnTo>
                  <a:lnTo>
                    <a:pt x="18" y="113"/>
                  </a:lnTo>
                  <a:lnTo>
                    <a:pt x="18" y="113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18" y="112"/>
                  </a:lnTo>
                  <a:lnTo>
                    <a:pt x="19" y="108"/>
                  </a:lnTo>
                  <a:lnTo>
                    <a:pt x="16" y="105"/>
                  </a:lnTo>
                  <a:lnTo>
                    <a:pt x="18" y="102"/>
                  </a:lnTo>
                  <a:lnTo>
                    <a:pt x="16" y="100"/>
                  </a:lnTo>
                  <a:lnTo>
                    <a:pt x="13" y="99"/>
                  </a:lnTo>
                  <a:lnTo>
                    <a:pt x="13" y="99"/>
                  </a:lnTo>
                  <a:lnTo>
                    <a:pt x="13" y="97"/>
                  </a:lnTo>
                  <a:lnTo>
                    <a:pt x="13" y="97"/>
                  </a:lnTo>
                  <a:lnTo>
                    <a:pt x="13" y="92"/>
                  </a:lnTo>
                  <a:lnTo>
                    <a:pt x="15" y="91"/>
                  </a:lnTo>
                  <a:lnTo>
                    <a:pt x="15" y="88"/>
                  </a:lnTo>
                  <a:lnTo>
                    <a:pt x="15" y="88"/>
                  </a:lnTo>
                  <a:lnTo>
                    <a:pt x="15" y="88"/>
                  </a:lnTo>
                  <a:lnTo>
                    <a:pt x="10" y="85"/>
                  </a:lnTo>
                  <a:lnTo>
                    <a:pt x="8" y="85"/>
                  </a:lnTo>
                  <a:lnTo>
                    <a:pt x="5" y="81"/>
                  </a:lnTo>
                  <a:lnTo>
                    <a:pt x="2" y="78"/>
                  </a:lnTo>
                  <a:lnTo>
                    <a:pt x="0" y="7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16" name="Freeform 515"/>
            <p:cNvSpPr>
              <a:spLocks/>
            </p:cNvSpPr>
            <p:nvPr/>
          </p:nvSpPr>
          <p:spPr bwMode="auto">
            <a:xfrm>
              <a:off x="5681106" y="3072193"/>
              <a:ext cx="157329" cy="81236"/>
            </a:xfrm>
            <a:custGeom>
              <a:avLst/>
              <a:gdLst>
                <a:gd name="T0" fmla="*/ 8 w 214"/>
                <a:gd name="T1" fmla="*/ 35 h 97"/>
                <a:gd name="T2" fmla="*/ 10 w 214"/>
                <a:gd name="T3" fmla="*/ 30 h 97"/>
                <a:gd name="T4" fmla="*/ 24 w 214"/>
                <a:gd name="T5" fmla="*/ 24 h 97"/>
                <a:gd name="T6" fmla="*/ 37 w 214"/>
                <a:gd name="T7" fmla="*/ 19 h 97"/>
                <a:gd name="T8" fmla="*/ 49 w 214"/>
                <a:gd name="T9" fmla="*/ 13 h 97"/>
                <a:gd name="T10" fmla="*/ 57 w 214"/>
                <a:gd name="T11" fmla="*/ 11 h 97"/>
                <a:gd name="T12" fmla="*/ 67 w 214"/>
                <a:gd name="T13" fmla="*/ 6 h 97"/>
                <a:gd name="T14" fmla="*/ 68 w 214"/>
                <a:gd name="T15" fmla="*/ 2 h 97"/>
                <a:gd name="T16" fmla="*/ 76 w 214"/>
                <a:gd name="T17" fmla="*/ 0 h 97"/>
                <a:gd name="T18" fmla="*/ 79 w 214"/>
                <a:gd name="T19" fmla="*/ 6 h 97"/>
                <a:gd name="T20" fmla="*/ 90 w 214"/>
                <a:gd name="T21" fmla="*/ 6 h 97"/>
                <a:gd name="T22" fmla="*/ 95 w 214"/>
                <a:gd name="T23" fmla="*/ 2 h 97"/>
                <a:gd name="T24" fmla="*/ 103 w 214"/>
                <a:gd name="T25" fmla="*/ 9 h 97"/>
                <a:gd name="T26" fmla="*/ 116 w 214"/>
                <a:gd name="T27" fmla="*/ 11 h 97"/>
                <a:gd name="T28" fmla="*/ 124 w 214"/>
                <a:gd name="T29" fmla="*/ 17 h 97"/>
                <a:gd name="T30" fmla="*/ 135 w 214"/>
                <a:gd name="T31" fmla="*/ 16 h 97"/>
                <a:gd name="T32" fmla="*/ 130 w 214"/>
                <a:gd name="T33" fmla="*/ 25 h 97"/>
                <a:gd name="T34" fmla="*/ 141 w 214"/>
                <a:gd name="T35" fmla="*/ 35 h 97"/>
                <a:gd name="T36" fmla="*/ 151 w 214"/>
                <a:gd name="T37" fmla="*/ 33 h 97"/>
                <a:gd name="T38" fmla="*/ 151 w 214"/>
                <a:gd name="T39" fmla="*/ 24 h 97"/>
                <a:gd name="T40" fmla="*/ 170 w 214"/>
                <a:gd name="T41" fmla="*/ 30 h 97"/>
                <a:gd name="T42" fmla="*/ 178 w 214"/>
                <a:gd name="T43" fmla="*/ 33 h 97"/>
                <a:gd name="T44" fmla="*/ 181 w 214"/>
                <a:gd name="T45" fmla="*/ 41 h 97"/>
                <a:gd name="T46" fmla="*/ 194 w 214"/>
                <a:gd name="T47" fmla="*/ 43 h 97"/>
                <a:gd name="T48" fmla="*/ 197 w 214"/>
                <a:gd name="T49" fmla="*/ 43 h 97"/>
                <a:gd name="T50" fmla="*/ 206 w 214"/>
                <a:gd name="T51" fmla="*/ 51 h 97"/>
                <a:gd name="T52" fmla="*/ 214 w 214"/>
                <a:gd name="T53" fmla="*/ 60 h 97"/>
                <a:gd name="T54" fmla="*/ 200 w 214"/>
                <a:gd name="T55" fmla="*/ 65 h 97"/>
                <a:gd name="T56" fmla="*/ 192 w 214"/>
                <a:gd name="T57" fmla="*/ 73 h 97"/>
                <a:gd name="T58" fmla="*/ 186 w 214"/>
                <a:gd name="T59" fmla="*/ 79 h 97"/>
                <a:gd name="T60" fmla="*/ 174 w 214"/>
                <a:gd name="T61" fmla="*/ 87 h 97"/>
                <a:gd name="T62" fmla="*/ 167 w 214"/>
                <a:gd name="T63" fmla="*/ 87 h 97"/>
                <a:gd name="T64" fmla="*/ 155 w 214"/>
                <a:gd name="T65" fmla="*/ 95 h 97"/>
                <a:gd name="T66" fmla="*/ 152 w 214"/>
                <a:gd name="T67" fmla="*/ 92 h 97"/>
                <a:gd name="T68" fmla="*/ 140 w 214"/>
                <a:gd name="T69" fmla="*/ 89 h 97"/>
                <a:gd name="T70" fmla="*/ 127 w 214"/>
                <a:gd name="T71" fmla="*/ 90 h 97"/>
                <a:gd name="T72" fmla="*/ 121 w 214"/>
                <a:gd name="T73" fmla="*/ 86 h 97"/>
                <a:gd name="T74" fmla="*/ 108 w 214"/>
                <a:gd name="T75" fmla="*/ 82 h 97"/>
                <a:gd name="T76" fmla="*/ 97 w 214"/>
                <a:gd name="T77" fmla="*/ 81 h 97"/>
                <a:gd name="T78" fmla="*/ 92 w 214"/>
                <a:gd name="T79" fmla="*/ 90 h 97"/>
                <a:gd name="T80" fmla="*/ 84 w 214"/>
                <a:gd name="T81" fmla="*/ 97 h 97"/>
                <a:gd name="T82" fmla="*/ 75 w 214"/>
                <a:gd name="T83" fmla="*/ 97 h 97"/>
                <a:gd name="T84" fmla="*/ 63 w 214"/>
                <a:gd name="T85" fmla="*/ 94 h 97"/>
                <a:gd name="T86" fmla="*/ 52 w 214"/>
                <a:gd name="T87" fmla="*/ 86 h 97"/>
                <a:gd name="T88" fmla="*/ 43 w 214"/>
                <a:gd name="T89" fmla="*/ 81 h 97"/>
                <a:gd name="T90" fmla="*/ 37 w 214"/>
                <a:gd name="T91" fmla="*/ 76 h 97"/>
                <a:gd name="T92" fmla="*/ 25 w 214"/>
                <a:gd name="T93" fmla="*/ 68 h 97"/>
                <a:gd name="T94" fmla="*/ 14 w 214"/>
                <a:gd name="T95" fmla="*/ 55 h 97"/>
                <a:gd name="T96" fmla="*/ 14 w 214"/>
                <a:gd name="T97" fmla="*/ 48 h 97"/>
                <a:gd name="T98" fmla="*/ 10 w 214"/>
                <a:gd name="T99" fmla="*/ 40 h 97"/>
                <a:gd name="T100" fmla="*/ 5 w 214"/>
                <a:gd name="T101" fmla="*/ 3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14" h="97">
                  <a:moveTo>
                    <a:pt x="0" y="29"/>
                  </a:moveTo>
                  <a:lnTo>
                    <a:pt x="3" y="29"/>
                  </a:lnTo>
                  <a:lnTo>
                    <a:pt x="6" y="30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10" y="30"/>
                  </a:lnTo>
                  <a:lnTo>
                    <a:pt x="13" y="25"/>
                  </a:lnTo>
                  <a:lnTo>
                    <a:pt x="17" y="25"/>
                  </a:lnTo>
                  <a:lnTo>
                    <a:pt x="21" y="25"/>
                  </a:lnTo>
                  <a:lnTo>
                    <a:pt x="24" y="24"/>
                  </a:lnTo>
                  <a:lnTo>
                    <a:pt x="27" y="25"/>
                  </a:lnTo>
                  <a:lnTo>
                    <a:pt x="29" y="24"/>
                  </a:lnTo>
                  <a:lnTo>
                    <a:pt x="32" y="21"/>
                  </a:lnTo>
                  <a:lnTo>
                    <a:pt x="37" y="19"/>
                  </a:lnTo>
                  <a:lnTo>
                    <a:pt x="38" y="17"/>
                  </a:lnTo>
                  <a:lnTo>
                    <a:pt x="41" y="17"/>
                  </a:lnTo>
                  <a:lnTo>
                    <a:pt x="46" y="16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52" y="13"/>
                  </a:lnTo>
                  <a:lnTo>
                    <a:pt x="54" y="13"/>
                  </a:lnTo>
                  <a:lnTo>
                    <a:pt x="57" y="11"/>
                  </a:lnTo>
                  <a:lnTo>
                    <a:pt x="60" y="9"/>
                  </a:lnTo>
                  <a:lnTo>
                    <a:pt x="63" y="8"/>
                  </a:lnTo>
                  <a:lnTo>
                    <a:pt x="67" y="8"/>
                  </a:lnTo>
                  <a:lnTo>
                    <a:pt x="67" y="6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71" y="5"/>
                  </a:lnTo>
                  <a:lnTo>
                    <a:pt x="68" y="2"/>
                  </a:lnTo>
                  <a:lnTo>
                    <a:pt x="71" y="0"/>
                  </a:lnTo>
                  <a:lnTo>
                    <a:pt x="75" y="0"/>
                  </a:lnTo>
                  <a:lnTo>
                    <a:pt x="75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8" y="2"/>
                  </a:lnTo>
                  <a:lnTo>
                    <a:pt x="79" y="5"/>
                  </a:lnTo>
                  <a:lnTo>
                    <a:pt x="79" y="6"/>
                  </a:lnTo>
                  <a:lnTo>
                    <a:pt x="82" y="8"/>
                  </a:lnTo>
                  <a:lnTo>
                    <a:pt x="86" y="8"/>
                  </a:lnTo>
                  <a:lnTo>
                    <a:pt x="86" y="6"/>
                  </a:lnTo>
                  <a:lnTo>
                    <a:pt x="90" y="6"/>
                  </a:lnTo>
                  <a:lnTo>
                    <a:pt x="90" y="2"/>
                  </a:lnTo>
                  <a:lnTo>
                    <a:pt x="92" y="2"/>
                  </a:lnTo>
                  <a:lnTo>
                    <a:pt x="94" y="2"/>
                  </a:lnTo>
                  <a:lnTo>
                    <a:pt x="95" y="2"/>
                  </a:lnTo>
                  <a:lnTo>
                    <a:pt x="98" y="2"/>
                  </a:lnTo>
                  <a:lnTo>
                    <a:pt x="100" y="3"/>
                  </a:lnTo>
                  <a:lnTo>
                    <a:pt x="100" y="6"/>
                  </a:lnTo>
                  <a:lnTo>
                    <a:pt x="103" y="9"/>
                  </a:lnTo>
                  <a:lnTo>
                    <a:pt x="105" y="9"/>
                  </a:lnTo>
                  <a:lnTo>
                    <a:pt x="108" y="11"/>
                  </a:lnTo>
                  <a:lnTo>
                    <a:pt x="113" y="11"/>
                  </a:lnTo>
                  <a:lnTo>
                    <a:pt x="116" y="11"/>
                  </a:lnTo>
                  <a:lnTo>
                    <a:pt x="119" y="14"/>
                  </a:lnTo>
                  <a:lnTo>
                    <a:pt x="122" y="14"/>
                  </a:lnTo>
                  <a:lnTo>
                    <a:pt x="122" y="14"/>
                  </a:lnTo>
                  <a:lnTo>
                    <a:pt x="124" y="17"/>
                  </a:lnTo>
                  <a:lnTo>
                    <a:pt x="127" y="16"/>
                  </a:lnTo>
                  <a:lnTo>
                    <a:pt x="130" y="16"/>
                  </a:lnTo>
                  <a:lnTo>
                    <a:pt x="132" y="14"/>
                  </a:lnTo>
                  <a:lnTo>
                    <a:pt x="135" y="16"/>
                  </a:lnTo>
                  <a:lnTo>
                    <a:pt x="135" y="19"/>
                  </a:lnTo>
                  <a:lnTo>
                    <a:pt x="133" y="21"/>
                  </a:lnTo>
                  <a:lnTo>
                    <a:pt x="128" y="24"/>
                  </a:lnTo>
                  <a:lnTo>
                    <a:pt x="130" y="25"/>
                  </a:lnTo>
                  <a:lnTo>
                    <a:pt x="133" y="25"/>
                  </a:lnTo>
                  <a:lnTo>
                    <a:pt x="136" y="29"/>
                  </a:lnTo>
                  <a:lnTo>
                    <a:pt x="140" y="32"/>
                  </a:lnTo>
                  <a:lnTo>
                    <a:pt x="141" y="35"/>
                  </a:lnTo>
                  <a:lnTo>
                    <a:pt x="144" y="38"/>
                  </a:lnTo>
                  <a:lnTo>
                    <a:pt x="146" y="38"/>
                  </a:lnTo>
                  <a:lnTo>
                    <a:pt x="148" y="36"/>
                  </a:lnTo>
                  <a:lnTo>
                    <a:pt x="151" y="33"/>
                  </a:lnTo>
                  <a:lnTo>
                    <a:pt x="152" y="33"/>
                  </a:lnTo>
                  <a:lnTo>
                    <a:pt x="155" y="30"/>
                  </a:lnTo>
                  <a:lnTo>
                    <a:pt x="152" y="27"/>
                  </a:lnTo>
                  <a:lnTo>
                    <a:pt x="151" y="24"/>
                  </a:lnTo>
                  <a:lnTo>
                    <a:pt x="159" y="25"/>
                  </a:lnTo>
                  <a:lnTo>
                    <a:pt x="167" y="30"/>
                  </a:lnTo>
                  <a:lnTo>
                    <a:pt x="170" y="30"/>
                  </a:lnTo>
                  <a:lnTo>
                    <a:pt x="170" y="30"/>
                  </a:lnTo>
                  <a:lnTo>
                    <a:pt x="171" y="30"/>
                  </a:lnTo>
                  <a:lnTo>
                    <a:pt x="174" y="30"/>
                  </a:lnTo>
                  <a:lnTo>
                    <a:pt x="178" y="30"/>
                  </a:lnTo>
                  <a:lnTo>
                    <a:pt x="178" y="33"/>
                  </a:lnTo>
                  <a:lnTo>
                    <a:pt x="176" y="36"/>
                  </a:lnTo>
                  <a:lnTo>
                    <a:pt x="178" y="38"/>
                  </a:lnTo>
                  <a:lnTo>
                    <a:pt x="181" y="41"/>
                  </a:lnTo>
                  <a:lnTo>
                    <a:pt x="181" y="41"/>
                  </a:lnTo>
                  <a:lnTo>
                    <a:pt x="186" y="41"/>
                  </a:lnTo>
                  <a:lnTo>
                    <a:pt x="187" y="40"/>
                  </a:lnTo>
                  <a:lnTo>
                    <a:pt x="190" y="41"/>
                  </a:lnTo>
                  <a:lnTo>
                    <a:pt x="194" y="43"/>
                  </a:lnTo>
                  <a:lnTo>
                    <a:pt x="197" y="44"/>
                  </a:lnTo>
                  <a:lnTo>
                    <a:pt x="197" y="44"/>
                  </a:lnTo>
                  <a:lnTo>
                    <a:pt x="197" y="44"/>
                  </a:lnTo>
                  <a:lnTo>
                    <a:pt x="197" y="43"/>
                  </a:lnTo>
                  <a:lnTo>
                    <a:pt x="201" y="44"/>
                  </a:lnTo>
                  <a:lnTo>
                    <a:pt x="205" y="46"/>
                  </a:lnTo>
                  <a:lnTo>
                    <a:pt x="205" y="49"/>
                  </a:lnTo>
                  <a:lnTo>
                    <a:pt x="206" y="51"/>
                  </a:lnTo>
                  <a:lnTo>
                    <a:pt x="206" y="52"/>
                  </a:lnTo>
                  <a:lnTo>
                    <a:pt x="209" y="54"/>
                  </a:lnTo>
                  <a:lnTo>
                    <a:pt x="213" y="57"/>
                  </a:lnTo>
                  <a:lnTo>
                    <a:pt x="214" y="60"/>
                  </a:lnTo>
                  <a:lnTo>
                    <a:pt x="211" y="62"/>
                  </a:lnTo>
                  <a:lnTo>
                    <a:pt x="208" y="60"/>
                  </a:lnTo>
                  <a:lnTo>
                    <a:pt x="205" y="63"/>
                  </a:lnTo>
                  <a:lnTo>
                    <a:pt x="200" y="65"/>
                  </a:lnTo>
                  <a:lnTo>
                    <a:pt x="200" y="65"/>
                  </a:lnTo>
                  <a:lnTo>
                    <a:pt x="197" y="68"/>
                  </a:lnTo>
                  <a:lnTo>
                    <a:pt x="194" y="70"/>
                  </a:lnTo>
                  <a:lnTo>
                    <a:pt x="192" y="73"/>
                  </a:lnTo>
                  <a:lnTo>
                    <a:pt x="192" y="76"/>
                  </a:lnTo>
                  <a:lnTo>
                    <a:pt x="190" y="79"/>
                  </a:lnTo>
                  <a:lnTo>
                    <a:pt x="189" y="79"/>
                  </a:lnTo>
                  <a:lnTo>
                    <a:pt x="186" y="79"/>
                  </a:lnTo>
                  <a:lnTo>
                    <a:pt x="184" y="82"/>
                  </a:lnTo>
                  <a:lnTo>
                    <a:pt x="181" y="84"/>
                  </a:lnTo>
                  <a:lnTo>
                    <a:pt x="178" y="87"/>
                  </a:lnTo>
                  <a:lnTo>
                    <a:pt x="174" y="87"/>
                  </a:lnTo>
                  <a:lnTo>
                    <a:pt x="173" y="87"/>
                  </a:lnTo>
                  <a:lnTo>
                    <a:pt x="173" y="89"/>
                  </a:lnTo>
                  <a:lnTo>
                    <a:pt x="170" y="87"/>
                  </a:lnTo>
                  <a:lnTo>
                    <a:pt x="167" y="87"/>
                  </a:lnTo>
                  <a:lnTo>
                    <a:pt x="163" y="86"/>
                  </a:lnTo>
                  <a:lnTo>
                    <a:pt x="162" y="86"/>
                  </a:lnTo>
                  <a:lnTo>
                    <a:pt x="159" y="90"/>
                  </a:lnTo>
                  <a:lnTo>
                    <a:pt x="155" y="95"/>
                  </a:lnTo>
                  <a:lnTo>
                    <a:pt x="154" y="95"/>
                  </a:lnTo>
                  <a:lnTo>
                    <a:pt x="152" y="92"/>
                  </a:lnTo>
                  <a:lnTo>
                    <a:pt x="152" y="92"/>
                  </a:lnTo>
                  <a:lnTo>
                    <a:pt x="152" y="92"/>
                  </a:lnTo>
                  <a:lnTo>
                    <a:pt x="149" y="90"/>
                  </a:lnTo>
                  <a:lnTo>
                    <a:pt x="144" y="89"/>
                  </a:lnTo>
                  <a:lnTo>
                    <a:pt x="143" y="89"/>
                  </a:lnTo>
                  <a:lnTo>
                    <a:pt x="140" y="89"/>
                  </a:lnTo>
                  <a:lnTo>
                    <a:pt x="140" y="89"/>
                  </a:lnTo>
                  <a:lnTo>
                    <a:pt x="136" y="90"/>
                  </a:lnTo>
                  <a:lnTo>
                    <a:pt x="135" y="90"/>
                  </a:lnTo>
                  <a:lnTo>
                    <a:pt x="127" y="90"/>
                  </a:lnTo>
                  <a:lnTo>
                    <a:pt x="125" y="90"/>
                  </a:lnTo>
                  <a:lnTo>
                    <a:pt x="124" y="87"/>
                  </a:lnTo>
                  <a:lnTo>
                    <a:pt x="121" y="86"/>
                  </a:lnTo>
                  <a:lnTo>
                    <a:pt x="121" y="86"/>
                  </a:lnTo>
                  <a:lnTo>
                    <a:pt x="117" y="86"/>
                  </a:lnTo>
                  <a:lnTo>
                    <a:pt x="113" y="86"/>
                  </a:lnTo>
                  <a:lnTo>
                    <a:pt x="111" y="84"/>
                  </a:lnTo>
                  <a:lnTo>
                    <a:pt x="108" y="82"/>
                  </a:lnTo>
                  <a:lnTo>
                    <a:pt x="105" y="82"/>
                  </a:lnTo>
                  <a:lnTo>
                    <a:pt x="103" y="81"/>
                  </a:lnTo>
                  <a:lnTo>
                    <a:pt x="100" y="82"/>
                  </a:lnTo>
                  <a:lnTo>
                    <a:pt x="97" y="81"/>
                  </a:lnTo>
                  <a:lnTo>
                    <a:pt x="94" y="81"/>
                  </a:lnTo>
                  <a:lnTo>
                    <a:pt x="94" y="84"/>
                  </a:lnTo>
                  <a:lnTo>
                    <a:pt x="92" y="87"/>
                  </a:lnTo>
                  <a:lnTo>
                    <a:pt x="92" y="90"/>
                  </a:lnTo>
                  <a:lnTo>
                    <a:pt x="90" y="90"/>
                  </a:lnTo>
                  <a:lnTo>
                    <a:pt x="87" y="90"/>
                  </a:lnTo>
                  <a:lnTo>
                    <a:pt x="84" y="94"/>
                  </a:lnTo>
                  <a:lnTo>
                    <a:pt x="84" y="97"/>
                  </a:lnTo>
                  <a:lnTo>
                    <a:pt x="84" y="97"/>
                  </a:lnTo>
                  <a:lnTo>
                    <a:pt x="79" y="97"/>
                  </a:lnTo>
                  <a:lnTo>
                    <a:pt x="76" y="95"/>
                  </a:lnTo>
                  <a:lnTo>
                    <a:pt x="75" y="97"/>
                  </a:lnTo>
                  <a:lnTo>
                    <a:pt x="75" y="97"/>
                  </a:lnTo>
                  <a:lnTo>
                    <a:pt x="70" y="97"/>
                  </a:lnTo>
                  <a:lnTo>
                    <a:pt x="67" y="97"/>
                  </a:lnTo>
                  <a:lnTo>
                    <a:pt x="63" y="94"/>
                  </a:lnTo>
                  <a:lnTo>
                    <a:pt x="60" y="92"/>
                  </a:lnTo>
                  <a:lnTo>
                    <a:pt x="57" y="90"/>
                  </a:lnTo>
                  <a:lnTo>
                    <a:pt x="56" y="87"/>
                  </a:lnTo>
                  <a:lnTo>
                    <a:pt x="52" y="86"/>
                  </a:lnTo>
                  <a:lnTo>
                    <a:pt x="49" y="82"/>
                  </a:lnTo>
                  <a:lnTo>
                    <a:pt x="46" y="81"/>
                  </a:lnTo>
                  <a:lnTo>
                    <a:pt x="43" y="81"/>
                  </a:lnTo>
                  <a:lnTo>
                    <a:pt x="43" y="81"/>
                  </a:lnTo>
                  <a:lnTo>
                    <a:pt x="43" y="81"/>
                  </a:lnTo>
                  <a:lnTo>
                    <a:pt x="40" y="76"/>
                  </a:lnTo>
                  <a:lnTo>
                    <a:pt x="37" y="76"/>
                  </a:lnTo>
                  <a:lnTo>
                    <a:pt x="37" y="76"/>
                  </a:lnTo>
                  <a:lnTo>
                    <a:pt x="35" y="76"/>
                  </a:lnTo>
                  <a:lnTo>
                    <a:pt x="32" y="71"/>
                  </a:lnTo>
                  <a:lnTo>
                    <a:pt x="30" y="68"/>
                  </a:lnTo>
                  <a:lnTo>
                    <a:pt x="25" y="68"/>
                  </a:lnTo>
                  <a:lnTo>
                    <a:pt x="24" y="67"/>
                  </a:lnTo>
                  <a:lnTo>
                    <a:pt x="21" y="65"/>
                  </a:lnTo>
                  <a:lnTo>
                    <a:pt x="19" y="62"/>
                  </a:lnTo>
                  <a:lnTo>
                    <a:pt x="14" y="55"/>
                  </a:lnTo>
                  <a:lnTo>
                    <a:pt x="14" y="54"/>
                  </a:lnTo>
                  <a:lnTo>
                    <a:pt x="11" y="51"/>
                  </a:lnTo>
                  <a:lnTo>
                    <a:pt x="13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4"/>
                  </a:lnTo>
                  <a:lnTo>
                    <a:pt x="11" y="41"/>
                  </a:lnTo>
                  <a:lnTo>
                    <a:pt x="10" y="40"/>
                  </a:lnTo>
                  <a:lnTo>
                    <a:pt x="6" y="38"/>
                  </a:lnTo>
                  <a:lnTo>
                    <a:pt x="5" y="38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3" y="33"/>
                  </a:lnTo>
                  <a:lnTo>
                    <a:pt x="2" y="32"/>
                  </a:lnTo>
                  <a:lnTo>
                    <a:pt x="0" y="29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grpSp>
          <p:nvGrpSpPr>
            <p:cNvPr id="317" name="Group 516"/>
            <p:cNvGrpSpPr>
              <a:grpSpLocks/>
            </p:cNvGrpSpPr>
            <p:nvPr/>
          </p:nvGrpSpPr>
          <p:grpSpPr bwMode="auto">
            <a:xfrm>
              <a:off x="5528234" y="2442567"/>
              <a:ext cx="507281" cy="401096"/>
              <a:chOff x="2708" y="1079"/>
              <a:chExt cx="345" cy="237"/>
            </a:xfrm>
            <a:solidFill>
              <a:srgbClr val="A6A6A6"/>
            </a:solidFill>
          </p:grpSpPr>
          <p:sp>
            <p:nvSpPr>
              <p:cNvPr id="683" name="Freeform 517"/>
              <p:cNvSpPr>
                <a:spLocks/>
              </p:cNvSpPr>
              <p:nvPr/>
            </p:nvSpPr>
            <p:spPr bwMode="auto">
              <a:xfrm>
                <a:off x="2708" y="1081"/>
                <a:ext cx="345" cy="235"/>
              </a:xfrm>
              <a:custGeom>
                <a:avLst/>
                <a:gdLst>
                  <a:gd name="T0" fmla="*/ 2 w 690"/>
                  <a:gd name="T1" fmla="*/ 332 h 471"/>
                  <a:gd name="T2" fmla="*/ 35 w 690"/>
                  <a:gd name="T3" fmla="*/ 327 h 471"/>
                  <a:gd name="T4" fmla="*/ 24 w 690"/>
                  <a:gd name="T5" fmla="*/ 319 h 471"/>
                  <a:gd name="T6" fmla="*/ 64 w 690"/>
                  <a:gd name="T7" fmla="*/ 318 h 471"/>
                  <a:gd name="T8" fmla="*/ 65 w 690"/>
                  <a:gd name="T9" fmla="*/ 299 h 471"/>
                  <a:gd name="T10" fmla="*/ 67 w 690"/>
                  <a:gd name="T11" fmla="*/ 294 h 471"/>
                  <a:gd name="T12" fmla="*/ 89 w 690"/>
                  <a:gd name="T13" fmla="*/ 286 h 471"/>
                  <a:gd name="T14" fmla="*/ 118 w 690"/>
                  <a:gd name="T15" fmla="*/ 268 h 471"/>
                  <a:gd name="T16" fmla="*/ 151 w 690"/>
                  <a:gd name="T17" fmla="*/ 273 h 471"/>
                  <a:gd name="T18" fmla="*/ 183 w 690"/>
                  <a:gd name="T19" fmla="*/ 248 h 471"/>
                  <a:gd name="T20" fmla="*/ 148 w 690"/>
                  <a:gd name="T21" fmla="*/ 257 h 471"/>
                  <a:gd name="T22" fmla="*/ 154 w 690"/>
                  <a:gd name="T23" fmla="*/ 238 h 471"/>
                  <a:gd name="T24" fmla="*/ 191 w 690"/>
                  <a:gd name="T25" fmla="*/ 219 h 471"/>
                  <a:gd name="T26" fmla="*/ 189 w 690"/>
                  <a:gd name="T27" fmla="*/ 213 h 471"/>
                  <a:gd name="T28" fmla="*/ 210 w 690"/>
                  <a:gd name="T29" fmla="*/ 205 h 471"/>
                  <a:gd name="T30" fmla="*/ 227 w 690"/>
                  <a:gd name="T31" fmla="*/ 180 h 471"/>
                  <a:gd name="T32" fmla="*/ 227 w 690"/>
                  <a:gd name="T33" fmla="*/ 170 h 471"/>
                  <a:gd name="T34" fmla="*/ 240 w 690"/>
                  <a:gd name="T35" fmla="*/ 151 h 471"/>
                  <a:gd name="T36" fmla="*/ 262 w 690"/>
                  <a:gd name="T37" fmla="*/ 135 h 471"/>
                  <a:gd name="T38" fmla="*/ 262 w 690"/>
                  <a:gd name="T39" fmla="*/ 130 h 471"/>
                  <a:gd name="T40" fmla="*/ 294 w 690"/>
                  <a:gd name="T41" fmla="*/ 123 h 471"/>
                  <a:gd name="T42" fmla="*/ 276 w 690"/>
                  <a:gd name="T43" fmla="*/ 111 h 471"/>
                  <a:gd name="T44" fmla="*/ 308 w 690"/>
                  <a:gd name="T45" fmla="*/ 107 h 471"/>
                  <a:gd name="T46" fmla="*/ 317 w 690"/>
                  <a:gd name="T47" fmla="*/ 96 h 471"/>
                  <a:gd name="T48" fmla="*/ 341 w 690"/>
                  <a:gd name="T49" fmla="*/ 88 h 471"/>
                  <a:gd name="T50" fmla="*/ 346 w 690"/>
                  <a:gd name="T51" fmla="*/ 69 h 471"/>
                  <a:gd name="T52" fmla="*/ 384 w 690"/>
                  <a:gd name="T53" fmla="*/ 59 h 471"/>
                  <a:gd name="T54" fmla="*/ 400 w 690"/>
                  <a:gd name="T55" fmla="*/ 51 h 471"/>
                  <a:gd name="T56" fmla="*/ 421 w 690"/>
                  <a:gd name="T57" fmla="*/ 53 h 471"/>
                  <a:gd name="T58" fmla="*/ 454 w 690"/>
                  <a:gd name="T59" fmla="*/ 43 h 471"/>
                  <a:gd name="T60" fmla="*/ 462 w 690"/>
                  <a:gd name="T61" fmla="*/ 31 h 471"/>
                  <a:gd name="T62" fmla="*/ 495 w 690"/>
                  <a:gd name="T63" fmla="*/ 37 h 471"/>
                  <a:gd name="T64" fmla="*/ 522 w 690"/>
                  <a:gd name="T65" fmla="*/ 7 h 471"/>
                  <a:gd name="T66" fmla="*/ 532 w 690"/>
                  <a:gd name="T67" fmla="*/ 29 h 471"/>
                  <a:gd name="T68" fmla="*/ 585 w 690"/>
                  <a:gd name="T69" fmla="*/ 16 h 471"/>
                  <a:gd name="T70" fmla="*/ 605 w 690"/>
                  <a:gd name="T71" fmla="*/ 15 h 471"/>
                  <a:gd name="T72" fmla="*/ 631 w 690"/>
                  <a:gd name="T73" fmla="*/ 7 h 471"/>
                  <a:gd name="T74" fmla="*/ 658 w 690"/>
                  <a:gd name="T75" fmla="*/ 35 h 471"/>
                  <a:gd name="T76" fmla="*/ 665 w 690"/>
                  <a:gd name="T77" fmla="*/ 46 h 471"/>
                  <a:gd name="T78" fmla="*/ 651 w 690"/>
                  <a:gd name="T79" fmla="*/ 65 h 471"/>
                  <a:gd name="T80" fmla="*/ 585 w 690"/>
                  <a:gd name="T81" fmla="*/ 40 h 471"/>
                  <a:gd name="T82" fmla="*/ 535 w 690"/>
                  <a:gd name="T83" fmla="*/ 84 h 471"/>
                  <a:gd name="T84" fmla="*/ 433 w 690"/>
                  <a:gd name="T85" fmla="*/ 65 h 471"/>
                  <a:gd name="T86" fmla="*/ 360 w 690"/>
                  <a:gd name="T87" fmla="*/ 99 h 471"/>
                  <a:gd name="T88" fmla="*/ 279 w 690"/>
                  <a:gd name="T89" fmla="*/ 172 h 471"/>
                  <a:gd name="T90" fmla="*/ 240 w 690"/>
                  <a:gd name="T91" fmla="*/ 246 h 471"/>
                  <a:gd name="T92" fmla="*/ 213 w 690"/>
                  <a:gd name="T93" fmla="*/ 338 h 471"/>
                  <a:gd name="T94" fmla="*/ 199 w 690"/>
                  <a:gd name="T95" fmla="*/ 406 h 471"/>
                  <a:gd name="T96" fmla="*/ 164 w 690"/>
                  <a:gd name="T97" fmla="*/ 414 h 471"/>
                  <a:gd name="T98" fmla="*/ 148 w 690"/>
                  <a:gd name="T99" fmla="*/ 432 h 471"/>
                  <a:gd name="T100" fmla="*/ 99 w 690"/>
                  <a:gd name="T101" fmla="*/ 462 h 471"/>
                  <a:gd name="T102" fmla="*/ 27 w 690"/>
                  <a:gd name="T103" fmla="*/ 457 h 471"/>
                  <a:gd name="T104" fmla="*/ 29 w 690"/>
                  <a:gd name="T105" fmla="*/ 437 h 471"/>
                  <a:gd name="T106" fmla="*/ 34 w 690"/>
                  <a:gd name="T107" fmla="*/ 416 h 471"/>
                  <a:gd name="T108" fmla="*/ 8 w 690"/>
                  <a:gd name="T109" fmla="*/ 413 h 471"/>
                  <a:gd name="T110" fmla="*/ 27 w 690"/>
                  <a:gd name="T111" fmla="*/ 397 h 471"/>
                  <a:gd name="T112" fmla="*/ 27 w 690"/>
                  <a:gd name="T113" fmla="*/ 389 h 471"/>
                  <a:gd name="T114" fmla="*/ 21 w 690"/>
                  <a:gd name="T115" fmla="*/ 368 h 471"/>
                  <a:gd name="T116" fmla="*/ 7 w 690"/>
                  <a:gd name="T117" fmla="*/ 360 h 471"/>
                  <a:gd name="T118" fmla="*/ 68 w 690"/>
                  <a:gd name="T119" fmla="*/ 354 h 471"/>
                  <a:gd name="T120" fmla="*/ 45 w 690"/>
                  <a:gd name="T121" fmla="*/ 351 h 471"/>
                  <a:gd name="T122" fmla="*/ 7 w 690"/>
                  <a:gd name="T123" fmla="*/ 343 h 4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90" h="471">
                    <a:moveTo>
                      <a:pt x="2" y="343"/>
                    </a:moveTo>
                    <a:lnTo>
                      <a:pt x="7" y="341"/>
                    </a:lnTo>
                    <a:lnTo>
                      <a:pt x="10" y="341"/>
                    </a:lnTo>
                    <a:lnTo>
                      <a:pt x="13" y="341"/>
                    </a:lnTo>
                    <a:lnTo>
                      <a:pt x="16" y="343"/>
                    </a:lnTo>
                    <a:lnTo>
                      <a:pt x="21" y="341"/>
                    </a:lnTo>
                    <a:lnTo>
                      <a:pt x="24" y="341"/>
                    </a:lnTo>
                    <a:lnTo>
                      <a:pt x="21" y="341"/>
                    </a:lnTo>
                    <a:lnTo>
                      <a:pt x="18" y="341"/>
                    </a:lnTo>
                    <a:lnTo>
                      <a:pt x="15" y="341"/>
                    </a:lnTo>
                    <a:lnTo>
                      <a:pt x="10" y="340"/>
                    </a:lnTo>
                    <a:lnTo>
                      <a:pt x="13" y="338"/>
                    </a:lnTo>
                    <a:lnTo>
                      <a:pt x="10" y="337"/>
                    </a:lnTo>
                    <a:lnTo>
                      <a:pt x="13" y="337"/>
                    </a:lnTo>
                    <a:lnTo>
                      <a:pt x="10" y="337"/>
                    </a:lnTo>
                    <a:lnTo>
                      <a:pt x="7" y="337"/>
                    </a:lnTo>
                    <a:lnTo>
                      <a:pt x="2" y="337"/>
                    </a:lnTo>
                    <a:lnTo>
                      <a:pt x="7" y="337"/>
                    </a:lnTo>
                    <a:lnTo>
                      <a:pt x="10" y="337"/>
                    </a:lnTo>
                    <a:lnTo>
                      <a:pt x="11" y="335"/>
                    </a:lnTo>
                    <a:lnTo>
                      <a:pt x="13" y="335"/>
                    </a:lnTo>
                    <a:lnTo>
                      <a:pt x="10" y="335"/>
                    </a:lnTo>
                    <a:lnTo>
                      <a:pt x="2" y="335"/>
                    </a:lnTo>
                    <a:lnTo>
                      <a:pt x="2" y="332"/>
                    </a:lnTo>
                    <a:lnTo>
                      <a:pt x="5" y="332"/>
                    </a:lnTo>
                    <a:lnTo>
                      <a:pt x="10" y="330"/>
                    </a:lnTo>
                    <a:lnTo>
                      <a:pt x="5" y="330"/>
                    </a:lnTo>
                    <a:lnTo>
                      <a:pt x="8" y="329"/>
                    </a:lnTo>
                    <a:lnTo>
                      <a:pt x="10" y="327"/>
                    </a:lnTo>
                    <a:lnTo>
                      <a:pt x="13" y="325"/>
                    </a:lnTo>
                    <a:lnTo>
                      <a:pt x="16" y="325"/>
                    </a:lnTo>
                    <a:lnTo>
                      <a:pt x="19" y="325"/>
                    </a:lnTo>
                    <a:lnTo>
                      <a:pt x="24" y="327"/>
                    </a:lnTo>
                    <a:lnTo>
                      <a:pt x="27" y="327"/>
                    </a:lnTo>
                    <a:lnTo>
                      <a:pt x="30" y="329"/>
                    </a:lnTo>
                    <a:lnTo>
                      <a:pt x="29" y="332"/>
                    </a:lnTo>
                    <a:lnTo>
                      <a:pt x="30" y="329"/>
                    </a:lnTo>
                    <a:lnTo>
                      <a:pt x="35" y="330"/>
                    </a:lnTo>
                    <a:lnTo>
                      <a:pt x="38" y="327"/>
                    </a:lnTo>
                    <a:lnTo>
                      <a:pt x="41" y="329"/>
                    </a:lnTo>
                    <a:lnTo>
                      <a:pt x="46" y="329"/>
                    </a:lnTo>
                    <a:lnTo>
                      <a:pt x="49" y="327"/>
                    </a:lnTo>
                    <a:lnTo>
                      <a:pt x="53" y="327"/>
                    </a:lnTo>
                    <a:lnTo>
                      <a:pt x="49" y="325"/>
                    </a:lnTo>
                    <a:lnTo>
                      <a:pt x="45" y="327"/>
                    </a:lnTo>
                    <a:lnTo>
                      <a:pt x="41" y="327"/>
                    </a:lnTo>
                    <a:lnTo>
                      <a:pt x="38" y="327"/>
                    </a:lnTo>
                    <a:lnTo>
                      <a:pt x="35" y="327"/>
                    </a:lnTo>
                    <a:lnTo>
                      <a:pt x="30" y="327"/>
                    </a:lnTo>
                    <a:lnTo>
                      <a:pt x="27" y="327"/>
                    </a:lnTo>
                    <a:lnTo>
                      <a:pt x="24" y="325"/>
                    </a:lnTo>
                    <a:lnTo>
                      <a:pt x="27" y="325"/>
                    </a:lnTo>
                    <a:lnTo>
                      <a:pt x="24" y="325"/>
                    </a:lnTo>
                    <a:lnTo>
                      <a:pt x="19" y="324"/>
                    </a:lnTo>
                    <a:lnTo>
                      <a:pt x="16" y="324"/>
                    </a:lnTo>
                    <a:lnTo>
                      <a:pt x="13" y="325"/>
                    </a:lnTo>
                    <a:lnTo>
                      <a:pt x="10" y="325"/>
                    </a:lnTo>
                    <a:lnTo>
                      <a:pt x="7" y="324"/>
                    </a:lnTo>
                    <a:lnTo>
                      <a:pt x="11" y="324"/>
                    </a:lnTo>
                    <a:lnTo>
                      <a:pt x="15" y="321"/>
                    </a:lnTo>
                    <a:lnTo>
                      <a:pt x="11" y="318"/>
                    </a:lnTo>
                    <a:lnTo>
                      <a:pt x="7" y="318"/>
                    </a:lnTo>
                    <a:lnTo>
                      <a:pt x="7" y="314"/>
                    </a:lnTo>
                    <a:lnTo>
                      <a:pt x="10" y="314"/>
                    </a:lnTo>
                    <a:lnTo>
                      <a:pt x="13" y="318"/>
                    </a:lnTo>
                    <a:lnTo>
                      <a:pt x="16" y="319"/>
                    </a:lnTo>
                    <a:lnTo>
                      <a:pt x="16" y="321"/>
                    </a:lnTo>
                    <a:lnTo>
                      <a:pt x="19" y="319"/>
                    </a:lnTo>
                    <a:lnTo>
                      <a:pt x="16" y="318"/>
                    </a:lnTo>
                    <a:lnTo>
                      <a:pt x="18" y="314"/>
                    </a:lnTo>
                    <a:lnTo>
                      <a:pt x="21" y="316"/>
                    </a:lnTo>
                    <a:lnTo>
                      <a:pt x="24" y="319"/>
                    </a:lnTo>
                    <a:lnTo>
                      <a:pt x="26" y="314"/>
                    </a:lnTo>
                    <a:lnTo>
                      <a:pt x="29" y="314"/>
                    </a:lnTo>
                    <a:lnTo>
                      <a:pt x="30" y="318"/>
                    </a:lnTo>
                    <a:lnTo>
                      <a:pt x="34" y="318"/>
                    </a:lnTo>
                    <a:lnTo>
                      <a:pt x="37" y="319"/>
                    </a:lnTo>
                    <a:lnTo>
                      <a:pt x="40" y="319"/>
                    </a:lnTo>
                    <a:lnTo>
                      <a:pt x="37" y="318"/>
                    </a:lnTo>
                    <a:lnTo>
                      <a:pt x="34" y="316"/>
                    </a:lnTo>
                    <a:lnTo>
                      <a:pt x="32" y="313"/>
                    </a:lnTo>
                    <a:lnTo>
                      <a:pt x="38" y="308"/>
                    </a:lnTo>
                    <a:lnTo>
                      <a:pt x="41" y="308"/>
                    </a:lnTo>
                    <a:lnTo>
                      <a:pt x="43" y="311"/>
                    </a:lnTo>
                    <a:lnTo>
                      <a:pt x="48" y="314"/>
                    </a:lnTo>
                    <a:lnTo>
                      <a:pt x="46" y="313"/>
                    </a:lnTo>
                    <a:lnTo>
                      <a:pt x="45" y="310"/>
                    </a:lnTo>
                    <a:lnTo>
                      <a:pt x="45" y="306"/>
                    </a:lnTo>
                    <a:lnTo>
                      <a:pt x="49" y="306"/>
                    </a:lnTo>
                    <a:lnTo>
                      <a:pt x="53" y="305"/>
                    </a:lnTo>
                    <a:lnTo>
                      <a:pt x="57" y="308"/>
                    </a:lnTo>
                    <a:lnTo>
                      <a:pt x="61" y="311"/>
                    </a:lnTo>
                    <a:lnTo>
                      <a:pt x="61" y="314"/>
                    </a:lnTo>
                    <a:lnTo>
                      <a:pt x="57" y="318"/>
                    </a:lnTo>
                    <a:lnTo>
                      <a:pt x="61" y="319"/>
                    </a:lnTo>
                    <a:lnTo>
                      <a:pt x="64" y="318"/>
                    </a:lnTo>
                    <a:lnTo>
                      <a:pt x="61" y="314"/>
                    </a:lnTo>
                    <a:lnTo>
                      <a:pt x="62" y="311"/>
                    </a:lnTo>
                    <a:lnTo>
                      <a:pt x="67" y="313"/>
                    </a:lnTo>
                    <a:lnTo>
                      <a:pt x="70" y="311"/>
                    </a:lnTo>
                    <a:lnTo>
                      <a:pt x="65" y="311"/>
                    </a:lnTo>
                    <a:lnTo>
                      <a:pt x="62" y="310"/>
                    </a:lnTo>
                    <a:lnTo>
                      <a:pt x="59" y="308"/>
                    </a:lnTo>
                    <a:lnTo>
                      <a:pt x="56" y="305"/>
                    </a:lnTo>
                    <a:lnTo>
                      <a:pt x="49" y="305"/>
                    </a:lnTo>
                    <a:lnTo>
                      <a:pt x="40" y="305"/>
                    </a:lnTo>
                    <a:lnTo>
                      <a:pt x="40" y="305"/>
                    </a:lnTo>
                    <a:lnTo>
                      <a:pt x="45" y="303"/>
                    </a:lnTo>
                    <a:lnTo>
                      <a:pt x="48" y="303"/>
                    </a:lnTo>
                    <a:lnTo>
                      <a:pt x="51" y="303"/>
                    </a:lnTo>
                    <a:lnTo>
                      <a:pt x="48" y="302"/>
                    </a:lnTo>
                    <a:lnTo>
                      <a:pt x="45" y="302"/>
                    </a:lnTo>
                    <a:lnTo>
                      <a:pt x="40" y="300"/>
                    </a:lnTo>
                    <a:lnTo>
                      <a:pt x="43" y="299"/>
                    </a:lnTo>
                    <a:lnTo>
                      <a:pt x="48" y="299"/>
                    </a:lnTo>
                    <a:lnTo>
                      <a:pt x="51" y="299"/>
                    </a:lnTo>
                    <a:lnTo>
                      <a:pt x="54" y="299"/>
                    </a:lnTo>
                    <a:lnTo>
                      <a:pt x="57" y="299"/>
                    </a:lnTo>
                    <a:lnTo>
                      <a:pt x="62" y="299"/>
                    </a:lnTo>
                    <a:lnTo>
                      <a:pt x="65" y="299"/>
                    </a:lnTo>
                    <a:lnTo>
                      <a:pt x="68" y="300"/>
                    </a:lnTo>
                    <a:lnTo>
                      <a:pt x="72" y="302"/>
                    </a:lnTo>
                    <a:lnTo>
                      <a:pt x="76" y="302"/>
                    </a:lnTo>
                    <a:lnTo>
                      <a:pt x="80" y="300"/>
                    </a:lnTo>
                    <a:lnTo>
                      <a:pt x="81" y="300"/>
                    </a:lnTo>
                    <a:lnTo>
                      <a:pt x="78" y="300"/>
                    </a:lnTo>
                    <a:lnTo>
                      <a:pt x="73" y="300"/>
                    </a:lnTo>
                    <a:lnTo>
                      <a:pt x="75" y="297"/>
                    </a:lnTo>
                    <a:lnTo>
                      <a:pt x="78" y="295"/>
                    </a:lnTo>
                    <a:lnTo>
                      <a:pt x="81" y="295"/>
                    </a:lnTo>
                    <a:lnTo>
                      <a:pt x="84" y="295"/>
                    </a:lnTo>
                    <a:lnTo>
                      <a:pt x="89" y="295"/>
                    </a:lnTo>
                    <a:lnTo>
                      <a:pt x="92" y="295"/>
                    </a:lnTo>
                    <a:lnTo>
                      <a:pt x="89" y="294"/>
                    </a:lnTo>
                    <a:lnTo>
                      <a:pt x="84" y="294"/>
                    </a:lnTo>
                    <a:lnTo>
                      <a:pt x="81" y="295"/>
                    </a:lnTo>
                    <a:lnTo>
                      <a:pt x="78" y="295"/>
                    </a:lnTo>
                    <a:lnTo>
                      <a:pt x="75" y="297"/>
                    </a:lnTo>
                    <a:lnTo>
                      <a:pt x="70" y="295"/>
                    </a:lnTo>
                    <a:lnTo>
                      <a:pt x="75" y="294"/>
                    </a:lnTo>
                    <a:lnTo>
                      <a:pt x="78" y="292"/>
                    </a:lnTo>
                    <a:lnTo>
                      <a:pt x="75" y="294"/>
                    </a:lnTo>
                    <a:lnTo>
                      <a:pt x="70" y="294"/>
                    </a:lnTo>
                    <a:lnTo>
                      <a:pt x="67" y="294"/>
                    </a:lnTo>
                    <a:lnTo>
                      <a:pt x="64" y="295"/>
                    </a:lnTo>
                    <a:lnTo>
                      <a:pt x="59" y="292"/>
                    </a:lnTo>
                    <a:lnTo>
                      <a:pt x="64" y="292"/>
                    </a:lnTo>
                    <a:lnTo>
                      <a:pt x="67" y="292"/>
                    </a:lnTo>
                    <a:lnTo>
                      <a:pt x="64" y="291"/>
                    </a:lnTo>
                    <a:lnTo>
                      <a:pt x="59" y="287"/>
                    </a:lnTo>
                    <a:lnTo>
                      <a:pt x="62" y="286"/>
                    </a:lnTo>
                    <a:lnTo>
                      <a:pt x="67" y="284"/>
                    </a:lnTo>
                    <a:lnTo>
                      <a:pt x="70" y="286"/>
                    </a:lnTo>
                    <a:lnTo>
                      <a:pt x="73" y="289"/>
                    </a:lnTo>
                    <a:lnTo>
                      <a:pt x="76" y="287"/>
                    </a:lnTo>
                    <a:lnTo>
                      <a:pt x="81" y="286"/>
                    </a:lnTo>
                    <a:lnTo>
                      <a:pt x="84" y="286"/>
                    </a:lnTo>
                    <a:lnTo>
                      <a:pt x="87" y="286"/>
                    </a:lnTo>
                    <a:lnTo>
                      <a:pt x="91" y="287"/>
                    </a:lnTo>
                    <a:lnTo>
                      <a:pt x="92" y="291"/>
                    </a:lnTo>
                    <a:lnTo>
                      <a:pt x="97" y="292"/>
                    </a:lnTo>
                    <a:lnTo>
                      <a:pt x="100" y="294"/>
                    </a:lnTo>
                    <a:lnTo>
                      <a:pt x="103" y="297"/>
                    </a:lnTo>
                    <a:lnTo>
                      <a:pt x="102" y="294"/>
                    </a:lnTo>
                    <a:lnTo>
                      <a:pt x="99" y="292"/>
                    </a:lnTo>
                    <a:lnTo>
                      <a:pt x="94" y="291"/>
                    </a:lnTo>
                    <a:lnTo>
                      <a:pt x="94" y="287"/>
                    </a:lnTo>
                    <a:lnTo>
                      <a:pt x="89" y="286"/>
                    </a:lnTo>
                    <a:lnTo>
                      <a:pt x="87" y="281"/>
                    </a:lnTo>
                    <a:lnTo>
                      <a:pt x="91" y="281"/>
                    </a:lnTo>
                    <a:lnTo>
                      <a:pt x="94" y="284"/>
                    </a:lnTo>
                    <a:lnTo>
                      <a:pt x="99" y="286"/>
                    </a:lnTo>
                    <a:lnTo>
                      <a:pt x="99" y="289"/>
                    </a:lnTo>
                    <a:lnTo>
                      <a:pt x="102" y="289"/>
                    </a:lnTo>
                    <a:lnTo>
                      <a:pt x="105" y="289"/>
                    </a:lnTo>
                    <a:lnTo>
                      <a:pt x="102" y="289"/>
                    </a:lnTo>
                    <a:lnTo>
                      <a:pt x="102" y="286"/>
                    </a:lnTo>
                    <a:lnTo>
                      <a:pt x="107" y="286"/>
                    </a:lnTo>
                    <a:lnTo>
                      <a:pt x="99" y="284"/>
                    </a:lnTo>
                    <a:lnTo>
                      <a:pt x="102" y="284"/>
                    </a:lnTo>
                    <a:lnTo>
                      <a:pt x="99" y="284"/>
                    </a:lnTo>
                    <a:lnTo>
                      <a:pt x="95" y="284"/>
                    </a:lnTo>
                    <a:lnTo>
                      <a:pt x="95" y="280"/>
                    </a:lnTo>
                    <a:lnTo>
                      <a:pt x="105" y="280"/>
                    </a:lnTo>
                    <a:lnTo>
                      <a:pt x="114" y="278"/>
                    </a:lnTo>
                    <a:lnTo>
                      <a:pt x="111" y="278"/>
                    </a:lnTo>
                    <a:lnTo>
                      <a:pt x="108" y="278"/>
                    </a:lnTo>
                    <a:lnTo>
                      <a:pt x="105" y="276"/>
                    </a:lnTo>
                    <a:lnTo>
                      <a:pt x="108" y="273"/>
                    </a:lnTo>
                    <a:lnTo>
                      <a:pt x="110" y="270"/>
                    </a:lnTo>
                    <a:lnTo>
                      <a:pt x="113" y="270"/>
                    </a:lnTo>
                    <a:lnTo>
                      <a:pt x="118" y="268"/>
                    </a:lnTo>
                    <a:lnTo>
                      <a:pt x="121" y="270"/>
                    </a:lnTo>
                    <a:lnTo>
                      <a:pt x="119" y="275"/>
                    </a:lnTo>
                    <a:lnTo>
                      <a:pt x="122" y="273"/>
                    </a:lnTo>
                    <a:lnTo>
                      <a:pt x="126" y="272"/>
                    </a:lnTo>
                    <a:lnTo>
                      <a:pt x="129" y="272"/>
                    </a:lnTo>
                    <a:lnTo>
                      <a:pt x="126" y="272"/>
                    </a:lnTo>
                    <a:lnTo>
                      <a:pt x="122" y="272"/>
                    </a:lnTo>
                    <a:lnTo>
                      <a:pt x="126" y="268"/>
                    </a:lnTo>
                    <a:lnTo>
                      <a:pt x="129" y="268"/>
                    </a:lnTo>
                    <a:lnTo>
                      <a:pt x="126" y="268"/>
                    </a:lnTo>
                    <a:lnTo>
                      <a:pt x="122" y="268"/>
                    </a:lnTo>
                    <a:lnTo>
                      <a:pt x="126" y="267"/>
                    </a:lnTo>
                    <a:lnTo>
                      <a:pt x="129" y="265"/>
                    </a:lnTo>
                    <a:lnTo>
                      <a:pt x="132" y="265"/>
                    </a:lnTo>
                    <a:lnTo>
                      <a:pt x="137" y="262"/>
                    </a:lnTo>
                    <a:lnTo>
                      <a:pt x="143" y="268"/>
                    </a:lnTo>
                    <a:lnTo>
                      <a:pt x="143" y="268"/>
                    </a:lnTo>
                    <a:lnTo>
                      <a:pt x="143" y="270"/>
                    </a:lnTo>
                    <a:lnTo>
                      <a:pt x="143" y="272"/>
                    </a:lnTo>
                    <a:lnTo>
                      <a:pt x="140" y="273"/>
                    </a:lnTo>
                    <a:lnTo>
                      <a:pt x="140" y="273"/>
                    </a:lnTo>
                    <a:lnTo>
                      <a:pt x="143" y="273"/>
                    </a:lnTo>
                    <a:lnTo>
                      <a:pt x="146" y="273"/>
                    </a:lnTo>
                    <a:lnTo>
                      <a:pt x="151" y="273"/>
                    </a:lnTo>
                    <a:lnTo>
                      <a:pt x="146" y="272"/>
                    </a:lnTo>
                    <a:lnTo>
                      <a:pt x="151" y="268"/>
                    </a:lnTo>
                    <a:lnTo>
                      <a:pt x="154" y="268"/>
                    </a:lnTo>
                    <a:lnTo>
                      <a:pt x="156" y="270"/>
                    </a:lnTo>
                    <a:lnTo>
                      <a:pt x="159" y="268"/>
                    </a:lnTo>
                    <a:lnTo>
                      <a:pt x="162" y="268"/>
                    </a:lnTo>
                    <a:lnTo>
                      <a:pt x="165" y="270"/>
                    </a:lnTo>
                    <a:lnTo>
                      <a:pt x="168" y="268"/>
                    </a:lnTo>
                    <a:lnTo>
                      <a:pt x="167" y="265"/>
                    </a:lnTo>
                    <a:lnTo>
                      <a:pt x="170" y="265"/>
                    </a:lnTo>
                    <a:lnTo>
                      <a:pt x="167" y="264"/>
                    </a:lnTo>
                    <a:lnTo>
                      <a:pt x="162" y="265"/>
                    </a:lnTo>
                    <a:lnTo>
                      <a:pt x="168" y="262"/>
                    </a:lnTo>
                    <a:lnTo>
                      <a:pt x="172" y="259"/>
                    </a:lnTo>
                    <a:lnTo>
                      <a:pt x="175" y="259"/>
                    </a:lnTo>
                    <a:lnTo>
                      <a:pt x="178" y="257"/>
                    </a:lnTo>
                    <a:lnTo>
                      <a:pt x="181" y="257"/>
                    </a:lnTo>
                    <a:lnTo>
                      <a:pt x="179" y="254"/>
                    </a:lnTo>
                    <a:lnTo>
                      <a:pt x="176" y="254"/>
                    </a:lnTo>
                    <a:lnTo>
                      <a:pt x="178" y="251"/>
                    </a:lnTo>
                    <a:lnTo>
                      <a:pt x="183" y="249"/>
                    </a:lnTo>
                    <a:lnTo>
                      <a:pt x="184" y="249"/>
                    </a:lnTo>
                    <a:lnTo>
                      <a:pt x="186" y="248"/>
                    </a:lnTo>
                    <a:lnTo>
                      <a:pt x="183" y="248"/>
                    </a:lnTo>
                    <a:lnTo>
                      <a:pt x="179" y="248"/>
                    </a:lnTo>
                    <a:lnTo>
                      <a:pt x="183" y="245"/>
                    </a:lnTo>
                    <a:lnTo>
                      <a:pt x="179" y="246"/>
                    </a:lnTo>
                    <a:lnTo>
                      <a:pt x="175" y="249"/>
                    </a:lnTo>
                    <a:lnTo>
                      <a:pt x="172" y="251"/>
                    </a:lnTo>
                    <a:lnTo>
                      <a:pt x="168" y="253"/>
                    </a:lnTo>
                    <a:lnTo>
                      <a:pt x="164" y="254"/>
                    </a:lnTo>
                    <a:lnTo>
                      <a:pt x="167" y="254"/>
                    </a:lnTo>
                    <a:lnTo>
                      <a:pt x="172" y="253"/>
                    </a:lnTo>
                    <a:lnTo>
                      <a:pt x="173" y="256"/>
                    </a:lnTo>
                    <a:lnTo>
                      <a:pt x="168" y="259"/>
                    </a:lnTo>
                    <a:lnTo>
                      <a:pt x="165" y="259"/>
                    </a:lnTo>
                    <a:lnTo>
                      <a:pt x="162" y="260"/>
                    </a:lnTo>
                    <a:lnTo>
                      <a:pt x="157" y="264"/>
                    </a:lnTo>
                    <a:lnTo>
                      <a:pt x="154" y="265"/>
                    </a:lnTo>
                    <a:lnTo>
                      <a:pt x="151" y="265"/>
                    </a:lnTo>
                    <a:lnTo>
                      <a:pt x="149" y="265"/>
                    </a:lnTo>
                    <a:lnTo>
                      <a:pt x="146" y="267"/>
                    </a:lnTo>
                    <a:lnTo>
                      <a:pt x="143" y="267"/>
                    </a:lnTo>
                    <a:lnTo>
                      <a:pt x="141" y="264"/>
                    </a:lnTo>
                    <a:lnTo>
                      <a:pt x="140" y="260"/>
                    </a:lnTo>
                    <a:lnTo>
                      <a:pt x="143" y="259"/>
                    </a:lnTo>
                    <a:lnTo>
                      <a:pt x="143" y="259"/>
                    </a:lnTo>
                    <a:lnTo>
                      <a:pt x="148" y="257"/>
                    </a:lnTo>
                    <a:lnTo>
                      <a:pt x="143" y="257"/>
                    </a:lnTo>
                    <a:lnTo>
                      <a:pt x="140" y="259"/>
                    </a:lnTo>
                    <a:lnTo>
                      <a:pt x="137" y="259"/>
                    </a:lnTo>
                    <a:lnTo>
                      <a:pt x="132" y="260"/>
                    </a:lnTo>
                    <a:lnTo>
                      <a:pt x="137" y="257"/>
                    </a:lnTo>
                    <a:lnTo>
                      <a:pt x="132" y="257"/>
                    </a:lnTo>
                    <a:lnTo>
                      <a:pt x="137" y="256"/>
                    </a:lnTo>
                    <a:lnTo>
                      <a:pt x="140" y="254"/>
                    </a:lnTo>
                    <a:lnTo>
                      <a:pt x="143" y="253"/>
                    </a:lnTo>
                    <a:lnTo>
                      <a:pt x="143" y="253"/>
                    </a:lnTo>
                    <a:lnTo>
                      <a:pt x="148" y="251"/>
                    </a:lnTo>
                    <a:lnTo>
                      <a:pt x="151" y="253"/>
                    </a:lnTo>
                    <a:lnTo>
                      <a:pt x="148" y="251"/>
                    </a:lnTo>
                    <a:lnTo>
                      <a:pt x="143" y="253"/>
                    </a:lnTo>
                    <a:lnTo>
                      <a:pt x="143" y="251"/>
                    </a:lnTo>
                    <a:lnTo>
                      <a:pt x="146" y="249"/>
                    </a:lnTo>
                    <a:lnTo>
                      <a:pt x="143" y="249"/>
                    </a:lnTo>
                    <a:lnTo>
                      <a:pt x="143" y="249"/>
                    </a:lnTo>
                    <a:lnTo>
                      <a:pt x="145" y="248"/>
                    </a:lnTo>
                    <a:lnTo>
                      <a:pt x="148" y="245"/>
                    </a:lnTo>
                    <a:lnTo>
                      <a:pt x="151" y="245"/>
                    </a:lnTo>
                    <a:lnTo>
                      <a:pt x="151" y="241"/>
                    </a:lnTo>
                    <a:lnTo>
                      <a:pt x="154" y="241"/>
                    </a:lnTo>
                    <a:lnTo>
                      <a:pt x="154" y="238"/>
                    </a:lnTo>
                    <a:lnTo>
                      <a:pt x="157" y="235"/>
                    </a:lnTo>
                    <a:lnTo>
                      <a:pt x="165" y="234"/>
                    </a:lnTo>
                    <a:lnTo>
                      <a:pt x="167" y="230"/>
                    </a:lnTo>
                    <a:lnTo>
                      <a:pt x="170" y="230"/>
                    </a:lnTo>
                    <a:lnTo>
                      <a:pt x="170" y="227"/>
                    </a:lnTo>
                    <a:lnTo>
                      <a:pt x="175" y="229"/>
                    </a:lnTo>
                    <a:lnTo>
                      <a:pt x="176" y="230"/>
                    </a:lnTo>
                    <a:lnTo>
                      <a:pt x="179" y="232"/>
                    </a:lnTo>
                    <a:lnTo>
                      <a:pt x="178" y="237"/>
                    </a:lnTo>
                    <a:lnTo>
                      <a:pt x="183" y="234"/>
                    </a:lnTo>
                    <a:lnTo>
                      <a:pt x="186" y="232"/>
                    </a:lnTo>
                    <a:lnTo>
                      <a:pt x="187" y="232"/>
                    </a:lnTo>
                    <a:lnTo>
                      <a:pt x="191" y="232"/>
                    </a:lnTo>
                    <a:lnTo>
                      <a:pt x="191" y="232"/>
                    </a:lnTo>
                    <a:lnTo>
                      <a:pt x="187" y="232"/>
                    </a:lnTo>
                    <a:lnTo>
                      <a:pt x="187" y="229"/>
                    </a:lnTo>
                    <a:lnTo>
                      <a:pt x="191" y="227"/>
                    </a:lnTo>
                    <a:lnTo>
                      <a:pt x="187" y="226"/>
                    </a:lnTo>
                    <a:lnTo>
                      <a:pt x="184" y="226"/>
                    </a:lnTo>
                    <a:lnTo>
                      <a:pt x="184" y="222"/>
                    </a:lnTo>
                    <a:lnTo>
                      <a:pt x="191" y="221"/>
                    </a:lnTo>
                    <a:lnTo>
                      <a:pt x="195" y="219"/>
                    </a:lnTo>
                    <a:lnTo>
                      <a:pt x="192" y="219"/>
                    </a:lnTo>
                    <a:lnTo>
                      <a:pt x="191" y="219"/>
                    </a:lnTo>
                    <a:lnTo>
                      <a:pt x="189" y="219"/>
                    </a:lnTo>
                    <a:lnTo>
                      <a:pt x="195" y="216"/>
                    </a:lnTo>
                    <a:lnTo>
                      <a:pt x="200" y="214"/>
                    </a:lnTo>
                    <a:lnTo>
                      <a:pt x="206" y="214"/>
                    </a:lnTo>
                    <a:lnTo>
                      <a:pt x="211" y="216"/>
                    </a:lnTo>
                    <a:lnTo>
                      <a:pt x="208" y="214"/>
                    </a:lnTo>
                    <a:lnTo>
                      <a:pt x="203" y="213"/>
                    </a:lnTo>
                    <a:lnTo>
                      <a:pt x="199" y="214"/>
                    </a:lnTo>
                    <a:lnTo>
                      <a:pt x="195" y="214"/>
                    </a:lnTo>
                    <a:lnTo>
                      <a:pt x="187" y="219"/>
                    </a:lnTo>
                    <a:lnTo>
                      <a:pt x="179" y="221"/>
                    </a:lnTo>
                    <a:lnTo>
                      <a:pt x="183" y="219"/>
                    </a:lnTo>
                    <a:lnTo>
                      <a:pt x="179" y="219"/>
                    </a:lnTo>
                    <a:lnTo>
                      <a:pt x="183" y="218"/>
                    </a:lnTo>
                    <a:lnTo>
                      <a:pt x="186" y="218"/>
                    </a:lnTo>
                    <a:lnTo>
                      <a:pt x="189" y="216"/>
                    </a:lnTo>
                    <a:lnTo>
                      <a:pt x="186" y="216"/>
                    </a:lnTo>
                    <a:lnTo>
                      <a:pt x="181" y="216"/>
                    </a:lnTo>
                    <a:lnTo>
                      <a:pt x="184" y="214"/>
                    </a:lnTo>
                    <a:lnTo>
                      <a:pt x="189" y="214"/>
                    </a:lnTo>
                    <a:lnTo>
                      <a:pt x="186" y="214"/>
                    </a:lnTo>
                    <a:lnTo>
                      <a:pt x="189" y="214"/>
                    </a:lnTo>
                    <a:lnTo>
                      <a:pt x="192" y="213"/>
                    </a:lnTo>
                    <a:lnTo>
                      <a:pt x="189" y="213"/>
                    </a:lnTo>
                    <a:lnTo>
                      <a:pt x="191" y="213"/>
                    </a:lnTo>
                    <a:lnTo>
                      <a:pt x="194" y="211"/>
                    </a:lnTo>
                    <a:lnTo>
                      <a:pt x="199" y="210"/>
                    </a:lnTo>
                    <a:lnTo>
                      <a:pt x="197" y="210"/>
                    </a:lnTo>
                    <a:lnTo>
                      <a:pt x="194" y="210"/>
                    </a:lnTo>
                    <a:lnTo>
                      <a:pt x="197" y="207"/>
                    </a:lnTo>
                    <a:lnTo>
                      <a:pt x="202" y="210"/>
                    </a:lnTo>
                    <a:lnTo>
                      <a:pt x="203" y="207"/>
                    </a:lnTo>
                    <a:lnTo>
                      <a:pt x="206" y="205"/>
                    </a:lnTo>
                    <a:lnTo>
                      <a:pt x="208" y="210"/>
                    </a:lnTo>
                    <a:lnTo>
                      <a:pt x="205" y="210"/>
                    </a:lnTo>
                    <a:lnTo>
                      <a:pt x="203" y="210"/>
                    </a:lnTo>
                    <a:lnTo>
                      <a:pt x="199" y="210"/>
                    </a:lnTo>
                    <a:lnTo>
                      <a:pt x="205" y="210"/>
                    </a:lnTo>
                    <a:lnTo>
                      <a:pt x="213" y="208"/>
                    </a:lnTo>
                    <a:lnTo>
                      <a:pt x="219" y="205"/>
                    </a:lnTo>
                    <a:lnTo>
                      <a:pt x="224" y="202"/>
                    </a:lnTo>
                    <a:lnTo>
                      <a:pt x="221" y="203"/>
                    </a:lnTo>
                    <a:lnTo>
                      <a:pt x="216" y="207"/>
                    </a:lnTo>
                    <a:lnTo>
                      <a:pt x="213" y="207"/>
                    </a:lnTo>
                    <a:lnTo>
                      <a:pt x="210" y="207"/>
                    </a:lnTo>
                    <a:lnTo>
                      <a:pt x="210" y="207"/>
                    </a:lnTo>
                    <a:lnTo>
                      <a:pt x="213" y="207"/>
                    </a:lnTo>
                    <a:lnTo>
                      <a:pt x="210" y="205"/>
                    </a:lnTo>
                    <a:lnTo>
                      <a:pt x="211" y="202"/>
                    </a:lnTo>
                    <a:lnTo>
                      <a:pt x="208" y="202"/>
                    </a:lnTo>
                    <a:lnTo>
                      <a:pt x="203" y="205"/>
                    </a:lnTo>
                    <a:lnTo>
                      <a:pt x="203" y="200"/>
                    </a:lnTo>
                    <a:lnTo>
                      <a:pt x="205" y="197"/>
                    </a:lnTo>
                    <a:lnTo>
                      <a:pt x="206" y="194"/>
                    </a:lnTo>
                    <a:lnTo>
                      <a:pt x="210" y="194"/>
                    </a:lnTo>
                    <a:lnTo>
                      <a:pt x="211" y="197"/>
                    </a:lnTo>
                    <a:lnTo>
                      <a:pt x="214" y="197"/>
                    </a:lnTo>
                    <a:lnTo>
                      <a:pt x="216" y="197"/>
                    </a:lnTo>
                    <a:lnTo>
                      <a:pt x="221" y="195"/>
                    </a:lnTo>
                    <a:lnTo>
                      <a:pt x="216" y="195"/>
                    </a:lnTo>
                    <a:lnTo>
                      <a:pt x="214" y="192"/>
                    </a:lnTo>
                    <a:lnTo>
                      <a:pt x="211" y="194"/>
                    </a:lnTo>
                    <a:lnTo>
                      <a:pt x="210" y="189"/>
                    </a:lnTo>
                    <a:lnTo>
                      <a:pt x="213" y="186"/>
                    </a:lnTo>
                    <a:lnTo>
                      <a:pt x="216" y="188"/>
                    </a:lnTo>
                    <a:lnTo>
                      <a:pt x="219" y="189"/>
                    </a:lnTo>
                    <a:lnTo>
                      <a:pt x="216" y="188"/>
                    </a:lnTo>
                    <a:lnTo>
                      <a:pt x="216" y="183"/>
                    </a:lnTo>
                    <a:lnTo>
                      <a:pt x="218" y="180"/>
                    </a:lnTo>
                    <a:lnTo>
                      <a:pt x="221" y="178"/>
                    </a:lnTo>
                    <a:lnTo>
                      <a:pt x="224" y="178"/>
                    </a:lnTo>
                    <a:lnTo>
                      <a:pt x="227" y="180"/>
                    </a:lnTo>
                    <a:lnTo>
                      <a:pt x="230" y="183"/>
                    </a:lnTo>
                    <a:lnTo>
                      <a:pt x="232" y="183"/>
                    </a:lnTo>
                    <a:lnTo>
                      <a:pt x="230" y="180"/>
                    </a:lnTo>
                    <a:lnTo>
                      <a:pt x="225" y="178"/>
                    </a:lnTo>
                    <a:lnTo>
                      <a:pt x="224" y="175"/>
                    </a:lnTo>
                    <a:lnTo>
                      <a:pt x="221" y="175"/>
                    </a:lnTo>
                    <a:lnTo>
                      <a:pt x="218" y="175"/>
                    </a:lnTo>
                    <a:lnTo>
                      <a:pt x="221" y="175"/>
                    </a:lnTo>
                    <a:lnTo>
                      <a:pt x="224" y="172"/>
                    </a:lnTo>
                    <a:lnTo>
                      <a:pt x="227" y="172"/>
                    </a:lnTo>
                    <a:lnTo>
                      <a:pt x="230" y="170"/>
                    </a:lnTo>
                    <a:lnTo>
                      <a:pt x="232" y="170"/>
                    </a:lnTo>
                    <a:lnTo>
                      <a:pt x="235" y="169"/>
                    </a:lnTo>
                    <a:lnTo>
                      <a:pt x="238" y="169"/>
                    </a:lnTo>
                    <a:lnTo>
                      <a:pt x="240" y="172"/>
                    </a:lnTo>
                    <a:lnTo>
                      <a:pt x="243" y="170"/>
                    </a:lnTo>
                    <a:lnTo>
                      <a:pt x="248" y="172"/>
                    </a:lnTo>
                    <a:lnTo>
                      <a:pt x="245" y="170"/>
                    </a:lnTo>
                    <a:lnTo>
                      <a:pt x="248" y="169"/>
                    </a:lnTo>
                    <a:lnTo>
                      <a:pt x="251" y="169"/>
                    </a:lnTo>
                    <a:lnTo>
                      <a:pt x="256" y="165"/>
                    </a:lnTo>
                    <a:lnTo>
                      <a:pt x="257" y="165"/>
                    </a:lnTo>
                    <a:lnTo>
                      <a:pt x="241" y="167"/>
                    </a:lnTo>
                    <a:lnTo>
                      <a:pt x="227" y="170"/>
                    </a:lnTo>
                    <a:lnTo>
                      <a:pt x="230" y="167"/>
                    </a:lnTo>
                    <a:lnTo>
                      <a:pt x="235" y="165"/>
                    </a:lnTo>
                    <a:lnTo>
                      <a:pt x="238" y="165"/>
                    </a:lnTo>
                    <a:lnTo>
                      <a:pt x="235" y="165"/>
                    </a:lnTo>
                    <a:lnTo>
                      <a:pt x="230" y="165"/>
                    </a:lnTo>
                    <a:lnTo>
                      <a:pt x="227" y="165"/>
                    </a:lnTo>
                    <a:lnTo>
                      <a:pt x="230" y="162"/>
                    </a:lnTo>
                    <a:lnTo>
                      <a:pt x="225" y="159"/>
                    </a:lnTo>
                    <a:lnTo>
                      <a:pt x="227" y="157"/>
                    </a:lnTo>
                    <a:lnTo>
                      <a:pt x="230" y="157"/>
                    </a:lnTo>
                    <a:lnTo>
                      <a:pt x="235" y="161"/>
                    </a:lnTo>
                    <a:lnTo>
                      <a:pt x="238" y="157"/>
                    </a:lnTo>
                    <a:lnTo>
                      <a:pt x="241" y="157"/>
                    </a:lnTo>
                    <a:lnTo>
                      <a:pt x="245" y="156"/>
                    </a:lnTo>
                    <a:lnTo>
                      <a:pt x="240" y="154"/>
                    </a:lnTo>
                    <a:lnTo>
                      <a:pt x="237" y="157"/>
                    </a:lnTo>
                    <a:lnTo>
                      <a:pt x="233" y="157"/>
                    </a:lnTo>
                    <a:lnTo>
                      <a:pt x="230" y="154"/>
                    </a:lnTo>
                    <a:lnTo>
                      <a:pt x="233" y="153"/>
                    </a:lnTo>
                    <a:lnTo>
                      <a:pt x="238" y="153"/>
                    </a:lnTo>
                    <a:lnTo>
                      <a:pt x="235" y="153"/>
                    </a:lnTo>
                    <a:lnTo>
                      <a:pt x="232" y="151"/>
                    </a:lnTo>
                    <a:lnTo>
                      <a:pt x="235" y="151"/>
                    </a:lnTo>
                    <a:lnTo>
                      <a:pt x="240" y="151"/>
                    </a:lnTo>
                    <a:lnTo>
                      <a:pt x="243" y="151"/>
                    </a:lnTo>
                    <a:lnTo>
                      <a:pt x="246" y="151"/>
                    </a:lnTo>
                    <a:lnTo>
                      <a:pt x="243" y="151"/>
                    </a:lnTo>
                    <a:lnTo>
                      <a:pt x="240" y="149"/>
                    </a:lnTo>
                    <a:lnTo>
                      <a:pt x="243" y="149"/>
                    </a:lnTo>
                    <a:lnTo>
                      <a:pt x="240" y="149"/>
                    </a:lnTo>
                    <a:lnTo>
                      <a:pt x="243" y="148"/>
                    </a:lnTo>
                    <a:lnTo>
                      <a:pt x="248" y="148"/>
                    </a:lnTo>
                    <a:lnTo>
                      <a:pt x="251" y="148"/>
                    </a:lnTo>
                    <a:lnTo>
                      <a:pt x="246" y="148"/>
                    </a:lnTo>
                    <a:lnTo>
                      <a:pt x="243" y="145"/>
                    </a:lnTo>
                    <a:lnTo>
                      <a:pt x="240" y="145"/>
                    </a:lnTo>
                    <a:lnTo>
                      <a:pt x="243" y="143"/>
                    </a:lnTo>
                    <a:lnTo>
                      <a:pt x="246" y="143"/>
                    </a:lnTo>
                    <a:lnTo>
                      <a:pt x="249" y="142"/>
                    </a:lnTo>
                    <a:lnTo>
                      <a:pt x="254" y="142"/>
                    </a:lnTo>
                    <a:lnTo>
                      <a:pt x="257" y="142"/>
                    </a:lnTo>
                    <a:lnTo>
                      <a:pt x="260" y="138"/>
                    </a:lnTo>
                    <a:lnTo>
                      <a:pt x="264" y="138"/>
                    </a:lnTo>
                    <a:lnTo>
                      <a:pt x="268" y="140"/>
                    </a:lnTo>
                    <a:lnTo>
                      <a:pt x="264" y="138"/>
                    </a:lnTo>
                    <a:lnTo>
                      <a:pt x="260" y="138"/>
                    </a:lnTo>
                    <a:lnTo>
                      <a:pt x="260" y="138"/>
                    </a:lnTo>
                    <a:lnTo>
                      <a:pt x="262" y="135"/>
                    </a:lnTo>
                    <a:lnTo>
                      <a:pt x="265" y="135"/>
                    </a:lnTo>
                    <a:lnTo>
                      <a:pt x="270" y="134"/>
                    </a:lnTo>
                    <a:lnTo>
                      <a:pt x="273" y="134"/>
                    </a:lnTo>
                    <a:lnTo>
                      <a:pt x="276" y="134"/>
                    </a:lnTo>
                    <a:lnTo>
                      <a:pt x="278" y="132"/>
                    </a:lnTo>
                    <a:lnTo>
                      <a:pt x="278" y="135"/>
                    </a:lnTo>
                    <a:lnTo>
                      <a:pt x="279" y="134"/>
                    </a:lnTo>
                    <a:lnTo>
                      <a:pt x="284" y="134"/>
                    </a:lnTo>
                    <a:lnTo>
                      <a:pt x="287" y="135"/>
                    </a:lnTo>
                    <a:lnTo>
                      <a:pt x="290" y="137"/>
                    </a:lnTo>
                    <a:lnTo>
                      <a:pt x="290" y="134"/>
                    </a:lnTo>
                    <a:lnTo>
                      <a:pt x="290" y="134"/>
                    </a:lnTo>
                    <a:lnTo>
                      <a:pt x="295" y="134"/>
                    </a:lnTo>
                    <a:lnTo>
                      <a:pt x="292" y="132"/>
                    </a:lnTo>
                    <a:lnTo>
                      <a:pt x="290" y="132"/>
                    </a:lnTo>
                    <a:lnTo>
                      <a:pt x="287" y="132"/>
                    </a:lnTo>
                    <a:lnTo>
                      <a:pt x="284" y="132"/>
                    </a:lnTo>
                    <a:lnTo>
                      <a:pt x="281" y="130"/>
                    </a:lnTo>
                    <a:lnTo>
                      <a:pt x="278" y="130"/>
                    </a:lnTo>
                    <a:lnTo>
                      <a:pt x="275" y="132"/>
                    </a:lnTo>
                    <a:lnTo>
                      <a:pt x="271" y="132"/>
                    </a:lnTo>
                    <a:lnTo>
                      <a:pt x="270" y="130"/>
                    </a:lnTo>
                    <a:lnTo>
                      <a:pt x="267" y="132"/>
                    </a:lnTo>
                    <a:lnTo>
                      <a:pt x="262" y="130"/>
                    </a:lnTo>
                    <a:lnTo>
                      <a:pt x="267" y="129"/>
                    </a:lnTo>
                    <a:lnTo>
                      <a:pt x="270" y="126"/>
                    </a:lnTo>
                    <a:lnTo>
                      <a:pt x="273" y="127"/>
                    </a:lnTo>
                    <a:lnTo>
                      <a:pt x="276" y="126"/>
                    </a:lnTo>
                    <a:lnTo>
                      <a:pt x="276" y="126"/>
                    </a:lnTo>
                    <a:lnTo>
                      <a:pt x="273" y="126"/>
                    </a:lnTo>
                    <a:lnTo>
                      <a:pt x="270" y="124"/>
                    </a:lnTo>
                    <a:lnTo>
                      <a:pt x="273" y="123"/>
                    </a:lnTo>
                    <a:lnTo>
                      <a:pt x="276" y="121"/>
                    </a:lnTo>
                    <a:lnTo>
                      <a:pt x="278" y="121"/>
                    </a:lnTo>
                    <a:lnTo>
                      <a:pt x="281" y="123"/>
                    </a:lnTo>
                    <a:lnTo>
                      <a:pt x="276" y="124"/>
                    </a:lnTo>
                    <a:lnTo>
                      <a:pt x="276" y="124"/>
                    </a:lnTo>
                    <a:lnTo>
                      <a:pt x="281" y="124"/>
                    </a:lnTo>
                    <a:lnTo>
                      <a:pt x="284" y="124"/>
                    </a:lnTo>
                    <a:lnTo>
                      <a:pt x="287" y="124"/>
                    </a:lnTo>
                    <a:lnTo>
                      <a:pt x="290" y="126"/>
                    </a:lnTo>
                    <a:lnTo>
                      <a:pt x="295" y="129"/>
                    </a:lnTo>
                    <a:lnTo>
                      <a:pt x="297" y="127"/>
                    </a:lnTo>
                    <a:lnTo>
                      <a:pt x="294" y="127"/>
                    </a:lnTo>
                    <a:lnTo>
                      <a:pt x="294" y="123"/>
                    </a:lnTo>
                    <a:lnTo>
                      <a:pt x="297" y="121"/>
                    </a:lnTo>
                    <a:lnTo>
                      <a:pt x="302" y="121"/>
                    </a:lnTo>
                    <a:lnTo>
                      <a:pt x="294" y="123"/>
                    </a:lnTo>
                    <a:lnTo>
                      <a:pt x="284" y="121"/>
                    </a:lnTo>
                    <a:lnTo>
                      <a:pt x="287" y="121"/>
                    </a:lnTo>
                    <a:lnTo>
                      <a:pt x="284" y="119"/>
                    </a:lnTo>
                    <a:lnTo>
                      <a:pt x="286" y="116"/>
                    </a:lnTo>
                    <a:lnTo>
                      <a:pt x="289" y="116"/>
                    </a:lnTo>
                    <a:lnTo>
                      <a:pt x="292" y="116"/>
                    </a:lnTo>
                    <a:lnTo>
                      <a:pt x="289" y="116"/>
                    </a:lnTo>
                    <a:lnTo>
                      <a:pt x="294" y="115"/>
                    </a:lnTo>
                    <a:lnTo>
                      <a:pt x="297" y="116"/>
                    </a:lnTo>
                    <a:lnTo>
                      <a:pt x="300" y="118"/>
                    </a:lnTo>
                    <a:lnTo>
                      <a:pt x="295" y="115"/>
                    </a:lnTo>
                    <a:lnTo>
                      <a:pt x="290" y="113"/>
                    </a:lnTo>
                    <a:lnTo>
                      <a:pt x="289" y="113"/>
                    </a:lnTo>
                    <a:lnTo>
                      <a:pt x="286" y="115"/>
                    </a:lnTo>
                    <a:lnTo>
                      <a:pt x="281" y="116"/>
                    </a:lnTo>
                    <a:lnTo>
                      <a:pt x="273" y="118"/>
                    </a:lnTo>
                    <a:lnTo>
                      <a:pt x="276" y="115"/>
                    </a:lnTo>
                    <a:lnTo>
                      <a:pt x="276" y="115"/>
                    </a:lnTo>
                    <a:lnTo>
                      <a:pt x="281" y="115"/>
                    </a:lnTo>
                    <a:lnTo>
                      <a:pt x="276" y="113"/>
                    </a:lnTo>
                    <a:lnTo>
                      <a:pt x="273" y="111"/>
                    </a:lnTo>
                    <a:lnTo>
                      <a:pt x="276" y="111"/>
                    </a:lnTo>
                    <a:lnTo>
                      <a:pt x="279" y="111"/>
                    </a:lnTo>
                    <a:lnTo>
                      <a:pt x="276" y="111"/>
                    </a:lnTo>
                    <a:lnTo>
                      <a:pt x="276" y="110"/>
                    </a:lnTo>
                    <a:lnTo>
                      <a:pt x="279" y="110"/>
                    </a:lnTo>
                    <a:lnTo>
                      <a:pt x="287" y="110"/>
                    </a:lnTo>
                    <a:lnTo>
                      <a:pt x="290" y="108"/>
                    </a:lnTo>
                    <a:lnTo>
                      <a:pt x="294" y="108"/>
                    </a:lnTo>
                    <a:lnTo>
                      <a:pt x="297" y="107"/>
                    </a:lnTo>
                    <a:lnTo>
                      <a:pt x="300" y="110"/>
                    </a:lnTo>
                    <a:lnTo>
                      <a:pt x="303" y="105"/>
                    </a:lnTo>
                    <a:lnTo>
                      <a:pt x="298" y="105"/>
                    </a:lnTo>
                    <a:lnTo>
                      <a:pt x="295" y="105"/>
                    </a:lnTo>
                    <a:lnTo>
                      <a:pt x="292" y="103"/>
                    </a:lnTo>
                    <a:lnTo>
                      <a:pt x="289" y="105"/>
                    </a:lnTo>
                    <a:lnTo>
                      <a:pt x="286" y="105"/>
                    </a:lnTo>
                    <a:lnTo>
                      <a:pt x="287" y="102"/>
                    </a:lnTo>
                    <a:lnTo>
                      <a:pt x="292" y="102"/>
                    </a:lnTo>
                    <a:lnTo>
                      <a:pt x="295" y="100"/>
                    </a:lnTo>
                    <a:lnTo>
                      <a:pt x="294" y="103"/>
                    </a:lnTo>
                    <a:lnTo>
                      <a:pt x="297" y="103"/>
                    </a:lnTo>
                    <a:lnTo>
                      <a:pt x="298" y="102"/>
                    </a:lnTo>
                    <a:lnTo>
                      <a:pt x="298" y="99"/>
                    </a:lnTo>
                    <a:lnTo>
                      <a:pt x="302" y="97"/>
                    </a:lnTo>
                    <a:lnTo>
                      <a:pt x="306" y="99"/>
                    </a:lnTo>
                    <a:lnTo>
                      <a:pt x="306" y="103"/>
                    </a:lnTo>
                    <a:lnTo>
                      <a:pt x="308" y="107"/>
                    </a:lnTo>
                    <a:lnTo>
                      <a:pt x="311" y="110"/>
                    </a:lnTo>
                    <a:lnTo>
                      <a:pt x="314" y="110"/>
                    </a:lnTo>
                    <a:lnTo>
                      <a:pt x="311" y="108"/>
                    </a:lnTo>
                    <a:lnTo>
                      <a:pt x="310" y="105"/>
                    </a:lnTo>
                    <a:lnTo>
                      <a:pt x="313" y="107"/>
                    </a:lnTo>
                    <a:lnTo>
                      <a:pt x="316" y="108"/>
                    </a:lnTo>
                    <a:lnTo>
                      <a:pt x="313" y="105"/>
                    </a:lnTo>
                    <a:lnTo>
                      <a:pt x="316" y="107"/>
                    </a:lnTo>
                    <a:lnTo>
                      <a:pt x="314" y="103"/>
                    </a:lnTo>
                    <a:lnTo>
                      <a:pt x="319" y="103"/>
                    </a:lnTo>
                    <a:lnTo>
                      <a:pt x="322" y="103"/>
                    </a:lnTo>
                    <a:lnTo>
                      <a:pt x="319" y="103"/>
                    </a:lnTo>
                    <a:lnTo>
                      <a:pt x="314" y="102"/>
                    </a:lnTo>
                    <a:lnTo>
                      <a:pt x="311" y="100"/>
                    </a:lnTo>
                    <a:lnTo>
                      <a:pt x="314" y="99"/>
                    </a:lnTo>
                    <a:lnTo>
                      <a:pt x="316" y="99"/>
                    </a:lnTo>
                    <a:lnTo>
                      <a:pt x="313" y="99"/>
                    </a:lnTo>
                    <a:lnTo>
                      <a:pt x="308" y="99"/>
                    </a:lnTo>
                    <a:lnTo>
                      <a:pt x="313" y="97"/>
                    </a:lnTo>
                    <a:lnTo>
                      <a:pt x="308" y="94"/>
                    </a:lnTo>
                    <a:lnTo>
                      <a:pt x="317" y="97"/>
                    </a:lnTo>
                    <a:lnTo>
                      <a:pt x="324" y="100"/>
                    </a:lnTo>
                    <a:lnTo>
                      <a:pt x="321" y="99"/>
                    </a:lnTo>
                    <a:lnTo>
                      <a:pt x="317" y="96"/>
                    </a:lnTo>
                    <a:lnTo>
                      <a:pt x="314" y="96"/>
                    </a:lnTo>
                    <a:lnTo>
                      <a:pt x="311" y="92"/>
                    </a:lnTo>
                    <a:lnTo>
                      <a:pt x="314" y="92"/>
                    </a:lnTo>
                    <a:lnTo>
                      <a:pt x="317" y="92"/>
                    </a:lnTo>
                    <a:lnTo>
                      <a:pt x="321" y="91"/>
                    </a:lnTo>
                    <a:lnTo>
                      <a:pt x="325" y="92"/>
                    </a:lnTo>
                    <a:lnTo>
                      <a:pt x="329" y="94"/>
                    </a:lnTo>
                    <a:lnTo>
                      <a:pt x="332" y="92"/>
                    </a:lnTo>
                    <a:lnTo>
                      <a:pt x="336" y="94"/>
                    </a:lnTo>
                    <a:lnTo>
                      <a:pt x="336" y="96"/>
                    </a:lnTo>
                    <a:lnTo>
                      <a:pt x="340" y="97"/>
                    </a:lnTo>
                    <a:lnTo>
                      <a:pt x="336" y="96"/>
                    </a:lnTo>
                    <a:lnTo>
                      <a:pt x="336" y="94"/>
                    </a:lnTo>
                    <a:lnTo>
                      <a:pt x="340" y="92"/>
                    </a:lnTo>
                    <a:lnTo>
                      <a:pt x="341" y="92"/>
                    </a:lnTo>
                    <a:lnTo>
                      <a:pt x="344" y="94"/>
                    </a:lnTo>
                    <a:lnTo>
                      <a:pt x="341" y="92"/>
                    </a:lnTo>
                    <a:lnTo>
                      <a:pt x="344" y="91"/>
                    </a:lnTo>
                    <a:lnTo>
                      <a:pt x="348" y="91"/>
                    </a:lnTo>
                    <a:lnTo>
                      <a:pt x="352" y="92"/>
                    </a:lnTo>
                    <a:lnTo>
                      <a:pt x="348" y="91"/>
                    </a:lnTo>
                    <a:lnTo>
                      <a:pt x="348" y="91"/>
                    </a:lnTo>
                    <a:lnTo>
                      <a:pt x="344" y="89"/>
                    </a:lnTo>
                    <a:lnTo>
                      <a:pt x="341" y="88"/>
                    </a:lnTo>
                    <a:lnTo>
                      <a:pt x="336" y="89"/>
                    </a:lnTo>
                    <a:lnTo>
                      <a:pt x="333" y="91"/>
                    </a:lnTo>
                    <a:lnTo>
                      <a:pt x="330" y="91"/>
                    </a:lnTo>
                    <a:lnTo>
                      <a:pt x="325" y="89"/>
                    </a:lnTo>
                    <a:lnTo>
                      <a:pt x="322" y="91"/>
                    </a:lnTo>
                    <a:lnTo>
                      <a:pt x="319" y="91"/>
                    </a:lnTo>
                    <a:lnTo>
                      <a:pt x="316" y="89"/>
                    </a:lnTo>
                    <a:lnTo>
                      <a:pt x="317" y="88"/>
                    </a:lnTo>
                    <a:lnTo>
                      <a:pt x="319" y="88"/>
                    </a:lnTo>
                    <a:lnTo>
                      <a:pt x="319" y="84"/>
                    </a:lnTo>
                    <a:lnTo>
                      <a:pt x="325" y="83"/>
                    </a:lnTo>
                    <a:lnTo>
                      <a:pt x="332" y="81"/>
                    </a:lnTo>
                    <a:lnTo>
                      <a:pt x="338" y="81"/>
                    </a:lnTo>
                    <a:lnTo>
                      <a:pt x="344" y="83"/>
                    </a:lnTo>
                    <a:lnTo>
                      <a:pt x="341" y="81"/>
                    </a:lnTo>
                    <a:lnTo>
                      <a:pt x="340" y="81"/>
                    </a:lnTo>
                    <a:lnTo>
                      <a:pt x="336" y="80"/>
                    </a:lnTo>
                    <a:lnTo>
                      <a:pt x="340" y="78"/>
                    </a:lnTo>
                    <a:lnTo>
                      <a:pt x="348" y="80"/>
                    </a:lnTo>
                    <a:lnTo>
                      <a:pt x="343" y="78"/>
                    </a:lnTo>
                    <a:lnTo>
                      <a:pt x="348" y="75"/>
                    </a:lnTo>
                    <a:lnTo>
                      <a:pt x="343" y="75"/>
                    </a:lnTo>
                    <a:lnTo>
                      <a:pt x="341" y="72"/>
                    </a:lnTo>
                    <a:lnTo>
                      <a:pt x="346" y="69"/>
                    </a:lnTo>
                    <a:lnTo>
                      <a:pt x="349" y="67"/>
                    </a:lnTo>
                    <a:lnTo>
                      <a:pt x="352" y="67"/>
                    </a:lnTo>
                    <a:lnTo>
                      <a:pt x="356" y="67"/>
                    </a:lnTo>
                    <a:lnTo>
                      <a:pt x="354" y="62"/>
                    </a:lnTo>
                    <a:lnTo>
                      <a:pt x="356" y="59"/>
                    </a:lnTo>
                    <a:lnTo>
                      <a:pt x="357" y="56"/>
                    </a:lnTo>
                    <a:lnTo>
                      <a:pt x="360" y="56"/>
                    </a:lnTo>
                    <a:lnTo>
                      <a:pt x="363" y="58"/>
                    </a:lnTo>
                    <a:lnTo>
                      <a:pt x="367" y="61"/>
                    </a:lnTo>
                    <a:lnTo>
                      <a:pt x="367" y="64"/>
                    </a:lnTo>
                    <a:lnTo>
                      <a:pt x="367" y="62"/>
                    </a:lnTo>
                    <a:lnTo>
                      <a:pt x="368" y="59"/>
                    </a:lnTo>
                    <a:lnTo>
                      <a:pt x="371" y="61"/>
                    </a:lnTo>
                    <a:lnTo>
                      <a:pt x="376" y="61"/>
                    </a:lnTo>
                    <a:lnTo>
                      <a:pt x="379" y="61"/>
                    </a:lnTo>
                    <a:lnTo>
                      <a:pt x="376" y="61"/>
                    </a:lnTo>
                    <a:lnTo>
                      <a:pt x="373" y="59"/>
                    </a:lnTo>
                    <a:lnTo>
                      <a:pt x="368" y="58"/>
                    </a:lnTo>
                    <a:lnTo>
                      <a:pt x="365" y="54"/>
                    </a:lnTo>
                    <a:lnTo>
                      <a:pt x="370" y="53"/>
                    </a:lnTo>
                    <a:lnTo>
                      <a:pt x="373" y="53"/>
                    </a:lnTo>
                    <a:lnTo>
                      <a:pt x="376" y="56"/>
                    </a:lnTo>
                    <a:lnTo>
                      <a:pt x="381" y="59"/>
                    </a:lnTo>
                    <a:lnTo>
                      <a:pt x="384" y="59"/>
                    </a:lnTo>
                    <a:lnTo>
                      <a:pt x="389" y="59"/>
                    </a:lnTo>
                    <a:lnTo>
                      <a:pt x="387" y="64"/>
                    </a:lnTo>
                    <a:lnTo>
                      <a:pt x="390" y="62"/>
                    </a:lnTo>
                    <a:lnTo>
                      <a:pt x="390" y="58"/>
                    </a:lnTo>
                    <a:lnTo>
                      <a:pt x="386" y="58"/>
                    </a:lnTo>
                    <a:lnTo>
                      <a:pt x="382" y="59"/>
                    </a:lnTo>
                    <a:lnTo>
                      <a:pt x="379" y="54"/>
                    </a:lnTo>
                    <a:lnTo>
                      <a:pt x="382" y="53"/>
                    </a:lnTo>
                    <a:lnTo>
                      <a:pt x="386" y="53"/>
                    </a:lnTo>
                    <a:lnTo>
                      <a:pt x="382" y="53"/>
                    </a:lnTo>
                    <a:lnTo>
                      <a:pt x="378" y="53"/>
                    </a:lnTo>
                    <a:lnTo>
                      <a:pt x="379" y="50"/>
                    </a:lnTo>
                    <a:lnTo>
                      <a:pt x="379" y="48"/>
                    </a:lnTo>
                    <a:lnTo>
                      <a:pt x="382" y="46"/>
                    </a:lnTo>
                    <a:lnTo>
                      <a:pt x="386" y="45"/>
                    </a:lnTo>
                    <a:lnTo>
                      <a:pt x="389" y="45"/>
                    </a:lnTo>
                    <a:lnTo>
                      <a:pt x="394" y="43"/>
                    </a:lnTo>
                    <a:lnTo>
                      <a:pt x="397" y="43"/>
                    </a:lnTo>
                    <a:lnTo>
                      <a:pt x="397" y="46"/>
                    </a:lnTo>
                    <a:lnTo>
                      <a:pt x="398" y="50"/>
                    </a:lnTo>
                    <a:lnTo>
                      <a:pt x="397" y="54"/>
                    </a:lnTo>
                    <a:lnTo>
                      <a:pt x="395" y="58"/>
                    </a:lnTo>
                    <a:lnTo>
                      <a:pt x="398" y="54"/>
                    </a:lnTo>
                    <a:lnTo>
                      <a:pt x="400" y="51"/>
                    </a:lnTo>
                    <a:lnTo>
                      <a:pt x="405" y="51"/>
                    </a:lnTo>
                    <a:lnTo>
                      <a:pt x="405" y="51"/>
                    </a:lnTo>
                    <a:lnTo>
                      <a:pt x="405" y="51"/>
                    </a:lnTo>
                    <a:lnTo>
                      <a:pt x="400" y="50"/>
                    </a:lnTo>
                    <a:lnTo>
                      <a:pt x="400" y="46"/>
                    </a:lnTo>
                    <a:lnTo>
                      <a:pt x="403" y="43"/>
                    </a:lnTo>
                    <a:lnTo>
                      <a:pt x="405" y="45"/>
                    </a:lnTo>
                    <a:lnTo>
                      <a:pt x="406" y="42"/>
                    </a:lnTo>
                    <a:lnTo>
                      <a:pt x="409" y="42"/>
                    </a:lnTo>
                    <a:lnTo>
                      <a:pt x="411" y="38"/>
                    </a:lnTo>
                    <a:lnTo>
                      <a:pt x="414" y="40"/>
                    </a:lnTo>
                    <a:lnTo>
                      <a:pt x="413" y="45"/>
                    </a:lnTo>
                    <a:lnTo>
                      <a:pt x="413" y="48"/>
                    </a:lnTo>
                    <a:lnTo>
                      <a:pt x="413" y="51"/>
                    </a:lnTo>
                    <a:lnTo>
                      <a:pt x="413" y="56"/>
                    </a:lnTo>
                    <a:lnTo>
                      <a:pt x="409" y="58"/>
                    </a:lnTo>
                    <a:lnTo>
                      <a:pt x="405" y="61"/>
                    </a:lnTo>
                    <a:lnTo>
                      <a:pt x="405" y="62"/>
                    </a:lnTo>
                    <a:lnTo>
                      <a:pt x="405" y="62"/>
                    </a:lnTo>
                    <a:lnTo>
                      <a:pt x="409" y="59"/>
                    </a:lnTo>
                    <a:lnTo>
                      <a:pt x="413" y="58"/>
                    </a:lnTo>
                    <a:lnTo>
                      <a:pt x="414" y="54"/>
                    </a:lnTo>
                    <a:lnTo>
                      <a:pt x="416" y="51"/>
                    </a:lnTo>
                    <a:lnTo>
                      <a:pt x="421" y="53"/>
                    </a:lnTo>
                    <a:lnTo>
                      <a:pt x="424" y="54"/>
                    </a:lnTo>
                    <a:lnTo>
                      <a:pt x="427" y="54"/>
                    </a:lnTo>
                    <a:lnTo>
                      <a:pt x="424" y="53"/>
                    </a:lnTo>
                    <a:lnTo>
                      <a:pt x="421" y="51"/>
                    </a:lnTo>
                    <a:lnTo>
                      <a:pt x="419" y="46"/>
                    </a:lnTo>
                    <a:lnTo>
                      <a:pt x="422" y="45"/>
                    </a:lnTo>
                    <a:lnTo>
                      <a:pt x="425" y="40"/>
                    </a:lnTo>
                    <a:lnTo>
                      <a:pt x="430" y="38"/>
                    </a:lnTo>
                    <a:lnTo>
                      <a:pt x="427" y="42"/>
                    </a:lnTo>
                    <a:lnTo>
                      <a:pt x="430" y="45"/>
                    </a:lnTo>
                    <a:lnTo>
                      <a:pt x="432" y="45"/>
                    </a:lnTo>
                    <a:lnTo>
                      <a:pt x="433" y="42"/>
                    </a:lnTo>
                    <a:lnTo>
                      <a:pt x="436" y="43"/>
                    </a:lnTo>
                    <a:lnTo>
                      <a:pt x="435" y="38"/>
                    </a:lnTo>
                    <a:lnTo>
                      <a:pt x="436" y="37"/>
                    </a:lnTo>
                    <a:lnTo>
                      <a:pt x="440" y="37"/>
                    </a:lnTo>
                    <a:lnTo>
                      <a:pt x="443" y="37"/>
                    </a:lnTo>
                    <a:lnTo>
                      <a:pt x="446" y="40"/>
                    </a:lnTo>
                    <a:lnTo>
                      <a:pt x="451" y="42"/>
                    </a:lnTo>
                    <a:lnTo>
                      <a:pt x="452" y="43"/>
                    </a:lnTo>
                    <a:lnTo>
                      <a:pt x="455" y="45"/>
                    </a:lnTo>
                    <a:lnTo>
                      <a:pt x="460" y="46"/>
                    </a:lnTo>
                    <a:lnTo>
                      <a:pt x="457" y="43"/>
                    </a:lnTo>
                    <a:lnTo>
                      <a:pt x="454" y="43"/>
                    </a:lnTo>
                    <a:lnTo>
                      <a:pt x="457" y="42"/>
                    </a:lnTo>
                    <a:lnTo>
                      <a:pt x="454" y="42"/>
                    </a:lnTo>
                    <a:lnTo>
                      <a:pt x="454" y="37"/>
                    </a:lnTo>
                    <a:lnTo>
                      <a:pt x="457" y="38"/>
                    </a:lnTo>
                    <a:lnTo>
                      <a:pt x="457" y="37"/>
                    </a:lnTo>
                    <a:lnTo>
                      <a:pt x="455" y="37"/>
                    </a:lnTo>
                    <a:lnTo>
                      <a:pt x="451" y="35"/>
                    </a:lnTo>
                    <a:lnTo>
                      <a:pt x="455" y="34"/>
                    </a:lnTo>
                    <a:lnTo>
                      <a:pt x="451" y="34"/>
                    </a:lnTo>
                    <a:lnTo>
                      <a:pt x="448" y="35"/>
                    </a:lnTo>
                    <a:lnTo>
                      <a:pt x="444" y="34"/>
                    </a:lnTo>
                    <a:lnTo>
                      <a:pt x="441" y="31"/>
                    </a:lnTo>
                    <a:lnTo>
                      <a:pt x="436" y="32"/>
                    </a:lnTo>
                    <a:lnTo>
                      <a:pt x="433" y="29"/>
                    </a:lnTo>
                    <a:lnTo>
                      <a:pt x="436" y="29"/>
                    </a:lnTo>
                    <a:lnTo>
                      <a:pt x="441" y="31"/>
                    </a:lnTo>
                    <a:lnTo>
                      <a:pt x="441" y="26"/>
                    </a:lnTo>
                    <a:lnTo>
                      <a:pt x="446" y="29"/>
                    </a:lnTo>
                    <a:lnTo>
                      <a:pt x="449" y="31"/>
                    </a:lnTo>
                    <a:lnTo>
                      <a:pt x="451" y="27"/>
                    </a:lnTo>
                    <a:lnTo>
                      <a:pt x="454" y="26"/>
                    </a:lnTo>
                    <a:lnTo>
                      <a:pt x="457" y="29"/>
                    </a:lnTo>
                    <a:lnTo>
                      <a:pt x="462" y="27"/>
                    </a:lnTo>
                    <a:lnTo>
                      <a:pt x="462" y="31"/>
                    </a:lnTo>
                    <a:lnTo>
                      <a:pt x="465" y="32"/>
                    </a:lnTo>
                    <a:lnTo>
                      <a:pt x="468" y="32"/>
                    </a:lnTo>
                    <a:lnTo>
                      <a:pt x="465" y="32"/>
                    </a:lnTo>
                    <a:lnTo>
                      <a:pt x="463" y="29"/>
                    </a:lnTo>
                    <a:lnTo>
                      <a:pt x="467" y="29"/>
                    </a:lnTo>
                    <a:lnTo>
                      <a:pt x="470" y="31"/>
                    </a:lnTo>
                    <a:lnTo>
                      <a:pt x="474" y="29"/>
                    </a:lnTo>
                    <a:lnTo>
                      <a:pt x="478" y="31"/>
                    </a:lnTo>
                    <a:lnTo>
                      <a:pt x="476" y="34"/>
                    </a:lnTo>
                    <a:lnTo>
                      <a:pt x="473" y="34"/>
                    </a:lnTo>
                    <a:lnTo>
                      <a:pt x="468" y="34"/>
                    </a:lnTo>
                    <a:lnTo>
                      <a:pt x="465" y="35"/>
                    </a:lnTo>
                    <a:lnTo>
                      <a:pt x="468" y="35"/>
                    </a:lnTo>
                    <a:lnTo>
                      <a:pt x="473" y="34"/>
                    </a:lnTo>
                    <a:lnTo>
                      <a:pt x="476" y="34"/>
                    </a:lnTo>
                    <a:lnTo>
                      <a:pt x="479" y="32"/>
                    </a:lnTo>
                    <a:lnTo>
                      <a:pt x="481" y="35"/>
                    </a:lnTo>
                    <a:lnTo>
                      <a:pt x="484" y="37"/>
                    </a:lnTo>
                    <a:lnTo>
                      <a:pt x="486" y="37"/>
                    </a:lnTo>
                    <a:lnTo>
                      <a:pt x="484" y="38"/>
                    </a:lnTo>
                    <a:lnTo>
                      <a:pt x="487" y="38"/>
                    </a:lnTo>
                    <a:lnTo>
                      <a:pt x="492" y="37"/>
                    </a:lnTo>
                    <a:lnTo>
                      <a:pt x="495" y="37"/>
                    </a:lnTo>
                    <a:lnTo>
                      <a:pt x="495" y="37"/>
                    </a:lnTo>
                    <a:lnTo>
                      <a:pt x="490" y="37"/>
                    </a:lnTo>
                    <a:lnTo>
                      <a:pt x="487" y="34"/>
                    </a:lnTo>
                    <a:lnTo>
                      <a:pt x="490" y="31"/>
                    </a:lnTo>
                    <a:lnTo>
                      <a:pt x="487" y="29"/>
                    </a:lnTo>
                    <a:lnTo>
                      <a:pt x="490" y="29"/>
                    </a:lnTo>
                    <a:lnTo>
                      <a:pt x="494" y="29"/>
                    </a:lnTo>
                    <a:lnTo>
                      <a:pt x="490" y="27"/>
                    </a:lnTo>
                    <a:lnTo>
                      <a:pt x="494" y="27"/>
                    </a:lnTo>
                    <a:lnTo>
                      <a:pt x="495" y="24"/>
                    </a:lnTo>
                    <a:lnTo>
                      <a:pt x="498" y="23"/>
                    </a:lnTo>
                    <a:lnTo>
                      <a:pt x="501" y="19"/>
                    </a:lnTo>
                    <a:lnTo>
                      <a:pt x="506" y="19"/>
                    </a:lnTo>
                    <a:lnTo>
                      <a:pt x="509" y="19"/>
                    </a:lnTo>
                    <a:lnTo>
                      <a:pt x="513" y="19"/>
                    </a:lnTo>
                    <a:lnTo>
                      <a:pt x="511" y="16"/>
                    </a:lnTo>
                    <a:lnTo>
                      <a:pt x="514" y="15"/>
                    </a:lnTo>
                    <a:lnTo>
                      <a:pt x="517" y="15"/>
                    </a:lnTo>
                    <a:lnTo>
                      <a:pt x="520" y="13"/>
                    </a:lnTo>
                    <a:lnTo>
                      <a:pt x="517" y="12"/>
                    </a:lnTo>
                    <a:lnTo>
                      <a:pt x="514" y="12"/>
                    </a:lnTo>
                    <a:lnTo>
                      <a:pt x="511" y="10"/>
                    </a:lnTo>
                    <a:lnTo>
                      <a:pt x="514" y="8"/>
                    </a:lnTo>
                    <a:lnTo>
                      <a:pt x="519" y="10"/>
                    </a:lnTo>
                    <a:lnTo>
                      <a:pt x="522" y="7"/>
                    </a:lnTo>
                    <a:lnTo>
                      <a:pt x="519" y="7"/>
                    </a:lnTo>
                    <a:lnTo>
                      <a:pt x="519" y="4"/>
                    </a:lnTo>
                    <a:lnTo>
                      <a:pt x="522" y="4"/>
                    </a:lnTo>
                    <a:lnTo>
                      <a:pt x="527" y="5"/>
                    </a:lnTo>
                    <a:lnTo>
                      <a:pt x="530" y="5"/>
                    </a:lnTo>
                    <a:lnTo>
                      <a:pt x="533" y="7"/>
                    </a:lnTo>
                    <a:lnTo>
                      <a:pt x="536" y="10"/>
                    </a:lnTo>
                    <a:lnTo>
                      <a:pt x="539" y="8"/>
                    </a:lnTo>
                    <a:lnTo>
                      <a:pt x="538" y="5"/>
                    </a:lnTo>
                    <a:lnTo>
                      <a:pt x="541" y="5"/>
                    </a:lnTo>
                    <a:lnTo>
                      <a:pt x="544" y="7"/>
                    </a:lnTo>
                    <a:lnTo>
                      <a:pt x="549" y="8"/>
                    </a:lnTo>
                    <a:lnTo>
                      <a:pt x="552" y="7"/>
                    </a:lnTo>
                    <a:lnTo>
                      <a:pt x="549" y="10"/>
                    </a:lnTo>
                    <a:lnTo>
                      <a:pt x="546" y="12"/>
                    </a:lnTo>
                    <a:lnTo>
                      <a:pt x="543" y="15"/>
                    </a:lnTo>
                    <a:lnTo>
                      <a:pt x="539" y="16"/>
                    </a:lnTo>
                    <a:lnTo>
                      <a:pt x="535" y="18"/>
                    </a:lnTo>
                    <a:lnTo>
                      <a:pt x="533" y="21"/>
                    </a:lnTo>
                    <a:lnTo>
                      <a:pt x="536" y="21"/>
                    </a:lnTo>
                    <a:lnTo>
                      <a:pt x="538" y="24"/>
                    </a:lnTo>
                    <a:lnTo>
                      <a:pt x="535" y="24"/>
                    </a:lnTo>
                    <a:lnTo>
                      <a:pt x="535" y="27"/>
                    </a:lnTo>
                    <a:lnTo>
                      <a:pt x="532" y="29"/>
                    </a:lnTo>
                    <a:lnTo>
                      <a:pt x="532" y="32"/>
                    </a:lnTo>
                    <a:lnTo>
                      <a:pt x="535" y="32"/>
                    </a:lnTo>
                    <a:lnTo>
                      <a:pt x="538" y="34"/>
                    </a:lnTo>
                    <a:lnTo>
                      <a:pt x="541" y="31"/>
                    </a:lnTo>
                    <a:lnTo>
                      <a:pt x="544" y="27"/>
                    </a:lnTo>
                    <a:lnTo>
                      <a:pt x="543" y="24"/>
                    </a:lnTo>
                    <a:lnTo>
                      <a:pt x="557" y="13"/>
                    </a:lnTo>
                    <a:lnTo>
                      <a:pt x="571" y="5"/>
                    </a:lnTo>
                    <a:lnTo>
                      <a:pt x="573" y="8"/>
                    </a:lnTo>
                    <a:lnTo>
                      <a:pt x="574" y="12"/>
                    </a:lnTo>
                    <a:lnTo>
                      <a:pt x="570" y="13"/>
                    </a:lnTo>
                    <a:lnTo>
                      <a:pt x="566" y="15"/>
                    </a:lnTo>
                    <a:lnTo>
                      <a:pt x="570" y="15"/>
                    </a:lnTo>
                    <a:lnTo>
                      <a:pt x="573" y="18"/>
                    </a:lnTo>
                    <a:lnTo>
                      <a:pt x="571" y="21"/>
                    </a:lnTo>
                    <a:lnTo>
                      <a:pt x="571" y="24"/>
                    </a:lnTo>
                    <a:lnTo>
                      <a:pt x="574" y="24"/>
                    </a:lnTo>
                    <a:lnTo>
                      <a:pt x="578" y="21"/>
                    </a:lnTo>
                    <a:lnTo>
                      <a:pt x="581" y="21"/>
                    </a:lnTo>
                    <a:lnTo>
                      <a:pt x="584" y="21"/>
                    </a:lnTo>
                    <a:lnTo>
                      <a:pt x="582" y="16"/>
                    </a:lnTo>
                    <a:lnTo>
                      <a:pt x="585" y="16"/>
                    </a:lnTo>
                    <a:lnTo>
                      <a:pt x="589" y="18"/>
                    </a:lnTo>
                    <a:lnTo>
                      <a:pt x="585" y="16"/>
                    </a:lnTo>
                    <a:lnTo>
                      <a:pt x="584" y="12"/>
                    </a:lnTo>
                    <a:lnTo>
                      <a:pt x="589" y="12"/>
                    </a:lnTo>
                    <a:lnTo>
                      <a:pt x="592" y="10"/>
                    </a:lnTo>
                    <a:lnTo>
                      <a:pt x="595" y="10"/>
                    </a:lnTo>
                    <a:lnTo>
                      <a:pt x="592" y="7"/>
                    </a:lnTo>
                    <a:lnTo>
                      <a:pt x="589" y="7"/>
                    </a:lnTo>
                    <a:lnTo>
                      <a:pt x="585" y="7"/>
                    </a:lnTo>
                    <a:lnTo>
                      <a:pt x="589" y="5"/>
                    </a:lnTo>
                    <a:lnTo>
                      <a:pt x="592" y="2"/>
                    </a:lnTo>
                    <a:lnTo>
                      <a:pt x="595" y="0"/>
                    </a:lnTo>
                    <a:lnTo>
                      <a:pt x="600" y="2"/>
                    </a:lnTo>
                    <a:lnTo>
                      <a:pt x="603" y="2"/>
                    </a:lnTo>
                    <a:lnTo>
                      <a:pt x="606" y="0"/>
                    </a:lnTo>
                    <a:lnTo>
                      <a:pt x="609" y="0"/>
                    </a:lnTo>
                    <a:lnTo>
                      <a:pt x="611" y="4"/>
                    </a:lnTo>
                    <a:lnTo>
                      <a:pt x="614" y="4"/>
                    </a:lnTo>
                    <a:lnTo>
                      <a:pt x="617" y="4"/>
                    </a:lnTo>
                    <a:lnTo>
                      <a:pt x="619" y="7"/>
                    </a:lnTo>
                    <a:lnTo>
                      <a:pt x="609" y="10"/>
                    </a:lnTo>
                    <a:lnTo>
                      <a:pt x="603" y="12"/>
                    </a:lnTo>
                    <a:lnTo>
                      <a:pt x="608" y="12"/>
                    </a:lnTo>
                    <a:lnTo>
                      <a:pt x="611" y="13"/>
                    </a:lnTo>
                    <a:lnTo>
                      <a:pt x="608" y="13"/>
                    </a:lnTo>
                    <a:lnTo>
                      <a:pt x="605" y="15"/>
                    </a:lnTo>
                    <a:lnTo>
                      <a:pt x="600" y="16"/>
                    </a:lnTo>
                    <a:lnTo>
                      <a:pt x="605" y="16"/>
                    </a:lnTo>
                    <a:lnTo>
                      <a:pt x="608" y="15"/>
                    </a:lnTo>
                    <a:lnTo>
                      <a:pt x="612" y="13"/>
                    </a:lnTo>
                    <a:lnTo>
                      <a:pt x="616" y="15"/>
                    </a:lnTo>
                    <a:lnTo>
                      <a:pt x="612" y="18"/>
                    </a:lnTo>
                    <a:lnTo>
                      <a:pt x="608" y="19"/>
                    </a:lnTo>
                    <a:lnTo>
                      <a:pt x="605" y="21"/>
                    </a:lnTo>
                    <a:lnTo>
                      <a:pt x="608" y="21"/>
                    </a:lnTo>
                    <a:lnTo>
                      <a:pt x="611" y="21"/>
                    </a:lnTo>
                    <a:lnTo>
                      <a:pt x="614" y="19"/>
                    </a:lnTo>
                    <a:lnTo>
                      <a:pt x="617" y="21"/>
                    </a:lnTo>
                    <a:lnTo>
                      <a:pt x="614" y="24"/>
                    </a:lnTo>
                    <a:lnTo>
                      <a:pt x="614" y="27"/>
                    </a:lnTo>
                    <a:lnTo>
                      <a:pt x="614" y="27"/>
                    </a:lnTo>
                    <a:lnTo>
                      <a:pt x="616" y="23"/>
                    </a:lnTo>
                    <a:lnTo>
                      <a:pt x="619" y="21"/>
                    </a:lnTo>
                    <a:lnTo>
                      <a:pt x="624" y="19"/>
                    </a:lnTo>
                    <a:lnTo>
                      <a:pt x="619" y="19"/>
                    </a:lnTo>
                    <a:lnTo>
                      <a:pt x="620" y="15"/>
                    </a:lnTo>
                    <a:lnTo>
                      <a:pt x="622" y="12"/>
                    </a:lnTo>
                    <a:lnTo>
                      <a:pt x="625" y="10"/>
                    </a:lnTo>
                    <a:lnTo>
                      <a:pt x="628" y="7"/>
                    </a:lnTo>
                    <a:lnTo>
                      <a:pt x="631" y="7"/>
                    </a:lnTo>
                    <a:lnTo>
                      <a:pt x="636" y="8"/>
                    </a:lnTo>
                    <a:lnTo>
                      <a:pt x="639" y="8"/>
                    </a:lnTo>
                    <a:lnTo>
                      <a:pt x="643" y="12"/>
                    </a:lnTo>
                    <a:lnTo>
                      <a:pt x="641" y="15"/>
                    </a:lnTo>
                    <a:lnTo>
                      <a:pt x="646" y="13"/>
                    </a:lnTo>
                    <a:lnTo>
                      <a:pt x="652" y="12"/>
                    </a:lnTo>
                    <a:lnTo>
                      <a:pt x="654" y="16"/>
                    </a:lnTo>
                    <a:lnTo>
                      <a:pt x="658" y="13"/>
                    </a:lnTo>
                    <a:lnTo>
                      <a:pt x="658" y="13"/>
                    </a:lnTo>
                    <a:lnTo>
                      <a:pt x="663" y="15"/>
                    </a:lnTo>
                    <a:lnTo>
                      <a:pt x="666" y="18"/>
                    </a:lnTo>
                    <a:lnTo>
                      <a:pt x="663" y="19"/>
                    </a:lnTo>
                    <a:lnTo>
                      <a:pt x="666" y="19"/>
                    </a:lnTo>
                    <a:lnTo>
                      <a:pt x="670" y="18"/>
                    </a:lnTo>
                    <a:lnTo>
                      <a:pt x="673" y="18"/>
                    </a:lnTo>
                    <a:lnTo>
                      <a:pt x="677" y="19"/>
                    </a:lnTo>
                    <a:lnTo>
                      <a:pt x="681" y="23"/>
                    </a:lnTo>
                    <a:lnTo>
                      <a:pt x="684" y="21"/>
                    </a:lnTo>
                    <a:lnTo>
                      <a:pt x="689" y="24"/>
                    </a:lnTo>
                    <a:lnTo>
                      <a:pt x="687" y="27"/>
                    </a:lnTo>
                    <a:lnTo>
                      <a:pt x="674" y="29"/>
                    </a:lnTo>
                    <a:lnTo>
                      <a:pt x="670" y="32"/>
                    </a:lnTo>
                    <a:lnTo>
                      <a:pt x="666" y="34"/>
                    </a:lnTo>
                    <a:lnTo>
                      <a:pt x="658" y="35"/>
                    </a:lnTo>
                    <a:lnTo>
                      <a:pt x="655" y="34"/>
                    </a:lnTo>
                    <a:lnTo>
                      <a:pt x="651" y="34"/>
                    </a:lnTo>
                    <a:lnTo>
                      <a:pt x="647" y="34"/>
                    </a:lnTo>
                    <a:lnTo>
                      <a:pt x="643" y="34"/>
                    </a:lnTo>
                    <a:lnTo>
                      <a:pt x="639" y="32"/>
                    </a:lnTo>
                    <a:lnTo>
                      <a:pt x="636" y="32"/>
                    </a:lnTo>
                    <a:lnTo>
                      <a:pt x="631" y="32"/>
                    </a:lnTo>
                    <a:lnTo>
                      <a:pt x="628" y="34"/>
                    </a:lnTo>
                    <a:lnTo>
                      <a:pt x="631" y="34"/>
                    </a:lnTo>
                    <a:lnTo>
                      <a:pt x="636" y="35"/>
                    </a:lnTo>
                    <a:lnTo>
                      <a:pt x="639" y="35"/>
                    </a:lnTo>
                    <a:lnTo>
                      <a:pt x="644" y="37"/>
                    </a:lnTo>
                    <a:lnTo>
                      <a:pt x="647" y="37"/>
                    </a:lnTo>
                    <a:lnTo>
                      <a:pt x="651" y="37"/>
                    </a:lnTo>
                    <a:lnTo>
                      <a:pt x="654" y="38"/>
                    </a:lnTo>
                    <a:lnTo>
                      <a:pt x="651" y="40"/>
                    </a:lnTo>
                    <a:lnTo>
                      <a:pt x="654" y="40"/>
                    </a:lnTo>
                    <a:lnTo>
                      <a:pt x="657" y="40"/>
                    </a:lnTo>
                    <a:lnTo>
                      <a:pt x="658" y="43"/>
                    </a:lnTo>
                    <a:lnTo>
                      <a:pt x="654" y="46"/>
                    </a:lnTo>
                    <a:lnTo>
                      <a:pt x="658" y="46"/>
                    </a:lnTo>
                    <a:lnTo>
                      <a:pt x="662" y="46"/>
                    </a:lnTo>
                    <a:lnTo>
                      <a:pt x="663" y="45"/>
                    </a:lnTo>
                    <a:lnTo>
                      <a:pt x="665" y="46"/>
                    </a:lnTo>
                    <a:lnTo>
                      <a:pt x="665" y="48"/>
                    </a:lnTo>
                    <a:lnTo>
                      <a:pt x="665" y="46"/>
                    </a:lnTo>
                    <a:lnTo>
                      <a:pt x="668" y="48"/>
                    </a:lnTo>
                    <a:lnTo>
                      <a:pt x="668" y="46"/>
                    </a:lnTo>
                    <a:lnTo>
                      <a:pt x="668" y="42"/>
                    </a:lnTo>
                    <a:lnTo>
                      <a:pt x="671" y="43"/>
                    </a:lnTo>
                    <a:lnTo>
                      <a:pt x="674" y="43"/>
                    </a:lnTo>
                    <a:lnTo>
                      <a:pt x="677" y="46"/>
                    </a:lnTo>
                    <a:lnTo>
                      <a:pt x="679" y="43"/>
                    </a:lnTo>
                    <a:lnTo>
                      <a:pt x="682" y="43"/>
                    </a:lnTo>
                    <a:lnTo>
                      <a:pt x="685" y="45"/>
                    </a:lnTo>
                    <a:lnTo>
                      <a:pt x="689" y="48"/>
                    </a:lnTo>
                    <a:lnTo>
                      <a:pt x="690" y="51"/>
                    </a:lnTo>
                    <a:lnTo>
                      <a:pt x="685" y="53"/>
                    </a:lnTo>
                    <a:lnTo>
                      <a:pt x="681" y="53"/>
                    </a:lnTo>
                    <a:lnTo>
                      <a:pt x="674" y="51"/>
                    </a:lnTo>
                    <a:lnTo>
                      <a:pt x="670" y="50"/>
                    </a:lnTo>
                    <a:lnTo>
                      <a:pt x="671" y="51"/>
                    </a:lnTo>
                    <a:lnTo>
                      <a:pt x="670" y="54"/>
                    </a:lnTo>
                    <a:lnTo>
                      <a:pt x="666" y="58"/>
                    </a:lnTo>
                    <a:lnTo>
                      <a:pt x="666" y="58"/>
                    </a:lnTo>
                    <a:lnTo>
                      <a:pt x="658" y="59"/>
                    </a:lnTo>
                    <a:lnTo>
                      <a:pt x="651" y="62"/>
                    </a:lnTo>
                    <a:lnTo>
                      <a:pt x="651" y="65"/>
                    </a:lnTo>
                    <a:lnTo>
                      <a:pt x="649" y="67"/>
                    </a:lnTo>
                    <a:lnTo>
                      <a:pt x="646" y="70"/>
                    </a:lnTo>
                    <a:lnTo>
                      <a:pt x="643" y="72"/>
                    </a:lnTo>
                    <a:lnTo>
                      <a:pt x="643" y="70"/>
                    </a:lnTo>
                    <a:lnTo>
                      <a:pt x="638" y="69"/>
                    </a:lnTo>
                    <a:lnTo>
                      <a:pt x="638" y="64"/>
                    </a:lnTo>
                    <a:lnTo>
                      <a:pt x="643" y="61"/>
                    </a:lnTo>
                    <a:lnTo>
                      <a:pt x="647" y="58"/>
                    </a:lnTo>
                    <a:lnTo>
                      <a:pt x="646" y="53"/>
                    </a:lnTo>
                    <a:lnTo>
                      <a:pt x="643" y="48"/>
                    </a:lnTo>
                    <a:lnTo>
                      <a:pt x="643" y="48"/>
                    </a:lnTo>
                    <a:lnTo>
                      <a:pt x="636" y="46"/>
                    </a:lnTo>
                    <a:lnTo>
                      <a:pt x="630" y="45"/>
                    </a:lnTo>
                    <a:lnTo>
                      <a:pt x="622" y="42"/>
                    </a:lnTo>
                    <a:lnTo>
                      <a:pt x="616" y="40"/>
                    </a:lnTo>
                    <a:lnTo>
                      <a:pt x="611" y="37"/>
                    </a:lnTo>
                    <a:lnTo>
                      <a:pt x="608" y="34"/>
                    </a:lnTo>
                    <a:lnTo>
                      <a:pt x="605" y="35"/>
                    </a:lnTo>
                    <a:lnTo>
                      <a:pt x="600" y="35"/>
                    </a:lnTo>
                    <a:lnTo>
                      <a:pt x="597" y="37"/>
                    </a:lnTo>
                    <a:lnTo>
                      <a:pt x="597" y="37"/>
                    </a:lnTo>
                    <a:lnTo>
                      <a:pt x="592" y="40"/>
                    </a:lnTo>
                    <a:lnTo>
                      <a:pt x="589" y="40"/>
                    </a:lnTo>
                    <a:lnTo>
                      <a:pt x="585" y="40"/>
                    </a:lnTo>
                    <a:lnTo>
                      <a:pt x="581" y="38"/>
                    </a:lnTo>
                    <a:lnTo>
                      <a:pt x="578" y="38"/>
                    </a:lnTo>
                    <a:lnTo>
                      <a:pt x="574" y="40"/>
                    </a:lnTo>
                    <a:lnTo>
                      <a:pt x="571" y="43"/>
                    </a:lnTo>
                    <a:lnTo>
                      <a:pt x="568" y="45"/>
                    </a:lnTo>
                    <a:lnTo>
                      <a:pt x="563" y="46"/>
                    </a:lnTo>
                    <a:lnTo>
                      <a:pt x="560" y="50"/>
                    </a:lnTo>
                    <a:lnTo>
                      <a:pt x="560" y="50"/>
                    </a:lnTo>
                    <a:lnTo>
                      <a:pt x="559" y="53"/>
                    </a:lnTo>
                    <a:lnTo>
                      <a:pt x="557" y="58"/>
                    </a:lnTo>
                    <a:lnTo>
                      <a:pt x="559" y="58"/>
                    </a:lnTo>
                    <a:lnTo>
                      <a:pt x="557" y="62"/>
                    </a:lnTo>
                    <a:lnTo>
                      <a:pt x="557" y="65"/>
                    </a:lnTo>
                    <a:lnTo>
                      <a:pt x="557" y="69"/>
                    </a:lnTo>
                    <a:lnTo>
                      <a:pt x="557" y="72"/>
                    </a:lnTo>
                    <a:lnTo>
                      <a:pt x="554" y="75"/>
                    </a:lnTo>
                    <a:lnTo>
                      <a:pt x="551" y="75"/>
                    </a:lnTo>
                    <a:lnTo>
                      <a:pt x="549" y="75"/>
                    </a:lnTo>
                    <a:lnTo>
                      <a:pt x="546" y="77"/>
                    </a:lnTo>
                    <a:lnTo>
                      <a:pt x="543" y="80"/>
                    </a:lnTo>
                    <a:lnTo>
                      <a:pt x="543" y="84"/>
                    </a:lnTo>
                    <a:lnTo>
                      <a:pt x="539" y="84"/>
                    </a:lnTo>
                    <a:lnTo>
                      <a:pt x="538" y="86"/>
                    </a:lnTo>
                    <a:lnTo>
                      <a:pt x="535" y="84"/>
                    </a:lnTo>
                    <a:lnTo>
                      <a:pt x="532" y="83"/>
                    </a:lnTo>
                    <a:lnTo>
                      <a:pt x="527" y="83"/>
                    </a:lnTo>
                    <a:lnTo>
                      <a:pt x="524" y="81"/>
                    </a:lnTo>
                    <a:lnTo>
                      <a:pt x="519" y="81"/>
                    </a:lnTo>
                    <a:lnTo>
                      <a:pt x="514" y="78"/>
                    </a:lnTo>
                    <a:lnTo>
                      <a:pt x="511" y="78"/>
                    </a:lnTo>
                    <a:lnTo>
                      <a:pt x="506" y="78"/>
                    </a:lnTo>
                    <a:lnTo>
                      <a:pt x="505" y="81"/>
                    </a:lnTo>
                    <a:lnTo>
                      <a:pt x="500" y="81"/>
                    </a:lnTo>
                    <a:lnTo>
                      <a:pt x="495" y="83"/>
                    </a:lnTo>
                    <a:lnTo>
                      <a:pt x="492" y="84"/>
                    </a:lnTo>
                    <a:lnTo>
                      <a:pt x="486" y="83"/>
                    </a:lnTo>
                    <a:lnTo>
                      <a:pt x="482" y="83"/>
                    </a:lnTo>
                    <a:lnTo>
                      <a:pt x="476" y="81"/>
                    </a:lnTo>
                    <a:lnTo>
                      <a:pt x="471" y="81"/>
                    </a:lnTo>
                    <a:lnTo>
                      <a:pt x="468" y="77"/>
                    </a:lnTo>
                    <a:lnTo>
                      <a:pt x="463" y="73"/>
                    </a:lnTo>
                    <a:lnTo>
                      <a:pt x="460" y="70"/>
                    </a:lnTo>
                    <a:lnTo>
                      <a:pt x="457" y="69"/>
                    </a:lnTo>
                    <a:lnTo>
                      <a:pt x="455" y="69"/>
                    </a:lnTo>
                    <a:lnTo>
                      <a:pt x="449" y="62"/>
                    </a:lnTo>
                    <a:lnTo>
                      <a:pt x="444" y="61"/>
                    </a:lnTo>
                    <a:lnTo>
                      <a:pt x="440" y="61"/>
                    </a:lnTo>
                    <a:lnTo>
                      <a:pt x="433" y="65"/>
                    </a:lnTo>
                    <a:lnTo>
                      <a:pt x="436" y="69"/>
                    </a:lnTo>
                    <a:lnTo>
                      <a:pt x="432" y="70"/>
                    </a:lnTo>
                    <a:lnTo>
                      <a:pt x="427" y="67"/>
                    </a:lnTo>
                    <a:lnTo>
                      <a:pt x="422" y="70"/>
                    </a:lnTo>
                    <a:lnTo>
                      <a:pt x="416" y="70"/>
                    </a:lnTo>
                    <a:lnTo>
                      <a:pt x="411" y="72"/>
                    </a:lnTo>
                    <a:lnTo>
                      <a:pt x="416" y="75"/>
                    </a:lnTo>
                    <a:lnTo>
                      <a:pt x="416" y="78"/>
                    </a:lnTo>
                    <a:lnTo>
                      <a:pt x="416" y="78"/>
                    </a:lnTo>
                    <a:lnTo>
                      <a:pt x="413" y="83"/>
                    </a:lnTo>
                    <a:lnTo>
                      <a:pt x="408" y="88"/>
                    </a:lnTo>
                    <a:lnTo>
                      <a:pt x="411" y="88"/>
                    </a:lnTo>
                    <a:lnTo>
                      <a:pt x="414" y="89"/>
                    </a:lnTo>
                    <a:lnTo>
                      <a:pt x="411" y="92"/>
                    </a:lnTo>
                    <a:lnTo>
                      <a:pt x="408" y="94"/>
                    </a:lnTo>
                    <a:lnTo>
                      <a:pt x="392" y="91"/>
                    </a:lnTo>
                    <a:lnTo>
                      <a:pt x="381" y="89"/>
                    </a:lnTo>
                    <a:lnTo>
                      <a:pt x="373" y="89"/>
                    </a:lnTo>
                    <a:lnTo>
                      <a:pt x="367" y="86"/>
                    </a:lnTo>
                    <a:lnTo>
                      <a:pt x="359" y="88"/>
                    </a:lnTo>
                    <a:lnTo>
                      <a:pt x="359" y="91"/>
                    </a:lnTo>
                    <a:lnTo>
                      <a:pt x="359" y="91"/>
                    </a:lnTo>
                    <a:lnTo>
                      <a:pt x="359" y="94"/>
                    </a:lnTo>
                    <a:lnTo>
                      <a:pt x="360" y="99"/>
                    </a:lnTo>
                    <a:lnTo>
                      <a:pt x="356" y="107"/>
                    </a:lnTo>
                    <a:lnTo>
                      <a:pt x="351" y="107"/>
                    </a:lnTo>
                    <a:lnTo>
                      <a:pt x="348" y="105"/>
                    </a:lnTo>
                    <a:lnTo>
                      <a:pt x="343" y="103"/>
                    </a:lnTo>
                    <a:lnTo>
                      <a:pt x="336" y="103"/>
                    </a:lnTo>
                    <a:lnTo>
                      <a:pt x="332" y="105"/>
                    </a:lnTo>
                    <a:lnTo>
                      <a:pt x="332" y="105"/>
                    </a:lnTo>
                    <a:lnTo>
                      <a:pt x="327" y="108"/>
                    </a:lnTo>
                    <a:lnTo>
                      <a:pt x="324" y="111"/>
                    </a:lnTo>
                    <a:lnTo>
                      <a:pt x="322" y="113"/>
                    </a:lnTo>
                    <a:lnTo>
                      <a:pt x="321" y="116"/>
                    </a:lnTo>
                    <a:lnTo>
                      <a:pt x="321" y="118"/>
                    </a:lnTo>
                    <a:lnTo>
                      <a:pt x="317" y="121"/>
                    </a:lnTo>
                    <a:lnTo>
                      <a:pt x="314" y="123"/>
                    </a:lnTo>
                    <a:lnTo>
                      <a:pt x="308" y="126"/>
                    </a:lnTo>
                    <a:lnTo>
                      <a:pt x="313" y="130"/>
                    </a:lnTo>
                    <a:lnTo>
                      <a:pt x="316" y="134"/>
                    </a:lnTo>
                    <a:lnTo>
                      <a:pt x="316" y="140"/>
                    </a:lnTo>
                    <a:lnTo>
                      <a:pt x="302" y="149"/>
                    </a:lnTo>
                    <a:lnTo>
                      <a:pt x="290" y="159"/>
                    </a:lnTo>
                    <a:lnTo>
                      <a:pt x="292" y="164"/>
                    </a:lnTo>
                    <a:lnTo>
                      <a:pt x="292" y="167"/>
                    </a:lnTo>
                    <a:lnTo>
                      <a:pt x="286" y="170"/>
                    </a:lnTo>
                    <a:lnTo>
                      <a:pt x="279" y="172"/>
                    </a:lnTo>
                    <a:lnTo>
                      <a:pt x="275" y="172"/>
                    </a:lnTo>
                    <a:lnTo>
                      <a:pt x="267" y="172"/>
                    </a:lnTo>
                    <a:lnTo>
                      <a:pt x="268" y="175"/>
                    </a:lnTo>
                    <a:lnTo>
                      <a:pt x="268" y="180"/>
                    </a:lnTo>
                    <a:lnTo>
                      <a:pt x="270" y="183"/>
                    </a:lnTo>
                    <a:lnTo>
                      <a:pt x="268" y="189"/>
                    </a:lnTo>
                    <a:lnTo>
                      <a:pt x="267" y="192"/>
                    </a:lnTo>
                    <a:lnTo>
                      <a:pt x="267" y="195"/>
                    </a:lnTo>
                    <a:lnTo>
                      <a:pt x="267" y="202"/>
                    </a:lnTo>
                    <a:lnTo>
                      <a:pt x="264" y="203"/>
                    </a:lnTo>
                    <a:lnTo>
                      <a:pt x="262" y="208"/>
                    </a:lnTo>
                    <a:lnTo>
                      <a:pt x="259" y="211"/>
                    </a:lnTo>
                    <a:lnTo>
                      <a:pt x="254" y="216"/>
                    </a:lnTo>
                    <a:lnTo>
                      <a:pt x="248" y="222"/>
                    </a:lnTo>
                    <a:lnTo>
                      <a:pt x="245" y="227"/>
                    </a:lnTo>
                    <a:lnTo>
                      <a:pt x="248" y="229"/>
                    </a:lnTo>
                    <a:lnTo>
                      <a:pt x="252" y="230"/>
                    </a:lnTo>
                    <a:lnTo>
                      <a:pt x="257" y="232"/>
                    </a:lnTo>
                    <a:lnTo>
                      <a:pt x="257" y="235"/>
                    </a:lnTo>
                    <a:lnTo>
                      <a:pt x="259" y="241"/>
                    </a:lnTo>
                    <a:lnTo>
                      <a:pt x="257" y="245"/>
                    </a:lnTo>
                    <a:lnTo>
                      <a:pt x="256" y="245"/>
                    </a:lnTo>
                    <a:lnTo>
                      <a:pt x="256" y="246"/>
                    </a:lnTo>
                    <a:lnTo>
                      <a:pt x="240" y="246"/>
                    </a:lnTo>
                    <a:lnTo>
                      <a:pt x="225" y="246"/>
                    </a:lnTo>
                    <a:lnTo>
                      <a:pt x="214" y="254"/>
                    </a:lnTo>
                    <a:lnTo>
                      <a:pt x="205" y="264"/>
                    </a:lnTo>
                    <a:lnTo>
                      <a:pt x="206" y="267"/>
                    </a:lnTo>
                    <a:lnTo>
                      <a:pt x="202" y="272"/>
                    </a:lnTo>
                    <a:lnTo>
                      <a:pt x="202" y="273"/>
                    </a:lnTo>
                    <a:lnTo>
                      <a:pt x="202" y="278"/>
                    </a:lnTo>
                    <a:lnTo>
                      <a:pt x="203" y="281"/>
                    </a:lnTo>
                    <a:lnTo>
                      <a:pt x="206" y="284"/>
                    </a:lnTo>
                    <a:lnTo>
                      <a:pt x="202" y="289"/>
                    </a:lnTo>
                    <a:lnTo>
                      <a:pt x="203" y="292"/>
                    </a:lnTo>
                    <a:lnTo>
                      <a:pt x="203" y="299"/>
                    </a:lnTo>
                    <a:lnTo>
                      <a:pt x="205" y="303"/>
                    </a:lnTo>
                    <a:lnTo>
                      <a:pt x="208" y="310"/>
                    </a:lnTo>
                    <a:lnTo>
                      <a:pt x="208" y="310"/>
                    </a:lnTo>
                    <a:lnTo>
                      <a:pt x="208" y="310"/>
                    </a:lnTo>
                    <a:lnTo>
                      <a:pt x="210" y="311"/>
                    </a:lnTo>
                    <a:lnTo>
                      <a:pt x="208" y="316"/>
                    </a:lnTo>
                    <a:lnTo>
                      <a:pt x="208" y="321"/>
                    </a:lnTo>
                    <a:lnTo>
                      <a:pt x="206" y="322"/>
                    </a:lnTo>
                    <a:lnTo>
                      <a:pt x="206" y="325"/>
                    </a:lnTo>
                    <a:lnTo>
                      <a:pt x="205" y="332"/>
                    </a:lnTo>
                    <a:lnTo>
                      <a:pt x="210" y="335"/>
                    </a:lnTo>
                    <a:lnTo>
                      <a:pt x="213" y="338"/>
                    </a:lnTo>
                    <a:lnTo>
                      <a:pt x="218" y="338"/>
                    </a:lnTo>
                    <a:lnTo>
                      <a:pt x="221" y="341"/>
                    </a:lnTo>
                    <a:lnTo>
                      <a:pt x="225" y="346"/>
                    </a:lnTo>
                    <a:lnTo>
                      <a:pt x="225" y="349"/>
                    </a:lnTo>
                    <a:lnTo>
                      <a:pt x="222" y="352"/>
                    </a:lnTo>
                    <a:lnTo>
                      <a:pt x="221" y="357"/>
                    </a:lnTo>
                    <a:lnTo>
                      <a:pt x="216" y="357"/>
                    </a:lnTo>
                    <a:lnTo>
                      <a:pt x="210" y="357"/>
                    </a:lnTo>
                    <a:lnTo>
                      <a:pt x="210" y="362"/>
                    </a:lnTo>
                    <a:lnTo>
                      <a:pt x="211" y="365"/>
                    </a:lnTo>
                    <a:lnTo>
                      <a:pt x="213" y="370"/>
                    </a:lnTo>
                    <a:lnTo>
                      <a:pt x="216" y="373"/>
                    </a:lnTo>
                    <a:lnTo>
                      <a:pt x="218" y="376"/>
                    </a:lnTo>
                    <a:lnTo>
                      <a:pt x="219" y="379"/>
                    </a:lnTo>
                    <a:lnTo>
                      <a:pt x="216" y="384"/>
                    </a:lnTo>
                    <a:lnTo>
                      <a:pt x="216" y="387"/>
                    </a:lnTo>
                    <a:lnTo>
                      <a:pt x="216" y="391"/>
                    </a:lnTo>
                    <a:lnTo>
                      <a:pt x="214" y="394"/>
                    </a:lnTo>
                    <a:lnTo>
                      <a:pt x="213" y="395"/>
                    </a:lnTo>
                    <a:lnTo>
                      <a:pt x="210" y="397"/>
                    </a:lnTo>
                    <a:lnTo>
                      <a:pt x="203" y="400"/>
                    </a:lnTo>
                    <a:lnTo>
                      <a:pt x="197" y="400"/>
                    </a:lnTo>
                    <a:lnTo>
                      <a:pt x="199" y="403"/>
                    </a:lnTo>
                    <a:lnTo>
                      <a:pt x="199" y="406"/>
                    </a:lnTo>
                    <a:lnTo>
                      <a:pt x="195" y="410"/>
                    </a:lnTo>
                    <a:lnTo>
                      <a:pt x="192" y="413"/>
                    </a:lnTo>
                    <a:lnTo>
                      <a:pt x="194" y="416"/>
                    </a:lnTo>
                    <a:lnTo>
                      <a:pt x="195" y="419"/>
                    </a:lnTo>
                    <a:lnTo>
                      <a:pt x="197" y="422"/>
                    </a:lnTo>
                    <a:lnTo>
                      <a:pt x="197" y="422"/>
                    </a:lnTo>
                    <a:lnTo>
                      <a:pt x="197" y="424"/>
                    </a:lnTo>
                    <a:lnTo>
                      <a:pt x="197" y="425"/>
                    </a:lnTo>
                    <a:lnTo>
                      <a:pt x="194" y="429"/>
                    </a:lnTo>
                    <a:lnTo>
                      <a:pt x="194" y="432"/>
                    </a:lnTo>
                    <a:lnTo>
                      <a:pt x="192" y="437"/>
                    </a:lnTo>
                    <a:lnTo>
                      <a:pt x="192" y="437"/>
                    </a:lnTo>
                    <a:lnTo>
                      <a:pt x="189" y="438"/>
                    </a:lnTo>
                    <a:lnTo>
                      <a:pt x="186" y="435"/>
                    </a:lnTo>
                    <a:lnTo>
                      <a:pt x="184" y="430"/>
                    </a:lnTo>
                    <a:lnTo>
                      <a:pt x="181" y="430"/>
                    </a:lnTo>
                    <a:lnTo>
                      <a:pt x="179" y="430"/>
                    </a:lnTo>
                    <a:lnTo>
                      <a:pt x="178" y="427"/>
                    </a:lnTo>
                    <a:lnTo>
                      <a:pt x="175" y="429"/>
                    </a:lnTo>
                    <a:lnTo>
                      <a:pt x="170" y="425"/>
                    </a:lnTo>
                    <a:lnTo>
                      <a:pt x="167" y="425"/>
                    </a:lnTo>
                    <a:lnTo>
                      <a:pt x="164" y="422"/>
                    </a:lnTo>
                    <a:lnTo>
                      <a:pt x="164" y="419"/>
                    </a:lnTo>
                    <a:lnTo>
                      <a:pt x="164" y="414"/>
                    </a:lnTo>
                    <a:lnTo>
                      <a:pt x="164" y="413"/>
                    </a:lnTo>
                    <a:lnTo>
                      <a:pt x="162" y="410"/>
                    </a:lnTo>
                    <a:lnTo>
                      <a:pt x="160" y="406"/>
                    </a:lnTo>
                    <a:lnTo>
                      <a:pt x="164" y="402"/>
                    </a:lnTo>
                    <a:lnTo>
                      <a:pt x="165" y="406"/>
                    </a:lnTo>
                    <a:lnTo>
                      <a:pt x="167" y="402"/>
                    </a:lnTo>
                    <a:lnTo>
                      <a:pt x="167" y="400"/>
                    </a:lnTo>
                    <a:lnTo>
                      <a:pt x="162" y="400"/>
                    </a:lnTo>
                    <a:lnTo>
                      <a:pt x="160" y="400"/>
                    </a:lnTo>
                    <a:lnTo>
                      <a:pt x="159" y="403"/>
                    </a:lnTo>
                    <a:lnTo>
                      <a:pt x="159" y="406"/>
                    </a:lnTo>
                    <a:lnTo>
                      <a:pt x="162" y="411"/>
                    </a:lnTo>
                    <a:lnTo>
                      <a:pt x="159" y="414"/>
                    </a:lnTo>
                    <a:lnTo>
                      <a:pt x="156" y="411"/>
                    </a:lnTo>
                    <a:lnTo>
                      <a:pt x="156" y="414"/>
                    </a:lnTo>
                    <a:lnTo>
                      <a:pt x="151" y="413"/>
                    </a:lnTo>
                    <a:lnTo>
                      <a:pt x="154" y="416"/>
                    </a:lnTo>
                    <a:lnTo>
                      <a:pt x="157" y="421"/>
                    </a:lnTo>
                    <a:lnTo>
                      <a:pt x="156" y="424"/>
                    </a:lnTo>
                    <a:lnTo>
                      <a:pt x="156" y="427"/>
                    </a:lnTo>
                    <a:lnTo>
                      <a:pt x="156" y="424"/>
                    </a:lnTo>
                    <a:lnTo>
                      <a:pt x="154" y="427"/>
                    </a:lnTo>
                    <a:lnTo>
                      <a:pt x="151" y="429"/>
                    </a:lnTo>
                    <a:lnTo>
                      <a:pt x="148" y="432"/>
                    </a:lnTo>
                    <a:lnTo>
                      <a:pt x="145" y="432"/>
                    </a:lnTo>
                    <a:lnTo>
                      <a:pt x="143" y="435"/>
                    </a:lnTo>
                    <a:lnTo>
                      <a:pt x="141" y="435"/>
                    </a:lnTo>
                    <a:lnTo>
                      <a:pt x="138" y="432"/>
                    </a:lnTo>
                    <a:lnTo>
                      <a:pt x="138" y="432"/>
                    </a:lnTo>
                    <a:lnTo>
                      <a:pt x="135" y="432"/>
                    </a:lnTo>
                    <a:lnTo>
                      <a:pt x="133" y="429"/>
                    </a:lnTo>
                    <a:lnTo>
                      <a:pt x="130" y="429"/>
                    </a:lnTo>
                    <a:lnTo>
                      <a:pt x="135" y="432"/>
                    </a:lnTo>
                    <a:lnTo>
                      <a:pt x="135" y="435"/>
                    </a:lnTo>
                    <a:lnTo>
                      <a:pt x="132" y="437"/>
                    </a:lnTo>
                    <a:lnTo>
                      <a:pt x="127" y="438"/>
                    </a:lnTo>
                    <a:lnTo>
                      <a:pt x="124" y="440"/>
                    </a:lnTo>
                    <a:lnTo>
                      <a:pt x="126" y="443"/>
                    </a:lnTo>
                    <a:lnTo>
                      <a:pt x="124" y="443"/>
                    </a:lnTo>
                    <a:lnTo>
                      <a:pt x="121" y="443"/>
                    </a:lnTo>
                    <a:lnTo>
                      <a:pt x="118" y="444"/>
                    </a:lnTo>
                    <a:lnTo>
                      <a:pt x="119" y="448"/>
                    </a:lnTo>
                    <a:lnTo>
                      <a:pt x="118" y="448"/>
                    </a:lnTo>
                    <a:lnTo>
                      <a:pt x="113" y="449"/>
                    </a:lnTo>
                    <a:lnTo>
                      <a:pt x="111" y="452"/>
                    </a:lnTo>
                    <a:lnTo>
                      <a:pt x="108" y="456"/>
                    </a:lnTo>
                    <a:lnTo>
                      <a:pt x="105" y="459"/>
                    </a:lnTo>
                    <a:lnTo>
                      <a:pt x="99" y="462"/>
                    </a:lnTo>
                    <a:lnTo>
                      <a:pt x="94" y="465"/>
                    </a:lnTo>
                    <a:lnTo>
                      <a:pt x="91" y="465"/>
                    </a:lnTo>
                    <a:lnTo>
                      <a:pt x="91" y="467"/>
                    </a:lnTo>
                    <a:lnTo>
                      <a:pt x="87" y="465"/>
                    </a:lnTo>
                    <a:lnTo>
                      <a:pt x="87" y="465"/>
                    </a:lnTo>
                    <a:lnTo>
                      <a:pt x="86" y="467"/>
                    </a:lnTo>
                    <a:lnTo>
                      <a:pt x="83" y="468"/>
                    </a:lnTo>
                    <a:lnTo>
                      <a:pt x="80" y="468"/>
                    </a:lnTo>
                    <a:lnTo>
                      <a:pt x="76" y="471"/>
                    </a:lnTo>
                    <a:lnTo>
                      <a:pt x="72" y="471"/>
                    </a:lnTo>
                    <a:lnTo>
                      <a:pt x="68" y="471"/>
                    </a:lnTo>
                    <a:lnTo>
                      <a:pt x="65" y="470"/>
                    </a:lnTo>
                    <a:lnTo>
                      <a:pt x="62" y="470"/>
                    </a:lnTo>
                    <a:lnTo>
                      <a:pt x="59" y="470"/>
                    </a:lnTo>
                    <a:lnTo>
                      <a:pt x="54" y="470"/>
                    </a:lnTo>
                    <a:lnTo>
                      <a:pt x="51" y="468"/>
                    </a:lnTo>
                    <a:lnTo>
                      <a:pt x="48" y="468"/>
                    </a:lnTo>
                    <a:lnTo>
                      <a:pt x="45" y="467"/>
                    </a:lnTo>
                    <a:lnTo>
                      <a:pt x="48" y="463"/>
                    </a:lnTo>
                    <a:lnTo>
                      <a:pt x="53" y="462"/>
                    </a:lnTo>
                    <a:lnTo>
                      <a:pt x="46" y="462"/>
                    </a:lnTo>
                    <a:lnTo>
                      <a:pt x="40" y="462"/>
                    </a:lnTo>
                    <a:lnTo>
                      <a:pt x="34" y="459"/>
                    </a:lnTo>
                    <a:lnTo>
                      <a:pt x="27" y="457"/>
                    </a:lnTo>
                    <a:lnTo>
                      <a:pt x="24" y="454"/>
                    </a:lnTo>
                    <a:lnTo>
                      <a:pt x="21" y="452"/>
                    </a:lnTo>
                    <a:lnTo>
                      <a:pt x="16" y="451"/>
                    </a:lnTo>
                    <a:lnTo>
                      <a:pt x="15" y="446"/>
                    </a:lnTo>
                    <a:lnTo>
                      <a:pt x="15" y="446"/>
                    </a:lnTo>
                    <a:lnTo>
                      <a:pt x="13" y="443"/>
                    </a:lnTo>
                    <a:lnTo>
                      <a:pt x="15" y="438"/>
                    </a:lnTo>
                    <a:lnTo>
                      <a:pt x="18" y="437"/>
                    </a:lnTo>
                    <a:lnTo>
                      <a:pt x="15" y="433"/>
                    </a:lnTo>
                    <a:lnTo>
                      <a:pt x="18" y="433"/>
                    </a:lnTo>
                    <a:lnTo>
                      <a:pt x="21" y="437"/>
                    </a:lnTo>
                    <a:lnTo>
                      <a:pt x="26" y="435"/>
                    </a:lnTo>
                    <a:lnTo>
                      <a:pt x="29" y="438"/>
                    </a:lnTo>
                    <a:lnTo>
                      <a:pt x="30" y="440"/>
                    </a:lnTo>
                    <a:lnTo>
                      <a:pt x="34" y="440"/>
                    </a:lnTo>
                    <a:lnTo>
                      <a:pt x="30" y="437"/>
                    </a:lnTo>
                    <a:lnTo>
                      <a:pt x="34" y="435"/>
                    </a:lnTo>
                    <a:lnTo>
                      <a:pt x="38" y="433"/>
                    </a:lnTo>
                    <a:lnTo>
                      <a:pt x="41" y="433"/>
                    </a:lnTo>
                    <a:lnTo>
                      <a:pt x="45" y="432"/>
                    </a:lnTo>
                    <a:lnTo>
                      <a:pt x="41" y="432"/>
                    </a:lnTo>
                    <a:lnTo>
                      <a:pt x="37" y="433"/>
                    </a:lnTo>
                    <a:lnTo>
                      <a:pt x="34" y="435"/>
                    </a:lnTo>
                    <a:lnTo>
                      <a:pt x="29" y="437"/>
                    </a:lnTo>
                    <a:lnTo>
                      <a:pt x="29" y="437"/>
                    </a:lnTo>
                    <a:lnTo>
                      <a:pt x="29" y="433"/>
                    </a:lnTo>
                    <a:lnTo>
                      <a:pt x="26" y="430"/>
                    </a:lnTo>
                    <a:lnTo>
                      <a:pt x="29" y="429"/>
                    </a:lnTo>
                    <a:lnTo>
                      <a:pt x="32" y="429"/>
                    </a:lnTo>
                    <a:lnTo>
                      <a:pt x="29" y="427"/>
                    </a:lnTo>
                    <a:lnTo>
                      <a:pt x="32" y="425"/>
                    </a:lnTo>
                    <a:lnTo>
                      <a:pt x="35" y="424"/>
                    </a:lnTo>
                    <a:lnTo>
                      <a:pt x="40" y="422"/>
                    </a:lnTo>
                    <a:lnTo>
                      <a:pt x="43" y="422"/>
                    </a:lnTo>
                    <a:lnTo>
                      <a:pt x="40" y="422"/>
                    </a:lnTo>
                    <a:lnTo>
                      <a:pt x="37" y="422"/>
                    </a:lnTo>
                    <a:lnTo>
                      <a:pt x="32" y="424"/>
                    </a:lnTo>
                    <a:lnTo>
                      <a:pt x="32" y="422"/>
                    </a:lnTo>
                    <a:lnTo>
                      <a:pt x="35" y="422"/>
                    </a:lnTo>
                    <a:lnTo>
                      <a:pt x="32" y="422"/>
                    </a:lnTo>
                    <a:lnTo>
                      <a:pt x="29" y="421"/>
                    </a:lnTo>
                    <a:lnTo>
                      <a:pt x="34" y="417"/>
                    </a:lnTo>
                    <a:lnTo>
                      <a:pt x="35" y="416"/>
                    </a:lnTo>
                    <a:lnTo>
                      <a:pt x="38" y="414"/>
                    </a:lnTo>
                    <a:lnTo>
                      <a:pt x="43" y="413"/>
                    </a:lnTo>
                    <a:lnTo>
                      <a:pt x="40" y="413"/>
                    </a:lnTo>
                    <a:lnTo>
                      <a:pt x="37" y="411"/>
                    </a:lnTo>
                    <a:lnTo>
                      <a:pt x="34" y="416"/>
                    </a:lnTo>
                    <a:lnTo>
                      <a:pt x="34" y="416"/>
                    </a:lnTo>
                    <a:lnTo>
                      <a:pt x="30" y="419"/>
                    </a:lnTo>
                    <a:lnTo>
                      <a:pt x="26" y="421"/>
                    </a:lnTo>
                    <a:lnTo>
                      <a:pt x="27" y="417"/>
                    </a:lnTo>
                    <a:lnTo>
                      <a:pt x="30" y="416"/>
                    </a:lnTo>
                    <a:lnTo>
                      <a:pt x="27" y="416"/>
                    </a:lnTo>
                    <a:lnTo>
                      <a:pt x="24" y="416"/>
                    </a:lnTo>
                    <a:lnTo>
                      <a:pt x="19" y="417"/>
                    </a:lnTo>
                    <a:lnTo>
                      <a:pt x="24" y="417"/>
                    </a:lnTo>
                    <a:lnTo>
                      <a:pt x="24" y="421"/>
                    </a:lnTo>
                    <a:lnTo>
                      <a:pt x="21" y="421"/>
                    </a:lnTo>
                    <a:lnTo>
                      <a:pt x="18" y="422"/>
                    </a:lnTo>
                    <a:lnTo>
                      <a:pt x="18" y="414"/>
                    </a:lnTo>
                    <a:lnTo>
                      <a:pt x="13" y="417"/>
                    </a:lnTo>
                    <a:lnTo>
                      <a:pt x="16" y="419"/>
                    </a:lnTo>
                    <a:lnTo>
                      <a:pt x="16" y="422"/>
                    </a:lnTo>
                    <a:lnTo>
                      <a:pt x="13" y="422"/>
                    </a:lnTo>
                    <a:lnTo>
                      <a:pt x="11" y="422"/>
                    </a:lnTo>
                    <a:lnTo>
                      <a:pt x="11" y="419"/>
                    </a:lnTo>
                    <a:lnTo>
                      <a:pt x="11" y="422"/>
                    </a:lnTo>
                    <a:lnTo>
                      <a:pt x="8" y="419"/>
                    </a:lnTo>
                    <a:lnTo>
                      <a:pt x="7" y="419"/>
                    </a:lnTo>
                    <a:lnTo>
                      <a:pt x="7" y="414"/>
                    </a:lnTo>
                    <a:lnTo>
                      <a:pt x="8" y="413"/>
                    </a:lnTo>
                    <a:lnTo>
                      <a:pt x="11" y="408"/>
                    </a:lnTo>
                    <a:lnTo>
                      <a:pt x="15" y="406"/>
                    </a:lnTo>
                    <a:lnTo>
                      <a:pt x="15" y="411"/>
                    </a:lnTo>
                    <a:lnTo>
                      <a:pt x="13" y="414"/>
                    </a:lnTo>
                    <a:lnTo>
                      <a:pt x="10" y="414"/>
                    </a:lnTo>
                    <a:lnTo>
                      <a:pt x="13" y="416"/>
                    </a:lnTo>
                    <a:lnTo>
                      <a:pt x="16" y="413"/>
                    </a:lnTo>
                    <a:lnTo>
                      <a:pt x="16" y="410"/>
                    </a:lnTo>
                    <a:lnTo>
                      <a:pt x="19" y="408"/>
                    </a:lnTo>
                    <a:lnTo>
                      <a:pt x="22" y="410"/>
                    </a:lnTo>
                    <a:lnTo>
                      <a:pt x="26" y="408"/>
                    </a:lnTo>
                    <a:lnTo>
                      <a:pt x="22" y="408"/>
                    </a:lnTo>
                    <a:lnTo>
                      <a:pt x="26" y="406"/>
                    </a:lnTo>
                    <a:lnTo>
                      <a:pt x="29" y="406"/>
                    </a:lnTo>
                    <a:lnTo>
                      <a:pt x="32" y="405"/>
                    </a:lnTo>
                    <a:lnTo>
                      <a:pt x="34" y="403"/>
                    </a:lnTo>
                    <a:lnTo>
                      <a:pt x="29" y="405"/>
                    </a:lnTo>
                    <a:lnTo>
                      <a:pt x="26" y="405"/>
                    </a:lnTo>
                    <a:lnTo>
                      <a:pt x="24" y="405"/>
                    </a:lnTo>
                    <a:lnTo>
                      <a:pt x="19" y="403"/>
                    </a:lnTo>
                    <a:lnTo>
                      <a:pt x="21" y="402"/>
                    </a:lnTo>
                    <a:lnTo>
                      <a:pt x="24" y="398"/>
                    </a:lnTo>
                    <a:lnTo>
                      <a:pt x="29" y="397"/>
                    </a:lnTo>
                    <a:lnTo>
                      <a:pt x="27" y="397"/>
                    </a:lnTo>
                    <a:lnTo>
                      <a:pt x="32" y="392"/>
                    </a:lnTo>
                    <a:lnTo>
                      <a:pt x="35" y="392"/>
                    </a:lnTo>
                    <a:lnTo>
                      <a:pt x="32" y="391"/>
                    </a:lnTo>
                    <a:lnTo>
                      <a:pt x="35" y="387"/>
                    </a:lnTo>
                    <a:lnTo>
                      <a:pt x="38" y="384"/>
                    </a:lnTo>
                    <a:lnTo>
                      <a:pt x="43" y="383"/>
                    </a:lnTo>
                    <a:lnTo>
                      <a:pt x="46" y="379"/>
                    </a:lnTo>
                    <a:lnTo>
                      <a:pt x="48" y="384"/>
                    </a:lnTo>
                    <a:lnTo>
                      <a:pt x="45" y="387"/>
                    </a:lnTo>
                    <a:lnTo>
                      <a:pt x="45" y="391"/>
                    </a:lnTo>
                    <a:lnTo>
                      <a:pt x="48" y="386"/>
                    </a:lnTo>
                    <a:lnTo>
                      <a:pt x="49" y="381"/>
                    </a:lnTo>
                    <a:lnTo>
                      <a:pt x="53" y="379"/>
                    </a:lnTo>
                    <a:lnTo>
                      <a:pt x="62" y="378"/>
                    </a:lnTo>
                    <a:lnTo>
                      <a:pt x="57" y="378"/>
                    </a:lnTo>
                    <a:lnTo>
                      <a:pt x="54" y="378"/>
                    </a:lnTo>
                    <a:lnTo>
                      <a:pt x="51" y="379"/>
                    </a:lnTo>
                    <a:lnTo>
                      <a:pt x="46" y="378"/>
                    </a:lnTo>
                    <a:lnTo>
                      <a:pt x="43" y="379"/>
                    </a:lnTo>
                    <a:lnTo>
                      <a:pt x="40" y="381"/>
                    </a:lnTo>
                    <a:lnTo>
                      <a:pt x="35" y="383"/>
                    </a:lnTo>
                    <a:lnTo>
                      <a:pt x="34" y="386"/>
                    </a:lnTo>
                    <a:lnTo>
                      <a:pt x="30" y="386"/>
                    </a:lnTo>
                    <a:lnTo>
                      <a:pt x="27" y="389"/>
                    </a:lnTo>
                    <a:lnTo>
                      <a:pt x="26" y="394"/>
                    </a:lnTo>
                    <a:lnTo>
                      <a:pt x="26" y="397"/>
                    </a:lnTo>
                    <a:lnTo>
                      <a:pt x="21" y="397"/>
                    </a:lnTo>
                    <a:lnTo>
                      <a:pt x="21" y="392"/>
                    </a:lnTo>
                    <a:lnTo>
                      <a:pt x="21" y="389"/>
                    </a:lnTo>
                    <a:lnTo>
                      <a:pt x="18" y="389"/>
                    </a:lnTo>
                    <a:lnTo>
                      <a:pt x="19" y="386"/>
                    </a:lnTo>
                    <a:lnTo>
                      <a:pt x="19" y="383"/>
                    </a:lnTo>
                    <a:lnTo>
                      <a:pt x="18" y="386"/>
                    </a:lnTo>
                    <a:lnTo>
                      <a:pt x="15" y="389"/>
                    </a:lnTo>
                    <a:lnTo>
                      <a:pt x="11" y="391"/>
                    </a:lnTo>
                    <a:lnTo>
                      <a:pt x="8" y="387"/>
                    </a:lnTo>
                    <a:lnTo>
                      <a:pt x="8" y="384"/>
                    </a:lnTo>
                    <a:lnTo>
                      <a:pt x="5" y="383"/>
                    </a:lnTo>
                    <a:lnTo>
                      <a:pt x="8" y="379"/>
                    </a:lnTo>
                    <a:lnTo>
                      <a:pt x="11" y="376"/>
                    </a:lnTo>
                    <a:lnTo>
                      <a:pt x="13" y="381"/>
                    </a:lnTo>
                    <a:lnTo>
                      <a:pt x="18" y="379"/>
                    </a:lnTo>
                    <a:lnTo>
                      <a:pt x="21" y="379"/>
                    </a:lnTo>
                    <a:lnTo>
                      <a:pt x="21" y="378"/>
                    </a:lnTo>
                    <a:lnTo>
                      <a:pt x="21" y="376"/>
                    </a:lnTo>
                    <a:lnTo>
                      <a:pt x="21" y="375"/>
                    </a:lnTo>
                    <a:lnTo>
                      <a:pt x="22" y="371"/>
                    </a:lnTo>
                    <a:lnTo>
                      <a:pt x="21" y="368"/>
                    </a:lnTo>
                    <a:lnTo>
                      <a:pt x="18" y="370"/>
                    </a:lnTo>
                    <a:lnTo>
                      <a:pt x="13" y="373"/>
                    </a:lnTo>
                    <a:lnTo>
                      <a:pt x="10" y="375"/>
                    </a:lnTo>
                    <a:lnTo>
                      <a:pt x="8" y="375"/>
                    </a:lnTo>
                    <a:lnTo>
                      <a:pt x="5" y="373"/>
                    </a:lnTo>
                    <a:lnTo>
                      <a:pt x="5" y="371"/>
                    </a:lnTo>
                    <a:lnTo>
                      <a:pt x="3" y="368"/>
                    </a:lnTo>
                    <a:lnTo>
                      <a:pt x="0" y="367"/>
                    </a:lnTo>
                    <a:lnTo>
                      <a:pt x="3" y="367"/>
                    </a:lnTo>
                    <a:lnTo>
                      <a:pt x="7" y="368"/>
                    </a:lnTo>
                    <a:lnTo>
                      <a:pt x="8" y="368"/>
                    </a:lnTo>
                    <a:lnTo>
                      <a:pt x="11" y="371"/>
                    </a:lnTo>
                    <a:lnTo>
                      <a:pt x="11" y="368"/>
                    </a:lnTo>
                    <a:lnTo>
                      <a:pt x="11" y="364"/>
                    </a:lnTo>
                    <a:lnTo>
                      <a:pt x="15" y="364"/>
                    </a:lnTo>
                    <a:lnTo>
                      <a:pt x="11" y="364"/>
                    </a:lnTo>
                    <a:lnTo>
                      <a:pt x="10" y="365"/>
                    </a:lnTo>
                    <a:lnTo>
                      <a:pt x="5" y="365"/>
                    </a:lnTo>
                    <a:lnTo>
                      <a:pt x="3" y="365"/>
                    </a:lnTo>
                    <a:lnTo>
                      <a:pt x="2" y="360"/>
                    </a:lnTo>
                    <a:lnTo>
                      <a:pt x="3" y="364"/>
                    </a:lnTo>
                    <a:lnTo>
                      <a:pt x="5" y="362"/>
                    </a:lnTo>
                    <a:lnTo>
                      <a:pt x="7" y="360"/>
                    </a:lnTo>
                    <a:lnTo>
                      <a:pt x="7" y="360"/>
                    </a:lnTo>
                    <a:lnTo>
                      <a:pt x="3" y="360"/>
                    </a:lnTo>
                    <a:lnTo>
                      <a:pt x="3" y="356"/>
                    </a:lnTo>
                    <a:lnTo>
                      <a:pt x="7" y="356"/>
                    </a:lnTo>
                    <a:lnTo>
                      <a:pt x="15" y="357"/>
                    </a:lnTo>
                    <a:lnTo>
                      <a:pt x="18" y="356"/>
                    </a:lnTo>
                    <a:lnTo>
                      <a:pt x="21" y="356"/>
                    </a:lnTo>
                    <a:lnTo>
                      <a:pt x="24" y="354"/>
                    </a:lnTo>
                    <a:lnTo>
                      <a:pt x="29" y="354"/>
                    </a:lnTo>
                    <a:lnTo>
                      <a:pt x="32" y="354"/>
                    </a:lnTo>
                    <a:lnTo>
                      <a:pt x="34" y="354"/>
                    </a:lnTo>
                    <a:lnTo>
                      <a:pt x="37" y="356"/>
                    </a:lnTo>
                    <a:lnTo>
                      <a:pt x="41" y="356"/>
                    </a:lnTo>
                    <a:lnTo>
                      <a:pt x="45" y="356"/>
                    </a:lnTo>
                    <a:lnTo>
                      <a:pt x="48" y="352"/>
                    </a:lnTo>
                    <a:lnTo>
                      <a:pt x="53" y="352"/>
                    </a:lnTo>
                    <a:lnTo>
                      <a:pt x="56" y="356"/>
                    </a:lnTo>
                    <a:lnTo>
                      <a:pt x="59" y="359"/>
                    </a:lnTo>
                    <a:lnTo>
                      <a:pt x="54" y="362"/>
                    </a:lnTo>
                    <a:lnTo>
                      <a:pt x="59" y="360"/>
                    </a:lnTo>
                    <a:lnTo>
                      <a:pt x="62" y="360"/>
                    </a:lnTo>
                    <a:lnTo>
                      <a:pt x="59" y="357"/>
                    </a:lnTo>
                    <a:lnTo>
                      <a:pt x="64" y="354"/>
                    </a:lnTo>
                    <a:lnTo>
                      <a:pt x="65" y="352"/>
                    </a:lnTo>
                    <a:lnTo>
                      <a:pt x="68" y="354"/>
                    </a:lnTo>
                    <a:lnTo>
                      <a:pt x="73" y="352"/>
                    </a:lnTo>
                    <a:lnTo>
                      <a:pt x="76" y="351"/>
                    </a:lnTo>
                    <a:lnTo>
                      <a:pt x="73" y="351"/>
                    </a:lnTo>
                    <a:lnTo>
                      <a:pt x="70" y="351"/>
                    </a:lnTo>
                    <a:lnTo>
                      <a:pt x="68" y="348"/>
                    </a:lnTo>
                    <a:lnTo>
                      <a:pt x="76" y="341"/>
                    </a:lnTo>
                    <a:lnTo>
                      <a:pt x="72" y="343"/>
                    </a:lnTo>
                    <a:lnTo>
                      <a:pt x="68" y="346"/>
                    </a:lnTo>
                    <a:lnTo>
                      <a:pt x="68" y="349"/>
                    </a:lnTo>
                    <a:lnTo>
                      <a:pt x="70" y="352"/>
                    </a:lnTo>
                    <a:lnTo>
                      <a:pt x="67" y="352"/>
                    </a:lnTo>
                    <a:lnTo>
                      <a:pt x="62" y="354"/>
                    </a:lnTo>
                    <a:lnTo>
                      <a:pt x="59" y="352"/>
                    </a:lnTo>
                    <a:lnTo>
                      <a:pt x="62" y="349"/>
                    </a:lnTo>
                    <a:lnTo>
                      <a:pt x="62" y="349"/>
                    </a:lnTo>
                    <a:lnTo>
                      <a:pt x="59" y="351"/>
                    </a:lnTo>
                    <a:lnTo>
                      <a:pt x="56" y="352"/>
                    </a:lnTo>
                    <a:lnTo>
                      <a:pt x="53" y="352"/>
                    </a:lnTo>
                    <a:lnTo>
                      <a:pt x="48" y="351"/>
                    </a:lnTo>
                    <a:lnTo>
                      <a:pt x="48" y="351"/>
                    </a:lnTo>
                    <a:lnTo>
                      <a:pt x="48" y="351"/>
                    </a:lnTo>
                    <a:lnTo>
                      <a:pt x="49" y="346"/>
                    </a:lnTo>
                    <a:lnTo>
                      <a:pt x="46" y="348"/>
                    </a:lnTo>
                    <a:lnTo>
                      <a:pt x="45" y="351"/>
                    </a:lnTo>
                    <a:lnTo>
                      <a:pt x="45" y="354"/>
                    </a:lnTo>
                    <a:lnTo>
                      <a:pt x="41" y="354"/>
                    </a:lnTo>
                    <a:lnTo>
                      <a:pt x="38" y="354"/>
                    </a:lnTo>
                    <a:lnTo>
                      <a:pt x="35" y="352"/>
                    </a:lnTo>
                    <a:lnTo>
                      <a:pt x="30" y="351"/>
                    </a:lnTo>
                    <a:lnTo>
                      <a:pt x="27" y="352"/>
                    </a:lnTo>
                    <a:lnTo>
                      <a:pt x="24" y="352"/>
                    </a:lnTo>
                    <a:lnTo>
                      <a:pt x="21" y="352"/>
                    </a:lnTo>
                    <a:lnTo>
                      <a:pt x="16" y="356"/>
                    </a:lnTo>
                    <a:lnTo>
                      <a:pt x="13" y="356"/>
                    </a:lnTo>
                    <a:lnTo>
                      <a:pt x="11" y="356"/>
                    </a:lnTo>
                    <a:lnTo>
                      <a:pt x="8" y="352"/>
                    </a:lnTo>
                    <a:lnTo>
                      <a:pt x="3" y="351"/>
                    </a:lnTo>
                    <a:lnTo>
                      <a:pt x="8" y="351"/>
                    </a:lnTo>
                    <a:lnTo>
                      <a:pt x="3" y="348"/>
                    </a:lnTo>
                    <a:lnTo>
                      <a:pt x="8" y="346"/>
                    </a:lnTo>
                    <a:lnTo>
                      <a:pt x="11" y="346"/>
                    </a:lnTo>
                    <a:lnTo>
                      <a:pt x="15" y="345"/>
                    </a:lnTo>
                    <a:lnTo>
                      <a:pt x="19" y="345"/>
                    </a:lnTo>
                    <a:lnTo>
                      <a:pt x="15" y="345"/>
                    </a:lnTo>
                    <a:lnTo>
                      <a:pt x="11" y="345"/>
                    </a:lnTo>
                    <a:lnTo>
                      <a:pt x="8" y="346"/>
                    </a:lnTo>
                    <a:lnTo>
                      <a:pt x="3" y="346"/>
                    </a:lnTo>
                    <a:lnTo>
                      <a:pt x="7" y="343"/>
                    </a:lnTo>
                    <a:lnTo>
                      <a:pt x="2" y="34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84" name="Freeform 518"/>
              <p:cNvSpPr>
                <a:spLocks/>
              </p:cNvSpPr>
              <p:nvPr/>
            </p:nvSpPr>
            <p:spPr bwMode="auto">
              <a:xfrm>
                <a:off x="2870" y="1106"/>
                <a:ext cx="15" cy="9"/>
              </a:xfrm>
              <a:custGeom>
                <a:avLst/>
                <a:gdLst>
                  <a:gd name="T0" fmla="*/ 3 w 30"/>
                  <a:gd name="T1" fmla="*/ 11 h 18"/>
                  <a:gd name="T2" fmla="*/ 8 w 30"/>
                  <a:gd name="T3" fmla="*/ 11 h 18"/>
                  <a:gd name="T4" fmla="*/ 3 w 30"/>
                  <a:gd name="T5" fmla="*/ 13 h 18"/>
                  <a:gd name="T6" fmla="*/ 8 w 30"/>
                  <a:gd name="T7" fmla="*/ 14 h 18"/>
                  <a:gd name="T8" fmla="*/ 3 w 30"/>
                  <a:gd name="T9" fmla="*/ 16 h 18"/>
                  <a:gd name="T10" fmla="*/ 0 w 30"/>
                  <a:gd name="T11" fmla="*/ 16 h 18"/>
                  <a:gd name="T12" fmla="*/ 3 w 30"/>
                  <a:gd name="T13" fmla="*/ 18 h 18"/>
                  <a:gd name="T14" fmla="*/ 8 w 30"/>
                  <a:gd name="T15" fmla="*/ 18 h 18"/>
                  <a:gd name="T16" fmla="*/ 11 w 30"/>
                  <a:gd name="T17" fmla="*/ 18 h 18"/>
                  <a:gd name="T18" fmla="*/ 14 w 30"/>
                  <a:gd name="T19" fmla="*/ 14 h 18"/>
                  <a:gd name="T20" fmla="*/ 27 w 30"/>
                  <a:gd name="T21" fmla="*/ 14 h 18"/>
                  <a:gd name="T22" fmla="*/ 30 w 30"/>
                  <a:gd name="T23" fmla="*/ 14 h 18"/>
                  <a:gd name="T24" fmla="*/ 27 w 30"/>
                  <a:gd name="T25" fmla="*/ 13 h 18"/>
                  <a:gd name="T26" fmla="*/ 28 w 30"/>
                  <a:gd name="T27" fmla="*/ 11 h 18"/>
                  <a:gd name="T28" fmla="*/ 30 w 30"/>
                  <a:gd name="T29" fmla="*/ 8 h 18"/>
                  <a:gd name="T30" fmla="*/ 30 w 30"/>
                  <a:gd name="T31" fmla="*/ 5 h 18"/>
                  <a:gd name="T32" fmla="*/ 27 w 30"/>
                  <a:gd name="T33" fmla="*/ 7 h 18"/>
                  <a:gd name="T34" fmla="*/ 30 w 30"/>
                  <a:gd name="T35" fmla="*/ 5 h 18"/>
                  <a:gd name="T36" fmla="*/ 27 w 30"/>
                  <a:gd name="T37" fmla="*/ 3 h 18"/>
                  <a:gd name="T38" fmla="*/ 19 w 30"/>
                  <a:gd name="T39" fmla="*/ 0 h 18"/>
                  <a:gd name="T40" fmla="*/ 20 w 30"/>
                  <a:gd name="T41" fmla="*/ 3 h 18"/>
                  <a:gd name="T42" fmla="*/ 17 w 30"/>
                  <a:gd name="T43" fmla="*/ 0 h 18"/>
                  <a:gd name="T44" fmla="*/ 20 w 30"/>
                  <a:gd name="T45" fmla="*/ 5 h 18"/>
                  <a:gd name="T46" fmla="*/ 16 w 30"/>
                  <a:gd name="T47" fmla="*/ 3 h 18"/>
                  <a:gd name="T48" fmla="*/ 12 w 30"/>
                  <a:gd name="T49" fmla="*/ 2 h 18"/>
                  <a:gd name="T50" fmla="*/ 8 w 30"/>
                  <a:gd name="T51" fmla="*/ 3 h 18"/>
                  <a:gd name="T52" fmla="*/ 12 w 30"/>
                  <a:gd name="T53" fmla="*/ 5 h 18"/>
                  <a:gd name="T54" fmla="*/ 16 w 30"/>
                  <a:gd name="T55" fmla="*/ 5 h 18"/>
                  <a:gd name="T56" fmla="*/ 12 w 30"/>
                  <a:gd name="T57" fmla="*/ 7 h 18"/>
                  <a:gd name="T58" fmla="*/ 11 w 30"/>
                  <a:gd name="T59" fmla="*/ 7 h 18"/>
                  <a:gd name="T60" fmla="*/ 11 w 30"/>
                  <a:gd name="T61" fmla="*/ 7 h 18"/>
                  <a:gd name="T62" fmla="*/ 8 w 30"/>
                  <a:gd name="T63" fmla="*/ 7 h 18"/>
                  <a:gd name="T64" fmla="*/ 3 w 30"/>
                  <a:gd name="T65" fmla="*/ 7 h 18"/>
                  <a:gd name="T66" fmla="*/ 0 w 30"/>
                  <a:gd name="T67" fmla="*/ 8 h 18"/>
                  <a:gd name="T68" fmla="*/ 3 w 30"/>
                  <a:gd name="T69" fmla="*/ 8 h 18"/>
                  <a:gd name="T70" fmla="*/ 5 w 30"/>
                  <a:gd name="T71" fmla="*/ 8 h 18"/>
                  <a:gd name="T72" fmla="*/ 3 w 30"/>
                  <a:gd name="T73" fmla="*/ 1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30" h="18">
                    <a:moveTo>
                      <a:pt x="3" y="11"/>
                    </a:moveTo>
                    <a:lnTo>
                      <a:pt x="8" y="11"/>
                    </a:lnTo>
                    <a:lnTo>
                      <a:pt x="3" y="13"/>
                    </a:lnTo>
                    <a:lnTo>
                      <a:pt x="8" y="14"/>
                    </a:lnTo>
                    <a:lnTo>
                      <a:pt x="3" y="16"/>
                    </a:lnTo>
                    <a:lnTo>
                      <a:pt x="0" y="16"/>
                    </a:lnTo>
                    <a:lnTo>
                      <a:pt x="3" y="18"/>
                    </a:lnTo>
                    <a:lnTo>
                      <a:pt x="8" y="18"/>
                    </a:lnTo>
                    <a:lnTo>
                      <a:pt x="11" y="18"/>
                    </a:lnTo>
                    <a:lnTo>
                      <a:pt x="14" y="14"/>
                    </a:lnTo>
                    <a:lnTo>
                      <a:pt x="27" y="14"/>
                    </a:lnTo>
                    <a:lnTo>
                      <a:pt x="30" y="14"/>
                    </a:lnTo>
                    <a:lnTo>
                      <a:pt x="27" y="13"/>
                    </a:lnTo>
                    <a:lnTo>
                      <a:pt x="28" y="11"/>
                    </a:lnTo>
                    <a:lnTo>
                      <a:pt x="30" y="8"/>
                    </a:lnTo>
                    <a:lnTo>
                      <a:pt x="30" y="5"/>
                    </a:lnTo>
                    <a:lnTo>
                      <a:pt x="27" y="7"/>
                    </a:lnTo>
                    <a:lnTo>
                      <a:pt x="30" y="5"/>
                    </a:lnTo>
                    <a:lnTo>
                      <a:pt x="27" y="3"/>
                    </a:lnTo>
                    <a:lnTo>
                      <a:pt x="19" y="0"/>
                    </a:lnTo>
                    <a:lnTo>
                      <a:pt x="20" y="3"/>
                    </a:lnTo>
                    <a:lnTo>
                      <a:pt x="17" y="0"/>
                    </a:lnTo>
                    <a:lnTo>
                      <a:pt x="20" y="5"/>
                    </a:lnTo>
                    <a:lnTo>
                      <a:pt x="16" y="3"/>
                    </a:lnTo>
                    <a:lnTo>
                      <a:pt x="12" y="2"/>
                    </a:lnTo>
                    <a:lnTo>
                      <a:pt x="8" y="3"/>
                    </a:lnTo>
                    <a:lnTo>
                      <a:pt x="12" y="5"/>
                    </a:lnTo>
                    <a:lnTo>
                      <a:pt x="16" y="5"/>
                    </a:lnTo>
                    <a:lnTo>
                      <a:pt x="12" y="7"/>
                    </a:lnTo>
                    <a:lnTo>
                      <a:pt x="11" y="7"/>
                    </a:lnTo>
                    <a:lnTo>
                      <a:pt x="11" y="7"/>
                    </a:lnTo>
                    <a:lnTo>
                      <a:pt x="8" y="7"/>
                    </a:lnTo>
                    <a:lnTo>
                      <a:pt x="3" y="7"/>
                    </a:lnTo>
                    <a:lnTo>
                      <a:pt x="0" y="8"/>
                    </a:lnTo>
                    <a:lnTo>
                      <a:pt x="3" y="8"/>
                    </a:lnTo>
                    <a:lnTo>
                      <a:pt x="5" y="8"/>
                    </a:lnTo>
                    <a:lnTo>
                      <a:pt x="3" y="1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85" name="Freeform 519"/>
              <p:cNvSpPr>
                <a:spLocks/>
              </p:cNvSpPr>
              <p:nvPr/>
            </p:nvSpPr>
            <p:spPr bwMode="auto">
              <a:xfrm>
                <a:off x="2848" y="1117"/>
                <a:ext cx="19" cy="11"/>
              </a:xfrm>
              <a:custGeom>
                <a:avLst/>
                <a:gdLst>
                  <a:gd name="T0" fmla="*/ 8 w 38"/>
                  <a:gd name="T1" fmla="*/ 8 h 23"/>
                  <a:gd name="T2" fmla="*/ 10 w 38"/>
                  <a:gd name="T3" fmla="*/ 11 h 23"/>
                  <a:gd name="T4" fmla="*/ 7 w 38"/>
                  <a:gd name="T5" fmla="*/ 13 h 23"/>
                  <a:gd name="T6" fmla="*/ 2 w 38"/>
                  <a:gd name="T7" fmla="*/ 13 h 23"/>
                  <a:gd name="T8" fmla="*/ 4 w 38"/>
                  <a:gd name="T9" fmla="*/ 16 h 23"/>
                  <a:gd name="T10" fmla="*/ 0 w 38"/>
                  <a:gd name="T11" fmla="*/ 19 h 23"/>
                  <a:gd name="T12" fmla="*/ 0 w 38"/>
                  <a:gd name="T13" fmla="*/ 23 h 23"/>
                  <a:gd name="T14" fmla="*/ 4 w 38"/>
                  <a:gd name="T15" fmla="*/ 21 h 23"/>
                  <a:gd name="T16" fmla="*/ 8 w 38"/>
                  <a:gd name="T17" fmla="*/ 18 h 23"/>
                  <a:gd name="T18" fmla="*/ 11 w 38"/>
                  <a:gd name="T19" fmla="*/ 18 h 23"/>
                  <a:gd name="T20" fmla="*/ 8 w 38"/>
                  <a:gd name="T21" fmla="*/ 21 h 23"/>
                  <a:gd name="T22" fmla="*/ 11 w 38"/>
                  <a:gd name="T23" fmla="*/ 21 h 23"/>
                  <a:gd name="T24" fmla="*/ 15 w 38"/>
                  <a:gd name="T25" fmla="*/ 23 h 23"/>
                  <a:gd name="T26" fmla="*/ 18 w 38"/>
                  <a:gd name="T27" fmla="*/ 19 h 23"/>
                  <a:gd name="T28" fmla="*/ 21 w 38"/>
                  <a:gd name="T29" fmla="*/ 16 h 23"/>
                  <a:gd name="T30" fmla="*/ 21 w 38"/>
                  <a:gd name="T31" fmla="*/ 19 h 23"/>
                  <a:gd name="T32" fmla="*/ 24 w 38"/>
                  <a:gd name="T33" fmla="*/ 18 h 23"/>
                  <a:gd name="T34" fmla="*/ 26 w 38"/>
                  <a:gd name="T35" fmla="*/ 15 h 23"/>
                  <a:gd name="T36" fmla="*/ 34 w 38"/>
                  <a:gd name="T37" fmla="*/ 13 h 23"/>
                  <a:gd name="T38" fmla="*/ 37 w 38"/>
                  <a:gd name="T39" fmla="*/ 13 h 23"/>
                  <a:gd name="T40" fmla="*/ 38 w 38"/>
                  <a:gd name="T41" fmla="*/ 11 h 23"/>
                  <a:gd name="T42" fmla="*/ 38 w 38"/>
                  <a:gd name="T43" fmla="*/ 4 h 23"/>
                  <a:gd name="T44" fmla="*/ 35 w 38"/>
                  <a:gd name="T45" fmla="*/ 4 h 23"/>
                  <a:gd name="T46" fmla="*/ 32 w 38"/>
                  <a:gd name="T47" fmla="*/ 2 h 23"/>
                  <a:gd name="T48" fmla="*/ 29 w 38"/>
                  <a:gd name="T49" fmla="*/ 4 h 23"/>
                  <a:gd name="T50" fmla="*/ 29 w 38"/>
                  <a:gd name="T51" fmla="*/ 7 h 23"/>
                  <a:gd name="T52" fmla="*/ 26 w 38"/>
                  <a:gd name="T53" fmla="*/ 7 h 23"/>
                  <a:gd name="T54" fmla="*/ 24 w 38"/>
                  <a:gd name="T55" fmla="*/ 8 h 23"/>
                  <a:gd name="T56" fmla="*/ 21 w 38"/>
                  <a:gd name="T57" fmla="*/ 11 h 23"/>
                  <a:gd name="T58" fmla="*/ 18 w 38"/>
                  <a:gd name="T59" fmla="*/ 15 h 23"/>
                  <a:gd name="T60" fmla="*/ 18 w 38"/>
                  <a:gd name="T61" fmla="*/ 11 h 23"/>
                  <a:gd name="T62" fmla="*/ 23 w 38"/>
                  <a:gd name="T63" fmla="*/ 8 h 23"/>
                  <a:gd name="T64" fmla="*/ 23 w 38"/>
                  <a:gd name="T65" fmla="*/ 5 h 23"/>
                  <a:gd name="T66" fmla="*/ 19 w 38"/>
                  <a:gd name="T67" fmla="*/ 7 h 23"/>
                  <a:gd name="T68" fmla="*/ 21 w 38"/>
                  <a:gd name="T69" fmla="*/ 4 h 23"/>
                  <a:gd name="T70" fmla="*/ 21 w 38"/>
                  <a:gd name="T71" fmla="*/ 0 h 23"/>
                  <a:gd name="T72" fmla="*/ 21 w 38"/>
                  <a:gd name="T73" fmla="*/ 0 h 23"/>
                  <a:gd name="T74" fmla="*/ 15 w 38"/>
                  <a:gd name="T75" fmla="*/ 0 h 23"/>
                  <a:gd name="T76" fmla="*/ 13 w 38"/>
                  <a:gd name="T77" fmla="*/ 0 h 23"/>
                  <a:gd name="T78" fmla="*/ 13 w 38"/>
                  <a:gd name="T79" fmla="*/ 4 h 23"/>
                  <a:gd name="T80" fmla="*/ 11 w 38"/>
                  <a:gd name="T81" fmla="*/ 8 h 23"/>
                  <a:gd name="T82" fmla="*/ 15 w 38"/>
                  <a:gd name="T83" fmla="*/ 8 h 23"/>
                  <a:gd name="T84" fmla="*/ 11 w 38"/>
                  <a:gd name="T85" fmla="*/ 8 h 23"/>
                  <a:gd name="T86" fmla="*/ 8 w 38"/>
                  <a:gd name="T87" fmla="*/ 8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8" h="23">
                    <a:moveTo>
                      <a:pt x="8" y="8"/>
                    </a:moveTo>
                    <a:lnTo>
                      <a:pt x="10" y="11"/>
                    </a:lnTo>
                    <a:lnTo>
                      <a:pt x="7" y="13"/>
                    </a:lnTo>
                    <a:lnTo>
                      <a:pt x="2" y="13"/>
                    </a:lnTo>
                    <a:lnTo>
                      <a:pt x="4" y="16"/>
                    </a:lnTo>
                    <a:lnTo>
                      <a:pt x="0" y="19"/>
                    </a:lnTo>
                    <a:lnTo>
                      <a:pt x="0" y="23"/>
                    </a:lnTo>
                    <a:lnTo>
                      <a:pt x="4" y="21"/>
                    </a:lnTo>
                    <a:lnTo>
                      <a:pt x="8" y="18"/>
                    </a:lnTo>
                    <a:lnTo>
                      <a:pt x="11" y="18"/>
                    </a:lnTo>
                    <a:lnTo>
                      <a:pt x="8" y="21"/>
                    </a:lnTo>
                    <a:lnTo>
                      <a:pt x="11" y="21"/>
                    </a:lnTo>
                    <a:lnTo>
                      <a:pt x="15" y="23"/>
                    </a:lnTo>
                    <a:lnTo>
                      <a:pt x="18" y="19"/>
                    </a:lnTo>
                    <a:lnTo>
                      <a:pt x="21" y="16"/>
                    </a:lnTo>
                    <a:lnTo>
                      <a:pt x="21" y="19"/>
                    </a:lnTo>
                    <a:lnTo>
                      <a:pt x="24" y="18"/>
                    </a:lnTo>
                    <a:lnTo>
                      <a:pt x="26" y="15"/>
                    </a:lnTo>
                    <a:lnTo>
                      <a:pt x="34" y="13"/>
                    </a:lnTo>
                    <a:lnTo>
                      <a:pt x="37" y="13"/>
                    </a:lnTo>
                    <a:lnTo>
                      <a:pt x="38" y="11"/>
                    </a:lnTo>
                    <a:lnTo>
                      <a:pt x="38" y="4"/>
                    </a:lnTo>
                    <a:lnTo>
                      <a:pt x="35" y="4"/>
                    </a:lnTo>
                    <a:lnTo>
                      <a:pt x="32" y="2"/>
                    </a:lnTo>
                    <a:lnTo>
                      <a:pt x="29" y="4"/>
                    </a:lnTo>
                    <a:lnTo>
                      <a:pt x="29" y="7"/>
                    </a:lnTo>
                    <a:lnTo>
                      <a:pt x="26" y="7"/>
                    </a:lnTo>
                    <a:lnTo>
                      <a:pt x="24" y="8"/>
                    </a:lnTo>
                    <a:lnTo>
                      <a:pt x="21" y="11"/>
                    </a:lnTo>
                    <a:lnTo>
                      <a:pt x="18" y="15"/>
                    </a:lnTo>
                    <a:lnTo>
                      <a:pt x="18" y="11"/>
                    </a:lnTo>
                    <a:lnTo>
                      <a:pt x="23" y="8"/>
                    </a:lnTo>
                    <a:lnTo>
                      <a:pt x="23" y="5"/>
                    </a:lnTo>
                    <a:lnTo>
                      <a:pt x="19" y="7"/>
                    </a:lnTo>
                    <a:lnTo>
                      <a:pt x="21" y="4"/>
                    </a:lnTo>
                    <a:lnTo>
                      <a:pt x="21" y="0"/>
                    </a:lnTo>
                    <a:lnTo>
                      <a:pt x="21" y="0"/>
                    </a:lnTo>
                    <a:lnTo>
                      <a:pt x="15" y="0"/>
                    </a:lnTo>
                    <a:lnTo>
                      <a:pt x="13" y="0"/>
                    </a:lnTo>
                    <a:lnTo>
                      <a:pt x="13" y="4"/>
                    </a:lnTo>
                    <a:lnTo>
                      <a:pt x="11" y="8"/>
                    </a:lnTo>
                    <a:lnTo>
                      <a:pt x="15" y="8"/>
                    </a:lnTo>
                    <a:lnTo>
                      <a:pt x="11" y="8"/>
                    </a:lnTo>
                    <a:lnTo>
                      <a:pt x="8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86" name="Freeform 520"/>
              <p:cNvSpPr>
                <a:spLocks/>
              </p:cNvSpPr>
              <p:nvPr/>
            </p:nvSpPr>
            <p:spPr bwMode="auto">
              <a:xfrm>
                <a:off x="2838" y="1116"/>
                <a:ext cx="14" cy="8"/>
              </a:xfrm>
              <a:custGeom>
                <a:avLst/>
                <a:gdLst>
                  <a:gd name="T0" fmla="*/ 13 w 27"/>
                  <a:gd name="T1" fmla="*/ 14 h 14"/>
                  <a:gd name="T2" fmla="*/ 15 w 27"/>
                  <a:gd name="T3" fmla="*/ 14 h 14"/>
                  <a:gd name="T4" fmla="*/ 18 w 27"/>
                  <a:gd name="T5" fmla="*/ 12 h 14"/>
                  <a:gd name="T6" fmla="*/ 23 w 27"/>
                  <a:gd name="T7" fmla="*/ 12 h 14"/>
                  <a:gd name="T8" fmla="*/ 26 w 27"/>
                  <a:gd name="T9" fmla="*/ 11 h 14"/>
                  <a:gd name="T10" fmla="*/ 27 w 27"/>
                  <a:gd name="T11" fmla="*/ 9 h 14"/>
                  <a:gd name="T12" fmla="*/ 23 w 27"/>
                  <a:gd name="T13" fmla="*/ 8 h 14"/>
                  <a:gd name="T14" fmla="*/ 24 w 27"/>
                  <a:gd name="T15" fmla="*/ 5 h 14"/>
                  <a:gd name="T16" fmla="*/ 21 w 27"/>
                  <a:gd name="T17" fmla="*/ 1 h 14"/>
                  <a:gd name="T18" fmla="*/ 18 w 27"/>
                  <a:gd name="T19" fmla="*/ 0 h 14"/>
                  <a:gd name="T20" fmla="*/ 18 w 27"/>
                  <a:gd name="T21" fmla="*/ 3 h 14"/>
                  <a:gd name="T22" fmla="*/ 16 w 27"/>
                  <a:gd name="T23" fmla="*/ 6 h 14"/>
                  <a:gd name="T24" fmla="*/ 15 w 27"/>
                  <a:gd name="T25" fmla="*/ 5 h 14"/>
                  <a:gd name="T26" fmla="*/ 15 w 27"/>
                  <a:gd name="T27" fmla="*/ 6 h 14"/>
                  <a:gd name="T28" fmla="*/ 11 w 27"/>
                  <a:gd name="T29" fmla="*/ 6 h 14"/>
                  <a:gd name="T30" fmla="*/ 7 w 27"/>
                  <a:gd name="T31" fmla="*/ 5 h 14"/>
                  <a:gd name="T32" fmla="*/ 4 w 27"/>
                  <a:gd name="T33" fmla="*/ 9 h 14"/>
                  <a:gd name="T34" fmla="*/ 0 w 27"/>
                  <a:gd name="T35" fmla="*/ 11 h 14"/>
                  <a:gd name="T36" fmla="*/ 4 w 27"/>
                  <a:gd name="T37" fmla="*/ 12 h 14"/>
                  <a:gd name="T38" fmla="*/ 8 w 27"/>
                  <a:gd name="T39" fmla="*/ 9 h 14"/>
                  <a:gd name="T40" fmla="*/ 11 w 27"/>
                  <a:gd name="T41" fmla="*/ 11 h 14"/>
                  <a:gd name="T42" fmla="*/ 15 w 27"/>
                  <a:gd name="T43" fmla="*/ 9 h 14"/>
                  <a:gd name="T44" fmla="*/ 18 w 27"/>
                  <a:gd name="T45" fmla="*/ 9 h 14"/>
                  <a:gd name="T46" fmla="*/ 15 w 27"/>
                  <a:gd name="T47" fmla="*/ 11 h 14"/>
                  <a:gd name="T48" fmla="*/ 11 w 27"/>
                  <a:gd name="T49" fmla="*/ 11 h 14"/>
                  <a:gd name="T50" fmla="*/ 13 w 27"/>
                  <a:gd name="T5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7" h="14">
                    <a:moveTo>
                      <a:pt x="13" y="14"/>
                    </a:moveTo>
                    <a:lnTo>
                      <a:pt x="15" y="14"/>
                    </a:lnTo>
                    <a:lnTo>
                      <a:pt x="18" y="12"/>
                    </a:lnTo>
                    <a:lnTo>
                      <a:pt x="23" y="12"/>
                    </a:lnTo>
                    <a:lnTo>
                      <a:pt x="26" y="11"/>
                    </a:lnTo>
                    <a:lnTo>
                      <a:pt x="27" y="9"/>
                    </a:lnTo>
                    <a:lnTo>
                      <a:pt x="23" y="8"/>
                    </a:lnTo>
                    <a:lnTo>
                      <a:pt x="24" y="5"/>
                    </a:lnTo>
                    <a:lnTo>
                      <a:pt x="21" y="1"/>
                    </a:lnTo>
                    <a:lnTo>
                      <a:pt x="18" y="0"/>
                    </a:lnTo>
                    <a:lnTo>
                      <a:pt x="18" y="3"/>
                    </a:lnTo>
                    <a:lnTo>
                      <a:pt x="16" y="6"/>
                    </a:lnTo>
                    <a:lnTo>
                      <a:pt x="15" y="5"/>
                    </a:lnTo>
                    <a:lnTo>
                      <a:pt x="15" y="6"/>
                    </a:lnTo>
                    <a:lnTo>
                      <a:pt x="11" y="6"/>
                    </a:lnTo>
                    <a:lnTo>
                      <a:pt x="7" y="5"/>
                    </a:lnTo>
                    <a:lnTo>
                      <a:pt x="4" y="9"/>
                    </a:lnTo>
                    <a:lnTo>
                      <a:pt x="0" y="11"/>
                    </a:lnTo>
                    <a:lnTo>
                      <a:pt x="4" y="12"/>
                    </a:lnTo>
                    <a:lnTo>
                      <a:pt x="8" y="9"/>
                    </a:lnTo>
                    <a:lnTo>
                      <a:pt x="11" y="11"/>
                    </a:lnTo>
                    <a:lnTo>
                      <a:pt x="15" y="9"/>
                    </a:lnTo>
                    <a:lnTo>
                      <a:pt x="18" y="9"/>
                    </a:lnTo>
                    <a:lnTo>
                      <a:pt x="15" y="11"/>
                    </a:lnTo>
                    <a:lnTo>
                      <a:pt x="11" y="11"/>
                    </a:lnTo>
                    <a:lnTo>
                      <a:pt x="13" y="1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87" name="Freeform 521"/>
              <p:cNvSpPr>
                <a:spLocks/>
              </p:cNvSpPr>
              <p:nvPr/>
            </p:nvSpPr>
            <p:spPr bwMode="auto">
              <a:xfrm>
                <a:off x="2894" y="1097"/>
                <a:ext cx="12" cy="6"/>
              </a:xfrm>
              <a:custGeom>
                <a:avLst/>
                <a:gdLst>
                  <a:gd name="T0" fmla="*/ 0 w 22"/>
                  <a:gd name="T1" fmla="*/ 3 h 11"/>
                  <a:gd name="T2" fmla="*/ 0 w 22"/>
                  <a:gd name="T3" fmla="*/ 6 h 11"/>
                  <a:gd name="T4" fmla="*/ 5 w 22"/>
                  <a:gd name="T5" fmla="*/ 8 h 11"/>
                  <a:gd name="T6" fmla="*/ 8 w 22"/>
                  <a:gd name="T7" fmla="*/ 11 h 11"/>
                  <a:gd name="T8" fmla="*/ 13 w 22"/>
                  <a:gd name="T9" fmla="*/ 9 h 11"/>
                  <a:gd name="T10" fmla="*/ 16 w 22"/>
                  <a:gd name="T11" fmla="*/ 8 h 11"/>
                  <a:gd name="T12" fmla="*/ 19 w 22"/>
                  <a:gd name="T13" fmla="*/ 4 h 11"/>
                  <a:gd name="T14" fmla="*/ 22 w 22"/>
                  <a:gd name="T15" fmla="*/ 3 h 11"/>
                  <a:gd name="T16" fmla="*/ 19 w 22"/>
                  <a:gd name="T17" fmla="*/ 3 h 11"/>
                  <a:gd name="T18" fmla="*/ 16 w 22"/>
                  <a:gd name="T19" fmla="*/ 1 h 11"/>
                  <a:gd name="T20" fmla="*/ 16 w 22"/>
                  <a:gd name="T21" fmla="*/ 3 h 11"/>
                  <a:gd name="T22" fmla="*/ 14 w 22"/>
                  <a:gd name="T23" fmla="*/ 3 h 11"/>
                  <a:gd name="T24" fmla="*/ 11 w 22"/>
                  <a:gd name="T25" fmla="*/ 0 h 11"/>
                  <a:gd name="T26" fmla="*/ 8 w 22"/>
                  <a:gd name="T27" fmla="*/ 0 h 11"/>
                  <a:gd name="T28" fmla="*/ 3 w 22"/>
                  <a:gd name="T29" fmla="*/ 3 h 11"/>
                  <a:gd name="T30" fmla="*/ 0 w 22"/>
                  <a:gd name="T31" fmla="*/ 3 h 11"/>
                  <a:gd name="T32" fmla="*/ 0 w 22"/>
                  <a:gd name="T33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2" h="11">
                    <a:moveTo>
                      <a:pt x="0" y="3"/>
                    </a:moveTo>
                    <a:lnTo>
                      <a:pt x="0" y="6"/>
                    </a:lnTo>
                    <a:lnTo>
                      <a:pt x="5" y="8"/>
                    </a:lnTo>
                    <a:lnTo>
                      <a:pt x="8" y="11"/>
                    </a:lnTo>
                    <a:lnTo>
                      <a:pt x="13" y="9"/>
                    </a:lnTo>
                    <a:lnTo>
                      <a:pt x="16" y="8"/>
                    </a:lnTo>
                    <a:lnTo>
                      <a:pt x="19" y="4"/>
                    </a:lnTo>
                    <a:lnTo>
                      <a:pt x="22" y="3"/>
                    </a:lnTo>
                    <a:lnTo>
                      <a:pt x="19" y="3"/>
                    </a:lnTo>
                    <a:lnTo>
                      <a:pt x="16" y="1"/>
                    </a:lnTo>
                    <a:lnTo>
                      <a:pt x="16" y="3"/>
                    </a:lnTo>
                    <a:lnTo>
                      <a:pt x="14" y="3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88" name="Freeform 522"/>
              <p:cNvSpPr>
                <a:spLocks/>
              </p:cNvSpPr>
              <p:nvPr/>
            </p:nvSpPr>
            <p:spPr bwMode="auto">
              <a:xfrm>
                <a:off x="2852" y="1111"/>
                <a:ext cx="9" cy="7"/>
              </a:xfrm>
              <a:custGeom>
                <a:avLst/>
                <a:gdLst>
                  <a:gd name="T0" fmla="*/ 7 w 19"/>
                  <a:gd name="T1" fmla="*/ 11 h 14"/>
                  <a:gd name="T2" fmla="*/ 10 w 19"/>
                  <a:gd name="T3" fmla="*/ 11 h 14"/>
                  <a:gd name="T4" fmla="*/ 13 w 19"/>
                  <a:gd name="T5" fmla="*/ 8 h 14"/>
                  <a:gd name="T6" fmla="*/ 18 w 19"/>
                  <a:gd name="T7" fmla="*/ 4 h 14"/>
                  <a:gd name="T8" fmla="*/ 19 w 19"/>
                  <a:gd name="T9" fmla="*/ 1 h 14"/>
                  <a:gd name="T10" fmla="*/ 15 w 19"/>
                  <a:gd name="T11" fmla="*/ 0 h 14"/>
                  <a:gd name="T12" fmla="*/ 11 w 19"/>
                  <a:gd name="T13" fmla="*/ 1 h 14"/>
                  <a:gd name="T14" fmla="*/ 8 w 19"/>
                  <a:gd name="T15" fmla="*/ 4 h 14"/>
                  <a:gd name="T16" fmla="*/ 5 w 19"/>
                  <a:gd name="T17" fmla="*/ 6 h 14"/>
                  <a:gd name="T18" fmla="*/ 2 w 19"/>
                  <a:gd name="T19" fmla="*/ 9 h 14"/>
                  <a:gd name="T20" fmla="*/ 0 w 19"/>
                  <a:gd name="T21" fmla="*/ 12 h 14"/>
                  <a:gd name="T22" fmla="*/ 3 w 19"/>
                  <a:gd name="T23" fmla="*/ 14 h 14"/>
                  <a:gd name="T24" fmla="*/ 7 w 19"/>
                  <a:gd name="T25" fmla="*/ 11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9" h="14">
                    <a:moveTo>
                      <a:pt x="7" y="11"/>
                    </a:moveTo>
                    <a:lnTo>
                      <a:pt x="10" y="11"/>
                    </a:lnTo>
                    <a:lnTo>
                      <a:pt x="13" y="8"/>
                    </a:lnTo>
                    <a:lnTo>
                      <a:pt x="18" y="4"/>
                    </a:lnTo>
                    <a:lnTo>
                      <a:pt x="19" y="1"/>
                    </a:lnTo>
                    <a:lnTo>
                      <a:pt x="15" y="0"/>
                    </a:lnTo>
                    <a:lnTo>
                      <a:pt x="11" y="1"/>
                    </a:lnTo>
                    <a:lnTo>
                      <a:pt x="8" y="4"/>
                    </a:lnTo>
                    <a:lnTo>
                      <a:pt x="5" y="6"/>
                    </a:lnTo>
                    <a:lnTo>
                      <a:pt x="2" y="9"/>
                    </a:lnTo>
                    <a:lnTo>
                      <a:pt x="0" y="12"/>
                    </a:lnTo>
                    <a:lnTo>
                      <a:pt x="3" y="14"/>
                    </a:lnTo>
                    <a:lnTo>
                      <a:pt x="7" y="1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89" name="Freeform 523"/>
              <p:cNvSpPr>
                <a:spLocks/>
              </p:cNvSpPr>
              <p:nvPr/>
            </p:nvSpPr>
            <p:spPr bwMode="auto">
              <a:xfrm>
                <a:off x="2886" y="1101"/>
                <a:ext cx="12" cy="6"/>
              </a:xfrm>
              <a:custGeom>
                <a:avLst/>
                <a:gdLst>
                  <a:gd name="T0" fmla="*/ 19 w 23"/>
                  <a:gd name="T1" fmla="*/ 6 h 11"/>
                  <a:gd name="T2" fmla="*/ 20 w 23"/>
                  <a:gd name="T3" fmla="*/ 6 h 11"/>
                  <a:gd name="T4" fmla="*/ 23 w 23"/>
                  <a:gd name="T5" fmla="*/ 3 h 11"/>
                  <a:gd name="T6" fmla="*/ 17 w 23"/>
                  <a:gd name="T7" fmla="*/ 0 h 11"/>
                  <a:gd name="T8" fmla="*/ 14 w 23"/>
                  <a:gd name="T9" fmla="*/ 0 h 11"/>
                  <a:gd name="T10" fmla="*/ 17 w 23"/>
                  <a:gd name="T11" fmla="*/ 1 h 11"/>
                  <a:gd name="T12" fmla="*/ 14 w 23"/>
                  <a:gd name="T13" fmla="*/ 6 h 11"/>
                  <a:gd name="T14" fmla="*/ 12 w 23"/>
                  <a:gd name="T15" fmla="*/ 1 h 11"/>
                  <a:gd name="T16" fmla="*/ 7 w 23"/>
                  <a:gd name="T17" fmla="*/ 4 h 11"/>
                  <a:gd name="T18" fmla="*/ 11 w 23"/>
                  <a:gd name="T19" fmla="*/ 6 h 11"/>
                  <a:gd name="T20" fmla="*/ 7 w 23"/>
                  <a:gd name="T21" fmla="*/ 6 h 11"/>
                  <a:gd name="T22" fmla="*/ 4 w 23"/>
                  <a:gd name="T23" fmla="*/ 8 h 11"/>
                  <a:gd name="T24" fmla="*/ 7 w 23"/>
                  <a:gd name="T25" fmla="*/ 8 h 11"/>
                  <a:gd name="T26" fmla="*/ 4 w 23"/>
                  <a:gd name="T27" fmla="*/ 9 h 11"/>
                  <a:gd name="T28" fmla="*/ 0 w 23"/>
                  <a:gd name="T29" fmla="*/ 11 h 11"/>
                  <a:gd name="T30" fmla="*/ 4 w 23"/>
                  <a:gd name="T31" fmla="*/ 11 h 11"/>
                  <a:gd name="T32" fmla="*/ 7 w 23"/>
                  <a:gd name="T33" fmla="*/ 11 h 11"/>
                  <a:gd name="T34" fmla="*/ 11 w 23"/>
                  <a:gd name="T35" fmla="*/ 11 h 11"/>
                  <a:gd name="T36" fmla="*/ 14 w 23"/>
                  <a:gd name="T37" fmla="*/ 9 h 11"/>
                  <a:gd name="T38" fmla="*/ 19 w 23"/>
                  <a:gd name="T39" fmla="*/ 9 h 11"/>
                  <a:gd name="T40" fmla="*/ 19 w 23"/>
                  <a:gd name="T41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3" h="11">
                    <a:moveTo>
                      <a:pt x="19" y="6"/>
                    </a:moveTo>
                    <a:lnTo>
                      <a:pt x="20" y="6"/>
                    </a:lnTo>
                    <a:lnTo>
                      <a:pt x="23" y="3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7" y="1"/>
                    </a:lnTo>
                    <a:lnTo>
                      <a:pt x="14" y="6"/>
                    </a:lnTo>
                    <a:lnTo>
                      <a:pt x="12" y="1"/>
                    </a:lnTo>
                    <a:lnTo>
                      <a:pt x="7" y="4"/>
                    </a:lnTo>
                    <a:lnTo>
                      <a:pt x="11" y="6"/>
                    </a:lnTo>
                    <a:lnTo>
                      <a:pt x="7" y="6"/>
                    </a:lnTo>
                    <a:lnTo>
                      <a:pt x="4" y="8"/>
                    </a:lnTo>
                    <a:lnTo>
                      <a:pt x="7" y="8"/>
                    </a:lnTo>
                    <a:lnTo>
                      <a:pt x="4" y="9"/>
                    </a:lnTo>
                    <a:lnTo>
                      <a:pt x="0" y="11"/>
                    </a:lnTo>
                    <a:lnTo>
                      <a:pt x="4" y="11"/>
                    </a:lnTo>
                    <a:lnTo>
                      <a:pt x="7" y="11"/>
                    </a:lnTo>
                    <a:lnTo>
                      <a:pt x="11" y="11"/>
                    </a:lnTo>
                    <a:lnTo>
                      <a:pt x="14" y="9"/>
                    </a:lnTo>
                    <a:lnTo>
                      <a:pt x="19" y="9"/>
                    </a:lnTo>
                    <a:lnTo>
                      <a:pt x="19" y="6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90" name="Freeform 524"/>
              <p:cNvSpPr>
                <a:spLocks/>
              </p:cNvSpPr>
              <p:nvPr/>
            </p:nvSpPr>
            <p:spPr bwMode="auto">
              <a:xfrm>
                <a:off x="2934" y="1085"/>
                <a:ext cx="19" cy="6"/>
              </a:xfrm>
              <a:custGeom>
                <a:avLst/>
                <a:gdLst>
                  <a:gd name="T0" fmla="*/ 37 w 38"/>
                  <a:gd name="T1" fmla="*/ 2 h 11"/>
                  <a:gd name="T2" fmla="*/ 38 w 38"/>
                  <a:gd name="T3" fmla="*/ 0 h 11"/>
                  <a:gd name="T4" fmla="*/ 35 w 38"/>
                  <a:gd name="T5" fmla="*/ 0 h 11"/>
                  <a:gd name="T6" fmla="*/ 32 w 38"/>
                  <a:gd name="T7" fmla="*/ 0 h 11"/>
                  <a:gd name="T8" fmla="*/ 27 w 38"/>
                  <a:gd name="T9" fmla="*/ 0 h 11"/>
                  <a:gd name="T10" fmla="*/ 30 w 38"/>
                  <a:gd name="T11" fmla="*/ 3 h 11"/>
                  <a:gd name="T12" fmla="*/ 26 w 38"/>
                  <a:gd name="T13" fmla="*/ 5 h 11"/>
                  <a:gd name="T14" fmla="*/ 22 w 38"/>
                  <a:gd name="T15" fmla="*/ 2 h 11"/>
                  <a:gd name="T16" fmla="*/ 19 w 38"/>
                  <a:gd name="T17" fmla="*/ 3 h 11"/>
                  <a:gd name="T18" fmla="*/ 22 w 38"/>
                  <a:gd name="T19" fmla="*/ 5 h 11"/>
                  <a:gd name="T20" fmla="*/ 19 w 38"/>
                  <a:gd name="T21" fmla="*/ 5 h 11"/>
                  <a:gd name="T22" fmla="*/ 15 w 38"/>
                  <a:gd name="T23" fmla="*/ 3 h 11"/>
                  <a:gd name="T24" fmla="*/ 11 w 38"/>
                  <a:gd name="T25" fmla="*/ 5 h 11"/>
                  <a:gd name="T26" fmla="*/ 8 w 38"/>
                  <a:gd name="T27" fmla="*/ 5 h 11"/>
                  <a:gd name="T28" fmla="*/ 3 w 38"/>
                  <a:gd name="T29" fmla="*/ 5 h 11"/>
                  <a:gd name="T30" fmla="*/ 0 w 38"/>
                  <a:gd name="T31" fmla="*/ 6 h 11"/>
                  <a:gd name="T32" fmla="*/ 3 w 38"/>
                  <a:gd name="T33" fmla="*/ 6 h 11"/>
                  <a:gd name="T34" fmla="*/ 8 w 38"/>
                  <a:gd name="T35" fmla="*/ 8 h 11"/>
                  <a:gd name="T36" fmla="*/ 3 w 38"/>
                  <a:gd name="T37" fmla="*/ 11 h 11"/>
                  <a:gd name="T38" fmla="*/ 8 w 38"/>
                  <a:gd name="T39" fmla="*/ 9 h 11"/>
                  <a:gd name="T40" fmla="*/ 11 w 38"/>
                  <a:gd name="T41" fmla="*/ 9 h 11"/>
                  <a:gd name="T42" fmla="*/ 16 w 38"/>
                  <a:gd name="T43" fmla="*/ 9 h 11"/>
                  <a:gd name="T44" fmla="*/ 19 w 38"/>
                  <a:gd name="T45" fmla="*/ 9 h 11"/>
                  <a:gd name="T46" fmla="*/ 22 w 38"/>
                  <a:gd name="T47" fmla="*/ 9 h 11"/>
                  <a:gd name="T48" fmla="*/ 26 w 38"/>
                  <a:gd name="T49" fmla="*/ 8 h 11"/>
                  <a:gd name="T50" fmla="*/ 30 w 38"/>
                  <a:gd name="T51" fmla="*/ 6 h 11"/>
                  <a:gd name="T52" fmla="*/ 34 w 38"/>
                  <a:gd name="T53" fmla="*/ 3 h 11"/>
                  <a:gd name="T54" fmla="*/ 37 w 38"/>
                  <a:gd name="T55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8" h="11">
                    <a:moveTo>
                      <a:pt x="37" y="2"/>
                    </a:moveTo>
                    <a:lnTo>
                      <a:pt x="38" y="0"/>
                    </a:lnTo>
                    <a:lnTo>
                      <a:pt x="35" y="0"/>
                    </a:lnTo>
                    <a:lnTo>
                      <a:pt x="32" y="0"/>
                    </a:lnTo>
                    <a:lnTo>
                      <a:pt x="27" y="0"/>
                    </a:lnTo>
                    <a:lnTo>
                      <a:pt x="30" y="3"/>
                    </a:lnTo>
                    <a:lnTo>
                      <a:pt x="26" y="5"/>
                    </a:lnTo>
                    <a:lnTo>
                      <a:pt x="22" y="2"/>
                    </a:lnTo>
                    <a:lnTo>
                      <a:pt x="19" y="3"/>
                    </a:lnTo>
                    <a:lnTo>
                      <a:pt x="22" y="5"/>
                    </a:lnTo>
                    <a:lnTo>
                      <a:pt x="19" y="5"/>
                    </a:lnTo>
                    <a:lnTo>
                      <a:pt x="15" y="3"/>
                    </a:lnTo>
                    <a:lnTo>
                      <a:pt x="11" y="5"/>
                    </a:lnTo>
                    <a:lnTo>
                      <a:pt x="8" y="5"/>
                    </a:lnTo>
                    <a:lnTo>
                      <a:pt x="3" y="5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8" y="8"/>
                    </a:lnTo>
                    <a:lnTo>
                      <a:pt x="3" y="11"/>
                    </a:lnTo>
                    <a:lnTo>
                      <a:pt x="8" y="9"/>
                    </a:lnTo>
                    <a:lnTo>
                      <a:pt x="11" y="9"/>
                    </a:lnTo>
                    <a:lnTo>
                      <a:pt x="16" y="9"/>
                    </a:lnTo>
                    <a:lnTo>
                      <a:pt x="19" y="9"/>
                    </a:lnTo>
                    <a:lnTo>
                      <a:pt x="22" y="9"/>
                    </a:lnTo>
                    <a:lnTo>
                      <a:pt x="26" y="8"/>
                    </a:lnTo>
                    <a:lnTo>
                      <a:pt x="30" y="6"/>
                    </a:lnTo>
                    <a:lnTo>
                      <a:pt x="34" y="3"/>
                    </a:lnTo>
                    <a:lnTo>
                      <a:pt x="37" y="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91" name="Freeform 525"/>
              <p:cNvSpPr>
                <a:spLocks/>
              </p:cNvSpPr>
              <p:nvPr/>
            </p:nvSpPr>
            <p:spPr bwMode="auto">
              <a:xfrm>
                <a:off x="2977" y="1079"/>
                <a:ext cx="9" cy="4"/>
              </a:xfrm>
              <a:custGeom>
                <a:avLst/>
                <a:gdLst>
                  <a:gd name="T0" fmla="*/ 16 w 19"/>
                  <a:gd name="T1" fmla="*/ 7 h 8"/>
                  <a:gd name="T2" fmla="*/ 19 w 19"/>
                  <a:gd name="T3" fmla="*/ 7 h 8"/>
                  <a:gd name="T4" fmla="*/ 16 w 19"/>
                  <a:gd name="T5" fmla="*/ 7 h 8"/>
                  <a:gd name="T6" fmla="*/ 17 w 19"/>
                  <a:gd name="T7" fmla="*/ 3 h 8"/>
                  <a:gd name="T8" fmla="*/ 14 w 19"/>
                  <a:gd name="T9" fmla="*/ 2 h 8"/>
                  <a:gd name="T10" fmla="*/ 11 w 19"/>
                  <a:gd name="T11" fmla="*/ 0 h 8"/>
                  <a:gd name="T12" fmla="*/ 6 w 19"/>
                  <a:gd name="T13" fmla="*/ 0 h 8"/>
                  <a:gd name="T14" fmla="*/ 3 w 19"/>
                  <a:gd name="T15" fmla="*/ 3 h 8"/>
                  <a:gd name="T16" fmla="*/ 0 w 19"/>
                  <a:gd name="T17" fmla="*/ 3 h 8"/>
                  <a:gd name="T18" fmla="*/ 3 w 19"/>
                  <a:gd name="T19" fmla="*/ 5 h 8"/>
                  <a:gd name="T20" fmla="*/ 5 w 19"/>
                  <a:gd name="T21" fmla="*/ 8 h 8"/>
                  <a:gd name="T22" fmla="*/ 9 w 19"/>
                  <a:gd name="T23" fmla="*/ 8 h 8"/>
                  <a:gd name="T24" fmla="*/ 13 w 19"/>
                  <a:gd name="T25" fmla="*/ 7 h 8"/>
                  <a:gd name="T26" fmla="*/ 16 w 19"/>
                  <a:gd name="T27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8">
                    <a:moveTo>
                      <a:pt x="16" y="7"/>
                    </a:moveTo>
                    <a:lnTo>
                      <a:pt x="19" y="7"/>
                    </a:lnTo>
                    <a:lnTo>
                      <a:pt x="16" y="7"/>
                    </a:lnTo>
                    <a:lnTo>
                      <a:pt x="17" y="3"/>
                    </a:lnTo>
                    <a:lnTo>
                      <a:pt x="14" y="2"/>
                    </a:lnTo>
                    <a:lnTo>
                      <a:pt x="11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3"/>
                    </a:lnTo>
                    <a:lnTo>
                      <a:pt x="3" y="5"/>
                    </a:lnTo>
                    <a:lnTo>
                      <a:pt x="5" y="8"/>
                    </a:lnTo>
                    <a:lnTo>
                      <a:pt x="9" y="8"/>
                    </a:lnTo>
                    <a:lnTo>
                      <a:pt x="13" y="7"/>
                    </a:lnTo>
                    <a:lnTo>
                      <a:pt x="16" y="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grpSp>
          <p:nvGrpSpPr>
            <p:cNvPr id="318" name="Group 526"/>
            <p:cNvGrpSpPr>
              <a:grpSpLocks/>
            </p:cNvGrpSpPr>
            <p:nvPr/>
          </p:nvGrpSpPr>
          <p:grpSpPr bwMode="auto">
            <a:xfrm>
              <a:off x="5838435" y="2473073"/>
              <a:ext cx="239669" cy="313098"/>
              <a:chOff x="2919" y="1097"/>
              <a:chExt cx="163" cy="185"/>
            </a:xfrm>
            <a:solidFill>
              <a:schemeClr val="bg1">
                <a:lumMod val="65000"/>
              </a:schemeClr>
            </a:solidFill>
          </p:grpSpPr>
          <p:sp>
            <p:nvSpPr>
              <p:cNvPr id="681" name="Freeform 527"/>
              <p:cNvSpPr>
                <a:spLocks/>
              </p:cNvSpPr>
              <p:nvPr/>
            </p:nvSpPr>
            <p:spPr bwMode="auto">
              <a:xfrm>
                <a:off x="2919" y="1271"/>
                <a:ext cx="8" cy="6"/>
              </a:xfrm>
              <a:custGeom>
                <a:avLst/>
                <a:gdLst>
                  <a:gd name="T0" fmla="*/ 6 w 16"/>
                  <a:gd name="T1" fmla="*/ 11 h 11"/>
                  <a:gd name="T2" fmla="*/ 10 w 16"/>
                  <a:gd name="T3" fmla="*/ 11 h 11"/>
                  <a:gd name="T4" fmla="*/ 11 w 16"/>
                  <a:gd name="T5" fmla="*/ 8 h 11"/>
                  <a:gd name="T6" fmla="*/ 10 w 16"/>
                  <a:gd name="T7" fmla="*/ 5 h 11"/>
                  <a:gd name="T8" fmla="*/ 10 w 16"/>
                  <a:gd name="T9" fmla="*/ 5 h 11"/>
                  <a:gd name="T10" fmla="*/ 11 w 16"/>
                  <a:gd name="T11" fmla="*/ 5 h 11"/>
                  <a:gd name="T12" fmla="*/ 13 w 16"/>
                  <a:gd name="T13" fmla="*/ 8 h 11"/>
                  <a:gd name="T14" fmla="*/ 16 w 16"/>
                  <a:gd name="T15" fmla="*/ 8 h 11"/>
                  <a:gd name="T16" fmla="*/ 16 w 16"/>
                  <a:gd name="T17" fmla="*/ 3 h 11"/>
                  <a:gd name="T18" fmla="*/ 13 w 16"/>
                  <a:gd name="T19" fmla="*/ 2 h 11"/>
                  <a:gd name="T20" fmla="*/ 8 w 16"/>
                  <a:gd name="T21" fmla="*/ 2 h 11"/>
                  <a:gd name="T22" fmla="*/ 8 w 16"/>
                  <a:gd name="T23" fmla="*/ 0 h 11"/>
                  <a:gd name="T24" fmla="*/ 3 w 16"/>
                  <a:gd name="T25" fmla="*/ 0 h 11"/>
                  <a:gd name="T26" fmla="*/ 6 w 16"/>
                  <a:gd name="T27" fmla="*/ 3 h 11"/>
                  <a:gd name="T28" fmla="*/ 5 w 16"/>
                  <a:gd name="T29" fmla="*/ 8 h 11"/>
                  <a:gd name="T30" fmla="*/ 3 w 16"/>
                  <a:gd name="T31" fmla="*/ 3 h 11"/>
                  <a:gd name="T32" fmla="*/ 0 w 16"/>
                  <a:gd name="T33" fmla="*/ 5 h 11"/>
                  <a:gd name="T34" fmla="*/ 0 w 16"/>
                  <a:gd name="T35" fmla="*/ 8 h 11"/>
                  <a:gd name="T36" fmla="*/ 3 w 16"/>
                  <a:gd name="T37" fmla="*/ 11 h 11"/>
                  <a:gd name="T38" fmla="*/ 6 w 16"/>
                  <a:gd name="T3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6" h="11">
                    <a:moveTo>
                      <a:pt x="6" y="11"/>
                    </a:moveTo>
                    <a:lnTo>
                      <a:pt x="10" y="11"/>
                    </a:lnTo>
                    <a:lnTo>
                      <a:pt x="11" y="8"/>
                    </a:lnTo>
                    <a:lnTo>
                      <a:pt x="10" y="5"/>
                    </a:lnTo>
                    <a:lnTo>
                      <a:pt x="10" y="5"/>
                    </a:lnTo>
                    <a:lnTo>
                      <a:pt x="11" y="5"/>
                    </a:lnTo>
                    <a:lnTo>
                      <a:pt x="13" y="8"/>
                    </a:lnTo>
                    <a:lnTo>
                      <a:pt x="16" y="8"/>
                    </a:lnTo>
                    <a:lnTo>
                      <a:pt x="16" y="3"/>
                    </a:lnTo>
                    <a:lnTo>
                      <a:pt x="13" y="2"/>
                    </a:lnTo>
                    <a:lnTo>
                      <a:pt x="8" y="2"/>
                    </a:lnTo>
                    <a:lnTo>
                      <a:pt x="8" y="0"/>
                    </a:lnTo>
                    <a:lnTo>
                      <a:pt x="3" y="0"/>
                    </a:lnTo>
                    <a:lnTo>
                      <a:pt x="6" y="3"/>
                    </a:lnTo>
                    <a:lnTo>
                      <a:pt x="5" y="8"/>
                    </a:lnTo>
                    <a:lnTo>
                      <a:pt x="3" y="3"/>
                    </a:lnTo>
                    <a:lnTo>
                      <a:pt x="0" y="5"/>
                    </a:lnTo>
                    <a:lnTo>
                      <a:pt x="0" y="8"/>
                    </a:lnTo>
                    <a:lnTo>
                      <a:pt x="3" y="11"/>
                    </a:lnTo>
                    <a:lnTo>
                      <a:pt x="6" y="1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82" name="Freeform 528"/>
              <p:cNvSpPr>
                <a:spLocks/>
              </p:cNvSpPr>
              <p:nvPr/>
            </p:nvSpPr>
            <p:spPr bwMode="auto">
              <a:xfrm>
                <a:off x="2919" y="1097"/>
                <a:ext cx="163" cy="185"/>
              </a:xfrm>
              <a:custGeom>
                <a:avLst/>
                <a:gdLst>
                  <a:gd name="T0" fmla="*/ 22 w 327"/>
                  <a:gd name="T1" fmla="*/ 27 h 369"/>
                  <a:gd name="T2" fmla="*/ 64 w 327"/>
                  <a:gd name="T3" fmla="*/ 49 h 369"/>
                  <a:gd name="T4" fmla="*/ 92 w 327"/>
                  <a:gd name="T5" fmla="*/ 44 h 369"/>
                  <a:gd name="T6" fmla="*/ 124 w 327"/>
                  <a:gd name="T7" fmla="*/ 43 h 369"/>
                  <a:gd name="T8" fmla="*/ 135 w 327"/>
                  <a:gd name="T9" fmla="*/ 28 h 369"/>
                  <a:gd name="T10" fmla="*/ 146 w 327"/>
                  <a:gd name="T11" fmla="*/ 11 h 369"/>
                  <a:gd name="T12" fmla="*/ 173 w 327"/>
                  <a:gd name="T13" fmla="*/ 3 h 369"/>
                  <a:gd name="T14" fmla="*/ 214 w 327"/>
                  <a:gd name="T15" fmla="*/ 12 h 369"/>
                  <a:gd name="T16" fmla="*/ 216 w 327"/>
                  <a:gd name="T17" fmla="*/ 35 h 369"/>
                  <a:gd name="T18" fmla="*/ 216 w 327"/>
                  <a:gd name="T19" fmla="*/ 46 h 369"/>
                  <a:gd name="T20" fmla="*/ 222 w 327"/>
                  <a:gd name="T21" fmla="*/ 66 h 369"/>
                  <a:gd name="T22" fmla="*/ 249 w 327"/>
                  <a:gd name="T23" fmla="*/ 93 h 369"/>
                  <a:gd name="T24" fmla="*/ 238 w 327"/>
                  <a:gd name="T25" fmla="*/ 115 h 369"/>
                  <a:gd name="T26" fmla="*/ 267 w 327"/>
                  <a:gd name="T27" fmla="*/ 147 h 369"/>
                  <a:gd name="T28" fmla="*/ 260 w 327"/>
                  <a:gd name="T29" fmla="*/ 161 h 369"/>
                  <a:gd name="T30" fmla="*/ 260 w 327"/>
                  <a:gd name="T31" fmla="*/ 179 h 369"/>
                  <a:gd name="T32" fmla="*/ 273 w 327"/>
                  <a:gd name="T33" fmla="*/ 193 h 369"/>
                  <a:gd name="T34" fmla="*/ 286 w 327"/>
                  <a:gd name="T35" fmla="*/ 204 h 369"/>
                  <a:gd name="T36" fmla="*/ 279 w 327"/>
                  <a:gd name="T37" fmla="*/ 223 h 369"/>
                  <a:gd name="T38" fmla="*/ 294 w 327"/>
                  <a:gd name="T39" fmla="*/ 234 h 369"/>
                  <a:gd name="T40" fmla="*/ 316 w 327"/>
                  <a:gd name="T41" fmla="*/ 247 h 369"/>
                  <a:gd name="T42" fmla="*/ 321 w 327"/>
                  <a:gd name="T43" fmla="*/ 268 h 369"/>
                  <a:gd name="T44" fmla="*/ 286 w 327"/>
                  <a:gd name="T45" fmla="*/ 299 h 369"/>
                  <a:gd name="T46" fmla="*/ 255 w 327"/>
                  <a:gd name="T47" fmla="*/ 323 h 369"/>
                  <a:gd name="T48" fmla="*/ 241 w 327"/>
                  <a:gd name="T49" fmla="*/ 334 h 369"/>
                  <a:gd name="T50" fmla="*/ 221 w 327"/>
                  <a:gd name="T51" fmla="*/ 344 h 369"/>
                  <a:gd name="T52" fmla="*/ 200 w 327"/>
                  <a:gd name="T53" fmla="*/ 345 h 369"/>
                  <a:gd name="T54" fmla="*/ 181 w 327"/>
                  <a:gd name="T55" fmla="*/ 345 h 369"/>
                  <a:gd name="T56" fmla="*/ 171 w 327"/>
                  <a:gd name="T57" fmla="*/ 350 h 369"/>
                  <a:gd name="T58" fmla="*/ 141 w 327"/>
                  <a:gd name="T59" fmla="*/ 361 h 369"/>
                  <a:gd name="T60" fmla="*/ 124 w 327"/>
                  <a:gd name="T61" fmla="*/ 363 h 369"/>
                  <a:gd name="T62" fmla="*/ 111 w 327"/>
                  <a:gd name="T63" fmla="*/ 363 h 369"/>
                  <a:gd name="T64" fmla="*/ 95 w 327"/>
                  <a:gd name="T65" fmla="*/ 369 h 369"/>
                  <a:gd name="T66" fmla="*/ 100 w 327"/>
                  <a:gd name="T67" fmla="*/ 360 h 369"/>
                  <a:gd name="T68" fmla="*/ 92 w 327"/>
                  <a:gd name="T69" fmla="*/ 352 h 369"/>
                  <a:gd name="T70" fmla="*/ 75 w 327"/>
                  <a:gd name="T71" fmla="*/ 347 h 369"/>
                  <a:gd name="T72" fmla="*/ 57 w 327"/>
                  <a:gd name="T73" fmla="*/ 339 h 369"/>
                  <a:gd name="T74" fmla="*/ 51 w 327"/>
                  <a:gd name="T75" fmla="*/ 336 h 369"/>
                  <a:gd name="T76" fmla="*/ 51 w 327"/>
                  <a:gd name="T77" fmla="*/ 314 h 369"/>
                  <a:gd name="T78" fmla="*/ 51 w 327"/>
                  <a:gd name="T79" fmla="*/ 298 h 369"/>
                  <a:gd name="T80" fmla="*/ 43 w 327"/>
                  <a:gd name="T81" fmla="*/ 279 h 369"/>
                  <a:gd name="T82" fmla="*/ 33 w 327"/>
                  <a:gd name="T83" fmla="*/ 265 h 369"/>
                  <a:gd name="T84" fmla="*/ 46 w 327"/>
                  <a:gd name="T85" fmla="*/ 247 h 369"/>
                  <a:gd name="T86" fmla="*/ 60 w 327"/>
                  <a:gd name="T87" fmla="*/ 242 h 369"/>
                  <a:gd name="T88" fmla="*/ 65 w 327"/>
                  <a:gd name="T89" fmla="*/ 233 h 369"/>
                  <a:gd name="T90" fmla="*/ 79 w 327"/>
                  <a:gd name="T91" fmla="*/ 225 h 369"/>
                  <a:gd name="T92" fmla="*/ 97 w 327"/>
                  <a:gd name="T93" fmla="*/ 214 h 369"/>
                  <a:gd name="T94" fmla="*/ 114 w 327"/>
                  <a:gd name="T95" fmla="*/ 198 h 369"/>
                  <a:gd name="T96" fmla="*/ 133 w 327"/>
                  <a:gd name="T97" fmla="*/ 182 h 369"/>
                  <a:gd name="T98" fmla="*/ 146 w 327"/>
                  <a:gd name="T99" fmla="*/ 179 h 369"/>
                  <a:gd name="T100" fmla="*/ 135 w 327"/>
                  <a:gd name="T101" fmla="*/ 160 h 369"/>
                  <a:gd name="T102" fmla="*/ 117 w 327"/>
                  <a:gd name="T103" fmla="*/ 150 h 369"/>
                  <a:gd name="T104" fmla="*/ 106 w 327"/>
                  <a:gd name="T105" fmla="*/ 149 h 369"/>
                  <a:gd name="T106" fmla="*/ 94 w 327"/>
                  <a:gd name="T107" fmla="*/ 125 h 369"/>
                  <a:gd name="T108" fmla="*/ 86 w 327"/>
                  <a:gd name="T109" fmla="*/ 101 h 369"/>
                  <a:gd name="T110" fmla="*/ 83 w 327"/>
                  <a:gd name="T111" fmla="*/ 84 h 369"/>
                  <a:gd name="T112" fmla="*/ 75 w 327"/>
                  <a:gd name="T113" fmla="*/ 66 h 369"/>
                  <a:gd name="T114" fmla="*/ 51 w 327"/>
                  <a:gd name="T115" fmla="*/ 57 h 369"/>
                  <a:gd name="T116" fmla="*/ 27 w 327"/>
                  <a:gd name="T117" fmla="*/ 49 h 3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27" h="369">
                    <a:moveTo>
                      <a:pt x="0" y="36"/>
                    </a:moveTo>
                    <a:lnTo>
                      <a:pt x="5" y="33"/>
                    </a:lnTo>
                    <a:lnTo>
                      <a:pt x="10" y="36"/>
                    </a:lnTo>
                    <a:lnTo>
                      <a:pt x="14" y="35"/>
                    </a:lnTo>
                    <a:lnTo>
                      <a:pt x="11" y="31"/>
                    </a:lnTo>
                    <a:lnTo>
                      <a:pt x="18" y="27"/>
                    </a:lnTo>
                    <a:lnTo>
                      <a:pt x="22" y="27"/>
                    </a:lnTo>
                    <a:lnTo>
                      <a:pt x="27" y="28"/>
                    </a:lnTo>
                    <a:lnTo>
                      <a:pt x="33" y="35"/>
                    </a:lnTo>
                    <a:lnTo>
                      <a:pt x="43" y="39"/>
                    </a:lnTo>
                    <a:lnTo>
                      <a:pt x="49" y="47"/>
                    </a:lnTo>
                    <a:lnTo>
                      <a:pt x="54" y="47"/>
                    </a:lnTo>
                    <a:lnTo>
                      <a:pt x="60" y="49"/>
                    </a:lnTo>
                    <a:lnTo>
                      <a:pt x="64" y="49"/>
                    </a:lnTo>
                    <a:lnTo>
                      <a:pt x="70" y="50"/>
                    </a:lnTo>
                    <a:lnTo>
                      <a:pt x="73" y="49"/>
                    </a:lnTo>
                    <a:lnTo>
                      <a:pt x="78" y="47"/>
                    </a:lnTo>
                    <a:lnTo>
                      <a:pt x="83" y="47"/>
                    </a:lnTo>
                    <a:lnTo>
                      <a:pt x="84" y="44"/>
                    </a:lnTo>
                    <a:lnTo>
                      <a:pt x="89" y="44"/>
                    </a:lnTo>
                    <a:lnTo>
                      <a:pt x="92" y="44"/>
                    </a:lnTo>
                    <a:lnTo>
                      <a:pt x="97" y="47"/>
                    </a:lnTo>
                    <a:lnTo>
                      <a:pt x="106" y="49"/>
                    </a:lnTo>
                    <a:lnTo>
                      <a:pt x="116" y="52"/>
                    </a:lnTo>
                    <a:lnTo>
                      <a:pt x="117" y="50"/>
                    </a:lnTo>
                    <a:lnTo>
                      <a:pt x="121" y="50"/>
                    </a:lnTo>
                    <a:lnTo>
                      <a:pt x="121" y="46"/>
                    </a:lnTo>
                    <a:lnTo>
                      <a:pt x="124" y="43"/>
                    </a:lnTo>
                    <a:lnTo>
                      <a:pt x="127" y="41"/>
                    </a:lnTo>
                    <a:lnTo>
                      <a:pt x="129" y="41"/>
                    </a:lnTo>
                    <a:lnTo>
                      <a:pt x="132" y="41"/>
                    </a:lnTo>
                    <a:lnTo>
                      <a:pt x="135" y="38"/>
                    </a:lnTo>
                    <a:lnTo>
                      <a:pt x="135" y="35"/>
                    </a:lnTo>
                    <a:lnTo>
                      <a:pt x="135" y="31"/>
                    </a:lnTo>
                    <a:lnTo>
                      <a:pt x="135" y="28"/>
                    </a:lnTo>
                    <a:lnTo>
                      <a:pt x="137" y="24"/>
                    </a:lnTo>
                    <a:lnTo>
                      <a:pt x="135" y="24"/>
                    </a:lnTo>
                    <a:lnTo>
                      <a:pt x="137" y="19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41" y="12"/>
                    </a:lnTo>
                    <a:lnTo>
                      <a:pt x="146" y="11"/>
                    </a:lnTo>
                    <a:lnTo>
                      <a:pt x="149" y="9"/>
                    </a:lnTo>
                    <a:lnTo>
                      <a:pt x="152" y="6"/>
                    </a:lnTo>
                    <a:lnTo>
                      <a:pt x="156" y="4"/>
                    </a:lnTo>
                    <a:lnTo>
                      <a:pt x="160" y="4"/>
                    </a:lnTo>
                    <a:lnTo>
                      <a:pt x="165" y="6"/>
                    </a:lnTo>
                    <a:lnTo>
                      <a:pt x="168" y="6"/>
                    </a:lnTo>
                    <a:lnTo>
                      <a:pt x="173" y="3"/>
                    </a:lnTo>
                    <a:lnTo>
                      <a:pt x="179" y="1"/>
                    </a:lnTo>
                    <a:lnTo>
                      <a:pt x="186" y="0"/>
                    </a:lnTo>
                    <a:lnTo>
                      <a:pt x="189" y="3"/>
                    </a:lnTo>
                    <a:lnTo>
                      <a:pt x="194" y="6"/>
                    </a:lnTo>
                    <a:lnTo>
                      <a:pt x="200" y="8"/>
                    </a:lnTo>
                    <a:lnTo>
                      <a:pt x="208" y="11"/>
                    </a:lnTo>
                    <a:lnTo>
                      <a:pt x="214" y="12"/>
                    </a:lnTo>
                    <a:lnTo>
                      <a:pt x="221" y="14"/>
                    </a:lnTo>
                    <a:lnTo>
                      <a:pt x="221" y="14"/>
                    </a:lnTo>
                    <a:lnTo>
                      <a:pt x="224" y="19"/>
                    </a:lnTo>
                    <a:lnTo>
                      <a:pt x="225" y="24"/>
                    </a:lnTo>
                    <a:lnTo>
                      <a:pt x="221" y="27"/>
                    </a:lnTo>
                    <a:lnTo>
                      <a:pt x="216" y="30"/>
                    </a:lnTo>
                    <a:lnTo>
                      <a:pt x="216" y="35"/>
                    </a:lnTo>
                    <a:lnTo>
                      <a:pt x="221" y="36"/>
                    </a:lnTo>
                    <a:lnTo>
                      <a:pt x="221" y="38"/>
                    </a:lnTo>
                    <a:lnTo>
                      <a:pt x="214" y="39"/>
                    </a:lnTo>
                    <a:lnTo>
                      <a:pt x="206" y="41"/>
                    </a:lnTo>
                    <a:lnTo>
                      <a:pt x="209" y="43"/>
                    </a:lnTo>
                    <a:lnTo>
                      <a:pt x="213" y="43"/>
                    </a:lnTo>
                    <a:lnTo>
                      <a:pt x="216" y="46"/>
                    </a:lnTo>
                    <a:lnTo>
                      <a:pt x="213" y="49"/>
                    </a:lnTo>
                    <a:lnTo>
                      <a:pt x="209" y="52"/>
                    </a:lnTo>
                    <a:lnTo>
                      <a:pt x="209" y="55"/>
                    </a:lnTo>
                    <a:lnTo>
                      <a:pt x="213" y="58"/>
                    </a:lnTo>
                    <a:lnTo>
                      <a:pt x="214" y="62"/>
                    </a:lnTo>
                    <a:lnTo>
                      <a:pt x="219" y="66"/>
                    </a:lnTo>
                    <a:lnTo>
                      <a:pt x="222" y="66"/>
                    </a:lnTo>
                    <a:lnTo>
                      <a:pt x="235" y="69"/>
                    </a:lnTo>
                    <a:lnTo>
                      <a:pt x="240" y="73"/>
                    </a:lnTo>
                    <a:lnTo>
                      <a:pt x="244" y="77"/>
                    </a:lnTo>
                    <a:lnTo>
                      <a:pt x="254" y="82"/>
                    </a:lnTo>
                    <a:lnTo>
                      <a:pt x="254" y="87"/>
                    </a:lnTo>
                    <a:lnTo>
                      <a:pt x="252" y="90"/>
                    </a:lnTo>
                    <a:lnTo>
                      <a:pt x="249" y="93"/>
                    </a:lnTo>
                    <a:lnTo>
                      <a:pt x="246" y="96"/>
                    </a:lnTo>
                    <a:lnTo>
                      <a:pt x="241" y="100"/>
                    </a:lnTo>
                    <a:lnTo>
                      <a:pt x="238" y="103"/>
                    </a:lnTo>
                    <a:lnTo>
                      <a:pt x="236" y="106"/>
                    </a:lnTo>
                    <a:lnTo>
                      <a:pt x="235" y="109"/>
                    </a:lnTo>
                    <a:lnTo>
                      <a:pt x="235" y="112"/>
                    </a:lnTo>
                    <a:lnTo>
                      <a:pt x="238" y="115"/>
                    </a:lnTo>
                    <a:lnTo>
                      <a:pt x="241" y="117"/>
                    </a:lnTo>
                    <a:lnTo>
                      <a:pt x="251" y="128"/>
                    </a:lnTo>
                    <a:lnTo>
                      <a:pt x="259" y="136"/>
                    </a:lnTo>
                    <a:lnTo>
                      <a:pt x="262" y="141"/>
                    </a:lnTo>
                    <a:lnTo>
                      <a:pt x="263" y="144"/>
                    </a:lnTo>
                    <a:lnTo>
                      <a:pt x="265" y="144"/>
                    </a:lnTo>
                    <a:lnTo>
                      <a:pt x="267" y="147"/>
                    </a:lnTo>
                    <a:lnTo>
                      <a:pt x="268" y="150"/>
                    </a:lnTo>
                    <a:lnTo>
                      <a:pt x="270" y="154"/>
                    </a:lnTo>
                    <a:lnTo>
                      <a:pt x="267" y="154"/>
                    </a:lnTo>
                    <a:lnTo>
                      <a:pt x="262" y="155"/>
                    </a:lnTo>
                    <a:lnTo>
                      <a:pt x="259" y="155"/>
                    </a:lnTo>
                    <a:lnTo>
                      <a:pt x="262" y="158"/>
                    </a:lnTo>
                    <a:lnTo>
                      <a:pt x="260" y="161"/>
                    </a:lnTo>
                    <a:lnTo>
                      <a:pt x="260" y="165"/>
                    </a:lnTo>
                    <a:lnTo>
                      <a:pt x="259" y="168"/>
                    </a:lnTo>
                    <a:lnTo>
                      <a:pt x="260" y="171"/>
                    </a:lnTo>
                    <a:lnTo>
                      <a:pt x="263" y="171"/>
                    </a:lnTo>
                    <a:lnTo>
                      <a:pt x="265" y="174"/>
                    </a:lnTo>
                    <a:lnTo>
                      <a:pt x="262" y="176"/>
                    </a:lnTo>
                    <a:lnTo>
                      <a:pt x="260" y="179"/>
                    </a:lnTo>
                    <a:lnTo>
                      <a:pt x="262" y="182"/>
                    </a:lnTo>
                    <a:lnTo>
                      <a:pt x="265" y="185"/>
                    </a:lnTo>
                    <a:lnTo>
                      <a:pt x="268" y="187"/>
                    </a:lnTo>
                    <a:lnTo>
                      <a:pt x="271" y="185"/>
                    </a:lnTo>
                    <a:lnTo>
                      <a:pt x="275" y="187"/>
                    </a:lnTo>
                    <a:lnTo>
                      <a:pt x="278" y="190"/>
                    </a:lnTo>
                    <a:lnTo>
                      <a:pt x="273" y="193"/>
                    </a:lnTo>
                    <a:lnTo>
                      <a:pt x="273" y="193"/>
                    </a:lnTo>
                    <a:lnTo>
                      <a:pt x="273" y="196"/>
                    </a:lnTo>
                    <a:lnTo>
                      <a:pt x="273" y="196"/>
                    </a:lnTo>
                    <a:lnTo>
                      <a:pt x="275" y="200"/>
                    </a:lnTo>
                    <a:lnTo>
                      <a:pt x="279" y="201"/>
                    </a:lnTo>
                    <a:lnTo>
                      <a:pt x="282" y="203"/>
                    </a:lnTo>
                    <a:lnTo>
                      <a:pt x="286" y="204"/>
                    </a:lnTo>
                    <a:lnTo>
                      <a:pt x="289" y="206"/>
                    </a:lnTo>
                    <a:lnTo>
                      <a:pt x="290" y="209"/>
                    </a:lnTo>
                    <a:lnTo>
                      <a:pt x="292" y="212"/>
                    </a:lnTo>
                    <a:lnTo>
                      <a:pt x="289" y="215"/>
                    </a:lnTo>
                    <a:lnTo>
                      <a:pt x="286" y="219"/>
                    </a:lnTo>
                    <a:lnTo>
                      <a:pt x="282" y="222"/>
                    </a:lnTo>
                    <a:lnTo>
                      <a:pt x="279" y="223"/>
                    </a:lnTo>
                    <a:lnTo>
                      <a:pt x="278" y="223"/>
                    </a:lnTo>
                    <a:lnTo>
                      <a:pt x="278" y="225"/>
                    </a:lnTo>
                    <a:lnTo>
                      <a:pt x="278" y="225"/>
                    </a:lnTo>
                    <a:lnTo>
                      <a:pt x="284" y="230"/>
                    </a:lnTo>
                    <a:lnTo>
                      <a:pt x="286" y="230"/>
                    </a:lnTo>
                    <a:lnTo>
                      <a:pt x="290" y="231"/>
                    </a:lnTo>
                    <a:lnTo>
                      <a:pt x="294" y="234"/>
                    </a:lnTo>
                    <a:lnTo>
                      <a:pt x="297" y="234"/>
                    </a:lnTo>
                    <a:lnTo>
                      <a:pt x="300" y="236"/>
                    </a:lnTo>
                    <a:lnTo>
                      <a:pt x="303" y="238"/>
                    </a:lnTo>
                    <a:lnTo>
                      <a:pt x="308" y="241"/>
                    </a:lnTo>
                    <a:lnTo>
                      <a:pt x="311" y="242"/>
                    </a:lnTo>
                    <a:lnTo>
                      <a:pt x="314" y="242"/>
                    </a:lnTo>
                    <a:lnTo>
                      <a:pt x="316" y="247"/>
                    </a:lnTo>
                    <a:lnTo>
                      <a:pt x="321" y="249"/>
                    </a:lnTo>
                    <a:lnTo>
                      <a:pt x="324" y="252"/>
                    </a:lnTo>
                    <a:lnTo>
                      <a:pt x="327" y="255"/>
                    </a:lnTo>
                    <a:lnTo>
                      <a:pt x="324" y="258"/>
                    </a:lnTo>
                    <a:lnTo>
                      <a:pt x="322" y="261"/>
                    </a:lnTo>
                    <a:lnTo>
                      <a:pt x="322" y="265"/>
                    </a:lnTo>
                    <a:lnTo>
                      <a:pt x="321" y="268"/>
                    </a:lnTo>
                    <a:lnTo>
                      <a:pt x="317" y="271"/>
                    </a:lnTo>
                    <a:lnTo>
                      <a:pt x="308" y="279"/>
                    </a:lnTo>
                    <a:lnTo>
                      <a:pt x="301" y="285"/>
                    </a:lnTo>
                    <a:lnTo>
                      <a:pt x="295" y="290"/>
                    </a:lnTo>
                    <a:lnTo>
                      <a:pt x="290" y="296"/>
                    </a:lnTo>
                    <a:lnTo>
                      <a:pt x="289" y="298"/>
                    </a:lnTo>
                    <a:lnTo>
                      <a:pt x="286" y="299"/>
                    </a:lnTo>
                    <a:lnTo>
                      <a:pt x="282" y="304"/>
                    </a:lnTo>
                    <a:lnTo>
                      <a:pt x="279" y="306"/>
                    </a:lnTo>
                    <a:lnTo>
                      <a:pt x="278" y="307"/>
                    </a:lnTo>
                    <a:lnTo>
                      <a:pt x="273" y="312"/>
                    </a:lnTo>
                    <a:lnTo>
                      <a:pt x="267" y="317"/>
                    </a:lnTo>
                    <a:lnTo>
                      <a:pt x="262" y="320"/>
                    </a:lnTo>
                    <a:lnTo>
                      <a:pt x="255" y="323"/>
                    </a:lnTo>
                    <a:lnTo>
                      <a:pt x="252" y="326"/>
                    </a:lnTo>
                    <a:lnTo>
                      <a:pt x="251" y="326"/>
                    </a:lnTo>
                    <a:lnTo>
                      <a:pt x="251" y="326"/>
                    </a:lnTo>
                    <a:lnTo>
                      <a:pt x="248" y="330"/>
                    </a:lnTo>
                    <a:lnTo>
                      <a:pt x="246" y="330"/>
                    </a:lnTo>
                    <a:lnTo>
                      <a:pt x="243" y="333"/>
                    </a:lnTo>
                    <a:lnTo>
                      <a:pt x="241" y="334"/>
                    </a:lnTo>
                    <a:lnTo>
                      <a:pt x="238" y="337"/>
                    </a:lnTo>
                    <a:lnTo>
                      <a:pt x="235" y="341"/>
                    </a:lnTo>
                    <a:lnTo>
                      <a:pt x="232" y="342"/>
                    </a:lnTo>
                    <a:lnTo>
                      <a:pt x="232" y="344"/>
                    </a:lnTo>
                    <a:lnTo>
                      <a:pt x="229" y="344"/>
                    </a:lnTo>
                    <a:lnTo>
                      <a:pt x="224" y="344"/>
                    </a:lnTo>
                    <a:lnTo>
                      <a:pt x="221" y="344"/>
                    </a:lnTo>
                    <a:lnTo>
                      <a:pt x="217" y="344"/>
                    </a:lnTo>
                    <a:lnTo>
                      <a:pt x="216" y="341"/>
                    </a:lnTo>
                    <a:lnTo>
                      <a:pt x="214" y="341"/>
                    </a:lnTo>
                    <a:lnTo>
                      <a:pt x="211" y="344"/>
                    </a:lnTo>
                    <a:lnTo>
                      <a:pt x="208" y="344"/>
                    </a:lnTo>
                    <a:lnTo>
                      <a:pt x="203" y="345"/>
                    </a:lnTo>
                    <a:lnTo>
                      <a:pt x="200" y="345"/>
                    </a:lnTo>
                    <a:lnTo>
                      <a:pt x="197" y="345"/>
                    </a:lnTo>
                    <a:lnTo>
                      <a:pt x="195" y="344"/>
                    </a:lnTo>
                    <a:lnTo>
                      <a:pt x="194" y="347"/>
                    </a:lnTo>
                    <a:lnTo>
                      <a:pt x="190" y="349"/>
                    </a:lnTo>
                    <a:lnTo>
                      <a:pt x="187" y="347"/>
                    </a:lnTo>
                    <a:lnTo>
                      <a:pt x="184" y="347"/>
                    </a:lnTo>
                    <a:lnTo>
                      <a:pt x="181" y="345"/>
                    </a:lnTo>
                    <a:lnTo>
                      <a:pt x="183" y="349"/>
                    </a:lnTo>
                    <a:lnTo>
                      <a:pt x="178" y="350"/>
                    </a:lnTo>
                    <a:lnTo>
                      <a:pt x="179" y="353"/>
                    </a:lnTo>
                    <a:lnTo>
                      <a:pt x="176" y="353"/>
                    </a:lnTo>
                    <a:lnTo>
                      <a:pt x="173" y="352"/>
                    </a:lnTo>
                    <a:lnTo>
                      <a:pt x="171" y="349"/>
                    </a:lnTo>
                    <a:lnTo>
                      <a:pt x="171" y="350"/>
                    </a:lnTo>
                    <a:lnTo>
                      <a:pt x="167" y="353"/>
                    </a:lnTo>
                    <a:lnTo>
                      <a:pt x="163" y="352"/>
                    </a:lnTo>
                    <a:lnTo>
                      <a:pt x="160" y="353"/>
                    </a:lnTo>
                    <a:lnTo>
                      <a:pt x="157" y="355"/>
                    </a:lnTo>
                    <a:lnTo>
                      <a:pt x="149" y="357"/>
                    </a:lnTo>
                    <a:lnTo>
                      <a:pt x="143" y="357"/>
                    </a:lnTo>
                    <a:lnTo>
                      <a:pt x="141" y="361"/>
                    </a:lnTo>
                    <a:lnTo>
                      <a:pt x="140" y="363"/>
                    </a:lnTo>
                    <a:lnTo>
                      <a:pt x="138" y="363"/>
                    </a:lnTo>
                    <a:lnTo>
                      <a:pt x="135" y="363"/>
                    </a:lnTo>
                    <a:lnTo>
                      <a:pt x="133" y="360"/>
                    </a:lnTo>
                    <a:lnTo>
                      <a:pt x="130" y="360"/>
                    </a:lnTo>
                    <a:lnTo>
                      <a:pt x="127" y="361"/>
                    </a:lnTo>
                    <a:lnTo>
                      <a:pt x="124" y="363"/>
                    </a:lnTo>
                    <a:lnTo>
                      <a:pt x="122" y="363"/>
                    </a:lnTo>
                    <a:lnTo>
                      <a:pt x="117" y="364"/>
                    </a:lnTo>
                    <a:lnTo>
                      <a:pt x="114" y="364"/>
                    </a:lnTo>
                    <a:lnTo>
                      <a:pt x="111" y="364"/>
                    </a:lnTo>
                    <a:lnTo>
                      <a:pt x="106" y="364"/>
                    </a:lnTo>
                    <a:lnTo>
                      <a:pt x="111" y="363"/>
                    </a:lnTo>
                    <a:lnTo>
                      <a:pt x="111" y="363"/>
                    </a:lnTo>
                    <a:lnTo>
                      <a:pt x="110" y="363"/>
                    </a:lnTo>
                    <a:lnTo>
                      <a:pt x="110" y="363"/>
                    </a:lnTo>
                    <a:lnTo>
                      <a:pt x="110" y="363"/>
                    </a:lnTo>
                    <a:lnTo>
                      <a:pt x="106" y="366"/>
                    </a:lnTo>
                    <a:lnTo>
                      <a:pt x="102" y="369"/>
                    </a:lnTo>
                    <a:lnTo>
                      <a:pt x="98" y="369"/>
                    </a:lnTo>
                    <a:lnTo>
                      <a:pt x="95" y="369"/>
                    </a:lnTo>
                    <a:lnTo>
                      <a:pt x="98" y="368"/>
                    </a:lnTo>
                    <a:lnTo>
                      <a:pt x="102" y="366"/>
                    </a:lnTo>
                    <a:lnTo>
                      <a:pt x="102" y="363"/>
                    </a:lnTo>
                    <a:lnTo>
                      <a:pt x="102" y="363"/>
                    </a:lnTo>
                    <a:lnTo>
                      <a:pt x="100" y="361"/>
                    </a:lnTo>
                    <a:lnTo>
                      <a:pt x="103" y="360"/>
                    </a:lnTo>
                    <a:lnTo>
                      <a:pt x="100" y="360"/>
                    </a:lnTo>
                    <a:lnTo>
                      <a:pt x="97" y="358"/>
                    </a:lnTo>
                    <a:lnTo>
                      <a:pt x="97" y="358"/>
                    </a:lnTo>
                    <a:lnTo>
                      <a:pt x="94" y="357"/>
                    </a:lnTo>
                    <a:lnTo>
                      <a:pt x="95" y="353"/>
                    </a:lnTo>
                    <a:lnTo>
                      <a:pt x="98" y="349"/>
                    </a:lnTo>
                    <a:lnTo>
                      <a:pt x="95" y="350"/>
                    </a:lnTo>
                    <a:lnTo>
                      <a:pt x="92" y="352"/>
                    </a:lnTo>
                    <a:lnTo>
                      <a:pt x="87" y="353"/>
                    </a:lnTo>
                    <a:lnTo>
                      <a:pt x="84" y="353"/>
                    </a:lnTo>
                    <a:lnTo>
                      <a:pt x="81" y="352"/>
                    </a:lnTo>
                    <a:lnTo>
                      <a:pt x="83" y="349"/>
                    </a:lnTo>
                    <a:lnTo>
                      <a:pt x="79" y="347"/>
                    </a:lnTo>
                    <a:lnTo>
                      <a:pt x="79" y="347"/>
                    </a:lnTo>
                    <a:lnTo>
                      <a:pt x="75" y="347"/>
                    </a:lnTo>
                    <a:lnTo>
                      <a:pt x="72" y="345"/>
                    </a:lnTo>
                    <a:lnTo>
                      <a:pt x="68" y="345"/>
                    </a:lnTo>
                    <a:lnTo>
                      <a:pt x="65" y="342"/>
                    </a:lnTo>
                    <a:lnTo>
                      <a:pt x="60" y="342"/>
                    </a:lnTo>
                    <a:lnTo>
                      <a:pt x="60" y="339"/>
                    </a:lnTo>
                    <a:lnTo>
                      <a:pt x="57" y="339"/>
                    </a:lnTo>
                    <a:lnTo>
                      <a:pt x="57" y="339"/>
                    </a:lnTo>
                    <a:lnTo>
                      <a:pt x="57" y="342"/>
                    </a:lnTo>
                    <a:lnTo>
                      <a:pt x="52" y="341"/>
                    </a:lnTo>
                    <a:lnTo>
                      <a:pt x="54" y="341"/>
                    </a:lnTo>
                    <a:lnTo>
                      <a:pt x="54" y="341"/>
                    </a:lnTo>
                    <a:lnTo>
                      <a:pt x="52" y="341"/>
                    </a:lnTo>
                    <a:lnTo>
                      <a:pt x="49" y="339"/>
                    </a:lnTo>
                    <a:lnTo>
                      <a:pt x="51" y="336"/>
                    </a:lnTo>
                    <a:lnTo>
                      <a:pt x="48" y="333"/>
                    </a:lnTo>
                    <a:lnTo>
                      <a:pt x="48" y="330"/>
                    </a:lnTo>
                    <a:lnTo>
                      <a:pt x="48" y="325"/>
                    </a:lnTo>
                    <a:lnTo>
                      <a:pt x="46" y="322"/>
                    </a:lnTo>
                    <a:lnTo>
                      <a:pt x="49" y="322"/>
                    </a:lnTo>
                    <a:lnTo>
                      <a:pt x="51" y="317"/>
                    </a:lnTo>
                    <a:lnTo>
                      <a:pt x="51" y="314"/>
                    </a:lnTo>
                    <a:lnTo>
                      <a:pt x="51" y="311"/>
                    </a:lnTo>
                    <a:lnTo>
                      <a:pt x="48" y="307"/>
                    </a:lnTo>
                    <a:lnTo>
                      <a:pt x="49" y="304"/>
                    </a:lnTo>
                    <a:lnTo>
                      <a:pt x="51" y="304"/>
                    </a:lnTo>
                    <a:lnTo>
                      <a:pt x="54" y="304"/>
                    </a:lnTo>
                    <a:lnTo>
                      <a:pt x="51" y="303"/>
                    </a:lnTo>
                    <a:lnTo>
                      <a:pt x="51" y="298"/>
                    </a:lnTo>
                    <a:lnTo>
                      <a:pt x="48" y="295"/>
                    </a:lnTo>
                    <a:lnTo>
                      <a:pt x="46" y="291"/>
                    </a:lnTo>
                    <a:lnTo>
                      <a:pt x="41" y="290"/>
                    </a:lnTo>
                    <a:lnTo>
                      <a:pt x="41" y="288"/>
                    </a:lnTo>
                    <a:lnTo>
                      <a:pt x="41" y="285"/>
                    </a:lnTo>
                    <a:lnTo>
                      <a:pt x="43" y="282"/>
                    </a:lnTo>
                    <a:lnTo>
                      <a:pt x="43" y="279"/>
                    </a:lnTo>
                    <a:lnTo>
                      <a:pt x="43" y="277"/>
                    </a:lnTo>
                    <a:lnTo>
                      <a:pt x="40" y="274"/>
                    </a:lnTo>
                    <a:lnTo>
                      <a:pt x="40" y="272"/>
                    </a:lnTo>
                    <a:lnTo>
                      <a:pt x="38" y="272"/>
                    </a:lnTo>
                    <a:lnTo>
                      <a:pt x="37" y="269"/>
                    </a:lnTo>
                    <a:lnTo>
                      <a:pt x="37" y="266"/>
                    </a:lnTo>
                    <a:lnTo>
                      <a:pt x="33" y="265"/>
                    </a:lnTo>
                    <a:lnTo>
                      <a:pt x="37" y="261"/>
                    </a:lnTo>
                    <a:lnTo>
                      <a:pt x="37" y="258"/>
                    </a:lnTo>
                    <a:lnTo>
                      <a:pt x="41" y="257"/>
                    </a:lnTo>
                    <a:lnTo>
                      <a:pt x="45" y="252"/>
                    </a:lnTo>
                    <a:lnTo>
                      <a:pt x="45" y="249"/>
                    </a:lnTo>
                    <a:lnTo>
                      <a:pt x="48" y="250"/>
                    </a:lnTo>
                    <a:lnTo>
                      <a:pt x="46" y="247"/>
                    </a:lnTo>
                    <a:lnTo>
                      <a:pt x="45" y="242"/>
                    </a:lnTo>
                    <a:lnTo>
                      <a:pt x="46" y="241"/>
                    </a:lnTo>
                    <a:lnTo>
                      <a:pt x="49" y="244"/>
                    </a:lnTo>
                    <a:lnTo>
                      <a:pt x="52" y="244"/>
                    </a:lnTo>
                    <a:lnTo>
                      <a:pt x="56" y="242"/>
                    </a:lnTo>
                    <a:lnTo>
                      <a:pt x="56" y="244"/>
                    </a:lnTo>
                    <a:lnTo>
                      <a:pt x="60" y="242"/>
                    </a:lnTo>
                    <a:lnTo>
                      <a:pt x="64" y="242"/>
                    </a:lnTo>
                    <a:lnTo>
                      <a:pt x="67" y="241"/>
                    </a:lnTo>
                    <a:lnTo>
                      <a:pt x="68" y="239"/>
                    </a:lnTo>
                    <a:lnTo>
                      <a:pt x="67" y="238"/>
                    </a:lnTo>
                    <a:lnTo>
                      <a:pt x="65" y="234"/>
                    </a:lnTo>
                    <a:lnTo>
                      <a:pt x="68" y="236"/>
                    </a:lnTo>
                    <a:lnTo>
                      <a:pt x="65" y="233"/>
                    </a:lnTo>
                    <a:lnTo>
                      <a:pt x="68" y="234"/>
                    </a:lnTo>
                    <a:lnTo>
                      <a:pt x="70" y="231"/>
                    </a:lnTo>
                    <a:lnTo>
                      <a:pt x="72" y="226"/>
                    </a:lnTo>
                    <a:lnTo>
                      <a:pt x="75" y="225"/>
                    </a:lnTo>
                    <a:lnTo>
                      <a:pt x="79" y="228"/>
                    </a:lnTo>
                    <a:lnTo>
                      <a:pt x="79" y="228"/>
                    </a:lnTo>
                    <a:lnTo>
                      <a:pt x="79" y="225"/>
                    </a:lnTo>
                    <a:lnTo>
                      <a:pt x="83" y="223"/>
                    </a:lnTo>
                    <a:lnTo>
                      <a:pt x="84" y="220"/>
                    </a:lnTo>
                    <a:lnTo>
                      <a:pt x="87" y="220"/>
                    </a:lnTo>
                    <a:lnTo>
                      <a:pt x="91" y="219"/>
                    </a:lnTo>
                    <a:lnTo>
                      <a:pt x="94" y="217"/>
                    </a:lnTo>
                    <a:lnTo>
                      <a:pt x="94" y="214"/>
                    </a:lnTo>
                    <a:lnTo>
                      <a:pt x="97" y="214"/>
                    </a:lnTo>
                    <a:lnTo>
                      <a:pt x="98" y="212"/>
                    </a:lnTo>
                    <a:lnTo>
                      <a:pt x="100" y="209"/>
                    </a:lnTo>
                    <a:lnTo>
                      <a:pt x="102" y="209"/>
                    </a:lnTo>
                    <a:lnTo>
                      <a:pt x="105" y="206"/>
                    </a:lnTo>
                    <a:lnTo>
                      <a:pt x="108" y="203"/>
                    </a:lnTo>
                    <a:lnTo>
                      <a:pt x="111" y="200"/>
                    </a:lnTo>
                    <a:lnTo>
                      <a:pt x="114" y="198"/>
                    </a:lnTo>
                    <a:lnTo>
                      <a:pt x="117" y="195"/>
                    </a:lnTo>
                    <a:lnTo>
                      <a:pt x="119" y="192"/>
                    </a:lnTo>
                    <a:lnTo>
                      <a:pt x="122" y="188"/>
                    </a:lnTo>
                    <a:lnTo>
                      <a:pt x="125" y="185"/>
                    </a:lnTo>
                    <a:lnTo>
                      <a:pt x="129" y="184"/>
                    </a:lnTo>
                    <a:lnTo>
                      <a:pt x="133" y="182"/>
                    </a:lnTo>
                    <a:lnTo>
                      <a:pt x="133" y="182"/>
                    </a:lnTo>
                    <a:lnTo>
                      <a:pt x="137" y="182"/>
                    </a:lnTo>
                    <a:lnTo>
                      <a:pt x="140" y="184"/>
                    </a:lnTo>
                    <a:lnTo>
                      <a:pt x="144" y="185"/>
                    </a:lnTo>
                    <a:lnTo>
                      <a:pt x="141" y="182"/>
                    </a:lnTo>
                    <a:lnTo>
                      <a:pt x="144" y="180"/>
                    </a:lnTo>
                    <a:lnTo>
                      <a:pt x="146" y="179"/>
                    </a:lnTo>
                    <a:lnTo>
                      <a:pt x="146" y="179"/>
                    </a:lnTo>
                    <a:lnTo>
                      <a:pt x="143" y="176"/>
                    </a:lnTo>
                    <a:lnTo>
                      <a:pt x="140" y="174"/>
                    </a:lnTo>
                    <a:lnTo>
                      <a:pt x="140" y="171"/>
                    </a:lnTo>
                    <a:lnTo>
                      <a:pt x="140" y="168"/>
                    </a:lnTo>
                    <a:lnTo>
                      <a:pt x="141" y="163"/>
                    </a:lnTo>
                    <a:lnTo>
                      <a:pt x="138" y="160"/>
                    </a:lnTo>
                    <a:lnTo>
                      <a:pt x="135" y="160"/>
                    </a:lnTo>
                    <a:lnTo>
                      <a:pt x="133" y="158"/>
                    </a:lnTo>
                    <a:lnTo>
                      <a:pt x="127" y="155"/>
                    </a:lnTo>
                    <a:lnTo>
                      <a:pt x="122" y="155"/>
                    </a:lnTo>
                    <a:lnTo>
                      <a:pt x="119" y="154"/>
                    </a:lnTo>
                    <a:lnTo>
                      <a:pt x="119" y="154"/>
                    </a:lnTo>
                    <a:lnTo>
                      <a:pt x="117" y="150"/>
                    </a:lnTo>
                    <a:lnTo>
                      <a:pt x="117" y="150"/>
                    </a:lnTo>
                    <a:lnTo>
                      <a:pt x="117" y="150"/>
                    </a:lnTo>
                    <a:lnTo>
                      <a:pt x="114" y="150"/>
                    </a:lnTo>
                    <a:lnTo>
                      <a:pt x="110" y="150"/>
                    </a:lnTo>
                    <a:lnTo>
                      <a:pt x="108" y="150"/>
                    </a:lnTo>
                    <a:lnTo>
                      <a:pt x="106" y="149"/>
                    </a:lnTo>
                    <a:lnTo>
                      <a:pt x="106" y="149"/>
                    </a:lnTo>
                    <a:lnTo>
                      <a:pt x="106" y="149"/>
                    </a:lnTo>
                    <a:lnTo>
                      <a:pt x="105" y="146"/>
                    </a:lnTo>
                    <a:lnTo>
                      <a:pt x="102" y="142"/>
                    </a:lnTo>
                    <a:lnTo>
                      <a:pt x="100" y="138"/>
                    </a:lnTo>
                    <a:lnTo>
                      <a:pt x="97" y="136"/>
                    </a:lnTo>
                    <a:lnTo>
                      <a:pt x="92" y="133"/>
                    </a:lnTo>
                    <a:lnTo>
                      <a:pt x="92" y="128"/>
                    </a:lnTo>
                    <a:lnTo>
                      <a:pt x="94" y="125"/>
                    </a:lnTo>
                    <a:lnTo>
                      <a:pt x="97" y="122"/>
                    </a:lnTo>
                    <a:lnTo>
                      <a:pt x="97" y="119"/>
                    </a:lnTo>
                    <a:lnTo>
                      <a:pt x="98" y="114"/>
                    </a:lnTo>
                    <a:lnTo>
                      <a:pt x="97" y="112"/>
                    </a:lnTo>
                    <a:lnTo>
                      <a:pt x="92" y="108"/>
                    </a:lnTo>
                    <a:lnTo>
                      <a:pt x="89" y="104"/>
                    </a:lnTo>
                    <a:lnTo>
                      <a:pt x="86" y="101"/>
                    </a:lnTo>
                    <a:lnTo>
                      <a:pt x="87" y="98"/>
                    </a:lnTo>
                    <a:lnTo>
                      <a:pt x="91" y="96"/>
                    </a:lnTo>
                    <a:lnTo>
                      <a:pt x="89" y="92"/>
                    </a:lnTo>
                    <a:lnTo>
                      <a:pt x="86" y="92"/>
                    </a:lnTo>
                    <a:lnTo>
                      <a:pt x="83" y="92"/>
                    </a:lnTo>
                    <a:lnTo>
                      <a:pt x="81" y="89"/>
                    </a:lnTo>
                    <a:lnTo>
                      <a:pt x="83" y="84"/>
                    </a:lnTo>
                    <a:lnTo>
                      <a:pt x="81" y="81"/>
                    </a:lnTo>
                    <a:lnTo>
                      <a:pt x="81" y="77"/>
                    </a:lnTo>
                    <a:lnTo>
                      <a:pt x="84" y="76"/>
                    </a:lnTo>
                    <a:lnTo>
                      <a:pt x="84" y="74"/>
                    </a:lnTo>
                    <a:lnTo>
                      <a:pt x="81" y="73"/>
                    </a:lnTo>
                    <a:lnTo>
                      <a:pt x="78" y="71"/>
                    </a:lnTo>
                    <a:lnTo>
                      <a:pt x="75" y="66"/>
                    </a:lnTo>
                    <a:lnTo>
                      <a:pt x="72" y="66"/>
                    </a:lnTo>
                    <a:lnTo>
                      <a:pt x="70" y="63"/>
                    </a:lnTo>
                    <a:lnTo>
                      <a:pt x="65" y="62"/>
                    </a:lnTo>
                    <a:lnTo>
                      <a:pt x="62" y="60"/>
                    </a:lnTo>
                    <a:lnTo>
                      <a:pt x="59" y="58"/>
                    </a:lnTo>
                    <a:lnTo>
                      <a:pt x="56" y="57"/>
                    </a:lnTo>
                    <a:lnTo>
                      <a:pt x="51" y="57"/>
                    </a:lnTo>
                    <a:lnTo>
                      <a:pt x="48" y="57"/>
                    </a:lnTo>
                    <a:lnTo>
                      <a:pt x="46" y="55"/>
                    </a:lnTo>
                    <a:lnTo>
                      <a:pt x="41" y="55"/>
                    </a:lnTo>
                    <a:lnTo>
                      <a:pt x="38" y="54"/>
                    </a:lnTo>
                    <a:lnTo>
                      <a:pt x="35" y="52"/>
                    </a:lnTo>
                    <a:lnTo>
                      <a:pt x="30" y="50"/>
                    </a:lnTo>
                    <a:lnTo>
                      <a:pt x="27" y="49"/>
                    </a:lnTo>
                    <a:lnTo>
                      <a:pt x="18" y="44"/>
                    </a:lnTo>
                    <a:lnTo>
                      <a:pt x="8" y="39"/>
                    </a:lnTo>
                    <a:lnTo>
                      <a:pt x="8" y="38"/>
                    </a:lnTo>
                    <a:lnTo>
                      <a:pt x="6" y="38"/>
                    </a:lnTo>
                    <a:lnTo>
                      <a:pt x="5" y="36"/>
                    </a:lnTo>
                    <a:lnTo>
                      <a:pt x="0" y="36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grpSp>
          <p:nvGrpSpPr>
            <p:cNvPr id="319" name="Group 529"/>
            <p:cNvGrpSpPr>
              <a:grpSpLocks/>
            </p:cNvGrpSpPr>
            <p:nvPr/>
          </p:nvGrpSpPr>
          <p:grpSpPr bwMode="auto">
            <a:xfrm>
              <a:off x="5657581" y="2505229"/>
              <a:ext cx="258784" cy="426492"/>
              <a:chOff x="2796" y="1116"/>
              <a:chExt cx="176" cy="252"/>
            </a:xfrm>
            <a:solidFill>
              <a:srgbClr val="A6A6A6"/>
            </a:solidFill>
          </p:grpSpPr>
          <p:sp>
            <p:nvSpPr>
              <p:cNvPr id="678" name="Freeform 530"/>
              <p:cNvSpPr>
                <a:spLocks/>
              </p:cNvSpPr>
              <p:nvPr/>
            </p:nvSpPr>
            <p:spPr bwMode="auto">
              <a:xfrm>
                <a:off x="2875" y="1329"/>
                <a:ext cx="10" cy="20"/>
              </a:xfrm>
              <a:custGeom>
                <a:avLst/>
                <a:gdLst>
                  <a:gd name="T0" fmla="*/ 2 w 21"/>
                  <a:gd name="T1" fmla="*/ 35 h 41"/>
                  <a:gd name="T2" fmla="*/ 2 w 21"/>
                  <a:gd name="T3" fmla="*/ 38 h 41"/>
                  <a:gd name="T4" fmla="*/ 2 w 21"/>
                  <a:gd name="T5" fmla="*/ 41 h 41"/>
                  <a:gd name="T6" fmla="*/ 5 w 21"/>
                  <a:gd name="T7" fmla="*/ 39 h 41"/>
                  <a:gd name="T8" fmla="*/ 7 w 21"/>
                  <a:gd name="T9" fmla="*/ 35 h 41"/>
                  <a:gd name="T10" fmla="*/ 8 w 21"/>
                  <a:gd name="T11" fmla="*/ 31 h 41"/>
                  <a:gd name="T12" fmla="*/ 10 w 21"/>
                  <a:gd name="T13" fmla="*/ 28 h 41"/>
                  <a:gd name="T14" fmla="*/ 11 w 21"/>
                  <a:gd name="T15" fmla="*/ 25 h 41"/>
                  <a:gd name="T16" fmla="*/ 13 w 21"/>
                  <a:gd name="T17" fmla="*/ 20 h 41"/>
                  <a:gd name="T18" fmla="*/ 15 w 21"/>
                  <a:gd name="T19" fmla="*/ 17 h 41"/>
                  <a:gd name="T20" fmla="*/ 15 w 21"/>
                  <a:gd name="T21" fmla="*/ 14 h 41"/>
                  <a:gd name="T22" fmla="*/ 18 w 21"/>
                  <a:gd name="T23" fmla="*/ 11 h 41"/>
                  <a:gd name="T24" fmla="*/ 19 w 21"/>
                  <a:gd name="T25" fmla="*/ 8 h 41"/>
                  <a:gd name="T26" fmla="*/ 19 w 21"/>
                  <a:gd name="T27" fmla="*/ 3 h 41"/>
                  <a:gd name="T28" fmla="*/ 21 w 21"/>
                  <a:gd name="T29" fmla="*/ 0 h 41"/>
                  <a:gd name="T30" fmla="*/ 18 w 21"/>
                  <a:gd name="T31" fmla="*/ 0 h 41"/>
                  <a:gd name="T32" fmla="*/ 16 w 21"/>
                  <a:gd name="T33" fmla="*/ 5 h 41"/>
                  <a:gd name="T34" fmla="*/ 15 w 21"/>
                  <a:gd name="T35" fmla="*/ 9 h 41"/>
                  <a:gd name="T36" fmla="*/ 11 w 21"/>
                  <a:gd name="T37" fmla="*/ 14 h 41"/>
                  <a:gd name="T38" fmla="*/ 8 w 21"/>
                  <a:gd name="T39" fmla="*/ 17 h 41"/>
                  <a:gd name="T40" fmla="*/ 5 w 21"/>
                  <a:gd name="T41" fmla="*/ 22 h 41"/>
                  <a:gd name="T42" fmla="*/ 3 w 21"/>
                  <a:gd name="T43" fmla="*/ 25 h 41"/>
                  <a:gd name="T44" fmla="*/ 2 w 21"/>
                  <a:gd name="T45" fmla="*/ 28 h 41"/>
                  <a:gd name="T46" fmla="*/ 0 w 21"/>
                  <a:gd name="T47" fmla="*/ 31 h 41"/>
                  <a:gd name="T48" fmla="*/ 2 w 21"/>
                  <a:gd name="T49" fmla="*/ 35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1" h="41">
                    <a:moveTo>
                      <a:pt x="2" y="35"/>
                    </a:moveTo>
                    <a:lnTo>
                      <a:pt x="2" y="38"/>
                    </a:lnTo>
                    <a:lnTo>
                      <a:pt x="2" y="41"/>
                    </a:lnTo>
                    <a:lnTo>
                      <a:pt x="5" y="39"/>
                    </a:lnTo>
                    <a:lnTo>
                      <a:pt x="7" y="35"/>
                    </a:lnTo>
                    <a:lnTo>
                      <a:pt x="8" y="31"/>
                    </a:lnTo>
                    <a:lnTo>
                      <a:pt x="10" y="28"/>
                    </a:lnTo>
                    <a:lnTo>
                      <a:pt x="11" y="25"/>
                    </a:lnTo>
                    <a:lnTo>
                      <a:pt x="13" y="20"/>
                    </a:lnTo>
                    <a:lnTo>
                      <a:pt x="15" y="17"/>
                    </a:lnTo>
                    <a:lnTo>
                      <a:pt x="15" y="14"/>
                    </a:lnTo>
                    <a:lnTo>
                      <a:pt x="18" y="11"/>
                    </a:lnTo>
                    <a:lnTo>
                      <a:pt x="19" y="8"/>
                    </a:lnTo>
                    <a:lnTo>
                      <a:pt x="19" y="3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6" y="5"/>
                    </a:lnTo>
                    <a:lnTo>
                      <a:pt x="15" y="9"/>
                    </a:lnTo>
                    <a:lnTo>
                      <a:pt x="11" y="14"/>
                    </a:lnTo>
                    <a:lnTo>
                      <a:pt x="8" y="17"/>
                    </a:lnTo>
                    <a:lnTo>
                      <a:pt x="5" y="22"/>
                    </a:lnTo>
                    <a:lnTo>
                      <a:pt x="3" y="25"/>
                    </a:lnTo>
                    <a:lnTo>
                      <a:pt x="2" y="28"/>
                    </a:lnTo>
                    <a:lnTo>
                      <a:pt x="0" y="31"/>
                    </a:lnTo>
                    <a:lnTo>
                      <a:pt x="2" y="3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79" name="Freeform 531"/>
              <p:cNvSpPr>
                <a:spLocks/>
              </p:cNvSpPr>
              <p:nvPr/>
            </p:nvSpPr>
            <p:spPr bwMode="auto">
              <a:xfrm>
                <a:off x="2899" y="1318"/>
                <a:ext cx="14" cy="19"/>
              </a:xfrm>
              <a:custGeom>
                <a:avLst/>
                <a:gdLst>
                  <a:gd name="T0" fmla="*/ 10 w 27"/>
                  <a:gd name="T1" fmla="*/ 34 h 38"/>
                  <a:gd name="T2" fmla="*/ 8 w 27"/>
                  <a:gd name="T3" fmla="*/ 33 h 38"/>
                  <a:gd name="T4" fmla="*/ 12 w 27"/>
                  <a:gd name="T5" fmla="*/ 28 h 38"/>
                  <a:gd name="T6" fmla="*/ 16 w 27"/>
                  <a:gd name="T7" fmla="*/ 27 h 38"/>
                  <a:gd name="T8" fmla="*/ 20 w 27"/>
                  <a:gd name="T9" fmla="*/ 25 h 38"/>
                  <a:gd name="T10" fmla="*/ 21 w 27"/>
                  <a:gd name="T11" fmla="*/ 22 h 38"/>
                  <a:gd name="T12" fmla="*/ 24 w 27"/>
                  <a:gd name="T13" fmla="*/ 17 h 38"/>
                  <a:gd name="T14" fmla="*/ 21 w 27"/>
                  <a:gd name="T15" fmla="*/ 17 h 38"/>
                  <a:gd name="T16" fmla="*/ 21 w 27"/>
                  <a:gd name="T17" fmla="*/ 12 h 38"/>
                  <a:gd name="T18" fmla="*/ 21 w 27"/>
                  <a:gd name="T19" fmla="*/ 9 h 38"/>
                  <a:gd name="T20" fmla="*/ 24 w 27"/>
                  <a:gd name="T21" fmla="*/ 7 h 38"/>
                  <a:gd name="T22" fmla="*/ 27 w 27"/>
                  <a:gd name="T23" fmla="*/ 4 h 38"/>
                  <a:gd name="T24" fmla="*/ 27 w 27"/>
                  <a:gd name="T25" fmla="*/ 1 h 38"/>
                  <a:gd name="T26" fmla="*/ 24 w 27"/>
                  <a:gd name="T27" fmla="*/ 0 h 38"/>
                  <a:gd name="T28" fmla="*/ 20 w 27"/>
                  <a:gd name="T29" fmla="*/ 1 h 38"/>
                  <a:gd name="T30" fmla="*/ 16 w 27"/>
                  <a:gd name="T31" fmla="*/ 1 h 38"/>
                  <a:gd name="T32" fmla="*/ 13 w 27"/>
                  <a:gd name="T33" fmla="*/ 3 h 38"/>
                  <a:gd name="T34" fmla="*/ 8 w 27"/>
                  <a:gd name="T35" fmla="*/ 6 h 38"/>
                  <a:gd name="T36" fmla="*/ 7 w 27"/>
                  <a:gd name="T37" fmla="*/ 9 h 38"/>
                  <a:gd name="T38" fmla="*/ 4 w 27"/>
                  <a:gd name="T39" fmla="*/ 12 h 38"/>
                  <a:gd name="T40" fmla="*/ 0 w 27"/>
                  <a:gd name="T41" fmla="*/ 15 h 38"/>
                  <a:gd name="T42" fmla="*/ 2 w 27"/>
                  <a:gd name="T43" fmla="*/ 19 h 38"/>
                  <a:gd name="T44" fmla="*/ 4 w 27"/>
                  <a:gd name="T45" fmla="*/ 22 h 38"/>
                  <a:gd name="T46" fmla="*/ 2 w 27"/>
                  <a:gd name="T47" fmla="*/ 25 h 38"/>
                  <a:gd name="T48" fmla="*/ 4 w 27"/>
                  <a:gd name="T49" fmla="*/ 30 h 38"/>
                  <a:gd name="T50" fmla="*/ 7 w 27"/>
                  <a:gd name="T51" fmla="*/ 31 h 38"/>
                  <a:gd name="T52" fmla="*/ 5 w 27"/>
                  <a:gd name="T53" fmla="*/ 34 h 38"/>
                  <a:gd name="T54" fmla="*/ 2 w 27"/>
                  <a:gd name="T55" fmla="*/ 38 h 38"/>
                  <a:gd name="T56" fmla="*/ 7 w 27"/>
                  <a:gd name="T57" fmla="*/ 38 h 38"/>
                  <a:gd name="T58" fmla="*/ 10 w 27"/>
                  <a:gd name="T59" fmla="*/ 34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7" h="38">
                    <a:moveTo>
                      <a:pt x="10" y="34"/>
                    </a:moveTo>
                    <a:lnTo>
                      <a:pt x="8" y="33"/>
                    </a:lnTo>
                    <a:lnTo>
                      <a:pt x="12" y="28"/>
                    </a:lnTo>
                    <a:lnTo>
                      <a:pt x="16" y="27"/>
                    </a:lnTo>
                    <a:lnTo>
                      <a:pt x="20" y="25"/>
                    </a:lnTo>
                    <a:lnTo>
                      <a:pt x="21" y="22"/>
                    </a:lnTo>
                    <a:lnTo>
                      <a:pt x="24" y="17"/>
                    </a:lnTo>
                    <a:lnTo>
                      <a:pt x="21" y="17"/>
                    </a:lnTo>
                    <a:lnTo>
                      <a:pt x="21" y="12"/>
                    </a:lnTo>
                    <a:lnTo>
                      <a:pt x="21" y="9"/>
                    </a:lnTo>
                    <a:lnTo>
                      <a:pt x="24" y="7"/>
                    </a:lnTo>
                    <a:lnTo>
                      <a:pt x="27" y="4"/>
                    </a:lnTo>
                    <a:lnTo>
                      <a:pt x="27" y="1"/>
                    </a:lnTo>
                    <a:lnTo>
                      <a:pt x="24" y="0"/>
                    </a:lnTo>
                    <a:lnTo>
                      <a:pt x="20" y="1"/>
                    </a:lnTo>
                    <a:lnTo>
                      <a:pt x="16" y="1"/>
                    </a:lnTo>
                    <a:lnTo>
                      <a:pt x="13" y="3"/>
                    </a:lnTo>
                    <a:lnTo>
                      <a:pt x="8" y="6"/>
                    </a:lnTo>
                    <a:lnTo>
                      <a:pt x="7" y="9"/>
                    </a:lnTo>
                    <a:lnTo>
                      <a:pt x="4" y="12"/>
                    </a:lnTo>
                    <a:lnTo>
                      <a:pt x="0" y="15"/>
                    </a:lnTo>
                    <a:lnTo>
                      <a:pt x="2" y="19"/>
                    </a:lnTo>
                    <a:lnTo>
                      <a:pt x="4" y="22"/>
                    </a:lnTo>
                    <a:lnTo>
                      <a:pt x="2" y="25"/>
                    </a:lnTo>
                    <a:lnTo>
                      <a:pt x="4" y="30"/>
                    </a:lnTo>
                    <a:lnTo>
                      <a:pt x="7" y="31"/>
                    </a:lnTo>
                    <a:lnTo>
                      <a:pt x="5" y="34"/>
                    </a:lnTo>
                    <a:lnTo>
                      <a:pt x="2" y="38"/>
                    </a:lnTo>
                    <a:lnTo>
                      <a:pt x="7" y="38"/>
                    </a:lnTo>
                    <a:lnTo>
                      <a:pt x="10" y="3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80" name="Freeform 532"/>
              <p:cNvSpPr>
                <a:spLocks/>
              </p:cNvSpPr>
              <p:nvPr/>
            </p:nvSpPr>
            <p:spPr bwMode="auto">
              <a:xfrm>
                <a:off x="2796" y="1116"/>
                <a:ext cx="176" cy="252"/>
              </a:xfrm>
              <a:custGeom>
                <a:avLst/>
                <a:gdLst>
                  <a:gd name="T0" fmla="*/ 18 w 352"/>
                  <a:gd name="T1" fmla="*/ 359 h 504"/>
                  <a:gd name="T2" fmla="*/ 23 w 352"/>
                  <a:gd name="T3" fmla="*/ 336 h 504"/>
                  <a:gd name="T4" fmla="*/ 40 w 352"/>
                  <a:gd name="T5" fmla="*/ 314 h 504"/>
                  <a:gd name="T6" fmla="*/ 45 w 352"/>
                  <a:gd name="T7" fmla="*/ 287 h 504"/>
                  <a:gd name="T8" fmla="*/ 30 w 352"/>
                  <a:gd name="T9" fmla="*/ 255 h 504"/>
                  <a:gd name="T10" fmla="*/ 27 w 352"/>
                  <a:gd name="T11" fmla="*/ 229 h 504"/>
                  <a:gd name="T12" fmla="*/ 29 w 352"/>
                  <a:gd name="T13" fmla="*/ 194 h 504"/>
                  <a:gd name="T14" fmla="*/ 80 w 352"/>
                  <a:gd name="T15" fmla="*/ 175 h 504"/>
                  <a:gd name="T16" fmla="*/ 78 w 352"/>
                  <a:gd name="T17" fmla="*/ 146 h 504"/>
                  <a:gd name="T18" fmla="*/ 92 w 352"/>
                  <a:gd name="T19" fmla="*/ 110 h 504"/>
                  <a:gd name="T20" fmla="*/ 126 w 352"/>
                  <a:gd name="T21" fmla="*/ 79 h 504"/>
                  <a:gd name="T22" fmla="*/ 146 w 352"/>
                  <a:gd name="T23" fmla="*/ 43 h 504"/>
                  <a:gd name="T24" fmla="*/ 180 w 352"/>
                  <a:gd name="T25" fmla="*/ 37 h 504"/>
                  <a:gd name="T26" fmla="*/ 216 w 352"/>
                  <a:gd name="T27" fmla="*/ 21 h 504"/>
                  <a:gd name="T28" fmla="*/ 240 w 352"/>
                  <a:gd name="T29" fmla="*/ 5 h 504"/>
                  <a:gd name="T30" fmla="*/ 287 w 352"/>
                  <a:gd name="T31" fmla="*/ 19 h 504"/>
                  <a:gd name="T32" fmla="*/ 318 w 352"/>
                  <a:gd name="T33" fmla="*/ 30 h 504"/>
                  <a:gd name="T34" fmla="*/ 327 w 352"/>
                  <a:gd name="T35" fmla="*/ 53 h 504"/>
                  <a:gd name="T36" fmla="*/ 343 w 352"/>
                  <a:gd name="T37" fmla="*/ 76 h 504"/>
                  <a:gd name="T38" fmla="*/ 348 w 352"/>
                  <a:gd name="T39" fmla="*/ 106 h 504"/>
                  <a:gd name="T40" fmla="*/ 335 w 352"/>
                  <a:gd name="T41" fmla="*/ 114 h 504"/>
                  <a:gd name="T42" fmla="*/ 311 w 352"/>
                  <a:gd name="T43" fmla="*/ 114 h 504"/>
                  <a:gd name="T44" fmla="*/ 297 w 352"/>
                  <a:gd name="T45" fmla="*/ 122 h 504"/>
                  <a:gd name="T46" fmla="*/ 283 w 352"/>
                  <a:gd name="T47" fmla="*/ 132 h 504"/>
                  <a:gd name="T48" fmla="*/ 272 w 352"/>
                  <a:gd name="T49" fmla="*/ 148 h 504"/>
                  <a:gd name="T50" fmla="*/ 284 w 352"/>
                  <a:gd name="T51" fmla="*/ 165 h 504"/>
                  <a:gd name="T52" fmla="*/ 257 w 352"/>
                  <a:gd name="T53" fmla="*/ 190 h 504"/>
                  <a:gd name="T54" fmla="*/ 233 w 352"/>
                  <a:gd name="T55" fmla="*/ 198 h 504"/>
                  <a:gd name="T56" fmla="*/ 210 w 352"/>
                  <a:gd name="T57" fmla="*/ 208 h 504"/>
                  <a:gd name="T58" fmla="*/ 197 w 352"/>
                  <a:gd name="T59" fmla="*/ 224 h 504"/>
                  <a:gd name="T60" fmla="*/ 186 w 352"/>
                  <a:gd name="T61" fmla="*/ 216 h 504"/>
                  <a:gd name="T62" fmla="*/ 180 w 352"/>
                  <a:gd name="T63" fmla="*/ 235 h 504"/>
                  <a:gd name="T64" fmla="*/ 180 w 352"/>
                  <a:gd name="T65" fmla="*/ 246 h 504"/>
                  <a:gd name="T66" fmla="*/ 170 w 352"/>
                  <a:gd name="T67" fmla="*/ 262 h 504"/>
                  <a:gd name="T68" fmla="*/ 170 w 352"/>
                  <a:gd name="T69" fmla="*/ 273 h 504"/>
                  <a:gd name="T70" fmla="*/ 175 w 352"/>
                  <a:gd name="T71" fmla="*/ 300 h 504"/>
                  <a:gd name="T72" fmla="*/ 197 w 352"/>
                  <a:gd name="T73" fmla="*/ 308 h 504"/>
                  <a:gd name="T74" fmla="*/ 222 w 352"/>
                  <a:gd name="T75" fmla="*/ 322 h 504"/>
                  <a:gd name="T76" fmla="*/ 224 w 352"/>
                  <a:gd name="T77" fmla="*/ 338 h 504"/>
                  <a:gd name="T78" fmla="*/ 203 w 352"/>
                  <a:gd name="T79" fmla="*/ 347 h 504"/>
                  <a:gd name="T80" fmla="*/ 218 w 352"/>
                  <a:gd name="T81" fmla="*/ 355 h 504"/>
                  <a:gd name="T82" fmla="*/ 202 w 352"/>
                  <a:gd name="T83" fmla="*/ 362 h 504"/>
                  <a:gd name="T84" fmla="*/ 189 w 352"/>
                  <a:gd name="T85" fmla="*/ 365 h 504"/>
                  <a:gd name="T86" fmla="*/ 173 w 352"/>
                  <a:gd name="T87" fmla="*/ 378 h 504"/>
                  <a:gd name="T88" fmla="*/ 164 w 352"/>
                  <a:gd name="T89" fmla="*/ 379 h 504"/>
                  <a:gd name="T90" fmla="*/ 165 w 352"/>
                  <a:gd name="T91" fmla="*/ 390 h 504"/>
                  <a:gd name="T92" fmla="*/ 162 w 352"/>
                  <a:gd name="T93" fmla="*/ 405 h 504"/>
                  <a:gd name="T94" fmla="*/ 165 w 352"/>
                  <a:gd name="T95" fmla="*/ 425 h 504"/>
                  <a:gd name="T96" fmla="*/ 156 w 352"/>
                  <a:gd name="T97" fmla="*/ 454 h 504"/>
                  <a:gd name="T98" fmla="*/ 108 w 352"/>
                  <a:gd name="T99" fmla="*/ 474 h 504"/>
                  <a:gd name="T100" fmla="*/ 99 w 352"/>
                  <a:gd name="T101" fmla="*/ 493 h 504"/>
                  <a:gd name="T102" fmla="*/ 78 w 352"/>
                  <a:gd name="T103" fmla="*/ 501 h 504"/>
                  <a:gd name="T104" fmla="*/ 54 w 352"/>
                  <a:gd name="T105" fmla="*/ 497 h 504"/>
                  <a:gd name="T106" fmla="*/ 43 w 352"/>
                  <a:gd name="T107" fmla="*/ 466 h 504"/>
                  <a:gd name="T108" fmla="*/ 56 w 352"/>
                  <a:gd name="T109" fmla="*/ 457 h 504"/>
                  <a:gd name="T110" fmla="*/ 34 w 352"/>
                  <a:gd name="T111" fmla="*/ 435 h 504"/>
                  <a:gd name="T112" fmla="*/ 19 w 352"/>
                  <a:gd name="T113" fmla="*/ 411 h 504"/>
                  <a:gd name="T114" fmla="*/ 19 w 352"/>
                  <a:gd name="T115" fmla="*/ 389 h 504"/>
                  <a:gd name="T116" fmla="*/ 5 w 352"/>
                  <a:gd name="T117" fmla="*/ 389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52" h="504">
                    <a:moveTo>
                      <a:pt x="3" y="360"/>
                    </a:moveTo>
                    <a:lnTo>
                      <a:pt x="5" y="360"/>
                    </a:lnTo>
                    <a:lnTo>
                      <a:pt x="8" y="360"/>
                    </a:lnTo>
                    <a:lnTo>
                      <a:pt x="10" y="365"/>
                    </a:lnTo>
                    <a:lnTo>
                      <a:pt x="13" y="368"/>
                    </a:lnTo>
                    <a:lnTo>
                      <a:pt x="16" y="367"/>
                    </a:lnTo>
                    <a:lnTo>
                      <a:pt x="16" y="367"/>
                    </a:lnTo>
                    <a:lnTo>
                      <a:pt x="18" y="362"/>
                    </a:lnTo>
                    <a:lnTo>
                      <a:pt x="18" y="359"/>
                    </a:lnTo>
                    <a:lnTo>
                      <a:pt x="21" y="355"/>
                    </a:lnTo>
                    <a:lnTo>
                      <a:pt x="21" y="354"/>
                    </a:lnTo>
                    <a:lnTo>
                      <a:pt x="21" y="352"/>
                    </a:lnTo>
                    <a:lnTo>
                      <a:pt x="21" y="352"/>
                    </a:lnTo>
                    <a:lnTo>
                      <a:pt x="19" y="349"/>
                    </a:lnTo>
                    <a:lnTo>
                      <a:pt x="18" y="346"/>
                    </a:lnTo>
                    <a:lnTo>
                      <a:pt x="16" y="343"/>
                    </a:lnTo>
                    <a:lnTo>
                      <a:pt x="19" y="340"/>
                    </a:lnTo>
                    <a:lnTo>
                      <a:pt x="23" y="336"/>
                    </a:lnTo>
                    <a:lnTo>
                      <a:pt x="23" y="333"/>
                    </a:lnTo>
                    <a:lnTo>
                      <a:pt x="21" y="330"/>
                    </a:lnTo>
                    <a:lnTo>
                      <a:pt x="27" y="330"/>
                    </a:lnTo>
                    <a:lnTo>
                      <a:pt x="34" y="327"/>
                    </a:lnTo>
                    <a:lnTo>
                      <a:pt x="37" y="325"/>
                    </a:lnTo>
                    <a:lnTo>
                      <a:pt x="38" y="324"/>
                    </a:lnTo>
                    <a:lnTo>
                      <a:pt x="40" y="321"/>
                    </a:lnTo>
                    <a:lnTo>
                      <a:pt x="40" y="317"/>
                    </a:lnTo>
                    <a:lnTo>
                      <a:pt x="40" y="314"/>
                    </a:lnTo>
                    <a:lnTo>
                      <a:pt x="43" y="309"/>
                    </a:lnTo>
                    <a:lnTo>
                      <a:pt x="42" y="306"/>
                    </a:lnTo>
                    <a:lnTo>
                      <a:pt x="40" y="303"/>
                    </a:lnTo>
                    <a:lnTo>
                      <a:pt x="37" y="300"/>
                    </a:lnTo>
                    <a:lnTo>
                      <a:pt x="35" y="295"/>
                    </a:lnTo>
                    <a:lnTo>
                      <a:pt x="34" y="292"/>
                    </a:lnTo>
                    <a:lnTo>
                      <a:pt x="34" y="287"/>
                    </a:lnTo>
                    <a:lnTo>
                      <a:pt x="40" y="287"/>
                    </a:lnTo>
                    <a:lnTo>
                      <a:pt x="45" y="287"/>
                    </a:lnTo>
                    <a:lnTo>
                      <a:pt x="46" y="282"/>
                    </a:lnTo>
                    <a:lnTo>
                      <a:pt x="49" y="279"/>
                    </a:lnTo>
                    <a:lnTo>
                      <a:pt x="49" y="276"/>
                    </a:lnTo>
                    <a:lnTo>
                      <a:pt x="45" y="271"/>
                    </a:lnTo>
                    <a:lnTo>
                      <a:pt x="42" y="268"/>
                    </a:lnTo>
                    <a:lnTo>
                      <a:pt x="37" y="268"/>
                    </a:lnTo>
                    <a:lnTo>
                      <a:pt x="34" y="265"/>
                    </a:lnTo>
                    <a:lnTo>
                      <a:pt x="29" y="262"/>
                    </a:lnTo>
                    <a:lnTo>
                      <a:pt x="30" y="255"/>
                    </a:lnTo>
                    <a:lnTo>
                      <a:pt x="30" y="252"/>
                    </a:lnTo>
                    <a:lnTo>
                      <a:pt x="32" y="251"/>
                    </a:lnTo>
                    <a:lnTo>
                      <a:pt x="32" y="246"/>
                    </a:lnTo>
                    <a:lnTo>
                      <a:pt x="34" y="241"/>
                    </a:lnTo>
                    <a:lnTo>
                      <a:pt x="32" y="240"/>
                    </a:lnTo>
                    <a:lnTo>
                      <a:pt x="32" y="240"/>
                    </a:lnTo>
                    <a:lnTo>
                      <a:pt x="32" y="240"/>
                    </a:lnTo>
                    <a:lnTo>
                      <a:pt x="29" y="233"/>
                    </a:lnTo>
                    <a:lnTo>
                      <a:pt x="27" y="229"/>
                    </a:lnTo>
                    <a:lnTo>
                      <a:pt x="27" y="222"/>
                    </a:lnTo>
                    <a:lnTo>
                      <a:pt x="26" y="219"/>
                    </a:lnTo>
                    <a:lnTo>
                      <a:pt x="30" y="214"/>
                    </a:lnTo>
                    <a:lnTo>
                      <a:pt x="27" y="211"/>
                    </a:lnTo>
                    <a:lnTo>
                      <a:pt x="26" y="208"/>
                    </a:lnTo>
                    <a:lnTo>
                      <a:pt x="26" y="203"/>
                    </a:lnTo>
                    <a:lnTo>
                      <a:pt x="26" y="202"/>
                    </a:lnTo>
                    <a:lnTo>
                      <a:pt x="30" y="197"/>
                    </a:lnTo>
                    <a:lnTo>
                      <a:pt x="29" y="194"/>
                    </a:lnTo>
                    <a:lnTo>
                      <a:pt x="37" y="186"/>
                    </a:lnTo>
                    <a:lnTo>
                      <a:pt x="45" y="179"/>
                    </a:lnTo>
                    <a:lnTo>
                      <a:pt x="49" y="176"/>
                    </a:lnTo>
                    <a:lnTo>
                      <a:pt x="54" y="175"/>
                    </a:lnTo>
                    <a:lnTo>
                      <a:pt x="59" y="175"/>
                    </a:lnTo>
                    <a:lnTo>
                      <a:pt x="62" y="176"/>
                    </a:lnTo>
                    <a:lnTo>
                      <a:pt x="70" y="176"/>
                    </a:lnTo>
                    <a:lnTo>
                      <a:pt x="80" y="176"/>
                    </a:lnTo>
                    <a:lnTo>
                      <a:pt x="80" y="175"/>
                    </a:lnTo>
                    <a:lnTo>
                      <a:pt x="81" y="175"/>
                    </a:lnTo>
                    <a:lnTo>
                      <a:pt x="83" y="171"/>
                    </a:lnTo>
                    <a:lnTo>
                      <a:pt x="81" y="165"/>
                    </a:lnTo>
                    <a:lnTo>
                      <a:pt x="81" y="162"/>
                    </a:lnTo>
                    <a:lnTo>
                      <a:pt x="76" y="160"/>
                    </a:lnTo>
                    <a:lnTo>
                      <a:pt x="72" y="159"/>
                    </a:lnTo>
                    <a:lnTo>
                      <a:pt x="69" y="157"/>
                    </a:lnTo>
                    <a:lnTo>
                      <a:pt x="72" y="152"/>
                    </a:lnTo>
                    <a:lnTo>
                      <a:pt x="78" y="146"/>
                    </a:lnTo>
                    <a:lnTo>
                      <a:pt x="83" y="141"/>
                    </a:lnTo>
                    <a:lnTo>
                      <a:pt x="86" y="138"/>
                    </a:lnTo>
                    <a:lnTo>
                      <a:pt x="88" y="133"/>
                    </a:lnTo>
                    <a:lnTo>
                      <a:pt x="91" y="132"/>
                    </a:lnTo>
                    <a:lnTo>
                      <a:pt x="91" y="125"/>
                    </a:lnTo>
                    <a:lnTo>
                      <a:pt x="91" y="122"/>
                    </a:lnTo>
                    <a:lnTo>
                      <a:pt x="92" y="119"/>
                    </a:lnTo>
                    <a:lnTo>
                      <a:pt x="94" y="113"/>
                    </a:lnTo>
                    <a:lnTo>
                      <a:pt x="92" y="110"/>
                    </a:lnTo>
                    <a:lnTo>
                      <a:pt x="92" y="105"/>
                    </a:lnTo>
                    <a:lnTo>
                      <a:pt x="91" y="102"/>
                    </a:lnTo>
                    <a:lnTo>
                      <a:pt x="99" y="102"/>
                    </a:lnTo>
                    <a:lnTo>
                      <a:pt x="103" y="102"/>
                    </a:lnTo>
                    <a:lnTo>
                      <a:pt x="110" y="100"/>
                    </a:lnTo>
                    <a:lnTo>
                      <a:pt x="116" y="97"/>
                    </a:lnTo>
                    <a:lnTo>
                      <a:pt x="116" y="94"/>
                    </a:lnTo>
                    <a:lnTo>
                      <a:pt x="114" y="89"/>
                    </a:lnTo>
                    <a:lnTo>
                      <a:pt x="126" y="79"/>
                    </a:lnTo>
                    <a:lnTo>
                      <a:pt x="140" y="70"/>
                    </a:lnTo>
                    <a:lnTo>
                      <a:pt x="140" y="64"/>
                    </a:lnTo>
                    <a:lnTo>
                      <a:pt x="137" y="60"/>
                    </a:lnTo>
                    <a:lnTo>
                      <a:pt x="132" y="56"/>
                    </a:lnTo>
                    <a:lnTo>
                      <a:pt x="138" y="53"/>
                    </a:lnTo>
                    <a:lnTo>
                      <a:pt x="141" y="51"/>
                    </a:lnTo>
                    <a:lnTo>
                      <a:pt x="145" y="48"/>
                    </a:lnTo>
                    <a:lnTo>
                      <a:pt x="145" y="46"/>
                    </a:lnTo>
                    <a:lnTo>
                      <a:pt x="146" y="43"/>
                    </a:lnTo>
                    <a:lnTo>
                      <a:pt x="148" y="41"/>
                    </a:lnTo>
                    <a:lnTo>
                      <a:pt x="151" y="38"/>
                    </a:lnTo>
                    <a:lnTo>
                      <a:pt x="156" y="35"/>
                    </a:lnTo>
                    <a:lnTo>
                      <a:pt x="156" y="35"/>
                    </a:lnTo>
                    <a:lnTo>
                      <a:pt x="160" y="33"/>
                    </a:lnTo>
                    <a:lnTo>
                      <a:pt x="167" y="33"/>
                    </a:lnTo>
                    <a:lnTo>
                      <a:pt x="172" y="35"/>
                    </a:lnTo>
                    <a:lnTo>
                      <a:pt x="175" y="37"/>
                    </a:lnTo>
                    <a:lnTo>
                      <a:pt x="180" y="37"/>
                    </a:lnTo>
                    <a:lnTo>
                      <a:pt x="184" y="29"/>
                    </a:lnTo>
                    <a:lnTo>
                      <a:pt x="183" y="24"/>
                    </a:lnTo>
                    <a:lnTo>
                      <a:pt x="183" y="21"/>
                    </a:lnTo>
                    <a:lnTo>
                      <a:pt x="183" y="21"/>
                    </a:lnTo>
                    <a:lnTo>
                      <a:pt x="183" y="18"/>
                    </a:lnTo>
                    <a:lnTo>
                      <a:pt x="191" y="16"/>
                    </a:lnTo>
                    <a:lnTo>
                      <a:pt x="197" y="19"/>
                    </a:lnTo>
                    <a:lnTo>
                      <a:pt x="205" y="19"/>
                    </a:lnTo>
                    <a:lnTo>
                      <a:pt x="216" y="21"/>
                    </a:lnTo>
                    <a:lnTo>
                      <a:pt x="232" y="24"/>
                    </a:lnTo>
                    <a:lnTo>
                      <a:pt x="235" y="22"/>
                    </a:lnTo>
                    <a:lnTo>
                      <a:pt x="238" y="19"/>
                    </a:lnTo>
                    <a:lnTo>
                      <a:pt x="235" y="18"/>
                    </a:lnTo>
                    <a:lnTo>
                      <a:pt x="232" y="18"/>
                    </a:lnTo>
                    <a:lnTo>
                      <a:pt x="237" y="13"/>
                    </a:lnTo>
                    <a:lnTo>
                      <a:pt x="240" y="8"/>
                    </a:lnTo>
                    <a:lnTo>
                      <a:pt x="240" y="8"/>
                    </a:lnTo>
                    <a:lnTo>
                      <a:pt x="240" y="5"/>
                    </a:lnTo>
                    <a:lnTo>
                      <a:pt x="235" y="2"/>
                    </a:lnTo>
                    <a:lnTo>
                      <a:pt x="240" y="0"/>
                    </a:lnTo>
                    <a:lnTo>
                      <a:pt x="246" y="0"/>
                    </a:lnTo>
                    <a:lnTo>
                      <a:pt x="251" y="0"/>
                    </a:lnTo>
                    <a:lnTo>
                      <a:pt x="252" y="2"/>
                    </a:lnTo>
                    <a:lnTo>
                      <a:pt x="254" y="2"/>
                    </a:lnTo>
                    <a:lnTo>
                      <a:pt x="254" y="3"/>
                    </a:lnTo>
                    <a:lnTo>
                      <a:pt x="272" y="11"/>
                    </a:lnTo>
                    <a:lnTo>
                      <a:pt x="287" y="19"/>
                    </a:lnTo>
                    <a:lnTo>
                      <a:pt x="292" y="19"/>
                    </a:lnTo>
                    <a:lnTo>
                      <a:pt x="294" y="21"/>
                    </a:lnTo>
                    <a:lnTo>
                      <a:pt x="297" y="21"/>
                    </a:lnTo>
                    <a:lnTo>
                      <a:pt x="302" y="21"/>
                    </a:lnTo>
                    <a:lnTo>
                      <a:pt x="305" y="22"/>
                    </a:lnTo>
                    <a:lnTo>
                      <a:pt x="308" y="24"/>
                    </a:lnTo>
                    <a:lnTo>
                      <a:pt x="311" y="26"/>
                    </a:lnTo>
                    <a:lnTo>
                      <a:pt x="316" y="27"/>
                    </a:lnTo>
                    <a:lnTo>
                      <a:pt x="318" y="30"/>
                    </a:lnTo>
                    <a:lnTo>
                      <a:pt x="321" y="30"/>
                    </a:lnTo>
                    <a:lnTo>
                      <a:pt x="324" y="35"/>
                    </a:lnTo>
                    <a:lnTo>
                      <a:pt x="327" y="37"/>
                    </a:lnTo>
                    <a:lnTo>
                      <a:pt x="330" y="38"/>
                    </a:lnTo>
                    <a:lnTo>
                      <a:pt x="330" y="40"/>
                    </a:lnTo>
                    <a:lnTo>
                      <a:pt x="327" y="41"/>
                    </a:lnTo>
                    <a:lnTo>
                      <a:pt x="327" y="45"/>
                    </a:lnTo>
                    <a:lnTo>
                      <a:pt x="329" y="48"/>
                    </a:lnTo>
                    <a:lnTo>
                      <a:pt x="327" y="53"/>
                    </a:lnTo>
                    <a:lnTo>
                      <a:pt x="329" y="56"/>
                    </a:lnTo>
                    <a:lnTo>
                      <a:pt x="332" y="56"/>
                    </a:lnTo>
                    <a:lnTo>
                      <a:pt x="335" y="56"/>
                    </a:lnTo>
                    <a:lnTo>
                      <a:pt x="337" y="60"/>
                    </a:lnTo>
                    <a:lnTo>
                      <a:pt x="333" y="62"/>
                    </a:lnTo>
                    <a:lnTo>
                      <a:pt x="332" y="65"/>
                    </a:lnTo>
                    <a:lnTo>
                      <a:pt x="335" y="68"/>
                    </a:lnTo>
                    <a:lnTo>
                      <a:pt x="338" y="72"/>
                    </a:lnTo>
                    <a:lnTo>
                      <a:pt x="343" y="76"/>
                    </a:lnTo>
                    <a:lnTo>
                      <a:pt x="344" y="78"/>
                    </a:lnTo>
                    <a:lnTo>
                      <a:pt x="343" y="83"/>
                    </a:lnTo>
                    <a:lnTo>
                      <a:pt x="343" y="86"/>
                    </a:lnTo>
                    <a:lnTo>
                      <a:pt x="340" y="89"/>
                    </a:lnTo>
                    <a:lnTo>
                      <a:pt x="338" y="92"/>
                    </a:lnTo>
                    <a:lnTo>
                      <a:pt x="338" y="97"/>
                    </a:lnTo>
                    <a:lnTo>
                      <a:pt x="343" y="100"/>
                    </a:lnTo>
                    <a:lnTo>
                      <a:pt x="346" y="102"/>
                    </a:lnTo>
                    <a:lnTo>
                      <a:pt x="348" y="106"/>
                    </a:lnTo>
                    <a:lnTo>
                      <a:pt x="351" y="110"/>
                    </a:lnTo>
                    <a:lnTo>
                      <a:pt x="352" y="113"/>
                    </a:lnTo>
                    <a:lnTo>
                      <a:pt x="352" y="113"/>
                    </a:lnTo>
                    <a:lnTo>
                      <a:pt x="352" y="113"/>
                    </a:lnTo>
                    <a:lnTo>
                      <a:pt x="349" y="114"/>
                    </a:lnTo>
                    <a:lnTo>
                      <a:pt x="346" y="114"/>
                    </a:lnTo>
                    <a:lnTo>
                      <a:pt x="343" y="114"/>
                    </a:lnTo>
                    <a:lnTo>
                      <a:pt x="338" y="114"/>
                    </a:lnTo>
                    <a:lnTo>
                      <a:pt x="335" y="114"/>
                    </a:lnTo>
                    <a:lnTo>
                      <a:pt x="332" y="116"/>
                    </a:lnTo>
                    <a:lnTo>
                      <a:pt x="329" y="114"/>
                    </a:lnTo>
                    <a:lnTo>
                      <a:pt x="325" y="113"/>
                    </a:lnTo>
                    <a:lnTo>
                      <a:pt x="329" y="116"/>
                    </a:lnTo>
                    <a:lnTo>
                      <a:pt x="322" y="116"/>
                    </a:lnTo>
                    <a:lnTo>
                      <a:pt x="319" y="114"/>
                    </a:lnTo>
                    <a:lnTo>
                      <a:pt x="314" y="111"/>
                    </a:lnTo>
                    <a:lnTo>
                      <a:pt x="314" y="114"/>
                    </a:lnTo>
                    <a:lnTo>
                      <a:pt x="311" y="114"/>
                    </a:lnTo>
                    <a:lnTo>
                      <a:pt x="306" y="113"/>
                    </a:lnTo>
                    <a:lnTo>
                      <a:pt x="303" y="113"/>
                    </a:lnTo>
                    <a:lnTo>
                      <a:pt x="303" y="118"/>
                    </a:lnTo>
                    <a:lnTo>
                      <a:pt x="306" y="119"/>
                    </a:lnTo>
                    <a:lnTo>
                      <a:pt x="306" y="124"/>
                    </a:lnTo>
                    <a:lnTo>
                      <a:pt x="303" y="122"/>
                    </a:lnTo>
                    <a:lnTo>
                      <a:pt x="298" y="122"/>
                    </a:lnTo>
                    <a:lnTo>
                      <a:pt x="297" y="121"/>
                    </a:lnTo>
                    <a:lnTo>
                      <a:pt x="297" y="122"/>
                    </a:lnTo>
                    <a:lnTo>
                      <a:pt x="300" y="122"/>
                    </a:lnTo>
                    <a:lnTo>
                      <a:pt x="297" y="124"/>
                    </a:lnTo>
                    <a:lnTo>
                      <a:pt x="292" y="124"/>
                    </a:lnTo>
                    <a:lnTo>
                      <a:pt x="297" y="125"/>
                    </a:lnTo>
                    <a:lnTo>
                      <a:pt x="292" y="129"/>
                    </a:lnTo>
                    <a:lnTo>
                      <a:pt x="289" y="129"/>
                    </a:lnTo>
                    <a:lnTo>
                      <a:pt x="286" y="129"/>
                    </a:lnTo>
                    <a:lnTo>
                      <a:pt x="283" y="129"/>
                    </a:lnTo>
                    <a:lnTo>
                      <a:pt x="283" y="132"/>
                    </a:lnTo>
                    <a:lnTo>
                      <a:pt x="286" y="130"/>
                    </a:lnTo>
                    <a:lnTo>
                      <a:pt x="287" y="135"/>
                    </a:lnTo>
                    <a:lnTo>
                      <a:pt x="286" y="138"/>
                    </a:lnTo>
                    <a:lnTo>
                      <a:pt x="286" y="140"/>
                    </a:lnTo>
                    <a:lnTo>
                      <a:pt x="281" y="141"/>
                    </a:lnTo>
                    <a:lnTo>
                      <a:pt x="281" y="143"/>
                    </a:lnTo>
                    <a:lnTo>
                      <a:pt x="278" y="144"/>
                    </a:lnTo>
                    <a:lnTo>
                      <a:pt x="275" y="148"/>
                    </a:lnTo>
                    <a:lnTo>
                      <a:pt x="272" y="148"/>
                    </a:lnTo>
                    <a:lnTo>
                      <a:pt x="275" y="151"/>
                    </a:lnTo>
                    <a:lnTo>
                      <a:pt x="279" y="151"/>
                    </a:lnTo>
                    <a:lnTo>
                      <a:pt x="275" y="154"/>
                    </a:lnTo>
                    <a:lnTo>
                      <a:pt x="275" y="154"/>
                    </a:lnTo>
                    <a:lnTo>
                      <a:pt x="278" y="157"/>
                    </a:lnTo>
                    <a:lnTo>
                      <a:pt x="283" y="157"/>
                    </a:lnTo>
                    <a:lnTo>
                      <a:pt x="286" y="159"/>
                    </a:lnTo>
                    <a:lnTo>
                      <a:pt x="289" y="164"/>
                    </a:lnTo>
                    <a:lnTo>
                      <a:pt x="284" y="165"/>
                    </a:lnTo>
                    <a:lnTo>
                      <a:pt x="281" y="167"/>
                    </a:lnTo>
                    <a:lnTo>
                      <a:pt x="278" y="168"/>
                    </a:lnTo>
                    <a:lnTo>
                      <a:pt x="275" y="170"/>
                    </a:lnTo>
                    <a:lnTo>
                      <a:pt x="272" y="175"/>
                    </a:lnTo>
                    <a:lnTo>
                      <a:pt x="270" y="178"/>
                    </a:lnTo>
                    <a:lnTo>
                      <a:pt x="268" y="183"/>
                    </a:lnTo>
                    <a:lnTo>
                      <a:pt x="260" y="187"/>
                    </a:lnTo>
                    <a:lnTo>
                      <a:pt x="257" y="187"/>
                    </a:lnTo>
                    <a:lnTo>
                      <a:pt x="257" y="190"/>
                    </a:lnTo>
                    <a:lnTo>
                      <a:pt x="256" y="187"/>
                    </a:lnTo>
                    <a:lnTo>
                      <a:pt x="252" y="190"/>
                    </a:lnTo>
                    <a:lnTo>
                      <a:pt x="249" y="192"/>
                    </a:lnTo>
                    <a:lnTo>
                      <a:pt x="246" y="194"/>
                    </a:lnTo>
                    <a:lnTo>
                      <a:pt x="241" y="194"/>
                    </a:lnTo>
                    <a:lnTo>
                      <a:pt x="240" y="197"/>
                    </a:lnTo>
                    <a:lnTo>
                      <a:pt x="237" y="198"/>
                    </a:lnTo>
                    <a:lnTo>
                      <a:pt x="233" y="195"/>
                    </a:lnTo>
                    <a:lnTo>
                      <a:pt x="233" y="198"/>
                    </a:lnTo>
                    <a:lnTo>
                      <a:pt x="230" y="198"/>
                    </a:lnTo>
                    <a:lnTo>
                      <a:pt x="227" y="198"/>
                    </a:lnTo>
                    <a:lnTo>
                      <a:pt x="227" y="202"/>
                    </a:lnTo>
                    <a:lnTo>
                      <a:pt x="222" y="203"/>
                    </a:lnTo>
                    <a:lnTo>
                      <a:pt x="222" y="206"/>
                    </a:lnTo>
                    <a:lnTo>
                      <a:pt x="219" y="208"/>
                    </a:lnTo>
                    <a:lnTo>
                      <a:pt x="218" y="206"/>
                    </a:lnTo>
                    <a:lnTo>
                      <a:pt x="213" y="208"/>
                    </a:lnTo>
                    <a:lnTo>
                      <a:pt x="210" y="208"/>
                    </a:lnTo>
                    <a:lnTo>
                      <a:pt x="206" y="211"/>
                    </a:lnTo>
                    <a:lnTo>
                      <a:pt x="203" y="213"/>
                    </a:lnTo>
                    <a:lnTo>
                      <a:pt x="199" y="214"/>
                    </a:lnTo>
                    <a:lnTo>
                      <a:pt x="203" y="216"/>
                    </a:lnTo>
                    <a:lnTo>
                      <a:pt x="206" y="216"/>
                    </a:lnTo>
                    <a:lnTo>
                      <a:pt x="205" y="219"/>
                    </a:lnTo>
                    <a:lnTo>
                      <a:pt x="202" y="221"/>
                    </a:lnTo>
                    <a:lnTo>
                      <a:pt x="199" y="219"/>
                    </a:lnTo>
                    <a:lnTo>
                      <a:pt x="197" y="224"/>
                    </a:lnTo>
                    <a:lnTo>
                      <a:pt x="194" y="222"/>
                    </a:lnTo>
                    <a:lnTo>
                      <a:pt x="197" y="222"/>
                    </a:lnTo>
                    <a:lnTo>
                      <a:pt x="194" y="221"/>
                    </a:lnTo>
                    <a:lnTo>
                      <a:pt x="189" y="221"/>
                    </a:lnTo>
                    <a:lnTo>
                      <a:pt x="191" y="219"/>
                    </a:lnTo>
                    <a:lnTo>
                      <a:pt x="186" y="216"/>
                    </a:lnTo>
                    <a:lnTo>
                      <a:pt x="186" y="213"/>
                    </a:lnTo>
                    <a:lnTo>
                      <a:pt x="186" y="211"/>
                    </a:lnTo>
                    <a:lnTo>
                      <a:pt x="186" y="216"/>
                    </a:lnTo>
                    <a:lnTo>
                      <a:pt x="189" y="219"/>
                    </a:lnTo>
                    <a:lnTo>
                      <a:pt x="189" y="219"/>
                    </a:lnTo>
                    <a:lnTo>
                      <a:pt x="189" y="221"/>
                    </a:lnTo>
                    <a:lnTo>
                      <a:pt x="192" y="225"/>
                    </a:lnTo>
                    <a:lnTo>
                      <a:pt x="191" y="229"/>
                    </a:lnTo>
                    <a:lnTo>
                      <a:pt x="191" y="232"/>
                    </a:lnTo>
                    <a:lnTo>
                      <a:pt x="186" y="233"/>
                    </a:lnTo>
                    <a:lnTo>
                      <a:pt x="183" y="235"/>
                    </a:lnTo>
                    <a:lnTo>
                      <a:pt x="180" y="235"/>
                    </a:lnTo>
                    <a:lnTo>
                      <a:pt x="176" y="232"/>
                    </a:lnTo>
                    <a:lnTo>
                      <a:pt x="176" y="235"/>
                    </a:lnTo>
                    <a:lnTo>
                      <a:pt x="176" y="235"/>
                    </a:lnTo>
                    <a:lnTo>
                      <a:pt x="176" y="240"/>
                    </a:lnTo>
                    <a:lnTo>
                      <a:pt x="176" y="240"/>
                    </a:lnTo>
                    <a:lnTo>
                      <a:pt x="180" y="243"/>
                    </a:lnTo>
                    <a:lnTo>
                      <a:pt x="184" y="243"/>
                    </a:lnTo>
                    <a:lnTo>
                      <a:pt x="181" y="244"/>
                    </a:lnTo>
                    <a:lnTo>
                      <a:pt x="180" y="246"/>
                    </a:lnTo>
                    <a:lnTo>
                      <a:pt x="180" y="251"/>
                    </a:lnTo>
                    <a:lnTo>
                      <a:pt x="176" y="254"/>
                    </a:lnTo>
                    <a:lnTo>
                      <a:pt x="175" y="257"/>
                    </a:lnTo>
                    <a:lnTo>
                      <a:pt x="176" y="260"/>
                    </a:lnTo>
                    <a:lnTo>
                      <a:pt x="181" y="262"/>
                    </a:lnTo>
                    <a:lnTo>
                      <a:pt x="181" y="267"/>
                    </a:lnTo>
                    <a:lnTo>
                      <a:pt x="176" y="263"/>
                    </a:lnTo>
                    <a:lnTo>
                      <a:pt x="173" y="262"/>
                    </a:lnTo>
                    <a:lnTo>
                      <a:pt x="170" y="262"/>
                    </a:lnTo>
                    <a:lnTo>
                      <a:pt x="175" y="263"/>
                    </a:lnTo>
                    <a:lnTo>
                      <a:pt x="170" y="265"/>
                    </a:lnTo>
                    <a:lnTo>
                      <a:pt x="173" y="267"/>
                    </a:lnTo>
                    <a:lnTo>
                      <a:pt x="168" y="267"/>
                    </a:lnTo>
                    <a:lnTo>
                      <a:pt x="173" y="268"/>
                    </a:lnTo>
                    <a:lnTo>
                      <a:pt x="170" y="268"/>
                    </a:lnTo>
                    <a:lnTo>
                      <a:pt x="172" y="270"/>
                    </a:lnTo>
                    <a:lnTo>
                      <a:pt x="173" y="273"/>
                    </a:lnTo>
                    <a:lnTo>
                      <a:pt x="170" y="273"/>
                    </a:lnTo>
                    <a:lnTo>
                      <a:pt x="173" y="276"/>
                    </a:lnTo>
                    <a:lnTo>
                      <a:pt x="172" y="279"/>
                    </a:lnTo>
                    <a:lnTo>
                      <a:pt x="172" y="281"/>
                    </a:lnTo>
                    <a:lnTo>
                      <a:pt x="172" y="284"/>
                    </a:lnTo>
                    <a:lnTo>
                      <a:pt x="172" y="287"/>
                    </a:lnTo>
                    <a:lnTo>
                      <a:pt x="173" y="292"/>
                    </a:lnTo>
                    <a:lnTo>
                      <a:pt x="176" y="295"/>
                    </a:lnTo>
                    <a:lnTo>
                      <a:pt x="178" y="298"/>
                    </a:lnTo>
                    <a:lnTo>
                      <a:pt x="175" y="300"/>
                    </a:lnTo>
                    <a:lnTo>
                      <a:pt x="178" y="301"/>
                    </a:lnTo>
                    <a:lnTo>
                      <a:pt x="180" y="301"/>
                    </a:lnTo>
                    <a:lnTo>
                      <a:pt x="181" y="303"/>
                    </a:lnTo>
                    <a:lnTo>
                      <a:pt x="184" y="301"/>
                    </a:lnTo>
                    <a:lnTo>
                      <a:pt x="186" y="305"/>
                    </a:lnTo>
                    <a:lnTo>
                      <a:pt x="191" y="306"/>
                    </a:lnTo>
                    <a:lnTo>
                      <a:pt x="194" y="305"/>
                    </a:lnTo>
                    <a:lnTo>
                      <a:pt x="197" y="303"/>
                    </a:lnTo>
                    <a:lnTo>
                      <a:pt x="197" y="308"/>
                    </a:lnTo>
                    <a:lnTo>
                      <a:pt x="203" y="313"/>
                    </a:lnTo>
                    <a:lnTo>
                      <a:pt x="208" y="313"/>
                    </a:lnTo>
                    <a:lnTo>
                      <a:pt x="211" y="314"/>
                    </a:lnTo>
                    <a:lnTo>
                      <a:pt x="214" y="317"/>
                    </a:lnTo>
                    <a:lnTo>
                      <a:pt x="211" y="317"/>
                    </a:lnTo>
                    <a:lnTo>
                      <a:pt x="214" y="321"/>
                    </a:lnTo>
                    <a:lnTo>
                      <a:pt x="214" y="321"/>
                    </a:lnTo>
                    <a:lnTo>
                      <a:pt x="219" y="322"/>
                    </a:lnTo>
                    <a:lnTo>
                      <a:pt x="222" y="322"/>
                    </a:lnTo>
                    <a:lnTo>
                      <a:pt x="224" y="327"/>
                    </a:lnTo>
                    <a:lnTo>
                      <a:pt x="226" y="328"/>
                    </a:lnTo>
                    <a:lnTo>
                      <a:pt x="227" y="332"/>
                    </a:lnTo>
                    <a:lnTo>
                      <a:pt x="224" y="330"/>
                    </a:lnTo>
                    <a:lnTo>
                      <a:pt x="227" y="333"/>
                    </a:lnTo>
                    <a:lnTo>
                      <a:pt x="230" y="336"/>
                    </a:lnTo>
                    <a:lnTo>
                      <a:pt x="227" y="336"/>
                    </a:lnTo>
                    <a:lnTo>
                      <a:pt x="226" y="336"/>
                    </a:lnTo>
                    <a:lnTo>
                      <a:pt x="224" y="338"/>
                    </a:lnTo>
                    <a:lnTo>
                      <a:pt x="221" y="338"/>
                    </a:lnTo>
                    <a:lnTo>
                      <a:pt x="219" y="340"/>
                    </a:lnTo>
                    <a:lnTo>
                      <a:pt x="218" y="343"/>
                    </a:lnTo>
                    <a:lnTo>
                      <a:pt x="213" y="344"/>
                    </a:lnTo>
                    <a:lnTo>
                      <a:pt x="210" y="347"/>
                    </a:lnTo>
                    <a:lnTo>
                      <a:pt x="206" y="347"/>
                    </a:lnTo>
                    <a:lnTo>
                      <a:pt x="210" y="349"/>
                    </a:lnTo>
                    <a:lnTo>
                      <a:pt x="206" y="349"/>
                    </a:lnTo>
                    <a:lnTo>
                      <a:pt x="203" y="347"/>
                    </a:lnTo>
                    <a:lnTo>
                      <a:pt x="203" y="351"/>
                    </a:lnTo>
                    <a:lnTo>
                      <a:pt x="206" y="351"/>
                    </a:lnTo>
                    <a:lnTo>
                      <a:pt x="210" y="351"/>
                    </a:lnTo>
                    <a:lnTo>
                      <a:pt x="214" y="352"/>
                    </a:lnTo>
                    <a:lnTo>
                      <a:pt x="214" y="347"/>
                    </a:lnTo>
                    <a:lnTo>
                      <a:pt x="218" y="351"/>
                    </a:lnTo>
                    <a:lnTo>
                      <a:pt x="218" y="354"/>
                    </a:lnTo>
                    <a:lnTo>
                      <a:pt x="214" y="354"/>
                    </a:lnTo>
                    <a:lnTo>
                      <a:pt x="218" y="355"/>
                    </a:lnTo>
                    <a:lnTo>
                      <a:pt x="216" y="355"/>
                    </a:lnTo>
                    <a:lnTo>
                      <a:pt x="213" y="354"/>
                    </a:lnTo>
                    <a:lnTo>
                      <a:pt x="208" y="352"/>
                    </a:lnTo>
                    <a:lnTo>
                      <a:pt x="210" y="357"/>
                    </a:lnTo>
                    <a:lnTo>
                      <a:pt x="214" y="359"/>
                    </a:lnTo>
                    <a:lnTo>
                      <a:pt x="211" y="360"/>
                    </a:lnTo>
                    <a:lnTo>
                      <a:pt x="206" y="360"/>
                    </a:lnTo>
                    <a:lnTo>
                      <a:pt x="205" y="362"/>
                    </a:lnTo>
                    <a:lnTo>
                      <a:pt x="202" y="362"/>
                    </a:lnTo>
                    <a:lnTo>
                      <a:pt x="200" y="365"/>
                    </a:lnTo>
                    <a:lnTo>
                      <a:pt x="199" y="370"/>
                    </a:lnTo>
                    <a:lnTo>
                      <a:pt x="195" y="368"/>
                    </a:lnTo>
                    <a:lnTo>
                      <a:pt x="194" y="365"/>
                    </a:lnTo>
                    <a:lnTo>
                      <a:pt x="194" y="362"/>
                    </a:lnTo>
                    <a:lnTo>
                      <a:pt x="189" y="362"/>
                    </a:lnTo>
                    <a:lnTo>
                      <a:pt x="192" y="365"/>
                    </a:lnTo>
                    <a:lnTo>
                      <a:pt x="192" y="368"/>
                    </a:lnTo>
                    <a:lnTo>
                      <a:pt x="189" y="365"/>
                    </a:lnTo>
                    <a:lnTo>
                      <a:pt x="189" y="367"/>
                    </a:lnTo>
                    <a:lnTo>
                      <a:pt x="189" y="370"/>
                    </a:lnTo>
                    <a:lnTo>
                      <a:pt x="186" y="370"/>
                    </a:lnTo>
                    <a:lnTo>
                      <a:pt x="187" y="373"/>
                    </a:lnTo>
                    <a:lnTo>
                      <a:pt x="184" y="374"/>
                    </a:lnTo>
                    <a:lnTo>
                      <a:pt x="180" y="374"/>
                    </a:lnTo>
                    <a:lnTo>
                      <a:pt x="173" y="374"/>
                    </a:lnTo>
                    <a:lnTo>
                      <a:pt x="176" y="378"/>
                    </a:lnTo>
                    <a:lnTo>
                      <a:pt x="173" y="378"/>
                    </a:lnTo>
                    <a:lnTo>
                      <a:pt x="170" y="379"/>
                    </a:lnTo>
                    <a:lnTo>
                      <a:pt x="165" y="378"/>
                    </a:lnTo>
                    <a:lnTo>
                      <a:pt x="164" y="378"/>
                    </a:lnTo>
                    <a:lnTo>
                      <a:pt x="159" y="378"/>
                    </a:lnTo>
                    <a:lnTo>
                      <a:pt x="156" y="378"/>
                    </a:lnTo>
                    <a:lnTo>
                      <a:pt x="153" y="379"/>
                    </a:lnTo>
                    <a:lnTo>
                      <a:pt x="156" y="378"/>
                    </a:lnTo>
                    <a:lnTo>
                      <a:pt x="160" y="378"/>
                    </a:lnTo>
                    <a:lnTo>
                      <a:pt x="164" y="379"/>
                    </a:lnTo>
                    <a:lnTo>
                      <a:pt x="167" y="381"/>
                    </a:lnTo>
                    <a:lnTo>
                      <a:pt x="170" y="384"/>
                    </a:lnTo>
                    <a:lnTo>
                      <a:pt x="167" y="386"/>
                    </a:lnTo>
                    <a:lnTo>
                      <a:pt x="162" y="386"/>
                    </a:lnTo>
                    <a:lnTo>
                      <a:pt x="159" y="384"/>
                    </a:lnTo>
                    <a:lnTo>
                      <a:pt x="156" y="384"/>
                    </a:lnTo>
                    <a:lnTo>
                      <a:pt x="159" y="386"/>
                    </a:lnTo>
                    <a:lnTo>
                      <a:pt x="162" y="386"/>
                    </a:lnTo>
                    <a:lnTo>
                      <a:pt x="165" y="390"/>
                    </a:lnTo>
                    <a:lnTo>
                      <a:pt x="168" y="393"/>
                    </a:lnTo>
                    <a:lnTo>
                      <a:pt x="168" y="397"/>
                    </a:lnTo>
                    <a:lnTo>
                      <a:pt x="167" y="400"/>
                    </a:lnTo>
                    <a:lnTo>
                      <a:pt x="164" y="401"/>
                    </a:lnTo>
                    <a:lnTo>
                      <a:pt x="162" y="403"/>
                    </a:lnTo>
                    <a:lnTo>
                      <a:pt x="167" y="403"/>
                    </a:lnTo>
                    <a:lnTo>
                      <a:pt x="167" y="406"/>
                    </a:lnTo>
                    <a:lnTo>
                      <a:pt x="165" y="406"/>
                    </a:lnTo>
                    <a:lnTo>
                      <a:pt x="162" y="405"/>
                    </a:lnTo>
                    <a:lnTo>
                      <a:pt x="159" y="406"/>
                    </a:lnTo>
                    <a:lnTo>
                      <a:pt x="160" y="408"/>
                    </a:lnTo>
                    <a:lnTo>
                      <a:pt x="164" y="409"/>
                    </a:lnTo>
                    <a:lnTo>
                      <a:pt x="164" y="411"/>
                    </a:lnTo>
                    <a:lnTo>
                      <a:pt x="165" y="414"/>
                    </a:lnTo>
                    <a:lnTo>
                      <a:pt x="162" y="416"/>
                    </a:lnTo>
                    <a:lnTo>
                      <a:pt x="162" y="419"/>
                    </a:lnTo>
                    <a:lnTo>
                      <a:pt x="165" y="420"/>
                    </a:lnTo>
                    <a:lnTo>
                      <a:pt x="165" y="425"/>
                    </a:lnTo>
                    <a:lnTo>
                      <a:pt x="162" y="427"/>
                    </a:lnTo>
                    <a:lnTo>
                      <a:pt x="159" y="430"/>
                    </a:lnTo>
                    <a:lnTo>
                      <a:pt x="160" y="430"/>
                    </a:lnTo>
                    <a:lnTo>
                      <a:pt x="160" y="435"/>
                    </a:lnTo>
                    <a:lnTo>
                      <a:pt x="160" y="435"/>
                    </a:lnTo>
                    <a:lnTo>
                      <a:pt x="162" y="436"/>
                    </a:lnTo>
                    <a:lnTo>
                      <a:pt x="162" y="438"/>
                    </a:lnTo>
                    <a:lnTo>
                      <a:pt x="159" y="439"/>
                    </a:lnTo>
                    <a:lnTo>
                      <a:pt x="156" y="454"/>
                    </a:lnTo>
                    <a:lnTo>
                      <a:pt x="148" y="470"/>
                    </a:lnTo>
                    <a:lnTo>
                      <a:pt x="145" y="473"/>
                    </a:lnTo>
                    <a:lnTo>
                      <a:pt x="141" y="473"/>
                    </a:lnTo>
                    <a:lnTo>
                      <a:pt x="138" y="471"/>
                    </a:lnTo>
                    <a:lnTo>
                      <a:pt x="134" y="471"/>
                    </a:lnTo>
                    <a:lnTo>
                      <a:pt x="130" y="471"/>
                    </a:lnTo>
                    <a:lnTo>
                      <a:pt x="121" y="471"/>
                    </a:lnTo>
                    <a:lnTo>
                      <a:pt x="110" y="471"/>
                    </a:lnTo>
                    <a:lnTo>
                      <a:pt x="108" y="474"/>
                    </a:lnTo>
                    <a:lnTo>
                      <a:pt x="110" y="478"/>
                    </a:lnTo>
                    <a:lnTo>
                      <a:pt x="107" y="478"/>
                    </a:lnTo>
                    <a:lnTo>
                      <a:pt x="103" y="476"/>
                    </a:lnTo>
                    <a:lnTo>
                      <a:pt x="100" y="478"/>
                    </a:lnTo>
                    <a:lnTo>
                      <a:pt x="97" y="481"/>
                    </a:lnTo>
                    <a:lnTo>
                      <a:pt x="95" y="482"/>
                    </a:lnTo>
                    <a:lnTo>
                      <a:pt x="94" y="487"/>
                    </a:lnTo>
                    <a:lnTo>
                      <a:pt x="95" y="490"/>
                    </a:lnTo>
                    <a:lnTo>
                      <a:pt x="99" y="493"/>
                    </a:lnTo>
                    <a:lnTo>
                      <a:pt x="99" y="497"/>
                    </a:lnTo>
                    <a:lnTo>
                      <a:pt x="95" y="501"/>
                    </a:lnTo>
                    <a:lnTo>
                      <a:pt x="95" y="501"/>
                    </a:lnTo>
                    <a:lnTo>
                      <a:pt x="94" y="501"/>
                    </a:lnTo>
                    <a:lnTo>
                      <a:pt x="91" y="501"/>
                    </a:lnTo>
                    <a:lnTo>
                      <a:pt x="86" y="500"/>
                    </a:lnTo>
                    <a:lnTo>
                      <a:pt x="83" y="500"/>
                    </a:lnTo>
                    <a:lnTo>
                      <a:pt x="81" y="500"/>
                    </a:lnTo>
                    <a:lnTo>
                      <a:pt x="78" y="501"/>
                    </a:lnTo>
                    <a:lnTo>
                      <a:pt x="75" y="501"/>
                    </a:lnTo>
                    <a:lnTo>
                      <a:pt x="72" y="503"/>
                    </a:lnTo>
                    <a:lnTo>
                      <a:pt x="67" y="504"/>
                    </a:lnTo>
                    <a:lnTo>
                      <a:pt x="64" y="503"/>
                    </a:lnTo>
                    <a:lnTo>
                      <a:pt x="61" y="503"/>
                    </a:lnTo>
                    <a:lnTo>
                      <a:pt x="56" y="501"/>
                    </a:lnTo>
                    <a:lnTo>
                      <a:pt x="53" y="501"/>
                    </a:lnTo>
                    <a:lnTo>
                      <a:pt x="56" y="500"/>
                    </a:lnTo>
                    <a:lnTo>
                      <a:pt x="54" y="497"/>
                    </a:lnTo>
                    <a:lnTo>
                      <a:pt x="57" y="493"/>
                    </a:lnTo>
                    <a:lnTo>
                      <a:pt x="59" y="490"/>
                    </a:lnTo>
                    <a:lnTo>
                      <a:pt x="56" y="487"/>
                    </a:lnTo>
                    <a:lnTo>
                      <a:pt x="54" y="484"/>
                    </a:lnTo>
                    <a:lnTo>
                      <a:pt x="51" y="481"/>
                    </a:lnTo>
                    <a:lnTo>
                      <a:pt x="48" y="476"/>
                    </a:lnTo>
                    <a:lnTo>
                      <a:pt x="46" y="474"/>
                    </a:lnTo>
                    <a:lnTo>
                      <a:pt x="45" y="471"/>
                    </a:lnTo>
                    <a:lnTo>
                      <a:pt x="43" y="466"/>
                    </a:lnTo>
                    <a:lnTo>
                      <a:pt x="48" y="468"/>
                    </a:lnTo>
                    <a:lnTo>
                      <a:pt x="51" y="470"/>
                    </a:lnTo>
                    <a:lnTo>
                      <a:pt x="53" y="466"/>
                    </a:lnTo>
                    <a:lnTo>
                      <a:pt x="49" y="463"/>
                    </a:lnTo>
                    <a:lnTo>
                      <a:pt x="48" y="460"/>
                    </a:lnTo>
                    <a:lnTo>
                      <a:pt x="51" y="460"/>
                    </a:lnTo>
                    <a:lnTo>
                      <a:pt x="54" y="460"/>
                    </a:lnTo>
                    <a:lnTo>
                      <a:pt x="56" y="457"/>
                    </a:lnTo>
                    <a:lnTo>
                      <a:pt x="56" y="457"/>
                    </a:lnTo>
                    <a:lnTo>
                      <a:pt x="53" y="452"/>
                    </a:lnTo>
                    <a:lnTo>
                      <a:pt x="49" y="452"/>
                    </a:lnTo>
                    <a:lnTo>
                      <a:pt x="46" y="449"/>
                    </a:lnTo>
                    <a:lnTo>
                      <a:pt x="45" y="446"/>
                    </a:lnTo>
                    <a:lnTo>
                      <a:pt x="42" y="444"/>
                    </a:lnTo>
                    <a:lnTo>
                      <a:pt x="42" y="444"/>
                    </a:lnTo>
                    <a:lnTo>
                      <a:pt x="38" y="439"/>
                    </a:lnTo>
                    <a:lnTo>
                      <a:pt x="35" y="438"/>
                    </a:lnTo>
                    <a:lnTo>
                      <a:pt x="34" y="435"/>
                    </a:lnTo>
                    <a:lnTo>
                      <a:pt x="32" y="430"/>
                    </a:lnTo>
                    <a:lnTo>
                      <a:pt x="32" y="427"/>
                    </a:lnTo>
                    <a:lnTo>
                      <a:pt x="27" y="424"/>
                    </a:lnTo>
                    <a:lnTo>
                      <a:pt x="24" y="425"/>
                    </a:lnTo>
                    <a:lnTo>
                      <a:pt x="24" y="420"/>
                    </a:lnTo>
                    <a:lnTo>
                      <a:pt x="26" y="417"/>
                    </a:lnTo>
                    <a:lnTo>
                      <a:pt x="24" y="416"/>
                    </a:lnTo>
                    <a:lnTo>
                      <a:pt x="23" y="412"/>
                    </a:lnTo>
                    <a:lnTo>
                      <a:pt x="19" y="411"/>
                    </a:lnTo>
                    <a:lnTo>
                      <a:pt x="23" y="409"/>
                    </a:lnTo>
                    <a:lnTo>
                      <a:pt x="19" y="409"/>
                    </a:lnTo>
                    <a:lnTo>
                      <a:pt x="18" y="406"/>
                    </a:lnTo>
                    <a:lnTo>
                      <a:pt x="19" y="403"/>
                    </a:lnTo>
                    <a:lnTo>
                      <a:pt x="21" y="400"/>
                    </a:lnTo>
                    <a:lnTo>
                      <a:pt x="23" y="397"/>
                    </a:lnTo>
                    <a:lnTo>
                      <a:pt x="23" y="392"/>
                    </a:lnTo>
                    <a:lnTo>
                      <a:pt x="23" y="389"/>
                    </a:lnTo>
                    <a:lnTo>
                      <a:pt x="19" y="389"/>
                    </a:lnTo>
                    <a:lnTo>
                      <a:pt x="16" y="392"/>
                    </a:lnTo>
                    <a:lnTo>
                      <a:pt x="11" y="392"/>
                    </a:lnTo>
                    <a:lnTo>
                      <a:pt x="15" y="389"/>
                    </a:lnTo>
                    <a:lnTo>
                      <a:pt x="18" y="386"/>
                    </a:lnTo>
                    <a:lnTo>
                      <a:pt x="15" y="384"/>
                    </a:lnTo>
                    <a:lnTo>
                      <a:pt x="15" y="389"/>
                    </a:lnTo>
                    <a:lnTo>
                      <a:pt x="10" y="390"/>
                    </a:lnTo>
                    <a:lnTo>
                      <a:pt x="8" y="387"/>
                    </a:lnTo>
                    <a:lnTo>
                      <a:pt x="5" y="389"/>
                    </a:lnTo>
                    <a:lnTo>
                      <a:pt x="7" y="384"/>
                    </a:lnTo>
                    <a:lnTo>
                      <a:pt x="5" y="381"/>
                    </a:lnTo>
                    <a:lnTo>
                      <a:pt x="5" y="378"/>
                    </a:lnTo>
                    <a:lnTo>
                      <a:pt x="5" y="374"/>
                    </a:lnTo>
                    <a:lnTo>
                      <a:pt x="3" y="370"/>
                    </a:lnTo>
                    <a:lnTo>
                      <a:pt x="3" y="367"/>
                    </a:lnTo>
                    <a:lnTo>
                      <a:pt x="0" y="363"/>
                    </a:lnTo>
                    <a:lnTo>
                      <a:pt x="3" y="36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sp>
          <p:nvSpPr>
            <p:cNvPr id="320" name="Freeform 533"/>
            <p:cNvSpPr>
              <a:spLocks/>
            </p:cNvSpPr>
            <p:nvPr/>
          </p:nvSpPr>
          <p:spPr bwMode="auto">
            <a:xfrm>
              <a:off x="5622292" y="3139891"/>
              <a:ext cx="179384" cy="89699"/>
            </a:xfrm>
            <a:custGeom>
              <a:avLst/>
              <a:gdLst>
                <a:gd name="T0" fmla="*/ 3 w 242"/>
                <a:gd name="T1" fmla="*/ 62 h 105"/>
                <a:gd name="T2" fmla="*/ 6 w 242"/>
                <a:gd name="T3" fmla="*/ 57 h 105"/>
                <a:gd name="T4" fmla="*/ 14 w 242"/>
                <a:gd name="T5" fmla="*/ 60 h 105"/>
                <a:gd name="T6" fmla="*/ 24 w 242"/>
                <a:gd name="T7" fmla="*/ 68 h 105"/>
                <a:gd name="T8" fmla="*/ 33 w 242"/>
                <a:gd name="T9" fmla="*/ 59 h 105"/>
                <a:gd name="T10" fmla="*/ 44 w 242"/>
                <a:gd name="T11" fmla="*/ 59 h 105"/>
                <a:gd name="T12" fmla="*/ 50 w 242"/>
                <a:gd name="T13" fmla="*/ 63 h 105"/>
                <a:gd name="T14" fmla="*/ 63 w 242"/>
                <a:gd name="T15" fmla="*/ 59 h 105"/>
                <a:gd name="T16" fmla="*/ 81 w 242"/>
                <a:gd name="T17" fmla="*/ 55 h 105"/>
                <a:gd name="T18" fmla="*/ 84 w 242"/>
                <a:gd name="T19" fmla="*/ 52 h 105"/>
                <a:gd name="T20" fmla="*/ 100 w 242"/>
                <a:gd name="T21" fmla="*/ 52 h 105"/>
                <a:gd name="T22" fmla="*/ 111 w 242"/>
                <a:gd name="T23" fmla="*/ 60 h 105"/>
                <a:gd name="T24" fmla="*/ 108 w 242"/>
                <a:gd name="T25" fmla="*/ 49 h 105"/>
                <a:gd name="T26" fmla="*/ 106 w 242"/>
                <a:gd name="T27" fmla="*/ 39 h 105"/>
                <a:gd name="T28" fmla="*/ 116 w 242"/>
                <a:gd name="T29" fmla="*/ 28 h 105"/>
                <a:gd name="T30" fmla="*/ 123 w 242"/>
                <a:gd name="T31" fmla="*/ 17 h 105"/>
                <a:gd name="T32" fmla="*/ 128 w 242"/>
                <a:gd name="T33" fmla="*/ 17 h 105"/>
                <a:gd name="T34" fmla="*/ 139 w 242"/>
                <a:gd name="T35" fmla="*/ 11 h 105"/>
                <a:gd name="T36" fmla="*/ 154 w 242"/>
                <a:gd name="T37" fmla="*/ 16 h 105"/>
                <a:gd name="T38" fmla="*/ 163 w 242"/>
                <a:gd name="T39" fmla="*/ 13 h 105"/>
                <a:gd name="T40" fmla="*/ 173 w 242"/>
                <a:gd name="T41" fmla="*/ 3 h 105"/>
                <a:gd name="T42" fmla="*/ 184 w 242"/>
                <a:gd name="T43" fmla="*/ 1 h 105"/>
                <a:gd name="T44" fmla="*/ 200 w 242"/>
                <a:gd name="T45" fmla="*/ 5 h 105"/>
                <a:gd name="T46" fmla="*/ 219 w 242"/>
                <a:gd name="T47" fmla="*/ 8 h 105"/>
                <a:gd name="T48" fmla="*/ 231 w 242"/>
                <a:gd name="T49" fmla="*/ 11 h 105"/>
                <a:gd name="T50" fmla="*/ 231 w 242"/>
                <a:gd name="T51" fmla="*/ 22 h 105"/>
                <a:gd name="T52" fmla="*/ 236 w 242"/>
                <a:gd name="T53" fmla="*/ 33 h 105"/>
                <a:gd name="T54" fmla="*/ 242 w 242"/>
                <a:gd name="T55" fmla="*/ 39 h 105"/>
                <a:gd name="T56" fmla="*/ 238 w 242"/>
                <a:gd name="T57" fmla="*/ 52 h 105"/>
                <a:gd name="T58" fmla="*/ 227 w 242"/>
                <a:gd name="T59" fmla="*/ 51 h 105"/>
                <a:gd name="T60" fmla="*/ 225 w 242"/>
                <a:gd name="T61" fmla="*/ 54 h 105"/>
                <a:gd name="T62" fmla="*/ 222 w 242"/>
                <a:gd name="T63" fmla="*/ 63 h 105"/>
                <a:gd name="T64" fmla="*/ 222 w 242"/>
                <a:gd name="T65" fmla="*/ 79 h 105"/>
                <a:gd name="T66" fmla="*/ 212 w 242"/>
                <a:gd name="T67" fmla="*/ 82 h 105"/>
                <a:gd name="T68" fmla="*/ 207 w 242"/>
                <a:gd name="T69" fmla="*/ 93 h 105"/>
                <a:gd name="T70" fmla="*/ 195 w 242"/>
                <a:gd name="T71" fmla="*/ 92 h 105"/>
                <a:gd name="T72" fmla="*/ 174 w 242"/>
                <a:gd name="T73" fmla="*/ 95 h 105"/>
                <a:gd name="T74" fmla="*/ 161 w 242"/>
                <a:gd name="T75" fmla="*/ 105 h 105"/>
                <a:gd name="T76" fmla="*/ 136 w 242"/>
                <a:gd name="T77" fmla="*/ 100 h 105"/>
                <a:gd name="T78" fmla="*/ 127 w 242"/>
                <a:gd name="T79" fmla="*/ 97 h 105"/>
                <a:gd name="T80" fmla="*/ 109 w 242"/>
                <a:gd name="T81" fmla="*/ 95 h 105"/>
                <a:gd name="T82" fmla="*/ 93 w 242"/>
                <a:gd name="T83" fmla="*/ 92 h 105"/>
                <a:gd name="T84" fmla="*/ 90 w 242"/>
                <a:gd name="T85" fmla="*/ 89 h 105"/>
                <a:gd name="T86" fmla="*/ 82 w 242"/>
                <a:gd name="T87" fmla="*/ 76 h 105"/>
                <a:gd name="T88" fmla="*/ 66 w 242"/>
                <a:gd name="T89" fmla="*/ 79 h 105"/>
                <a:gd name="T90" fmla="*/ 50 w 242"/>
                <a:gd name="T91" fmla="*/ 81 h 105"/>
                <a:gd name="T92" fmla="*/ 38 w 242"/>
                <a:gd name="T93" fmla="*/ 85 h 105"/>
                <a:gd name="T94" fmla="*/ 30 w 242"/>
                <a:gd name="T95" fmla="*/ 82 h 105"/>
                <a:gd name="T96" fmla="*/ 19 w 242"/>
                <a:gd name="T97" fmla="*/ 85 h 105"/>
                <a:gd name="T98" fmla="*/ 8 w 242"/>
                <a:gd name="T99" fmla="*/ 78 h 105"/>
                <a:gd name="T100" fmla="*/ 0 w 242"/>
                <a:gd name="T101" fmla="*/ 71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2" h="105">
                  <a:moveTo>
                    <a:pt x="0" y="68"/>
                  </a:moveTo>
                  <a:lnTo>
                    <a:pt x="1" y="65"/>
                  </a:lnTo>
                  <a:lnTo>
                    <a:pt x="1" y="65"/>
                  </a:lnTo>
                  <a:lnTo>
                    <a:pt x="3" y="63"/>
                  </a:lnTo>
                  <a:lnTo>
                    <a:pt x="3" y="62"/>
                  </a:lnTo>
                  <a:lnTo>
                    <a:pt x="0" y="60"/>
                  </a:lnTo>
                  <a:lnTo>
                    <a:pt x="0" y="59"/>
                  </a:lnTo>
                  <a:lnTo>
                    <a:pt x="4" y="59"/>
                  </a:lnTo>
                  <a:lnTo>
                    <a:pt x="6" y="59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9" y="59"/>
                  </a:lnTo>
                  <a:lnTo>
                    <a:pt x="12" y="57"/>
                  </a:lnTo>
                  <a:lnTo>
                    <a:pt x="14" y="60"/>
                  </a:lnTo>
                  <a:lnTo>
                    <a:pt x="14" y="60"/>
                  </a:lnTo>
                  <a:lnTo>
                    <a:pt x="17" y="63"/>
                  </a:lnTo>
                  <a:lnTo>
                    <a:pt x="20" y="65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7" y="65"/>
                  </a:lnTo>
                  <a:lnTo>
                    <a:pt x="28" y="62"/>
                  </a:lnTo>
                  <a:lnTo>
                    <a:pt x="28" y="60"/>
                  </a:lnTo>
                  <a:lnTo>
                    <a:pt x="28" y="55"/>
                  </a:lnTo>
                  <a:lnTo>
                    <a:pt x="33" y="59"/>
                  </a:lnTo>
                  <a:lnTo>
                    <a:pt x="33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9" y="59"/>
                  </a:lnTo>
                  <a:lnTo>
                    <a:pt x="44" y="59"/>
                  </a:lnTo>
                  <a:lnTo>
                    <a:pt x="43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7" y="63"/>
                  </a:lnTo>
                  <a:lnTo>
                    <a:pt x="50" y="63"/>
                  </a:lnTo>
                  <a:lnTo>
                    <a:pt x="54" y="63"/>
                  </a:lnTo>
                  <a:lnTo>
                    <a:pt x="55" y="63"/>
                  </a:lnTo>
                  <a:lnTo>
                    <a:pt x="58" y="62"/>
                  </a:lnTo>
                  <a:lnTo>
                    <a:pt x="60" y="60"/>
                  </a:lnTo>
                  <a:lnTo>
                    <a:pt x="63" y="59"/>
                  </a:lnTo>
                  <a:lnTo>
                    <a:pt x="66" y="57"/>
                  </a:lnTo>
                  <a:lnTo>
                    <a:pt x="70" y="55"/>
                  </a:lnTo>
                  <a:lnTo>
                    <a:pt x="73" y="57"/>
                  </a:lnTo>
                  <a:lnTo>
                    <a:pt x="77" y="55"/>
                  </a:lnTo>
                  <a:lnTo>
                    <a:pt x="81" y="55"/>
                  </a:lnTo>
                  <a:lnTo>
                    <a:pt x="84" y="55"/>
                  </a:lnTo>
                  <a:lnTo>
                    <a:pt x="84" y="55"/>
                  </a:lnTo>
                  <a:lnTo>
                    <a:pt x="84" y="55"/>
                  </a:lnTo>
                  <a:lnTo>
                    <a:pt x="84" y="55"/>
                  </a:lnTo>
                  <a:lnTo>
                    <a:pt x="84" y="52"/>
                  </a:lnTo>
                  <a:lnTo>
                    <a:pt x="87" y="52"/>
                  </a:lnTo>
                  <a:lnTo>
                    <a:pt x="90" y="52"/>
                  </a:lnTo>
                  <a:lnTo>
                    <a:pt x="93" y="54"/>
                  </a:lnTo>
                  <a:lnTo>
                    <a:pt x="96" y="54"/>
                  </a:lnTo>
                  <a:lnTo>
                    <a:pt x="100" y="52"/>
                  </a:lnTo>
                  <a:lnTo>
                    <a:pt x="103" y="52"/>
                  </a:lnTo>
                  <a:lnTo>
                    <a:pt x="103" y="55"/>
                  </a:lnTo>
                  <a:lnTo>
                    <a:pt x="106" y="59"/>
                  </a:lnTo>
                  <a:lnTo>
                    <a:pt x="108" y="60"/>
                  </a:lnTo>
                  <a:lnTo>
                    <a:pt x="111" y="60"/>
                  </a:lnTo>
                  <a:lnTo>
                    <a:pt x="112" y="60"/>
                  </a:lnTo>
                  <a:lnTo>
                    <a:pt x="111" y="55"/>
                  </a:lnTo>
                  <a:lnTo>
                    <a:pt x="112" y="52"/>
                  </a:lnTo>
                  <a:lnTo>
                    <a:pt x="109" y="51"/>
                  </a:lnTo>
                  <a:lnTo>
                    <a:pt x="108" y="49"/>
                  </a:lnTo>
                  <a:lnTo>
                    <a:pt x="109" y="46"/>
                  </a:lnTo>
                  <a:lnTo>
                    <a:pt x="109" y="46"/>
                  </a:lnTo>
                  <a:lnTo>
                    <a:pt x="111" y="46"/>
                  </a:lnTo>
                  <a:lnTo>
                    <a:pt x="108" y="43"/>
                  </a:lnTo>
                  <a:lnTo>
                    <a:pt x="106" y="39"/>
                  </a:lnTo>
                  <a:lnTo>
                    <a:pt x="103" y="36"/>
                  </a:lnTo>
                  <a:lnTo>
                    <a:pt x="104" y="33"/>
                  </a:lnTo>
                  <a:lnTo>
                    <a:pt x="111" y="28"/>
                  </a:lnTo>
                  <a:lnTo>
                    <a:pt x="111" y="28"/>
                  </a:lnTo>
                  <a:lnTo>
                    <a:pt x="116" y="28"/>
                  </a:lnTo>
                  <a:lnTo>
                    <a:pt x="119" y="27"/>
                  </a:lnTo>
                  <a:lnTo>
                    <a:pt x="122" y="25"/>
                  </a:lnTo>
                  <a:lnTo>
                    <a:pt x="123" y="24"/>
                  </a:lnTo>
                  <a:lnTo>
                    <a:pt x="123" y="20"/>
                  </a:lnTo>
                  <a:lnTo>
                    <a:pt x="123" y="17"/>
                  </a:lnTo>
                  <a:lnTo>
                    <a:pt x="123" y="17"/>
                  </a:lnTo>
                  <a:lnTo>
                    <a:pt x="123" y="17"/>
                  </a:lnTo>
                  <a:lnTo>
                    <a:pt x="125" y="16"/>
                  </a:lnTo>
                  <a:lnTo>
                    <a:pt x="125" y="16"/>
                  </a:lnTo>
                  <a:lnTo>
                    <a:pt x="128" y="17"/>
                  </a:lnTo>
                  <a:lnTo>
                    <a:pt x="133" y="19"/>
                  </a:lnTo>
                  <a:lnTo>
                    <a:pt x="135" y="16"/>
                  </a:lnTo>
                  <a:lnTo>
                    <a:pt x="135" y="13"/>
                  </a:lnTo>
                  <a:lnTo>
                    <a:pt x="136" y="9"/>
                  </a:lnTo>
                  <a:lnTo>
                    <a:pt x="139" y="11"/>
                  </a:lnTo>
                  <a:lnTo>
                    <a:pt x="142" y="13"/>
                  </a:lnTo>
                  <a:lnTo>
                    <a:pt x="146" y="16"/>
                  </a:lnTo>
                  <a:lnTo>
                    <a:pt x="149" y="16"/>
                  </a:lnTo>
                  <a:lnTo>
                    <a:pt x="154" y="16"/>
                  </a:lnTo>
                  <a:lnTo>
                    <a:pt x="154" y="16"/>
                  </a:lnTo>
                  <a:lnTo>
                    <a:pt x="155" y="14"/>
                  </a:lnTo>
                  <a:lnTo>
                    <a:pt x="158" y="16"/>
                  </a:lnTo>
                  <a:lnTo>
                    <a:pt x="163" y="16"/>
                  </a:lnTo>
                  <a:lnTo>
                    <a:pt x="163" y="16"/>
                  </a:lnTo>
                  <a:lnTo>
                    <a:pt x="163" y="13"/>
                  </a:lnTo>
                  <a:lnTo>
                    <a:pt x="166" y="9"/>
                  </a:lnTo>
                  <a:lnTo>
                    <a:pt x="169" y="9"/>
                  </a:lnTo>
                  <a:lnTo>
                    <a:pt x="171" y="9"/>
                  </a:lnTo>
                  <a:lnTo>
                    <a:pt x="171" y="6"/>
                  </a:lnTo>
                  <a:lnTo>
                    <a:pt x="173" y="3"/>
                  </a:lnTo>
                  <a:lnTo>
                    <a:pt x="173" y="0"/>
                  </a:lnTo>
                  <a:lnTo>
                    <a:pt x="176" y="0"/>
                  </a:lnTo>
                  <a:lnTo>
                    <a:pt x="179" y="1"/>
                  </a:lnTo>
                  <a:lnTo>
                    <a:pt x="182" y="0"/>
                  </a:lnTo>
                  <a:lnTo>
                    <a:pt x="184" y="1"/>
                  </a:lnTo>
                  <a:lnTo>
                    <a:pt x="187" y="1"/>
                  </a:lnTo>
                  <a:lnTo>
                    <a:pt x="190" y="3"/>
                  </a:lnTo>
                  <a:lnTo>
                    <a:pt x="192" y="5"/>
                  </a:lnTo>
                  <a:lnTo>
                    <a:pt x="196" y="5"/>
                  </a:lnTo>
                  <a:lnTo>
                    <a:pt x="200" y="5"/>
                  </a:lnTo>
                  <a:lnTo>
                    <a:pt x="200" y="5"/>
                  </a:lnTo>
                  <a:lnTo>
                    <a:pt x="204" y="9"/>
                  </a:lnTo>
                  <a:lnTo>
                    <a:pt x="215" y="9"/>
                  </a:lnTo>
                  <a:lnTo>
                    <a:pt x="219" y="8"/>
                  </a:lnTo>
                  <a:lnTo>
                    <a:pt x="219" y="8"/>
                  </a:lnTo>
                  <a:lnTo>
                    <a:pt x="222" y="8"/>
                  </a:lnTo>
                  <a:lnTo>
                    <a:pt x="223" y="8"/>
                  </a:lnTo>
                  <a:lnTo>
                    <a:pt x="228" y="9"/>
                  </a:lnTo>
                  <a:lnTo>
                    <a:pt x="231" y="11"/>
                  </a:lnTo>
                  <a:lnTo>
                    <a:pt x="231" y="11"/>
                  </a:lnTo>
                  <a:lnTo>
                    <a:pt x="231" y="11"/>
                  </a:lnTo>
                  <a:lnTo>
                    <a:pt x="233" y="14"/>
                  </a:lnTo>
                  <a:lnTo>
                    <a:pt x="234" y="14"/>
                  </a:lnTo>
                  <a:lnTo>
                    <a:pt x="234" y="19"/>
                  </a:lnTo>
                  <a:lnTo>
                    <a:pt x="231" y="22"/>
                  </a:lnTo>
                  <a:lnTo>
                    <a:pt x="231" y="25"/>
                  </a:lnTo>
                  <a:lnTo>
                    <a:pt x="234" y="28"/>
                  </a:lnTo>
                  <a:lnTo>
                    <a:pt x="234" y="28"/>
                  </a:lnTo>
                  <a:lnTo>
                    <a:pt x="234" y="30"/>
                  </a:lnTo>
                  <a:lnTo>
                    <a:pt x="236" y="33"/>
                  </a:lnTo>
                  <a:lnTo>
                    <a:pt x="238" y="33"/>
                  </a:lnTo>
                  <a:lnTo>
                    <a:pt x="239" y="35"/>
                  </a:lnTo>
                  <a:lnTo>
                    <a:pt x="239" y="35"/>
                  </a:lnTo>
                  <a:lnTo>
                    <a:pt x="239" y="36"/>
                  </a:lnTo>
                  <a:lnTo>
                    <a:pt x="242" y="39"/>
                  </a:lnTo>
                  <a:lnTo>
                    <a:pt x="239" y="43"/>
                  </a:lnTo>
                  <a:lnTo>
                    <a:pt x="241" y="43"/>
                  </a:lnTo>
                  <a:lnTo>
                    <a:pt x="238" y="44"/>
                  </a:lnTo>
                  <a:lnTo>
                    <a:pt x="239" y="47"/>
                  </a:lnTo>
                  <a:lnTo>
                    <a:pt x="238" y="52"/>
                  </a:lnTo>
                  <a:lnTo>
                    <a:pt x="233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27" y="51"/>
                  </a:lnTo>
                  <a:lnTo>
                    <a:pt x="227" y="51"/>
                  </a:lnTo>
                  <a:lnTo>
                    <a:pt x="223" y="49"/>
                  </a:lnTo>
                  <a:lnTo>
                    <a:pt x="222" y="51"/>
                  </a:lnTo>
                  <a:lnTo>
                    <a:pt x="222" y="52"/>
                  </a:lnTo>
                  <a:lnTo>
                    <a:pt x="222" y="54"/>
                  </a:lnTo>
                  <a:lnTo>
                    <a:pt x="225" y="54"/>
                  </a:lnTo>
                  <a:lnTo>
                    <a:pt x="227" y="55"/>
                  </a:lnTo>
                  <a:lnTo>
                    <a:pt x="227" y="60"/>
                  </a:lnTo>
                  <a:lnTo>
                    <a:pt x="227" y="62"/>
                  </a:lnTo>
                  <a:lnTo>
                    <a:pt x="227" y="62"/>
                  </a:lnTo>
                  <a:lnTo>
                    <a:pt x="222" y="63"/>
                  </a:lnTo>
                  <a:lnTo>
                    <a:pt x="220" y="65"/>
                  </a:lnTo>
                  <a:lnTo>
                    <a:pt x="222" y="70"/>
                  </a:lnTo>
                  <a:lnTo>
                    <a:pt x="220" y="73"/>
                  </a:lnTo>
                  <a:lnTo>
                    <a:pt x="222" y="76"/>
                  </a:lnTo>
                  <a:lnTo>
                    <a:pt x="222" y="79"/>
                  </a:lnTo>
                  <a:lnTo>
                    <a:pt x="219" y="79"/>
                  </a:lnTo>
                  <a:lnTo>
                    <a:pt x="215" y="81"/>
                  </a:lnTo>
                  <a:lnTo>
                    <a:pt x="214" y="81"/>
                  </a:lnTo>
                  <a:lnTo>
                    <a:pt x="214" y="81"/>
                  </a:lnTo>
                  <a:lnTo>
                    <a:pt x="212" y="82"/>
                  </a:lnTo>
                  <a:lnTo>
                    <a:pt x="209" y="84"/>
                  </a:lnTo>
                  <a:lnTo>
                    <a:pt x="207" y="85"/>
                  </a:lnTo>
                  <a:lnTo>
                    <a:pt x="206" y="89"/>
                  </a:lnTo>
                  <a:lnTo>
                    <a:pt x="207" y="93"/>
                  </a:lnTo>
                  <a:lnTo>
                    <a:pt x="207" y="93"/>
                  </a:lnTo>
                  <a:lnTo>
                    <a:pt x="206" y="92"/>
                  </a:lnTo>
                  <a:lnTo>
                    <a:pt x="203" y="90"/>
                  </a:lnTo>
                  <a:lnTo>
                    <a:pt x="198" y="92"/>
                  </a:lnTo>
                  <a:lnTo>
                    <a:pt x="195" y="90"/>
                  </a:lnTo>
                  <a:lnTo>
                    <a:pt x="195" y="92"/>
                  </a:lnTo>
                  <a:lnTo>
                    <a:pt x="192" y="93"/>
                  </a:lnTo>
                  <a:lnTo>
                    <a:pt x="188" y="93"/>
                  </a:lnTo>
                  <a:lnTo>
                    <a:pt x="187" y="93"/>
                  </a:lnTo>
                  <a:lnTo>
                    <a:pt x="177" y="93"/>
                  </a:lnTo>
                  <a:lnTo>
                    <a:pt x="174" y="95"/>
                  </a:lnTo>
                  <a:lnTo>
                    <a:pt x="174" y="95"/>
                  </a:lnTo>
                  <a:lnTo>
                    <a:pt x="174" y="95"/>
                  </a:lnTo>
                  <a:lnTo>
                    <a:pt x="173" y="93"/>
                  </a:lnTo>
                  <a:lnTo>
                    <a:pt x="166" y="98"/>
                  </a:lnTo>
                  <a:lnTo>
                    <a:pt x="161" y="105"/>
                  </a:lnTo>
                  <a:lnTo>
                    <a:pt x="152" y="101"/>
                  </a:lnTo>
                  <a:lnTo>
                    <a:pt x="144" y="100"/>
                  </a:lnTo>
                  <a:lnTo>
                    <a:pt x="142" y="100"/>
                  </a:lnTo>
                  <a:lnTo>
                    <a:pt x="139" y="98"/>
                  </a:lnTo>
                  <a:lnTo>
                    <a:pt x="136" y="100"/>
                  </a:lnTo>
                  <a:lnTo>
                    <a:pt x="133" y="98"/>
                  </a:lnTo>
                  <a:lnTo>
                    <a:pt x="131" y="98"/>
                  </a:lnTo>
                  <a:lnTo>
                    <a:pt x="131" y="98"/>
                  </a:lnTo>
                  <a:lnTo>
                    <a:pt x="130" y="98"/>
                  </a:lnTo>
                  <a:lnTo>
                    <a:pt x="127" y="97"/>
                  </a:lnTo>
                  <a:lnTo>
                    <a:pt x="123" y="97"/>
                  </a:lnTo>
                  <a:lnTo>
                    <a:pt x="120" y="97"/>
                  </a:lnTo>
                  <a:lnTo>
                    <a:pt x="116" y="97"/>
                  </a:lnTo>
                  <a:lnTo>
                    <a:pt x="112" y="95"/>
                  </a:lnTo>
                  <a:lnTo>
                    <a:pt x="109" y="95"/>
                  </a:lnTo>
                  <a:lnTo>
                    <a:pt x="106" y="95"/>
                  </a:lnTo>
                  <a:lnTo>
                    <a:pt x="103" y="93"/>
                  </a:lnTo>
                  <a:lnTo>
                    <a:pt x="100" y="93"/>
                  </a:lnTo>
                  <a:lnTo>
                    <a:pt x="98" y="93"/>
                  </a:lnTo>
                  <a:lnTo>
                    <a:pt x="93" y="92"/>
                  </a:lnTo>
                  <a:lnTo>
                    <a:pt x="93" y="92"/>
                  </a:lnTo>
                  <a:lnTo>
                    <a:pt x="90" y="90"/>
                  </a:lnTo>
                  <a:lnTo>
                    <a:pt x="90" y="90"/>
                  </a:lnTo>
                  <a:lnTo>
                    <a:pt x="90" y="89"/>
                  </a:lnTo>
                  <a:lnTo>
                    <a:pt x="90" y="89"/>
                  </a:lnTo>
                  <a:lnTo>
                    <a:pt x="89" y="85"/>
                  </a:lnTo>
                  <a:lnTo>
                    <a:pt x="84" y="84"/>
                  </a:lnTo>
                  <a:lnTo>
                    <a:pt x="82" y="79"/>
                  </a:lnTo>
                  <a:lnTo>
                    <a:pt x="85" y="76"/>
                  </a:lnTo>
                  <a:lnTo>
                    <a:pt x="82" y="76"/>
                  </a:lnTo>
                  <a:lnTo>
                    <a:pt x="79" y="78"/>
                  </a:lnTo>
                  <a:lnTo>
                    <a:pt x="76" y="78"/>
                  </a:lnTo>
                  <a:lnTo>
                    <a:pt x="73" y="79"/>
                  </a:lnTo>
                  <a:lnTo>
                    <a:pt x="70" y="79"/>
                  </a:lnTo>
                  <a:lnTo>
                    <a:pt x="66" y="79"/>
                  </a:lnTo>
                  <a:lnTo>
                    <a:pt x="62" y="79"/>
                  </a:lnTo>
                  <a:lnTo>
                    <a:pt x="62" y="79"/>
                  </a:lnTo>
                  <a:lnTo>
                    <a:pt x="58" y="81"/>
                  </a:lnTo>
                  <a:lnTo>
                    <a:pt x="55" y="81"/>
                  </a:lnTo>
                  <a:lnTo>
                    <a:pt x="50" y="81"/>
                  </a:lnTo>
                  <a:lnTo>
                    <a:pt x="49" y="85"/>
                  </a:lnTo>
                  <a:lnTo>
                    <a:pt x="46" y="89"/>
                  </a:lnTo>
                  <a:lnTo>
                    <a:pt x="43" y="89"/>
                  </a:lnTo>
                  <a:lnTo>
                    <a:pt x="41" y="89"/>
                  </a:lnTo>
                  <a:lnTo>
                    <a:pt x="38" y="85"/>
                  </a:lnTo>
                  <a:lnTo>
                    <a:pt x="35" y="85"/>
                  </a:lnTo>
                  <a:lnTo>
                    <a:pt x="30" y="85"/>
                  </a:lnTo>
                  <a:lnTo>
                    <a:pt x="30" y="84"/>
                  </a:lnTo>
                  <a:lnTo>
                    <a:pt x="28" y="84"/>
                  </a:lnTo>
                  <a:lnTo>
                    <a:pt x="30" y="82"/>
                  </a:lnTo>
                  <a:lnTo>
                    <a:pt x="30" y="82"/>
                  </a:lnTo>
                  <a:lnTo>
                    <a:pt x="27" y="79"/>
                  </a:lnTo>
                  <a:lnTo>
                    <a:pt x="24" y="82"/>
                  </a:lnTo>
                  <a:lnTo>
                    <a:pt x="19" y="85"/>
                  </a:lnTo>
                  <a:lnTo>
                    <a:pt x="19" y="85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1" y="82"/>
                  </a:lnTo>
                  <a:lnTo>
                    <a:pt x="11" y="79"/>
                  </a:lnTo>
                  <a:lnTo>
                    <a:pt x="8" y="78"/>
                  </a:lnTo>
                  <a:lnTo>
                    <a:pt x="3" y="78"/>
                  </a:lnTo>
                  <a:lnTo>
                    <a:pt x="1" y="78"/>
                  </a:lnTo>
                  <a:lnTo>
                    <a:pt x="3" y="73"/>
                  </a:lnTo>
                  <a:lnTo>
                    <a:pt x="1" y="71"/>
                  </a:lnTo>
                  <a:lnTo>
                    <a:pt x="0" y="71"/>
                  </a:lnTo>
                  <a:lnTo>
                    <a:pt x="0" y="68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21" name="Freeform 534"/>
            <p:cNvSpPr>
              <a:spLocks/>
            </p:cNvSpPr>
            <p:nvPr/>
          </p:nvSpPr>
          <p:spPr bwMode="auto">
            <a:xfrm>
              <a:off x="5713454" y="3210972"/>
              <a:ext cx="76460" cy="50772"/>
            </a:xfrm>
            <a:custGeom>
              <a:avLst/>
              <a:gdLst>
                <a:gd name="T0" fmla="*/ 10 w 104"/>
                <a:gd name="T1" fmla="*/ 28 h 59"/>
                <a:gd name="T2" fmla="*/ 0 w 104"/>
                <a:gd name="T3" fmla="*/ 24 h 59"/>
                <a:gd name="T4" fmla="*/ 10 w 104"/>
                <a:gd name="T5" fmla="*/ 17 h 59"/>
                <a:gd name="T6" fmla="*/ 13 w 104"/>
                <a:gd name="T7" fmla="*/ 16 h 59"/>
                <a:gd name="T8" fmla="*/ 21 w 104"/>
                <a:gd name="T9" fmla="*/ 16 h 59"/>
                <a:gd name="T10" fmla="*/ 38 w 104"/>
                <a:gd name="T11" fmla="*/ 21 h 59"/>
                <a:gd name="T12" fmla="*/ 51 w 104"/>
                <a:gd name="T13" fmla="*/ 11 h 59"/>
                <a:gd name="T14" fmla="*/ 54 w 104"/>
                <a:gd name="T15" fmla="*/ 9 h 59"/>
                <a:gd name="T16" fmla="*/ 69 w 104"/>
                <a:gd name="T17" fmla="*/ 9 h 59"/>
                <a:gd name="T18" fmla="*/ 75 w 104"/>
                <a:gd name="T19" fmla="*/ 8 h 59"/>
                <a:gd name="T20" fmla="*/ 84 w 104"/>
                <a:gd name="T21" fmla="*/ 9 h 59"/>
                <a:gd name="T22" fmla="*/ 84 w 104"/>
                <a:gd name="T23" fmla="*/ 1 h 59"/>
                <a:gd name="T24" fmla="*/ 91 w 104"/>
                <a:gd name="T25" fmla="*/ 0 h 59"/>
                <a:gd name="T26" fmla="*/ 96 w 104"/>
                <a:gd name="T27" fmla="*/ 8 h 59"/>
                <a:gd name="T28" fmla="*/ 104 w 104"/>
                <a:gd name="T29" fmla="*/ 16 h 59"/>
                <a:gd name="T30" fmla="*/ 97 w 104"/>
                <a:gd name="T31" fmla="*/ 14 h 59"/>
                <a:gd name="T32" fmla="*/ 94 w 104"/>
                <a:gd name="T33" fmla="*/ 19 h 59"/>
                <a:gd name="T34" fmla="*/ 89 w 104"/>
                <a:gd name="T35" fmla="*/ 19 h 59"/>
                <a:gd name="T36" fmla="*/ 81 w 104"/>
                <a:gd name="T37" fmla="*/ 24 h 59"/>
                <a:gd name="T38" fmla="*/ 78 w 104"/>
                <a:gd name="T39" fmla="*/ 25 h 59"/>
                <a:gd name="T40" fmla="*/ 72 w 104"/>
                <a:gd name="T41" fmla="*/ 30 h 59"/>
                <a:gd name="T42" fmla="*/ 75 w 104"/>
                <a:gd name="T43" fmla="*/ 38 h 59"/>
                <a:gd name="T44" fmla="*/ 75 w 104"/>
                <a:gd name="T45" fmla="*/ 41 h 59"/>
                <a:gd name="T46" fmla="*/ 69 w 104"/>
                <a:gd name="T47" fmla="*/ 43 h 59"/>
                <a:gd name="T48" fmla="*/ 62 w 104"/>
                <a:gd name="T49" fmla="*/ 46 h 59"/>
                <a:gd name="T50" fmla="*/ 61 w 104"/>
                <a:gd name="T51" fmla="*/ 47 h 59"/>
                <a:gd name="T52" fmla="*/ 64 w 104"/>
                <a:gd name="T53" fmla="*/ 49 h 59"/>
                <a:gd name="T54" fmla="*/ 62 w 104"/>
                <a:gd name="T55" fmla="*/ 55 h 59"/>
                <a:gd name="T56" fmla="*/ 59 w 104"/>
                <a:gd name="T57" fmla="*/ 59 h 59"/>
                <a:gd name="T58" fmla="*/ 53 w 104"/>
                <a:gd name="T59" fmla="*/ 55 h 59"/>
                <a:gd name="T60" fmla="*/ 45 w 104"/>
                <a:gd name="T61" fmla="*/ 55 h 59"/>
                <a:gd name="T62" fmla="*/ 40 w 104"/>
                <a:gd name="T63" fmla="*/ 49 h 59"/>
                <a:gd name="T64" fmla="*/ 37 w 104"/>
                <a:gd name="T65" fmla="*/ 52 h 59"/>
                <a:gd name="T66" fmla="*/ 31 w 104"/>
                <a:gd name="T67" fmla="*/ 55 h 59"/>
                <a:gd name="T68" fmla="*/ 27 w 104"/>
                <a:gd name="T69" fmla="*/ 55 h 59"/>
                <a:gd name="T70" fmla="*/ 21 w 104"/>
                <a:gd name="T71" fmla="*/ 55 h 59"/>
                <a:gd name="T72" fmla="*/ 16 w 104"/>
                <a:gd name="T73" fmla="*/ 59 h 59"/>
                <a:gd name="T74" fmla="*/ 8 w 104"/>
                <a:gd name="T75" fmla="*/ 57 h 59"/>
                <a:gd name="T76" fmla="*/ 12 w 104"/>
                <a:gd name="T77" fmla="*/ 54 h 59"/>
                <a:gd name="T78" fmla="*/ 16 w 104"/>
                <a:gd name="T79" fmla="*/ 51 h 59"/>
                <a:gd name="T80" fmla="*/ 12 w 104"/>
                <a:gd name="T81" fmla="*/ 44 h 59"/>
                <a:gd name="T82" fmla="*/ 7 w 104"/>
                <a:gd name="T83" fmla="*/ 43 h 59"/>
                <a:gd name="T84" fmla="*/ 5 w 104"/>
                <a:gd name="T85" fmla="*/ 3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4" h="59">
                  <a:moveTo>
                    <a:pt x="4" y="33"/>
                  </a:moveTo>
                  <a:lnTo>
                    <a:pt x="5" y="32"/>
                  </a:lnTo>
                  <a:lnTo>
                    <a:pt x="10" y="28"/>
                  </a:lnTo>
                  <a:lnTo>
                    <a:pt x="7" y="28"/>
                  </a:lnTo>
                  <a:lnTo>
                    <a:pt x="4" y="27"/>
                  </a:lnTo>
                  <a:lnTo>
                    <a:pt x="0" y="24"/>
                  </a:lnTo>
                  <a:lnTo>
                    <a:pt x="2" y="21"/>
                  </a:lnTo>
                  <a:lnTo>
                    <a:pt x="7" y="19"/>
                  </a:lnTo>
                  <a:lnTo>
                    <a:pt x="10" y="17"/>
                  </a:lnTo>
                  <a:lnTo>
                    <a:pt x="10" y="16"/>
                  </a:lnTo>
                  <a:lnTo>
                    <a:pt x="10" y="14"/>
                  </a:lnTo>
                  <a:lnTo>
                    <a:pt x="13" y="16"/>
                  </a:lnTo>
                  <a:lnTo>
                    <a:pt x="16" y="14"/>
                  </a:lnTo>
                  <a:lnTo>
                    <a:pt x="19" y="16"/>
                  </a:lnTo>
                  <a:lnTo>
                    <a:pt x="21" y="16"/>
                  </a:lnTo>
                  <a:lnTo>
                    <a:pt x="24" y="17"/>
                  </a:lnTo>
                  <a:lnTo>
                    <a:pt x="31" y="17"/>
                  </a:lnTo>
                  <a:lnTo>
                    <a:pt x="38" y="21"/>
                  </a:lnTo>
                  <a:lnTo>
                    <a:pt x="43" y="14"/>
                  </a:lnTo>
                  <a:lnTo>
                    <a:pt x="50" y="9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4" y="9"/>
                  </a:lnTo>
                  <a:lnTo>
                    <a:pt x="64" y="9"/>
                  </a:lnTo>
                  <a:lnTo>
                    <a:pt x="65" y="9"/>
                  </a:lnTo>
                  <a:lnTo>
                    <a:pt x="69" y="9"/>
                  </a:lnTo>
                  <a:lnTo>
                    <a:pt x="72" y="8"/>
                  </a:lnTo>
                  <a:lnTo>
                    <a:pt x="72" y="6"/>
                  </a:lnTo>
                  <a:lnTo>
                    <a:pt x="75" y="8"/>
                  </a:lnTo>
                  <a:lnTo>
                    <a:pt x="80" y="6"/>
                  </a:lnTo>
                  <a:lnTo>
                    <a:pt x="83" y="8"/>
                  </a:lnTo>
                  <a:lnTo>
                    <a:pt x="84" y="9"/>
                  </a:lnTo>
                  <a:lnTo>
                    <a:pt x="84" y="9"/>
                  </a:lnTo>
                  <a:lnTo>
                    <a:pt x="83" y="5"/>
                  </a:lnTo>
                  <a:lnTo>
                    <a:pt x="84" y="1"/>
                  </a:lnTo>
                  <a:lnTo>
                    <a:pt x="86" y="0"/>
                  </a:lnTo>
                  <a:lnTo>
                    <a:pt x="88" y="1"/>
                  </a:lnTo>
                  <a:lnTo>
                    <a:pt x="91" y="0"/>
                  </a:lnTo>
                  <a:lnTo>
                    <a:pt x="94" y="3"/>
                  </a:lnTo>
                  <a:lnTo>
                    <a:pt x="96" y="6"/>
                  </a:lnTo>
                  <a:lnTo>
                    <a:pt x="96" y="8"/>
                  </a:lnTo>
                  <a:lnTo>
                    <a:pt x="97" y="9"/>
                  </a:lnTo>
                  <a:lnTo>
                    <a:pt x="100" y="13"/>
                  </a:lnTo>
                  <a:lnTo>
                    <a:pt x="104" y="16"/>
                  </a:lnTo>
                  <a:lnTo>
                    <a:pt x="102" y="16"/>
                  </a:lnTo>
                  <a:lnTo>
                    <a:pt x="99" y="14"/>
                  </a:lnTo>
                  <a:lnTo>
                    <a:pt x="97" y="14"/>
                  </a:lnTo>
                  <a:lnTo>
                    <a:pt x="94" y="14"/>
                  </a:lnTo>
                  <a:lnTo>
                    <a:pt x="92" y="17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89" y="21"/>
                  </a:lnTo>
                  <a:lnTo>
                    <a:pt x="89" y="19"/>
                  </a:lnTo>
                  <a:lnTo>
                    <a:pt x="86" y="21"/>
                  </a:lnTo>
                  <a:lnTo>
                    <a:pt x="86" y="24"/>
                  </a:lnTo>
                  <a:lnTo>
                    <a:pt x="81" y="24"/>
                  </a:lnTo>
                  <a:lnTo>
                    <a:pt x="80" y="25"/>
                  </a:lnTo>
                  <a:lnTo>
                    <a:pt x="80" y="25"/>
                  </a:lnTo>
                  <a:lnTo>
                    <a:pt x="78" y="25"/>
                  </a:lnTo>
                  <a:lnTo>
                    <a:pt x="77" y="27"/>
                  </a:lnTo>
                  <a:lnTo>
                    <a:pt x="73" y="27"/>
                  </a:lnTo>
                  <a:lnTo>
                    <a:pt x="72" y="30"/>
                  </a:lnTo>
                  <a:lnTo>
                    <a:pt x="73" y="33"/>
                  </a:lnTo>
                  <a:lnTo>
                    <a:pt x="75" y="35"/>
                  </a:lnTo>
                  <a:lnTo>
                    <a:pt x="75" y="38"/>
                  </a:lnTo>
                  <a:lnTo>
                    <a:pt x="75" y="40"/>
                  </a:lnTo>
                  <a:lnTo>
                    <a:pt x="75" y="41"/>
                  </a:lnTo>
                  <a:lnTo>
                    <a:pt x="75" y="41"/>
                  </a:lnTo>
                  <a:lnTo>
                    <a:pt x="75" y="41"/>
                  </a:lnTo>
                  <a:lnTo>
                    <a:pt x="70" y="43"/>
                  </a:lnTo>
                  <a:lnTo>
                    <a:pt x="69" y="43"/>
                  </a:lnTo>
                  <a:lnTo>
                    <a:pt x="67" y="44"/>
                  </a:lnTo>
                  <a:lnTo>
                    <a:pt x="65" y="44"/>
                  </a:lnTo>
                  <a:lnTo>
                    <a:pt x="62" y="46"/>
                  </a:lnTo>
                  <a:lnTo>
                    <a:pt x="61" y="47"/>
                  </a:lnTo>
                  <a:lnTo>
                    <a:pt x="61" y="47"/>
                  </a:lnTo>
                  <a:lnTo>
                    <a:pt x="61" y="47"/>
                  </a:lnTo>
                  <a:lnTo>
                    <a:pt x="65" y="49"/>
                  </a:lnTo>
                  <a:lnTo>
                    <a:pt x="65" y="49"/>
                  </a:lnTo>
                  <a:lnTo>
                    <a:pt x="64" y="49"/>
                  </a:lnTo>
                  <a:lnTo>
                    <a:pt x="62" y="51"/>
                  </a:lnTo>
                  <a:lnTo>
                    <a:pt x="62" y="52"/>
                  </a:lnTo>
                  <a:lnTo>
                    <a:pt x="62" y="55"/>
                  </a:lnTo>
                  <a:lnTo>
                    <a:pt x="64" y="55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6" y="57"/>
                  </a:lnTo>
                  <a:lnTo>
                    <a:pt x="54" y="55"/>
                  </a:lnTo>
                  <a:lnTo>
                    <a:pt x="53" y="55"/>
                  </a:lnTo>
                  <a:lnTo>
                    <a:pt x="53" y="55"/>
                  </a:lnTo>
                  <a:lnTo>
                    <a:pt x="50" y="57"/>
                  </a:lnTo>
                  <a:lnTo>
                    <a:pt x="45" y="55"/>
                  </a:lnTo>
                  <a:lnTo>
                    <a:pt x="43" y="54"/>
                  </a:lnTo>
                  <a:lnTo>
                    <a:pt x="40" y="51"/>
                  </a:lnTo>
                  <a:lnTo>
                    <a:pt x="40" y="49"/>
                  </a:lnTo>
                  <a:lnTo>
                    <a:pt x="38" y="49"/>
                  </a:lnTo>
                  <a:lnTo>
                    <a:pt x="38" y="51"/>
                  </a:lnTo>
                  <a:lnTo>
                    <a:pt x="37" y="52"/>
                  </a:lnTo>
                  <a:lnTo>
                    <a:pt x="35" y="54"/>
                  </a:lnTo>
                  <a:lnTo>
                    <a:pt x="32" y="55"/>
                  </a:lnTo>
                  <a:lnTo>
                    <a:pt x="31" y="55"/>
                  </a:lnTo>
                  <a:lnTo>
                    <a:pt x="29" y="55"/>
                  </a:lnTo>
                  <a:lnTo>
                    <a:pt x="29" y="55"/>
                  </a:lnTo>
                  <a:lnTo>
                    <a:pt x="27" y="55"/>
                  </a:lnTo>
                  <a:lnTo>
                    <a:pt x="26" y="57"/>
                  </a:lnTo>
                  <a:lnTo>
                    <a:pt x="24" y="57"/>
                  </a:lnTo>
                  <a:lnTo>
                    <a:pt x="21" y="55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6" y="59"/>
                  </a:lnTo>
                  <a:lnTo>
                    <a:pt x="13" y="57"/>
                  </a:lnTo>
                  <a:lnTo>
                    <a:pt x="10" y="57"/>
                  </a:lnTo>
                  <a:lnTo>
                    <a:pt x="8" y="57"/>
                  </a:lnTo>
                  <a:lnTo>
                    <a:pt x="7" y="57"/>
                  </a:lnTo>
                  <a:lnTo>
                    <a:pt x="8" y="54"/>
                  </a:lnTo>
                  <a:lnTo>
                    <a:pt x="12" y="54"/>
                  </a:lnTo>
                  <a:lnTo>
                    <a:pt x="12" y="52"/>
                  </a:lnTo>
                  <a:lnTo>
                    <a:pt x="15" y="52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5" y="47"/>
                  </a:lnTo>
                  <a:lnTo>
                    <a:pt x="12" y="44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5" y="36"/>
                  </a:lnTo>
                  <a:lnTo>
                    <a:pt x="4" y="33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grpSp>
          <p:nvGrpSpPr>
            <p:cNvPr id="322" name="Group 535"/>
            <p:cNvGrpSpPr>
              <a:grpSpLocks/>
            </p:cNvGrpSpPr>
            <p:nvPr/>
          </p:nvGrpSpPr>
          <p:grpSpPr bwMode="auto">
            <a:xfrm>
              <a:off x="5591414" y="2852178"/>
              <a:ext cx="98514" cy="103239"/>
              <a:chOff x="2751" y="1321"/>
              <a:chExt cx="67" cy="61"/>
            </a:xfrm>
            <a:solidFill>
              <a:srgbClr val="A6A6A6"/>
            </a:solidFill>
          </p:grpSpPr>
          <p:sp>
            <p:nvSpPr>
              <p:cNvPr id="671" name="Freeform 536"/>
              <p:cNvSpPr>
                <a:spLocks/>
              </p:cNvSpPr>
              <p:nvPr/>
            </p:nvSpPr>
            <p:spPr bwMode="auto">
              <a:xfrm>
                <a:off x="2770" y="1376"/>
                <a:ext cx="2" cy="1"/>
              </a:xfrm>
              <a:custGeom>
                <a:avLst/>
                <a:gdLst>
                  <a:gd name="T0" fmla="*/ 0 w 1"/>
                  <a:gd name="T1" fmla="*/ 0 w 1"/>
                  <a:gd name="T2" fmla="*/ 1 w 1"/>
                  <a:gd name="T3" fmla="*/ 1 w 1"/>
                  <a:gd name="T4" fmla="*/ 1 w 1"/>
                  <a:gd name="T5" fmla="*/ 1 w 1"/>
                  <a:gd name="T6" fmla="*/ 0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  <a:cxn ang="0">
                    <a:pos x="T3" y="0"/>
                  </a:cxn>
                  <a:cxn ang="0">
                    <a:pos x="T4" y="0"/>
                  </a:cxn>
                  <a:cxn ang="0">
                    <a:pos x="T5" y="0"/>
                  </a:cxn>
                  <a:cxn ang="0">
                    <a:pos x="T6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lnTo>
                      <a:pt x="0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1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72" name="Freeform 537"/>
              <p:cNvSpPr>
                <a:spLocks/>
              </p:cNvSpPr>
              <p:nvPr/>
            </p:nvSpPr>
            <p:spPr bwMode="auto">
              <a:xfrm>
                <a:off x="2757" y="1379"/>
                <a:ext cx="1" cy="1"/>
              </a:xfrm>
              <a:custGeom>
                <a:avLst/>
                <a:gdLst>
                  <a:gd name="T0" fmla="*/ 3 w 3"/>
                  <a:gd name="T1" fmla="*/ 1 h 1"/>
                  <a:gd name="T2" fmla="*/ 3 w 3"/>
                  <a:gd name="T3" fmla="*/ 0 h 1"/>
                  <a:gd name="T4" fmla="*/ 0 w 3"/>
                  <a:gd name="T5" fmla="*/ 1 h 1"/>
                  <a:gd name="T6" fmla="*/ 3 w 3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3" y="1"/>
                    </a:moveTo>
                    <a:lnTo>
                      <a:pt x="3" y="0"/>
                    </a:lnTo>
                    <a:lnTo>
                      <a:pt x="0" y="1"/>
                    </a:lnTo>
                    <a:lnTo>
                      <a:pt x="3" y="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73" name="Freeform 538"/>
              <p:cNvSpPr>
                <a:spLocks/>
              </p:cNvSpPr>
              <p:nvPr/>
            </p:nvSpPr>
            <p:spPr bwMode="auto">
              <a:xfrm>
                <a:off x="2776" y="1362"/>
                <a:ext cx="16" cy="11"/>
              </a:xfrm>
              <a:custGeom>
                <a:avLst/>
                <a:gdLst>
                  <a:gd name="T0" fmla="*/ 0 w 33"/>
                  <a:gd name="T1" fmla="*/ 4 h 23"/>
                  <a:gd name="T2" fmla="*/ 0 w 33"/>
                  <a:gd name="T3" fmla="*/ 7 h 23"/>
                  <a:gd name="T4" fmla="*/ 3 w 33"/>
                  <a:gd name="T5" fmla="*/ 8 h 23"/>
                  <a:gd name="T6" fmla="*/ 5 w 33"/>
                  <a:gd name="T7" fmla="*/ 11 h 23"/>
                  <a:gd name="T8" fmla="*/ 8 w 33"/>
                  <a:gd name="T9" fmla="*/ 16 h 23"/>
                  <a:gd name="T10" fmla="*/ 8 w 33"/>
                  <a:gd name="T11" fmla="*/ 19 h 23"/>
                  <a:gd name="T12" fmla="*/ 8 w 33"/>
                  <a:gd name="T13" fmla="*/ 16 h 23"/>
                  <a:gd name="T14" fmla="*/ 11 w 33"/>
                  <a:gd name="T15" fmla="*/ 16 h 23"/>
                  <a:gd name="T16" fmla="*/ 13 w 33"/>
                  <a:gd name="T17" fmla="*/ 21 h 23"/>
                  <a:gd name="T18" fmla="*/ 19 w 33"/>
                  <a:gd name="T19" fmla="*/ 21 h 23"/>
                  <a:gd name="T20" fmla="*/ 22 w 33"/>
                  <a:gd name="T21" fmla="*/ 23 h 23"/>
                  <a:gd name="T22" fmla="*/ 25 w 33"/>
                  <a:gd name="T23" fmla="*/ 23 h 23"/>
                  <a:gd name="T24" fmla="*/ 32 w 33"/>
                  <a:gd name="T25" fmla="*/ 19 h 23"/>
                  <a:gd name="T26" fmla="*/ 32 w 33"/>
                  <a:gd name="T27" fmla="*/ 19 h 23"/>
                  <a:gd name="T28" fmla="*/ 33 w 33"/>
                  <a:gd name="T29" fmla="*/ 16 h 23"/>
                  <a:gd name="T30" fmla="*/ 32 w 33"/>
                  <a:gd name="T31" fmla="*/ 11 h 23"/>
                  <a:gd name="T32" fmla="*/ 32 w 33"/>
                  <a:gd name="T33" fmla="*/ 10 h 23"/>
                  <a:gd name="T34" fmla="*/ 30 w 33"/>
                  <a:gd name="T35" fmla="*/ 7 h 23"/>
                  <a:gd name="T36" fmla="*/ 25 w 33"/>
                  <a:gd name="T37" fmla="*/ 5 h 23"/>
                  <a:gd name="T38" fmla="*/ 30 w 33"/>
                  <a:gd name="T39" fmla="*/ 4 h 23"/>
                  <a:gd name="T40" fmla="*/ 27 w 33"/>
                  <a:gd name="T41" fmla="*/ 0 h 23"/>
                  <a:gd name="T42" fmla="*/ 27 w 33"/>
                  <a:gd name="T43" fmla="*/ 2 h 23"/>
                  <a:gd name="T44" fmla="*/ 24 w 33"/>
                  <a:gd name="T45" fmla="*/ 5 h 23"/>
                  <a:gd name="T46" fmla="*/ 21 w 33"/>
                  <a:gd name="T47" fmla="*/ 7 h 23"/>
                  <a:gd name="T48" fmla="*/ 22 w 33"/>
                  <a:gd name="T49" fmla="*/ 2 h 23"/>
                  <a:gd name="T50" fmla="*/ 19 w 33"/>
                  <a:gd name="T51" fmla="*/ 0 h 23"/>
                  <a:gd name="T52" fmla="*/ 16 w 33"/>
                  <a:gd name="T53" fmla="*/ 0 h 23"/>
                  <a:gd name="T54" fmla="*/ 8 w 33"/>
                  <a:gd name="T55" fmla="*/ 2 h 23"/>
                  <a:gd name="T56" fmla="*/ 8 w 33"/>
                  <a:gd name="T57" fmla="*/ 4 h 23"/>
                  <a:gd name="T58" fmla="*/ 3 w 33"/>
                  <a:gd name="T59" fmla="*/ 4 h 23"/>
                  <a:gd name="T60" fmla="*/ 0 w 33"/>
                  <a:gd name="T61" fmla="*/ 4 h 23"/>
                  <a:gd name="T62" fmla="*/ 0 w 33"/>
                  <a:gd name="T63" fmla="*/ 4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3" h="23">
                    <a:moveTo>
                      <a:pt x="0" y="4"/>
                    </a:moveTo>
                    <a:lnTo>
                      <a:pt x="0" y="7"/>
                    </a:lnTo>
                    <a:lnTo>
                      <a:pt x="3" y="8"/>
                    </a:lnTo>
                    <a:lnTo>
                      <a:pt x="5" y="11"/>
                    </a:lnTo>
                    <a:lnTo>
                      <a:pt x="8" y="16"/>
                    </a:lnTo>
                    <a:lnTo>
                      <a:pt x="8" y="19"/>
                    </a:lnTo>
                    <a:lnTo>
                      <a:pt x="8" y="16"/>
                    </a:lnTo>
                    <a:lnTo>
                      <a:pt x="11" y="16"/>
                    </a:lnTo>
                    <a:lnTo>
                      <a:pt x="13" y="21"/>
                    </a:lnTo>
                    <a:lnTo>
                      <a:pt x="19" y="21"/>
                    </a:lnTo>
                    <a:lnTo>
                      <a:pt x="22" y="23"/>
                    </a:lnTo>
                    <a:lnTo>
                      <a:pt x="25" y="23"/>
                    </a:lnTo>
                    <a:lnTo>
                      <a:pt x="32" y="19"/>
                    </a:lnTo>
                    <a:lnTo>
                      <a:pt x="32" y="19"/>
                    </a:lnTo>
                    <a:lnTo>
                      <a:pt x="33" y="16"/>
                    </a:lnTo>
                    <a:lnTo>
                      <a:pt x="32" y="11"/>
                    </a:lnTo>
                    <a:lnTo>
                      <a:pt x="32" y="10"/>
                    </a:lnTo>
                    <a:lnTo>
                      <a:pt x="30" y="7"/>
                    </a:lnTo>
                    <a:lnTo>
                      <a:pt x="25" y="5"/>
                    </a:lnTo>
                    <a:lnTo>
                      <a:pt x="30" y="4"/>
                    </a:lnTo>
                    <a:lnTo>
                      <a:pt x="27" y="0"/>
                    </a:lnTo>
                    <a:lnTo>
                      <a:pt x="27" y="2"/>
                    </a:lnTo>
                    <a:lnTo>
                      <a:pt x="24" y="5"/>
                    </a:lnTo>
                    <a:lnTo>
                      <a:pt x="21" y="7"/>
                    </a:lnTo>
                    <a:lnTo>
                      <a:pt x="22" y="2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8" y="2"/>
                    </a:lnTo>
                    <a:lnTo>
                      <a:pt x="8" y="4"/>
                    </a:lnTo>
                    <a:lnTo>
                      <a:pt x="3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74" name="Freeform 539"/>
              <p:cNvSpPr>
                <a:spLocks/>
              </p:cNvSpPr>
              <p:nvPr/>
            </p:nvSpPr>
            <p:spPr bwMode="auto">
              <a:xfrm>
                <a:off x="2787" y="1355"/>
                <a:ext cx="3" cy="3"/>
              </a:xfrm>
              <a:custGeom>
                <a:avLst/>
                <a:gdLst>
                  <a:gd name="T0" fmla="*/ 5 w 5"/>
                  <a:gd name="T1" fmla="*/ 3 h 6"/>
                  <a:gd name="T2" fmla="*/ 3 w 5"/>
                  <a:gd name="T3" fmla="*/ 3 h 6"/>
                  <a:gd name="T4" fmla="*/ 0 w 5"/>
                  <a:gd name="T5" fmla="*/ 0 h 6"/>
                  <a:gd name="T6" fmla="*/ 1 w 5"/>
                  <a:gd name="T7" fmla="*/ 3 h 6"/>
                  <a:gd name="T8" fmla="*/ 0 w 5"/>
                  <a:gd name="T9" fmla="*/ 6 h 6"/>
                  <a:gd name="T10" fmla="*/ 3 w 5"/>
                  <a:gd name="T11" fmla="*/ 6 h 6"/>
                  <a:gd name="T12" fmla="*/ 5 w 5"/>
                  <a:gd name="T13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" h="6">
                    <a:moveTo>
                      <a:pt x="5" y="3"/>
                    </a:moveTo>
                    <a:lnTo>
                      <a:pt x="3" y="3"/>
                    </a:lnTo>
                    <a:lnTo>
                      <a:pt x="0" y="0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3" y="6"/>
                    </a:lnTo>
                    <a:lnTo>
                      <a:pt x="5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75" name="Freeform 540"/>
              <p:cNvSpPr>
                <a:spLocks/>
              </p:cNvSpPr>
              <p:nvPr/>
            </p:nvSpPr>
            <p:spPr bwMode="auto">
              <a:xfrm>
                <a:off x="2793" y="1352"/>
                <a:ext cx="25" cy="30"/>
              </a:xfrm>
              <a:custGeom>
                <a:avLst/>
                <a:gdLst>
                  <a:gd name="T0" fmla="*/ 6 w 51"/>
                  <a:gd name="T1" fmla="*/ 31 h 60"/>
                  <a:gd name="T2" fmla="*/ 9 w 51"/>
                  <a:gd name="T3" fmla="*/ 33 h 60"/>
                  <a:gd name="T4" fmla="*/ 14 w 51"/>
                  <a:gd name="T5" fmla="*/ 36 h 60"/>
                  <a:gd name="T6" fmla="*/ 19 w 51"/>
                  <a:gd name="T7" fmla="*/ 36 h 60"/>
                  <a:gd name="T8" fmla="*/ 24 w 51"/>
                  <a:gd name="T9" fmla="*/ 36 h 60"/>
                  <a:gd name="T10" fmla="*/ 27 w 51"/>
                  <a:gd name="T11" fmla="*/ 41 h 60"/>
                  <a:gd name="T12" fmla="*/ 27 w 51"/>
                  <a:gd name="T13" fmla="*/ 41 h 60"/>
                  <a:gd name="T14" fmla="*/ 29 w 51"/>
                  <a:gd name="T15" fmla="*/ 46 h 60"/>
                  <a:gd name="T16" fmla="*/ 27 w 51"/>
                  <a:gd name="T17" fmla="*/ 49 h 60"/>
                  <a:gd name="T18" fmla="*/ 30 w 51"/>
                  <a:gd name="T19" fmla="*/ 52 h 60"/>
                  <a:gd name="T20" fmla="*/ 30 w 51"/>
                  <a:gd name="T21" fmla="*/ 52 h 60"/>
                  <a:gd name="T22" fmla="*/ 32 w 51"/>
                  <a:gd name="T23" fmla="*/ 60 h 60"/>
                  <a:gd name="T24" fmla="*/ 33 w 51"/>
                  <a:gd name="T25" fmla="*/ 55 h 60"/>
                  <a:gd name="T26" fmla="*/ 36 w 51"/>
                  <a:gd name="T27" fmla="*/ 47 h 60"/>
                  <a:gd name="T28" fmla="*/ 32 w 51"/>
                  <a:gd name="T29" fmla="*/ 44 h 60"/>
                  <a:gd name="T30" fmla="*/ 35 w 51"/>
                  <a:gd name="T31" fmla="*/ 44 h 60"/>
                  <a:gd name="T32" fmla="*/ 38 w 51"/>
                  <a:gd name="T33" fmla="*/ 44 h 60"/>
                  <a:gd name="T34" fmla="*/ 36 w 51"/>
                  <a:gd name="T35" fmla="*/ 38 h 60"/>
                  <a:gd name="T36" fmla="*/ 43 w 51"/>
                  <a:gd name="T37" fmla="*/ 35 h 60"/>
                  <a:gd name="T38" fmla="*/ 46 w 51"/>
                  <a:gd name="T39" fmla="*/ 30 h 60"/>
                  <a:gd name="T40" fmla="*/ 41 w 51"/>
                  <a:gd name="T41" fmla="*/ 24 h 60"/>
                  <a:gd name="T42" fmla="*/ 44 w 51"/>
                  <a:gd name="T43" fmla="*/ 20 h 60"/>
                  <a:gd name="T44" fmla="*/ 51 w 51"/>
                  <a:gd name="T45" fmla="*/ 17 h 60"/>
                  <a:gd name="T46" fmla="*/ 51 w 51"/>
                  <a:gd name="T47" fmla="*/ 11 h 60"/>
                  <a:gd name="T48" fmla="*/ 51 w 51"/>
                  <a:gd name="T49" fmla="*/ 5 h 60"/>
                  <a:gd name="T50" fmla="*/ 44 w 51"/>
                  <a:gd name="T51" fmla="*/ 1 h 60"/>
                  <a:gd name="T52" fmla="*/ 38 w 51"/>
                  <a:gd name="T53" fmla="*/ 1 h 60"/>
                  <a:gd name="T54" fmla="*/ 30 w 51"/>
                  <a:gd name="T55" fmla="*/ 5 h 60"/>
                  <a:gd name="T56" fmla="*/ 35 w 51"/>
                  <a:gd name="T57" fmla="*/ 11 h 60"/>
                  <a:gd name="T58" fmla="*/ 36 w 51"/>
                  <a:gd name="T59" fmla="*/ 17 h 60"/>
                  <a:gd name="T60" fmla="*/ 32 w 51"/>
                  <a:gd name="T61" fmla="*/ 19 h 60"/>
                  <a:gd name="T62" fmla="*/ 33 w 51"/>
                  <a:gd name="T63" fmla="*/ 12 h 60"/>
                  <a:gd name="T64" fmla="*/ 30 w 51"/>
                  <a:gd name="T65" fmla="*/ 12 h 60"/>
                  <a:gd name="T66" fmla="*/ 27 w 51"/>
                  <a:gd name="T67" fmla="*/ 19 h 60"/>
                  <a:gd name="T68" fmla="*/ 24 w 51"/>
                  <a:gd name="T69" fmla="*/ 16 h 60"/>
                  <a:gd name="T70" fmla="*/ 24 w 51"/>
                  <a:gd name="T71" fmla="*/ 9 h 60"/>
                  <a:gd name="T72" fmla="*/ 24 w 51"/>
                  <a:gd name="T73" fmla="*/ 8 h 60"/>
                  <a:gd name="T74" fmla="*/ 17 w 51"/>
                  <a:gd name="T75" fmla="*/ 6 h 60"/>
                  <a:gd name="T76" fmla="*/ 17 w 51"/>
                  <a:gd name="T77" fmla="*/ 8 h 60"/>
                  <a:gd name="T78" fmla="*/ 14 w 51"/>
                  <a:gd name="T79" fmla="*/ 12 h 60"/>
                  <a:gd name="T80" fmla="*/ 8 w 51"/>
                  <a:gd name="T81" fmla="*/ 14 h 60"/>
                  <a:gd name="T82" fmla="*/ 0 w 51"/>
                  <a:gd name="T83" fmla="*/ 16 h 60"/>
                  <a:gd name="T84" fmla="*/ 8 w 51"/>
                  <a:gd name="T85" fmla="*/ 22 h 60"/>
                  <a:gd name="T86" fmla="*/ 9 w 51"/>
                  <a:gd name="T87" fmla="*/ 28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51" h="60">
                    <a:moveTo>
                      <a:pt x="6" y="30"/>
                    </a:moveTo>
                    <a:lnTo>
                      <a:pt x="6" y="31"/>
                    </a:lnTo>
                    <a:lnTo>
                      <a:pt x="6" y="31"/>
                    </a:lnTo>
                    <a:lnTo>
                      <a:pt x="9" y="33"/>
                    </a:lnTo>
                    <a:lnTo>
                      <a:pt x="11" y="36"/>
                    </a:lnTo>
                    <a:lnTo>
                      <a:pt x="14" y="36"/>
                    </a:lnTo>
                    <a:lnTo>
                      <a:pt x="17" y="36"/>
                    </a:lnTo>
                    <a:lnTo>
                      <a:pt x="19" y="36"/>
                    </a:lnTo>
                    <a:lnTo>
                      <a:pt x="21" y="36"/>
                    </a:lnTo>
                    <a:lnTo>
                      <a:pt x="24" y="36"/>
                    </a:lnTo>
                    <a:lnTo>
                      <a:pt x="27" y="38"/>
                    </a:lnTo>
                    <a:lnTo>
                      <a:pt x="27" y="41"/>
                    </a:lnTo>
                    <a:lnTo>
                      <a:pt x="22" y="41"/>
                    </a:lnTo>
                    <a:lnTo>
                      <a:pt x="27" y="41"/>
                    </a:lnTo>
                    <a:lnTo>
                      <a:pt x="30" y="44"/>
                    </a:lnTo>
                    <a:lnTo>
                      <a:pt x="29" y="46"/>
                    </a:lnTo>
                    <a:lnTo>
                      <a:pt x="25" y="46"/>
                    </a:lnTo>
                    <a:lnTo>
                      <a:pt x="27" y="49"/>
                    </a:lnTo>
                    <a:lnTo>
                      <a:pt x="27" y="49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7"/>
                    </a:lnTo>
                    <a:lnTo>
                      <a:pt x="32" y="60"/>
                    </a:lnTo>
                    <a:lnTo>
                      <a:pt x="33" y="58"/>
                    </a:lnTo>
                    <a:lnTo>
                      <a:pt x="33" y="55"/>
                    </a:lnTo>
                    <a:lnTo>
                      <a:pt x="36" y="50"/>
                    </a:lnTo>
                    <a:lnTo>
                      <a:pt x="36" y="47"/>
                    </a:lnTo>
                    <a:lnTo>
                      <a:pt x="33" y="47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5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1"/>
                    </a:lnTo>
                    <a:lnTo>
                      <a:pt x="36" y="38"/>
                    </a:lnTo>
                    <a:lnTo>
                      <a:pt x="40" y="35"/>
                    </a:lnTo>
                    <a:lnTo>
                      <a:pt x="43" y="35"/>
                    </a:lnTo>
                    <a:lnTo>
                      <a:pt x="48" y="33"/>
                    </a:lnTo>
                    <a:lnTo>
                      <a:pt x="46" y="30"/>
                    </a:lnTo>
                    <a:lnTo>
                      <a:pt x="40" y="27"/>
                    </a:lnTo>
                    <a:lnTo>
                      <a:pt x="41" y="24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8" y="20"/>
                    </a:lnTo>
                    <a:lnTo>
                      <a:pt x="51" y="17"/>
                    </a:lnTo>
                    <a:lnTo>
                      <a:pt x="51" y="14"/>
                    </a:lnTo>
                    <a:lnTo>
                      <a:pt x="51" y="11"/>
                    </a:lnTo>
                    <a:lnTo>
                      <a:pt x="49" y="8"/>
                    </a:lnTo>
                    <a:lnTo>
                      <a:pt x="51" y="5"/>
                    </a:lnTo>
                    <a:lnTo>
                      <a:pt x="48" y="1"/>
                    </a:lnTo>
                    <a:lnTo>
                      <a:pt x="44" y="1"/>
                    </a:lnTo>
                    <a:lnTo>
                      <a:pt x="41" y="0"/>
                    </a:lnTo>
                    <a:lnTo>
                      <a:pt x="38" y="1"/>
                    </a:lnTo>
                    <a:lnTo>
                      <a:pt x="35" y="3"/>
                    </a:lnTo>
                    <a:lnTo>
                      <a:pt x="30" y="5"/>
                    </a:lnTo>
                    <a:lnTo>
                      <a:pt x="35" y="8"/>
                    </a:lnTo>
                    <a:lnTo>
                      <a:pt x="35" y="11"/>
                    </a:lnTo>
                    <a:lnTo>
                      <a:pt x="35" y="14"/>
                    </a:lnTo>
                    <a:lnTo>
                      <a:pt x="36" y="17"/>
                    </a:lnTo>
                    <a:lnTo>
                      <a:pt x="32" y="17"/>
                    </a:lnTo>
                    <a:lnTo>
                      <a:pt x="32" y="19"/>
                    </a:lnTo>
                    <a:lnTo>
                      <a:pt x="33" y="16"/>
                    </a:lnTo>
                    <a:lnTo>
                      <a:pt x="33" y="12"/>
                    </a:lnTo>
                    <a:lnTo>
                      <a:pt x="33" y="9"/>
                    </a:lnTo>
                    <a:lnTo>
                      <a:pt x="30" y="12"/>
                    </a:lnTo>
                    <a:lnTo>
                      <a:pt x="29" y="16"/>
                    </a:lnTo>
                    <a:lnTo>
                      <a:pt x="27" y="19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5" y="12"/>
                    </a:lnTo>
                    <a:lnTo>
                      <a:pt x="24" y="9"/>
                    </a:lnTo>
                    <a:lnTo>
                      <a:pt x="25" y="8"/>
                    </a:lnTo>
                    <a:lnTo>
                      <a:pt x="24" y="8"/>
                    </a:lnTo>
                    <a:lnTo>
                      <a:pt x="21" y="8"/>
                    </a:lnTo>
                    <a:lnTo>
                      <a:pt x="17" y="6"/>
                    </a:lnTo>
                    <a:lnTo>
                      <a:pt x="14" y="8"/>
                    </a:lnTo>
                    <a:lnTo>
                      <a:pt x="17" y="8"/>
                    </a:lnTo>
                    <a:lnTo>
                      <a:pt x="17" y="11"/>
                    </a:lnTo>
                    <a:lnTo>
                      <a:pt x="14" y="12"/>
                    </a:lnTo>
                    <a:lnTo>
                      <a:pt x="11" y="16"/>
                    </a:lnTo>
                    <a:lnTo>
                      <a:pt x="8" y="14"/>
                    </a:lnTo>
                    <a:lnTo>
                      <a:pt x="5" y="16"/>
                    </a:lnTo>
                    <a:lnTo>
                      <a:pt x="0" y="16"/>
                    </a:lnTo>
                    <a:lnTo>
                      <a:pt x="5" y="19"/>
                    </a:lnTo>
                    <a:lnTo>
                      <a:pt x="8" y="22"/>
                    </a:lnTo>
                    <a:lnTo>
                      <a:pt x="9" y="25"/>
                    </a:lnTo>
                    <a:lnTo>
                      <a:pt x="9" y="28"/>
                    </a:lnTo>
                    <a:lnTo>
                      <a:pt x="6" y="3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76" name="Freeform 541"/>
              <p:cNvSpPr>
                <a:spLocks/>
              </p:cNvSpPr>
              <p:nvPr/>
            </p:nvSpPr>
            <p:spPr bwMode="auto">
              <a:xfrm>
                <a:off x="2751" y="1334"/>
                <a:ext cx="43" cy="43"/>
              </a:xfrm>
              <a:custGeom>
                <a:avLst/>
                <a:gdLst>
                  <a:gd name="T0" fmla="*/ 6 w 86"/>
                  <a:gd name="T1" fmla="*/ 19 h 87"/>
                  <a:gd name="T2" fmla="*/ 14 w 86"/>
                  <a:gd name="T3" fmla="*/ 21 h 87"/>
                  <a:gd name="T4" fmla="*/ 19 w 86"/>
                  <a:gd name="T5" fmla="*/ 22 h 87"/>
                  <a:gd name="T6" fmla="*/ 24 w 86"/>
                  <a:gd name="T7" fmla="*/ 15 h 87"/>
                  <a:gd name="T8" fmla="*/ 30 w 86"/>
                  <a:gd name="T9" fmla="*/ 11 h 87"/>
                  <a:gd name="T10" fmla="*/ 36 w 86"/>
                  <a:gd name="T11" fmla="*/ 18 h 87"/>
                  <a:gd name="T12" fmla="*/ 33 w 86"/>
                  <a:gd name="T13" fmla="*/ 16 h 87"/>
                  <a:gd name="T14" fmla="*/ 33 w 86"/>
                  <a:gd name="T15" fmla="*/ 7 h 87"/>
                  <a:gd name="T16" fmla="*/ 43 w 86"/>
                  <a:gd name="T17" fmla="*/ 3 h 87"/>
                  <a:gd name="T18" fmla="*/ 55 w 86"/>
                  <a:gd name="T19" fmla="*/ 2 h 87"/>
                  <a:gd name="T20" fmla="*/ 57 w 86"/>
                  <a:gd name="T21" fmla="*/ 0 h 87"/>
                  <a:gd name="T22" fmla="*/ 65 w 86"/>
                  <a:gd name="T23" fmla="*/ 8 h 87"/>
                  <a:gd name="T24" fmla="*/ 60 w 86"/>
                  <a:gd name="T25" fmla="*/ 15 h 87"/>
                  <a:gd name="T26" fmla="*/ 57 w 86"/>
                  <a:gd name="T27" fmla="*/ 18 h 87"/>
                  <a:gd name="T28" fmla="*/ 62 w 86"/>
                  <a:gd name="T29" fmla="*/ 15 h 87"/>
                  <a:gd name="T30" fmla="*/ 67 w 86"/>
                  <a:gd name="T31" fmla="*/ 18 h 87"/>
                  <a:gd name="T32" fmla="*/ 65 w 86"/>
                  <a:gd name="T33" fmla="*/ 21 h 87"/>
                  <a:gd name="T34" fmla="*/ 74 w 86"/>
                  <a:gd name="T35" fmla="*/ 22 h 87"/>
                  <a:gd name="T36" fmla="*/ 86 w 86"/>
                  <a:gd name="T37" fmla="*/ 24 h 87"/>
                  <a:gd name="T38" fmla="*/ 79 w 86"/>
                  <a:gd name="T39" fmla="*/ 35 h 87"/>
                  <a:gd name="T40" fmla="*/ 73 w 86"/>
                  <a:gd name="T41" fmla="*/ 38 h 87"/>
                  <a:gd name="T42" fmla="*/ 68 w 86"/>
                  <a:gd name="T43" fmla="*/ 32 h 87"/>
                  <a:gd name="T44" fmla="*/ 65 w 86"/>
                  <a:gd name="T45" fmla="*/ 38 h 87"/>
                  <a:gd name="T46" fmla="*/ 62 w 86"/>
                  <a:gd name="T47" fmla="*/ 46 h 87"/>
                  <a:gd name="T48" fmla="*/ 57 w 86"/>
                  <a:gd name="T49" fmla="*/ 49 h 87"/>
                  <a:gd name="T50" fmla="*/ 54 w 86"/>
                  <a:gd name="T51" fmla="*/ 54 h 87"/>
                  <a:gd name="T52" fmla="*/ 46 w 86"/>
                  <a:gd name="T53" fmla="*/ 54 h 87"/>
                  <a:gd name="T54" fmla="*/ 49 w 86"/>
                  <a:gd name="T55" fmla="*/ 59 h 87"/>
                  <a:gd name="T56" fmla="*/ 44 w 86"/>
                  <a:gd name="T57" fmla="*/ 61 h 87"/>
                  <a:gd name="T58" fmla="*/ 46 w 86"/>
                  <a:gd name="T59" fmla="*/ 67 h 87"/>
                  <a:gd name="T60" fmla="*/ 41 w 86"/>
                  <a:gd name="T61" fmla="*/ 75 h 87"/>
                  <a:gd name="T62" fmla="*/ 47 w 86"/>
                  <a:gd name="T63" fmla="*/ 80 h 87"/>
                  <a:gd name="T64" fmla="*/ 49 w 86"/>
                  <a:gd name="T65" fmla="*/ 87 h 87"/>
                  <a:gd name="T66" fmla="*/ 44 w 86"/>
                  <a:gd name="T67" fmla="*/ 84 h 87"/>
                  <a:gd name="T68" fmla="*/ 40 w 86"/>
                  <a:gd name="T69" fmla="*/ 87 h 87"/>
                  <a:gd name="T70" fmla="*/ 35 w 86"/>
                  <a:gd name="T71" fmla="*/ 87 h 87"/>
                  <a:gd name="T72" fmla="*/ 24 w 86"/>
                  <a:gd name="T73" fmla="*/ 84 h 87"/>
                  <a:gd name="T74" fmla="*/ 19 w 86"/>
                  <a:gd name="T75" fmla="*/ 84 h 87"/>
                  <a:gd name="T76" fmla="*/ 17 w 86"/>
                  <a:gd name="T77" fmla="*/ 76 h 87"/>
                  <a:gd name="T78" fmla="*/ 14 w 86"/>
                  <a:gd name="T79" fmla="*/ 73 h 87"/>
                  <a:gd name="T80" fmla="*/ 17 w 86"/>
                  <a:gd name="T81" fmla="*/ 67 h 87"/>
                  <a:gd name="T82" fmla="*/ 8 w 86"/>
                  <a:gd name="T83" fmla="*/ 61 h 87"/>
                  <a:gd name="T84" fmla="*/ 3 w 86"/>
                  <a:gd name="T85" fmla="*/ 61 h 87"/>
                  <a:gd name="T86" fmla="*/ 3 w 86"/>
                  <a:gd name="T87" fmla="*/ 49 h 87"/>
                  <a:gd name="T88" fmla="*/ 3 w 86"/>
                  <a:gd name="T89" fmla="*/ 46 h 87"/>
                  <a:gd name="T90" fmla="*/ 6 w 86"/>
                  <a:gd name="T91" fmla="*/ 43 h 87"/>
                  <a:gd name="T92" fmla="*/ 1 w 86"/>
                  <a:gd name="T93" fmla="*/ 42 h 87"/>
                  <a:gd name="T94" fmla="*/ 1 w 86"/>
                  <a:gd name="T95" fmla="*/ 30 h 87"/>
                  <a:gd name="T96" fmla="*/ 1 w 86"/>
                  <a:gd name="T97" fmla="*/ 19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6" h="87">
                    <a:moveTo>
                      <a:pt x="1" y="19"/>
                    </a:moveTo>
                    <a:lnTo>
                      <a:pt x="3" y="16"/>
                    </a:lnTo>
                    <a:lnTo>
                      <a:pt x="6" y="19"/>
                    </a:lnTo>
                    <a:lnTo>
                      <a:pt x="9" y="19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14" y="21"/>
                    </a:lnTo>
                    <a:lnTo>
                      <a:pt x="16" y="24"/>
                    </a:lnTo>
                    <a:lnTo>
                      <a:pt x="19" y="22"/>
                    </a:lnTo>
                    <a:lnTo>
                      <a:pt x="21" y="21"/>
                    </a:lnTo>
                    <a:lnTo>
                      <a:pt x="21" y="18"/>
                    </a:lnTo>
                    <a:lnTo>
                      <a:pt x="24" y="15"/>
                    </a:lnTo>
                    <a:lnTo>
                      <a:pt x="25" y="11"/>
                    </a:lnTo>
                    <a:lnTo>
                      <a:pt x="28" y="11"/>
                    </a:lnTo>
                    <a:lnTo>
                      <a:pt x="30" y="11"/>
                    </a:lnTo>
                    <a:lnTo>
                      <a:pt x="33" y="15"/>
                    </a:lnTo>
                    <a:lnTo>
                      <a:pt x="28" y="18"/>
                    </a:lnTo>
                    <a:lnTo>
                      <a:pt x="36" y="18"/>
                    </a:lnTo>
                    <a:lnTo>
                      <a:pt x="36" y="22"/>
                    </a:lnTo>
                    <a:lnTo>
                      <a:pt x="36" y="16"/>
                    </a:lnTo>
                    <a:lnTo>
                      <a:pt x="33" y="16"/>
                    </a:lnTo>
                    <a:lnTo>
                      <a:pt x="33" y="13"/>
                    </a:lnTo>
                    <a:lnTo>
                      <a:pt x="33" y="10"/>
                    </a:lnTo>
                    <a:lnTo>
                      <a:pt x="33" y="7"/>
                    </a:lnTo>
                    <a:lnTo>
                      <a:pt x="36" y="3"/>
                    </a:lnTo>
                    <a:lnTo>
                      <a:pt x="40" y="3"/>
                    </a:lnTo>
                    <a:lnTo>
                      <a:pt x="43" y="3"/>
                    </a:lnTo>
                    <a:lnTo>
                      <a:pt x="46" y="3"/>
                    </a:lnTo>
                    <a:lnTo>
                      <a:pt x="51" y="2"/>
                    </a:lnTo>
                    <a:lnTo>
                      <a:pt x="55" y="2"/>
                    </a:lnTo>
                    <a:lnTo>
                      <a:pt x="55" y="2"/>
                    </a:lnTo>
                    <a:lnTo>
                      <a:pt x="57" y="0"/>
                    </a:lnTo>
                    <a:lnTo>
                      <a:pt x="57" y="0"/>
                    </a:lnTo>
                    <a:lnTo>
                      <a:pt x="60" y="3"/>
                    </a:lnTo>
                    <a:lnTo>
                      <a:pt x="65" y="5"/>
                    </a:lnTo>
                    <a:lnTo>
                      <a:pt x="65" y="8"/>
                    </a:lnTo>
                    <a:lnTo>
                      <a:pt x="65" y="11"/>
                    </a:lnTo>
                    <a:lnTo>
                      <a:pt x="67" y="15"/>
                    </a:lnTo>
                    <a:lnTo>
                      <a:pt x="60" y="15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57" y="18"/>
                    </a:lnTo>
                    <a:lnTo>
                      <a:pt x="60" y="16"/>
                    </a:lnTo>
                    <a:lnTo>
                      <a:pt x="62" y="15"/>
                    </a:lnTo>
                    <a:lnTo>
                      <a:pt x="62" y="15"/>
                    </a:lnTo>
                    <a:lnTo>
                      <a:pt x="62" y="15"/>
                    </a:lnTo>
                    <a:lnTo>
                      <a:pt x="67" y="15"/>
                    </a:lnTo>
                    <a:lnTo>
                      <a:pt x="67" y="18"/>
                    </a:lnTo>
                    <a:lnTo>
                      <a:pt x="63" y="21"/>
                    </a:lnTo>
                    <a:lnTo>
                      <a:pt x="63" y="24"/>
                    </a:lnTo>
                    <a:lnTo>
                      <a:pt x="65" y="21"/>
                    </a:lnTo>
                    <a:lnTo>
                      <a:pt x="68" y="21"/>
                    </a:lnTo>
                    <a:lnTo>
                      <a:pt x="71" y="22"/>
                    </a:lnTo>
                    <a:lnTo>
                      <a:pt x="74" y="22"/>
                    </a:lnTo>
                    <a:lnTo>
                      <a:pt x="79" y="22"/>
                    </a:lnTo>
                    <a:lnTo>
                      <a:pt x="82" y="22"/>
                    </a:lnTo>
                    <a:lnTo>
                      <a:pt x="86" y="24"/>
                    </a:lnTo>
                    <a:lnTo>
                      <a:pt x="84" y="27"/>
                    </a:lnTo>
                    <a:lnTo>
                      <a:pt x="82" y="32"/>
                    </a:lnTo>
                    <a:lnTo>
                      <a:pt x="79" y="35"/>
                    </a:lnTo>
                    <a:lnTo>
                      <a:pt x="76" y="34"/>
                    </a:lnTo>
                    <a:lnTo>
                      <a:pt x="74" y="37"/>
                    </a:lnTo>
                    <a:lnTo>
                      <a:pt x="73" y="38"/>
                    </a:lnTo>
                    <a:lnTo>
                      <a:pt x="70" y="37"/>
                    </a:lnTo>
                    <a:lnTo>
                      <a:pt x="71" y="32"/>
                    </a:lnTo>
                    <a:lnTo>
                      <a:pt x="68" y="32"/>
                    </a:lnTo>
                    <a:lnTo>
                      <a:pt x="65" y="35"/>
                    </a:lnTo>
                    <a:lnTo>
                      <a:pt x="65" y="35"/>
                    </a:lnTo>
                    <a:lnTo>
                      <a:pt x="65" y="38"/>
                    </a:lnTo>
                    <a:lnTo>
                      <a:pt x="65" y="42"/>
                    </a:lnTo>
                    <a:lnTo>
                      <a:pt x="65" y="46"/>
                    </a:lnTo>
                    <a:lnTo>
                      <a:pt x="62" y="46"/>
                    </a:lnTo>
                    <a:lnTo>
                      <a:pt x="57" y="46"/>
                    </a:lnTo>
                    <a:lnTo>
                      <a:pt x="54" y="48"/>
                    </a:lnTo>
                    <a:lnTo>
                      <a:pt x="57" y="49"/>
                    </a:lnTo>
                    <a:lnTo>
                      <a:pt x="59" y="53"/>
                    </a:lnTo>
                    <a:lnTo>
                      <a:pt x="57" y="54"/>
                    </a:lnTo>
                    <a:lnTo>
                      <a:pt x="54" y="54"/>
                    </a:lnTo>
                    <a:lnTo>
                      <a:pt x="51" y="54"/>
                    </a:lnTo>
                    <a:lnTo>
                      <a:pt x="47" y="53"/>
                    </a:lnTo>
                    <a:lnTo>
                      <a:pt x="46" y="54"/>
                    </a:lnTo>
                    <a:lnTo>
                      <a:pt x="44" y="54"/>
                    </a:lnTo>
                    <a:lnTo>
                      <a:pt x="52" y="56"/>
                    </a:lnTo>
                    <a:lnTo>
                      <a:pt x="49" y="59"/>
                    </a:lnTo>
                    <a:lnTo>
                      <a:pt x="49" y="61"/>
                    </a:lnTo>
                    <a:lnTo>
                      <a:pt x="47" y="61"/>
                    </a:lnTo>
                    <a:lnTo>
                      <a:pt x="44" y="61"/>
                    </a:lnTo>
                    <a:lnTo>
                      <a:pt x="46" y="64"/>
                    </a:lnTo>
                    <a:lnTo>
                      <a:pt x="44" y="65"/>
                    </a:lnTo>
                    <a:lnTo>
                      <a:pt x="46" y="67"/>
                    </a:lnTo>
                    <a:lnTo>
                      <a:pt x="47" y="70"/>
                    </a:lnTo>
                    <a:lnTo>
                      <a:pt x="44" y="73"/>
                    </a:lnTo>
                    <a:lnTo>
                      <a:pt x="41" y="75"/>
                    </a:lnTo>
                    <a:lnTo>
                      <a:pt x="41" y="80"/>
                    </a:lnTo>
                    <a:lnTo>
                      <a:pt x="44" y="80"/>
                    </a:lnTo>
                    <a:lnTo>
                      <a:pt x="47" y="80"/>
                    </a:lnTo>
                    <a:lnTo>
                      <a:pt x="47" y="81"/>
                    </a:lnTo>
                    <a:lnTo>
                      <a:pt x="49" y="83"/>
                    </a:lnTo>
                    <a:lnTo>
                      <a:pt x="49" y="87"/>
                    </a:lnTo>
                    <a:lnTo>
                      <a:pt x="46" y="86"/>
                    </a:lnTo>
                    <a:lnTo>
                      <a:pt x="46" y="84"/>
                    </a:lnTo>
                    <a:lnTo>
                      <a:pt x="44" y="84"/>
                    </a:lnTo>
                    <a:lnTo>
                      <a:pt x="41" y="87"/>
                    </a:lnTo>
                    <a:lnTo>
                      <a:pt x="41" y="87"/>
                    </a:lnTo>
                    <a:lnTo>
                      <a:pt x="40" y="87"/>
                    </a:lnTo>
                    <a:lnTo>
                      <a:pt x="38" y="87"/>
                    </a:lnTo>
                    <a:lnTo>
                      <a:pt x="36" y="87"/>
                    </a:lnTo>
                    <a:lnTo>
                      <a:pt x="35" y="87"/>
                    </a:lnTo>
                    <a:lnTo>
                      <a:pt x="32" y="86"/>
                    </a:lnTo>
                    <a:lnTo>
                      <a:pt x="28" y="84"/>
                    </a:lnTo>
                    <a:lnTo>
                      <a:pt x="24" y="84"/>
                    </a:lnTo>
                    <a:lnTo>
                      <a:pt x="24" y="84"/>
                    </a:lnTo>
                    <a:lnTo>
                      <a:pt x="22" y="84"/>
                    </a:lnTo>
                    <a:lnTo>
                      <a:pt x="19" y="84"/>
                    </a:lnTo>
                    <a:lnTo>
                      <a:pt x="17" y="84"/>
                    </a:lnTo>
                    <a:lnTo>
                      <a:pt x="16" y="81"/>
                    </a:lnTo>
                    <a:lnTo>
                      <a:pt x="17" y="76"/>
                    </a:lnTo>
                    <a:lnTo>
                      <a:pt x="14" y="78"/>
                    </a:lnTo>
                    <a:lnTo>
                      <a:pt x="11" y="73"/>
                    </a:lnTo>
                    <a:lnTo>
                      <a:pt x="14" y="73"/>
                    </a:lnTo>
                    <a:lnTo>
                      <a:pt x="17" y="72"/>
                    </a:lnTo>
                    <a:lnTo>
                      <a:pt x="17" y="68"/>
                    </a:lnTo>
                    <a:lnTo>
                      <a:pt x="17" y="67"/>
                    </a:lnTo>
                    <a:lnTo>
                      <a:pt x="14" y="64"/>
                    </a:lnTo>
                    <a:lnTo>
                      <a:pt x="11" y="64"/>
                    </a:lnTo>
                    <a:lnTo>
                      <a:pt x="8" y="61"/>
                    </a:lnTo>
                    <a:lnTo>
                      <a:pt x="6" y="59"/>
                    </a:lnTo>
                    <a:lnTo>
                      <a:pt x="6" y="62"/>
                    </a:lnTo>
                    <a:lnTo>
                      <a:pt x="3" y="61"/>
                    </a:lnTo>
                    <a:lnTo>
                      <a:pt x="1" y="56"/>
                    </a:lnTo>
                    <a:lnTo>
                      <a:pt x="3" y="53"/>
                    </a:lnTo>
                    <a:lnTo>
                      <a:pt x="3" y="49"/>
                    </a:lnTo>
                    <a:lnTo>
                      <a:pt x="1" y="46"/>
                    </a:lnTo>
                    <a:lnTo>
                      <a:pt x="1" y="43"/>
                    </a:lnTo>
                    <a:lnTo>
                      <a:pt x="3" y="46"/>
                    </a:lnTo>
                    <a:lnTo>
                      <a:pt x="6" y="48"/>
                    </a:lnTo>
                    <a:lnTo>
                      <a:pt x="9" y="46"/>
                    </a:lnTo>
                    <a:lnTo>
                      <a:pt x="6" y="43"/>
                    </a:lnTo>
                    <a:lnTo>
                      <a:pt x="5" y="40"/>
                    </a:lnTo>
                    <a:lnTo>
                      <a:pt x="1" y="38"/>
                    </a:lnTo>
                    <a:lnTo>
                      <a:pt x="1" y="42"/>
                    </a:lnTo>
                    <a:lnTo>
                      <a:pt x="0" y="38"/>
                    </a:lnTo>
                    <a:lnTo>
                      <a:pt x="1" y="35"/>
                    </a:lnTo>
                    <a:lnTo>
                      <a:pt x="1" y="30"/>
                    </a:lnTo>
                    <a:lnTo>
                      <a:pt x="1" y="24"/>
                    </a:lnTo>
                    <a:lnTo>
                      <a:pt x="1" y="21"/>
                    </a:lnTo>
                    <a:lnTo>
                      <a:pt x="1" y="19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77" name="Freeform 542"/>
              <p:cNvSpPr>
                <a:spLocks/>
              </p:cNvSpPr>
              <p:nvPr/>
            </p:nvSpPr>
            <p:spPr bwMode="auto">
              <a:xfrm>
                <a:off x="2754" y="1321"/>
                <a:ext cx="34" cy="22"/>
              </a:xfrm>
              <a:custGeom>
                <a:avLst/>
                <a:gdLst>
                  <a:gd name="T0" fmla="*/ 3 w 68"/>
                  <a:gd name="T1" fmla="*/ 41 h 44"/>
                  <a:gd name="T2" fmla="*/ 0 w 68"/>
                  <a:gd name="T3" fmla="*/ 38 h 44"/>
                  <a:gd name="T4" fmla="*/ 0 w 68"/>
                  <a:gd name="T5" fmla="*/ 35 h 44"/>
                  <a:gd name="T6" fmla="*/ 3 w 68"/>
                  <a:gd name="T7" fmla="*/ 32 h 44"/>
                  <a:gd name="T8" fmla="*/ 7 w 68"/>
                  <a:gd name="T9" fmla="*/ 28 h 44"/>
                  <a:gd name="T10" fmla="*/ 10 w 68"/>
                  <a:gd name="T11" fmla="*/ 25 h 44"/>
                  <a:gd name="T12" fmla="*/ 11 w 68"/>
                  <a:gd name="T13" fmla="*/ 24 h 44"/>
                  <a:gd name="T14" fmla="*/ 15 w 68"/>
                  <a:gd name="T15" fmla="*/ 25 h 44"/>
                  <a:gd name="T16" fmla="*/ 18 w 68"/>
                  <a:gd name="T17" fmla="*/ 24 h 44"/>
                  <a:gd name="T18" fmla="*/ 22 w 68"/>
                  <a:gd name="T19" fmla="*/ 24 h 44"/>
                  <a:gd name="T20" fmla="*/ 22 w 68"/>
                  <a:gd name="T21" fmla="*/ 24 h 44"/>
                  <a:gd name="T22" fmla="*/ 26 w 68"/>
                  <a:gd name="T23" fmla="*/ 24 h 44"/>
                  <a:gd name="T24" fmla="*/ 30 w 68"/>
                  <a:gd name="T25" fmla="*/ 24 h 44"/>
                  <a:gd name="T26" fmla="*/ 37 w 68"/>
                  <a:gd name="T27" fmla="*/ 22 h 44"/>
                  <a:gd name="T28" fmla="*/ 40 w 68"/>
                  <a:gd name="T29" fmla="*/ 17 h 44"/>
                  <a:gd name="T30" fmla="*/ 45 w 68"/>
                  <a:gd name="T31" fmla="*/ 13 h 44"/>
                  <a:gd name="T32" fmla="*/ 49 w 68"/>
                  <a:gd name="T33" fmla="*/ 8 h 44"/>
                  <a:gd name="T34" fmla="*/ 51 w 68"/>
                  <a:gd name="T35" fmla="*/ 6 h 44"/>
                  <a:gd name="T36" fmla="*/ 54 w 68"/>
                  <a:gd name="T37" fmla="*/ 6 h 44"/>
                  <a:gd name="T38" fmla="*/ 59 w 68"/>
                  <a:gd name="T39" fmla="*/ 6 h 44"/>
                  <a:gd name="T40" fmla="*/ 62 w 68"/>
                  <a:gd name="T41" fmla="*/ 5 h 44"/>
                  <a:gd name="T42" fmla="*/ 65 w 68"/>
                  <a:gd name="T43" fmla="*/ 1 h 44"/>
                  <a:gd name="T44" fmla="*/ 68 w 68"/>
                  <a:gd name="T45" fmla="*/ 0 h 44"/>
                  <a:gd name="T46" fmla="*/ 65 w 68"/>
                  <a:gd name="T47" fmla="*/ 5 h 44"/>
                  <a:gd name="T48" fmla="*/ 64 w 68"/>
                  <a:gd name="T49" fmla="*/ 8 h 44"/>
                  <a:gd name="T50" fmla="*/ 67 w 68"/>
                  <a:gd name="T51" fmla="*/ 11 h 44"/>
                  <a:gd name="T52" fmla="*/ 67 w 68"/>
                  <a:gd name="T53" fmla="*/ 14 h 44"/>
                  <a:gd name="T54" fmla="*/ 67 w 68"/>
                  <a:gd name="T55" fmla="*/ 17 h 44"/>
                  <a:gd name="T56" fmla="*/ 67 w 68"/>
                  <a:gd name="T57" fmla="*/ 21 h 44"/>
                  <a:gd name="T58" fmla="*/ 64 w 68"/>
                  <a:gd name="T59" fmla="*/ 22 h 44"/>
                  <a:gd name="T60" fmla="*/ 62 w 68"/>
                  <a:gd name="T61" fmla="*/ 25 h 44"/>
                  <a:gd name="T62" fmla="*/ 59 w 68"/>
                  <a:gd name="T63" fmla="*/ 28 h 44"/>
                  <a:gd name="T64" fmla="*/ 56 w 68"/>
                  <a:gd name="T65" fmla="*/ 28 h 44"/>
                  <a:gd name="T66" fmla="*/ 53 w 68"/>
                  <a:gd name="T67" fmla="*/ 25 h 44"/>
                  <a:gd name="T68" fmla="*/ 51 w 68"/>
                  <a:gd name="T69" fmla="*/ 25 h 44"/>
                  <a:gd name="T70" fmla="*/ 51 w 68"/>
                  <a:gd name="T71" fmla="*/ 25 h 44"/>
                  <a:gd name="T72" fmla="*/ 49 w 68"/>
                  <a:gd name="T73" fmla="*/ 27 h 44"/>
                  <a:gd name="T74" fmla="*/ 49 w 68"/>
                  <a:gd name="T75" fmla="*/ 27 h 44"/>
                  <a:gd name="T76" fmla="*/ 45 w 68"/>
                  <a:gd name="T77" fmla="*/ 25 h 44"/>
                  <a:gd name="T78" fmla="*/ 38 w 68"/>
                  <a:gd name="T79" fmla="*/ 27 h 44"/>
                  <a:gd name="T80" fmla="*/ 35 w 68"/>
                  <a:gd name="T81" fmla="*/ 27 h 44"/>
                  <a:gd name="T82" fmla="*/ 32 w 68"/>
                  <a:gd name="T83" fmla="*/ 28 h 44"/>
                  <a:gd name="T84" fmla="*/ 30 w 68"/>
                  <a:gd name="T85" fmla="*/ 28 h 44"/>
                  <a:gd name="T86" fmla="*/ 30 w 68"/>
                  <a:gd name="T87" fmla="*/ 28 h 44"/>
                  <a:gd name="T88" fmla="*/ 27 w 68"/>
                  <a:gd name="T89" fmla="*/ 28 h 44"/>
                  <a:gd name="T90" fmla="*/ 26 w 68"/>
                  <a:gd name="T91" fmla="*/ 27 h 44"/>
                  <a:gd name="T92" fmla="*/ 24 w 68"/>
                  <a:gd name="T93" fmla="*/ 27 h 44"/>
                  <a:gd name="T94" fmla="*/ 18 w 68"/>
                  <a:gd name="T95" fmla="*/ 28 h 44"/>
                  <a:gd name="T96" fmla="*/ 16 w 68"/>
                  <a:gd name="T97" fmla="*/ 30 h 44"/>
                  <a:gd name="T98" fmla="*/ 13 w 68"/>
                  <a:gd name="T99" fmla="*/ 30 h 44"/>
                  <a:gd name="T100" fmla="*/ 10 w 68"/>
                  <a:gd name="T101" fmla="*/ 33 h 44"/>
                  <a:gd name="T102" fmla="*/ 7 w 68"/>
                  <a:gd name="T103" fmla="*/ 36 h 44"/>
                  <a:gd name="T104" fmla="*/ 8 w 68"/>
                  <a:gd name="T105" fmla="*/ 40 h 44"/>
                  <a:gd name="T106" fmla="*/ 3 w 68"/>
                  <a:gd name="T107" fmla="*/ 41 h 44"/>
                  <a:gd name="T108" fmla="*/ 5 w 68"/>
                  <a:gd name="T109" fmla="*/ 41 h 44"/>
                  <a:gd name="T110" fmla="*/ 8 w 68"/>
                  <a:gd name="T111" fmla="*/ 41 h 44"/>
                  <a:gd name="T112" fmla="*/ 8 w 68"/>
                  <a:gd name="T113" fmla="*/ 44 h 44"/>
                  <a:gd name="T114" fmla="*/ 8 w 68"/>
                  <a:gd name="T115" fmla="*/ 44 h 44"/>
                  <a:gd name="T116" fmla="*/ 5 w 68"/>
                  <a:gd name="T117" fmla="*/ 41 h 44"/>
                  <a:gd name="T118" fmla="*/ 3 w 68"/>
                  <a:gd name="T119" fmla="*/ 41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8" h="44">
                    <a:moveTo>
                      <a:pt x="3" y="41"/>
                    </a:moveTo>
                    <a:lnTo>
                      <a:pt x="0" y="38"/>
                    </a:lnTo>
                    <a:lnTo>
                      <a:pt x="0" y="35"/>
                    </a:lnTo>
                    <a:lnTo>
                      <a:pt x="3" y="32"/>
                    </a:lnTo>
                    <a:lnTo>
                      <a:pt x="7" y="28"/>
                    </a:lnTo>
                    <a:lnTo>
                      <a:pt x="10" y="25"/>
                    </a:lnTo>
                    <a:lnTo>
                      <a:pt x="11" y="24"/>
                    </a:lnTo>
                    <a:lnTo>
                      <a:pt x="15" y="25"/>
                    </a:lnTo>
                    <a:lnTo>
                      <a:pt x="18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7" y="22"/>
                    </a:lnTo>
                    <a:lnTo>
                      <a:pt x="40" y="17"/>
                    </a:lnTo>
                    <a:lnTo>
                      <a:pt x="45" y="13"/>
                    </a:lnTo>
                    <a:lnTo>
                      <a:pt x="49" y="8"/>
                    </a:lnTo>
                    <a:lnTo>
                      <a:pt x="51" y="6"/>
                    </a:lnTo>
                    <a:lnTo>
                      <a:pt x="54" y="6"/>
                    </a:lnTo>
                    <a:lnTo>
                      <a:pt x="59" y="6"/>
                    </a:lnTo>
                    <a:lnTo>
                      <a:pt x="62" y="5"/>
                    </a:lnTo>
                    <a:lnTo>
                      <a:pt x="65" y="1"/>
                    </a:lnTo>
                    <a:lnTo>
                      <a:pt x="68" y="0"/>
                    </a:lnTo>
                    <a:lnTo>
                      <a:pt x="65" y="5"/>
                    </a:lnTo>
                    <a:lnTo>
                      <a:pt x="64" y="8"/>
                    </a:lnTo>
                    <a:lnTo>
                      <a:pt x="67" y="11"/>
                    </a:lnTo>
                    <a:lnTo>
                      <a:pt x="67" y="14"/>
                    </a:lnTo>
                    <a:lnTo>
                      <a:pt x="67" y="17"/>
                    </a:lnTo>
                    <a:lnTo>
                      <a:pt x="67" y="21"/>
                    </a:lnTo>
                    <a:lnTo>
                      <a:pt x="64" y="22"/>
                    </a:lnTo>
                    <a:lnTo>
                      <a:pt x="62" y="25"/>
                    </a:lnTo>
                    <a:lnTo>
                      <a:pt x="59" y="28"/>
                    </a:lnTo>
                    <a:lnTo>
                      <a:pt x="56" y="28"/>
                    </a:lnTo>
                    <a:lnTo>
                      <a:pt x="53" y="25"/>
                    </a:lnTo>
                    <a:lnTo>
                      <a:pt x="51" y="25"/>
                    </a:lnTo>
                    <a:lnTo>
                      <a:pt x="51" y="25"/>
                    </a:lnTo>
                    <a:lnTo>
                      <a:pt x="49" y="27"/>
                    </a:lnTo>
                    <a:lnTo>
                      <a:pt x="49" y="27"/>
                    </a:lnTo>
                    <a:lnTo>
                      <a:pt x="45" y="25"/>
                    </a:lnTo>
                    <a:lnTo>
                      <a:pt x="38" y="27"/>
                    </a:lnTo>
                    <a:lnTo>
                      <a:pt x="35" y="27"/>
                    </a:lnTo>
                    <a:lnTo>
                      <a:pt x="32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27" y="28"/>
                    </a:lnTo>
                    <a:lnTo>
                      <a:pt x="26" y="27"/>
                    </a:lnTo>
                    <a:lnTo>
                      <a:pt x="24" y="27"/>
                    </a:lnTo>
                    <a:lnTo>
                      <a:pt x="18" y="28"/>
                    </a:lnTo>
                    <a:lnTo>
                      <a:pt x="16" y="30"/>
                    </a:lnTo>
                    <a:lnTo>
                      <a:pt x="13" y="30"/>
                    </a:lnTo>
                    <a:lnTo>
                      <a:pt x="10" y="33"/>
                    </a:lnTo>
                    <a:lnTo>
                      <a:pt x="7" y="36"/>
                    </a:lnTo>
                    <a:lnTo>
                      <a:pt x="8" y="40"/>
                    </a:lnTo>
                    <a:lnTo>
                      <a:pt x="3" y="41"/>
                    </a:lnTo>
                    <a:lnTo>
                      <a:pt x="5" y="41"/>
                    </a:lnTo>
                    <a:lnTo>
                      <a:pt x="8" y="41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5" y="41"/>
                    </a:lnTo>
                    <a:lnTo>
                      <a:pt x="3" y="4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grpSp>
          <p:nvGrpSpPr>
            <p:cNvPr id="323" name="Group 543"/>
            <p:cNvGrpSpPr>
              <a:grpSpLocks/>
            </p:cNvGrpSpPr>
            <p:nvPr/>
          </p:nvGrpSpPr>
          <p:grpSpPr bwMode="auto">
            <a:xfrm>
              <a:off x="5481210" y="2990877"/>
              <a:ext cx="89694" cy="91388"/>
              <a:chOff x="2676" y="1403"/>
              <a:chExt cx="61" cy="54"/>
            </a:xfrm>
            <a:solidFill>
              <a:schemeClr val="bg1">
                <a:lumMod val="65000"/>
              </a:schemeClr>
            </a:solidFill>
          </p:grpSpPr>
          <p:sp>
            <p:nvSpPr>
              <p:cNvPr id="668" name="Freeform 544"/>
              <p:cNvSpPr>
                <a:spLocks/>
              </p:cNvSpPr>
              <p:nvPr/>
            </p:nvSpPr>
            <p:spPr bwMode="auto">
              <a:xfrm>
                <a:off x="2685" y="1410"/>
                <a:ext cx="1" cy="2"/>
              </a:xfrm>
              <a:custGeom>
                <a:avLst/>
                <a:gdLst>
                  <a:gd name="T0" fmla="*/ 0 h 1"/>
                  <a:gd name="T1" fmla="*/ 0 h 1"/>
                  <a:gd name="T2" fmla="*/ 1 h 1"/>
                  <a:gd name="T3" fmla="*/ 0 h 1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69" name="Freeform 545"/>
              <p:cNvSpPr>
                <a:spLocks noEditPoints="1"/>
              </p:cNvSpPr>
              <p:nvPr/>
            </p:nvSpPr>
            <p:spPr bwMode="auto">
              <a:xfrm>
                <a:off x="2678" y="1403"/>
                <a:ext cx="59" cy="54"/>
              </a:xfrm>
              <a:custGeom>
                <a:avLst/>
                <a:gdLst>
                  <a:gd name="T0" fmla="*/ 21 w 117"/>
                  <a:gd name="T1" fmla="*/ 79 h 106"/>
                  <a:gd name="T2" fmla="*/ 24 w 117"/>
                  <a:gd name="T3" fmla="*/ 76 h 106"/>
                  <a:gd name="T4" fmla="*/ 21 w 117"/>
                  <a:gd name="T5" fmla="*/ 73 h 106"/>
                  <a:gd name="T6" fmla="*/ 21 w 117"/>
                  <a:gd name="T7" fmla="*/ 71 h 106"/>
                  <a:gd name="T8" fmla="*/ 30 w 117"/>
                  <a:gd name="T9" fmla="*/ 70 h 106"/>
                  <a:gd name="T10" fmla="*/ 38 w 117"/>
                  <a:gd name="T11" fmla="*/ 68 h 106"/>
                  <a:gd name="T12" fmla="*/ 43 w 117"/>
                  <a:gd name="T13" fmla="*/ 68 h 106"/>
                  <a:gd name="T14" fmla="*/ 38 w 117"/>
                  <a:gd name="T15" fmla="*/ 68 h 106"/>
                  <a:gd name="T16" fmla="*/ 33 w 117"/>
                  <a:gd name="T17" fmla="*/ 68 h 106"/>
                  <a:gd name="T18" fmla="*/ 25 w 117"/>
                  <a:gd name="T19" fmla="*/ 66 h 106"/>
                  <a:gd name="T20" fmla="*/ 19 w 117"/>
                  <a:gd name="T21" fmla="*/ 60 h 106"/>
                  <a:gd name="T22" fmla="*/ 36 w 117"/>
                  <a:gd name="T23" fmla="*/ 39 h 106"/>
                  <a:gd name="T24" fmla="*/ 40 w 117"/>
                  <a:gd name="T25" fmla="*/ 28 h 106"/>
                  <a:gd name="T26" fmla="*/ 41 w 117"/>
                  <a:gd name="T27" fmla="*/ 22 h 106"/>
                  <a:gd name="T28" fmla="*/ 49 w 117"/>
                  <a:gd name="T29" fmla="*/ 20 h 106"/>
                  <a:gd name="T30" fmla="*/ 60 w 117"/>
                  <a:gd name="T31" fmla="*/ 16 h 106"/>
                  <a:gd name="T32" fmla="*/ 73 w 117"/>
                  <a:gd name="T33" fmla="*/ 5 h 106"/>
                  <a:gd name="T34" fmla="*/ 87 w 117"/>
                  <a:gd name="T35" fmla="*/ 3 h 106"/>
                  <a:gd name="T36" fmla="*/ 97 w 117"/>
                  <a:gd name="T37" fmla="*/ 1 h 106"/>
                  <a:gd name="T38" fmla="*/ 108 w 117"/>
                  <a:gd name="T39" fmla="*/ 3 h 106"/>
                  <a:gd name="T40" fmla="*/ 111 w 117"/>
                  <a:gd name="T41" fmla="*/ 6 h 106"/>
                  <a:gd name="T42" fmla="*/ 117 w 117"/>
                  <a:gd name="T43" fmla="*/ 11 h 106"/>
                  <a:gd name="T44" fmla="*/ 116 w 117"/>
                  <a:gd name="T45" fmla="*/ 22 h 106"/>
                  <a:gd name="T46" fmla="*/ 113 w 117"/>
                  <a:gd name="T47" fmla="*/ 28 h 106"/>
                  <a:gd name="T48" fmla="*/ 109 w 117"/>
                  <a:gd name="T49" fmla="*/ 32 h 106"/>
                  <a:gd name="T50" fmla="*/ 103 w 117"/>
                  <a:gd name="T51" fmla="*/ 33 h 106"/>
                  <a:gd name="T52" fmla="*/ 105 w 117"/>
                  <a:gd name="T53" fmla="*/ 39 h 106"/>
                  <a:gd name="T54" fmla="*/ 113 w 117"/>
                  <a:gd name="T55" fmla="*/ 44 h 106"/>
                  <a:gd name="T56" fmla="*/ 113 w 117"/>
                  <a:gd name="T57" fmla="*/ 49 h 106"/>
                  <a:gd name="T58" fmla="*/ 106 w 117"/>
                  <a:gd name="T59" fmla="*/ 52 h 106"/>
                  <a:gd name="T60" fmla="*/ 105 w 117"/>
                  <a:gd name="T61" fmla="*/ 60 h 106"/>
                  <a:gd name="T62" fmla="*/ 97 w 117"/>
                  <a:gd name="T63" fmla="*/ 62 h 106"/>
                  <a:gd name="T64" fmla="*/ 87 w 117"/>
                  <a:gd name="T65" fmla="*/ 63 h 106"/>
                  <a:gd name="T66" fmla="*/ 84 w 117"/>
                  <a:gd name="T67" fmla="*/ 63 h 106"/>
                  <a:gd name="T68" fmla="*/ 78 w 117"/>
                  <a:gd name="T69" fmla="*/ 65 h 106"/>
                  <a:gd name="T70" fmla="*/ 81 w 117"/>
                  <a:gd name="T71" fmla="*/ 68 h 106"/>
                  <a:gd name="T72" fmla="*/ 86 w 117"/>
                  <a:gd name="T73" fmla="*/ 81 h 106"/>
                  <a:gd name="T74" fmla="*/ 82 w 117"/>
                  <a:gd name="T75" fmla="*/ 87 h 106"/>
                  <a:gd name="T76" fmla="*/ 78 w 117"/>
                  <a:gd name="T77" fmla="*/ 95 h 106"/>
                  <a:gd name="T78" fmla="*/ 81 w 117"/>
                  <a:gd name="T79" fmla="*/ 101 h 106"/>
                  <a:gd name="T80" fmla="*/ 79 w 117"/>
                  <a:gd name="T81" fmla="*/ 104 h 106"/>
                  <a:gd name="T82" fmla="*/ 75 w 117"/>
                  <a:gd name="T83" fmla="*/ 106 h 106"/>
                  <a:gd name="T84" fmla="*/ 70 w 117"/>
                  <a:gd name="T85" fmla="*/ 104 h 106"/>
                  <a:gd name="T86" fmla="*/ 68 w 117"/>
                  <a:gd name="T87" fmla="*/ 101 h 106"/>
                  <a:gd name="T88" fmla="*/ 73 w 117"/>
                  <a:gd name="T89" fmla="*/ 93 h 106"/>
                  <a:gd name="T90" fmla="*/ 70 w 117"/>
                  <a:gd name="T91" fmla="*/ 89 h 106"/>
                  <a:gd name="T92" fmla="*/ 62 w 117"/>
                  <a:gd name="T93" fmla="*/ 85 h 106"/>
                  <a:gd name="T94" fmla="*/ 54 w 117"/>
                  <a:gd name="T95" fmla="*/ 84 h 106"/>
                  <a:gd name="T96" fmla="*/ 49 w 117"/>
                  <a:gd name="T97" fmla="*/ 78 h 106"/>
                  <a:gd name="T98" fmla="*/ 41 w 117"/>
                  <a:gd name="T99" fmla="*/ 81 h 106"/>
                  <a:gd name="T100" fmla="*/ 35 w 117"/>
                  <a:gd name="T101" fmla="*/ 79 h 106"/>
                  <a:gd name="T102" fmla="*/ 25 w 117"/>
                  <a:gd name="T103" fmla="*/ 82 h 106"/>
                  <a:gd name="T104" fmla="*/ 17 w 117"/>
                  <a:gd name="T105" fmla="*/ 79 h 106"/>
                  <a:gd name="T106" fmla="*/ 8 w 117"/>
                  <a:gd name="T107" fmla="*/ 79 h 106"/>
                  <a:gd name="T108" fmla="*/ 5 w 117"/>
                  <a:gd name="T109" fmla="*/ 73 h 106"/>
                  <a:gd name="T110" fmla="*/ 62 w 117"/>
                  <a:gd name="T111" fmla="*/ 38 h 106"/>
                  <a:gd name="T112" fmla="*/ 70 w 117"/>
                  <a:gd name="T113" fmla="*/ 33 h 106"/>
                  <a:gd name="T114" fmla="*/ 76 w 117"/>
                  <a:gd name="T115" fmla="*/ 36 h 106"/>
                  <a:gd name="T116" fmla="*/ 75 w 117"/>
                  <a:gd name="T117" fmla="*/ 39 h 106"/>
                  <a:gd name="T118" fmla="*/ 65 w 117"/>
                  <a:gd name="T119" fmla="*/ 46 h 106"/>
                  <a:gd name="T120" fmla="*/ 55 w 117"/>
                  <a:gd name="T121" fmla="*/ 44 h 106"/>
                  <a:gd name="T122" fmla="*/ 60 w 117"/>
                  <a:gd name="T123" fmla="*/ 39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7" h="106">
                    <a:moveTo>
                      <a:pt x="14" y="73"/>
                    </a:moveTo>
                    <a:lnTo>
                      <a:pt x="17" y="76"/>
                    </a:lnTo>
                    <a:lnTo>
                      <a:pt x="21" y="79"/>
                    </a:lnTo>
                    <a:lnTo>
                      <a:pt x="24" y="79"/>
                    </a:lnTo>
                    <a:lnTo>
                      <a:pt x="25" y="79"/>
                    </a:lnTo>
                    <a:lnTo>
                      <a:pt x="24" y="76"/>
                    </a:lnTo>
                    <a:lnTo>
                      <a:pt x="21" y="76"/>
                    </a:lnTo>
                    <a:lnTo>
                      <a:pt x="17" y="74"/>
                    </a:lnTo>
                    <a:lnTo>
                      <a:pt x="21" y="73"/>
                    </a:lnTo>
                    <a:lnTo>
                      <a:pt x="24" y="73"/>
                    </a:lnTo>
                    <a:lnTo>
                      <a:pt x="24" y="73"/>
                    </a:lnTo>
                    <a:lnTo>
                      <a:pt x="21" y="71"/>
                    </a:lnTo>
                    <a:lnTo>
                      <a:pt x="24" y="71"/>
                    </a:lnTo>
                    <a:lnTo>
                      <a:pt x="27" y="71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3" y="70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40" y="68"/>
                    </a:lnTo>
                    <a:lnTo>
                      <a:pt x="43" y="68"/>
                    </a:lnTo>
                    <a:lnTo>
                      <a:pt x="41" y="65"/>
                    </a:lnTo>
                    <a:lnTo>
                      <a:pt x="41" y="66"/>
                    </a:lnTo>
                    <a:lnTo>
                      <a:pt x="38" y="68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33" y="68"/>
                    </a:lnTo>
                    <a:lnTo>
                      <a:pt x="30" y="68"/>
                    </a:lnTo>
                    <a:lnTo>
                      <a:pt x="29" y="68"/>
                    </a:lnTo>
                    <a:lnTo>
                      <a:pt x="25" y="66"/>
                    </a:lnTo>
                    <a:lnTo>
                      <a:pt x="24" y="65"/>
                    </a:lnTo>
                    <a:lnTo>
                      <a:pt x="21" y="63"/>
                    </a:lnTo>
                    <a:lnTo>
                      <a:pt x="19" y="60"/>
                    </a:lnTo>
                    <a:lnTo>
                      <a:pt x="29" y="51"/>
                    </a:lnTo>
                    <a:lnTo>
                      <a:pt x="35" y="41"/>
                    </a:lnTo>
                    <a:lnTo>
                      <a:pt x="36" y="39"/>
                    </a:lnTo>
                    <a:lnTo>
                      <a:pt x="38" y="35"/>
                    </a:lnTo>
                    <a:lnTo>
                      <a:pt x="38" y="32"/>
                    </a:lnTo>
                    <a:lnTo>
                      <a:pt x="40" y="28"/>
                    </a:lnTo>
                    <a:lnTo>
                      <a:pt x="40" y="25"/>
                    </a:lnTo>
                    <a:lnTo>
                      <a:pt x="41" y="24"/>
                    </a:lnTo>
                    <a:lnTo>
                      <a:pt x="41" y="22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49" y="20"/>
                    </a:lnTo>
                    <a:lnTo>
                      <a:pt x="54" y="19"/>
                    </a:lnTo>
                    <a:lnTo>
                      <a:pt x="57" y="17"/>
                    </a:lnTo>
                    <a:lnTo>
                      <a:pt x="60" y="16"/>
                    </a:lnTo>
                    <a:lnTo>
                      <a:pt x="65" y="9"/>
                    </a:lnTo>
                    <a:lnTo>
                      <a:pt x="68" y="6"/>
                    </a:lnTo>
                    <a:lnTo>
                      <a:pt x="73" y="5"/>
                    </a:lnTo>
                    <a:lnTo>
                      <a:pt x="79" y="3"/>
                    </a:lnTo>
                    <a:lnTo>
                      <a:pt x="84" y="3"/>
                    </a:lnTo>
                    <a:lnTo>
                      <a:pt x="87" y="3"/>
                    </a:lnTo>
                    <a:lnTo>
                      <a:pt x="90" y="3"/>
                    </a:lnTo>
                    <a:lnTo>
                      <a:pt x="94" y="1"/>
                    </a:lnTo>
                    <a:lnTo>
                      <a:pt x="97" y="1"/>
                    </a:lnTo>
                    <a:lnTo>
                      <a:pt x="101" y="0"/>
                    </a:lnTo>
                    <a:lnTo>
                      <a:pt x="105" y="0"/>
                    </a:lnTo>
                    <a:lnTo>
                      <a:pt x="108" y="3"/>
                    </a:lnTo>
                    <a:lnTo>
                      <a:pt x="109" y="6"/>
                    </a:lnTo>
                    <a:lnTo>
                      <a:pt x="109" y="6"/>
                    </a:lnTo>
                    <a:lnTo>
                      <a:pt x="111" y="6"/>
                    </a:lnTo>
                    <a:lnTo>
                      <a:pt x="114" y="8"/>
                    </a:lnTo>
                    <a:lnTo>
                      <a:pt x="117" y="9"/>
                    </a:lnTo>
                    <a:lnTo>
                      <a:pt x="117" y="11"/>
                    </a:lnTo>
                    <a:lnTo>
                      <a:pt x="117" y="11"/>
                    </a:lnTo>
                    <a:lnTo>
                      <a:pt x="117" y="19"/>
                    </a:lnTo>
                    <a:lnTo>
                      <a:pt x="116" y="22"/>
                    </a:lnTo>
                    <a:lnTo>
                      <a:pt x="114" y="24"/>
                    </a:lnTo>
                    <a:lnTo>
                      <a:pt x="114" y="25"/>
                    </a:lnTo>
                    <a:lnTo>
                      <a:pt x="113" y="28"/>
                    </a:lnTo>
                    <a:lnTo>
                      <a:pt x="113" y="28"/>
                    </a:lnTo>
                    <a:lnTo>
                      <a:pt x="113" y="32"/>
                    </a:lnTo>
                    <a:lnTo>
                      <a:pt x="109" y="32"/>
                    </a:lnTo>
                    <a:lnTo>
                      <a:pt x="106" y="32"/>
                    </a:lnTo>
                    <a:lnTo>
                      <a:pt x="103" y="32"/>
                    </a:lnTo>
                    <a:lnTo>
                      <a:pt x="103" y="33"/>
                    </a:lnTo>
                    <a:lnTo>
                      <a:pt x="101" y="36"/>
                    </a:lnTo>
                    <a:lnTo>
                      <a:pt x="101" y="38"/>
                    </a:lnTo>
                    <a:lnTo>
                      <a:pt x="105" y="39"/>
                    </a:lnTo>
                    <a:lnTo>
                      <a:pt x="109" y="41"/>
                    </a:lnTo>
                    <a:lnTo>
                      <a:pt x="113" y="41"/>
                    </a:lnTo>
                    <a:lnTo>
                      <a:pt x="113" y="44"/>
                    </a:lnTo>
                    <a:lnTo>
                      <a:pt x="113" y="46"/>
                    </a:lnTo>
                    <a:lnTo>
                      <a:pt x="113" y="46"/>
                    </a:lnTo>
                    <a:lnTo>
                      <a:pt x="113" y="49"/>
                    </a:lnTo>
                    <a:lnTo>
                      <a:pt x="109" y="49"/>
                    </a:lnTo>
                    <a:lnTo>
                      <a:pt x="109" y="49"/>
                    </a:lnTo>
                    <a:lnTo>
                      <a:pt x="106" y="52"/>
                    </a:lnTo>
                    <a:lnTo>
                      <a:pt x="103" y="54"/>
                    </a:lnTo>
                    <a:lnTo>
                      <a:pt x="103" y="57"/>
                    </a:lnTo>
                    <a:lnTo>
                      <a:pt x="105" y="60"/>
                    </a:lnTo>
                    <a:lnTo>
                      <a:pt x="105" y="60"/>
                    </a:lnTo>
                    <a:lnTo>
                      <a:pt x="100" y="60"/>
                    </a:lnTo>
                    <a:lnTo>
                      <a:pt x="97" y="62"/>
                    </a:lnTo>
                    <a:lnTo>
                      <a:pt x="94" y="63"/>
                    </a:lnTo>
                    <a:lnTo>
                      <a:pt x="90" y="63"/>
                    </a:lnTo>
                    <a:lnTo>
                      <a:pt x="87" y="63"/>
                    </a:lnTo>
                    <a:lnTo>
                      <a:pt x="84" y="62"/>
                    </a:lnTo>
                    <a:lnTo>
                      <a:pt x="84" y="62"/>
                    </a:lnTo>
                    <a:lnTo>
                      <a:pt x="84" y="63"/>
                    </a:lnTo>
                    <a:lnTo>
                      <a:pt x="81" y="63"/>
                    </a:lnTo>
                    <a:lnTo>
                      <a:pt x="78" y="65"/>
                    </a:lnTo>
                    <a:lnTo>
                      <a:pt x="78" y="65"/>
                    </a:lnTo>
                    <a:lnTo>
                      <a:pt x="79" y="66"/>
                    </a:lnTo>
                    <a:lnTo>
                      <a:pt x="78" y="68"/>
                    </a:lnTo>
                    <a:lnTo>
                      <a:pt x="81" y="68"/>
                    </a:lnTo>
                    <a:lnTo>
                      <a:pt x="84" y="76"/>
                    </a:lnTo>
                    <a:lnTo>
                      <a:pt x="86" y="79"/>
                    </a:lnTo>
                    <a:lnTo>
                      <a:pt x="86" y="81"/>
                    </a:lnTo>
                    <a:lnTo>
                      <a:pt x="86" y="82"/>
                    </a:lnTo>
                    <a:lnTo>
                      <a:pt x="86" y="84"/>
                    </a:lnTo>
                    <a:lnTo>
                      <a:pt x="82" y="87"/>
                    </a:lnTo>
                    <a:lnTo>
                      <a:pt x="81" y="89"/>
                    </a:lnTo>
                    <a:lnTo>
                      <a:pt x="81" y="92"/>
                    </a:lnTo>
                    <a:lnTo>
                      <a:pt x="78" y="95"/>
                    </a:lnTo>
                    <a:lnTo>
                      <a:pt x="79" y="98"/>
                    </a:lnTo>
                    <a:lnTo>
                      <a:pt x="81" y="100"/>
                    </a:lnTo>
                    <a:lnTo>
                      <a:pt x="81" y="101"/>
                    </a:lnTo>
                    <a:lnTo>
                      <a:pt x="79" y="103"/>
                    </a:lnTo>
                    <a:lnTo>
                      <a:pt x="79" y="103"/>
                    </a:lnTo>
                    <a:lnTo>
                      <a:pt x="79" y="104"/>
                    </a:lnTo>
                    <a:lnTo>
                      <a:pt x="79" y="106"/>
                    </a:lnTo>
                    <a:lnTo>
                      <a:pt x="79" y="106"/>
                    </a:lnTo>
                    <a:lnTo>
                      <a:pt x="75" y="106"/>
                    </a:lnTo>
                    <a:lnTo>
                      <a:pt x="70" y="106"/>
                    </a:lnTo>
                    <a:lnTo>
                      <a:pt x="70" y="104"/>
                    </a:lnTo>
                    <a:lnTo>
                      <a:pt x="70" y="104"/>
                    </a:lnTo>
                    <a:lnTo>
                      <a:pt x="68" y="103"/>
                    </a:lnTo>
                    <a:lnTo>
                      <a:pt x="67" y="103"/>
                    </a:lnTo>
                    <a:lnTo>
                      <a:pt x="68" y="101"/>
                    </a:lnTo>
                    <a:lnTo>
                      <a:pt x="71" y="98"/>
                    </a:lnTo>
                    <a:lnTo>
                      <a:pt x="71" y="97"/>
                    </a:lnTo>
                    <a:lnTo>
                      <a:pt x="73" y="93"/>
                    </a:lnTo>
                    <a:lnTo>
                      <a:pt x="75" y="90"/>
                    </a:lnTo>
                    <a:lnTo>
                      <a:pt x="73" y="90"/>
                    </a:lnTo>
                    <a:lnTo>
                      <a:pt x="70" y="89"/>
                    </a:lnTo>
                    <a:lnTo>
                      <a:pt x="67" y="89"/>
                    </a:lnTo>
                    <a:lnTo>
                      <a:pt x="65" y="89"/>
                    </a:lnTo>
                    <a:lnTo>
                      <a:pt x="62" y="85"/>
                    </a:lnTo>
                    <a:lnTo>
                      <a:pt x="60" y="87"/>
                    </a:lnTo>
                    <a:lnTo>
                      <a:pt x="55" y="87"/>
                    </a:lnTo>
                    <a:lnTo>
                      <a:pt x="54" y="84"/>
                    </a:lnTo>
                    <a:lnTo>
                      <a:pt x="51" y="82"/>
                    </a:lnTo>
                    <a:lnTo>
                      <a:pt x="51" y="79"/>
                    </a:lnTo>
                    <a:lnTo>
                      <a:pt x="49" y="78"/>
                    </a:lnTo>
                    <a:lnTo>
                      <a:pt x="48" y="79"/>
                    </a:lnTo>
                    <a:lnTo>
                      <a:pt x="44" y="81"/>
                    </a:lnTo>
                    <a:lnTo>
                      <a:pt x="41" y="81"/>
                    </a:lnTo>
                    <a:lnTo>
                      <a:pt x="40" y="78"/>
                    </a:lnTo>
                    <a:lnTo>
                      <a:pt x="38" y="79"/>
                    </a:lnTo>
                    <a:lnTo>
                      <a:pt x="35" y="79"/>
                    </a:lnTo>
                    <a:lnTo>
                      <a:pt x="32" y="78"/>
                    </a:lnTo>
                    <a:lnTo>
                      <a:pt x="30" y="82"/>
                    </a:lnTo>
                    <a:lnTo>
                      <a:pt x="25" y="82"/>
                    </a:lnTo>
                    <a:lnTo>
                      <a:pt x="21" y="81"/>
                    </a:lnTo>
                    <a:lnTo>
                      <a:pt x="17" y="79"/>
                    </a:lnTo>
                    <a:lnTo>
                      <a:pt x="17" y="79"/>
                    </a:lnTo>
                    <a:lnTo>
                      <a:pt x="14" y="81"/>
                    </a:lnTo>
                    <a:lnTo>
                      <a:pt x="11" y="81"/>
                    </a:lnTo>
                    <a:lnTo>
                      <a:pt x="8" y="79"/>
                    </a:lnTo>
                    <a:lnTo>
                      <a:pt x="5" y="79"/>
                    </a:lnTo>
                    <a:lnTo>
                      <a:pt x="0" y="76"/>
                    </a:lnTo>
                    <a:lnTo>
                      <a:pt x="5" y="73"/>
                    </a:lnTo>
                    <a:lnTo>
                      <a:pt x="14" y="73"/>
                    </a:lnTo>
                    <a:close/>
                    <a:moveTo>
                      <a:pt x="60" y="39"/>
                    </a:moveTo>
                    <a:lnTo>
                      <a:pt x="62" y="38"/>
                    </a:lnTo>
                    <a:lnTo>
                      <a:pt x="63" y="36"/>
                    </a:lnTo>
                    <a:lnTo>
                      <a:pt x="67" y="35"/>
                    </a:lnTo>
                    <a:lnTo>
                      <a:pt x="70" y="33"/>
                    </a:lnTo>
                    <a:lnTo>
                      <a:pt x="73" y="35"/>
                    </a:lnTo>
                    <a:lnTo>
                      <a:pt x="73" y="35"/>
                    </a:lnTo>
                    <a:lnTo>
                      <a:pt x="76" y="36"/>
                    </a:lnTo>
                    <a:lnTo>
                      <a:pt x="76" y="38"/>
                    </a:lnTo>
                    <a:lnTo>
                      <a:pt x="75" y="38"/>
                    </a:lnTo>
                    <a:lnTo>
                      <a:pt x="75" y="39"/>
                    </a:lnTo>
                    <a:lnTo>
                      <a:pt x="71" y="41"/>
                    </a:lnTo>
                    <a:lnTo>
                      <a:pt x="68" y="43"/>
                    </a:lnTo>
                    <a:lnTo>
                      <a:pt x="65" y="46"/>
                    </a:lnTo>
                    <a:lnTo>
                      <a:pt x="62" y="47"/>
                    </a:lnTo>
                    <a:lnTo>
                      <a:pt x="59" y="44"/>
                    </a:lnTo>
                    <a:lnTo>
                      <a:pt x="55" y="44"/>
                    </a:lnTo>
                    <a:lnTo>
                      <a:pt x="54" y="44"/>
                    </a:lnTo>
                    <a:lnTo>
                      <a:pt x="57" y="41"/>
                    </a:lnTo>
                    <a:lnTo>
                      <a:pt x="60" y="39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670" name="Freeform 546"/>
              <p:cNvSpPr>
                <a:spLocks/>
              </p:cNvSpPr>
              <p:nvPr/>
            </p:nvSpPr>
            <p:spPr bwMode="auto">
              <a:xfrm>
                <a:off x="2676" y="1444"/>
                <a:ext cx="14" cy="4"/>
              </a:xfrm>
              <a:custGeom>
                <a:avLst/>
                <a:gdLst>
                  <a:gd name="T0" fmla="*/ 0 w 27"/>
                  <a:gd name="T1" fmla="*/ 3 h 8"/>
                  <a:gd name="T2" fmla="*/ 0 w 27"/>
                  <a:gd name="T3" fmla="*/ 1 h 8"/>
                  <a:gd name="T4" fmla="*/ 5 w 27"/>
                  <a:gd name="T5" fmla="*/ 0 h 8"/>
                  <a:gd name="T6" fmla="*/ 6 w 27"/>
                  <a:gd name="T7" fmla="*/ 0 h 8"/>
                  <a:gd name="T8" fmla="*/ 14 w 27"/>
                  <a:gd name="T9" fmla="*/ 1 h 8"/>
                  <a:gd name="T10" fmla="*/ 17 w 27"/>
                  <a:gd name="T11" fmla="*/ 1 h 8"/>
                  <a:gd name="T12" fmla="*/ 20 w 27"/>
                  <a:gd name="T13" fmla="*/ 0 h 8"/>
                  <a:gd name="T14" fmla="*/ 24 w 27"/>
                  <a:gd name="T15" fmla="*/ 1 h 8"/>
                  <a:gd name="T16" fmla="*/ 27 w 27"/>
                  <a:gd name="T17" fmla="*/ 1 h 8"/>
                  <a:gd name="T18" fmla="*/ 24 w 27"/>
                  <a:gd name="T19" fmla="*/ 4 h 8"/>
                  <a:gd name="T20" fmla="*/ 20 w 27"/>
                  <a:gd name="T21" fmla="*/ 6 h 8"/>
                  <a:gd name="T22" fmla="*/ 19 w 27"/>
                  <a:gd name="T23" fmla="*/ 6 h 8"/>
                  <a:gd name="T24" fmla="*/ 16 w 27"/>
                  <a:gd name="T25" fmla="*/ 8 h 8"/>
                  <a:gd name="T26" fmla="*/ 16 w 27"/>
                  <a:gd name="T27" fmla="*/ 8 h 8"/>
                  <a:gd name="T28" fmla="*/ 14 w 27"/>
                  <a:gd name="T29" fmla="*/ 8 h 8"/>
                  <a:gd name="T30" fmla="*/ 9 w 27"/>
                  <a:gd name="T31" fmla="*/ 4 h 8"/>
                  <a:gd name="T32" fmla="*/ 6 w 27"/>
                  <a:gd name="T33" fmla="*/ 4 h 8"/>
                  <a:gd name="T34" fmla="*/ 3 w 27"/>
                  <a:gd name="T35" fmla="*/ 6 h 8"/>
                  <a:gd name="T36" fmla="*/ 1 w 27"/>
                  <a:gd name="T37" fmla="*/ 4 h 8"/>
                  <a:gd name="T38" fmla="*/ 0 w 27"/>
                  <a:gd name="T39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" h="8">
                    <a:moveTo>
                      <a:pt x="0" y="3"/>
                    </a:moveTo>
                    <a:lnTo>
                      <a:pt x="0" y="1"/>
                    </a:lnTo>
                    <a:lnTo>
                      <a:pt x="5" y="0"/>
                    </a:lnTo>
                    <a:lnTo>
                      <a:pt x="6" y="0"/>
                    </a:lnTo>
                    <a:lnTo>
                      <a:pt x="14" y="1"/>
                    </a:lnTo>
                    <a:lnTo>
                      <a:pt x="17" y="1"/>
                    </a:lnTo>
                    <a:lnTo>
                      <a:pt x="20" y="0"/>
                    </a:lnTo>
                    <a:lnTo>
                      <a:pt x="24" y="1"/>
                    </a:lnTo>
                    <a:lnTo>
                      <a:pt x="27" y="1"/>
                    </a:lnTo>
                    <a:lnTo>
                      <a:pt x="24" y="4"/>
                    </a:lnTo>
                    <a:lnTo>
                      <a:pt x="20" y="6"/>
                    </a:lnTo>
                    <a:lnTo>
                      <a:pt x="19" y="6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4" y="8"/>
                    </a:lnTo>
                    <a:lnTo>
                      <a:pt x="9" y="4"/>
                    </a:lnTo>
                    <a:lnTo>
                      <a:pt x="6" y="4"/>
                    </a:lnTo>
                    <a:lnTo>
                      <a:pt x="3" y="6"/>
                    </a:lnTo>
                    <a:lnTo>
                      <a:pt x="1" y="4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sp>
          <p:nvSpPr>
            <p:cNvPr id="324" name="Freeform 547"/>
            <p:cNvSpPr>
              <a:spLocks/>
            </p:cNvSpPr>
            <p:nvPr/>
          </p:nvSpPr>
          <p:spPr bwMode="auto">
            <a:xfrm>
              <a:off x="5538481" y="3180508"/>
              <a:ext cx="105866" cy="67697"/>
            </a:xfrm>
            <a:custGeom>
              <a:avLst/>
              <a:gdLst>
                <a:gd name="T0" fmla="*/ 0 w 144"/>
                <a:gd name="T1" fmla="*/ 65 h 80"/>
                <a:gd name="T2" fmla="*/ 3 w 144"/>
                <a:gd name="T3" fmla="*/ 56 h 80"/>
                <a:gd name="T4" fmla="*/ 3 w 144"/>
                <a:gd name="T5" fmla="*/ 54 h 80"/>
                <a:gd name="T6" fmla="*/ 7 w 144"/>
                <a:gd name="T7" fmla="*/ 46 h 80"/>
                <a:gd name="T8" fmla="*/ 12 w 144"/>
                <a:gd name="T9" fmla="*/ 43 h 80"/>
                <a:gd name="T10" fmla="*/ 15 w 144"/>
                <a:gd name="T11" fmla="*/ 37 h 80"/>
                <a:gd name="T12" fmla="*/ 23 w 144"/>
                <a:gd name="T13" fmla="*/ 29 h 80"/>
                <a:gd name="T14" fmla="*/ 34 w 144"/>
                <a:gd name="T15" fmla="*/ 18 h 80"/>
                <a:gd name="T16" fmla="*/ 33 w 144"/>
                <a:gd name="T17" fmla="*/ 13 h 80"/>
                <a:gd name="T18" fmla="*/ 38 w 144"/>
                <a:gd name="T19" fmla="*/ 13 h 80"/>
                <a:gd name="T20" fmla="*/ 42 w 144"/>
                <a:gd name="T21" fmla="*/ 15 h 80"/>
                <a:gd name="T22" fmla="*/ 47 w 144"/>
                <a:gd name="T23" fmla="*/ 15 h 80"/>
                <a:gd name="T24" fmla="*/ 52 w 144"/>
                <a:gd name="T25" fmla="*/ 10 h 80"/>
                <a:gd name="T26" fmla="*/ 53 w 144"/>
                <a:gd name="T27" fmla="*/ 10 h 80"/>
                <a:gd name="T28" fmla="*/ 58 w 144"/>
                <a:gd name="T29" fmla="*/ 10 h 80"/>
                <a:gd name="T30" fmla="*/ 68 w 144"/>
                <a:gd name="T31" fmla="*/ 10 h 80"/>
                <a:gd name="T32" fmla="*/ 74 w 144"/>
                <a:gd name="T33" fmla="*/ 8 h 80"/>
                <a:gd name="T34" fmla="*/ 82 w 144"/>
                <a:gd name="T35" fmla="*/ 8 h 80"/>
                <a:gd name="T36" fmla="*/ 84 w 144"/>
                <a:gd name="T37" fmla="*/ 5 h 80"/>
                <a:gd name="T38" fmla="*/ 79 w 144"/>
                <a:gd name="T39" fmla="*/ 5 h 80"/>
                <a:gd name="T40" fmla="*/ 87 w 144"/>
                <a:gd name="T41" fmla="*/ 2 h 80"/>
                <a:gd name="T42" fmla="*/ 88 w 144"/>
                <a:gd name="T43" fmla="*/ 5 h 80"/>
                <a:gd name="T44" fmla="*/ 96 w 144"/>
                <a:gd name="T45" fmla="*/ 5 h 80"/>
                <a:gd name="T46" fmla="*/ 107 w 144"/>
                <a:gd name="T47" fmla="*/ 7 h 80"/>
                <a:gd name="T48" fmla="*/ 117 w 144"/>
                <a:gd name="T49" fmla="*/ 15 h 80"/>
                <a:gd name="T50" fmla="*/ 115 w 144"/>
                <a:gd name="T51" fmla="*/ 18 h 80"/>
                <a:gd name="T52" fmla="*/ 112 w 144"/>
                <a:gd name="T53" fmla="*/ 26 h 80"/>
                <a:gd name="T54" fmla="*/ 112 w 144"/>
                <a:gd name="T55" fmla="*/ 29 h 80"/>
                <a:gd name="T56" fmla="*/ 122 w 144"/>
                <a:gd name="T57" fmla="*/ 31 h 80"/>
                <a:gd name="T58" fmla="*/ 128 w 144"/>
                <a:gd name="T59" fmla="*/ 37 h 80"/>
                <a:gd name="T60" fmla="*/ 133 w 144"/>
                <a:gd name="T61" fmla="*/ 38 h 80"/>
                <a:gd name="T62" fmla="*/ 144 w 144"/>
                <a:gd name="T63" fmla="*/ 35 h 80"/>
                <a:gd name="T64" fmla="*/ 144 w 144"/>
                <a:gd name="T65" fmla="*/ 37 h 80"/>
                <a:gd name="T66" fmla="*/ 144 w 144"/>
                <a:gd name="T67" fmla="*/ 48 h 80"/>
                <a:gd name="T68" fmla="*/ 139 w 144"/>
                <a:gd name="T69" fmla="*/ 51 h 80"/>
                <a:gd name="T70" fmla="*/ 130 w 144"/>
                <a:gd name="T71" fmla="*/ 51 h 80"/>
                <a:gd name="T72" fmla="*/ 133 w 144"/>
                <a:gd name="T73" fmla="*/ 61 h 80"/>
                <a:gd name="T74" fmla="*/ 128 w 144"/>
                <a:gd name="T75" fmla="*/ 61 h 80"/>
                <a:gd name="T76" fmla="*/ 120 w 144"/>
                <a:gd name="T77" fmla="*/ 58 h 80"/>
                <a:gd name="T78" fmla="*/ 112 w 144"/>
                <a:gd name="T79" fmla="*/ 59 h 80"/>
                <a:gd name="T80" fmla="*/ 107 w 144"/>
                <a:gd name="T81" fmla="*/ 53 h 80"/>
                <a:gd name="T82" fmla="*/ 104 w 144"/>
                <a:gd name="T83" fmla="*/ 64 h 80"/>
                <a:gd name="T84" fmla="*/ 96 w 144"/>
                <a:gd name="T85" fmla="*/ 72 h 80"/>
                <a:gd name="T86" fmla="*/ 98 w 144"/>
                <a:gd name="T87" fmla="*/ 78 h 80"/>
                <a:gd name="T88" fmla="*/ 93 w 144"/>
                <a:gd name="T89" fmla="*/ 77 h 80"/>
                <a:gd name="T90" fmla="*/ 90 w 144"/>
                <a:gd name="T91" fmla="*/ 72 h 80"/>
                <a:gd name="T92" fmla="*/ 87 w 144"/>
                <a:gd name="T93" fmla="*/ 69 h 80"/>
                <a:gd name="T94" fmla="*/ 82 w 144"/>
                <a:gd name="T95" fmla="*/ 65 h 80"/>
                <a:gd name="T96" fmla="*/ 76 w 144"/>
                <a:gd name="T97" fmla="*/ 54 h 80"/>
                <a:gd name="T98" fmla="*/ 68 w 144"/>
                <a:gd name="T99" fmla="*/ 61 h 80"/>
                <a:gd name="T100" fmla="*/ 65 w 144"/>
                <a:gd name="T101" fmla="*/ 69 h 80"/>
                <a:gd name="T102" fmla="*/ 57 w 144"/>
                <a:gd name="T103" fmla="*/ 75 h 80"/>
                <a:gd name="T104" fmla="*/ 50 w 144"/>
                <a:gd name="T105" fmla="*/ 73 h 80"/>
                <a:gd name="T106" fmla="*/ 36 w 144"/>
                <a:gd name="T107" fmla="*/ 77 h 80"/>
                <a:gd name="T108" fmla="*/ 30 w 144"/>
                <a:gd name="T109" fmla="*/ 70 h 80"/>
                <a:gd name="T110" fmla="*/ 25 w 144"/>
                <a:gd name="T111" fmla="*/ 64 h 80"/>
                <a:gd name="T112" fmla="*/ 25 w 144"/>
                <a:gd name="T113" fmla="*/ 56 h 80"/>
                <a:gd name="T114" fmla="*/ 15 w 144"/>
                <a:gd name="T115" fmla="*/ 54 h 80"/>
                <a:gd name="T116" fmla="*/ 7 w 144"/>
                <a:gd name="T117" fmla="*/ 61 h 80"/>
                <a:gd name="T118" fmla="*/ 6 w 144"/>
                <a:gd name="T119" fmla="*/ 65 h 80"/>
                <a:gd name="T120" fmla="*/ 0 w 144"/>
                <a:gd name="T121" fmla="*/ 67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4" h="80">
                  <a:moveTo>
                    <a:pt x="0" y="67"/>
                  </a:moveTo>
                  <a:lnTo>
                    <a:pt x="0" y="65"/>
                  </a:lnTo>
                  <a:lnTo>
                    <a:pt x="0" y="65"/>
                  </a:lnTo>
                  <a:lnTo>
                    <a:pt x="3" y="62"/>
                  </a:lnTo>
                  <a:lnTo>
                    <a:pt x="4" y="59"/>
                  </a:lnTo>
                  <a:lnTo>
                    <a:pt x="3" y="56"/>
                  </a:lnTo>
                  <a:lnTo>
                    <a:pt x="3" y="56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4" y="51"/>
                  </a:lnTo>
                  <a:lnTo>
                    <a:pt x="6" y="50"/>
                  </a:lnTo>
                  <a:lnTo>
                    <a:pt x="7" y="46"/>
                  </a:lnTo>
                  <a:lnTo>
                    <a:pt x="11" y="45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4" y="40"/>
                  </a:lnTo>
                  <a:lnTo>
                    <a:pt x="15" y="38"/>
                  </a:lnTo>
                  <a:lnTo>
                    <a:pt x="15" y="37"/>
                  </a:lnTo>
                  <a:lnTo>
                    <a:pt x="19" y="34"/>
                  </a:lnTo>
                  <a:lnTo>
                    <a:pt x="23" y="31"/>
                  </a:lnTo>
                  <a:lnTo>
                    <a:pt x="23" y="29"/>
                  </a:lnTo>
                  <a:lnTo>
                    <a:pt x="30" y="24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1" y="18"/>
                  </a:lnTo>
                  <a:lnTo>
                    <a:pt x="33" y="15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41" y="15"/>
                  </a:lnTo>
                  <a:lnTo>
                    <a:pt x="42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7" y="15"/>
                  </a:lnTo>
                  <a:lnTo>
                    <a:pt x="49" y="13"/>
                  </a:lnTo>
                  <a:lnTo>
                    <a:pt x="50" y="10"/>
                  </a:lnTo>
                  <a:lnTo>
                    <a:pt x="52" y="10"/>
                  </a:lnTo>
                  <a:lnTo>
                    <a:pt x="52" y="8"/>
                  </a:lnTo>
                  <a:lnTo>
                    <a:pt x="53" y="8"/>
                  </a:lnTo>
                  <a:lnTo>
                    <a:pt x="53" y="10"/>
                  </a:lnTo>
                  <a:lnTo>
                    <a:pt x="52" y="10"/>
                  </a:lnTo>
                  <a:lnTo>
                    <a:pt x="57" y="10"/>
                  </a:lnTo>
                  <a:lnTo>
                    <a:pt x="58" y="10"/>
                  </a:lnTo>
                  <a:lnTo>
                    <a:pt x="61" y="8"/>
                  </a:lnTo>
                  <a:lnTo>
                    <a:pt x="65" y="10"/>
                  </a:lnTo>
                  <a:lnTo>
                    <a:pt x="68" y="10"/>
                  </a:lnTo>
                  <a:lnTo>
                    <a:pt x="71" y="8"/>
                  </a:lnTo>
                  <a:lnTo>
                    <a:pt x="72" y="8"/>
                  </a:lnTo>
                  <a:lnTo>
                    <a:pt x="74" y="8"/>
                  </a:lnTo>
                  <a:lnTo>
                    <a:pt x="79" y="10"/>
                  </a:lnTo>
                  <a:lnTo>
                    <a:pt x="80" y="10"/>
                  </a:lnTo>
                  <a:lnTo>
                    <a:pt x="82" y="8"/>
                  </a:lnTo>
                  <a:lnTo>
                    <a:pt x="82" y="8"/>
                  </a:lnTo>
                  <a:lnTo>
                    <a:pt x="84" y="8"/>
                  </a:lnTo>
                  <a:lnTo>
                    <a:pt x="84" y="5"/>
                  </a:lnTo>
                  <a:lnTo>
                    <a:pt x="84" y="5"/>
                  </a:lnTo>
                  <a:lnTo>
                    <a:pt x="80" y="7"/>
                  </a:lnTo>
                  <a:lnTo>
                    <a:pt x="79" y="5"/>
                  </a:lnTo>
                  <a:lnTo>
                    <a:pt x="79" y="2"/>
                  </a:lnTo>
                  <a:lnTo>
                    <a:pt x="84" y="0"/>
                  </a:lnTo>
                  <a:lnTo>
                    <a:pt x="87" y="2"/>
                  </a:lnTo>
                  <a:lnTo>
                    <a:pt x="88" y="2"/>
                  </a:lnTo>
                  <a:lnTo>
                    <a:pt x="88" y="4"/>
                  </a:lnTo>
                  <a:lnTo>
                    <a:pt x="88" y="5"/>
                  </a:lnTo>
                  <a:lnTo>
                    <a:pt x="90" y="5"/>
                  </a:lnTo>
                  <a:lnTo>
                    <a:pt x="93" y="7"/>
                  </a:lnTo>
                  <a:lnTo>
                    <a:pt x="96" y="5"/>
                  </a:lnTo>
                  <a:lnTo>
                    <a:pt x="99" y="5"/>
                  </a:lnTo>
                  <a:lnTo>
                    <a:pt x="101" y="5"/>
                  </a:lnTo>
                  <a:lnTo>
                    <a:pt x="107" y="7"/>
                  </a:lnTo>
                  <a:lnTo>
                    <a:pt x="114" y="12"/>
                  </a:lnTo>
                  <a:lnTo>
                    <a:pt x="114" y="13"/>
                  </a:lnTo>
                  <a:lnTo>
                    <a:pt x="117" y="15"/>
                  </a:lnTo>
                  <a:lnTo>
                    <a:pt x="117" y="16"/>
                  </a:lnTo>
                  <a:lnTo>
                    <a:pt x="115" y="18"/>
                  </a:lnTo>
                  <a:lnTo>
                    <a:pt x="115" y="18"/>
                  </a:lnTo>
                  <a:lnTo>
                    <a:pt x="114" y="21"/>
                  </a:lnTo>
                  <a:lnTo>
                    <a:pt x="114" y="23"/>
                  </a:lnTo>
                  <a:lnTo>
                    <a:pt x="112" y="26"/>
                  </a:lnTo>
                  <a:lnTo>
                    <a:pt x="112" y="27"/>
                  </a:lnTo>
                  <a:lnTo>
                    <a:pt x="112" y="31"/>
                  </a:lnTo>
                  <a:lnTo>
                    <a:pt x="112" y="29"/>
                  </a:lnTo>
                  <a:lnTo>
                    <a:pt x="115" y="31"/>
                  </a:lnTo>
                  <a:lnTo>
                    <a:pt x="117" y="31"/>
                  </a:lnTo>
                  <a:lnTo>
                    <a:pt x="122" y="31"/>
                  </a:lnTo>
                  <a:lnTo>
                    <a:pt x="125" y="32"/>
                  </a:lnTo>
                  <a:lnTo>
                    <a:pt x="125" y="35"/>
                  </a:lnTo>
                  <a:lnTo>
                    <a:pt x="128" y="37"/>
                  </a:lnTo>
                  <a:lnTo>
                    <a:pt x="128" y="37"/>
                  </a:lnTo>
                  <a:lnTo>
                    <a:pt x="133" y="38"/>
                  </a:lnTo>
                  <a:lnTo>
                    <a:pt x="133" y="38"/>
                  </a:lnTo>
                  <a:lnTo>
                    <a:pt x="138" y="35"/>
                  </a:lnTo>
                  <a:lnTo>
                    <a:pt x="141" y="32"/>
                  </a:lnTo>
                  <a:lnTo>
                    <a:pt x="144" y="35"/>
                  </a:lnTo>
                  <a:lnTo>
                    <a:pt x="144" y="35"/>
                  </a:lnTo>
                  <a:lnTo>
                    <a:pt x="142" y="37"/>
                  </a:lnTo>
                  <a:lnTo>
                    <a:pt x="144" y="37"/>
                  </a:lnTo>
                  <a:lnTo>
                    <a:pt x="142" y="40"/>
                  </a:lnTo>
                  <a:lnTo>
                    <a:pt x="142" y="43"/>
                  </a:lnTo>
                  <a:lnTo>
                    <a:pt x="144" y="48"/>
                  </a:lnTo>
                  <a:lnTo>
                    <a:pt x="142" y="51"/>
                  </a:lnTo>
                  <a:lnTo>
                    <a:pt x="142" y="51"/>
                  </a:lnTo>
                  <a:lnTo>
                    <a:pt x="139" y="51"/>
                  </a:lnTo>
                  <a:lnTo>
                    <a:pt x="136" y="46"/>
                  </a:lnTo>
                  <a:lnTo>
                    <a:pt x="133" y="48"/>
                  </a:lnTo>
                  <a:lnTo>
                    <a:pt x="130" y="51"/>
                  </a:lnTo>
                  <a:lnTo>
                    <a:pt x="130" y="54"/>
                  </a:lnTo>
                  <a:lnTo>
                    <a:pt x="133" y="56"/>
                  </a:lnTo>
                  <a:lnTo>
                    <a:pt x="133" y="61"/>
                  </a:lnTo>
                  <a:lnTo>
                    <a:pt x="131" y="64"/>
                  </a:lnTo>
                  <a:lnTo>
                    <a:pt x="128" y="61"/>
                  </a:lnTo>
                  <a:lnTo>
                    <a:pt x="128" y="61"/>
                  </a:lnTo>
                  <a:lnTo>
                    <a:pt x="126" y="58"/>
                  </a:lnTo>
                  <a:lnTo>
                    <a:pt x="123" y="58"/>
                  </a:lnTo>
                  <a:lnTo>
                    <a:pt x="120" y="58"/>
                  </a:lnTo>
                  <a:lnTo>
                    <a:pt x="120" y="59"/>
                  </a:lnTo>
                  <a:lnTo>
                    <a:pt x="117" y="61"/>
                  </a:lnTo>
                  <a:lnTo>
                    <a:pt x="112" y="59"/>
                  </a:lnTo>
                  <a:lnTo>
                    <a:pt x="111" y="56"/>
                  </a:lnTo>
                  <a:lnTo>
                    <a:pt x="111" y="53"/>
                  </a:lnTo>
                  <a:lnTo>
                    <a:pt x="107" y="53"/>
                  </a:lnTo>
                  <a:lnTo>
                    <a:pt x="106" y="53"/>
                  </a:lnTo>
                  <a:lnTo>
                    <a:pt x="106" y="61"/>
                  </a:lnTo>
                  <a:lnTo>
                    <a:pt x="104" y="64"/>
                  </a:lnTo>
                  <a:lnTo>
                    <a:pt x="101" y="65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8" y="72"/>
                  </a:lnTo>
                  <a:lnTo>
                    <a:pt x="98" y="75"/>
                  </a:lnTo>
                  <a:lnTo>
                    <a:pt x="98" y="78"/>
                  </a:lnTo>
                  <a:lnTo>
                    <a:pt x="96" y="80"/>
                  </a:lnTo>
                  <a:lnTo>
                    <a:pt x="93" y="80"/>
                  </a:lnTo>
                  <a:lnTo>
                    <a:pt x="93" y="77"/>
                  </a:lnTo>
                  <a:lnTo>
                    <a:pt x="92" y="73"/>
                  </a:lnTo>
                  <a:lnTo>
                    <a:pt x="90" y="73"/>
                  </a:lnTo>
                  <a:lnTo>
                    <a:pt x="90" y="72"/>
                  </a:lnTo>
                  <a:lnTo>
                    <a:pt x="88" y="69"/>
                  </a:lnTo>
                  <a:lnTo>
                    <a:pt x="87" y="69"/>
                  </a:lnTo>
                  <a:lnTo>
                    <a:pt x="87" y="69"/>
                  </a:lnTo>
                  <a:lnTo>
                    <a:pt x="87" y="69"/>
                  </a:lnTo>
                  <a:lnTo>
                    <a:pt x="84" y="67"/>
                  </a:lnTo>
                  <a:lnTo>
                    <a:pt x="82" y="65"/>
                  </a:lnTo>
                  <a:lnTo>
                    <a:pt x="79" y="61"/>
                  </a:lnTo>
                  <a:lnTo>
                    <a:pt x="79" y="58"/>
                  </a:lnTo>
                  <a:lnTo>
                    <a:pt x="76" y="54"/>
                  </a:lnTo>
                  <a:lnTo>
                    <a:pt x="74" y="58"/>
                  </a:lnTo>
                  <a:lnTo>
                    <a:pt x="71" y="61"/>
                  </a:lnTo>
                  <a:lnTo>
                    <a:pt x="68" y="61"/>
                  </a:lnTo>
                  <a:lnTo>
                    <a:pt x="69" y="65"/>
                  </a:lnTo>
                  <a:lnTo>
                    <a:pt x="68" y="67"/>
                  </a:lnTo>
                  <a:lnTo>
                    <a:pt x="65" y="69"/>
                  </a:lnTo>
                  <a:lnTo>
                    <a:pt x="63" y="73"/>
                  </a:lnTo>
                  <a:lnTo>
                    <a:pt x="60" y="75"/>
                  </a:lnTo>
                  <a:lnTo>
                    <a:pt x="57" y="75"/>
                  </a:lnTo>
                  <a:lnTo>
                    <a:pt x="53" y="75"/>
                  </a:lnTo>
                  <a:lnTo>
                    <a:pt x="50" y="73"/>
                  </a:lnTo>
                  <a:lnTo>
                    <a:pt x="50" y="73"/>
                  </a:lnTo>
                  <a:lnTo>
                    <a:pt x="47" y="75"/>
                  </a:lnTo>
                  <a:lnTo>
                    <a:pt x="44" y="75"/>
                  </a:lnTo>
                  <a:lnTo>
                    <a:pt x="36" y="77"/>
                  </a:lnTo>
                  <a:lnTo>
                    <a:pt x="33" y="75"/>
                  </a:lnTo>
                  <a:lnTo>
                    <a:pt x="31" y="72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26" y="67"/>
                  </a:lnTo>
                  <a:lnTo>
                    <a:pt x="25" y="64"/>
                  </a:lnTo>
                  <a:lnTo>
                    <a:pt x="26" y="61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2" y="54"/>
                  </a:lnTo>
                  <a:lnTo>
                    <a:pt x="19" y="54"/>
                  </a:lnTo>
                  <a:lnTo>
                    <a:pt x="15" y="54"/>
                  </a:lnTo>
                  <a:lnTo>
                    <a:pt x="12" y="56"/>
                  </a:lnTo>
                  <a:lnTo>
                    <a:pt x="9" y="58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6" y="64"/>
                  </a:lnTo>
                  <a:lnTo>
                    <a:pt x="6" y="65"/>
                  </a:lnTo>
                  <a:lnTo>
                    <a:pt x="3" y="65"/>
                  </a:lnTo>
                  <a:lnTo>
                    <a:pt x="0" y="67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25" name="Freeform 548"/>
            <p:cNvSpPr>
              <a:spLocks/>
            </p:cNvSpPr>
            <p:nvPr/>
          </p:nvSpPr>
          <p:spPr bwMode="auto">
            <a:xfrm>
              <a:off x="5541422" y="2941876"/>
              <a:ext cx="207321" cy="257250"/>
            </a:xfrm>
            <a:custGeom>
              <a:avLst/>
              <a:gdLst>
                <a:gd name="T0" fmla="*/ 9 w 282"/>
                <a:gd name="T1" fmla="*/ 122 h 303"/>
                <a:gd name="T2" fmla="*/ 28 w 282"/>
                <a:gd name="T3" fmla="*/ 111 h 303"/>
                <a:gd name="T4" fmla="*/ 27 w 282"/>
                <a:gd name="T5" fmla="*/ 98 h 303"/>
                <a:gd name="T6" fmla="*/ 35 w 282"/>
                <a:gd name="T7" fmla="*/ 87 h 303"/>
                <a:gd name="T8" fmla="*/ 44 w 282"/>
                <a:gd name="T9" fmla="*/ 65 h 303"/>
                <a:gd name="T10" fmla="*/ 47 w 282"/>
                <a:gd name="T11" fmla="*/ 51 h 303"/>
                <a:gd name="T12" fmla="*/ 71 w 282"/>
                <a:gd name="T13" fmla="*/ 57 h 303"/>
                <a:gd name="T14" fmla="*/ 82 w 282"/>
                <a:gd name="T15" fmla="*/ 57 h 303"/>
                <a:gd name="T16" fmla="*/ 114 w 282"/>
                <a:gd name="T17" fmla="*/ 54 h 303"/>
                <a:gd name="T18" fmla="*/ 100 w 282"/>
                <a:gd name="T19" fmla="*/ 43 h 303"/>
                <a:gd name="T20" fmla="*/ 93 w 282"/>
                <a:gd name="T21" fmla="*/ 26 h 303"/>
                <a:gd name="T22" fmla="*/ 89 w 282"/>
                <a:gd name="T23" fmla="*/ 11 h 303"/>
                <a:gd name="T24" fmla="*/ 74 w 282"/>
                <a:gd name="T25" fmla="*/ 2 h 303"/>
                <a:gd name="T26" fmla="*/ 92 w 282"/>
                <a:gd name="T27" fmla="*/ 3 h 303"/>
                <a:gd name="T28" fmla="*/ 112 w 282"/>
                <a:gd name="T29" fmla="*/ 5 h 303"/>
                <a:gd name="T30" fmla="*/ 125 w 282"/>
                <a:gd name="T31" fmla="*/ 18 h 303"/>
                <a:gd name="T32" fmla="*/ 133 w 282"/>
                <a:gd name="T33" fmla="*/ 22 h 303"/>
                <a:gd name="T34" fmla="*/ 158 w 282"/>
                <a:gd name="T35" fmla="*/ 24 h 303"/>
                <a:gd name="T36" fmla="*/ 152 w 282"/>
                <a:gd name="T37" fmla="*/ 40 h 303"/>
                <a:gd name="T38" fmla="*/ 171 w 282"/>
                <a:gd name="T39" fmla="*/ 38 h 303"/>
                <a:gd name="T40" fmla="*/ 198 w 282"/>
                <a:gd name="T41" fmla="*/ 24 h 303"/>
                <a:gd name="T42" fmla="*/ 198 w 282"/>
                <a:gd name="T43" fmla="*/ 29 h 303"/>
                <a:gd name="T44" fmla="*/ 220 w 282"/>
                <a:gd name="T45" fmla="*/ 27 h 303"/>
                <a:gd name="T46" fmla="*/ 241 w 282"/>
                <a:gd name="T47" fmla="*/ 37 h 303"/>
                <a:gd name="T48" fmla="*/ 258 w 282"/>
                <a:gd name="T49" fmla="*/ 59 h 303"/>
                <a:gd name="T50" fmla="*/ 253 w 282"/>
                <a:gd name="T51" fmla="*/ 78 h 303"/>
                <a:gd name="T52" fmla="*/ 268 w 282"/>
                <a:gd name="T53" fmla="*/ 94 h 303"/>
                <a:gd name="T54" fmla="*/ 269 w 282"/>
                <a:gd name="T55" fmla="*/ 106 h 303"/>
                <a:gd name="T56" fmla="*/ 268 w 282"/>
                <a:gd name="T57" fmla="*/ 124 h 303"/>
                <a:gd name="T58" fmla="*/ 280 w 282"/>
                <a:gd name="T59" fmla="*/ 143 h 303"/>
                <a:gd name="T60" fmla="*/ 276 w 282"/>
                <a:gd name="T61" fmla="*/ 160 h 303"/>
                <a:gd name="T62" fmla="*/ 265 w 282"/>
                <a:gd name="T63" fmla="*/ 154 h 303"/>
                <a:gd name="T64" fmla="*/ 253 w 282"/>
                <a:gd name="T65" fmla="*/ 162 h 303"/>
                <a:gd name="T66" fmla="*/ 228 w 282"/>
                <a:gd name="T67" fmla="*/ 171 h 303"/>
                <a:gd name="T68" fmla="*/ 200 w 282"/>
                <a:gd name="T69" fmla="*/ 184 h 303"/>
                <a:gd name="T70" fmla="*/ 193 w 282"/>
                <a:gd name="T71" fmla="*/ 187 h 303"/>
                <a:gd name="T72" fmla="*/ 204 w 282"/>
                <a:gd name="T73" fmla="*/ 202 h 303"/>
                <a:gd name="T74" fmla="*/ 220 w 282"/>
                <a:gd name="T75" fmla="*/ 222 h 303"/>
                <a:gd name="T76" fmla="*/ 236 w 282"/>
                <a:gd name="T77" fmla="*/ 235 h 303"/>
                <a:gd name="T78" fmla="*/ 236 w 282"/>
                <a:gd name="T79" fmla="*/ 251 h 303"/>
                <a:gd name="T80" fmla="*/ 222 w 282"/>
                <a:gd name="T81" fmla="*/ 263 h 303"/>
                <a:gd name="T82" fmla="*/ 219 w 282"/>
                <a:gd name="T83" fmla="*/ 284 h 303"/>
                <a:gd name="T84" fmla="*/ 214 w 282"/>
                <a:gd name="T85" fmla="*/ 287 h 303"/>
                <a:gd name="T86" fmla="*/ 195 w 282"/>
                <a:gd name="T87" fmla="*/ 290 h 303"/>
                <a:gd name="T88" fmla="*/ 169 w 282"/>
                <a:gd name="T89" fmla="*/ 297 h 303"/>
                <a:gd name="T90" fmla="*/ 150 w 282"/>
                <a:gd name="T91" fmla="*/ 294 h 303"/>
                <a:gd name="T92" fmla="*/ 135 w 282"/>
                <a:gd name="T93" fmla="*/ 303 h 303"/>
                <a:gd name="T94" fmla="*/ 117 w 282"/>
                <a:gd name="T95" fmla="*/ 292 h 303"/>
                <a:gd name="T96" fmla="*/ 98 w 282"/>
                <a:gd name="T97" fmla="*/ 287 h 303"/>
                <a:gd name="T98" fmla="*/ 81 w 282"/>
                <a:gd name="T99" fmla="*/ 282 h 303"/>
                <a:gd name="T100" fmla="*/ 77 w 282"/>
                <a:gd name="T101" fmla="*/ 292 h 303"/>
                <a:gd name="T102" fmla="*/ 54 w 282"/>
                <a:gd name="T103" fmla="*/ 292 h 303"/>
                <a:gd name="T104" fmla="*/ 47 w 282"/>
                <a:gd name="T105" fmla="*/ 284 h 303"/>
                <a:gd name="T106" fmla="*/ 52 w 282"/>
                <a:gd name="T107" fmla="*/ 262 h 303"/>
                <a:gd name="T108" fmla="*/ 68 w 282"/>
                <a:gd name="T109" fmla="*/ 238 h 303"/>
                <a:gd name="T110" fmla="*/ 39 w 282"/>
                <a:gd name="T111" fmla="*/ 230 h 303"/>
                <a:gd name="T112" fmla="*/ 20 w 282"/>
                <a:gd name="T113" fmla="*/ 224 h 303"/>
                <a:gd name="T114" fmla="*/ 16 w 282"/>
                <a:gd name="T115" fmla="*/ 206 h 303"/>
                <a:gd name="T116" fmla="*/ 8 w 282"/>
                <a:gd name="T117" fmla="*/ 184 h 303"/>
                <a:gd name="T118" fmla="*/ 4 w 282"/>
                <a:gd name="T119" fmla="*/ 167 h 303"/>
                <a:gd name="T120" fmla="*/ 3 w 282"/>
                <a:gd name="T121" fmla="*/ 160 h 303"/>
                <a:gd name="T122" fmla="*/ 8 w 282"/>
                <a:gd name="T123" fmla="*/ 140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2" h="303">
                  <a:moveTo>
                    <a:pt x="0" y="127"/>
                  </a:moveTo>
                  <a:lnTo>
                    <a:pt x="1" y="125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3" y="122"/>
                  </a:lnTo>
                  <a:lnTo>
                    <a:pt x="6" y="122"/>
                  </a:lnTo>
                  <a:lnTo>
                    <a:pt x="6" y="121"/>
                  </a:lnTo>
                  <a:lnTo>
                    <a:pt x="6" y="121"/>
                  </a:lnTo>
                  <a:lnTo>
                    <a:pt x="9" y="122"/>
                  </a:lnTo>
                  <a:lnTo>
                    <a:pt x="12" y="122"/>
                  </a:lnTo>
                  <a:lnTo>
                    <a:pt x="16" y="122"/>
                  </a:lnTo>
                  <a:lnTo>
                    <a:pt x="19" y="121"/>
                  </a:lnTo>
                  <a:lnTo>
                    <a:pt x="22" y="119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5" y="116"/>
                  </a:lnTo>
                  <a:lnTo>
                    <a:pt x="25" y="113"/>
                  </a:lnTo>
                  <a:lnTo>
                    <a:pt x="28" y="111"/>
                  </a:lnTo>
                  <a:lnTo>
                    <a:pt x="31" y="108"/>
                  </a:lnTo>
                  <a:lnTo>
                    <a:pt x="31" y="108"/>
                  </a:lnTo>
                  <a:lnTo>
                    <a:pt x="35" y="108"/>
                  </a:lnTo>
                  <a:lnTo>
                    <a:pt x="35" y="105"/>
                  </a:lnTo>
                  <a:lnTo>
                    <a:pt x="35" y="105"/>
                  </a:lnTo>
                  <a:lnTo>
                    <a:pt x="35" y="103"/>
                  </a:lnTo>
                  <a:lnTo>
                    <a:pt x="35" y="100"/>
                  </a:lnTo>
                  <a:lnTo>
                    <a:pt x="31" y="100"/>
                  </a:lnTo>
                  <a:lnTo>
                    <a:pt x="27" y="98"/>
                  </a:lnTo>
                  <a:lnTo>
                    <a:pt x="23" y="97"/>
                  </a:lnTo>
                  <a:lnTo>
                    <a:pt x="23" y="95"/>
                  </a:lnTo>
                  <a:lnTo>
                    <a:pt x="25" y="92"/>
                  </a:lnTo>
                  <a:lnTo>
                    <a:pt x="25" y="91"/>
                  </a:lnTo>
                  <a:lnTo>
                    <a:pt x="28" y="91"/>
                  </a:lnTo>
                  <a:lnTo>
                    <a:pt x="31" y="91"/>
                  </a:lnTo>
                  <a:lnTo>
                    <a:pt x="35" y="91"/>
                  </a:lnTo>
                  <a:lnTo>
                    <a:pt x="35" y="87"/>
                  </a:lnTo>
                  <a:lnTo>
                    <a:pt x="35" y="87"/>
                  </a:lnTo>
                  <a:lnTo>
                    <a:pt x="36" y="84"/>
                  </a:lnTo>
                  <a:lnTo>
                    <a:pt x="36" y="83"/>
                  </a:lnTo>
                  <a:lnTo>
                    <a:pt x="38" y="81"/>
                  </a:lnTo>
                  <a:lnTo>
                    <a:pt x="39" y="78"/>
                  </a:lnTo>
                  <a:lnTo>
                    <a:pt x="39" y="70"/>
                  </a:lnTo>
                  <a:lnTo>
                    <a:pt x="39" y="70"/>
                  </a:lnTo>
                  <a:lnTo>
                    <a:pt x="39" y="68"/>
                  </a:lnTo>
                  <a:lnTo>
                    <a:pt x="41" y="65"/>
                  </a:lnTo>
                  <a:lnTo>
                    <a:pt x="44" y="65"/>
                  </a:lnTo>
                  <a:lnTo>
                    <a:pt x="43" y="65"/>
                  </a:lnTo>
                  <a:lnTo>
                    <a:pt x="39" y="64"/>
                  </a:lnTo>
                  <a:lnTo>
                    <a:pt x="36" y="64"/>
                  </a:lnTo>
                  <a:lnTo>
                    <a:pt x="35" y="60"/>
                  </a:lnTo>
                  <a:lnTo>
                    <a:pt x="36" y="57"/>
                  </a:lnTo>
                  <a:lnTo>
                    <a:pt x="38" y="54"/>
                  </a:lnTo>
                  <a:lnTo>
                    <a:pt x="41" y="51"/>
                  </a:lnTo>
                  <a:lnTo>
                    <a:pt x="44" y="51"/>
                  </a:lnTo>
                  <a:lnTo>
                    <a:pt x="47" y="51"/>
                  </a:lnTo>
                  <a:lnTo>
                    <a:pt x="50" y="51"/>
                  </a:lnTo>
                  <a:lnTo>
                    <a:pt x="57" y="49"/>
                  </a:lnTo>
                  <a:lnTo>
                    <a:pt x="62" y="49"/>
                  </a:lnTo>
                  <a:lnTo>
                    <a:pt x="65" y="51"/>
                  </a:lnTo>
                  <a:lnTo>
                    <a:pt x="69" y="56"/>
                  </a:lnTo>
                  <a:lnTo>
                    <a:pt x="66" y="59"/>
                  </a:lnTo>
                  <a:lnTo>
                    <a:pt x="69" y="60"/>
                  </a:lnTo>
                  <a:lnTo>
                    <a:pt x="73" y="60"/>
                  </a:lnTo>
                  <a:lnTo>
                    <a:pt x="71" y="57"/>
                  </a:lnTo>
                  <a:lnTo>
                    <a:pt x="73" y="54"/>
                  </a:lnTo>
                  <a:lnTo>
                    <a:pt x="76" y="54"/>
                  </a:lnTo>
                  <a:lnTo>
                    <a:pt x="81" y="57"/>
                  </a:lnTo>
                  <a:lnTo>
                    <a:pt x="79" y="60"/>
                  </a:lnTo>
                  <a:lnTo>
                    <a:pt x="79" y="62"/>
                  </a:lnTo>
                  <a:lnTo>
                    <a:pt x="79" y="64"/>
                  </a:lnTo>
                  <a:lnTo>
                    <a:pt x="79" y="60"/>
                  </a:lnTo>
                  <a:lnTo>
                    <a:pt x="81" y="57"/>
                  </a:lnTo>
                  <a:lnTo>
                    <a:pt x="82" y="57"/>
                  </a:lnTo>
                  <a:lnTo>
                    <a:pt x="81" y="52"/>
                  </a:lnTo>
                  <a:lnTo>
                    <a:pt x="79" y="49"/>
                  </a:lnTo>
                  <a:lnTo>
                    <a:pt x="81" y="46"/>
                  </a:lnTo>
                  <a:lnTo>
                    <a:pt x="84" y="43"/>
                  </a:lnTo>
                  <a:lnTo>
                    <a:pt x="93" y="45"/>
                  </a:lnTo>
                  <a:lnTo>
                    <a:pt x="101" y="43"/>
                  </a:lnTo>
                  <a:lnTo>
                    <a:pt x="108" y="48"/>
                  </a:lnTo>
                  <a:lnTo>
                    <a:pt x="111" y="51"/>
                  </a:lnTo>
                  <a:lnTo>
                    <a:pt x="114" y="54"/>
                  </a:lnTo>
                  <a:lnTo>
                    <a:pt x="120" y="57"/>
                  </a:lnTo>
                  <a:lnTo>
                    <a:pt x="120" y="56"/>
                  </a:lnTo>
                  <a:lnTo>
                    <a:pt x="117" y="56"/>
                  </a:lnTo>
                  <a:lnTo>
                    <a:pt x="114" y="54"/>
                  </a:lnTo>
                  <a:lnTo>
                    <a:pt x="111" y="51"/>
                  </a:lnTo>
                  <a:lnTo>
                    <a:pt x="108" y="48"/>
                  </a:lnTo>
                  <a:lnTo>
                    <a:pt x="106" y="45"/>
                  </a:lnTo>
                  <a:lnTo>
                    <a:pt x="103" y="43"/>
                  </a:lnTo>
                  <a:lnTo>
                    <a:pt x="100" y="43"/>
                  </a:lnTo>
                  <a:lnTo>
                    <a:pt x="98" y="43"/>
                  </a:lnTo>
                  <a:lnTo>
                    <a:pt x="95" y="43"/>
                  </a:lnTo>
                  <a:lnTo>
                    <a:pt x="92" y="40"/>
                  </a:lnTo>
                  <a:lnTo>
                    <a:pt x="92" y="37"/>
                  </a:lnTo>
                  <a:lnTo>
                    <a:pt x="95" y="37"/>
                  </a:lnTo>
                  <a:lnTo>
                    <a:pt x="93" y="33"/>
                  </a:lnTo>
                  <a:lnTo>
                    <a:pt x="90" y="32"/>
                  </a:lnTo>
                  <a:lnTo>
                    <a:pt x="90" y="29"/>
                  </a:lnTo>
                  <a:lnTo>
                    <a:pt x="93" y="26"/>
                  </a:lnTo>
                  <a:lnTo>
                    <a:pt x="90" y="27"/>
                  </a:lnTo>
                  <a:lnTo>
                    <a:pt x="87" y="27"/>
                  </a:lnTo>
                  <a:lnTo>
                    <a:pt x="82" y="26"/>
                  </a:lnTo>
                  <a:lnTo>
                    <a:pt x="85" y="22"/>
                  </a:lnTo>
                  <a:lnTo>
                    <a:pt x="90" y="22"/>
                  </a:lnTo>
                  <a:lnTo>
                    <a:pt x="93" y="21"/>
                  </a:lnTo>
                  <a:lnTo>
                    <a:pt x="95" y="18"/>
                  </a:lnTo>
                  <a:lnTo>
                    <a:pt x="92" y="14"/>
                  </a:lnTo>
                  <a:lnTo>
                    <a:pt x="89" y="11"/>
                  </a:lnTo>
                  <a:lnTo>
                    <a:pt x="85" y="8"/>
                  </a:lnTo>
                  <a:lnTo>
                    <a:pt x="85" y="5"/>
                  </a:lnTo>
                  <a:lnTo>
                    <a:pt x="85" y="3"/>
                  </a:lnTo>
                  <a:lnTo>
                    <a:pt x="81" y="3"/>
                  </a:lnTo>
                  <a:lnTo>
                    <a:pt x="77" y="5"/>
                  </a:lnTo>
                  <a:lnTo>
                    <a:pt x="74" y="5"/>
                  </a:lnTo>
                  <a:lnTo>
                    <a:pt x="74" y="8"/>
                  </a:lnTo>
                  <a:lnTo>
                    <a:pt x="74" y="5"/>
                  </a:lnTo>
                  <a:lnTo>
                    <a:pt x="74" y="2"/>
                  </a:lnTo>
                  <a:lnTo>
                    <a:pt x="76" y="0"/>
                  </a:lnTo>
                  <a:lnTo>
                    <a:pt x="77" y="0"/>
                  </a:lnTo>
                  <a:lnTo>
                    <a:pt x="76" y="3"/>
                  </a:lnTo>
                  <a:lnTo>
                    <a:pt x="79" y="3"/>
                  </a:lnTo>
                  <a:lnTo>
                    <a:pt x="82" y="3"/>
                  </a:lnTo>
                  <a:lnTo>
                    <a:pt x="85" y="3"/>
                  </a:lnTo>
                  <a:lnTo>
                    <a:pt x="87" y="3"/>
                  </a:lnTo>
                  <a:lnTo>
                    <a:pt x="90" y="3"/>
                  </a:lnTo>
                  <a:lnTo>
                    <a:pt x="92" y="3"/>
                  </a:lnTo>
                  <a:lnTo>
                    <a:pt x="92" y="3"/>
                  </a:lnTo>
                  <a:lnTo>
                    <a:pt x="96" y="3"/>
                  </a:lnTo>
                  <a:lnTo>
                    <a:pt x="100" y="5"/>
                  </a:lnTo>
                  <a:lnTo>
                    <a:pt x="103" y="6"/>
                  </a:lnTo>
                  <a:lnTo>
                    <a:pt x="104" y="6"/>
                  </a:lnTo>
                  <a:lnTo>
                    <a:pt x="106" y="6"/>
                  </a:lnTo>
                  <a:lnTo>
                    <a:pt x="108" y="6"/>
                  </a:lnTo>
                  <a:lnTo>
                    <a:pt x="109" y="6"/>
                  </a:lnTo>
                  <a:lnTo>
                    <a:pt x="112" y="5"/>
                  </a:lnTo>
                  <a:lnTo>
                    <a:pt x="115" y="6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25" y="11"/>
                  </a:lnTo>
                  <a:lnTo>
                    <a:pt x="125" y="11"/>
                  </a:lnTo>
                  <a:lnTo>
                    <a:pt x="123" y="13"/>
                  </a:lnTo>
                  <a:lnTo>
                    <a:pt x="125" y="13"/>
                  </a:lnTo>
                  <a:lnTo>
                    <a:pt x="127" y="14"/>
                  </a:lnTo>
                  <a:lnTo>
                    <a:pt x="125" y="18"/>
                  </a:lnTo>
                  <a:lnTo>
                    <a:pt x="125" y="18"/>
                  </a:lnTo>
                  <a:lnTo>
                    <a:pt x="122" y="21"/>
                  </a:lnTo>
                  <a:lnTo>
                    <a:pt x="125" y="19"/>
                  </a:lnTo>
                  <a:lnTo>
                    <a:pt x="128" y="19"/>
                  </a:lnTo>
                  <a:lnTo>
                    <a:pt x="131" y="21"/>
                  </a:lnTo>
                  <a:lnTo>
                    <a:pt x="130" y="24"/>
                  </a:lnTo>
                  <a:lnTo>
                    <a:pt x="130" y="24"/>
                  </a:lnTo>
                  <a:lnTo>
                    <a:pt x="130" y="26"/>
                  </a:lnTo>
                  <a:lnTo>
                    <a:pt x="133" y="22"/>
                  </a:lnTo>
                  <a:lnTo>
                    <a:pt x="133" y="22"/>
                  </a:lnTo>
                  <a:lnTo>
                    <a:pt x="138" y="22"/>
                  </a:lnTo>
                  <a:lnTo>
                    <a:pt x="141" y="24"/>
                  </a:lnTo>
                  <a:lnTo>
                    <a:pt x="144" y="24"/>
                  </a:lnTo>
                  <a:lnTo>
                    <a:pt x="147" y="26"/>
                  </a:lnTo>
                  <a:lnTo>
                    <a:pt x="150" y="26"/>
                  </a:lnTo>
                  <a:lnTo>
                    <a:pt x="155" y="24"/>
                  </a:lnTo>
                  <a:lnTo>
                    <a:pt x="158" y="24"/>
                  </a:lnTo>
                  <a:lnTo>
                    <a:pt x="158" y="24"/>
                  </a:lnTo>
                  <a:lnTo>
                    <a:pt x="158" y="24"/>
                  </a:lnTo>
                  <a:lnTo>
                    <a:pt x="158" y="24"/>
                  </a:lnTo>
                  <a:lnTo>
                    <a:pt x="158" y="26"/>
                  </a:lnTo>
                  <a:lnTo>
                    <a:pt x="158" y="29"/>
                  </a:lnTo>
                  <a:lnTo>
                    <a:pt x="155" y="32"/>
                  </a:lnTo>
                  <a:lnTo>
                    <a:pt x="152" y="35"/>
                  </a:lnTo>
                  <a:lnTo>
                    <a:pt x="149" y="38"/>
                  </a:lnTo>
                  <a:lnTo>
                    <a:pt x="152" y="40"/>
                  </a:lnTo>
                  <a:lnTo>
                    <a:pt x="152" y="40"/>
                  </a:lnTo>
                  <a:lnTo>
                    <a:pt x="152" y="40"/>
                  </a:lnTo>
                  <a:lnTo>
                    <a:pt x="154" y="40"/>
                  </a:lnTo>
                  <a:lnTo>
                    <a:pt x="157" y="38"/>
                  </a:lnTo>
                  <a:lnTo>
                    <a:pt x="160" y="38"/>
                  </a:lnTo>
                  <a:lnTo>
                    <a:pt x="163" y="40"/>
                  </a:lnTo>
                  <a:lnTo>
                    <a:pt x="166" y="40"/>
                  </a:lnTo>
                  <a:lnTo>
                    <a:pt x="169" y="43"/>
                  </a:lnTo>
                  <a:lnTo>
                    <a:pt x="169" y="41"/>
                  </a:lnTo>
                  <a:lnTo>
                    <a:pt x="171" y="38"/>
                  </a:lnTo>
                  <a:lnTo>
                    <a:pt x="174" y="35"/>
                  </a:lnTo>
                  <a:lnTo>
                    <a:pt x="171" y="37"/>
                  </a:lnTo>
                  <a:lnTo>
                    <a:pt x="179" y="32"/>
                  </a:lnTo>
                  <a:lnTo>
                    <a:pt x="188" y="30"/>
                  </a:lnTo>
                  <a:lnTo>
                    <a:pt x="190" y="35"/>
                  </a:lnTo>
                  <a:lnTo>
                    <a:pt x="188" y="32"/>
                  </a:lnTo>
                  <a:lnTo>
                    <a:pt x="193" y="29"/>
                  </a:lnTo>
                  <a:lnTo>
                    <a:pt x="196" y="27"/>
                  </a:lnTo>
                  <a:lnTo>
                    <a:pt x="198" y="24"/>
                  </a:lnTo>
                  <a:lnTo>
                    <a:pt x="201" y="21"/>
                  </a:lnTo>
                  <a:lnTo>
                    <a:pt x="204" y="21"/>
                  </a:lnTo>
                  <a:lnTo>
                    <a:pt x="207" y="21"/>
                  </a:lnTo>
                  <a:lnTo>
                    <a:pt x="211" y="22"/>
                  </a:lnTo>
                  <a:lnTo>
                    <a:pt x="207" y="22"/>
                  </a:lnTo>
                  <a:lnTo>
                    <a:pt x="204" y="22"/>
                  </a:lnTo>
                  <a:lnTo>
                    <a:pt x="201" y="24"/>
                  </a:lnTo>
                  <a:lnTo>
                    <a:pt x="198" y="26"/>
                  </a:lnTo>
                  <a:lnTo>
                    <a:pt x="198" y="29"/>
                  </a:lnTo>
                  <a:lnTo>
                    <a:pt x="201" y="26"/>
                  </a:lnTo>
                  <a:lnTo>
                    <a:pt x="203" y="24"/>
                  </a:lnTo>
                  <a:lnTo>
                    <a:pt x="206" y="22"/>
                  </a:lnTo>
                  <a:lnTo>
                    <a:pt x="209" y="24"/>
                  </a:lnTo>
                  <a:lnTo>
                    <a:pt x="214" y="22"/>
                  </a:lnTo>
                  <a:lnTo>
                    <a:pt x="217" y="22"/>
                  </a:lnTo>
                  <a:lnTo>
                    <a:pt x="219" y="26"/>
                  </a:lnTo>
                  <a:lnTo>
                    <a:pt x="220" y="26"/>
                  </a:lnTo>
                  <a:lnTo>
                    <a:pt x="220" y="27"/>
                  </a:lnTo>
                  <a:lnTo>
                    <a:pt x="222" y="29"/>
                  </a:lnTo>
                  <a:lnTo>
                    <a:pt x="225" y="29"/>
                  </a:lnTo>
                  <a:lnTo>
                    <a:pt x="228" y="33"/>
                  </a:lnTo>
                  <a:lnTo>
                    <a:pt x="231" y="35"/>
                  </a:lnTo>
                  <a:lnTo>
                    <a:pt x="231" y="33"/>
                  </a:lnTo>
                  <a:lnTo>
                    <a:pt x="234" y="33"/>
                  </a:lnTo>
                  <a:lnTo>
                    <a:pt x="238" y="32"/>
                  </a:lnTo>
                  <a:lnTo>
                    <a:pt x="239" y="33"/>
                  </a:lnTo>
                  <a:lnTo>
                    <a:pt x="241" y="37"/>
                  </a:lnTo>
                  <a:lnTo>
                    <a:pt x="242" y="40"/>
                  </a:lnTo>
                  <a:lnTo>
                    <a:pt x="242" y="43"/>
                  </a:lnTo>
                  <a:lnTo>
                    <a:pt x="241" y="43"/>
                  </a:lnTo>
                  <a:lnTo>
                    <a:pt x="242" y="45"/>
                  </a:lnTo>
                  <a:lnTo>
                    <a:pt x="246" y="46"/>
                  </a:lnTo>
                  <a:lnTo>
                    <a:pt x="249" y="48"/>
                  </a:lnTo>
                  <a:lnTo>
                    <a:pt x="252" y="48"/>
                  </a:lnTo>
                  <a:lnTo>
                    <a:pt x="255" y="49"/>
                  </a:lnTo>
                  <a:lnTo>
                    <a:pt x="258" y="59"/>
                  </a:lnTo>
                  <a:lnTo>
                    <a:pt x="261" y="67"/>
                  </a:lnTo>
                  <a:lnTo>
                    <a:pt x="260" y="72"/>
                  </a:lnTo>
                  <a:lnTo>
                    <a:pt x="260" y="72"/>
                  </a:lnTo>
                  <a:lnTo>
                    <a:pt x="260" y="73"/>
                  </a:lnTo>
                  <a:lnTo>
                    <a:pt x="260" y="75"/>
                  </a:lnTo>
                  <a:lnTo>
                    <a:pt x="258" y="76"/>
                  </a:lnTo>
                  <a:lnTo>
                    <a:pt x="258" y="76"/>
                  </a:lnTo>
                  <a:lnTo>
                    <a:pt x="257" y="76"/>
                  </a:lnTo>
                  <a:lnTo>
                    <a:pt x="253" y="78"/>
                  </a:lnTo>
                  <a:lnTo>
                    <a:pt x="253" y="81"/>
                  </a:lnTo>
                  <a:lnTo>
                    <a:pt x="253" y="83"/>
                  </a:lnTo>
                  <a:lnTo>
                    <a:pt x="253" y="83"/>
                  </a:lnTo>
                  <a:lnTo>
                    <a:pt x="253" y="83"/>
                  </a:lnTo>
                  <a:lnTo>
                    <a:pt x="255" y="84"/>
                  </a:lnTo>
                  <a:lnTo>
                    <a:pt x="258" y="87"/>
                  </a:lnTo>
                  <a:lnTo>
                    <a:pt x="261" y="91"/>
                  </a:lnTo>
                  <a:lnTo>
                    <a:pt x="263" y="91"/>
                  </a:lnTo>
                  <a:lnTo>
                    <a:pt x="268" y="94"/>
                  </a:lnTo>
                  <a:lnTo>
                    <a:pt x="268" y="94"/>
                  </a:lnTo>
                  <a:lnTo>
                    <a:pt x="268" y="94"/>
                  </a:lnTo>
                  <a:lnTo>
                    <a:pt x="268" y="97"/>
                  </a:lnTo>
                  <a:lnTo>
                    <a:pt x="266" y="98"/>
                  </a:lnTo>
                  <a:lnTo>
                    <a:pt x="266" y="103"/>
                  </a:lnTo>
                  <a:lnTo>
                    <a:pt x="266" y="103"/>
                  </a:lnTo>
                  <a:lnTo>
                    <a:pt x="266" y="105"/>
                  </a:lnTo>
                  <a:lnTo>
                    <a:pt x="266" y="105"/>
                  </a:lnTo>
                  <a:lnTo>
                    <a:pt x="269" y="106"/>
                  </a:lnTo>
                  <a:lnTo>
                    <a:pt x="271" y="108"/>
                  </a:lnTo>
                  <a:lnTo>
                    <a:pt x="269" y="111"/>
                  </a:lnTo>
                  <a:lnTo>
                    <a:pt x="272" y="114"/>
                  </a:lnTo>
                  <a:lnTo>
                    <a:pt x="271" y="118"/>
                  </a:lnTo>
                  <a:lnTo>
                    <a:pt x="271" y="118"/>
                  </a:lnTo>
                  <a:lnTo>
                    <a:pt x="271" y="118"/>
                  </a:lnTo>
                  <a:lnTo>
                    <a:pt x="271" y="119"/>
                  </a:lnTo>
                  <a:lnTo>
                    <a:pt x="271" y="119"/>
                  </a:lnTo>
                  <a:lnTo>
                    <a:pt x="268" y="124"/>
                  </a:lnTo>
                  <a:lnTo>
                    <a:pt x="269" y="127"/>
                  </a:lnTo>
                  <a:lnTo>
                    <a:pt x="272" y="129"/>
                  </a:lnTo>
                  <a:lnTo>
                    <a:pt x="272" y="132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6" y="137"/>
                  </a:lnTo>
                  <a:lnTo>
                    <a:pt x="279" y="140"/>
                  </a:lnTo>
                  <a:lnTo>
                    <a:pt x="280" y="141"/>
                  </a:lnTo>
                  <a:lnTo>
                    <a:pt x="280" y="143"/>
                  </a:lnTo>
                  <a:lnTo>
                    <a:pt x="282" y="144"/>
                  </a:lnTo>
                  <a:lnTo>
                    <a:pt x="282" y="146"/>
                  </a:lnTo>
                  <a:lnTo>
                    <a:pt x="280" y="149"/>
                  </a:lnTo>
                  <a:lnTo>
                    <a:pt x="280" y="151"/>
                  </a:lnTo>
                  <a:lnTo>
                    <a:pt x="279" y="154"/>
                  </a:lnTo>
                  <a:lnTo>
                    <a:pt x="279" y="154"/>
                  </a:lnTo>
                  <a:lnTo>
                    <a:pt x="277" y="157"/>
                  </a:lnTo>
                  <a:lnTo>
                    <a:pt x="276" y="160"/>
                  </a:lnTo>
                  <a:lnTo>
                    <a:pt x="276" y="160"/>
                  </a:lnTo>
                  <a:lnTo>
                    <a:pt x="276" y="160"/>
                  </a:lnTo>
                  <a:lnTo>
                    <a:pt x="276" y="162"/>
                  </a:lnTo>
                  <a:lnTo>
                    <a:pt x="272" y="162"/>
                  </a:lnTo>
                  <a:lnTo>
                    <a:pt x="269" y="160"/>
                  </a:lnTo>
                  <a:lnTo>
                    <a:pt x="269" y="159"/>
                  </a:lnTo>
                  <a:lnTo>
                    <a:pt x="268" y="156"/>
                  </a:lnTo>
                  <a:lnTo>
                    <a:pt x="266" y="154"/>
                  </a:lnTo>
                  <a:lnTo>
                    <a:pt x="266" y="154"/>
                  </a:lnTo>
                  <a:lnTo>
                    <a:pt x="265" y="154"/>
                  </a:lnTo>
                  <a:lnTo>
                    <a:pt x="265" y="154"/>
                  </a:lnTo>
                  <a:lnTo>
                    <a:pt x="261" y="154"/>
                  </a:lnTo>
                  <a:lnTo>
                    <a:pt x="258" y="156"/>
                  </a:lnTo>
                  <a:lnTo>
                    <a:pt x="261" y="159"/>
                  </a:lnTo>
                  <a:lnTo>
                    <a:pt x="258" y="160"/>
                  </a:lnTo>
                  <a:lnTo>
                    <a:pt x="258" y="160"/>
                  </a:lnTo>
                  <a:lnTo>
                    <a:pt x="257" y="160"/>
                  </a:lnTo>
                  <a:lnTo>
                    <a:pt x="257" y="162"/>
                  </a:lnTo>
                  <a:lnTo>
                    <a:pt x="253" y="162"/>
                  </a:lnTo>
                  <a:lnTo>
                    <a:pt x="250" y="163"/>
                  </a:lnTo>
                  <a:lnTo>
                    <a:pt x="247" y="165"/>
                  </a:lnTo>
                  <a:lnTo>
                    <a:pt x="244" y="167"/>
                  </a:lnTo>
                  <a:lnTo>
                    <a:pt x="242" y="167"/>
                  </a:lnTo>
                  <a:lnTo>
                    <a:pt x="239" y="167"/>
                  </a:lnTo>
                  <a:lnTo>
                    <a:pt x="239" y="167"/>
                  </a:lnTo>
                  <a:lnTo>
                    <a:pt x="236" y="170"/>
                  </a:lnTo>
                  <a:lnTo>
                    <a:pt x="231" y="171"/>
                  </a:lnTo>
                  <a:lnTo>
                    <a:pt x="228" y="171"/>
                  </a:lnTo>
                  <a:lnTo>
                    <a:pt x="227" y="173"/>
                  </a:lnTo>
                  <a:lnTo>
                    <a:pt x="222" y="175"/>
                  </a:lnTo>
                  <a:lnTo>
                    <a:pt x="219" y="178"/>
                  </a:lnTo>
                  <a:lnTo>
                    <a:pt x="217" y="179"/>
                  </a:lnTo>
                  <a:lnTo>
                    <a:pt x="214" y="178"/>
                  </a:lnTo>
                  <a:lnTo>
                    <a:pt x="211" y="179"/>
                  </a:lnTo>
                  <a:lnTo>
                    <a:pt x="207" y="179"/>
                  </a:lnTo>
                  <a:lnTo>
                    <a:pt x="203" y="179"/>
                  </a:lnTo>
                  <a:lnTo>
                    <a:pt x="200" y="184"/>
                  </a:lnTo>
                  <a:lnTo>
                    <a:pt x="198" y="187"/>
                  </a:lnTo>
                  <a:lnTo>
                    <a:pt x="198" y="187"/>
                  </a:lnTo>
                  <a:lnTo>
                    <a:pt x="198" y="189"/>
                  </a:lnTo>
                  <a:lnTo>
                    <a:pt x="198" y="189"/>
                  </a:lnTo>
                  <a:lnTo>
                    <a:pt x="196" y="184"/>
                  </a:lnTo>
                  <a:lnTo>
                    <a:pt x="193" y="183"/>
                  </a:lnTo>
                  <a:lnTo>
                    <a:pt x="190" y="183"/>
                  </a:lnTo>
                  <a:lnTo>
                    <a:pt x="192" y="186"/>
                  </a:lnTo>
                  <a:lnTo>
                    <a:pt x="193" y="187"/>
                  </a:lnTo>
                  <a:lnTo>
                    <a:pt x="195" y="190"/>
                  </a:lnTo>
                  <a:lnTo>
                    <a:pt x="195" y="190"/>
                  </a:lnTo>
                  <a:lnTo>
                    <a:pt x="195" y="192"/>
                  </a:lnTo>
                  <a:lnTo>
                    <a:pt x="196" y="192"/>
                  </a:lnTo>
                  <a:lnTo>
                    <a:pt x="200" y="194"/>
                  </a:lnTo>
                  <a:lnTo>
                    <a:pt x="201" y="195"/>
                  </a:lnTo>
                  <a:lnTo>
                    <a:pt x="204" y="198"/>
                  </a:lnTo>
                  <a:lnTo>
                    <a:pt x="204" y="202"/>
                  </a:lnTo>
                  <a:lnTo>
                    <a:pt x="204" y="202"/>
                  </a:lnTo>
                  <a:lnTo>
                    <a:pt x="203" y="202"/>
                  </a:lnTo>
                  <a:lnTo>
                    <a:pt x="201" y="205"/>
                  </a:lnTo>
                  <a:lnTo>
                    <a:pt x="204" y="208"/>
                  </a:lnTo>
                  <a:lnTo>
                    <a:pt x="204" y="209"/>
                  </a:lnTo>
                  <a:lnTo>
                    <a:pt x="209" y="216"/>
                  </a:lnTo>
                  <a:lnTo>
                    <a:pt x="211" y="219"/>
                  </a:lnTo>
                  <a:lnTo>
                    <a:pt x="214" y="221"/>
                  </a:lnTo>
                  <a:lnTo>
                    <a:pt x="215" y="222"/>
                  </a:lnTo>
                  <a:lnTo>
                    <a:pt x="220" y="222"/>
                  </a:lnTo>
                  <a:lnTo>
                    <a:pt x="222" y="225"/>
                  </a:lnTo>
                  <a:lnTo>
                    <a:pt x="225" y="230"/>
                  </a:lnTo>
                  <a:lnTo>
                    <a:pt x="227" y="230"/>
                  </a:lnTo>
                  <a:lnTo>
                    <a:pt x="227" y="230"/>
                  </a:lnTo>
                  <a:lnTo>
                    <a:pt x="230" y="230"/>
                  </a:lnTo>
                  <a:lnTo>
                    <a:pt x="233" y="235"/>
                  </a:lnTo>
                  <a:lnTo>
                    <a:pt x="233" y="235"/>
                  </a:lnTo>
                  <a:lnTo>
                    <a:pt x="233" y="235"/>
                  </a:lnTo>
                  <a:lnTo>
                    <a:pt x="236" y="235"/>
                  </a:lnTo>
                  <a:lnTo>
                    <a:pt x="239" y="236"/>
                  </a:lnTo>
                  <a:lnTo>
                    <a:pt x="242" y="240"/>
                  </a:lnTo>
                  <a:lnTo>
                    <a:pt x="246" y="241"/>
                  </a:lnTo>
                  <a:lnTo>
                    <a:pt x="247" y="244"/>
                  </a:lnTo>
                  <a:lnTo>
                    <a:pt x="246" y="248"/>
                  </a:lnTo>
                  <a:lnTo>
                    <a:pt x="246" y="251"/>
                  </a:lnTo>
                  <a:lnTo>
                    <a:pt x="244" y="254"/>
                  </a:lnTo>
                  <a:lnTo>
                    <a:pt x="239" y="252"/>
                  </a:lnTo>
                  <a:lnTo>
                    <a:pt x="236" y="251"/>
                  </a:lnTo>
                  <a:lnTo>
                    <a:pt x="236" y="251"/>
                  </a:lnTo>
                  <a:lnTo>
                    <a:pt x="234" y="252"/>
                  </a:lnTo>
                  <a:lnTo>
                    <a:pt x="234" y="252"/>
                  </a:lnTo>
                  <a:lnTo>
                    <a:pt x="234" y="255"/>
                  </a:lnTo>
                  <a:lnTo>
                    <a:pt x="234" y="259"/>
                  </a:lnTo>
                  <a:lnTo>
                    <a:pt x="233" y="260"/>
                  </a:lnTo>
                  <a:lnTo>
                    <a:pt x="230" y="262"/>
                  </a:lnTo>
                  <a:lnTo>
                    <a:pt x="227" y="263"/>
                  </a:lnTo>
                  <a:lnTo>
                    <a:pt x="222" y="263"/>
                  </a:lnTo>
                  <a:lnTo>
                    <a:pt x="222" y="263"/>
                  </a:lnTo>
                  <a:lnTo>
                    <a:pt x="215" y="268"/>
                  </a:lnTo>
                  <a:lnTo>
                    <a:pt x="214" y="271"/>
                  </a:lnTo>
                  <a:lnTo>
                    <a:pt x="217" y="274"/>
                  </a:lnTo>
                  <a:lnTo>
                    <a:pt x="219" y="278"/>
                  </a:lnTo>
                  <a:lnTo>
                    <a:pt x="222" y="281"/>
                  </a:lnTo>
                  <a:lnTo>
                    <a:pt x="220" y="281"/>
                  </a:lnTo>
                  <a:lnTo>
                    <a:pt x="220" y="281"/>
                  </a:lnTo>
                  <a:lnTo>
                    <a:pt x="219" y="284"/>
                  </a:lnTo>
                  <a:lnTo>
                    <a:pt x="220" y="286"/>
                  </a:lnTo>
                  <a:lnTo>
                    <a:pt x="223" y="287"/>
                  </a:lnTo>
                  <a:lnTo>
                    <a:pt x="222" y="290"/>
                  </a:lnTo>
                  <a:lnTo>
                    <a:pt x="223" y="295"/>
                  </a:lnTo>
                  <a:lnTo>
                    <a:pt x="222" y="295"/>
                  </a:lnTo>
                  <a:lnTo>
                    <a:pt x="219" y="295"/>
                  </a:lnTo>
                  <a:lnTo>
                    <a:pt x="217" y="294"/>
                  </a:lnTo>
                  <a:lnTo>
                    <a:pt x="214" y="290"/>
                  </a:lnTo>
                  <a:lnTo>
                    <a:pt x="214" y="287"/>
                  </a:lnTo>
                  <a:lnTo>
                    <a:pt x="211" y="287"/>
                  </a:lnTo>
                  <a:lnTo>
                    <a:pt x="207" y="289"/>
                  </a:lnTo>
                  <a:lnTo>
                    <a:pt x="204" y="289"/>
                  </a:lnTo>
                  <a:lnTo>
                    <a:pt x="201" y="287"/>
                  </a:lnTo>
                  <a:lnTo>
                    <a:pt x="198" y="287"/>
                  </a:lnTo>
                  <a:lnTo>
                    <a:pt x="195" y="287"/>
                  </a:lnTo>
                  <a:lnTo>
                    <a:pt x="195" y="290"/>
                  </a:lnTo>
                  <a:lnTo>
                    <a:pt x="195" y="290"/>
                  </a:lnTo>
                  <a:lnTo>
                    <a:pt x="195" y="290"/>
                  </a:lnTo>
                  <a:lnTo>
                    <a:pt x="195" y="290"/>
                  </a:lnTo>
                  <a:lnTo>
                    <a:pt x="192" y="290"/>
                  </a:lnTo>
                  <a:lnTo>
                    <a:pt x="188" y="290"/>
                  </a:lnTo>
                  <a:lnTo>
                    <a:pt x="184" y="292"/>
                  </a:lnTo>
                  <a:lnTo>
                    <a:pt x="181" y="290"/>
                  </a:lnTo>
                  <a:lnTo>
                    <a:pt x="177" y="292"/>
                  </a:lnTo>
                  <a:lnTo>
                    <a:pt x="174" y="294"/>
                  </a:lnTo>
                  <a:lnTo>
                    <a:pt x="171" y="295"/>
                  </a:lnTo>
                  <a:lnTo>
                    <a:pt x="169" y="297"/>
                  </a:lnTo>
                  <a:lnTo>
                    <a:pt x="166" y="298"/>
                  </a:lnTo>
                  <a:lnTo>
                    <a:pt x="165" y="298"/>
                  </a:lnTo>
                  <a:lnTo>
                    <a:pt x="161" y="298"/>
                  </a:lnTo>
                  <a:lnTo>
                    <a:pt x="158" y="298"/>
                  </a:lnTo>
                  <a:lnTo>
                    <a:pt x="155" y="295"/>
                  </a:lnTo>
                  <a:lnTo>
                    <a:pt x="155" y="295"/>
                  </a:lnTo>
                  <a:lnTo>
                    <a:pt x="154" y="295"/>
                  </a:lnTo>
                  <a:lnTo>
                    <a:pt x="155" y="294"/>
                  </a:lnTo>
                  <a:lnTo>
                    <a:pt x="150" y="294"/>
                  </a:lnTo>
                  <a:lnTo>
                    <a:pt x="147" y="292"/>
                  </a:lnTo>
                  <a:lnTo>
                    <a:pt x="147" y="292"/>
                  </a:lnTo>
                  <a:lnTo>
                    <a:pt x="144" y="292"/>
                  </a:lnTo>
                  <a:lnTo>
                    <a:pt x="144" y="294"/>
                  </a:lnTo>
                  <a:lnTo>
                    <a:pt x="139" y="290"/>
                  </a:lnTo>
                  <a:lnTo>
                    <a:pt x="139" y="295"/>
                  </a:lnTo>
                  <a:lnTo>
                    <a:pt x="139" y="297"/>
                  </a:lnTo>
                  <a:lnTo>
                    <a:pt x="138" y="300"/>
                  </a:lnTo>
                  <a:lnTo>
                    <a:pt x="135" y="303"/>
                  </a:lnTo>
                  <a:lnTo>
                    <a:pt x="131" y="303"/>
                  </a:lnTo>
                  <a:lnTo>
                    <a:pt x="131" y="303"/>
                  </a:lnTo>
                  <a:lnTo>
                    <a:pt x="131" y="300"/>
                  </a:lnTo>
                  <a:lnTo>
                    <a:pt x="128" y="298"/>
                  </a:lnTo>
                  <a:lnTo>
                    <a:pt x="125" y="295"/>
                  </a:lnTo>
                  <a:lnTo>
                    <a:pt x="125" y="295"/>
                  </a:lnTo>
                  <a:lnTo>
                    <a:pt x="123" y="292"/>
                  </a:lnTo>
                  <a:lnTo>
                    <a:pt x="120" y="294"/>
                  </a:lnTo>
                  <a:lnTo>
                    <a:pt x="117" y="292"/>
                  </a:lnTo>
                  <a:lnTo>
                    <a:pt x="117" y="292"/>
                  </a:lnTo>
                  <a:lnTo>
                    <a:pt x="117" y="294"/>
                  </a:lnTo>
                  <a:lnTo>
                    <a:pt x="115" y="294"/>
                  </a:lnTo>
                  <a:lnTo>
                    <a:pt x="111" y="294"/>
                  </a:lnTo>
                  <a:lnTo>
                    <a:pt x="111" y="292"/>
                  </a:lnTo>
                  <a:lnTo>
                    <a:pt x="106" y="290"/>
                  </a:lnTo>
                  <a:lnTo>
                    <a:pt x="103" y="289"/>
                  </a:lnTo>
                  <a:lnTo>
                    <a:pt x="100" y="287"/>
                  </a:lnTo>
                  <a:lnTo>
                    <a:pt x="98" y="287"/>
                  </a:lnTo>
                  <a:lnTo>
                    <a:pt x="96" y="287"/>
                  </a:lnTo>
                  <a:lnTo>
                    <a:pt x="93" y="287"/>
                  </a:lnTo>
                  <a:lnTo>
                    <a:pt x="90" y="289"/>
                  </a:lnTo>
                  <a:lnTo>
                    <a:pt x="87" y="287"/>
                  </a:lnTo>
                  <a:lnTo>
                    <a:pt x="85" y="287"/>
                  </a:lnTo>
                  <a:lnTo>
                    <a:pt x="85" y="286"/>
                  </a:lnTo>
                  <a:lnTo>
                    <a:pt x="85" y="284"/>
                  </a:lnTo>
                  <a:lnTo>
                    <a:pt x="84" y="284"/>
                  </a:lnTo>
                  <a:lnTo>
                    <a:pt x="81" y="282"/>
                  </a:lnTo>
                  <a:lnTo>
                    <a:pt x="76" y="284"/>
                  </a:lnTo>
                  <a:lnTo>
                    <a:pt x="76" y="287"/>
                  </a:lnTo>
                  <a:lnTo>
                    <a:pt x="77" y="289"/>
                  </a:lnTo>
                  <a:lnTo>
                    <a:pt x="81" y="287"/>
                  </a:lnTo>
                  <a:lnTo>
                    <a:pt x="81" y="287"/>
                  </a:lnTo>
                  <a:lnTo>
                    <a:pt x="81" y="290"/>
                  </a:lnTo>
                  <a:lnTo>
                    <a:pt x="79" y="290"/>
                  </a:lnTo>
                  <a:lnTo>
                    <a:pt x="79" y="290"/>
                  </a:lnTo>
                  <a:lnTo>
                    <a:pt x="77" y="292"/>
                  </a:lnTo>
                  <a:lnTo>
                    <a:pt x="76" y="292"/>
                  </a:lnTo>
                  <a:lnTo>
                    <a:pt x="71" y="290"/>
                  </a:lnTo>
                  <a:lnTo>
                    <a:pt x="69" y="290"/>
                  </a:lnTo>
                  <a:lnTo>
                    <a:pt x="68" y="290"/>
                  </a:lnTo>
                  <a:lnTo>
                    <a:pt x="65" y="292"/>
                  </a:lnTo>
                  <a:lnTo>
                    <a:pt x="62" y="292"/>
                  </a:lnTo>
                  <a:lnTo>
                    <a:pt x="58" y="290"/>
                  </a:lnTo>
                  <a:lnTo>
                    <a:pt x="55" y="292"/>
                  </a:lnTo>
                  <a:lnTo>
                    <a:pt x="54" y="292"/>
                  </a:lnTo>
                  <a:lnTo>
                    <a:pt x="49" y="292"/>
                  </a:lnTo>
                  <a:lnTo>
                    <a:pt x="50" y="292"/>
                  </a:lnTo>
                  <a:lnTo>
                    <a:pt x="50" y="290"/>
                  </a:lnTo>
                  <a:lnTo>
                    <a:pt x="49" y="290"/>
                  </a:lnTo>
                  <a:lnTo>
                    <a:pt x="49" y="292"/>
                  </a:lnTo>
                  <a:lnTo>
                    <a:pt x="49" y="290"/>
                  </a:lnTo>
                  <a:lnTo>
                    <a:pt x="49" y="290"/>
                  </a:lnTo>
                  <a:lnTo>
                    <a:pt x="46" y="287"/>
                  </a:lnTo>
                  <a:lnTo>
                    <a:pt x="47" y="284"/>
                  </a:lnTo>
                  <a:lnTo>
                    <a:pt x="47" y="282"/>
                  </a:lnTo>
                  <a:lnTo>
                    <a:pt x="50" y="274"/>
                  </a:lnTo>
                  <a:lnTo>
                    <a:pt x="49" y="274"/>
                  </a:lnTo>
                  <a:lnTo>
                    <a:pt x="49" y="273"/>
                  </a:lnTo>
                  <a:lnTo>
                    <a:pt x="49" y="273"/>
                  </a:lnTo>
                  <a:lnTo>
                    <a:pt x="49" y="270"/>
                  </a:lnTo>
                  <a:lnTo>
                    <a:pt x="49" y="268"/>
                  </a:lnTo>
                  <a:lnTo>
                    <a:pt x="50" y="267"/>
                  </a:lnTo>
                  <a:lnTo>
                    <a:pt x="52" y="262"/>
                  </a:lnTo>
                  <a:lnTo>
                    <a:pt x="54" y="260"/>
                  </a:lnTo>
                  <a:lnTo>
                    <a:pt x="54" y="257"/>
                  </a:lnTo>
                  <a:lnTo>
                    <a:pt x="55" y="255"/>
                  </a:lnTo>
                  <a:lnTo>
                    <a:pt x="55" y="252"/>
                  </a:lnTo>
                  <a:lnTo>
                    <a:pt x="55" y="251"/>
                  </a:lnTo>
                  <a:lnTo>
                    <a:pt x="58" y="248"/>
                  </a:lnTo>
                  <a:lnTo>
                    <a:pt x="63" y="244"/>
                  </a:lnTo>
                  <a:lnTo>
                    <a:pt x="65" y="241"/>
                  </a:lnTo>
                  <a:lnTo>
                    <a:pt x="68" y="238"/>
                  </a:lnTo>
                  <a:lnTo>
                    <a:pt x="69" y="236"/>
                  </a:lnTo>
                  <a:lnTo>
                    <a:pt x="65" y="235"/>
                  </a:lnTo>
                  <a:lnTo>
                    <a:pt x="60" y="233"/>
                  </a:lnTo>
                  <a:lnTo>
                    <a:pt x="50" y="233"/>
                  </a:lnTo>
                  <a:lnTo>
                    <a:pt x="49" y="232"/>
                  </a:lnTo>
                  <a:lnTo>
                    <a:pt x="46" y="230"/>
                  </a:lnTo>
                  <a:lnTo>
                    <a:pt x="46" y="229"/>
                  </a:lnTo>
                  <a:lnTo>
                    <a:pt x="43" y="229"/>
                  </a:lnTo>
                  <a:lnTo>
                    <a:pt x="39" y="230"/>
                  </a:lnTo>
                  <a:lnTo>
                    <a:pt x="36" y="230"/>
                  </a:lnTo>
                  <a:lnTo>
                    <a:pt x="31" y="230"/>
                  </a:lnTo>
                  <a:lnTo>
                    <a:pt x="31" y="227"/>
                  </a:lnTo>
                  <a:lnTo>
                    <a:pt x="30" y="227"/>
                  </a:lnTo>
                  <a:lnTo>
                    <a:pt x="28" y="227"/>
                  </a:lnTo>
                  <a:lnTo>
                    <a:pt x="28" y="225"/>
                  </a:lnTo>
                  <a:lnTo>
                    <a:pt x="25" y="229"/>
                  </a:lnTo>
                  <a:lnTo>
                    <a:pt x="22" y="225"/>
                  </a:lnTo>
                  <a:lnTo>
                    <a:pt x="20" y="224"/>
                  </a:lnTo>
                  <a:lnTo>
                    <a:pt x="17" y="221"/>
                  </a:lnTo>
                  <a:lnTo>
                    <a:pt x="16" y="217"/>
                  </a:lnTo>
                  <a:lnTo>
                    <a:pt x="11" y="216"/>
                  </a:lnTo>
                  <a:lnTo>
                    <a:pt x="11" y="216"/>
                  </a:lnTo>
                  <a:lnTo>
                    <a:pt x="11" y="214"/>
                  </a:lnTo>
                  <a:lnTo>
                    <a:pt x="11" y="213"/>
                  </a:lnTo>
                  <a:lnTo>
                    <a:pt x="11" y="211"/>
                  </a:lnTo>
                  <a:lnTo>
                    <a:pt x="14" y="208"/>
                  </a:lnTo>
                  <a:lnTo>
                    <a:pt x="16" y="206"/>
                  </a:lnTo>
                  <a:lnTo>
                    <a:pt x="16" y="206"/>
                  </a:lnTo>
                  <a:lnTo>
                    <a:pt x="12" y="203"/>
                  </a:lnTo>
                  <a:lnTo>
                    <a:pt x="9" y="202"/>
                  </a:lnTo>
                  <a:lnTo>
                    <a:pt x="8" y="200"/>
                  </a:lnTo>
                  <a:lnTo>
                    <a:pt x="4" y="197"/>
                  </a:lnTo>
                  <a:lnTo>
                    <a:pt x="4" y="195"/>
                  </a:lnTo>
                  <a:lnTo>
                    <a:pt x="4" y="190"/>
                  </a:lnTo>
                  <a:lnTo>
                    <a:pt x="6" y="187"/>
                  </a:lnTo>
                  <a:lnTo>
                    <a:pt x="8" y="184"/>
                  </a:lnTo>
                  <a:lnTo>
                    <a:pt x="12" y="183"/>
                  </a:lnTo>
                  <a:lnTo>
                    <a:pt x="11" y="179"/>
                  </a:lnTo>
                  <a:lnTo>
                    <a:pt x="11" y="179"/>
                  </a:lnTo>
                  <a:lnTo>
                    <a:pt x="11" y="175"/>
                  </a:lnTo>
                  <a:lnTo>
                    <a:pt x="6" y="175"/>
                  </a:lnTo>
                  <a:lnTo>
                    <a:pt x="8" y="171"/>
                  </a:lnTo>
                  <a:lnTo>
                    <a:pt x="8" y="170"/>
                  </a:lnTo>
                  <a:lnTo>
                    <a:pt x="6" y="170"/>
                  </a:lnTo>
                  <a:lnTo>
                    <a:pt x="4" y="167"/>
                  </a:lnTo>
                  <a:lnTo>
                    <a:pt x="3" y="167"/>
                  </a:lnTo>
                  <a:lnTo>
                    <a:pt x="1" y="167"/>
                  </a:lnTo>
                  <a:lnTo>
                    <a:pt x="1" y="167"/>
                  </a:lnTo>
                  <a:lnTo>
                    <a:pt x="1" y="165"/>
                  </a:lnTo>
                  <a:lnTo>
                    <a:pt x="1" y="165"/>
                  </a:lnTo>
                  <a:lnTo>
                    <a:pt x="1" y="163"/>
                  </a:lnTo>
                  <a:lnTo>
                    <a:pt x="1" y="162"/>
                  </a:lnTo>
                  <a:lnTo>
                    <a:pt x="1" y="162"/>
                  </a:lnTo>
                  <a:lnTo>
                    <a:pt x="3" y="160"/>
                  </a:lnTo>
                  <a:lnTo>
                    <a:pt x="3" y="159"/>
                  </a:lnTo>
                  <a:lnTo>
                    <a:pt x="1" y="157"/>
                  </a:lnTo>
                  <a:lnTo>
                    <a:pt x="0" y="154"/>
                  </a:lnTo>
                  <a:lnTo>
                    <a:pt x="3" y="151"/>
                  </a:lnTo>
                  <a:lnTo>
                    <a:pt x="3" y="148"/>
                  </a:lnTo>
                  <a:lnTo>
                    <a:pt x="4" y="146"/>
                  </a:lnTo>
                  <a:lnTo>
                    <a:pt x="8" y="143"/>
                  </a:lnTo>
                  <a:lnTo>
                    <a:pt x="8" y="141"/>
                  </a:lnTo>
                  <a:lnTo>
                    <a:pt x="8" y="140"/>
                  </a:lnTo>
                  <a:lnTo>
                    <a:pt x="8" y="138"/>
                  </a:lnTo>
                  <a:lnTo>
                    <a:pt x="6" y="135"/>
                  </a:lnTo>
                  <a:lnTo>
                    <a:pt x="3" y="127"/>
                  </a:lnTo>
                  <a:lnTo>
                    <a:pt x="0" y="12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26" name="Freeform 549"/>
            <p:cNvSpPr>
              <a:spLocks/>
            </p:cNvSpPr>
            <p:nvPr/>
          </p:nvSpPr>
          <p:spPr bwMode="auto">
            <a:xfrm>
              <a:off x="5535540" y="3100964"/>
              <a:ext cx="17644" cy="25387"/>
            </a:xfrm>
            <a:custGeom>
              <a:avLst/>
              <a:gdLst>
                <a:gd name="T0" fmla="*/ 0 w 24"/>
                <a:gd name="T1" fmla="*/ 15 h 30"/>
                <a:gd name="T2" fmla="*/ 1 w 24"/>
                <a:gd name="T3" fmla="*/ 13 h 30"/>
                <a:gd name="T4" fmla="*/ 0 w 24"/>
                <a:gd name="T5" fmla="*/ 13 h 30"/>
                <a:gd name="T6" fmla="*/ 3 w 24"/>
                <a:gd name="T7" fmla="*/ 8 h 30"/>
                <a:gd name="T8" fmla="*/ 1 w 24"/>
                <a:gd name="T9" fmla="*/ 8 h 30"/>
                <a:gd name="T10" fmla="*/ 3 w 24"/>
                <a:gd name="T11" fmla="*/ 7 h 30"/>
                <a:gd name="T12" fmla="*/ 5 w 24"/>
                <a:gd name="T13" fmla="*/ 5 h 30"/>
                <a:gd name="T14" fmla="*/ 8 w 24"/>
                <a:gd name="T15" fmla="*/ 2 h 30"/>
                <a:gd name="T16" fmla="*/ 9 w 24"/>
                <a:gd name="T17" fmla="*/ 0 h 30"/>
                <a:gd name="T18" fmla="*/ 9 w 24"/>
                <a:gd name="T19" fmla="*/ 2 h 30"/>
                <a:gd name="T20" fmla="*/ 12 w 24"/>
                <a:gd name="T21" fmla="*/ 3 h 30"/>
                <a:gd name="T22" fmla="*/ 12 w 24"/>
                <a:gd name="T23" fmla="*/ 7 h 30"/>
                <a:gd name="T24" fmla="*/ 12 w 24"/>
                <a:gd name="T25" fmla="*/ 8 h 30"/>
                <a:gd name="T26" fmla="*/ 12 w 24"/>
                <a:gd name="T27" fmla="*/ 10 h 30"/>
                <a:gd name="T28" fmla="*/ 16 w 24"/>
                <a:gd name="T29" fmla="*/ 13 h 30"/>
                <a:gd name="T30" fmla="*/ 17 w 24"/>
                <a:gd name="T31" fmla="*/ 15 h 30"/>
                <a:gd name="T32" fmla="*/ 20 w 24"/>
                <a:gd name="T33" fmla="*/ 16 h 30"/>
                <a:gd name="T34" fmla="*/ 24 w 24"/>
                <a:gd name="T35" fmla="*/ 19 h 30"/>
                <a:gd name="T36" fmla="*/ 24 w 24"/>
                <a:gd name="T37" fmla="*/ 19 h 30"/>
                <a:gd name="T38" fmla="*/ 22 w 24"/>
                <a:gd name="T39" fmla="*/ 21 h 30"/>
                <a:gd name="T40" fmla="*/ 19 w 24"/>
                <a:gd name="T41" fmla="*/ 24 h 30"/>
                <a:gd name="T42" fmla="*/ 19 w 24"/>
                <a:gd name="T43" fmla="*/ 26 h 30"/>
                <a:gd name="T44" fmla="*/ 19 w 24"/>
                <a:gd name="T45" fmla="*/ 27 h 30"/>
                <a:gd name="T46" fmla="*/ 19 w 24"/>
                <a:gd name="T47" fmla="*/ 29 h 30"/>
                <a:gd name="T48" fmla="*/ 16 w 24"/>
                <a:gd name="T49" fmla="*/ 27 h 30"/>
                <a:gd name="T50" fmla="*/ 14 w 24"/>
                <a:gd name="T51" fmla="*/ 27 h 30"/>
                <a:gd name="T52" fmla="*/ 11 w 24"/>
                <a:gd name="T53" fmla="*/ 29 h 30"/>
                <a:gd name="T54" fmla="*/ 11 w 24"/>
                <a:gd name="T55" fmla="*/ 29 h 30"/>
                <a:gd name="T56" fmla="*/ 8 w 24"/>
                <a:gd name="T57" fmla="*/ 30 h 30"/>
                <a:gd name="T58" fmla="*/ 6 w 24"/>
                <a:gd name="T59" fmla="*/ 29 h 30"/>
                <a:gd name="T60" fmla="*/ 3 w 24"/>
                <a:gd name="T61" fmla="*/ 27 h 30"/>
                <a:gd name="T62" fmla="*/ 1 w 24"/>
                <a:gd name="T63" fmla="*/ 26 h 30"/>
                <a:gd name="T64" fmla="*/ 1 w 24"/>
                <a:gd name="T65" fmla="*/ 26 h 30"/>
                <a:gd name="T66" fmla="*/ 1 w 24"/>
                <a:gd name="T67" fmla="*/ 26 h 30"/>
                <a:gd name="T68" fmla="*/ 3 w 24"/>
                <a:gd name="T69" fmla="*/ 26 h 30"/>
                <a:gd name="T70" fmla="*/ 5 w 24"/>
                <a:gd name="T71" fmla="*/ 22 h 30"/>
                <a:gd name="T72" fmla="*/ 5 w 24"/>
                <a:gd name="T73" fmla="*/ 22 h 30"/>
                <a:gd name="T74" fmla="*/ 5 w 24"/>
                <a:gd name="T75" fmla="*/ 21 h 30"/>
                <a:gd name="T76" fmla="*/ 5 w 24"/>
                <a:gd name="T77" fmla="*/ 19 h 30"/>
                <a:gd name="T78" fmla="*/ 1 w 24"/>
                <a:gd name="T79" fmla="*/ 18 h 30"/>
                <a:gd name="T80" fmla="*/ 0 w 24"/>
                <a:gd name="T81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4" h="30">
                  <a:moveTo>
                    <a:pt x="0" y="15"/>
                  </a:moveTo>
                  <a:lnTo>
                    <a:pt x="1" y="13"/>
                  </a:lnTo>
                  <a:lnTo>
                    <a:pt x="0" y="13"/>
                  </a:lnTo>
                  <a:lnTo>
                    <a:pt x="3" y="8"/>
                  </a:lnTo>
                  <a:lnTo>
                    <a:pt x="1" y="8"/>
                  </a:lnTo>
                  <a:lnTo>
                    <a:pt x="3" y="7"/>
                  </a:lnTo>
                  <a:lnTo>
                    <a:pt x="5" y="5"/>
                  </a:lnTo>
                  <a:lnTo>
                    <a:pt x="8" y="2"/>
                  </a:lnTo>
                  <a:lnTo>
                    <a:pt x="9" y="0"/>
                  </a:lnTo>
                  <a:lnTo>
                    <a:pt x="9" y="2"/>
                  </a:lnTo>
                  <a:lnTo>
                    <a:pt x="12" y="3"/>
                  </a:lnTo>
                  <a:lnTo>
                    <a:pt x="12" y="7"/>
                  </a:lnTo>
                  <a:lnTo>
                    <a:pt x="12" y="8"/>
                  </a:lnTo>
                  <a:lnTo>
                    <a:pt x="12" y="10"/>
                  </a:lnTo>
                  <a:lnTo>
                    <a:pt x="16" y="13"/>
                  </a:lnTo>
                  <a:lnTo>
                    <a:pt x="17" y="15"/>
                  </a:lnTo>
                  <a:lnTo>
                    <a:pt x="20" y="16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2" y="21"/>
                  </a:lnTo>
                  <a:lnTo>
                    <a:pt x="19" y="24"/>
                  </a:lnTo>
                  <a:lnTo>
                    <a:pt x="19" y="26"/>
                  </a:lnTo>
                  <a:lnTo>
                    <a:pt x="19" y="27"/>
                  </a:lnTo>
                  <a:lnTo>
                    <a:pt x="19" y="29"/>
                  </a:lnTo>
                  <a:lnTo>
                    <a:pt x="16" y="27"/>
                  </a:lnTo>
                  <a:lnTo>
                    <a:pt x="14" y="27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8" y="30"/>
                  </a:lnTo>
                  <a:lnTo>
                    <a:pt x="6" y="29"/>
                  </a:lnTo>
                  <a:lnTo>
                    <a:pt x="3" y="27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3" y="26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5" y="19"/>
                  </a:lnTo>
                  <a:lnTo>
                    <a:pt x="1" y="18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27" name="Freeform 550"/>
            <p:cNvSpPr>
              <a:spLocks/>
            </p:cNvSpPr>
            <p:nvPr/>
          </p:nvSpPr>
          <p:spPr bwMode="auto">
            <a:xfrm>
              <a:off x="5463493" y="3056961"/>
              <a:ext cx="86752" cy="66004"/>
            </a:xfrm>
            <a:custGeom>
              <a:avLst/>
              <a:gdLst>
                <a:gd name="T0" fmla="*/ 26 w 119"/>
                <a:gd name="T1" fmla="*/ 4 h 77"/>
                <a:gd name="T2" fmla="*/ 29 w 119"/>
                <a:gd name="T3" fmla="*/ 9 h 77"/>
                <a:gd name="T4" fmla="*/ 40 w 119"/>
                <a:gd name="T5" fmla="*/ 11 h 77"/>
                <a:gd name="T6" fmla="*/ 45 w 119"/>
                <a:gd name="T7" fmla="*/ 9 h 77"/>
                <a:gd name="T8" fmla="*/ 53 w 119"/>
                <a:gd name="T9" fmla="*/ 4 h 77"/>
                <a:gd name="T10" fmla="*/ 54 w 119"/>
                <a:gd name="T11" fmla="*/ 4 h 77"/>
                <a:gd name="T12" fmla="*/ 64 w 119"/>
                <a:gd name="T13" fmla="*/ 1 h 77"/>
                <a:gd name="T14" fmla="*/ 70 w 119"/>
                <a:gd name="T15" fmla="*/ 3 h 77"/>
                <a:gd name="T16" fmla="*/ 78 w 119"/>
                <a:gd name="T17" fmla="*/ 0 h 77"/>
                <a:gd name="T18" fmla="*/ 83 w 119"/>
                <a:gd name="T19" fmla="*/ 6 h 77"/>
                <a:gd name="T20" fmla="*/ 91 w 119"/>
                <a:gd name="T21" fmla="*/ 7 h 77"/>
                <a:gd name="T22" fmla="*/ 99 w 119"/>
                <a:gd name="T23" fmla="*/ 11 h 77"/>
                <a:gd name="T24" fmla="*/ 102 w 119"/>
                <a:gd name="T25" fmla="*/ 15 h 77"/>
                <a:gd name="T26" fmla="*/ 97 w 119"/>
                <a:gd name="T27" fmla="*/ 23 h 77"/>
                <a:gd name="T28" fmla="*/ 99 w 119"/>
                <a:gd name="T29" fmla="*/ 26 h 77"/>
                <a:gd name="T30" fmla="*/ 104 w 119"/>
                <a:gd name="T31" fmla="*/ 28 h 77"/>
                <a:gd name="T32" fmla="*/ 108 w 119"/>
                <a:gd name="T33" fmla="*/ 30 h 77"/>
                <a:gd name="T34" fmla="*/ 111 w 119"/>
                <a:gd name="T35" fmla="*/ 30 h 77"/>
                <a:gd name="T36" fmla="*/ 115 w 119"/>
                <a:gd name="T37" fmla="*/ 34 h 77"/>
                <a:gd name="T38" fmla="*/ 118 w 119"/>
                <a:gd name="T39" fmla="*/ 42 h 77"/>
                <a:gd name="T40" fmla="*/ 116 w 119"/>
                <a:gd name="T41" fmla="*/ 47 h 77"/>
                <a:gd name="T42" fmla="*/ 111 w 119"/>
                <a:gd name="T43" fmla="*/ 53 h 77"/>
                <a:gd name="T44" fmla="*/ 107 w 119"/>
                <a:gd name="T45" fmla="*/ 52 h 77"/>
                <a:gd name="T46" fmla="*/ 100 w 119"/>
                <a:gd name="T47" fmla="*/ 58 h 77"/>
                <a:gd name="T48" fmla="*/ 100 w 119"/>
                <a:gd name="T49" fmla="*/ 63 h 77"/>
                <a:gd name="T50" fmla="*/ 104 w 119"/>
                <a:gd name="T51" fmla="*/ 69 h 77"/>
                <a:gd name="T52" fmla="*/ 104 w 119"/>
                <a:gd name="T53" fmla="*/ 72 h 77"/>
                <a:gd name="T54" fmla="*/ 100 w 119"/>
                <a:gd name="T55" fmla="*/ 76 h 77"/>
                <a:gd name="T56" fmla="*/ 94 w 119"/>
                <a:gd name="T57" fmla="*/ 77 h 77"/>
                <a:gd name="T58" fmla="*/ 88 w 119"/>
                <a:gd name="T59" fmla="*/ 72 h 77"/>
                <a:gd name="T60" fmla="*/ 80 w 119"/>
                <a:gd name="T61" fmla="*/ 69 h 77"/>
                <a:gd name="T62" fmla="*/ 72 w 119"/>
                <a:gd name="T63" fmla="*/ 65 h 77"/>
                <a:gd name="T64" fmla="*/ 70 w 119"/>
                <a:gd name="T65" fmla="*/ 55 h 77"/>
                <a:gd name="T66" fmla="*/ 70 w 119"/>
                <a:gd name="T67" fmla="*/ 52 h 77"/>
                <a:gd name="T68" fmla="*/ 65 w 119"/>
                <a:gd name="T69" fmla="*/ 58 h 77"/>
                <a:gd name="T70" fmla="*/ 58 w 119"/>
                <a:gd name="T71" fmla="*/ 60 h 77"/>
                <a:gd name="T72" fmla="*/ 50 w 119"/>
                <a:gd name="T73" fmla="*/ 60 h 77"/>
                <a:gd name="T74" fmla="*/ 50 w 119"/>
                <a:gd name="T75" fmla="*/ 58 h 77"/>
                <a:gd name="T76" fmla="*/ 50 w 119"/>
                <a:gd name="T77" fmla="*/ 50 h 77"/>
                <a:gd name="T78" fmla="*/ 43 w 119"/>
                <a:gd name="T79" fmla="*/ 44 h 77"/>
                <a:gd name="T80" fmla="*/ 39 w 119"/>
                <a:gd name="T81" fmla="*/ 44 h 77"/>
                <a:gd name="T82" fmla="*/ 32 w 119"/>
                <a:gd name="T83" fmla="*/ 39 h 77"/>
                <a:gd name="T84" fmla="*/ 23 w 119"/>
                <a:gd name="T85" fmla="*/ 34 h 77"/>
                <a:gd name="T86" fmla="*/ 21 w 119"/>
                <a:gd name="T87" fmla="*/ 30 h 77"/>
                <a:gd name="T88" fmla="*/ 19 w 119"/>
                <a:gd name="T89" fmla="*/ 26 h 77"/>
                <a:gd name="T90" fmla="*/ 15 w 119"/>
                <a:gd name="T91" fmla="*/ 28 h 77"/>
                <a:gd name="T92" fmla="*/ 10 w 119"/>
                <a:gd name="T93" fmla="*/ 30 h 77"/>
                <a:gd name="T94" fmla="*/ 2 w 119"/>
                <a:gd name="T95" fmla="*/ 25 h 77"/>
                <a:gd name="T96" fmla="*/ 0 w 119"/>
                <a:gd name="T97" fmla="*/ 1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9" h="77">
                  <a:moveTo>
                    <a:pt x="0" y="15"/>
                  </a:moveTo>
                  <a:lnTo>
                    <a:pt x="13" y="9"/>
                  </a:lnTo>
                  <a:lnTo>
                    <a:pt x="26" y="4"/>
                  </a:lnTo>
                  <a:lnTo>
                    <a:pt x="26" y="6"/>
                  </a:lnTo>
                  <a:lnTo>
                    <a:pt x="27" y="7"/>
                  </a:lnTo>
                  <a:lnTo>
                    <a:pt x="29" y="9"/>
                  </a:lnTo>
                  <a:lnTo>
                    <a:pt x="32" y="7"/>
                  </a:lnTo>
                  <a:lnTo>
                    <a:pt x="35" y="7"/>
                  </a:lnTo>
                  <a:lnTo>
                    <a:pt x="40" y="11"/>
                  </a:lnTo>
                  <a:lnTo>
                    <a:pt x="42" y="11"/>
                  </a:lnTo>
                  <a:lnTo>
                    <a:pt x="42" y="11"/>
                  </a:lnTo>
                  <a:lnTo>
                    <a:pt x="45" y="9"/>
                  </a:lnTo>
                  <a:lnTo>
                    <a:pt x="46" y="9"/>
                  </a:lnTo>
                  <a:lnTo>
                    <a:pt x="50" y="7"/>
                  </a:lnTo>
                  <a:lnTo>
                    <a:pt x="53" y="4"/>
                  </a:lnTo>
                  <a:lnTo>
                    <a:pt x="54" y="9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9" y="4"/>
                  </a:lnTo>
                  <a:lnTo>
                    <a:pt x="61" y="0"/>
                  </a:lnTo>
                  <a:lnTo>
                    <a:pt x="64" y="1"/>
                  </a:lnTo>
                  <a:lnTo>
                    <a:pt x="67" y="1"/>
                  </a:lnTo>
                  <a:lnTo>
                    <a:pt x="69" y="0"/>
                  </a:lnTo>
                  <a:lnTo>
                    <a:pt x="70" y="3"/>
                  </a:lnTo>
                  <a:lnTo>
                    <a:pt x="73" y="3"/>
                  </a:lnTo>
                  <a:lnTo>
                    <a:pt x="77" y="1"/>
                  </a:lnTo>
                  <a:lnTo>
                    <a:pt x="78" y="0"/>
                  </a:lnTo>
                  <a:lnTo>
                    <a:pt x="80" y="1"/>
                  </a:lnTo>
                  <a:lnTo>
                    <a:pt x="80" y="4"/>
                  </a:lnTo>
                  <a:lnTo>
                    <a:pt x="83" y="6"/>
                  </a:lnTo>
                  <a:lnTo>
                    <a:pt x="84" y="9"/>
                  </a:lnTo>
                  <a:lnTo>
                    <a:pt x="89" y="9"/>
                  </a:lnTo>
                  <a:lnTo>
                    <a:pt x="91" y="7"/>
                  </a:lnTo>
                  <a:lnTo>
                    <a:pt x="94" y="11"/>
                  </a:lnTo>
                  <a:lnTo>
                    <a:pt x="96" y="11"/>
                  </a:lnTo>
                  <a:lnTo>
                    <a:pt x="99" y="11"/>
                  </a:lnTo>
                  <a:lnTo>
                    <a:pt x="102" y="12"/>
                  </a:lnTo>
                  <a:lnTo>
                    <a:pt x="104" y="12"/>
                  </a:lnTo>
                  <a:lnTo>
                    <a:pt x="102" y="15"/>
                  </a:lnTo>
                  <a:lnTo>
                    <a:pt x="100" y="19"/>
                  </a:lnTo>
                  <a:lnTo>
                    <a:pt x="100" y="20"/>
                  </a:lnTo>
                  <a:lnTo>
                    <a:pt x="97" y="23"/>
                  </a:lnTo>
                  <a:lnTo>
                    <a:pt x="96" y="25"/>
                  </a:lnTo>
                  <a:lnTo>
                    <a:pt x="97" y="25"/>
                  </a:lnTo>
                  <a:lnTo>
                    <a:pt x="99" y="26"/>
                  </a:lnTo>
                  <a:lnTo>
                    <a:pt x="99" y="26"/>
                  </a:lnTo>
                  <a:lnTo>
                    <a:pt x="99" y="28"/>
                  </a:lnTo>
                  <a:lnTo>
                    <a:pt x="104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8" y="30"/>
                  </a:lnTo>
                  <a:lnTo>
                    <a:pt x="108" y="30"/>
                  </a:lnTo>
                  <a:lnTo>
                    <a:pt x="110" y="30"/>
                  </a:lnTo>
                  <a:lnTo>
                    <a:pt x="111" y="30"/>
                  </a:lnTo>
                  <a:lnTo>
                    <a:pt x="113" y="33"/>
                  </a:lnTo>
                  <a:lnTo>
                    <a:pt x="115" y="33"/>
                  </a:lnTo>
                  <a:lnTo>
                    <a:pt x="115" y="34"/>
                  </a:lnTo>
                  <a:lnTo>
                    <a:pt x="113" y="38"/>
                  </a:lnTo>
                  <a:lnTo>
                    <a:pt x="118" y="38"/>
                  </a:lnTo>
                  <a:lnTo>
                    <a:pt x="118" y="42"/>
                  </a:lnTo>
                  <a:lnTo>
                    <a:pt x="118" y="42"/>
                  </a:lnTo>
                  <a:lnTo>
                    <a:pt x="119" y="46"/>
                  </a:lnTo>
                  <a:lnTo>
                    <a:pt x="116" y="47"/>
                  </a:lnTo>
                  <a:lnTo>
                    <a:pt x="113" y="49"/>
                  </a:lnTo>
                  <a:lnTo>
                    <a:pt x="111" y="52"/>
                  </a:lnTo>
                  <a:lnTo>
                    <a:pt x="111" y="53"/>
                  </a:lnTo>
                  <a:lnTo>
                    <a:pt x="108" y="52"/>
                  </a:lnTo>
                  <a:lnTo>
                    <a:pt x="108" y="50"/>
                  </a:lnTo>
                  <a:lnTo>
                    <a:pt x="107" y="52"/>
                  </a:lnTo>
                  <a:lnTo>
                    <a:pt x="104" y="55"/>
                  </a:lnTo>
                  <a:lnTo>
                    <a:pt x="102" y="57"/>
                  </a:lnTo>
                  <a:lnTo>
                    <a:pt x="100" y="58"/>
                  </a:lnTo>
                  <a:lnTo>
                    <a:pt x="102" y="58"/>
                  </a:lnTo>
                  <a:lnTo>
                    <a:pt x="99" y="63"/>
                  </a:lnTo>
                  <a:lnTo>
                    <a:pt x="100" y="63"/>
                  </a:lnTo>
                  <a:lnTo>
                    <a:pt x="99" y="65"/>
                  </a:lnTo>
                  <a:lnTo>
                    <a:pt x="100" y="68"/>
                  </a:lnTo>
                  <a:lnTo>
                    <a:pt x="104" y="69"/>
                  </a:lnTo>
                  <a:lnTo>
                    <a:pt x="104" y="71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2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7" y="76"/>
                  </a:lnTo>
                  <a:lnTo>
                    <a:pt x="97" y="76"/>
                  </a:lnTo>
                  <a:lnTo>
                    <a:pt x="94" y="77"/>
                  </a:lnTo>
                  <a:lnTo>
                    <a:pt x="91" y="77"/>
                  </a:lnTo>
                  <a:lnTo>
                    <a:pt x="89" y="77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3" y="69"/>
                  </a:lnTo>
                  <a:lnTo>
                    <a:pt x="80" y="69"/>
                  </a:lnTo>
                  <a:lnTo>
                    <a:pt x="78" y="68"/>
                  </a:lnTo>
                  <a:lnTo>
                    <a:pt x="75" y="66"/>
                  </a:lnTo>
                  <a:lnTo>
                    <a:pt x="72" y="65"/>
                  </a:lnTo>
                  <a:lnTo>
                    <a:pt x="72" y="61"/>
                  </a:lnTo>
                  <a:lnTo>
                    <a:pt x="70" y="58"/>
                  </a:lnTo>
                  <a:lnTo>
                    <a:pt x="70" y="55"/>
                  </a:lnTo>
                  <a:lnTo>
                    <a:pt x="70" y="52"/>
                  </a:lnTo>
                  <a:lnTo>
                    <a:pt x="70" y="52"/>
                  </a:lnTo>
                  <a:lnTo>
                    <a:pt x="70" y="52"/>
                  </a:lnTo>
                  <a:lnTo>
                    <a:pt x="69" y="52"/>
                  </a:lnTo>
                  <a:lnTo>
                    <a:pt x="65" y="55"/>
                  </a:lnTo>
                  <a:lnTo>
                    <a:pt x="65" y="58"/>
                  </a:lnTo>
                  <a:lnTo>
                    <a:pt x="64" y="58"/>
                  </a:lnTo>
                  <a:lnTo>
                    <a:pt x="61" y="60"/>
                  </a:lnTo>
                  <a:lnTo>
                    <a:pt x="58" y="60"/>
                  </a:lnTo>
                  <a:lnTo>
                    <a:pt x="54" y="60"/>
                  </a:lnTo>
                  <a:lnTo>
                    <a:pt x="51" y="60"/>
                  </a:lnTo>
                  <a:lnTo>
                    <a:pt x="50" y="60"/>
                  </a:lnTo>
                  <a:lnTo>
                    <a:pt x="50" y="60"/>
                  </a:lnTo>
                  <a:lnTo>
                    <a:pt x="48" y="60"/>
                  </a:lnTo>
                  <a:lnTo>
                    <a:pt x="50" y="58"/>
                  </a:lnTo>
                  <a:lnTo>
                    <a:pt x="50" y="57"/>
                  </a:lnTo>
                  <a:lnTo>
                    <a:pt x="51" y="53"/>
                  </a:lnTo>
                  <a:lnTo>
                    <a:pt x="50" y="50"/>
                  </a:lnTo>
                  <a:lnTo>
                    <a:pt x="48" y="46"/>
                  </a:lnTo>
                  <a:lnTo>
                    <a:pt x="46" y="44"/>
                  </a:lnTo>
                  <a:lnTo>
                    <a:pt x="43" y="44"/>
                  </a:lnTo>
                  <a:lnTo>
                    <a:pt x="42" y="46"/>
                  </a:lnTo>
                  <a:lnTo>
                    <a:pt x="42" y="46"/>
                  </a:lnTo>
                  <a:lnTo>
                    <a:pt x="39" y="44"/>
                  </a:lnTo>
                  <a:lnTo>
                    <a:pt x="35" y="46"/>
                  </a:lnTo>
                  <a:lnTo>
                    <a:pt x="34" y="41"/>
                  </a:lnTo>
                  <a:lnTo>
                    <a:pt x="32" y="39"/>
                  </a:lnTo>
                  <a:lnTo>
                    <a:pt x="29" y="38"/>
                  </a:lnTo>
                  <a:lnTo>
                    <a:pt x="24" y="38"/>
                  </a:lnTo>
                  <a:lnTo>
                    <a:pt x="23" y="34"/>
                  </a:lnTo>
                  <a:lnTo>
                    <a:pt x="21" y="33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9" y="26"/>
                  </a:lnTo>
                  <a:lnTo>
                    <a:pt x="18" y="26"/>
                  </a:lnTo>
                  <a:lnTo>
                    <a:pt x="16" y="28"/>
                  </a:lnTo>
                  <a:lnTo>
                    <a:pt x="15" y="28"/>
                  </a:lnTo>
                  <a:lnTo>
                    <a:pt x="15" y="28"/>
                  </a:lnTo>
                  <a:lnTo>
                    <a:pt x="12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7" y="28"/>
                  </a:lnTo>
                  <a:lnTo>
                    <a:pt x="2" y="25"/>
                  </a:lnTo>
                  <a:lnTo>
                    <a:pt x="2" y="22"/>
                  </a:lnTo>
                  <a:lnTo>
                    <a:pt x="2" y="20"/>
                  </a:lnTo>
                  <a:lnTo>
                    <a:pt x="0" y="15"/>
                  </a:lnTo>
                  <a:lnTo>
                    <a:pt x="0" y="15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grpSp>
          <p:nvGrpSpPr>
            <p:cNvPr id="328" name="Group 551"/>
            <p:cNvGrpSpPr>
              <a:grpSpLocks/>
            </p:cNvGrpSpPr>
            <p:nvPr/>
          </p:nvGrpSpPr>
          <p:grpSpPr bwMode="auto">
            <a:xfrm>
              <a:off x="5290037" y="3070477"/>
              <a:ext cx="332306" cy="328327"/>
              <a:chOff x="2546" y="1450"/>
              <a:chExt cx="226" cy="194"/>
            </a:xfrm>
            <a:solidFill>
              <a:schemeClr val="bg1">
                <a:lumMod val="65000"/>
              </a:schemeClr>
            </a:solidFill>
          </p:grpSpPr>
          <p:sp>
            <p:nvSpPr>
              <p:cNvPr id="666" name="Freeform 552"/>
              <p:cNvSpPr>
                <a:spLocks/>
              </p:cNvSpPr>
              <p:nvPr/>
            </p:nvSpPr>
            <p:spPr bwMode="auto">
              <a:xfrm>
                <a:off x="2546" y="1450"/>
                <a:ext cx="206" cy="175"/>
              </a:xfrm>
              <a:custGeom>
                <a:avLst/>
                <a:gdLst>
                  <a:gd name="T0" fmla="*/ 8 w 412"/>
                  <a:gd name="T1" fmla="*/ 111 h 349"/>
                  <a:gd name="T2" fmla="*/ 2 w 412"/>
                  <a:gd name="T3" fmla="*/ 110 h 349"/>
                  <a:gd name="T4" fmla="*/ 24 w 412"/>
                  <a:gd name="T5" fmla="*/ 94 h 349"/>
                  <a:gd name="T6" fmla="*/ 54 w 412"/>
                  <a:gd name="T7" fmla="*/ 88 h 349"/>
                  <a:gd name="T8" fmla="*/ 81 w 412"/>
                  <a:gd name="T9" fmla="*/ 99 h 349"/>
                  <a:gd name="T10" fmla="*/ 92 w 412"/>
                  <a:gd name="T11" fmla="*/ 94 h 349"/>
                  <a:gd name="T12" fmla="*/ 103 w 412"/>
                  <a:gd name="T13" fmla="*/ 77 h 349"/>
                  <a:gd name="T14" fmla="*/ 103 w 412"/>
                  <a:gd name="T15" fmla="*/ 57 h 349"/>
                  <a:gd name="T16" fmla="*/ 125 w 412"/>
                  <a:gd name="T17" fmla="*/ 67 h 349"/>
                  <a:gd name="T18" fmla="*/ 156 w 412"/>
                  <a:gd name="T19" fmla="*/ 69 h 349"/>
                  <a:gd name="T20" fmla="*/ 157 w 412"/>
                  <a:gd name="T21" fmla="*/ 61 h 349"/>
                  <a:gd name="T22" fmla="*/ 194 w 412"/>
                  <a:gd name="T23" fmla="*/ 43 h 349"/>
                  <a:gd name="T24" fmla="*/ 206 w 412"/>
                  <a:gd name="T25" fmla="*/ 21 h 349"/>
                  <a:gd name="T26" fmla="*/ 238 w 412"/>
                  <a:gd name="T27" fmla="*/ 7 h 349"/>
                  <a:gd name="T28" fmla="*/ 255 w 412"/>
                  <a:gd name="T29" fmla="*/ 11 h 349"/>
                  <a:gd name="T30" fmla="*/ 270 w 412"/>
                  <a:gd name="T31" fmla="*/ 26 h 349"/>
                  <a:gd name="T32" fmla="*/ 286 w 412"/>
                  <a:gd name="T33" fmla="*/ 42 h 349"/>
                  <a:gd name="T34" fmla="*/ 301 w 412"/>
                  <a:gd name="T35" fmla="*/ 43 h 349"/>
                  <a:gd name="T36" fmla="*/ 311 w 412"/>
                  <a:gd name="T37" fmla="*/ 51 h 349"/>
                  <a:gd name="T38" fmla="*/ 336 w 412"/>
                  <a:gd name="T39" fmla="*/ 61 h 349"/>
                  <a:gd name="T40" fmla="*/ 354 w 412"/>
                  <a:gd name="T41" fmla="*/ 64 h 349"/>
                  <a:gd name="T42" fmla="*/ 374 w 412"/>
                  <a:gd name="T43" fmla="*/ 78 h 349"/>
                  <a:gd name="T44" fmla="*/ 408 w 412"/>
                  <a:gd name="T45" fmla="*/ 83 h 349"/>
                  <a:gd name="T46" fmla="*/ 398 w 412"/>
                  <a:gd name="T47" fmla="*/ 103 h 349"/>
                  <a:gd name="T48" fmla="*/ 393 w 412"/>
                  <a:gd name="T49" fmla="*/ 122 h 349"/>
                  <a:gd name="T50" fmla="*/ 386 w 412"/>
                  <a:gd name="T51" fmla="*/ 145 h 349"/>
                  <a:gd name="T52" fmla="*/ 371 w 412"/>
                  <a:gd name="T53" fmla="*/ 148 h 349"/>
                  <a:gd name="T54" fmla="*/ 352 w 412"/>
                  <a:gd name="T55" fmla="*/ 173 h 349"/>
                  <a:gd name="T56" fmla="*/ 344 w 412"/>
                  <a:gd name="T57" fmla="*/ 189 h 349"/>
                  <a:gd name="T58" fmla="*/ 347 w 412"/>
                  <a:gd name="T59" fmla="*/ 191 h 349"/>
                  <a:gd name="T60" fmla="*/ 373 w 412"/>
                  <a:gd name="T61" fmla="*/ 205 h 349"/>
                  <a:gd name="T62" fmla="*/ 374 w 412"/>
                  <a:gd name="T63" fmla="*/ 230 h 349"/>
                  <a:gd name="T64" fmla="*/ 363 w 412"/>
                  <a:gd name="T65" fmla="*/ 245 h 349"/>
                  <a:gd name="T66" fmla="*/ 368 w 412"/>
                  <a:gd name="T67" fmla="*/ 268 h 349"/>
                  <a:gd name="T68" fmla="*/ 393 w 412"/>
                  <a:gd name="T69" fmla="*/ 279 h 349"/>
                  <a:gd name="T70" fmla="*/ 376 w 412"/>
                  <a:gd name="T71" fmla="*/ 297 h 349"/>
                  <a:gd name="T72" fmla="*/ 352 w 412"/>
                  <a:gd name="T73" fmla="*/ 316 h 349"/>
                  <a:gd name="T74" fmla="*/ 319 w 412"/>
                  <a:gd name="T75" fmla="*/ 314 h 349"/>
                  <a:gd name="T76" fmla="*/ 305 w 412"/>
                  <a:gd name="T77" fmla="*/ 302 h 349"/>
                  <a:gd name="T78" fmla="*/ 294 w 412"/>
                  <a:gd name="T79" fmla="*/ 308 h 349"/>
                  <a:gd name="T80" fmla="*/ 254 w 412"/>
                  <a:gd name="T81" fmla="*/ 311 h 349"/>
                  <a:gd name="T82" fmla="*/ 238 w 412"/>
                  <a:gd name="T83" fmla="*/ 329 h 349"/>
                  <a:gd name="T84" fmla="*/ 235 w 412"/>
                  <a:gd name="T85" fmla="*/ 345 h 349"/>
                  <a:gd name="T86" fmla="*/ 203 w 412"/>
                  <a:gd name="T87" fmla="*/ 346 h 349"/>
                  <a:gd name="T88" fmla="*/ 189 w 412"/>
                  <a:gd name="T89" fmla="*/ 337 h 349"/>
                  <a:gd name="T90" fmla="*/ 163 w 412"/>
                  <a:gd name="T91" fmla="*/ 329 h 349"/>
                  <a:gd name="T92" fmla="*/ 137 w 412"/>
                  <a:gd name="T93" fmla="*/ 335 h 349"/>
                  <a:gd name="T94" fmla="*/ 113 w 412"/>
                  <a:gd name="T95" fmla="*/ 325 h 349"/>
                  <a:gd name="T96" fmla="*/ 92 w 412"/>
                  <a:gd name="T97" fmla="*/ 311 h 349"/>
                  <a:gd name="T98" fmla="*/ 95 w 412"/>
                  <a:gd name="T99" fmla="*/ 294 h 349"/>
                  <a:gd name="T100" fmla="*/ 110 w 412"/>
                  <a:gd name="T101" fmla="*/ 221 h 349"/>
                  <a:gd name="T102" fmla="*/ 127 w 412"/>
                  <a:gd name="T103" fmla="*/ 243 h 349"/>
                  <a:gd name="T104" fmla="*/ 108 w 412"/>
                  <a:gd name="T105" fmla="*/ 214 h 349"/>
                  <a:gd name="T106" fmla="*/ 110 w 412"/>
                  <a:gd name="T107" fmla="*/ 192 h 349"/>
                  <a:gd name="T108" fmla="*/ 83 w 412"/>
                  <a:gd name="T109" fmla="*/ 164 h 349"/>
                  <a:gd name="T110" fmla="*/ 94 w 412"/>
                  <a:gd name="T111" fmla="*/ 154 h 349"/>
                  <a:gd name="T112" fmla="*/ 71 w 412"/>
                  <a:gd name="T113" fmla="*/ 146 h 349"/>
                  <a:gd name="T114" fmla="*/ 60 w 412"/>
                  <a:gd name="T115" fmla="*/ 138 h 349"/>
                  <a:gd name="T116" fmla="*/ 46 w 412"/>
                  <a:gd name="T117" fmla="*/ 130 h 349"/>
                  <a:gd name="T118" fmla="*/ 14 w 412"/>
                  <a:gd name="T119" fmla="*/ 130 h 3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12" h="349">
                    <a:moveTo>
                      <a:pt x="0" y="121"/>
                    </a:moveTo>
                    <a:lnTo>
                      <a:pt x="3" y="119"/>
                    </a:lnTo>
                    <a:lnTo>
                      <a:pt x="6" y="119"/>
                    </a:lnTo>
                    <a:lnTo>
                      <a:pt x="11" y="118"/>
                    </a:lnTo>
                    <a:lnTo>
                      <a:pt x="14" y="119"/>
                    </a:lnTo>
                    <a:lnTo>
                      <a:pt x="14" y="115"/>
                    </a:lnTo>
                    <a:lnTo>
                      <a:pt x="11" y="113"/>
                    </a:lnTo>
                    <a:lnTo>
                      <a:pt x="6" y="115"/>
                    </a:lnTo>
                    <a:lnTo>
                      <a:pt x="5" y="111"/>
                    </a:lnTo>
                    <a:lnTo>
                      <a:pt x="8" y="111"/>
                    </a:lnTo>
                    <a:lnTo>
                      <a:pt x="11" y="111"/>
                    </a:lnTo>
                    <a:lnTo>
                      <a:pt x="14" y="111"/>
                    </a:lnTo>
                    <a:lnTo>
                      <a:pt x="19" y="111"/>
                    </a:lnTo>
                    <a:lnTo>
                      <a:pt x="14" y="110"/>
                    </a:lnTo>
                    <a:lnTo>
                      <a:pt x="11" y="110"/>
                    </a:lnTo>
                    <a:lnTo>
                      <a:pt x="13" y="107"/>
                    </a:lnTo>
                    <a:lnTo>
                      <a:pt x="11" y="107"/>
                    </a:lnTo>
                    <a:lnTo>
                      <a:pt x="8" y="108"/>
                    </a:lnTo>
                    <a:lnTo>
                      <a:pt x="5" y="108"/>
                    </a:lnTo>
                    <a:lnTo>
                      <a:pt x="2" y="110"/>
                    </a:lnTo>
                    <a:lnTo>
                      <a:pt x="0" y="110"/>
                    </a:lnTo>
                    <a:lnTo>
                      <a:pt x="0" y="107"/>
                    </a:lnTo>
                    <a:lnTo>
                      <a:pt x="0" y="102"/>
                    </a:lnTo>
                    <a:lnTo>
                      <a:pt x="3" y="100"/>
                    </a:lnTo>
                    <a:lnTo>
                      <a:pt x="6" y="99"/>
                    </a:lnTo>
                    <a:lnTo>
                      <a:pt x="11" y="97"/>
                    </a:lnTo>
                    <a:lnTo>
                      <a:pt x="14" y="96"/>
                    </a:lnTo>
                    <a:lnTo>
                      <a:pt x="18" y="97"/>
                    </a:lnTo>
                    <a:lnTo>
                      <a:pt x="21" y="96"/>
                    </a:lnTo>
                    <a:lnTo>
                      <a:pt x="24" y="94"/>
                    </a:lnTo>
                    <a:lnTo>
                      <a:pt x="29" y="96"/>
                    </a:lnTo>
                    <a:lnTo>
                      <a:pt x="32" y="94"/>
                    </a:lnTo>
                    <a:lnTo>
                      <a:pt x="35" y="94"/>
                    </a:lnTo>
                    <a:lnTo>
                      <a:pt x="37" y="96"/>
                    </a:lnTo>
                    <a:lnTo>
                      <a:pt x="40" y="94"/>
                    </a:lnTo>
                    <a:lnTo>
                      <a:pt x="40" y="89"/>
                    </a:lnTo>
                    <a:lnTo>
                      <a:pt x="43" y="89"/>
                    </a:lnTo>
                    <a:lnTo>
                      <a:pt x="48" y="89"/>
                    </a:lnTo>
                    <a:lnTo>
                      <a:pt x="51" y="88"/>
                    </a:lnTo>
                    <a:lnTo>
                      <a:pt x="54" y="88"/>
                    </a:lnTo>
                    <a:lnTo>
                      <a:pt x="54" y="91"/>
                    </a:lnTo>
                    <a:lnTo>
                      <a:pt x="57" y="92"/>
                    </a:lnTo>
                    <a:lnTo>
                      <a:pt x="60" y="96"/>
                    </a:lnTo>
                    <a:lnTo>
                      <a:pt x="62" y="99"/>
                    </a:lnTo>
                    <a:lnTo>
                      <a:pt x="67" y="102"/>
                    </a:lnTo>
                    <a:lnTo>
                      <a:pt x="70" y="100"/>
                    </a:lnTo>
                    <a:lnTo>
                      <a:pt x="73" y="97"/>
                    </a:lnTo>
                    <a:lnTo>
                      <a:pt x="76" y="97"/>
                    </a:lnTo>
                    <a:lnTo>
                      <a:pt x="79" y="96"/>
                    </a:lnTo>
                    <a:lnTo>
                      <a:pt x="81" y="99"/>
                    </a:lnTo>
                    <a:lnTo>
                      <a:pt x="84" y="99"/>
                    </a:lnTo>
                    <a:lnTo>
                      <a:pt x="84" y="97"/>
                    </a:lnTo>
                    <a:lnTo>
                      <a:pt x="87" y="97"/>
                    </a:lnTo>
                    <a:lnTo>
                      <a:pt x="89" y="100"/>
                    </a:lnTo>
                    <a:lnTo>
                      <a:pt x="89" y="102"/>
                    </a:lnTo>
                    <a:lnTo>
                      <a:pt x="91" y="102"/>
                    </a:lnTo>
                    <a:lnTo>
                      <a:pt x="89" y="102"/>
                    </a:lnTo>
                    <a:lnTo>
                      <a:pt x="89" y="99"/>
                    </a:lnTo>
                    <a:lnTo>
                      <a:pt x="89" y="96"/>
                    </a:lnTo>
                    <a:lnTo>
                      <a:pt x="92" y="94"/>
                    </a:lnTo>
                    <a:lnTo>
                      <a:pt x="94" y="99"/>
                    </a:lnTo>
                    <a:lnTo>
                      <a:pt x="102" y="97"/>
                    </a:lnTo>
                    <a:lnTo>
                      <a:pt x="108" y="97"/>
                    </a:lnTo>
                    <a:lnTo>
                      <a:pt x="105" y="96"/>
                    </a:lnTo>
                    <a:lnTo>
                      <a:pt x="103" y="92"/>
                    </a:lnTo>
                    <a:lnTo>
                      <a:pt x="103" y="91"/>
                    </a:lnTo>
                    <a:lnTo>
                      <a:pt x="103" y="88"/>
                    </a:lnTo>
                    <a:lnTo>
                      <a:pt x="103" y="84"/>
                    </a:lnTo>
                    <a:lnTo>
                      <a:pt x="102" y="81"/>
                    </a:lnTo>
                    <a:lnTo>
                      <a:pt x="103" y="77"/>
                    </a:lnTo>
                    <a:lnTo>
                      <a:pt x="103" y="73"/>
                    </a:lnTo>
                    <a:lnTo>
                      <a:pt x="100" y="70"/>
                    </a:lnTo>
                    <a:lnTo>
                      <a:pt x="97" y="69"/>
                    </a:lnTo>
                    <a:lnTo>
                      <a:pt x="97" y="64"/>
                    </a:lnTo>
                    <a:lnTo>
                      <a:pt x="95" y="61"/>
                    </a:lnTo>
                    <a:lnTo>
                      <a:pt x="95" y="57"/>
                    </a:lnTo>
                    <a:lnTo>
                      <a:pt x="94" y="54"/>
                    </a:lnTo>
                    <a:lnTo>
                      <a:pt x="97" y="54"/>
                    </a:lnTo>
                    <a:lnTo>
                      <a:pt x="100" y="56"/>
                    </a:lnTo>
                    <a:lnTo>
                      <a:pt x="103" y="57"/>
                    </a:lnTo>
                    <a:lnTo>
                      <a:pt x="106" y="56"/>
                    </a:lnTo>
                    <a:lnTo>
                      <a:pt x="110" y="54"/>
                    </a:lnTo>
                    <a:lnTo>
                      <a:pt x="113" y="56"/>
                    </a:lnTo>
                    <a:lnTo>
                      <a:pt x="116" y="59"/>
                    </a:lnTo>
                    <a:lnTo>
                      <a:pt x="113" y="62"/>
                    </a:lnTo>
                    <a:lnTo>
                      <a:pt x="116" y="65"/>
                    </a:lnTo>
                    <a:lnTo>
                      <a:pt x="117" y="69"/>
                    </a:lnTo>
                    <a:lnTo>
                      <a:pt x="117" y="69"/>
                    </a:lnTo>
                    <a:lnTo>
                      <a:pt x="121" y="67"/>
                    </a:lnTo>
                    <a:lnTo>
                      <a:pt x="125" y="67"/>
                    </a:lnTo>
                    <a:lnTo>
                      <a:pt x="129" y="69"/>
                    </a:lnTo>
                    <a:lnTo>
                      <a:pt x="132" y="69"/>
                    </a:lnTo>
                    <a:lnTo>
                      <a:pt x="135" y="69"/>
                    </a:lnTo>
                    <a:lnTo>
                      <a:pt x="138" y="69"/>
                    </a:lnTo>
                    <a:lnTo>
                      <a:pt x="141" y="70"/>
                    </a:lnTo>
                    <a:lnTo>
                      <a:pt x="146" y="72"/>
                    </a:lnTo>
                    <a:lnTo>
                      <a:pt x="149" y="70"/>
                    </a:lnTo>
                    <a:lnTo>
                      <a:pt x="152" y="70"/>
                    </a:lnTo>
                    <a:lnTo>
                      <a:pt x="154" y="70"/>
                    </a:lnTo>
                    <a:lnTo>
                      <a:pt x="156" y="69"/>
                    </a:lnTo>
                    <a:lnTo>
                      <a:pt x="159" y="65"/>
                    </a:lnTo>
                    <a:lnTo>
                      <a:pt x="163" y="65"/>
                    </a:lnTo>
                    <a:lnTo>
                      <a:pt x="167" y="65"/>
                    </a:lnTo>
                    <a:lnTo>
                      <a:pt x="168" y="64"/>
                    </a:lnTo>
                    <a:lnTo>
                      <a:pt x="170" y="64"/>
                    </a:lnTo>
                    <a:lnTo>
                      <a:pt x="168" y="64"/>
                    </a:lnTo>
                    <a:lnTo>
                      <a:pt x="165" y="65"/>
                    </a:lnTo>
                    <a:lnTo>
                      <a:pt x="160" y="64"/>
                    </a:lnTo>
                    <a:lnTo>
                      <a:pt x="157" y="64"/>
                    </a:lnTo>
                    <a:lnTo>
                      <a:pt x="157" y="61"/>
                    </a:lnTo>
                    <a:lnTo>
                      <a:pt x="159" y="56"/>
                    </a:lnTo>
                    <a:lnTo>
                      <a:pt x="162" y="54"/>
                    </a:lnTo>
                    <a:lnTo>
                      <a:pt x="170" y="51"/>
                    </a:lnTo>
                    <a:lnTo>
                      <a:pt x="173" y="50"/>
                    </a:lnTo>
                    <a:lnTo>
                      <a:pt x="176" y="48"/>
                    </a:lnTo>
                    <a:lnTo>
                      <a:pt x="179" y="48"/>
                    </a:lnTo>
                    <a:lnTo>
                      <a:pt x="183" y="46"/>
                    </a:lnTo>
                    <a:lnTo>
                      <a:pt x="187" y="46"/>
                    </a:lnTo>
                    <a:lnTo>
                      <a:pt x="190" y="45"/>
                    </a:lnTo>
                    <a:lnTo>
                      <a:pt x="194" y="43"/>
                    </a:lnTo>
                    <a:lnTo>
                      <a:pt x="194" y="43"/>
                    </a:lnTo>
                    <a:lnTo>
                      <a:pt x="198" y="40"/>
                    </a:lnTo>
                    <a:lnTo>
                      <a:pt x="202" y="37"/>
                    </a:lnTo>
                    <a:lnTo>
                      <a:pt x="205" y="35"/>
                    </a:lnTo>
                    <a:lnTo>
                      <a:pt x="206" y="35"/>
                    </a:lnTo>
                    <a:lnTo>
                      <a:pt x="203" y="32"/>
                    </a:lnTo>
                    <a:lnTo>
                      <a:pt x="205" y="29"/>
                    </a:lnTo>
                    <a:lnTo>
                      <a:pt x="206" y="29"/>
                    </a:lnTo>
                    <a:lnTo>
                      <a:pt x="205" y="24"/>
                    </a:lnTo>
                    <a:lnTo>
                      <a:pt x="206" y="21"/>
                    </a:lnTo>
                    <a:lnTo>
                      <a:pt x="205" y="18"/>
                    </a:lnTo>
                    <a:lnTo>
                      <a:pt x="205" y="15"/>
                    </a:lnTo>
                    <a:lnTo>
                      <a:pt x="206" y="11"/>
                    </a:lnTo>
                    <a:lnTo>
                      <a:pt x="209" y="8"/>
                    </a:lnTo>
                    <a:lnTo>
                      <a:pt x="213" y="5"/>
                    </a:lnTo>
                    <a:lnTo>
                      <a:pt x="224" y="2"/>
                    </a:lnTo>
                    <a:lnTo>
                      <a:pt x="236" y="0"/>
                    </a:lnTo>
                    <a:lnTo>
                      <a:pt x="236" y="0"/>
                    </a:lnTo>
                    <a:lnTo>
                      <a:pt x="238" y="5"/>
                    </a:lnTo>
                    <a:lnTo>
                      <a:pt x="238" y="7"/>
                    </a:lnTo>
                    <a:lnTo>
                      <a:pt x="238" y="10"/>
                    </a:lnTo>
                    <a:lnTo>
                      <a:pt x="243" y="13"/>
                    </a:lnTo>
                    <a:lnTo>
                      <a:pt x="246" y="15"/>
                    </a:lnTo>
                    <a:lnTo>
                      <a:pt x="246" y="15"/>
                    </a:lnTo>
                    <a:lnTo>
                      <a:pt x="248" y="15"/>
                    </a:lnTo>
                    <a:lnTo>
                      <a:pt x="251" y="13"/>
                    </a:lnTo>
                    <a:lnTo>
                      <a:pt x="251" y="13"/>
                    </a:lnTo>
                    <a:lnTo>
                      <a:pt x="252" y="13"/>
                    </a:lnTo>
                    <a:lnTo>
                      <a:pt x="254" y="11"/>
                    </a:lnTo>
                    <a:lnTo>
                      <a:pt x="255" y="11"/>
                    </a:lnTo>
                    <a:lnTo>
                      <a:pt x="255" y="13"/>
                    </a:lnTo>
                    <a:lnTo>
                      <a:pt x="255" y="13"/>
                    </a:lnTo>
                    <a:lnTo>
                      <a:pt x="257" y="15"/>
                    </a:lnTo>
                    <a:lnTo>
                      <a:pt x="257" y="15"/>
                    </a:lnTo>
                    <a:lnTo>
                      <a:pt x="257" y="18"/>
                    </a:lnTo>
                    <a:lnTo>
                      <a:pt x="259" y="19"/>
                    </a:lnTo>
                    <a:lnTo>
                      <a:pt x="260" y="23"/>
                    </a:lnTo>
                    <a:lnTo>
                      <a:pt x="265" y="23"/>
                    </a:lnTo>
                    <a:lnTo>
                      <a:pt x="268" y="24"/>
                    </a:lnTo>
                    <a:lnTo>
                      <a:pt x="270" y="26"/>
                    </a:lnTo>
                    <a:lnTo>
                      <a:pt x="271" y="31"/>
                    </a:lnTo>
                    <a:lnTo>
                      <a:pt x="275" y="29"/>
                    </a:lnTo>
                    <a:lnTo>
                      <a:pt x="278" y="31"/>
                    </a:lnTo>
                    <a:lnTo>
                      <a:pt x="278" y="31"/>
                    </a:lnTo>
                    <a:lnTo>
                      <a:pt x="279" y="29"/>
                    </a:lnTo>
                    <a:lnTo>
                      <a:pt x="282" y="29"/>
                    </a:lnTo>
                    <a:lnTo>
                      <a:pt x="284" y="31"/>
                    </a:lnTo>
                    <a:lnTo>
                      <a:pt x="286" y="35"/>
                    </a:lnTo>
                    <a:lnTo>
                      <a:pt x="287" y="38"/>
                    </a:lnTo>
                    <a:lnTo>
                      <a:pt x="286" y="42"/>
                    </a:lnTo>
                    <a:lnTo>
                      <a:pt x="286" y="43"/>
                    </a:lnTo>
                    <a:lnTo>
                      <a:pt x="284" y="45"/>
                    </a:lnTo>
                    <a:lnTo>
                      <a:pt x="286" y="45"/>
                    </a:lnTo>
                    <a:lnTo>
                      <a:pt x="286" y="45"/>
                    </a:lnTo>
                    <a:lnTo>
                      <a:pt x="287" y="45"/>
                    </a:lnTo>
                    <a:lnTo>
                      <a:pt x="290" y="45"/>
                    </a:lnTo>
                    <a:lnTo>
                      <a:pt x="294" y="45"/>
                    </a:lnTo>
                    <a:lnTo>
                      <a:pt x="297" y="45"/>
                    </a:lnTo>
                    <a:lnTo>
                      <a:pt x="300" y="43"/>
                    </a:lnTo>
                    <a:lnTo>
                      <a:pt x="301" y="43"/>
                    </a:lnTo>
                    <a:lnTo>
                      <a:pt x="301" y="40"/>
                    </a:lnTo>
                    <a:lnTo>
                      <a:pt x="305" y="37"/>
                    </a:lnTo>
                    <a:lnTo>
                      <a:pt x="306" y="37"/>
                    </a:lnTo>
                    <a:lnTo>
                      <a:pt x="306" y="37"/>
                    </a:lnTo>
                    <a:lnTo>
                      <a:pt x="306" y="37"/>
                    </a:lnTo>
                    <a:lnTo>
                      <a:pt x="306" y="40"/>
                    </a:lnTo>
                    <a:lnTo>
                      <a:pt x="306" y="43"/>
                    </a:lnTo>
                    <a:lnTo>
                      <a:pt x="308" y="46"/>
                    </a:lnTo>
                    <a:lnTo>
                      <a:pt x="308" y="50"/>
                    </a:lnTo>
                    <a:lnTo>
                      <a:pt x="311" y="51"/>
                    </a:lnTo>
                    <a:lnTo>
                      <a:pt x="314" y="53"/>
                    </a:lnTo>
                    <a:lnTo>
                      <a:pt x="316" y="54"/>
                    </a:lnTo>
                    <a:lnTo>
                      <a:pt x="319" y="54"/>
                    </a:lnTo>
                    <a:lnTo>
                      <a:pt x="324" y="57"/>
                    </a:lnTo>
                    <a:lnTo>
                      <a:pt x="324" y="57"/>
                    </a:lnTo>
                    <a:lnTo>
                      <a:pt x="325" y="62"/>
                    </a:lnTo>
                    <a:lnTo>
                      <a:pt x="327" y="62"/>
                    </a:lnTo>
                    <a:lnTo>
                      <a:pt x="332" y="61"/>
                    </a:lnTo>
                    <a:lnTo>
                      <a:pt x="336" y="61"/>
                    </a:lnTo>
                    <a:lnTo>
                      <a:pt x="336" y="61"/>
                    </a:lnTo>
                    <a:lnTo>
                      <a:pt x="336" y="61"/>
                    </a:lnTo>
                    <a:lnTo>
                      <a:pt x="338" y="62"/>
                    </a:lnTo>
                    <a:lnTo>
                      <a:pt x="341" y="64"/>
                    </a:lnTo>
                    <a:lnTo>
                      <a:pt x="343" y="65"/>
                    </a:lnTo>
                    <a:lnTo>
                      <a:pt x="346" y="64"/>
                    </a:lnTo>
                    <a:lnTo>
                      <a:pt x="346" y="64"/>
                    </a:lnTo>
                    <a:lnTo>
                      <a:pt x="349" y="62"/>
                    </a:lnTo>
                    <a:lnTo>
                      <a:pt x="351" y="62"/>
                    </a:lnTo>
                    <a:lnTo>
                      <a:pt x="354" y="64"/>
                    </a:lnTo>
                    <a:lnTo>
                      <a:pt x="354" y="64"/>
                    </a:lnTo>
                    <a:lnTo>
                      <a:pt x="359" y="65"/>
                    </a:lnTo>
                    <a:lnTo>
                      <a:pt x="360" y="69"/>
                    </a:lnTo>
                    <a:lnTo>
                      <a:pt x="363" y="72"/>
                    </a:lnTo>
                    <a:lnTo>
                      <a:pt x="365" y="73"/>
                    </a:lnTo>
                    <a:lnTo>
                      <a:pt x="368" y="77"/>
                    </a:lnTo>
                    <a:lnTo>
                      <a:pt x="371" y="73"/>
                    </a:lnTo>
                    <a:lnTo>
                      <a:pt x="371" y="75"/>
                    </a:lnTo>
                    <a:lnTo>
                      <a:pt x="373" y="75"/>
                    </a:lnTo>
                    <a:lnTo>
                      <a:pt x="374" y="75"/>
                    </a:lnTo>
                    <a:lnTo>
                      <a:pt x="374" y="78"/>
                    </a:lnTo>
                    <a:lnTo>
                      <a:pt x="379" y="78"/>
                    </a:lnTo>
                    <a:lnTo>
                      <a:pt x="382" y="78"/>
                    </a:lnTo>
                    <a:lnTo>
                      <a:pt x="386" y="77"/>
                    </a:lnTo>
                    <a:lnTo>
                      <a:pt x="389" y="77"/>
                    </a:lnTo>
                    <a:lnTo>
                      <a:pt x="389" y="78"/>
                    </a:lnTo>
                    <a:lnTo>
                      <a:pt x="392" y="80"/>
                    </a:lnTo>
                    <a:lnTo>
                      <a:pt x="393" y="81"/>
                    </a:lnTo>
                    <a:lnTo>
                      <a:pt x="403" y="81"/>
                    </a:lnTo>
                    <a:lnTo>
                      <a:pt x="405" y="81"/>
                    </a:lnTo>
                    <a:lnTo>
                      <a:pt x="408" y="83"/>
                    </a:lnTo>
                    <a:lnTo>
                      <a:pt x="411" y="84"/>
                    </a:lnTo>
                    <a:lnTo>
                      <a:pt x="411" y="84"/>
                    </a:lnTo>
                    <a:lnTo>
                      <a:pt x="412" y="84"/>
                    </a:lnTo>
                    <a:lnTo>
                      <a:pt x="411" y="86"/>
                    </a:lnTo>
                    <a:lnTo>
                      <a:pt x="408" y="89"/>
                    </a:lnTo>
                    <a:lnTo>
                      <a:pt x="406" y="92"/>
                    </a:lnTo>
                    <a:lnTo>
                      <a:pt x="401" y="96"/>
                    </a:lnTo>
                    <a:lnTo>
                      <a:pt x="398" y="99"/>
                    </a:lnTo>
                    <a:lnTo>
                      <a:pt x="398" y="100"/>
                    </a:lnTo>
                    <a:lnTo>
                      <a:pt x="398" y="103"/>
                    </a:lnTo>
                    <a:lnTo>
                      <a:pt x="397" y="105"/>
                    </a:lnTo>
                    <a:lnTo>
                      <a:pt x="397" y="108"/>
                    </a:lnTo>
                    <a:lnTo>
                      <a:pt x="395" y="110"/>
                    </a:lnTo>
                    <a:lnTo>
                      <a:pt x="393" y="115"/>
                    </a:lnTo>
                    <a:lnTo>
                      <a:pt x="392" y="116"/>
                    </a:lnTo>
                    <a:lnTo>
                      <a:pt x="392" y="118"/>
                    </a:lnTo>
                    <a:lnTo>
                      <a:pt x="392" y="121"/>
                    </a:lnTo>
                    <a:lnTo>
                      <a:pt x="392" y="121"/>
                    </a:lnTo>
                    <a:lnTo>
                      <a:pt x="392" y="122"/>
                    </a:lnTo>
                    <a:lnTo>
                      <a:pt x="393" y="122"/>
                    </a:lnTo>
                    <a:lnTo>
                      <a:pt x="390" y="130"/>
                    </a:lnTo>
                    <a:lnTo>
                      <a:pt x="390" y="132"/>
                    </a:lnTo>
                    <a:lnTo>
                      <a:pt x="389" y="135"/>
                    </a:lnTo>
                    <a:lnTo>
                      <a:pt x="392" y="138"/>
                    </a:lnTo>
                    <a:lnTo>
                      <a:pt x="392" y="138"/>
                    </a:lnTo>
                    <a:lnTo>
                      <a:pt x="392" y="140"/>
                    </a:lnTo>
                    <a:lnTo>
                      <a:pt x="390" y="140"/>
                    </a:lnTo>
                    <a:lnTo>
                      <a:pt x="389" y="143"/>
                    </a:lnTo>
                    <a:lnTo>
                      <a:pt x="387" y="145"/>
                    </a:lnTo>
                    <a:lnTo>
                      <a:pt x="386" y="145"/>
                    </a:lnTo>
                    <a:lnTo>
                      <a:pt x="386" y="145"/>
                    </a:lnTo>
                    <a:lnTo>
                      <a:pt x="382" y="145"/>
                    </a:lnTo>
                    <a:lnTo>
                      <a:pt x="381" y="145"/>
                    </a:lnTo>
                    <a:lnTo>
                      <a:pt x="378" y="143"/>
                    </a:lnTo>
                    <a:lnTo>
                      <a:pt x="378" y="143"/>
                    </a:lnTo>
                    <a:lnTo>
                      <a:pt x="373" y="143"/>
                    </a:lnTo>
                    <a:lnTo>
                      <a:pt x="373" y="143"/>
                    </a:lnTo>
                    <a:lnTo>
                      <a:pt x="373" y="143"/>
                    </a:lnTo>
                    <a:lnTo>
                      <a:pt x="373" y="145"/>
                    </a:lnTo>
                    <a:lnTo>
                      <a:pt x="371" y="148"/>
                    </a:lnTo>
                    <a:lnTo>
                      <a:pt x="374" y="148"/>
                    </a:lnTo>
                    <a:lnTo>
                      <a:pt x="374" y="148"/>
                    </a:lnTo>
                    <a:lnTo>
                      <a:pt x="370" y="154"/>
                    </a:lnTo>
                    <a:lnTo>
                      <a:pt x="363" y="159"/>
                    </a:lnTo>
                    <a:lnTo>
                      <a:pt x="363" y="161"/>
                    </a:lnTo>
                    <a:lnTo>
                      <a:pt x="359" y="164"/>
                    </a:lnTo>
                    <a:lnTo>
                      <a:pt x="355" y="167"/>
                    </a:lnTo>
                    <a:lnTo>
                      <a:pt x="355" y="168"/>
                    </a:lnTo>
                    <a:lnTo>
                      <a:pt x="354" y="170"/>
                    </a:lnTo>
                    <a:lnTo>
                      <a:pt x="352" y="173"/>
                    </a:lnTo>
                    <a:lnTo>
                      <a:pt x="351" y="173"/>
                    </a:lnTo>
                    <a:lnTo>
                      <a:pt x="351" y="175"/>
                    </a:lnTo>
                    <a:lnTo>
                      <a:pt x="347" y="176"/>
                    </a:lnTo>
                    <a:lnTo>
                      <a:pt x="346" y="180"/>
                    </a:lnTo>
                    <a:lnTo>
                      <a:pt x="344" y="181"/>
                    </a:lnTo>
                    <a:lnTo>
                      <a:pt x="343" y="184"/>
                    </a:lnTo>
                    <a:lnTo>
                      <a:pt x="343" y="184"/>
                    </a:lnTo>
                    <a:lnTo>
                      <a:pt x="343" y="186"/>
                    </a:lnTo>
                    <a:lnTo>
                      <a:pt x="343" y="186"/>
                    </a:lnTo>
                    <a:lnTo>
                      <a:pt x="344" y="189"/>
                    </a:lnTo>
                    <a:lnTo>
                      <a:pt x="343" y="192"/>
                    </a:lnTo>
                    <a:lnTo>
                      <a:pt x="340" y="195"/>
                    </a:lnTo>
                    <a:lnTo>
                      <a:pt x="340" y="195"/>
                    </a:lnTo>
                    <a:lnTo>
                      <a:pt x="340" y="197"/>
                    </a:lnTo>
                    <a:lnTo>
                      <a:pt x="340" y="197"/>
                    </a:lnTo>
                    <a:lnTo>
                      <a:pt x="343" y="195"/>
                    </a:lnTo>
                    <a:lnTo>
                      <a:pt x="346" y="195"/>
                    </a:lnTo>
                    <a:lnTo>
                      <a:pt x="346" y="194"/>
                    </a:lnTo>
                    <a:lnTo>
                      <a:pt x="347" y="191"/>
                    </a:lnTo>
                    <a:lnTo>
                      <a:pt x="347" y="191"/>
                    </a:lnTo>
                    <a:lnTo>
                      <a:pt x="349" y="188"/>
                    </a:lnTo>
                    <a:lnTo>
                      <a:pt x="352" y="186"/>
                    </a:lnTo>
                    <a:lnTo>
                      <a:pt x="355" y="184"/>
                    </a:lnTo>
                    <a:lnTo>
                      <a:pt x="359" y="184"/>
                    </a:lnTo>
                    <a:lnTo>
                      <a:pt x="362" y="184"/>
                    </a:lnTo>
                    <a:lnTo>
                      <a:pt x="365" y="186"/>
                    </a:lnTo>
                    <a:lnTo>
                      <a:pt x="366" y="194"/>
                    </a:lnTo>
                    <a:lnTo>
                      <a:pt x="366" y="197"/>
                    </a:lnTo>
                    <a:lnTo>
                      <a:pt x="370" y="200"/>
                    </a:lnTo>
                    <a:lnTo>
                      <a:pt x="373" y="205"/>
                    </a:lnTo>
                    <a:lnTo>
                      <a:pt x="373" y="205"/>
                    </a:lnTo>
                    <a:lnTo>
                      <a:pt x="368" y="208"/>
                    </a:lnTo>
                    <a:lnTo>
                      <a:pt x="365" y="211"/>
                    </a:lnTo>
                    <a:lnTo>
                      <a:pt x="365" y="211"/>
                    </a:lnTo>
                    <a:lnTo>
                      <a:pt x="368" y="214"/>
                    </a:lnTo>
                    <a:lnTo>
                      <a:pt x="371" y="216"/>
                    </a:lnTo>
                    <a:lnTo>
                      <a:pt x="371" y="219"/>
                    </a:lnTo>
                    <a:lnTo>
                      <a:pt x="374" y="224"/>
                    </a:lnTo>
                    <a:lnTo>
                      <a:pt x="378" y="227"/>
                    </a:lnTo>
                    <a:lnTo>
                      <a:pt x="374" y="230"/>
                    </a:lnTo>
                    <a:lnTo>
                      <a:pt x="373" y="233"/>
                    </a:lnTo>
                    <a:lnTo>
                      <a:pt x="370" y="235"/>
                    </a:lnTo>
                    <a:lnTo>
                      <a:pt x="368" y="237"/>
                    </a:lnTo>
                    <a:lnTo>
                      <a:pt x="365" y="237"/>
                    </a:lnTo>
                    <a:lnTo>
                      <a:pt x="360" y="237"/>
                    </a:lnTo>
                    <a:lnTo>
                      <a:pt x="360" y="238"/>
                    </a:lnTo>
                    <a:lnTo>
                      <a:pt x="359" y="238"/>
                    </a:lnTo>
                    <a:lnTo>
                      <a:pt x="360" y="240"/>
                    </a:lnTo>
                    <a:lnTo>
                      <a:pt x="363" y="243"/>
                    </a:lnTo>
                    <a:lnTo>
                      <a:pt x="363" y="245"/>
                    </a:lnTo>
                    <a:lnTo>
                      <a:pt x="365" y="246"/>
                    </a:lnTo>
                    <a:lnTo>
                      <a:pt x="368" y="248"/>
                    </a:lnTo>
                    <a:lnTo>
                      <a:pt x="371" y="251"/>
                    </a:lnTo>
                    <a:lnTo>
                      <a:pt x="373" y="254"/>
                    </a:lnTo>
                    <a:lnTo>
                      <a:pt x="373" y="256"/>
                    </a:lnTo>
                    <a:lnTo>
                      <a:pt x="370" y="256"/>
                    </a:lnTo>
                    <a:lnTo>
                      <a:pt x="368" y="259"/>
                    </a:lnTo>
                    <a:lnTo>
                      <a:pt x="366" y="262"/>
                    </a:lnTo>
                    <a:lnTo>
                      <a:pt x="366" y="265"/>
                    </a:lnTo>
                    <a:lnTo>
                      <a:pt x="368" y="268"/>
                    </a:lnTo>
                    <a:lnTo>
                      <a:pt x="368" y="270"/>
                    </a:lnTo>
                    <a:lnTo>
                      <a:pt x="371" y="273"/>
                    </a:lnTo>
                    <a:lnTo>
                      <a:pt x="376" y="275"/>
                    </a:lnTo>
                    <a:lnTo>
                      <a:pt x="379" y="276"/>
                    </a:lnTo>
                    <a:lnTo>
                      <a:pt x="382" y="278"/>
                    </a:lnTo>
                    <a:lnTo>
                      <a:pt x="386" y="278"/>
                    </a:lnTo>
                    <a:lnTo>
                      <a:pt x="389" y="276"/>
                    </a:lnTo>
                    <a:lnTo>
                      <a:pt x="392" y="276"/>
                    </a:lnTo>
                    <a:lnTo>
                      <a:pt x="393" y="279"/>
                    </a:lnTo>
                    <a:lnTo>
                      <a:pt x="393" y="279"/>
                    </a:lnTo>
                    <a:lnTo>
                      <a:pt x="390" y="284"/>
                    </a:lnTo>
                    <a:lnTo>
                      <a:pt x="387" y="287"/>
                    </a:lnTo>
                    <a:lnTo>
                      <a:pt x="387" y="291"/>
                    </a:lnTo>
                    <a:lnTo>
                      <a:pt x="387" y="292"/>
                    </a:lnTo>
                    <a:lnTo>
                      <a:pt x="384" y="292"/>
                    </a:lnTo>
                    <a:lnTo>
                      <a:pt x="384" y="292"/>
                    </a:lnTo>
                    <a:lnTo>
                      <a:pt x="384" y="292"/>
                    </a:lnTo>
                    <a:lnTo>
                      <a:pt x="382" y="294"/>
                    </a:lnTo>
                    <a:lnTo>
                      <a:pt x="379" y="295"/>
                    </a:lnTo>
                    <a:lnTo>
                      <a:pt x="376" y="297"/>
                    </a:lnTo>
                    <a:lnTo>
                      <a:pt x="374" y="300"/>
                    </a:lnTo>
                    <a:lnTo>
                      <a:pt x="371" y="302"/>
                    </a:lnTo>
                    <a:lnTo>
                      <a:pt x="370" y="302"/>
                    </a:lnTo>
                    <a:lnTo>
                      <a:pt x="368" y="305"/>
                    </a:lnTo>
                    <a:lnTo>
                      <a:pt x="365" y="306"/>
                    </a:lnTo>
                    <a:lnTo>
                      <a:pt x="360" y="308"/>
                    </a:lnTo>
                    <a:lnTo>
                      <a:pt x="357" y="311"/>
                    </a:lnTo>
                    <a:lnTo>
                      <a:pt x="360" y="314"/>
                    </a:lnTo>
                    <a:lnTo>
                      <a:pt x="355" y="316"/>
                    </a:lnTo>
                    <a:lnTo>
                      <a:pt x="352" y="316"/>
                    </a:lnTo>
                    <a:lnTo>
                      <a:pt x="349" y="319"/>
                    </a:lnTo>
                    <a:lnTo>
                      <a:pt x="346" y="318"/>
                    </a:lnTo>
                    <a:lnTo>
                      <a:pt x="341" y="321"/>
                    </a:lnTo>
                    <a:lnTo>
                      <a:pt x="338" y="319"/>
                    </a:lnTo>
                    <a:lnTo>
                      <a:pt x="335" y="318"/>
                    </a:lnTo>
                    <a:lnTo>
                      <a:pt x="332" y="321"/>
                    </a:lnTo>
                    <a:lnTo>
                      <a:pt x="328" y="318"/>
                    </a:lnTo>
                    <a:lnTo>
                      <a:pt x="327" y="316"/>
                    </a:lnTo>
                    <a:lnTo>
                      <a:pt x="324" y="316"/>
                    </a:lnTo>
                    <a:lnTo>
                      <a:pt x="319" y="314"/>
                    </a:lnTo>
                    <a:lnTo>
                      <a:pt x="316" y="314"/>
                    </a:lnTo>
                    <a:lnTo>
                      <a:pt x="317" y="311"/>
                    </a:lnTo>
                    <a:lnTo>
                      <a:pt x="313" y="310"/>
                    </a:lnTo>
                    <a:lnTo>
                      <a:pt x="309" y="310"/>
                    </a:lnTo>
                    <a:lnTo>
                      <a:pt x="306" y="310"/>
                    </a:lnTo>
                    <a:lnTo>
                      <a:pt x="305" y="306"/>
                    </a:lnTo>
                    <a:lnTo>
                      <a:pt x="306" y="306"/>
                    </a:lnTo>
                    <a:lnTo>
                      <a:pt x="309" y="306"/>
                    </a:lnTo>
                    <a:lnTo>
                      <a:pt x="309" y="303"/>
                    </a:lnTo>
                    <a:lnTo>
                      <a:pt x="305" y="302"/>
                    </a:lnTo>
                    <a:lnTo>
                      <a:pt x="306" y="306"/>
                    </a:lnTo>
                    <a:lnTo>
                      <a:pt x="306" y="306"/>
                    </a:lnTo>
                    <a:lnTo>
                      <a:pt x="305" y="306"/>
                    </a:lnTo>
                    <a:lnTo>
                      <a:pt x="301" y="306"/>
                    </a:lnTo>
                    <a:lnTo>
                      <a:pt x="298" y="308"/>
                    </a:lnTo>
                    <a:lnTo>
                      <a:pt x="297" y="303"/>
                    </a:lnTo>
                    <a:lnTo>
                      <a:pt x="295" y="300"/>
                    </a:lnTo>
                    <a:lnTo>
                      <a:pt x="297" y="303"/>
                    </a:lnTo>
                    <a:lnTo>
                      <a:pt x="298" y="306"/>
                    </a:lnTo>
                    <a:lnTo>
                      <a:pt x="294" y="308"/>
                    </a:lnTo>
                    <a:lnTo>
                      <a:pt x="290" y="305"/>
                    </a:lnTo>
                    <a:lnTo>
                      <a:pt x="287" y="305"/>
                    </a:lnTo>
                    <a:lnTo>
                      <a:pt x="286" y="305"/>
                    </a:lnTo>
                    <a:lnTo>
                      <a:pt x="281" y="303"/>
                    </a:lnTo>
                    <a:lnTo>
                      <a:pt x="281" y="303"/>
                    </a:lnTo>
                    <a:lnTo>
                      <a:pt x="276" y="303"/>
                    </a:lnTo>
                    <a:lnTo>
                      <a:pt x="275" y="300"/>
                    </a:lnTo>
                    <a:lnTo>
                      <a:pt x="267" y="305"/>
                    </a:lnTo>
                    <a:lnTo>
                      <a:pt x="257" y="310"/>
                    </a:lnTo>
                    <a:lnTo>
                      <a:pt x="254" y="311"/>
                    </a:lnTo>
                    <a:lnTo>
                      <a:pt x="251" y="313"/>
                    </a:lnTo>
                    <a:lnTo>
                      <a:pt x="248" y="314"/>
                    </a:lnTo>
                    <a:lnTo>
                      <a:pt x="244" y="318"/>
                    </a:lnTo>
                    <a:lnTo>
                      <a:pt x="240" y="321"/>
                    </a:lnTo>
                    <a:lnTo>
                      <a:pt x="241" y="324"/>
                    </a:lnTo>
                    <a:lnTo>
                      <a:pt x="240" y="325"/>
                    </a:lnTo>
                    <a:lnTo>
                      <a:pt x="240" y="325"/>
                    </a:lnTo>
                    <a:lnTo>
                      <a:pt x="240" y="327"/>
                    </a:lnTo>
                    <a:lnTo>
                      <a:pt x="240" y="327"/>
                    </a:lnTo>
                    <a:lnTo>
                      <a:pt x="238" y="329"/>
                    </a:lnTo>
                    <a:lnTo>
                      <a:pt x="240" y="330"/>
                    </a:lnTo>
                    <a:lnTo>
                      <a:pt x="240" y="330"/>
                    </a:lnTo>
                    <a:lnTo>
                      <a:pt x="240" y="341"/>
                    </a:lnTo>
                    <a:lnTo>
                      <a:pt x="243" y="345"/>
                    </a:lnTo>
                    <a:lnTo>
                      <a:pt x="244" y="346"/>
                    </a:lnTo>
                    <a:lnTo>
                      <a:pt x="244" y="346"/>
                    </a:lnTo>
                    <a:lnTo>
                      <a:pt x="241" y="346"/>
                    </a:lnTo>
                    <a:lnTo>
                      <a:pt x="238" y="345"/>
                    </a:lnTo>
                    <a:lnTo>
                      <a:pt x="235" y="345"/>
                    </a:lnTo>
                    <a:lnTo>
                      <a:pt x="235" y="345"/>
                    </a:lnTo>
                    <a:lnTo>
                      <a:pt x="230" y="346"/>
                    </a:lnTo>
                    <a:lnTo>
                      <a:pt x="227" y="349"/>
                    </a:lnTo>
                    <a:lnTo>
                      <a:pt x="224" y="349"/>
                    </a:lnTo>
                    <a:lnTo>
                      <a:pt x="221" y="349"/>
                    </a:lnTo>
                    <a:lnTo>
                      <a:pt x="217" y="348"/>
                    </a:lnTo>
                    <a:lnTo>
                      <a:pt x="214" y="346"/>
                    </a:lnTo>
                    <a:lnTo>
                      <a:pt x="211" y="346"/>
                    </a:lnTo>
                    <a:lnTo>
                      <a:pt x="208" y="349"/>
                    </a:lnTo>
                    <a:lnTo>
                      <a:pt x="205" y="346"/>
                    </a:lnTo>
                    <a:lnTo>
                      <a:pt x="203" y="346"/>
                    </a:lnTo>
                    <a:lnTo>
                      <a:pt x="203" y="346"/>
                    </a:lnTo>
                    <a:lnTo>
                      <a:pt x="202" y="346"/>
                    </a:lnTo>
                    <a:lnTo>
                      <a:pt x="200" y="345"/>
                    </a:lnTo>
                    <a:lnTo>
                      <a:pt x="197" y="345"/>
                    </a:lnTo>
                    <a:lnTo>
                      <a:pt x="197" y="343"/>
                    </a:lnTo>
                    <a:lnTo>
                      <a:pt x="197" y="341"/>
                    </a:lnTo>
                    <a:lnTo>
                      <a:pt x="198" y="341"/>
                    </a:lnTo>
                    <a:lnTo>
                      <a:pt x="195" y="338"/>
                    </a:lnTo>
                    <a:lnTo>
                      <a:pt x="192" y="338"/>
                    </a:lnTo>
                    <a:lnTo>
                      <a:pt x="189" y="337"/>
                    </a:lnTo>
                    <a:lnTo>
                      <a:pt x="187" y="340"/>
                    </a:lnTo>
                    <a:lnTo>
                      <a:pt x="186" y="335"/>
                    </a:lnTo>
                    <a:lnTo>
                      <a:pt x="183" y="335"/>
                    </a:lnTo>
                    <a:lnTo>
                      <a:pt x="178" y="335"/>
                    </a:lnTo>
                    <a:lnTo>
                      <a:pt x="175" y="332"/>
                    </a:lnTo>
                    <a:lnTo>
                      <a:pt x="171" y="332"/>
                    </a:lnTo>
                    <a:lnTo>
                      <a:pt x="168" y="330"/>
                    </a:lnTo>
                    <a:lnTo>
                      <a:pt x="165" y="330"/>
                    </a:lnTo>
                    <a:lnTo>
                      <a:pt x="165" y="330"/>
                    </a:lnTo>
                    <a:lnTo>
                      <a:pt x="163" y="329"/>
                    </a:lnTo>
                    <a:lnTo>
                      <a:pt x="162" y="332"/>
                    </a:lnTo>
                    <a:lnTo>
                      <a:pt x="162" y="337"/>
                    </a:lnTo>
                    <a:lnTo>
                      <a:pt x="159" y="335"/>
                    </a:lnTo>
                    <a:lnTo>
                      <a:pt x="156" y="335"/>
                    </a:lnTo>
                    <a:lnTo>
                      <a:pt x="154" y="337"/>
                    </a:lnTo>
                    <a:lnTo>
                      <a:pt x="151" y="337"/>
                    </a:lnTo>
                    <a:lnTo>
                      <a:pt x="148" y="335"/>
                    </a:lnTo>
                    <a:lnTo>
                      <a:pt x="143" y="335"/>
                    </a:lnTo>
                    <a:lnTo>
                      <a:pt x="140" y="337"/>
                    </a:lnTo>
                    <a:lnTo>
                      <a:pt x="137" y="335"/>
                    </a:lnTo>
                    <a:lnTo>
                      <a:pt x="133" y="332"/>
                    </a:lnTo>
                    <a:lnTo>
                      <a:pt x="130" y="330"/>
                    </a:lnTo>
                    <a:lnTo>
                      <a:pt x="127" y="332"/>
                    </a:lnTo>
                    <a:lnTo>
                      <a:pt x="124" y="330"/>
                    </a:lnTo>
                    <a:lnTo>
                      <a:pt x="124" y="332"/>
                    </a:lnTo>
                    <a:lnTo>
                      <a:pt x="122" y="332"/>
                    </a:lnTo>
                    <a:lnTo>
                      <a:pt x="121" y="330"/>
                    </a:lnTo>
                    <a:lnTo>
                      <a:pt x="117" y="327"/>
                    </a:lnTo>
                    <a:lnTo>
                      <a:pt x="116" y="325"/>
                    </a:lnTo>
                    <a:lnTo>
                      <a:pt x="113" y="325"/>
                    </a:lnTo>
                    <a:lnTo>
                      <a:pt x="108" y="325"/>
                    </a:lnTo>
                    <a:lnTo>
                      <a:pt x="105" y="322"/>
                    </a:lnTo>
                    <a:lnTo>
                      <a:pt x="102" y="322"/>
                    </a:lnTo>
                    <a:lnTo>
                      <a:pt x="98" y="319"/>
                    </a:lnTo>
                    <a:lnTo>
                      <a:pt x="98" y="319"/>
                    </a:lnTo>
                    <a:lnTo>
                      <a:pt x="97" y="322"/>
                    </a:lnTo>
                    <a:lnTo>
                      <a:pt x="94" y="319"/>
                    </a:lnTo>
                    <a:lnTo>
                      <a:pt x="95" y="316"/>
                    </a:lnTo>
                    <a:lnTo>
                      <a:pt x="95" y="313"/>
                    </a:lnTo>
                    <a:lnTo>
                      <a:pt x="92" y="311"/>
                    </a:lnTo>
                    <a:lnTo>
                      <a:pt x="87" y="311"/>
                    </a:lnTo>
                    <a:lnTo>
                      <a:pt x="84" y="311"/>
                    </a:lnTo>
                    <a:lnTo>
                      <a:pt x="84" y="310"/>
                    </a:lnTo>
                    <a:lnTo>
                      <a:pt x="83" y="310"/>
                    </a:lnTo>
                    <a:lnTo>
                      <a:pt x="83" y="308"/>
                    </a:lnTo>
                    <a:lnTo>
                      <a:pt x="86" y="308"/>
                    </a:lnTo>
                    <a:lnTo>
                      <a:pt x="91" y="305"/>
                    </a:lnTo>
                    <a:lnTo>
                      <a:pt x="92" y="302"/>
                    </a:lnTo>
                    <a:lnTo>
                      <a:pt x="94" y="299"/>
                    </a:lnTo>
                    <a:lnTo>
                      <a:pt x="95" y="294"/>
                    </a:lnTo>
                    <a:lnTo>
                      <a:pt x="95" y="291"/>
                    </a:lnTo>
                    <a:lnTo>
                      <a:pt x="97" y="287"/>
                    </a:lnTo>
                    <a:lnTo>
                      <a:pt x="102" y="272"/>
                    </a:lnTo>
                    <a:lnTo>
                      <a:pt x="105" y="257"/>
                    </a:lnTo>
                    <a:lnTo>
                      <a:pt x="108" y="257"/>
                    </a:lnTo>
                    <a:lnTo>
                      <a:pt x="108" y="253"/>
                    </a:lnTo>
                    <a:lnTo>
                      <a:pt x="105" y="254"/>
                    </a:lnTo>
                    <a:lnTo>
                      <a:pt x="103" y="257"/>
                    </a:lnTo>
                    <a:lnTo>
                      <a:pt x="106" y="240"/>
                    </a:lnTo>
                    <a:lnTo>
                      <a:pt x="110" y="221"/>
                    </a:lnTo>
                    <a:lnTo>
                      <a:pt x="113" y="224"/>
                    </a:lnTo>
                    <a:lnTo>
                      <a:pt x="116" y="226"/>
                    </a:lnTo>
                    <a:lnTo>
                      <a:pt x="121" y="229"/>
                    </a:lnTo>
                    <a:lnTo>
                      <a:pt x="121" y="232"/>
                    </a:lnTo>
                    <a:lnTo>
                      <a:pt x="122" y="237"/>
                    </a:lnTo>
                    <a:lnTo>
                      <a:pt x="122" y="240"/>
                    </a:lnTo>
                    <a:lnTo>
                      <a:pt x="125" y="243"/>
                    </a:lnTo>
                    <a:lnTo>
                      <a:pt x="127" y="246"/>
                    </a:lnTo>
                    <a:lnTo>
                      <a:pt x="127" y="246"/>
                    </a:lnTo>
                    <a:lnTo>
                      <a:pt x="127" y="243"/>
                    </a:lnTo>
                    <a:lnTo>
                      <a:pt x="127" y="243"/>
                    </a:lnTo>
                    <a:lnTo>
                      <a:pt x="124" y="238"/>
                    </a:lnTo>
                    <a:lnTo>
                      <a:pt x="122" y="235"/>
                    </a:lnTo>
                    <a:lnTo>
                      <a:pt x="122" y="232"/>
                    </a:lnTo>
                    <a:lnTo>
                      <a:pt x="122" y="230"/>
                    </a:lnTo>
                    <a:lnTo>
                      <a:pt x="121" y="226"/>
                    </a:lnTo>
                    <a:lnTo>
                      <a:pt x="119" y="222"/>
                    </a:lnTo>
                    <a:lnTo>
                      <a:pt x="116" y="221"/>
                    </a:lnTo>
                    <a:lnTo>
                      <a:pt x="111" y="218"/>
                    </a:lnTo>
                    <a:lnTo>
                      <a:pt x="108" y="214"/>
                    </a:lnTo>
                    <a:lnTo>
                      <a:pt x="106" y="214"/>
                    </a:lnTo>
                    <a:lnTo>
                      <a:pt x="106" y="211"/>
                    </a:lnTo>
                    <a:lnTo>
                      <a:pt x="110" y="211"/>
                    </a:lnTo>
                    <a:lnTo>
                      <a:pt x="113" y="213"/>
                    </a:lnTo>
                    <a:lnTo>
                      <a:pt x="110" y="210"/>
                    </a:lnTo>
                    <a:lnTo>
                      <a:pt x="111" y="207"/>
                    </a:lnTo>
                    <a:lnTo>
                      <a:pt x="111" y="203"/>
                    </a:lnTo>
                    <a:lnTo>
                      <a:pt x="111" y="200"/>
                    </a:lnTo>
                    <a:lnTo>
                      <a:pt x="110" y="197"/>
                    </a:lnTo>
                    <a:lnTo>
                      <a:pt x="110" y="192"/>
                    </a:lnTo>
                    <a:lnTo>
                      <a:pt x="111" y="189"/>
                    </a:lnTo>
                    <a:lnTo>
                      <a:pt x="108" y="191"/>
                    </a:lnTo>
                    <a:lnTo>
                      <a:pt x="105" y="189"/>
                    </a:lnTo>
                    <a:lnTo>
                      <a:pt x="102" y="189"/>
                    </a:lnTo>
                    <a:lnTo>
                      <a:pt x="97" y="186"/>
                    </a:lnTo>
                    <a:lnTo>
                      <a:pt x="94" y="184"/>
                    </a:lnTo>
                    <a:lnTo>
                      <a:pt x="91" y="183"/>
                    </a:lnTo>
                    <a:lnTo>
                      <a:pt x="86" y="175"/>
                    </a:lnTo>
                    <a:lnTo>
                      <a:pt x="79" y="168"/>
                    </a:lnTo>
                    <a:lnTo>
                      <a:pt x="83" y="164"/>
                    </a:lnTo>
                    <a:lnTo>
                      <a:pt x="84" y="162"/>
                    </a:lnTo>
                    <a:lnTo>
                      <a:pt x="86" y="161"/>
                    </a:lnTo>
                    <a:lnTo>
                      <a:pt x="81" y="157"/>
                    </a:lnTo>
                    <a:lnTo>
                      <a:pt x="78" y="157"/>
                    </a:lnTo>
                    <a:lnTo>
                      <a:pt x="79" y="154"/>
                    </a:lnTo>
                    <a:lnTo>
                      <a:pt x="81" y="151"/>
                    </a:lnTo>
                    <a:lnTo>
                      <a:pt x="84" y="151"/>
                    </a:lnTo>
                    <a:lnTo>
                      <a:pt x="87" y="151"/>
                    </a:lnTo>
                    <a:lnTo>
                      <a:pt x="91" y="154"/>
                    </a:lnTo>
                    <a:lnTo>
                      <a:pt x="94" y="154"/>
                    </a:lnTo>
                    <a:lnTo>
                      <a:pt x="91" y="153"/>
                    </a:lnTo>
                    <a:lnTo>
                      <a:pt x="86" y="151"/>
                    </a:lnTo>
                    <a:lnTo>
                      <a:pt x="83" y="149"/>
                    </a:lnTo>
                    <a:lnTo>
                      <a:pt x="79" y="151"/>
                    </a:lnTo>
                    <a:lnTo>
                      <a:pt x="79" y="151"/>
                    </a:lnTo>
                    <a:lnTo>
                      <a:pt x="76" y="153"/>
                    </a:lnTo>
                    <a:lnTo>
                      <a:pt x="71" y="151"/>
                    </a:lnTo>
                    <a:lnTo>
                      <a:pt x="68" y="151"/>
                    </a:lnTo>
                    <a:lnTo>
                      <a:pt x="68" y="148"/>
                    </a:lnTo>
                    <a:lnTo>
                      <a:pt x="71" y="146"/>
                    </a:lnTo>
                    <a:lnTo>
                      <a:pt x="71" y="145"/>
                    </a:lnTo>
                    <a:lnTo>
                      <a:pt x="75" y="143"/>
                    </a:lnTo>
                    <a:lnTo>
                      <a:pt x="70" y="142"/>
                    </a:lnTo>
                    <a:lnTo>
                      <a:pt x="67" y="142"/>
                    </a:lnTo>
                    <a:lnTo>
                      <a:pt x="64" y="143"/>
                    </a:lnTo>
                    <a:lnTo>
                      <a:pt x="60" y="143"/>
                    </a:lnTo>
                    <a:lnTo>
                      <a:pt x="57" y="140"/>
                    </a:lnTo>
                    <a:lnTo>
                      <a:pt x="60" y="140"/>
                    </a:lnTo>
                    <a:lnTo>
                      <a:pt x="64" y="138"/>
                    </a:lnTo>
                    <a:lnTo>
                      <a:pt x="60" y="138"/>
                    </a:lnTo>
                    <a:lnTo>
                      <a:pt x="57" y="138"/>
                    </a:lnTo>
                    <a:lnTo>
                      <a:pt x="56" y="137"/>
                    </a:lnTo>
                    <a:lnTo>
                      <a:pt x="52" y="140"/>
                    </a:lnTo>
                    <a:lnTo>
                      <a:pt x="51" y="143"/>
                    </a:lnTo>
                    <a:lnTo>
                      <a:pt x="49" y="140"/>
                    </a:lnTo>
                    <a:lnTo>
                      <a:pt x="48" y="135"/>
                    </a:lnTo>
                    <a:lnTo>
                      <a:pt x="51" y="132"/>
                    </a:lnTo>
                    <a:lnTo>
                      <a:pt x="48" y="135"/>
                    </a:lnTo>
                    <a:lnTo>
                      <a:pt x="45" y="135"/>
                    </a:lnTo>
                    <a:lnTo>
                      <a:pt x="46" y="130"/>
                    </a:lnTo>
                    <a:lnTo>
                      <a:pt x="41" y="134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5" y="132"/>
                    </a:lnTo>
                    <a:lnTo>
                      <a:pt x="30" y="130"/>
                    </a:lnTo>
                    <a:lnTo>
                      <a:pt x="27" y="130"/>
                    </a:lnTo>
                    <a:lnTo>
                      <a:pt x="24" y="127"/>
                    </a:lnTo>
                    <a:lnTo>
                      <a:pt x="21" y="127"/>
                    </a:lnTo>
                    <a:lnTo>
                      <a:pt x="18" y="129"/>
                    </a:lnTo>
                    <a:lnTo>
                      <a:pt x="14" y="130"/>
                    </a:lnTo>
                    <a:lnTo>
                      <a:pt x="11" y="127"/>
                    </a:lnTo>
                    <a:lnTo>
                      <a:pt x="10" y="124"/>
                    </a:lnTo>
                    <a:lnTo>
                      <a:pt x="6" y="122"/>
                    </a:lnTo>
                    <a:lnTo>
                      <a:pt x="3" y="121"/>
                    </a:lnTo>
                    <a:lnTo>
                      <a:pt x="0" y="12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67" name="Freeform 553"/>
              <p:cNvSpPr>
                <a:spLocks/>
              </p:cNvSpPr>
              <p:nvPr/>
            </p:nvSpPr>
            <p:spPr bwMode="auto">
              <a:xfrm>
                <a:off x="2756" y="1612"/>
                <a:ext cx="16" cy="32"/>
              </a:xfrm>
              <a:custGeom>
                <a:avLst/>
                <a:gdLst>
                  <a:gd name="T0" fmla="*/ 2 w 34"/>
                  <a:gd name="T1" fmla="*/ 24 h 65"/>
                  <a:gd name="T2" fmla="*/ 5 w 34"/>
                  <a:gd name="T3" fmla="*/ 21 h 65"/>
                  <a:gd name="T4" fmla="*/ 7 w 34"/>
                  <a:gd name="T5" fmla="*/ 17 h 65"/>
                  <a:gd name="T6" fmla="*/ 10 w 34"/>
                  <a:gd name="T7" fmla="*/ 16 h 65"/>
                  <a:gd name="T8" fmla="*/ 13 w 34"/>
                  <a:gd name="T9" fmla="*/ 14 h 65"/>
                  <a:gd name="T10" fmla="*/ 16 w 34"/>
                  <a:gd name="T11" fmla="*/ 13 h 65"/>
                  <a:gd name="T12" fmla="*/ 19 w 34"/>
                  <a:gd name="T13" fmla="*/ 11 h 65"/>
                  <a:gd name="T14" fmla="*/ 24 w 34"/>
                  <a:gd name="T15" fmla="*/ 11 h 65"/>
                  <a:gd name="T16" fmla="*/ 26 w 34"/>
                  <a:gd name="T17" fmla="*/ 6 h 65"/>
                  <a:gd name="T18" fmla="*/ 26 w 34"/>
                  <a:gd name="T19" fmla="*/ 3 h 65"/>
                  <a:gd name="T20" fmla="*/ 27 w 34"/>
                  <a:gd name="T21" fmla="*/ 0 h 65"/>
                  <a:gd name="T22" fmla="*/ 31 w 34"/>
                  <a:gd name="T23" fmla="*/ 0 h 65"/>
                  <a:gd name="T24" fmla="*/ 31 w 34"/>
                  <a:gd name="T25" fmla="*/ 3 h 65"/>
                  <a:gd name="T26" fmla="*/ 32 w 34"/>
                  <a:gd name="T27" fmla="*/ 6 h 65"/>
                  <a:gd name="T28" fmla="*/ 31 w 34"/>
                  <a:gd name="T29" fmla="*/ 9 h 65"/>
                  <a:gd name="T30" fmla="*/ 31 w 34"/>
                  <a:gd name="T31" fmla="*/ 13 h 65"/>
                  <a:gd name="T32" fmla="*/ 32 w 34"/>
                  <a:gd name="T33" fmla="*/ 17 h 65"/>
                  <a:gd name="T34" fmla="*/ 34 w 34"/>
                  <a:gd name="T35" fmla="*/ 25 h 65"/>
                  <a:gd name="T36" fmla="*/ 34 w 34"/>
                  <a:gd name="T37" fmla="*/ 35 h 65"/>
                  <a:gd name="T38" fmla="*/ 31 w 34"/>
                  <a:gd name="T39" fmla="*/ 40 h 65"/>
                  <a:gd name="T40" fmla="*/ 29 w 34"/>
                  <a:gd name="T41" fmla="*/ 47 h 65"/>
                  <a:gd name="T42" fmla="*/ 29 w 34"/>
                  <a:gd name="T43" fmla="*/ 52 h 65"/>
                  <a:gd name="T44" fmla="*/ 27 w 34"/>
                  <a:gd name="T45" fmla="*/ 55 h 65"/>
                  <a:gd name="T46" fmla="*/ 24 w 34"/>
                  <a:gd name="T47" fmla="*/ 59 h 65"/>
                  <a:gd name="T48" fmla="*/ 23 w 34"/>
                  <a:gd name="T49" fmla="*/ 62 h 65"/>
                  <a:gd name="T50" fmla="*/ 21 w 34"/>
                  <a:gd name="T51" fmla="*/ 65 h 65"/>
                  <a:gd name="T52" fmla="*/ 21 w 34"/>
                  <a:gd name="T53" fmla="*/ 65 h 65"/>
                  <a:gd name="T54" fmla="*/ 18 w 34"/>
                  <a:gd name="T55" fmla="*/ 62 h 65"/>
                  <a:gd name="T56" fmla="*/ 15 w 34"/>
                  <a:gd name="T57" fmla="*/ 60 h 65"/>
                  <a:gd name="T58" fmla="*/ 10 w 34"/>
                  <a:gd name="T59" fmla="*/ 59 h 65"/>
                  <a:gd name="T60" fmla="*/ 8 w 34"/>
                  <a:gd name="T61" fmla="*/ 55 h 65"/>
                  <a:gd name="T62" fmla="*/ 12 w 34"/>
                  <a:gd name="T63" fmla="*/ 52 h 65"/>
                  <a:gd name="T64" fmla="*/ 8 w 34"/>
                  <a:gd name="T65" fmla="*/ 52 h 65"/>
                  <a:gd name="T66" fmla="*/ 5 w 34"/>
                  <a:gd name="T67" fmla="*/ 51 h 65"/>
                  <a:gd name="T68" fmla="*/ 8 w 34"/>
                  <a:gd name="T69" fmla="*/ 47 h 65"/>
                  <a:gd name="T70" fmla="*/ 8 w 34"/>
                  <a:gd name="T71" fmla="*/ 43 h 65"/>
                  <a:gd name="T72" fmla="*/ 5 w 34"/>
                  <a:gd name="T73" fmla="*/ 43 h 65"/>
                  <a:gd name="T74" fmla="*/ 4 w 34"/>
                  <a:gd name="T75" fmla="*/ 40 h 65"/>
                  <a:gd name="T76" fmla="*/ 5 w 34"/>
                  <a:gd name="T77" fmla="*/ 36 h 65"/>
                  <a:gd name="T78" fmla="*/ 2 w 34"/>
                  <a:gd name="T79" fmla="*/ 35 h 65"/>
                  <a:gd name="T80" fmla="*/ 0 w 34"/>
                  <a:gd name="T81" fmla="*/ 32 h 65"/>
                  <a:gd name="T82" fmla="*/ 5 w 34"/>
                  <a:gd name="T83" fmla="*/ 28 h 65"/>
                  <a:gd name="T84" fmla="*/ 2 w 34"/>
                  <a:gd name="T85" fmla="*/ 25 h 65"/>
                  <a:gd name="T86" fmla="*/ 2 w 34"/>
                  <a:gd name="T87" fmla="*/ 24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4" h="65">
                    <a:moveTo>
                      <a:pt x="2" y="24"/>
                    </a:moveTo>
                    <a:lnTo>
                      <a:pt x="5" y="21"/>
                    </a:lnTo>
                    <a:lnTo>
                      <a:pt x="7" y="17"/>
                    </a:lnTo>
                    <a:lnTo>
                      <a:pt x="10" y="16"/>
                    </a:lnTo>
                    <a:lnTo>
                      <a:pt x="13" y="14"/>
                    </a:lnTo>
                    <a:lnTo>
                      <a:pt x="16" y="13"/>
                    </a:lnTo>
                    <a:lnTo>
                      <a:pt x="19" y="11"/>
                    </a:lnTo>
                    <a:lnTo>
                      <a:pt x="24" y="11"/>
                    </a:lnTo>
                    <a:lnTo>
                      <a:pt x="26" y="6"/>
                    </a:lnTo>
                    <a:lnTo>
                      <a:pt x="26" y="3"/>
                    </a:lnTo>
                    <a:lnTo>
                      <a:pt x="27" y="0"/>
                    </a:lnTo>
                    <a:lnTo>
                      <a:pt x="31" y="0"/>
                    </a:lnTo>
                    <a:lnTo>
                      <a:pt x="31" y="3"/>
                    </a:lnTo>
                    <a:lnTo>
                      <a:pt x="32" y="6"/>
                    </a:lnTo>
                    <a:lnTo>
                      <a:pt x="31" y="9"/>
                    </a:lnTo>
                    <a:lnTo>
                      <a:pt x="31" y="13"/>
                    </a:lnTo>
                    <a:lnTo>
                      <a:pt x="32" y="17"/>
                    </a:lnTo>
                    <a:lnTo>
                      <a:pt x="34" y="25"/>
                    </a:lnTo>
                    <a:lnTo>
                      <a:pt x="34" y="35"/>
                    </a:lnTo>
                    <a:lnTo>
                      <a:pt x="31" y="40"/>
                    </a:lnTo>
                    <a:lnTo>
                      <a:pt x="29" y="47"/>
                    </a:lnTo>
                    <a:lnTo>
                      <a:pt x="29" y="52"/>
                    </a:lnTo>
                    <a:lnTo>
                      <a:pt x="27" y="55"/>
                    </a:lnTo>
                    <a:lnTo>
                      <a:pt x="24" y="59"/>
                    </a:lnTo>
                    <a:lnTo>
                      <a:pt x="23" y="62"/>
                    </a:lnTo>
                    <a:lnTo>
                      <a:pt x="21" y="65"/>
                    </a:lnTo>
                    <a:lnTo>
                      <a:pt x="21" y="65"/>
                    </a:lnTo>
                    <a:lnTo>
                      <a:pt x="18" y="62"/>
                    </a:lnTo>
                    <a:lnTo>
                      <a:pt x="15" y="60"/>
                    </a:lnTo>
                    <a:lnTo>
                      <a:pt x="10" y="59"/>
                    </a:lnTo>
                    <a:lnTo>
                      <a:pt x="8" y="55"/>
                    </a:lnTo>
                    <a:lnTo>
                      <a:pt x="12" y="52"/>
                    </a:lnTo>
                    <a:lnTo>
                      <a:pt x="8" y="52"/>
                    </a:lnTo>
                    <a:lnTo>
                      <a:pt x="5" y="51"/>
                    </a:lnTo>
                    <a:lnTo>
                      <a:pt x="8" y="47"/>
                    </a:lnTo>
                    <a:lnTo>
                      <a:pt x="8" y="43"/>
                    </a:lnTo>
                    <a:lnTo>
                      <a:pt x="5" y="43"/>
                    </a:lnTo>
                    <a:lnTo>
                      <a:pt x="4" y="40"/>
                    </a:lnTo>
                    <a:lnTo>
                      <a:pt x="5" y="36"/>
                    </a:lnTo>
                    <a:lnTo>
                      <a:pt x="2" y="35"/>
                    </a:lnTo>
                    <a:lnTo>
                      <a:pt x="0" y="32"/>
                    </a:lnTo>
                    <a:lnTo>
                      <a:pt x="5" y="28"/>
                    </a:lnTo>
                    <a:lnTo>
                      <a:pt x="2" y="25"/>
                    </a:lnTo>
                    <a:lnTo>
                      <a:pt x="2" y="2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grpSp>
          <p:nvGrpSpPr>
            <p:cNvPr id="329" name="Group 554"/>
            <p:cNvGrpSpPr>
              <a:grpSpLocks/>
            </p:cNvGrpSpPr>
            <p:nvPr/>
          </p:nvGrpSpPr>
          <p:grpSpPr bwMode="auto">
            <a:xfrm>
              <a:off x="5228277" y="2760818"/>
              <a:ext cx="219086" cy="346953"/>
              <a:chOff x="2504" y="1267"/>
              <a:chExt cx="149" cy="205"/>
            </a:xfrm>
            <a:solidFill>
              <a:srgbClr val="A6A6A6"/>
            </a:solidFill>
          </p:grpSpPr>
          <p:sp>
            <p:nvSpPr>
              <p:cNvPr id="658" name="Freeform 555"/>
              <p:cNvSpPr>
                <a:spLocks/>
              </p:cNvSpPr>
              <p:nvPr/>
            </p:nvSpPr>
            <p:spPr bwMode="auto">
              <a:xfrm>
                <a:off x="2534" y="1304"/>
                <a:ext cx="119" cy="168"/>
              </a:xfrm>
              <a:custGeom>
                <a:avLst/>
                <a:gdLst>
                  <a:gd name="T0" fmla="*/ 40 w 238"/>
                  <a:gd name="T1" fmla="*/ 320 h 334"/>
                  <a:gd name="T2" fmla="*/ 65 w 238"/>
                  <a:gd name="T3" fmla="*/ 323 h 334"/>
                  <a:gd name="T4" fmla="*/ 89 w 238"/>
                  <a:gd name="T5" fmla="*/ 306 h 334"/>
                  <a:gd name="T6" fmla="*/ 127 w 238"/>
                  <a:gd name="T7" fmla="*/ 306 h 334"/>
                  <a:gd name="T8" fmla="*/ 170 w 238"/>
                  <a:gd name="T9" fmla="*/ 302 h 334"/>
                  <a:gd name="T10" fmla="*/ 216 w 238"/>
                  <a:gd name="T11" fmla="*/ 291 h 334"/>
                  <a:gd name="T12" fmla="*/ 205 w 238"/>
                  <a:gd name="T13" fmla="*/ 277 h 334"/>
                  <a:gd name="T14" fmla="*/ 207 w 238"/>
                  <a:gd name="T15" fmla="*/ 268 h 334"/>
                  <a:gd name="T16" fmla="*/ 219 w 238"/>
                  <a:gd name="T17" fmla="*/ 255 h 334"/>
                  <a:gd name="T18" fmla="*/ 235 w 238"/>
                  <a:gd name="T19" fmla="*/ 225 h 334"/>
                  <a:gd name="T20" fmla="*/ 192 w 238"/>
                  <a:gd name="T21" fmla="*/ 223 h 334"/>
                  <a:gd name="T22" fmla="*/ 187 w 238"/>
                  <a:gd name="T23" fmla="*/ 196 h 334"/>
                  <a:gd name="T24" fmla="*/ 170 w 238"/>
                  <a:gd name="T25" fmla="*/ 188 h 334"/>
                  <a:gd name="T26" fmla="*/ 183 w 238"/>
                  <a:gd name="T27" fmla="*/ 182 h 334"/>
                  <a:gd name="T28" fmla="*/ 154 w 238"/>
                  <a:gd name="T29" fmla="*/ 153 h 334"/>
                  <a:gd name="T30" fmla="*/ 145 w 238"/>
                  <a:gd name="T31" fmla="*/ 120 h 334"/>
                  <a:gd name="T32" fmla="*/ 116 w 238"/>
                  <a:gd name="T33" fmla="*/ 100 h 334"/>
                  <a:gd name="T34" fmla="*/ 81 w 238"/>
                  <a:gd name="T35" fmla="*/ 98 h 334"/>
                  <a:gd name="T36" fmla="*/ 103 w 238"/>
                  <a:gd name="T37" fmla="*/ 93 h 334"/>
                  <a:gd name="T38" fmla="*/ 100 w 238"/>
                  <a:gd name="T39" fmla="*/ 85 h 334"/>
                  <a:gd name="T40" fmla="*/ 121 w 238"/>
                  <a:gd name="T41" fmla="*/ 77 h 334"/>
                  <a:gd name="T42" fmla="*/ 141 w 238"/>
                  <a:gd name="T43" fmla="*/ 47 h 334"/>
                  <a:gd name="T44" fmla="*/ 99 w 238"/>
                  <a:gd name="T45" fmla="*/ 34 h 334"/>
                  <a:gd name="T46" fmla="*/ 76 w 238"/>
                  <a:gd name="T47" fmla="*/ 39 h 334"/>
                  <a:gd name="T48" fmla="*/ 73 w 238"/>
                  <a:gd name="T49" fmla="*/ 30 h 334"/>
                  <a:gd name="T50" fmla="*/ 84 w 238"/>
                  <a:gd name="T51" fmla="*/ 23 h 334"/>
                  <a:gd name="T52" fmla="*/ 102 w 238"/>
                  <a:gd name="T53" fmla="*/ 0 h 334"/>
                  <a:gd name="T54" fmla="*/ 69 w 238"/>
                  <a:gd name="T55" fmla="*/ 4 h 334"/>
                  <a:gd name="T56" fmla="*/ 51 w 238"/>
                  <a:gd name="T57" fmla="*/ 9 h 334"/>
                  <a:gd name="T58" fmla="*/ 43 w 238"/>
                  <a:gd name="T59" fmla="*/ 25 h 334"/>
                  <a:gd name="T60" fmla="*/ 30 w 238"/>
                  <a:gd name="T61" fmla="*/ 42 h 334"/>
                  <a:gd name="T62" fmla="*/ 35 w 238"/>
                  <a:gd name="T63" fmla="*/ 54 h 334"/>
                  <a:gd name="T64" fmla="*/ 23 w 238"/>
                  <a:gd name="T65" fmla="*/ 63 h 334"/>
                  <a:gd name="T66" fmla="*/ 19 w 238"/>
                  <a:gd name="T67" fmla="*/ 74 h 334"/>
                  <a:gd name="T68" fmla="*/ 35 w 238"/>
                  <a:gd name="T69" fmla="*/ 74 h 334"/>
                  <a:gd name="T70" fmla="*/ 34 w 238"/>
                  <a:gd name="T71" fmla="*/ 79 h 334"/>
                  <a:gd name="T72" fmla="*/ 29 w 238"/>
                  <a:gd name="T73" fmla="*/ 95 h 334"/>
                  <a:gd name="T74" fmla="*/ 19 w 238"/>
                  <a:gd name="T75" fmla="*/ 117 h 334"/>
                  <a:gd name="T76" fmla="*/ 30 w 238"/>
                  <a:gd name="T77" fmla="*/ 103 h 334"/>
                  <a:gd name="T78" fmla="*/ 37 w 238"/>
                  <a:gd name="T79" fmla="*/ 104 h 334"/>
                  <a:gd name="T80" fmla="*/ 46 w 238"/>
                  <a:gd name="T81" fmla="*/ 101 h 334"/>
                  <a:gd name="T82" fmla="*/ 53 w 238"/>
                  <a:gd name="T83" fmla="*/ 103 h 334"/>
                  <a:gd name="T84" fmla="*/ 43 w 238"/>
                  <a:gd name="T85" fmla="*/ 131 h 334"/>
                  <a:gd name="T86" fmla="*/ 35 w 238"/>
                  <a:gd name="T87" fmla="*/ 145 h 334"/>
                  <a:gd name="T88" fmla="*/ 57 w 238"/>
                  <a:gd name="T89" fmla="*/ 149 h 334"/>
                  <a:gd name="T90" fmla="*/ 88 w 238"/>
                  <a:gd name="T91" fmla="*/ 139 h 334"/>
                  <a:gd name="T92" fmla="*/ 83 w 238"/>
                  <a:gd name="T93" fmla="*/ 152 h 334"/>
                  <a:gd name="T94" fmla="*/ 95 w 238"/>
                  <a:gd name="T95" fmla="*/ 169 h 334"/>
                  <a:gd name="T96" fmla="*/ 95 w 238"/>
                  <a:gd name="T97" fmla="*/ 180 h 334"/>
                  <a:gd name="T98" fmla="*/ 100 w 238"/>
                  <a:gd name="T99" fmla="*/ 204 h 334"/>
                  <a:gd name="T100" fmla="*/ 91 w 238"/>
                  <a:gd name="T101" fmla="*/ 206 h 334"/>
                  <a:gd name="T102" fmla="*/ 59 w 238"/>
                  <a:gd name="T103" fmla="*/ 207 h 334"/>
                  <a:gd name="T104" fmla="*/ 54 w 238"/>
                  <a:gd name="T105" fmla="*/ 211 h 334"/>
                  <a:gd name="T106" fmla="*/ 61 w 238"/>
                  <a:gd name="T107" fmla="*/ 228 h 334"/>
                  <a:gd name="T108" fmla="*/ 43 w 238"/>
                  <a:gd name="T109" fmla="*/ 250 h 334"/>
                  <a:gd name="T110" fmla="*/ 27 w 238"/>
                  <a:gd name="T111" fmla="*/ 268 h 334"/>
                  <a:gd name="T112" fmla="*/ 45 w 238"/>
                  <a:gd name="T113" fmla="*/ 266 h 334"/>
                  <a:gd name="T114" fmla="*/ 56 w 238"/>
                  <a:gd name="T115" fmla="*/ 272 h 334"/>
                  <a:gd name="T116" fmla="*/ 86 w 238"/>
                  <a:gd name="T117" fmla="*/ 276 h 334"/>
                  <a:gd name="T118" fmla="*/ 100 w 238"/>
                  <a:gd name="T119" fmla="*/ 272 h 334"/>
                  <a:gd name="T120" fmla="*/ 45 w 238"/>
                  <a:gd name="T121" fmla="*/ 295 h 334"/>
                  <a:gd name="T122" fmla="*/ 15 w 238"/>
                  <a:gd name="T123" fmla="*/ 323 h 3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38" h="334">
                    <a:moveTo>
                      <a:pt x="15" y="334"/>
                    </a:moveTo>
                    <a:lnTo>
                      <a:pt x="16" y="334"/>
                    </a:lnTo>
                    <a:lnTo>
                      <a:pt x="19" y="333"/>
                    </a:lnTo>
                    <a:lnTo>
                      <a:pt x="19" y="329"/>
                    </a:lnTo>
                    <a:lnTo>
                      <a:pt x="23" y="328"/>
                    </a:lnTo>
                    <a:lnTo>
                      <a:pt x="23" y="328"/>
                    </a:lnTo>
                    <a:lnTo>
                      <a:pt x="26" y="325"/>
                    </a:lnTo>
                    <a:lnTo>
                      <a:pt x="30" y="323"/>
                    </a:lnTo>
                    <a:lnTo>
                      <a:pt x="34" y="322"/>
                    </a:lnTo>
                    <a:lnTo>
                      <a:pt x="37" y="322"/>
                    </a:lnTo>
                    <a:lnTo>
                      <a:pt x="40" y="320"/>
                    </a:lnTo>
                    <a:lnTo>
                      <a:pt x="43" y="320"/>
                    </a:lnTo>
                    <a:lnTo>
                      <a:pt x="48" y="318"/>
                    </a:lnTo>
                    <a:lnTo>
                      <a:pt x="48" y="318"/>
                    </a:lnTo>
                    <a:lnTo>
                      <a:pt x="48" y="317"/>
                    </a:lnTo>
                    <a:lnTo>
                      <a:pt x="48" y="318"/>
                    </a:lnTo>
                    <a:lnTo>
                      <a:pt x="50" y="318"/>
                    </a:lnTo>
                    <a:lnTo>
                      <a:pt x="51" y="322"/>
                    </a:lnTo>
                    <a:lnTo>
                      <a:pt x="54" y="322"/>
                    </a:lnTo>
                    <a:lnTo>
                      <a:pt x="57" y="323"/>
                    </a:lnTo>
                    <a:lnTo>
                      <a:pt x="62" y="326"/>
                    </a:lnTo>
                    <a:lnTo>
                      <a:pt x="65" y="323"/>
                    </a:lnTo>
                    <a:lnTo>
                      <a:pt x="69" y="320"/>
                    </a:lnTo>
                    <a:lnTo>
                      <a:pt x="69" y="318"/>
                    </a:lnTo>
                    <a:lnTo>
                      <a:pt x="70" y="314"/>
                    </a:lnTo>
                    <a:lnTo>
                      <a:pt x="72" y="310"/>
                    </a:lnTo>
                    <a:lnTo>
                      <a:pt x="72" y="307"/>
                    </a:lnTo>
                    <a:lnTo>
                      <a:pt x="75" y="310"/>
                    </a:lnTo>
                    <a:lnTo>
                      <a:pt x="75" y="310"/>
                    </a:lnTo>
                    <a:lnTo>
                      <a:pt x="78" y="309"/>
                    </a:lnTo>
                    <a:lnTo>
                      <a:pt x="81" y="307"/>
                    </a:lnTo>
                    <a:lnTo>
                      <a:pt x="84" y="306"/>
                    </a:lnTo>
                    <a:lnTo>
                      <a:pt x="89" y="306"/>
                    </a:lnTo>
                    <a:lnTo>
                      <a:pt x="91" y="306"/>
                    </a:lnTo>
                    <a:lnTo>
                      <a:pt x="94" y="306"/>
                    </a:lnTo>
                    <a:lnTo>
                      <a:pt x="100" y="309"/>
                    </a:lnTo>
                    <a:lnTo>
                      <a:pt x="103" y="312"/>
                    </a:lnTo>
                    <a:lnTo>
                      <a:pt x="105" y="309"/>
                    </a:lnTo>
                    <a:lnTo>
                      <a:pt x="110" y="309"/>
                    </a:lnTo>
                    <a:lnTo>
                      <a:pt x="113" y="309"/>
                    </a:lnTo>
                    <a:lnTo>
                      <a:pt x="116" y="310"/>
                    </a:lnTo>
                    <a:lnTo>
                      <a:pt x="119" y="307"/>
                    </a:lnTo>
                    <a:lnTo>
                      <a:pt x="116" y="306"/>
                    </a:lnTo>
                    <a:lnTo>
                      <a:pt x="127" y="306"/>
                    </a:lnTo>
                    <a:lnTo>
                      <a:pt x="140" y="302"/>
                    </a:lnTo>
                    <a:lnTo>
                      <a:pt x="137" y="299"/>
                    </a:lnTo>
                    <a:lnTo>
                      <a:pt x="141" y="301"/>
                    </a:lnTo>
                    <a:lnTo>
                      <a:pt x="145" y="301"/>
                    </a:lnTo>
                    <a:lnTo>
                      <a:pt x="148" y="302"/>
                    </a:lnTo>
                    <a:lnTo>
                      <a:pt x="151" y="301"/>
                    </a:lnTo>
                    <a:lnTo>
                      <a:pt x="154" y="304"/>
                    </a:lnTo>
                    <a:lnTo>
                      <a:pt x="161" y="302"/>
                    </a:lnTo>
                    <a:lnTo>
                      <a:pt x="164" y="302"/>
                    </a:lnTo>
                    <a:lnTo>
                      <a:pt x="167" y="302"/>
                    </a:lnTo>
                    <a:lnTo>
                      <a:pt x="170" y="302"/>
                    </a:lnTo>
                    <a:lnTo>
                      <a:pt x="175" y="301"/>
                    </a:lnTo>
                    <a:lnTo>
                      <a:pt x="176" y="302"/>
                    </a:lnTo>
                    <a:lnTo>
                      <a:pt x="184" y="304"/>
                    </a:lnTo>
                    <a:lnTo>
                      <a:pt x="187" y="304"/>
                    </a:lnTo>
                    <a:lnTo>
                      <a:pt x="191" y="302"/>
                    </a:lnTo>
                    <a:lnTo>
                      <a:pt x="194" y="301"/>
                    </a:lnTo>
                    <a:lnTo>
                      <a:pt x="202" y="299"/>
                    </a:lnTo>
                    <a:lnTo>
                      <a:pt x="205" y="298"/>
                    </a:lnTo>
                    <a:lnTo>
                      <a:pt x="211" y="298"/>
                    </a:lnTo>
                    <a:lnTo>
                      <a:pt x="211" y="295"/>
                    </a:lnTo>
                    <a:lnTo>
                      <a:pt x="216" y="291"/>
                    </a:lnTo>
                    <a:lnTo>
                      <a:pt x="219" y="291"/>
                    </a:lnTo>
                    <a:lnTo>
                      <a:pt x="222" y="290"/>
                    </a:lnTo>
                    <a:lnTo>
                      <a:pt x="226" y="287"/>
                    </a:lnTo>
                    <a:lnTo>
                      <a:pt x="224" y="283"/>
                    </a:lnTo>
                    <a:lnTo>
                      <a:pt x="224" y="280"/>
                    </a:lnTo>
                    <a:lnTo>
                      <a:pt x="216" y="280"/>
                    </a:lnTo>
                    <a:lnTo>
                      <a:pt x="213" y="282"/>
                    </a:lnTo>
                    <a:lnTo>
                      <a:pt x="208" y="280"/>
                    </a:lnTo>
                    <a:lnTo>
                      <a:pt x="199" y="279"/>
                    </a:lnTo>
                    <a:lnTo>
                      <a:pt x="202" y="279"/>
                    </a:lnTo>
                    <a:lnTo>
                      <a:pt x="205" y="277"/>
                    </a:lnTo>
                    <a:lnTo>
                      <a:pt x="202" y="276"/>
                    </a:lnTo>
                    <a:lnTo>
                      <a:pt x="197" y="276"/>
                    </a:lnTo>
                    <a:lnTo>
                      <a:pt x="194" y="277"/>
                    </a:lnTo>
                    <a:lnTo>
                      <a:pt x="197" y="276"/>
                    </a:lnTo>
                    <a:lnTo>
                      <a:pt x="200" y="274"/>
                    </a:lnTo>
                    <a:lnTo>
                      <a:pt x="205" y="274"/>
                    </a:lnTo>
                    <a:lnTo>
                      <a:pt x="205" y="274"/>
                    </a:lnTo>
                    <a:lnTo>
                      <a:pt x="208" y="274"/>
                    </a:lnTo>
                    <a:lnTo>
                      <a:pt x="211" y="271"/>
                    </a:lnTo>
                    <a:lnTo>
                      <a:pt x="210" y="266"/>
                    </a:lnTo>
                    <a:lnTo>
                      <a:pt x="207" y="268"/>
                    </a:lnTo>
                    <a:lnTo>
                      <a:pt x="205" y="266"/>
                    </a:lnTo>
                    <a:lnTo>
                      <a:pt x="208" y="266"/>
                    </a:lnTo>
                    <a:lnTo>
                      <a:pt x="211" y="263"/>
                    </a:lnTo>
                    <a:lnTo>
                      <a:pt x="216" y="264"/>
                    </a:lnTo>
                    <a:lnTo>
                      <a:pt x="219" y="264"/>
                    </a:lnTo>
                    <a:lnTo>
                      <a:pt x="222" y="261"/>
                    </a:lnTo>
                    <a:lnTo>
                      <a:pt x="219" y="258"/>
                    </a:lnTo>
                    <a:lnTo>
                      <a:pt x="218" y="258"/>
                    </a:lnTo>
                    <a:lnTo>
                      <a:pt x="219" y="257"/>
                    </a:lnTo>
                    <a:lnTo>
                      <a:pt x="222" y="257"/>
                    </a:lnTo>
                    <a:lnTo>
                      <a:pt x="219" y="255"/>
                    </a:lnTo>
                    <a:lnTo>
                      <a:pt x="226" y="257"/>
                    </a:lnTo>
                    <a:lnTo>
                      <a:pt x="229" y="253"/>
                    </a:lnTo>
                    <a:lnTo>
                      <a:pt x="233" y="252"/>
                    </a:lnTo>
                    <a:lnTo>
                      <a:pt x="233" y="247"/>
                    </a:lnTo>
                    <a:lnTo>
                      <a:pt x="235" y="244"/>
                    </a:lnTo>
                    <a:lnTo>
                      <a:pt x="237" y="241"/>
                    </a:lnTo>
                    <a:lnTo>
                      <a:pt x="238" y="237"/>
                    </a:lnTo>
                    <a:lnTo>
                      <a:pt x="238" y="234"/>
                    </a:lnTo>
                    <a:lnTo>
                      <a:pt x="238" y="233"/>
                    </a:lnTo>
                    <a:lnTo>
                      <a:pt x="238" y="228"/>
                    </a:lnTo>
                    <a:lnTo>
                      <a:pt x="235" y="225"/>
                    </a:lnTo>
                    <a:lnTo>
                      <a:pt x="232" y="223"/>
                    </a:lnTo>
                    <a:lnTo>
                      <a:pt x="229" y="220"/>
                    </a:lnTo>
                    <a:lnTo>
                      <a:pt x="226" y="220"/>
                    </a:lnTo>
                    <a:lnTo>
                      <a:pt x="219" y="218"/>
                    </a:lnTo>
                    <a:lnTo>
                      <a:pt x="214" y="218"/>
                    </a:lnTo>
                    <a:lnTo>
                      <a:pt x="208" y="217"/>
                    </a:lnTo>
                    <a:lnTo>
                      <a:pt x="203" y="217"/>
                    </a:lnTo>
                    <a:lnTo>
                      <a:pt x="200" y="220"/>
                    </a:lnTo>
                    <a:lnTo>
                      <a:pt x="197" y="225"/>
                    </a:lnTo>
                    <a:lnTo>
                      <a:pt x="194" y="225"/>
                    </a:lnTo>
                    <a:lnTo>
                      <a:pt x="192" y="223"/>
                    </a:lnTo>
                    <a:lnTo>
                      <a:pt x="189" y="222"/>
                    </a:lnTo>
                    <a:lnTo>
                      <a:pt x="186" y="222"/>
                    </a:lnTo>
                    <a:lnTo>
                      <a:pt x="186" y="220"/>
                    </a:lnTo>
                    <a:lnTo>
                      <a:pt x="189" y="217"/>
                    </a:lnTo>
                    <a:lnTo>
                      <a:pt x="192" y="215"/>
                    </a:lnTo>
                    <a:lnTo>
                      <a:pt x="197" y="212"/>
                    </a:lnTo>
                    <a:lnTo>
                      <a:pt x="197" y="207"/>
                    </a:lnTo>
                    <a:lnTo>
                      <a:pt x="195" y="204"/>
                    </a:lnTo>
                    <a:lnTo>
                      <a:pt x="194" y="201"/>
                    </a:lnTo>
                    <a:lnTo>
                      <a:pt x="191" y="198"/>
                    </a:lnTo>
                    <a:lnTo>
                      <a:pt x="187" y="196"/>
                    </a:lnTo>
                    <a:lnTo>
                      <a:pt x="187" y="196"/>
                    </a:lnTo>
                    <a:lnTo>
                      <a:pt x="183" y="193"/>
                    </a:lnTo>
                    <a:lnTo>
                      <a:pt x="180" y="190"/>
                    </a:lnTo>
                    <a:lnTo>
                      <a:pt x="176" y="188"/>
                    </a:lnTo>
                    <a:lnTo>
                      <a:pt x="173" y="190"/>
                    </a:lnTo>
                    <a:lnTo>
                      <a:pt x="173" y="188"/>
                    </a:lnTo>
                    <a:lnTo>
                      <a:pt x="170" y="188"/>
                    </a:lnTo>
                    <a:lnTo>
                      <a:pt x="165" y="190"/>
                    </a:lnTo>
                    <a:lnTo>
                      <a:pt x="165" y="188"/>
                    </a:lnTo>
                    <a:lnTo>
                      <a:pt x="167" y="188"/>
                    </a:lnTo>
                    <a:lnTo>
                      <a:pt x="170" y="188"/>
                    </a:lnTo>
                    <a:lnTo>
                      <a:pt x="173" y="188"/>
                    </a:lnTo>
                    <a:lnTo>
                      <a:pt x="176" y="188"/>
                    </a:lnTo>
                    <a:lnTo>
                      <a:pt x="176" y="188"/>
                    </a:lnTo>
                    <a:lnTo>
                      <a:pt x="180" y="188"/>
                    </a:lnTo>
                    <a:lnTo>
                      <a:pt x="184" y="191"/>
                    </a:lnTo>
                    <a:lnTo>
                      <a:pt x="187" y="191"/>
                    </a:lnTo>
                    <a:lnTo>
                      <a:pt x="192" y="193"/>
                    </a:lnTo>
                    <a:lnTo>
                      <a:pt x="191" y="190"/>
                    </a:lnTo>
                    <a:lnTo>
                      <a:pt x="187" y="187"/>
                    </a:lnTo>
                    <a:lnTo>
                      <a:pt x="186" y="185"/>
                    </a:lnTo>
                    <a:lnTo>
                      <a:pt x="183" y="182"/>
                    </a:lnTo>
                    <a:lnTo>
                      <a:pt x="183" y="179"/>
                    </a:lnTo>
                    <a:lnTo>
                      <a:pt x="183" y="174"/>
                    </a:lnTo>
                    <a:lnTo>
                      <a:pt x="186" y="172"/>
                    </a:lnTo>
                    <a:lnTo>
                      <a:pt x="181" y="171"/>
                    </a:lnTo>
                    <a:lnTo>
                      <a:pt x="178" y="168"/>
                    </a:lnTo>
                    <a:lnTo>
                      <a:pt x="175" y="163"/>
                    </a:lnTo>
                    <a:lnTo>
                      <a:pt x="173" y="160"/>
                    </a:lnTo>
                    <a:lnTo>
                      <a:pt x="168" y="157"/>
                    </a:lnTo>
                    <a:lnTo>
                      <a:pt x="164" y="155"/>
                    </a:lnTo>
                    <a:lnTo>
                      <a:pt x="159" y="153"/>
                    </a:lnTo>
                    <a:lnTo>
                      <a:pt x="154" y="153"/>
                    </a:lnTo>
                    <a:lnTo>
                      <a:pt x="154" y="152"/>
                    </a:lnTo>
                    <a:lnTo>
                      <a:pt x="153" y="149"/>
                    </a:lnTo>
                    <a:lnTo>
                      <a:pt x="151" y="149"/>
                    </a:lnTo>
                    <a:lnTo>
                      <a:pt x="151" y="145"/>
                    </a:lnTo>
                    <a:lnTo>
                      <a:pt x="148" y="139"/>
                    </a:lnTo>
                    <a:lnTo>
                      <a:pt x="146" y="133"/>
                    </a:lnTo>
                    <a:lnTo>
                      <a:pt x="145" y="133"/>
                    </a:lnTo>
                    <a:lnTo>
                      <a:pt x="145" y="130"/>
                    </a:lnTo>
                    <a:lnTo>
                      <a:pt x="145" y="126"/>
                    </a:lnTo>
                    <a:lnTo>
                      <a:pt x="145" y="123"/>
                    </a:lnTo>
                    <a:lnTo>
                      <a:pt x="145" y="120"/>
                    </a:lnTo>
                    <a:lnTo>
                      <a:pt x="143" y="117"/>
                    </a:lnTo>
                    <a:lnTo>
                      <a:pt x="140" y="114"/>
                    </a:lnTo>
                    <a:lnTo>
                      <a:pt x="137" y="112"/>
                    </a:lnTo>
                    <a:lnTo>
                      <a:pt x="134" y="109"/>
                    </a:lnTo>
                    <a:lnTo>
                      <a:pt x="132" y="107"/>
                    </a:lnTo>
                    <a:lnTo>
                      <a:pt x="132" y="107"/>
                    </a:lnTo>
                    <a:lnTo>
                      <a:pt x="129" y="104"/>
                    </a:lnTo>
                    <a:lnTo>
                      <a:pt x="126" y="103"/>
                    </a:lnTo>
                    <a:lnTo>
                      <a:pt x="122" y="103"/>
                    </a:lnTo>
                    <a:lnTo>
                      <a:pt x="121" y="101"/>
                    </a:lnTo>
                    <a:lnTo>
                      <a:pt x="116" y="100"/>
                    </a:lnTo>
                    <a:lnTo>
                      <a:pt x="113" y="98"/>
                    </a:lnTo>
                    <a:lnTo>
                      <a:pt x="110" y="98"/>
                    </a:lnTo>
                    <a:lnTo>
                      <a:pt x="107" y="101"/>
                    </a:lnTo>
                    <a:lnTo>
                      <a:pt x="102" y="103"/>
                    </a:lnTo>
                    <a:lnTo>
                      <a:pt x="99" y="101"/>
                    </a:lnTo>
                    <a:lnTo>
                      <a:pt x="95" y="101"/>
                    </a:lnTo>
                    <a:lnTo>
                      <a:pt x="92" y="101"/>
                    </a:lnTo>
                    <a:lnTo>
                      <a:pt x="91" y="101"/>
                    </a:lnTo>
                    <a:lnTo>
                      <a:pt x="88" y="100"/>
                    </a:lnTo>
                    <a:lnTo>
                      <a:pt x="84" y="100"/>
                    </a:lnTo>
                    <a:lnTo>
                      <a:pt x="81" y="98"/>
                    </a:lnTo>
                    <a:lnTo>
                      <a:pt x="80" y="96"/>
                    </a:lnTo>
                    <a:lnTo>
                      <a:pt x="81" y="98"/>
                    </a:lnTo>
                    <a:lnTo>
                      <a:pt x="83" y="98"/>
                    </a:lnTo>
                    <a:lnTo>
                      <a:pt x="84" y="98"/>
                    </a:lnTo>
                    <a:lnTo>
                      <a:pt x="88" y="100"/>
                    </a:lnTo>
                    <a:lnTo>
                      <a:pt x="91" y="100"/>
                    </a:lnTo>
                    <a:lnTo>
                      <a:pt x="92" y="100"/>
                    </a:lnTo>
                    <a:lnTo>
                      <a:pt x="94" y="100"/>
                    </a:lnTo>
                    <a:lnTo>
                      <a:pt x="97" y="98"/>
                    </a:lnTo>
                    <a:lnTo>
                      <a:pt x="100" y="95"/>
                    </a:lnTo>
                    <a:lnTo>
                      <a:pt x="103" y="93"/>
                    </a:lnTo>
                    <a:lnTo>
                      <a:pt x="103" y="93"/>
                    </a:lnTo>
                    <a:lnTo>
                      <a:pt x="108" y="93"/>
                    </a:lnTo>
                    <a:lnTo>
                      <a:pt x="111" y="93"/>
                    </a:lnTo>
                    <a:lnTo>
                      <a:pt x="115" y="92"/>
                    </a:lnTo>
                    <a:lnTo>
                      <a:pt x="113" y="88"/>
                    </a:lnTo>
                    <a:lnTo>
                      <a:pt x="110" y="87"/>
                    </a:lnTo>
                    <a:lnTo>
                      <a:pt x="110" y="84"/>
                    </a:lnTo>
                    <a:lnTo>
                      <a:pt x="107" y="84"/>
                    </a:lnTo>
                    <a:lnTo>
                      <a:pt x="105" y="84"/>
                    </a:lnTo>
                    <a:lnTo>
                      <a:pt x="103" y="84"/>
                    </a:lnTo>
                    <a:lnTo>
                      <a:pt x="100" y="85"/>
                    </a:lnTo>
                    <a:lnTo>
                      <a:pt x="97" y="87"/>
                    </a:lnTo>
                    <a:lnTo>
                      <a:pt x="95" y="87"/>
                    </a:lnTo>
                    <a:lnTo>
                      <a:pt x="95" y="87"/>
                    </a:lnTo>
                    <a:lnTo>
                      <a:pt x="99" y="85"/>
                    </a:lnTo>
                    <a:lnTo>
                      <a:pt x="102" y="84"/>
                    </a:lnTo>
                    <a:lnTo>
                      <a:pt x="105" y="84"/>
                    </a:lnTo>
                    <a:lnTo>
                      <a:pt x="107" y="82"/>
                    </a:lnTo>
                    <a:lnTo>
                      <a:pt x="107" y="82"/>
                    </a:lnTo>
                    <a:lnTo>
                      <a:pt x="113" y="80"/>
                    </a:lnTo>
                    <a:lnTo>
                      <a:pt x="116" y="79"/>
                    </a:lnTo>
                    <a:lnTo>
                      <a:pt x="121" y="77"/>
                    </a:lnTo>
                    <a:lnTo>
                      <a:pt x="122" y="73"/>
                    </a:lnTo>
                    <a:lnTo>
                      <a:pt x="122" y="71"/>
                    </a:lnTo>
                    <a:lnTo>
                      <a:pt x="126" y="69"/>
                    </a:lnTo>
                    <a:lnTo>
                      <a:pt x="129" y="66"/>
                    </a:lnTo>
                    <a:lnTo>
                      <a:pt x="130" y="63"/>
                    </a:lnTo>
                    <a:lnTo>
                      <a:pt x="134" y="60"/>
                    </a:lnTo>
                    <a:lnTo>
                      <a:pt x="135" y="57"/>
                    </a:lnTo>
                    <a:lnTo>
                      <a:pt x="135" y="57"/>
                    </a:lnTo>
                    <a:lnTo>
                      <a:pt x="135" y="54"/>
                    </a:lnTo>
                    <a:lnTo>
                      <a:pt x="138" y="49"/>
                    </a:lnTo>
                    <a:lnTo>
                      <a:pt x="141" y="47"/>
                    </a:lnTo>
                    <a:lnTo>
                      <a:pt x="145" y="44"/>
                    </a:lnTo>
                    <a:lnTo>
                      <a:pt x="143" y="41"/>
                    </a:lnTo>
                    <a:lnTo>
                      <a:pt x="141" y="38"/>
                    </a:lnTo>
                    <a:lnTo>
                      <a:pt x="138" y="34"/>
                    </a:lnTo>
                    <a:lnTo>
                      <a:pt x="130" y="36"/>
                    </a:lnTo>
                    <a:lnTo>
                      <a:pt x="127" y="36"/>
                    </a:lnTo>
                    <a:lnTo>
                      <a:pt x="116" y="36"/>
                    </a:lnTo>
                    <a:lnTo>
                      <a:pt x="107" y="36"/>
                    </a:lnTo>
                    <a:lnTo>
                      <a:pt x="105" y="36"/>
                    </a:lnTo>
                    <a:lnTo>
                      <a:pt x="102" y="34"/>
                    </a:lnTo>
                    <a:lnTo>
                      <a:pt x="99" y="34"/>
                    </a:lnTo>
                    <a:lnTo>
                      <a:pt x="95" y="34"/>
                    </a:lnTo>
                    <a:lnTo>
                      <a:pt x="92" y="36"/>
                    </a:lnTo>
                    <a:lnTo>
                      <a:pt x="91" y="36"/>
                    </a:lnTo>
                    <a:lnTo>
                      <a:pt x="86" y="38"/>
                    </a:lnTo>
                    <a:lnTo>
                      <a:pt x="86" y="38"/>
                    </a:lnTo>
                    <a:lnTo>
                      <a:pt x="83" y="39"/>
                    </a:lnTo>
                    <a:lnTo>
                      <a:pt x="80" y="39"/>
                    </a:lnTo>
                    <a:lnTo>
                      <a:pt x="75" y="42"/>
                    </a:lnTo>
                    <a:lnTo>
                      <a:pt x="72" y="42"/>
                    </a:lnTo>
                    <a:lnTo>
                      <a:pt x="72" y="41"/>
                    </a:lnTo>
                    <a:lnTo>
                      <a:pt x="76" y="39"/>
                    </a:lnTo>
                    <a:lnTo>
                      <a:pt x="78" y="36"/>
                    </a:lnTo>
                    <a:lnTo>
                      <a:pt x="75" y="36"/>
                    </a:lnTo>
                    <a:lnTo>
                      <a:pt x="70" y="38"/>
                    </a:lnTo>
                    <a:lnTo>
                      <a:pt x="67" y="39"/>
                    </a:lnTo>
                    <a:lnTo>
                      <a:pt x="70" y="36"/>
                    </a:lnTo>
                    <a:lnTo>
                      <a:pt x="75" y="36"/>
                    </a:lnTo>
                    <a:lnTo>
                      <a:pt x="78" y="34"/>
                    </a:lnTo>
                    <a:lnTo>
                      <a:pt x="81" y="34"/>
                    </a:lnTo>
                    <a:lnTo>
                      <a:pt x="84" y="31"/>
                    </a:lnTo>
                    <a:lnTo>
                      <a:pt x="80" y="30"/>
                    </a:lnTo>
                    <a:lnTo>
                      <a:pt x="73" y="30"/>
                    </a:lnTo>
                    <a:lnTo>
                      <a:pt x="70" y="28"/>
                    </a:lnTo>
                    <a:lnTo>
                      <a:pt x="69" y="28"/>
                    </a:lnTo>
                    <a:lnTo>
                      <a:pt x="69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3" y="28"/>
                    </a:lnTo>
                    <a:lnTo>
                      <a:pt x="76" y="30"/>
                    </a:lnTo>
                    <a:lnTo>
                      <a:pt x="78" y="25"/>
                    </a:lnTo>
                    <a:lnTo>
                      <a:pt x="78" y="25"/>
                    </a:lnTo>
                    <a:lnTo>
                      <a:pt x="81" y="25"/>
                    </a:lnTo>
                    <a:lnTo>
                      <a:pt x="84" y="23"/>
                    </a:lnTo>
                    <a:lnTo>
                      <a:pt x="88" y="22"/>
                    </a:lnTo>
                    <a:lnTo>
                      <a:pt x="91" y="20"/>
                    </a:lnTo>
                    <a:lnTo>
                      <a:pt x="94" y="19"/>
                    </a:lnTo>
                    <a:lnTo>
                      <a:pt x="97" y="15"/>
                    </a:lnTo>
                    <a:lnTo>
                      <a:pt x="100" y="14"/>
                    </a:lnTo>
                    <a:lnTo>
                      <a:pt x="105" y="12"/>
                    </a:lnTo>
                    <a:lnTo>
                      <a:pt x="108" y="9"/>
                    </a:lnTo>
                    <a:lnTo>
                      <a:pt x="110" y="6"/>
                    </a:lnTo>
                    <a:lnTo>
                      <a:pt x="110" y="3"/>
                    </a:lnTo>
                    <a:lnTo>
                      <a:pt x="110" y="0"/>
                    </a:lnTo>
                    <a:lnTo>
                      <a:pt x="102" y="0"/>
                    </a:lnTo>
                    <a:lnTo>
                      <a:pt x="100" y="1"/>
                    </a:lnTo>
                    <a:lnTo>
                      <a:pt x="97" y="1"/>
                    </a:lnTo>
                    <a:lnTo>
                      <a:pt x="94" y="0"/>
                    </a:lnTo>
                    <a:lnTo>
                      <a:pt x="89" y="1"/>
                    </a:lnTo>
                    <a:lnTo>
                      <a:pt x="86" y="3"/>
                    </a:lnTo>
                    <a:lnTo>
                      <a:pt x="83" y="3"/>
                    </a:lnTo>
                    <a:lnTo>
                      <a:pt x="80" y="3"/>
                    </a:lnTo>
                    <a:lnTo>
                      <a:pt x="75" y="4"/>
                    </a:lnTo>
                    <a:lnTo>
                      <a:pt x="73" y="3"/>
                    </a:lnTo>
                    <a:lnTo>
                      <a:pt x="70" y="6"/>
                    </a:lnTo>
                    <a:lnTo>
                      <a:pt x="69" y="4"/>
                    </a:lnTo>
                    <a:lnTo>
                      <a:pt x="69" y="3"/>
                    </a:lnTo>
                    <a:lnTo>
                      <a:pt x="64" y="4"/>
                    </a:lnTo>
                    <a:lnTo>
                      <a:pt x="61" y="6"/>
                    </a:lnTo>
                    <a:lnTo>
                      <a:pt x="62" y="3"/>
                    </a:lnTo>
                    <a:lnTo>
                      <a:pt x="59" y="4"/>
                    </a:lnTo>
                    <a:lnTo>
                      <a:pt x="57" y="1"/>
                    </a:lnTo>
                    <a:lnTo>
                      <a:pt x="54" y="0"/>
                    </a:lnTo>
                    <a:lnTo>
                      <a:pt x="53" y="4"/>
                    </a:lnTo>
                    <a:lnTo>
                      <a:pt x="53" y="8"/>
                    </a:lnTo>
                    <a:lnTo>
                      <a:pt x="53" y="8"/>
                    </a:lnTo>
                    <a:lnTo>
                      <a:pt x="51" y="9"/>
                    </a:lnTo>
                    <a:lnTo>
                      <a:pt x="48" y="11"/>
                    </a:lnTo>
                    <a:lnTo>
                      <a:pt x="51" y="14"/>
                    </a:lnTo>
                    <a:lnTo>
                      <a:pt x="53" y="14"/>
                    </a:lnTo>
                    <a:lnTo>
                      <a:pt x="53" y="14"/>
                    </a:lnTo>
                    <a:lnTo>
                      <a:pt x="53" y="14"/>
                    </a:lnTo>
                    <a:lnTo>
                      <a:pt x="50" y="14"/>
                    </a:lnTo>
                    <a:lnTo>
                      <a:pt x="46" y="14"/>
                    </a:lnTo>
                    <a:lnTo>
                      <a:pt x="42" y="17"/>
                    </a:lnTo>
                    <a:lnTo>
                      <a:pt x="43" y="20"/>
                    </a:lnTo>
                    <a:lnTo>
                      <a:pt x="40" y="23"/>
                    </a:lnTo>
                    <a:lnTo>
                      <a:pt x="43" y="25"/>
                    </a:lnTo>
                    <a:lnTo>
                      <a:pt x="46" y="28"/>
                    </a:lnTo>
                    <a:lnTo>
                      <a:pt x="43" y="30"/>
                    </a:lnTo>
                    <a:lnTo>
                      <a:pt x="38" y="28"/>
                    </a:lnTo>
                    <a:lnTo>
                      <a:pt x="35" y="30"/>
                    </a:lnTo>
                    <a:lnTo>
                      <a:pt x="32" y="28"/>
                    </a:lnTo>
                    <a:lnTo>
                      <a:pt x="32" y="33"/>
                    </a:lnTo>
                    <a:lnTo>
                      <a:pt x="30" y="28"/>
                    </a:lnTo>
                    <a:lnTo>
                      <a:pt x="27" y="31"/>
                    </a:lnTo>
                    <a:lnTo>
                      <a:pt x="27" y="36"/>
                    </a:lnTo>
                    <a:lnTo>
                      <a:pt x="29" y="39"/>
                    </a:lnTo>
                    <a:lnTo>
                      <a:pt x="30" y="42"/>
                    </a:lnTo>
                    <a:lnTo>
                      <a:pt x="27" y="41"/>
                    </a:lnTo>
                    <a:lnTo>
                      <a:pt x="24" y="41"/>
                    </a:lnTo>
                    <a:lnTo>
                      <a:pt x="24" y="44"/>
                    </a:lnTo>
                    <a:lnTo>
                      <a:pt x="27" y="49"/>
                    </a:lnTo>
                    <a:lnTo>
                      <a:pt x="34" y="47"/>
                    </a:lnTo>
                    <a:lnTo>
                      <a:pt x="30" y="49"/>
                    </a:lnTo>
                    <a:lnTo>
                      <a:pt x="27" y="52"/>
                    </a:lnTo>
                    <a:lnTo>
                      <a:pt x="29" y="50"/>
                    </a:lnTo>
                    <a:lnTo>
                      <a:pt x="32" y="50"/>
                    </a:lnTo>
                    <a:lnTo>
                      <a:pt x="34" y="52"/>
                    </a:lnTo>
                    <a:lnTo>
                      <a:pt x="35" y="54"/>
                    </a:lnTo>
                    <a:lnTo>
                      <a:pt x="32" y="52"/>
                    </a:lnTo>
                    <a:lnTo>
                      <a:pt x="29" y="54"/>
                    </a:lnTo>
                    <a:lnTo>
                      <a:pt x="29" y="57"/>
                    </a:lnTo>
                    <a:lnTo>
                      <a:pt x="32" y="58"/>
                    </a:lnTo>
                    <a:lnTo>
                      <a:pt x="35" y="58"/>
                    </a:lnTo>
                    <a:lnTo>
                      <a:pt x="32" y="58"/>
                    </a:lnTo>
                    <a:lnTo>
                      <a:pt x="29" y="57"/>
                    </a:lnTo>
                    <a:lnTo>
                      <a:pt x="26" y="60"/>
                    </a:lnTo>
                    <a:lnTo>
                      <a:pt x="29" y="63"/>
                    </a:lnTo>
                    <a:lnTo>
                      <a:pt x="26" y="61"/>
                    </a:lnTo>
                    <a:lnTo>
                      <a:pt x="23" y="63"/>
                    </a:lnTo>
                    <a:lnTo>
                      <a:pt x="23" y="66"/>
                    </a:lnTo>
                    <a:lnTo>
                      <a:pt x="26" y="68"/>
                    </a:lnTo>
                    <a:lnTo>
                      <a:pt x="23" y="68"/>
                    </a:lnTo>
                    <a:lnTo>
                      <a:pt x="21" y="71"/>
                    </a:lnTo>
                    <a:lnTo>
                      <a:pt x="19" y="71"/>
                    </a:lnTo>
                    <a:lnTo>
                      <a:pt x="16" y="71"/>
                    </a:lnTo>
                    <a:lnTo>
                      <a:pt x="13" y="71"/>
                    </a:lnTo>
                    <a:lnTo>
                      <a:pt x="10" y="73"/>
                    </a:lnTo>
                    <a:lnTo>
                      <a:pt x="13" y="74"/>
                    </a:lnTo>
                    <a:lnTo>
                      <a:pt x="16" y="74"/>
                    </a:lnTo>
                    <a:lnTo>
                      <a:pt x="19" y="74"/>
                    </a:lnTo>
                    <a:lnTo>
                      <a:pt x="24" y="73"/>
                    </a:lnTo>
                    <a:lnTo>
                      <a:pt x="27" y="74"/>
                    </a:lnTo>
                    <a:lnTo>
                      <a:pt x="24" y="73"/>
                    </a:lnTo>
                    <a:lnTo>
                      <a:pt x="21" y="76"/>
                    </a:lnTo>
                    <a:lnTo>
                      <a:pt x="16" y="76"/>
                    </a:lnTo>
                    <a:lnTo>
                      <a:pt x="19" y="79"/>
                    </a:lnTo>
                    <a:lnTo>
                      <a:pt x="23" y="79"/>
                    </a:lnTo>
                    <a:lnTo>
                      <a:pt x="26" y="80"/>
                    </a:lnTo>
                    <a:lnTo>
                      <a:pt x="29" y="79"/>
                    </a:lnTo>
                    <a:lnTo>
                      <a:pt x="32" y="76"/>
                    </a:lnTo>
                    <a:lnTo>
                      <a:pt x="35" y="74"/>
                    </a:lnTo>
                    <a:lnTo>
                      <a:pt x="40" y="71"/>
                    </a:lnTo>
                    <a:lnTo>
                      <a:pt x="43" y="69"/>
                    </a:lnTo>
                    <a:lnTo>
                      <a:pt x="42" y="71"/>
                    </a:lnTo>
                    <a:lnTo>
                      <a:pt x="42" y="74"/>
                    </a:lnTo>
                    <a:lnTo>
                      <a:pt x="43" y="73"/>
                    </a:lnTo>
                    <a:lnTo>
                      <a:pt x="45" y="73"/>
                    </a:lnTo>
                    <a:lnTo>
                      <a:pt x="42" y="74"/>
                    </a:lnTo>
                    <a:lnTo>
                      <a:pt x="40" y="74"/>
                    </a:lnTo>
                    <a:lnTo>
                      <a:pt x="37" y="76"/>
                    </a:lnTo>
                    <a:lnTo>
                      <a:pt x="34" y="79"/>
                    </a:lnTo>
                    <a:lnTo>
                      <a:pt x="34" y="79"/>
                    </a:lnTo>
                    <a:lnTo>
                      <a:pt x="37" y="79"/>
                    </a:lnTo>
                    <a:lnTo>
                      <a:pt x="34" y="82"/>
                    </a:lnTo>
                    <a:lnTo>
                      <a:pt x="37" y="82"/>
                    </a:lnTo>
                    <a:lnTo>
                      <a:pt x="42" y="82"/>
                    </a:lnTo>
                    <a:lnTo>
                      <a:pt x="37" y="84"/>
                    </a:lnTo>
                    <a:lnTo>
                      <a:pt x="34" y="84"/>
                    </a:lnTo>
                    <a:lnTo>
                      <a:pt x="32" y="84"/>
                    </a:lnTo>
                    <a:lnTo>
                      <a:pt x="30" y="87"/>
                    </a:lnTo>
                    <a:lnTo>
                      <a:pt x="27" y="87"/>
                    </a:lnTo>
                    <a:lnTo>
                      <a:pt x="29" y="90"/>
                    </a:lnTo>
                    <a:lnTo>
                      <a:pt x="29" y="95"/>
                    </a:lnTo>
                    <a:lnTo>
                      <a:pt x="26" y="98"/>
                    </a:lnTo>
                    <a:lnTo>
                      <a:pt x="24" y="98"/>
                    </a:lnTo>
                    <a:lnTo>
                      <a:pt x="23" y="103"/>
                    </a:lnTo>
                    <a:lnTo>
                      <a:pt x="26" y="100"/>
                    </a:lnTo>
                    <a:lnTo>
                      <a:pt x="23" y="103"/>
                    </a:lnTo>
                    <a:lnTo>
                      <a:pt x="23" y="106"/>
                    </a:lnTo>
                    <a:lnTo>
                      <a:pt x="24" y="109"/>
                    </a:lnTo>
                    <a:lnTo>
                      <a:pt x="29" y="107"/>
                    </a:lnTo>
                    <a:lnTo>
                      <a:pt x="26" y="109"/>
                    </a:lnTo>
                    <a:lnTo>
                      <a:pt x="23" y="114"/>
                    </a:lnTo>
                    <a:lnTo>
                      <a:pt x="19" y="117"/>
                    </a:lnTo>
                    <a:lnTo>
                      <a:pt x="19" y="120"/>
                    </a:lnTo>
                    <a:lnTo>
                      <a:pt x="18" y="123"/>
                    </a:lnTo>
                    <a:lnTo>
                      <a:pt x="18" y="126"/>
                    </a:lnTo>
                    <a:lnTo>
                      <a:pt x="23" y="126"/>
                    </a:lnTo>
                    <a:lnTo>
                      <a:pt x="26" y="123"/>
                    </a:lnTo>
                    <a:lnTo>
                      <a:pt x="26" y="120"/>
                    </a:lnTo>
                    <a:lnTo>
                      <a:pt x="27" y="117"/>
                    </a:lnTo>
                    <a:lnTo>
                      <a:pt x="27" y="114"/>
                    </a:lnTo>
                    <a:lnTo>
                      <a:pt x="30" y="111"/>
                    </a:lnTo>
                    <a:lnTo>
                      <a:pt x="32" y="107"/>
                    </a:lnTo>
                    <a:lnTo>
                      <a:pt x="30" y="103"/>
                    </a:lnTo>
                    <a:lnTo>
                      <a:pt x="30" y="100"/>
                    </a:lnTo>
                    <a:lnTo>
                      <a:pt x="34" y="98"/>
                    </a:lnTo>
                    <a:lnTo>
                      <a:pt x="37" y="95"/>
                    </a:lnTo>
                    <a:lnTo>
                      <a:pt x="42" y="93"/>
                    </a:lnTo>
                    <a:lnTo>
                      <a:pt x="43" y="92"/>
                    </a:lnTo>
                    <a:lnTo>
                      <a:pt x="40" y="95"/>
                    </a:lnTo>
                    <a:lnTo>
                      <a:pt x="35" y="98"/>
                    </a:lnTo>
                    <a:lnTo>
                      <a:pt x="34" y="101"/>
                    </a:lnTo>
                    <a:lnTo>
                      <a:pt x="34" y="104"/>
                    </a:lnTo>
                    <a:lnTo>
                      <a:pt x="37" y="106"/>
                    </a:lnTo>
                    <a:lnTo>
                      <a:pt x="37" y="104"/>
                    </a:lnTo>
                    <a:lnTo>
                      <a:pt x="38" y="107"/>
                    </a:lnTo>
                    <a:lnTo>
                      <a:pt x="42" y="111"/>
                    </a:lnTo>
                    <a:lnTo>
                      <a:pt x="42" y="111"/>
                    </a:lnTo>
                    <a:lnTo>
                      <a:pt x="42" y="107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3"/>
                    </a:lnTo>
                    <a:lnTo>
                      <a:pt x="42" y="101"/>
                    </a:lnTo>
                    <a:lnTo>
                      <a:pt x="43" y="106"/>
                    </a:lnTo>
                    <a:lnTo>
                      <a:pt x="45" y="104"/>
                    </a:lnTo>
                    <a:lnTo>
                      <a:pt x="46" y="101"/>
                    </a:lnTo>
                    <a:lnTo>
                      <a:pt x="48" y="96"/>
                    </a:lnTo>
                    <a:lnTo>
                      <a:pt x="46" y="93"/>
                    </a:lnTo>
                    <a:lnTo>
                      <a:pt x="51" y="95"/>
                    </a:lnTo>
                    <a:lnTo>
                      <a:pt x="48" y="98"/>
                    </a:lnTo>
                    <a:lnTo>
                      <a:pt x="50" y="101"/>
                    </a:lnTo>
                    <a:lnTo>
                      <a:pt x="50" y="98"/>
                    </a:lnTo>
                    <a:lnTo>
                      <a:pt x="53" y="101"/>
                    </a:lnTo>
                    <a:lnTo>
                      <a:pt x="56" y="103"/>
                    </a:lnTo>
                    <a:lnTo>
                      <a:pt x="56" y="103"/>
                    </a:lnTo>
                    <a:lnTo>
                      <a:pt x="56" y="103"/>
                    </a:lnTo>
                    <a:lnTo>
                      <a:pt x="53" y="103"/>
                    </a:lnTo>
                    <a:lnTo>
                      <a:pt x="50" y="103"/>
                    </a:lnTo>
                    <a:lnTo>
                      <a:pt x="48" y="103"/>
                    </a:lnTo>
                    <a:lnTo>
                      <a:pt x="46" y="106"/>
                    </a:lnTo>
                    <a:lnTo>
                      <a:pt x="46" y="109"/>
                    </a:lnTo>
                    <a:lnTo>
                      <a:pt x="46" y="112"/>
                    </a:lnTo>
                    <a:lnTo>
                      <a:pt x="51" y="115"/>
                    </a:lnTo>
                    <a:lnTo>
                      <a:pt x="53" y="119"/>
                    </a:lnTo>
                    <a:lnTo>
                      <a:pt x="51" y="122"/>
                    </a:lnTo>
                    <a:lnTo>
                      <a:pt x="48" y="123"/>
                    </a:lnTo>
                    <a:lnTo>
                      <a:pt x="46" y="126"/>
                    </a:lnTo>
                    <a:lnTo>
                      <a:pt x="43" y="131"/>
                    </a:lnTo>
                    <a:lnTo>
                      <a:pt x="40" y="133"/>
                    </a:lnTo>
                    <a:lnTo>
                      <a:pt x="40" y="134"/>
                    </a:lnTo>
                    <a:lnTo>
                      <a:pt x="38" y="139"/>
                    </a:lnTo>
                    <a:lnTo>
                      <a:pt x="38" y="139"/>
                    </a:lnTo>
                    <a:lnTo>
                      <a:pt x="40" y="141"/>
                    </a:lnTo>
                    <a:lnTo>
                      <a:pt x="40" y="142"/>
                    </a:lnTo>
                    <a:lnTo>
                      <a:pt x="38" y="142"/>
                    </a:lnTo>
                    <a:lnTo>
                      <a:pt x="37" y="139"/>
                    </a:lnTo>
                    <a:lnTo>
                      <a:pt x="34" y="139"/>
                    </a:lnTo>
                    <a:lnTo>
                      <a:pt x="34" y="141"/>
                    </a:lnTo>
                    <a:lnTo>
                      <a:pt x="35" y="145"/>
                    </a:lnTo>
                    <a:lnTo>
                      <a:pt x="38" y="147"/>
                    </a:lnTo>
                    <a:lnTo>
                      <a:pt x="40" y="150"/>
                    </a:lnTo>
                    <a:lnTo>
                      <a:pt x="43" y="153"/>
                    </a:lnTo>
                    <a:lnTo>
                      <a:pt x="43" y="152"/>
                    </a:lnTo>
                    <a:lnTo>
                      <a:pt x="42" y="149"/>
                    </a:lnTo>
                    <a:lnTo>
                      <a:pt x="40" y="145"/>
                    </a:lnTo>
                    <a:lnTo>
                      <a:pt x="45" y="144"/>
                    </a:lnTo>
                    <a:lnTo>
                      <a:pt x="48" y="145"/>
                    </a:lnTo>
                    <a:lnTo>
                      <a:pt x="51" y="147"/>
                    </a:lnTo>
                    <a:lnTo>
                      <a:pt x="54" y="150"/>
                    </a:lnTo>
                    <a:lnTo>
                      <a:pt x="57" y="149"/>
                    </a:lnTo>
                    <a:lnTo>
                      <a:pt x="57" y="145"/>
                    </a:lnTo>
                    <a:lnTo>
                      <a:pt x="57" y="142"/>
                    </a:lnTo>
                    <a:lnTo>
                      <a:pt x="61" y="144"/>
                    </a:lnTo>
                    <a:lnTo>
                      <a:pt x="64" y="147"/>
                    </a:lnTo>
                    <a:lnTo>
                      <a:pt x="67" y="145"/>
                    </a:lnTo>
                    <a:lnTo>
                      <a:pt x="67" y="147"/>
                    </a:lnTo>
                    <a:lnTo>
                      <a:pt x="73" y="145"/>
                    </a:lnTo>
                    <a:lnTo>
                      <a:pt x="83" y="142"/>
                    </a:lnTo>
                    <a:lnTo>
                      <a:pt x="83" y="139"/>
                    </a:lnTo>
                    <a:lnTo>
                      <a:pt x="84" y="139"/>
                    </a:lnTo>
                    <a:lnTo>
                      <a:pt x="88" y="139"/>
                    </a:lnTo>
                    <a:lnTo>
                      <a:pt x="91" y="139"/>
                    </a:lnTo>
                    <a:lnTo>
                      <a:pt x="95" y="139"/>
                    </a:lnTo>
                    <a:lnTo>
                      <a:pt x="99" y="139"/>
                    </a:lnTo>
                    <a:lnTo>
                      <a:pt x="99" y="139"/>
                    </a:lnTo>
                    <a:lnTo>
                      <a:pt x="99" y="141"/>
                    </a:lnTo>
                    <a:lnTo>
                      <a:pt x="95" y="141"/>
                    </a:lnTo>
                    <a:lnTo>
                      <a:pt x="92" y="142"/>
                    </a:lnTo>
                    <a:lnTo>
                      <a:pt x="91" y="144"/>
                    </a:lnTo>
                    <a:lnTo>
                      <a:pt x="88" y="144"/>
                    </a:lnTo>
                    <a:lnTo>
                      <a:pt x="86" y="149"/>
                    </a:lnTo>
                    <a:lnTo>
                      <a:pt x="83" y="152"/>
                    </a:lnTo>
                    <a:lnTo>
                      <a:pt x="81" y="155"/>
                    </a:lnTo>
                    <a:lnTo>
                      <a:pt x="80" y="158"/>
                    </a:lnTo>
                    <a:lnTo>
                      <a:pt x="83" y="161"/>
                    </a:lnTo>
                    <a:lnTo>
                      <a:pt x="86" y="165"/>
                    </a:lnTo>
                    <a:lnTo>
                      <a:pt x="88" y="169"/>
                    </a:lnTo>
                    <a:lnTo>
                      <a:pt x="91" y="168"/>
                    </a:lnTo>
                    <a:lnTo>
                      <a:pt x="91" y="168"/>
                    </a:lnTo>
                    <a:lnTo>
                      <a:pt x="91" y="171"/>
                    </a:lnTo>
                    <a:lnTo>
                      <a:pt x="92" y="174"/>
                    </a:lnTo>
                    <a:lnTo>
                      <a:pt x="94" y="174"/>
                    </a:lnTo>
                    <a:lnTo>
                      <a:pt x="95" y="169"/>
                    </a:lnTo>
                    <a:lnTo>
                      <a:pt x="95" y="169"/>
                    </a:lnTo>
                    <a:lnTo>
                      <a:pt x="97" y="169"/>
                    </a:lnTo>
                    <a:lnTo>
                      <a:pt x="99" y="172"/>
                    </a:lnTo>
                    <a:lnTo>
                      <a:pt x="102" y="169"/>
                    </a:lnTo>
                    <a:lnTo>
                      <a:pt x="103" y="169"/>
                    </a:lnTo>
                    <a:lnTo>
                      <a:pt x="102" y="169"/>
                    </a:lnTo>
                    <a:lnTo>
                      <a:pt x="102" y="171"/>
                    </a:lnTo>
                    <a:lnTo>
                      <a:pt x="102" y="174"/>
                    </a:lnTo>
                    <a:lnTo>
                      <a:pt x="102" y="177"/>
                    </a:lnTo>
                    <a:lnTo>
                      <a:pt x="99" y="179"/>
                    </a:lnTo>
                    <a:lnTo>
                      <a:pt x="95" y="180"/>
                    </a:lnTo>
                    <a:lnTo>
                      <a:pt x="94" y="185"/>
                    </a:lnTo>
                    <a:lnTo>
                      <a:pt x="95" y="188"/>
                    </a:lnTo>
                    <a:lnTo>
                      <a:pt x="99" y="188"/>
                    </a:lnTo>
                    <a:lnTo>
                      <a:pt x="97" y="188"/>
                    </a:lnTo>
                    <a:lnTo>
                      <a:pt x="95" y="190"/>
                    </a:lnTo>
                    <a:lnTo>
                      <a:pt x="92" y="193"/>
                    </a:lnTo>
                    <a:lnTo>
                      <a:pt x="94" y="196"/>
                    </a:lnTo>
                    <a:lnTo>
                      <a:pt x="95" y="201"/>
                    </a:lnTo>
                    <a:lnTo>
                      <a:pt x="95" y="201"/>
                    </a:lnTo>
                    <a:lnTo>
                      <a:pt x="97" y="203"/>
                    </a:lnTo>
                    <a:lnTo>
                      <a:pt x="100" y="204"/>
                    </a:lnTo>
                    <a:lnTo>
                      <a:pt x="102" y="203"/>
                    </a:lnTo>
                    <a:lnTo>
                      <a:pt x="103" y="203"/>
                    </a:lnTo>
                    <a:lnTo>
                      <a:pt x="103" y="203"/>
                    </a:lnTo>
                    <a:lnTo>
                      <a:pt x="103" y="203"/>
                    </a:lnTo>
                    <a:lnTo>
                      <a:pt x="100" y="204"/>
                    </a:lnTo>
                    <a:lnTo>
                      <a:pt x="97" y="204"/>
                    </a:lnTo>
                    <a:lnTo>
                      <a:pt x="95" y="201"/>
                    </a:lnTo>
                    <a:lnTo>
                      <a:pt x="94" y="201"/>
                    </a:lnTo>
                    <a:lnTo>
                      <a:pt x="92" y="199"/>
                    </a:lnTo>
                    <a:lnTo>
                      <a:pt x="89" y="203"/>
                    </a:lnTo>
                    <a:lnTo>
                      <a:pt x="91" y="206"/>
                    </a:lnTo>
                    <a:lnTo>
                      <a:pt x="92" y="206"/>
                    </a:lnTo>
                    <a:lnTo>
                      <a:pt x="92" y="207"/>
                    </a:lnTo>
                    <a:lnTo>
                      <a:pt x="88" y="204"/>
                    </a:lnTo>
                    <a:lnTo>
                      <a:pt x="84" y="203"/>
                    </a:lnTo>
                    <a:lnTo>
                      <a:pt x="81" y="204"/>
                    </a:lnTo>
                    <a:lnTo>
                      <a:pt x="75" y="206"/>
                    </a:lnTo>
                    <a:lnTo>
                      <a:pt x="72" y="204"/>
                    </a:lnTo>
                    <a:lnTo>
                      <a:pt x="70" y="204"/>
                    </a:lnTo>
                    <a:lnTo>
                      <a:pt x="65" y="206"/>
                    </a:lnTo>
                    <a:lnTo>
                      <a:pt x="62" y="207"/>
                    </a:lnTo>
                    <a:lnTo>
                      <a:pt x="59" y="207"/>
                    </a:lnTo>
                    <a:lnTo>
                      <a:pt x="59" y="207"/>
                    </a:lnTo>
                    <a:lnTo>
                      <a:pt x="61" y="204"/>
                    </a:lnTo>
                    <a:lnTo>
                      <a:pt x="57" y="204"/>
                    </a:lnTo>
                    <a:lnTo>
                      <a:pt x="54" y="201"/>
                    </a:lnTo>
                    <a:lnTo>
                      <a:pt x="51" y="201"/>
                    </a:lnTo>
                    <a:lnTo>
                      <a:pt x="48" y="201"/>
                    </a:lnTo>
                    <a:lnTo>
                      <a:pt x="46" y="206"/>
                    </a:lnTo>
                    <a:lnTo>
                      <a:pt x="46" y="206"/>
                    </a:lnTo>
                    <a:lnTo>
                      <a:pt x="50" y="209"/>
                    </a:lnTo>
                    <a:lnTo>
                      <a:pt x="53" y="212"/>
                    </a:lnTo>
                    <a:lnTo>
                      <a:pt x="54" y="211"/>
                    </a:lnTo>
                    <a:lnTo>
                      <a:pt x="57" y="207"/>
                    </a:lnTo>
                    <a:lnTo>
                      <a:pt x="57" y="207"/>
                    </a:lnTo>
                    <a:lnTo>
                      <a:pt x="48" y="218"/>
                    </a:lnTo>
                    <a:lnTo>
                      <a:pt x="38" y="225"/>
                    </a:lnTo>
                    <a:lnTo>
                      <a:pt x="42" y="225"/>
                    </a:lnTo>
                    <a:lnTo>
                      <a:pt x="45" y="223"/>
                    </a:lnTo>
                    <a:lnTo>
                      <a:pt x="48" y="222"/>
                    </a:lnTo>
                    <a:lnTo>
                      <a:pt x="56" y="220"/>
                    </a:lnTo>
                    <a:lnTo>
                      <a:pt x="59" y="220"/>
                    </a:lnTo>
                    <a:lnTo>
                      <a:pt x="57" y="225"/>
                    </a:lnTo>
                    <a:lnTo>
                      <a:pt x="61" y="228"/>
                    </a:lnTo>
                    <a:lnTo>
                      <a:pt x="61" y="228"/>
                    </a:lnTo>
                    <a:lnTo>
                      <a:pt x="57" y="231"/>
                    </a:lnTo>
                    <a:lnTo>
                      <a:pt x="59" y="234"/>
                    </a:lnTo>
                    <a:lnTo>
                      <a:pt x="62" y="234"/>
                    </a:lnTo>
                    <a:lnTo>
                      <a:pt x="59" y="236"/>
                    </a:lnTo>
                    <a:lnTo>
                      <a:pt x="59" y="239"/>
                    </a:lnTo>
                    <a:lnTo>
                      <a:pt x="57" y="242"/>
                    </a:lnTo>
                    <a:lnTo>
                      <a:pt x="53" y="245"/>
                    </a:lnTo>
                    <a:lnTo>
                      <a:pt x="50" y="247"/>
                    </a:lnTo>
                    <a:lnTo>
                      <a:pt x="46" y="249"/>
                    </a:lnTo>
                    <a:lnTo>
                      <a:pt x="43" y="250"/>
                    </a:lnTo>
                    <a:lnTo>
                      <a:pt x="38" y="252"/>
                    </a:lnTo>
                    <a:lnTo>
                      <a:pt x="35" y="253"/>
                    </a:lnTo>
                    <a:lnTo>
                      <a:pt x="32" y="255"/>
                    </a:lnTo>
                    <a:lnTo>
                      <a:pt x="29" y="255"/>
                    </a:lnTo>
                    <a:lnTo>
                      <a:pt x="27" y="255"/>
                    </a:lnTo>
                    <a:lnTo>
                      <a:pt x="24" y="257"/>
                    </a:lnTo>
                    <a:lnTo>
                      <a:pt x="21" y="261"/>
                    </a:lnTo>
                    <a:lnTo>
                      <a:pt x="24" y="263"/>
                    </a:lnTo>
                    <a:lnTo>
                      <a:pt x="23" y="266"/>
                    </a:lnTo>
                    <a:lnTo>
                      <a:pt x="26" y="268"/>
                    </a:lnTo>
                    <a:lnTo>
                      <a:pt x="27" y="268"/>
                    </a:lnTo>
                    <a:lnTo>
                      <a:pt x="29" y="266"/>
                    </a:lnTo>
                    <a:lnTo>
                      <a:pt x="34" y="264"/>
                    </a:lnTo>
                    <a:lnTo>
                      <a:pt x="30" y="268"/>
                    </a:lnTo>
                    <a:lnTo>
                      <a:pt x="27" y="268"/>
                    </a:lnTo>
                    <a:lnTo>
                      <a:pt x="24" y="268"/>
                    </a:lnTo>
                    <a:lnTo>
                      <a:pt x="27" y="271"/>
                    </a:lnTo>
                    <a:lnTo>
                      <a:pt x="30" y="271"/>
                    </a:lnTo>
                    <a:lnTo>
                      <a:pt x="34" y="269"/>
                    </a:lnTo>
                    <a:lnTo>
                      <a:pt x="37" y="268"/>
                    </a:lnTo>
                    <a:lnTo>
                      <a:pt x="40" y="266"/>
                    </a:lnTo>
                    <a:lnTo>
                      <a:pt x="45" y="266"/>
                    </a:lnTo>
                    <a:lnTo>
                      <a:pt x="48" y="264"/>
                    </a:lnTo>
                    <a:lnTo>
                      <a:pt x="48" y="264"/>
                    </a:lnTo>
                    <a:lnTo>
                      <a:pt x="48" y="268"/>
                    </a:lnTo>
                    <a:lnTo>
                      <a:pt x="53" y="268"/>
                    </a:lnTo>
                    <a:lnTo>
                      <a:pt x="56" y="269"/>
                    </a:lnTo>
                    <a:lnTo>
                      <a:pt x="56" y="268"/>
                    </a:lnTo>
                    <a:lnTo>
                      <a:pt x="56" y="269"/>
                    </a:lnTo>
                    <a:lnTo>
                      <a:pt x="54" y="271"/>
                    </a:lnTo>
                    <a:lnTo>
                      <a:pt x="51" y="269"/>
                    </a:lnTo>
                    <a:lnTo>
                      <a:pt x="53" y="274"/>
                    </a:lnTo>
                    <a:lnTo>
                      <a:pt x="56" y="272"/>
                    </a:lnTo>
                    <a:lnTo>
                      <a:pt x="57" y="272"/>
                    </a:lnTo>
                    <a:lnTo>
                      <a:pt x="61" y="271"/>
                    </a:lnTo>
                    <a:lnTo>
                      <a:pt x="64" y="271"/>
                    </a:lnTo>
                    <a:lnTo>
                      <a:pt x="65" y="274"/>
                    </a:lnTo>
                    <a:lnTo>
                      <a:pt x="67" y="276"/>
                    </a:lnTo>
                    <a:lnTo>
                      <a:pt x="72" y="279"/>
                    </a:lnTo>
                    <a:lnTo>
                      <a:pt x="73" y="279"/>
                    </a:lnTo>
                    <a:lnTo>
                      <a:pt x="76" y="280"/>
                    </a:lnTo>
                    <a:lnTo>
                      <a:pt x="80" y="280"/>
                    </a:lnTo>
                    <a:lnTo>
                      <a:pt x="84" y="279"/>
                    </a:lnTo>
                    <a:lnTo>
                      <a:pt x="86" y="276"/>
                    </a:lnTo>
                    <a:lnTo>
                      <a:pt x="89" y="272"/>
                    </a:lnTo>
                    <a:lnTo>
                      <a:pt x="91" y="274"/>
                    </a:lnTo>
                    <a:lnTo>
                      <a:pt x="94" y="272"/>
                    </a:lnTo>
                    <a:lnTo>
                      <a:pt x="99" y="272"/>
                    </a:lnTo>
                    <a:lnTo>
                      <a:pt x="99" y="271"/>
                    </a:lnTo>
                    <a:lnTo>
                      <a:pt x="100" y="271"/>
                    </a:lnTo>
                    <a:lnTo>
                      <a:pt x="102" y="269"/>
                    </a:lnTo>
                    <a:lnTo>
                      <a:pt x="105" y="266"/>
                    </a:lnTo>
                    <a:lnTo>
                      <a:pt x="108" y="264"/>
                    </a:lnTo>
                    <a:lnTo>
                      <a:pt x="105" y="268"/>
                    </a:lnTo>
                    <a:lnTo>
                      <a:pt x="100" y="272"/>
                    </a:lnTo>
                    <a:lnTo>
                      <a:pt x="99" y="276"/>
                    </a:lnTo>
                    <a:lnTo>
                      <a:pt x="95" y="276"/>
                    </a:lnTo>
                    <a:lnTo>
                      <a:pt x="92" y="279"/>
                    </a:lnTo>
                    <a:lnTo>
                      <a:pt x="89" y="282"/>
                    </a:lnTo>
                    <a:lnTo>
                      <a:pt x="88" y="282"/>
                    </a:lnTo>
                    <a:lnTo>
                      <a:pt x="88" y="287"/>
                    </a:lnTo>
                    <a:lnTo>
                      <a:pt x="69" y="287"/>
                    </a:lnTo>
                    <a:lnTo>
                      <a:pt x="51" y="288"/>
                    </a:lnTo>
                    <a:lnTo>
                      <a:pt x="50" y="291"/>
                    </a:lnTo>
                    <a:lnTo>
                      <a:pt x="48" y="293"/>
                    </a:lnTo>
                    <a:lnTo>
                      <a:pt x="45" y="295"/>
                    </a:lnTo>
                    <a:lnTo>
                      <a:pt x="42" y="295"/>
                    </a:lnTo>
                    <a:lnTo>
                      <a:pt x="40" y="295"/>
                    </a:lnTo>
                    <a:lnTo>
                      <a:pt x="38" y="301"/>
                    </a:lnTo>
                    <a:lnTo>
                      <a:pt x="37" y="306"/>
                    </a:lnTo>
                    <a:lnTo>
                      <a:pt x="32" y="309"/>
                    </a:lnTo>
                    <a:lnTo>
                      <a:pt x="27" y="314"/>
                    </a:lnTo>
                    <a:lnTo>
                      <a:pt x="24" y="312"/>
                    </a:lnTo>
                    <a:lnTo>
                      <a:pt x="23" y="314"/>
                    </a:lnTo>
                    <a:lnTo>
                      <a:pt x="21" y="318"/>
                    </a:lnTo>
                    <a:lnTo>
                      <a:pt x="18" y="320"/>
                    </a:lnTo>
                    <a:lnTo>
                      <a:pt x="15" y="323"/>
                    </a:lnTo>
                    <a:lnTo>
                      <a:pt x="10" y="325"/>
                    </a:lnTo>
                    <a:lnTo>
                      <a:pt x="7" y="326"/>
                    </a:lnTo>
                    <a:lnTo>
                      <a:pt x="4" y="326"/>
                    </a:lnTo>
                    <a:lnTo>
                      <a:pt x="0" y="329"/>
                    </a:lnTo>
                    <a:lnTo>
                      <a:pt x="2" y="333"/>
                    </a:lnTo>
                    <a:lnTo>
                      <a:pt x="5" y="331"/>
                    </a:lnTo>
                    <a:lnTo>
                      <a:pt x="8" y="329"/>
                    </a:lnTo>
                    <a:lnTo>
                      <a:pt x="11" y="331"/>
                    </a:lnTo>
                    <a:lnTo>
                      <a:pt x="15" y="334"/>
                    </a:lnTo>
                    <a:close/>
                  </a:path>
                </a:pathLst>
              </a:custGeom>
              <a:solidFill>
                <a:srgbClr val="1F497D"/>
              </a:solidFill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59" name="Freeform 556"/>
              <p:cNvSpPr>
                <a:spLocks/>
              </p:cNvSpPr>
              <p:nvPr/>
            </p:nvSpPr>
            <p:spPr bwMode="auto">
              <a:xfrm>
                <a:off x="2504" y="1369"/>
                <a:ext cx="42" cy="23"/>
              </a:xfrm>
              <a:custGeom>
                <a:avLst/>
                <a:gdLst>
                  <a:gd name="T0" fmla="*/ 1 w 82"/>
                  <a:gd name="T1" fmla="*/ 28 h 46"/>
                  <a:gd name="T2" fmla="*/ 6 w 82"/>
                  <a:gd name="T3" fmla="*/ 27 h 46"/>
                  <a:gd name="T4" fmla="*/ 11 w 82"/>
                  <a:gd name="T5" fmla="*/ 25 h 46"/>
                  <a:gd name="T6" fmla="*/ 12 w 82"/>
                  <a:gd name="T7" fmla="*/ 23 h 46"/>
                  <a:gd name="T8" fmla="*/ 12 w 82"/>
                  <a:gd name="T9" fmla="*/ 20 h 46"/>
                  <a:gd name="T10" fmla="*/ 20 w 82"/>
                  <a:gd name="T11" fmla="*/ 15 h 46"/>
                  <a:gd name="T12" fmla="*/ 22 w 82"/>
                  <a:gd name="T13" fmla="*/ 15 h 46"/>
                  <a:gd name="T14" fmla="*/ 23 w 82"/>
                  <a:gd name="T15" fmla="*/ 14 h 46"/>
                  <a:gd name="T16" fmla="*/ 25 w 82"/>
                  <a:gd name="T17" fmla="*/ 9 h 46"/>
                  <a:gd name="T18" fmla="*/ 27 w 82"/>
                  <a:gd name="T19" fmla="*/ 8 h 46"/>
                  <a:gd name="T20" fmla="*/ 30 w 82"/>
                  <a:gd name="T21" fmla="*/ 6 h 46"/>
                  <a:gd name="T22" fmla="*/ 33 w 82"/>
                  <a:gd name="T23" fmla="*/ 6 h 46"/>
                  <a:gd name="T24" fmla="*/ 39 w 82"/>
                  <a:gd name="T25" fmla="*/ 3 h 46"/>
                  <a:gd name="T26" fmla="*/ 42 w 82"/>
                  <a:gd name="T27" fmla="*/ 3 h 46"/>
                  <a:gd name="T28" fmla="*/ 46 w 82"/>
                  <a:gd name="T29" fmla="*/ 1 h 46"/>
                  <a:gd name="T30" fmla="*/ 58 w 82"/>
                  <a:gd name="T31" fmla="*/ 0 h 46"/>
                  <a:gd name="T32" fmla="*/ 66 w 82"/>
                  <a:gd name="T33" fmla="*/ 4 h 46"/>
                  <a:gd name="T34" fmla="*/ 68 w 82"/>
                  <a:gd name="T35" fmla="*/ 9 h 46"/>
                  <a:gd name="T36" fmla="*/ 73 w 82"/>
                  <a:gd name="T37" fmla="*/ 15 h 46"/>
                  <a:gd name="T38" fmla="*/ 76 w 82"/>
                  <a:gd name="T39" fmla="*/ 17 h 46"/>
                  <a:gd name="T40" fmla="*/ 69 w 82"/>
                  <a:gd name="T41" fmla="*/ 20 h 46"/>
                  <a:gd name="T42" fmla="*/ 69 w 82"/>
                  <a:gd name="T43" fmla="*/ 23 h 46"/>
                  <a:gd name="T44" fmla="*/ 79 w 82"/>
                  <a:gd name="T45" fmla="*/ 22 h 46"/>
                  <a:gd name="T46" fmla="*/ 82 w 82"/>
                  <a:gd name="T47" fmla="*/ 28 h 46"/>
                  <a:gd name="T48" fmla="*/ 79 w 82"/>
                  <a:gd name="T49" fmla="*/ 33 h 46"/>
                  <a:gd name="T50" fmla="*/ 77 w 82"/>
                  <a:gd name="T51" fmla="*/ 27 h 46"/>
                  <a:gd name="T52" fmla="*/ 76 w 82"/>
                  <a:gd name="T53" fmla="*/ 28 h 46"/>
                  <a:gd name="T54" fmla="*/ 74 w 82"/>
                  <a:gd name="T55" fmla="*/ 33 h 46"/>
                  <a:gd name="T56" fmla="*/ 79 w 82"/>
                  <a:gd name="T57" fmla="*/ 33 h 46"/>
                  <a:gd name="T58" fmla="*/ 74 w 82"/>
                  <a:gd name="T59" fmla="*/ 38 h 46"/>
                  <a:gd name="T60" fmla="*/ 68 w 82"/>
                  <a:gd name="T61" fmla="*/ 41 h 46"/>
                  <a:gd name="T62" fmla="*/ 63 w 82"/>
                  <a:gd name="T63" fmla="*/ 46 h 46"/>
                  <a:gd name="T64" fmla="*/ 57 w 82"/>
                  <a:gd name="T65" fmla="*/ 44 h 46"/>
                  <a:gd name="T66" fmla="*/ 54 w 82"/>
                  <a:gd name="T67" fmla="*/ 42 h 46"/>
                  <a:gd name="T68" fmla="*/ 52 w 82"/>
                  <a:gd name="T69" fmla="*/ 44 h 46"/>
                  <a:gd name="T70" fmla="*/ 44 w 82"/>
                  <a:gd name="T71" fmla="*/ 44 h 46"/>
                  <a:gd name="T72" fmla="*/ 42 w 82"/>
                  <a:gd name="T73" fmla="*/ 41 h 46"/>
                  <a:gd name="T74" fmla="*/ 39 w 82"/>
                  <a:gd name="T75" fmla="*/ 35 h 46"/>
                  <a:gd name="T76" fmla="*/ 31 w 82"/>
                  <a:gd name="T77" fmla="*/ 33 h 46"/>
                  <a:gd name="T78" fmla="*/ 28 w 82"/>
                  <a:gd name="T79" fmla="*/ 35 h 46"/>
                  <a:gd name="T80" fmla="*/ 27 w 82"/>
                  <a:gd name="T81" fmla="*/ 41 h 46"/>
                  <a:gd name="T82" fmla="*/ 25 w 82"/>
                  <a:gd name="T83" fmla="*/ 42 h 46"/>
                  <a:gd name="T84" fmla="*/ 25 w 82"/>
                  <a:gd name="T85" fmla="*/ 42 h 46"/>
                  <a:gd name="T86" fmla="*/ 20 w 82"/>
                  <a:gd name="T87" fmla="*/ 42 h 46"/>
                  <a:gd name="T88" fmla="*/ 17 w 82"/>
                  <a:gd name="T89" fmla="*/ 42 h 46"/>
                  <a:gd name="T90" fmla="*/ 12 w 82"/>
                  <a:gd name="T91" fmla="*/ 39 h 46"/>
                  <a:gd name="T92" fmla="*/ 9 w 82"/>
                  <a:gd name="T93" fmla="*/ 39 h 46"/>
                  <a:gd name="T94" fmla="*/ 6 w 82"/>
                  <a:gd name="T95" fmla="*/ 36 h 46"/>
                  <a:gd name="T96" fmla="*/ 1 w 82"/>
                  <a:gd name="T97" fmla="*/ 31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2" h="46">
                    <a:moveTo>
                      <a:pt x="0" y="31"/>
                    </a:moveTo>
                    <a:lnTo>
                      <a:pt x="1" y="28"/>
                    </a:lnTo>
                    <a:lnTo>
                      <a:pt x="3" y="28"/>
                    </a:lnTo>
                    <a:lnTo>
                      <a:pt x="6" y="27"/>
                    </a:lnTo>
                    <a:lnTo>
                      <a:pt x="9" y="27"/>
                    </a:lnTo>
                    <a:lnTo>
                      <a:pt x="11" y="25"/>
                    </a:lnTo>
                    <a:lnTo>
                      <a:pt x="14" y="23"/>
                    </a:lnTo>
                    <a:lnTo>
                      <a:pt x="12" y="23"/>
                    </a:lnTo>
                    <a:lnTo>
                      <a:pt x="9" y="20"/>
                    </a:lnTo>
                    <a:lnTo>
                      <a:pt x="12" y="20"/>
                    </a:lnTo>
                    <a:lnTo>
                      <a:pt x="17" y="19"/>
                    </a:lnTo>
                    <a:lnTo>
                      <a:pt x="20" y="15"/>
                    </a:lnTo>
                    <a:lnTo>
                      <a:pt x="22" y="15"/>
                    </a:lnTo>
                    <a:lnTo>
                      <a:pt x="22" y="15"/>
                    </a:lnTo>
                    <a:lnTo>
                      <a:pt x="22" y="15"/>
                    </a:lnTo>
                    <a:lnTo>
                      <a:pt x="23" y="14"/>
                    </a:lnTo>
                    <a:lnTo>
                      <a:pt x="25" y="11"/>
                    </a:lnTo>
                    <a:lnTo>
                      <a:pt x="25" y="9"/>
                    </a:lnTo>
                    <a:lnTo>
                      <a:pt x="25" y="9"/>
                    </a:lnTo>
                    <a:lnTo>
                      <a:pt x="27" y="8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3" y="6"/>
                    </a:lnTo>
                    <a:lnTo>
                      <a:pt x="36" y="6"/>
                    </a:lnTo>
                    <a:lnTo>
                      <a:pt x="39" y="3"/>
                    </a:lnTo>
                    <a:lnTo>
                      <a:pt x="39" y="1"/>
                    </a:lnTo>
                    <a:lnTo>
                      <a:pt x="42" y="3"/>
                    </a:lnTo>
                    <a:lnTo>
                      <a:pt x="42" y="3"/>
                    </a:lnTo>
                    <a:lnTo>
                      <a:pt x="46" y="1"/>
                    </a:lnTo>
                    <a:lnTo>
                      <a:pt x="49" y="1"/>
                    </a:lnTo>
                    <a:lnTo>
                      <a:pt x="58" y="0"/>
                    </a:lnTo>
                    <a:lnTo>
                      <a:pt x="66" y="1"/>
                    </a:lnTo>
                    <a:lnTo>
                      <a:pt x="66" y="4"/>
                    </a:lnTo>
                    <a:lnTo>
                      <a:pt x="68" y="6"/>
                    </a:lnTo>
                    <a:lnTo>
                      <a:pt x="68" y="9"/>
                    </a:lnTo>
                    <a:lnTo>
                      <a:pt x="71" y="12"/>
                    </a:lnTo>
                    <a:lnTo>
                      <a:pt x="73" y="15"/>
                    </a:lnTo>
                    <a:lnTo>
                      <a:pt x="76" y="15"/>
                    </a:lnTo>
                    <a:lnTo>
                      <a:pt x="76" y="17"/>
                    </a:lnTo>
                    <a:lnTo>
                      <a:pt x="73" y="20"/>
                    </a:lnTo>
                    <a:lnTo>
                      <a:pt x="69" y="20"/>
                    </a:lnTo>
                    <a:lnTo>
                      <a:pt x="69" y="22"/>
                    </a:lnTo>
                    <a:lnTo>
                      <a:pt x="69" y="23"/>
                    </a:lnTo>
                    <a:lnTo>
                      <a:pt x="73" y="22"/>
                    </a:lnTo>
                    <a:lnTo>
                      <a:pt x="79" y="22"/>
                    </a:lnTo>
                    <a:lnTo>
                      <a:pt x="81" y="25"/>
                    </a:lnTo>
                    <a:lnTo>
                      <a:pt x="82" y="28"/>
                    </a:lnTo>
                    <a:lnTo>
                      <a:pt x="82" y="31"/>
                    </a:lnTo>
                    <a:lnTo>
                      <a:pt x="79" y="33"/>
                    </a:lnTo>
                    <a:lnTo>
                      <a:pt x="79" y="30"/>
                    </a:lnTo>
                    <a:lnTo>
                      <a:pt x="77" y="27"/>
                    </a:lnTo>
                    <a:lnTo>
                      <a:pt x="74" y="27"/>
                    </a:lnTo>
                    <a:lnTo>
                      <a:pt x="76" y="28"/>
                    </a:lnTo>
                    <a:lnTo>
                      <a:pt x="76" y="30"/>
                    </a:lnTo>
                    <a:lnTo>
                      <a:pt x="74" y="33"/>
                    </a:lnTo>
                    <a:lnTo>
                      <a:pt x="79" y="33"/>
                    </a:lnTo>
                    <a:lnTo>
                      <a:pt x="79" y="33"/>
                    </a:lnTo>
                    <a:lnTo>
                      <a:pt x="77" y="38"/>
                    </a:lnTo>
                    <a:lnTo>
                      <a:pt x="74" y="38"/>
                    </a:lnTo>
                    <a:lnTo>
                      <a:pt x="71" y="38"/>
                    </a:lnTo>
                    <a:lnTo>
                      <a:pt x="68" y="41"/>
                    </a:lnTo>
                    <a:lnTo>
                      <a:pt x="66" y="44"/>
                    </a:lnTo>
                    <a:lnTo>
                      <a:pt x="63" y="46"/>
                    </a:lnTo>
                    <a:lnTo>
                      <a:pt x="60" y="44"/>
                    </a:lnTo>
                    <a:lnTo>
                      <a:pt x="57" y="44"/>
                    </a:lnTo>
                    <a:lnTo>
                      <a:pt x="55" y="44"/>
                    </a:lnTo>
                    <a:lnTo>
                      <a:pt x="54" y="42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46" y="46"/>
                    </a:lnTo>
                    <a:lnTo>
                      <a:pt x="44" y="44"/>
                    </a:lnTo>
                    <a:lnTo>
                      <a:pt x="44" y="41"/>
                    </a:lnTo>
                    <a:lnTo>
                      <a:pt x="42" y="41"/>
                    </a:lnTo>
                    <a:lnTo>
                      <a:pt x="39" y="38"/>
                    </a:lnTo>
                    <a:lnTo>
                      <a:pt x="39" y="35"/>
                    </a:lnTo>
                    <a:lnTo>
                      <a:pt x="36" y="31"/>
                    </a:lnTo>
                    <a:lnTo>
                      <a:pt x="31" y="33"/>
                    </a:lnTo>
                    <a:lnTo>
                      <a:pt x="28" y="35"/>
                    </a:lnTo>
                    <a:lnTo>
                      <a:pt x="28" y="35"/>
                    </a:lnTo>
                    <a:lnTo>
                      <a:pt x="30" y="38"/>
                    </a:lnTo>
                    <a:lnTo>
                      <a:pt x="27" y="41"/>
                    </a:lnTo>
                    <a:lnTo>
                      <a:pt x="27" y="41"/>
                    </a:lnTo>
                    <a:lnTo>
                      <a:pt x="25" y="42"/>
                    </a:lnTo>
                    <a:lnTo>
                      <a:pt x="23" y="42"/>
                    </a:lnTo>
                    <a:lnTo>
                      <a:pt x="25" y="42"/>
                    </a:lnTo>
                    <a:lnTo>
                      <a:pt x="23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17" y="42"/>
                    </a:lnTo>
                    <a:lnTo>
                      <a:pt x="14" y="41"/>
                    </a:lnTo>
                    <a:lnTo>
                      <a:pt x="12" y="39"/>
                    </a:lnTo>
                    <a:lnTo>
                      <a:pt x="12" y="39"/>
                    </a:lnTo>
                    <a:lnTo>
                      <a:pt x="9" y="39"/>
                    </a:lnTo>
                    <a:lnTo>
                      <a:pt x="8" y="36"/>
                    </a:lnTo>
                    <a:lnTo>
                      <a:pt x="6" y="36"/>
                    </a:lnTo>
                    <a:lnTo>
                      <a:pt x="4" y="35"/>
                    </a:lnTo>
                    <a:lnTo>
                      <a:pt x="1" y="31"/>
                    </a:lnTo>
                    <a:lnTo>
                      <a:pt x="0" y="3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60" name="Freeform 557"/>
              <p:cNvSpPr>
                <a:spLocks/>
              </p:cNvSpPr>
              <p:nvPr/>
            </p:nvSpPr>
            <p:spPr bwMode="auto">
              <a:xfrm>
                <a:off x="2528" y="1307"/>
                <a:ext cx="15" cy="15"/>
              </a:xfrm>
              <a:custGeom>
                <a:avLst/>
                <a:gdLst>
                  <a:gd name="T0" fmla="*/ 13 w 30"/>
                  <a:gd name="T1" fmla="*/ 21 h 30"/>
                  <a:gd name="T2" fmla="*/ 16 w 30"/>
                  <a:gd name="T3" fmla="*/ 23 h 30"/>
                  <a:gd name="T4" fmla="*/ 16 w 30"/>
                  <a:gd name="T5" fmla="*/ 23 h 30"/>
                  <a:gd name="T6" fmla="*/ 18 w 30"/>
                  <a:gd name="T7" fmla="*/ 19 h 30"/>
                  <a:gd name="T8" fmla="*/ 22 w 30"/>
                  <a:gd name="T9" fmla="*/ 19 h 30"/>
                  <a:gd name="T10" fmla="*/ 21 w 30"/>
                  <a:gd name="T11" fmla="*/ 16 h 30"/>
                  <a:gd name="T12" fmla="*/ 18 w 30"/>
                  <a:gd name="T13" fmla="*/ 16 h 30"/>
                  <a:gd name="T14" fmla="*/ 21 w 30"/>
                  <a:gd name="T15" fmla="*/ 15 h 30"/>
                  <a:gd name="T16" fmla="*/ 26 w 30"/>
                  <a:gd name="T17" fmla="*/ 11 h 30"/>
                  <a:gd name="T18" fmla="*/ 29 w 30"/>
                  <a:gd name="T19" fmla="*/ 10 h 30"/>
                  <a:gd name="T20" fmla="*/ 26 w 30"/>
                  <a:gd name="T21" fmla="*/ 10 h 30"/>
                  <a:gd name="T22" fmla="*/ 29 w 30"/>
                  <a:gd name="T23" fmla="*/ 7 h 30"/>
                  <a:gd name="T24" fmla="*/ 30 w 30"/>
                  <a:gd name="T25" fmla="*/ 4 h 30"/>
                  <a:gd name="T26" fmla="*/ 27 w 30"/>
                  <a:gd name="T27" fmla="*/ 0 h 30"/>
                  <a:gd name="T28" fmla="*/ 19 w 30"/>
                  <a:gd name="T29" fmla="*/ 5 h 30"/>
                  <a:gd name="T30" fmla="*/ 10 w 30"/>
                  <a:gd name="T31" fmla="*/ 10 h 30"/>
                  <a:gd name="T32" fmla="*/ 11 w 30"/>
                  <a:gd name="T33" fmla="*/ 13 h 30"/>
                  <a:gd name="T34" fmla="*/ 8 w 30"/>
                  <a:gd name="T35" fmla="*/ 15 h 30"/>
                  <a:gd name="T36" fmla="*/ 7 w 30"/>
                  <a:gd name="T37" fmla="*/ 11 h 30"/>
                  <a:gd name="T38" fmla="*/ 3 w 30"/>
                  <a:gd name="T39" fmla="*/ 13 h 30"/>
                  <a:gd name="T40" fmla="*/ 0 w 30"/>
                  <a:gd name="T41" fmla="*/ 15 h 30"/>
                  <a:gd name="T42" fmla="*/ 3 w 30"/>
                  <a:gd name="T43" fmla="*/ 19 h 30"/>
                  <a:gd name="T44" fmla="*/ 0 w 30"/>
                  <a:gd name="T45" fmla="*/ 21 h 30"/>
                  <a:gd name="T46" fmla="*/ 3 w 30"/>
                  <a:gd name="T47" fmla="*/ 21 h 30"/>
                  <a:gd name="T48" fmla="*/ 7 w 30"/>
                  <a:gd name="T49" fmla="*/ 24 h 30"/>
                  <a:gd name="T50" fmla="*/ 3 w 30"/>
                  <a:gd name="T51" fmla="*/ 26 h 30"/>
                  <a:gd name="T52" fmla="*/ 0 w 30"/>
                  <a:gd name="T53" fmla="*/ 27 h 30"/>
                  <a:gd name="T54" fmla="*/ 3 w 30"/>
                  <a:gd name="T55" fmla="*/ 30 h 30"/>
                  <a:gd name="T56" fmla="*/ 7 w 30"/>
                  <a:gd name="T57" fmla="*/ 27 h 30"/>
                  <a:gd name="T58" fmla="*/ 8 w 30"/>
                  <a:gd name="T59" fmla="*/ 24 h 30"/>
                  <a:gd name="T60" fmla="*/ 13 w 30"/>
                  <a:gd name="T61" fmla="*/ 23 h 30"/>
                  <a:gd name="T62" fmla="*/ 13 w 30"/>
                  <a:gd name="T63" fmla="*/ 2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0" h="30">
                    <a:moveTo>
                      <a:pt x="13" y="21"/>
                    </a:moveTo>
                    <a:lnTo>
                      <a:pt x="16" y="23"/>
                    </a:lnTo>
                    <a:lnTo>
                      <a:pt x="16" y="23"/>
                    </a:lnTo>
                    <a:lnTo>
                      <a:pt x="18" y="19"/>
                    </a:lnTo>
                    <a:lnTo>
                      <a:pt x="22" y="19"/>
                    </a:lnTo>
                    <a:lnTo>
                      <a:pt x="21" y="16"/>
                    </a:lnTo>
                    <a:lnTo>
                      <a:pt x="18" y="16"/>
                    </a:lnTo>
                    <a:lnTo>
                      <a:pt x="21" y="15"/>
                    </a:lnTo>
                    <a:lnTo>
                      <a:pt x="26" y="11"/>
                    </a:lnTo>
                    <a:lnTo>
                      <a:pt x="29" y="10"/>
                    </a:lnTo>
                    <a:lnTo>
                      <a:pt x="26" y="10"/>
                    </a:lnTo>
                    <a:lnTo>
                      <a:pt x="29" y="7"/>
                    </a:lnTo>
                    <a:lnTo>
                      <a:pt x="30" y="4"/>
                    </a:lnTo>
                    <a:lnTo>
                      <a:pt x="27" y="0"/>
                    </a:lnTo>
                    <a:lnTo>
                      <a:pt x="19" y="5"/>
                    </a:lnTo>
                    <a:lnTo>
                      <a:pt x="10" y="10"/>
                    </a:lnTo>
                    <a:lnTo>
                      <a:pt x="11" y="13"/>
                    </a:lnTo>
                    <a:lnTo>
                      <a:pt x="8" y="15"/>
                    </a:lnTo>
                    <a:lnTo>
                      <a:pt x="7" y="11"/>
                    </a:lnTo>
                    <a:lnTo>
                      <a:pt x="3" y="13"/>
                    </a:lnTo>
                    <a:lnTo>
                      <a:pt x="0" y="15"/>
                    </a:lnTo>
                    <a:lnTo>
                      <a:pt x="3" y="19"/>
                    </a:lnTo>
                    <a:lnTo>
                      <a:pt x="0" y="21"/>
                    </a:lnTo>
                    <a:lnTo>
                      <a:pt x="3" y="21"/>
                    </a:lnTo>
                    <a:lnTo>
                      <a:pt x="7" y="24"/>
                    </a:lnTo>
                    <a:lnTo>
                      <a:pt x="3" y="26"/>
                    </a:lnTo>
                    <a:lnTo>
                      <a:pt x="0" y="27"/>
                    </a:lnTo>
                    <a:lnTo>
                      <a:pt x="3" y="30"/>
                    </a:lnTo>
                    <a:lnTo>
                      <a:pt x="7" y="27"/>
                    </a:lnTo>
                    <a:lnTo>
                      <a:pt x="8" y="24"/>
                    </a:lnTo>
                    <a:lnTo>
                      <a:pt x="13" y="23"/>
                    </a:lnTo>
                    <a:lnTo>
                      <a:pt x="13" y="2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61" name="Freeform 558"/>
              <p:cNvSpPr>
                <a:spLocks/>
              </p:cNvSpPr>
              <p:nvPr/>
            </p:nvSpPr>
            <p:spPr bwMode="auto">
              <a:xfrm>
                <a:off x="2532" y="1357"/>
                <a:ext cx="7" cy="6"/>
              </a:xfrm>
              <a:custGeom>
                <a:avLst/>
                <a:gdLst>
                  <a:gd name="T0" fmla="*/ 7 w 14"/>
                  <a:gd name="T1" fmla="*/ 13 h 13"/>
                  <a:gd name="T2" fmla="*/ 8 w 14"/>
                  <a:gd name="T3" fmla="*/ 11 h 13"/>
                  <a:gd name="T4" fmla="*/ 11 w 14"/>
                  <a:gd name="T5" fmla="*/ 10 h 13"/>
                  <a:gd name="T6" fmla="*/ 14 w 14"/>
                  <a:gd name="T7" fmla="*/ 7 h 13"/>
                  <a:gd name="T8" fmla="*/ 13 w 14"/>
                  <a:gd name="T9" fmla="*/ 3 h 13"/>
                  <a:gd name="T10" fmla="*/ 10 w 14"/>
                  <a:gd name="T11" fmla="*/ 0 h 13"/>
                  <a:gd name="T12" fmla="*/ 7 w 14"/>
                  <a:gd name="T13" fmla="*/ 0 h 13"/>
                  <a:gd name="T14" fmla="*/ 3 w 14"/>
                  <a:gd name="T15" fmla="*/ 2 h 13"/>
                  <a:gd name="T16" fmla="*/ 2 w 14"/>
                  <a:gd name="T17" fmla="*/ 5 h 13"/>
                  <a:gd name="T18" fmla="*/ 0 w 14"/>
                  <a:gd name="T19" fmla="*/ 8 h 13"/>
                  <a:gd name="T20" fmla="*/ 3 w 14"/>
                  <a:gd name="T21" fmla="*/ 7 h 13"/>
                  <a:gd name="T22" fmla="*/ 8 w 14"/>
                  <a:gd name="T23" fmla="*/ 5 h 13"/>
                  <a:gd name="T24" fmla="*/ 8 w 14"/>
                  <a:gd name="T25" fmla="*/ 8 h 13"/>
                  <a:gd name="T26" fmla="*/ 7 w 14"/>
                  <a:gd name="T27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4" h="13">
                    <a:moveTo>
                      <a:pt x="7" y="13"/>
                    </a:moveTo>
                    <a:lnTo>
                      <a:pt x="8" y="11"/>
                    </a:lnTo>
                    <a:lnTo>
                      <a:pt x="11" y="10"/>
                    </a:lnTo>
                    <a:lnTo>
                      <a:pt x="14" y="7"/>
                    </a:lnTo>
                    <a:lnTo>
                      <a:pt x="13" y="3"/>
                    </a:lnTo>
                    <a:lnTo>
                      <a:pt x="10" y="0"/>
                    </a:lnTo>
                    <a:lnTo>
                      <a:pt x="7" y="0"/>
                    </a:lnTo>
                    <a:lnTo>
                      <a:pt x="3" y="2"/>
                    </a:lnTo>
                    <a:lnTo>
                      <a:pt x="2" y="5"/>
                    </a:lnTo>
                    <a:lnTo>
                      <a:pt x="0" y="8"/>
                    </a:lnTo>
                    <a:lnTo>
                      <a:pt x="3" y="7"/>
                    </a:lnTo>
                    <a:lnTo>
                      <a:pt x="8" y="5"/>
                    </a:lnTo>
                    <a:lnTo>
                      <a:pt x="8" y="8"/>
                    </a:lnTo>
                    <a:lnTo>
                      <a:pt x="7" y="1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62" name="Freeform 559"/>
              <p:cNvSpPr>
                <a:spLocks/>
              </p:cNvSpPr>
              <p:nvPr/>
            </p:nvSpPr>
            <p:spPr bwMode="auto">
              <a:xfrm>
                <a:off x="2533" y="1323"/>
                <a:ext cx="14" cy="12"/>
              </a:xfrm>
              <a:custGeom>
                <a:avLst/>
                <a:gdLst>
                  <a:gd name="T0" fmla="*/ 19 w 28"/>
                  <a:gd name="T1" fmla="*/ 25 h 25"/>
                  <a:gd name="T2" fmla="*/ 20 w 28"/>
                  <a:gd name="T3" fmla="*/ 24 h 25"/>
                  <a:gd name="T4" fmla="*/ 28 w 28"/>
                  <a:gd name="T5" fmla="*/ 19 h 25"/>
                  <a:gd name="T6" fmla="*/ 28 w 28"/>
                  <a:gd name="T7" fmla="*/ 16 h 25"/>
                  <a:gd name="T8" fmla="*/ 27 w 28"/>
                  <a:gd name="T9" fmla="*/ 16 h 25"/>
                  <a:gd name="T10" fmla="*/ 24 w 28"/>
                  <a:gd name="T11" fmla="*/ 16 h 25"/>
                  <a:gd name="T12" fmla="*/ 20 w 28"/>
                  <a:gd name="T13" fmla="*/ 14 h 25"/>
                  <a:gd name="T14" fmla="*/ 16 w 28"/>
                  <a:gd name="T15" fmla="*/ 13 h 25"/>
                  <a:gd name="T16" fmla="*/ 17 w 28"/>
                  <a:gd name="T17" fmla="*/ 8 h 25"/>
                  <a:gd name="T18" fmla="*/ 17 w 28"/>
                  <a:gd name="T19" fmla="*/ 5 h 25"/>
                  <a:gd name="T20" fmla="*/ 16 w 28"/>
                  <a:gd name="T21" fmla="*/ 2 h 25"/>
                  <a:gd name="T22" fmla="*/ 11 w 28"/>
                  <a:gd name="T23" fmla="*/ 0 h 25"/>
                  <a:gd name="T24" fmla="*/ 11 w 28"/>
                  <a:gd name="T25" fmla="*/ 3 h 25"/>
                  <a:gd name="T26" fmla="*/ 11 w 28"/>
                  <a:gd name="T27" fmla="*/ 6 h 25"/>
                  <a:gd name="T28" fmla="*/ 6 w 28"/>
                  <a:gd name="T29" fmla="*/ 6 h 25"/>
                  <a:gd name="T30" fmla="*/ 3 w 28"/>
                  <a:gd name="T31" fmla="*/ 6 h 25"/>
                  <a:gd name="T32" fmla="*/ 3 w 28"/>
                  <a:gd name="T33" fmla="*/ 10 h 25"/>
                  <a:gd name="T34" fmla="*/ 0 w 28"/>
                  <a:gd name="T35" fmla="*/ 8 h 25"/>
                  <a:gd name="T36" fmla="*/ 0 w 28"/>
                  <a:gd name="T37" fmla="*/ 11 h 25"/>
                  <a:gd name="T38" fmla="*/ 3 w 28"/>
                  <a:gd name="T39" fmla="*/ 13 h 25"/>
                  <a:gd name="T40" fmla="*/ 6 w 28"/>
                  <a:gd name="T41" fmla="*/ 13 h 25"/>
                  <a:gd name="T42" fmla="*/ 9 w 28"/>
                  <a:gd name="T43" fmla="*/ 14 h 25"/>
                  <a:gd name="T44" fmla="*/ 6 w 28"/>
                  <a:gd name="T45" fmla="*/ 16 h 25"/>
                  <a:gd name="T46" fmla="*/ 9 w 28"/>
                  <a:gd name="T47" fmla="*/ 19 h 25"/>
                  <a:gd name="T48" fmla="*/ 12 w 28"/>
                  <a:gd name="T49" fmla="*/ 19 h 25"/>
                  <a:gd name="T50" fmla="*/ 16 w 28"/>
                  <a:gd name="T51" fmla="*/ 21 h 25"/>
                  <a:gd name="T52" fmla="*/ 20 w 28"/>
                  <a:gd name="T53" fmla="*/ 19 h 25"/>
                  <a:gd name="T54" fmla="*/ 24 w 28"/>
                  <a:gd name="T55" fmla="*/ 19 h 25"/>
                  <a:gd name="T56" fmla="*/ 19 w 28"/>
                  <a:gd name="T57" fmla="*/ 21 h 25"/>
                  <a:gd name="T58" fmla="*/ 19 w 28"/>
                  <a:gd name="T59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8" h="25">
                    <a:moveTo>
                      <a:pt x="19" y="25"/>
                    </a:moveTo>
                    <a:lnTo>
                      <a:pt x="20" y="24"/>
                    </a:lnTo>
                    <a:lnTo>
                      <a:pt x="28" y="19"/>
                    </a:lnTo>
                    <a:lnTo>
                      <a:pt x="28" y="16"/>
                    </a:lnTo>
                    <a:lnTo>
                      <a:pt x="27" y="16"/>
                    </a:lnTo>
                    <a:lnTo>
                      <a:pt x="24" y="16"/>
                    </a:lnTo>
                    <a:lnTo>
                      <a:pt x="20" y="14"/>
                    </a:lnTo>
                    <a:lnTo>
                      <a:pt x="16" y="13"/>
                    </a:lnTo>
                    <a:lnTo>
                      <a:pt x="17" y="8"/>
                    </a:lnTo>
                    <a:lnTo>
                      <a:pt x="17" y="5"/>
                    </a:lnTo>
                    <a:lnTo>
                      <a:pt x="16" y="2"/>
                    </a:lnTo>
                    <a:lnTo>
                      <a:pt x="11" y="0"/>
                    </a:lnTo>
                    <a:lnTo>
                      <a:pt x="11" y="3"/>
                    </a:lnTo>
                    <a:lnTo>
                      <a:pt x="11" y="6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3" y="10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3" y="13"/>
                    </a:lnTo>
                    <a:lnTo>
                      <a:pt x="6" y="13"/>
                    </a:lnTo>
                    <a:lnTo>
                      <a:pt x="9" y="14"/>
                    </a:lnTo>
                    <a:lnTo>
                      <a:pt x="6" y="16"/>
                    </a:lnTo>
                    <a:lnTo>
                      <a:pt x="9" y="19"/>
                    </a:lnTo>
                    <a:lnTo>
                      <a:pt x="12" y="19"/>
                    </a:lnTo>
                    <a:lnTo>
                      <a:pt x="16" y="21"/>
                    </a:lnTo>
                    <a:lnTo>
                      <a:pt x="20" y="19"/>
                    </a:lnTo>
                    <a:lnTo>
                      <a:pt x="24" y="19"/>
                    </a:lnTo>
                    <a:lnTo>
                      <a:pt x="19" y="21"/>
                    </a:lnTo>
                    <a:lnTo>
                      <a:pt x="19" y="2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63" name="Freeform 560"/>
              <p:cNvSpPr>
                <a:spLocks/>
              </p:cNvSpPr>
              <p:nvPr/>
            </p:nvSpPr>
            <p:spPr bwMode="auto">
              <a:xfrm>
                <a:off x="2555" y="1386"/>
                <a:ext cx="7" cy="6"/>
              </a:xfrm>
              <a:custGeom>
                <a:avLst/>
                <a:gdLst>
                  <a:gd name="T0" fmla="*/ 0 w 14"/>
                  <a:gd name="T1" fmla="*/ 13 h 13"/>
                  <a:gd name="T2" fmla="*/ 5 w 14"/>
                  <a:gd name="T3" fmla="*/ 11 h 13"/>
                  <a:gd name="T4" fmla="*/ 8 w 14"/>
                  <a:gd name="T5" fmla="*/ 9 h 13"/>
                  <a:gd name="T6" fmla="*/ 11 w 14"/>
                  <a:gd name="T7" fmla="*/ 8 h 13"/>
                  <a:gd name="T8" fmla="*/ 14 w 14"/>
                  <a:gd name="T9" fmla="*/ 3 h 13"/>
                  <a:gd name="T10" fmla="*/ 11 w 14"/>
                  <a:gd name="T11" fmla="*/ 0 h 13"/>
                  <a:gd name="T12" fmla="*/ 8 w 14"/>
                  <a:gd name="T13" fmla="*/ 2 h 13"/>
                  <a:gd name="T14" fmla="*/ 5 w 14"/>
                  <a:gd name="T15" fmla="*/ 5 h 13"/>
                  <a:gd name="T16" fmla="*/ 2 w 14"/>
                  <a:gd name="T17" fmla="*/ 9 h 13"/>
                  <a:gd name="T18" fmla="*/ 0 w 14"/>
                  <a:gd name="T19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13">
                    <a:moveTo>
                      <a:pt x="0" y="13"/>
                    </a:moveTo>
                    <a:lnTo>
                      <a:pt x="5" y="11"/>
                    </a:lnTo>
                    <a:lnTo>
                      <a:pt x="8" y="9"/>
                    </a:lnTo>
                    <a:lnTo>
                      <a:pt x="11" y="8"/>
                    </a:lnTo>
                    <a:lnTo>
                      <a:pt x="14" y="3"/>
                    </a:lnTo>
                    <a:lnTo>
                      <a:pt x="11" y="0"/>
                    </a:lnTo>
                    <a:lnTo>
                      <a:pt x="8" y="2"/>
                    </a:lnTo>
                    <a:lnTo>
                      <a:pt x="5" y="5"/>
                    </a:lnTo>
                    <a:lnTo>
                      <a:pt x="2" y="9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64" name="Freeform 561"/>
              <p:cNvSpPr>
                <a:spLocks/>
              </p:cNvSpPr>
              <p:nvPr/>
            </p:nvSpPr>
            <p:spPr bwMode="auto">
              <a:xfrm>
                <a:off x="2585" y="1295"/>
                <a:ext cx="10" cy="5"/>
              </a:xfrm>
              <a:custGeom>
                <a:avLst/>
                <a:gdLst>
                  <a:gd name="T0" fmla="*/ 4 w 19"/>
                  <a:gd name="T1" fmla="*/ 6 h 9"/>
                  <a:gd name="T2" fmla="*/ 4 w 19"/>
                  <a:gd name="T3" fmla="*/ 6 h 9"/>
                  <a:gd name="T4" fmla="*/ 7 w 19"/>
                  <a:gd name="T5" fmla="*/ 8 h 9"/>
                  <a:gd name="T6" fmla="*/ 10 w 19"/>
                  <a:gd name="T7" fmla="*/ 8 h 9"/>
                  <a:gd name="T8" fmla="*/ 13 w 19"/>
                  <a:gd name="T9" fmla="*/ 9 h 9"/>
                  <a:gd name="T10" fmla="*/ 15 w 19"/>
                  <a:gd name="T11" fmla="*/ 9 h 9"/>
                  <a:gd name="T12" fmla="*/ 19 w 19"/>
                  <a:gd name="T13" fmla="*/ 6 h 9"/>
                  <a:gd name="T14" fmla="*/ 16 w 19"/>
                  <a:gd name="T15" fmla="*/ 6 h 9"/>
                  <a:gd name="T16" fmla="*/ 12 w 19"/>
                  <a:gd name="T17" fmla="*/ 4 h 9"/>
                  <a:gd name="T18" fmla="*/ 8 w 19"/>
                  <a:gd name="T19" fmla="*/ 4 h 9"/>
                  <a:gd name="T20" fmla="*/ 7 w 19"/>
                  <a:gd name="T21" fmla="*/ 1 h 9"/>
                  <a:gd name="T22" fmla="*/ 4 w 19"/>
                  <a:gd name="T23" fmla="*/ 0 h 9"/>
                  <a:gd name="T24" fmla="*/ 0 w 19"/>
                  <a:gd name="T25" fmla="*/ 3 h 9"/>
                  <a:gd name="T26" fmla="*/ 4 w 19"/>
                  <a:gd name="T27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9" h="9">
                    <a:moveTo>
                      <a:pt x="4" y="6"/>
                    </a:moveTo>
                    <a:lnTo>
                      <a:pt x="4" y="6"/>
                    </a:lnTo>
                    <a:lnTo>
                      <a:pt x="7" y="8"/>
                    </a:lnTo>
                    <a:lnTo>
                      <a:pt x="10" y="8"/>
                    </a:lnTo>
                    <a:lnTo>
                      <a:pt x="13" y="9"/>
                    </a:lnTo>
                    <a:lnTo>
                      <a:pt x="15" y="9"/>
                    </a:lnTo>
                    <a:lnTo>
                      <a:pt x="19" y="6"/>
                    </a:lnTo>
                    <a:lnTo>
                      <a:pt x="16" y="6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7" y="1"/>
                    </a:lnTo>
                    <a:lnTo>
                      <a:pt x="4" y="0"/>
                    </a:lnTo>
                    <a:lnTo>
                      <a:pt x="0" y="3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65" name="Freeform 562"/>
              <p:cNvSpPr>
                <a:spLocks/>
              </p:cNvSpPr>
              <p:nvPr/>
            </p:nvSpPr>
            <p:spPr bwMode="auto">
              <a:xfrm>
                <a:off x="2612" y="1267"/>
                <a:ext cx="9" cy="14"/>
              </a:xfrm>
              <a:custGeom>
                <a:avLst/>
                <a:gdLst>
                  <a:gd name="T0" fmla="*/ 8 w 18"/>
                  <a:gd name="T1" fmla="*/ 24 h 27"/>
                  <a:gd name="T2" fmla="*/ 7 w 18"/>
                  <a:gd name="T3" fmla="*/ 27 h 27"/>
                  <a:gd name="T4" fmla="*/ 10 w 18"/>
                  <a:gd name="T5" fmla="*/ 25 h 27"/>
                  <a:gd name="T6" fmla="*/ 11 w 18"/>
                  <a:gd name="T7" fmla="*/ 24 h 27"/>
                  <a:gd name="T8" fmla="*/ 13 w 18"/>
                  <a:gd name="T9" fmla="*/ 19 h 27"/>
                  <a:gd name="T10" fmla="*/ 15 w 18"/>
                  <a:gd name="T11" fmla="*/ 16 h 27"/>
                  <a:gd name="T12" fmla="*/ 16 w 18"/>
                  <a:gd name="T13" fmla="*/ 13 h 27"/>
                  <a:gd name="T14" fmla="*/ 18 w 18"/>
                  <a:gd name="T15" fmla="*/ 10 h 27"/>
                  <a:gd name="T16" fmla="*/ 13 w 18"/>
                  <a:gd name="T17" fmla="*/ 8 h 27"/>
                  <a:gd name="T18" fmla="*/ 13 w 18"/>
                  <a:gd name="T19" fmla="*/ 5 h 27"/>
                  <a:gd name="T20" fmla="*/ 10 w 18"/>
                  <a:gd name="T21" fmla="*/ 6 h 27"/>
                  <a:gd name="T22" fmla="*/ 10 w 18"/>
                  <a:gd name="T23" fmla="*/ 3 h 27"/>
                  <a:gd name="T24" fmla="*/ 11 w 18"/>
                  <a:gd name="T25" fmla="*/ 0 h 27"/>
                  <a:gd name="T26" fmla="*/ 8 w 18"/>
                  <a:gd name="T27" fmla="*/ 0 h 27"/>
                  <a:gd name="T28" fmla="*/ 7 w 18"/>
                  <a:gd name="T29" fmla="*/ 5 h 27"/>
                  <a:gd name="T30" fmla="*/ 4 w 18"/>
                  <a:gd name="T31" fmla="*/ 5 h 27"/>
                  <a:gd name="T32" fmla="*/ 7 w 18"/>
                  <a:gd name="T33" fmla="*/ 8 h 27"/>
                  <a:gd name="T34" fmla="*/ 10 w 18"/>
                  <a:gd name="T35" fmla="*/ 10 h 27"/>
                  <a:gd name="T36" fmla="*/ 7 w 18"/>
                  <a:gd name="T37" fmla="*/ 11 h 27"/>
                  <a:gd name="T38" fmla="*/ 4 w 18"/>
                  <a:gd name="T39" fmla="*/ 11 h 27"/>
                  <a:gd name="T40" fmla="*/ 0 w 18"/>
                  <a:gd name="T41" fmla="*/ 11 h 27"/>
                  <a:gd name="T42" fmla="*/ 0 w 18"/>
                  <a:gd name="T43" fmla="*/ 16 h 27"/>
                  <a:gd name="T44" fmla="*/ 4 w 18"/>
                  <a:gd name="T45" fmla="*/ 14 h 27"/>
                  <a:gd name="T46" fmla="*/ 8 w 18"/>
                  <a:gd name="T47" fmla="*/ 16 h 27"/>
                  <a:gd name="T48" fmla="*/ 11 w 18"/>
                  <a:gd name="T49" fmla="*/ 19 h 27"/>
                  <a:gd name="T50" fmla="*/ 8 w 18"/>
                  <a:gd name="T51" fmla="*/ 22 h 27"/>
                  <a:gd name="T52" fmla="*/ 8 w 18"/>
                  <a:gd name="T53" fmla="*/ 2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" h="27">
                    <a:moveTo>
                      <a:pt x="8" y="24"/>
                    </a:moveTo>
                    <a:lnTo>
                      <a:pt x="7" y="27"/>
                    </a:lnTo>
                    <a:lnTo>
                      <a:pt x="10" y="25"/>
                    </a:lnTo>
                    <a:lnTo>
                      <a:pt x="11" y="24"/>
                    </a:lnTo>
                    <a:lnTo>
                      <a:pt x="13" y="19"/>
                    </a:lnTo>
                    <a:lnTo>
                      <a:pt x="15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3" y="8"/>
                    </a:lnTo>
                    <a:lnTo>
                      <a:pt x="13" y="5"/>
                    </a:lnTo>
                    <a:lnTo>
                      <a:pt x="10" y="6"/>
                    </a:lnTo>
                    <a:lnTo>
                      <a:pt x="10" y="3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7" y="5"/>
                    </a:lnTo>
                    <a:lnTo>
                      <a:pt x="4" y="5"/>
                    </a:lnTo>
                    <a:lnTo>
                      <a:pt x="7" y="8"/>
                    </a:lnTo>
                    <a:lnTo>
                      <a:pt x="10" y="10"/>
                    </a:lnTo>
                    <a:lnTo>
                      <a:pt x="7" y="11"/>
                    </a:lnTo>
                    <a:lnTo>
                      <a:pt x="4" y="11"/>
                    </a:lnTo>
                    <a:lnTo>
                      <a:pt x="0" y="11"/>
                    </a:lnTo>
                    <a:lnTo>
                      <a:pt x="0" y="16"/>
                    </a:lnTo>
                    <a:lnTo>
                      <a:pt x="4" y="14"/>
                    </a:lnTo>
                    <a:lnTo>
                      <a:pt x="8" y="16"/>
                    </a:lnTo>
                    <a:lnTo>
                      <a:pt x="11" y="19"/>
                    </a:lnTo>
                    <a:lnTo>
                      <a:pt x="8" y="22"/>
                    </a:lnTo>
                    <a:lnTo>
                      <a:pt x="8" y="2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sp>
          <p:nvSpPr>
            <p:cNvPr id="330" name="Freeform 563"/>
            <p:cNvSpPr>
              <a:spLocks/>
            </p:cNvSpPr>
            <p:nvPr/>
          </p:nvSpPr>
          <p:spPr bwMode="auto">
            <a:xfrm>
              <a:off x="5169420" y="2930029"/>
              <a:ext cx="102926" cy="128624"/>
            </a:xfrm>
            <a:custGeom>
              <a:avLst/>
              <a:gdLst>
                <a:gd name="T0" fmla="*/ 16 w 141"/>
                <a:gd name="T1" fmla="*/ 139 h 152"/>
                <a:gd name="T2" fmla="*/ 16 w 141"/>
                <a:gd name="T3" fmla="*/ 138 h 152"/>
                <a:gd name="T4" fmla="*/ 1 w 141"/>
                <a:gd name="T5" fmla="*/ 139 h 152"/>
                <a:gd name="T6" fmla="*/ 12 w 141"/>
                <a:gd name="T7" fmla="*/ 128 h 152"/>
                <a:gd name="T8" fmla="*/ 14 w 141"/>
                <a:gd name="T9" fmla="*/ 125 h 152"/>
                <a:gd name="T10" fmla="*/ 0 w 141"/>
                <a:gd name="T11" fmla="*/ 124 h 152"/>
                <a:gd name="T12" fmla="*/ 14 w 141"/>
                <a:gd name="T13" fmla="*/ 120 h 152"/>
                <a:gd name="T14" fmla="*/ 20 w 141"/>
                <a:gd name="T15" fmla="*/ 114 h 152"/>
                <a:gd name="T16" fmla="*/ 52 w 141"/>
                <a:gd name="T17" fmla="*/ 103 h 152"/>
                <a:gd name="T18" fmla="*/ 36 w 141"/>
                <a:gd name="T19" fmla="*/ 106 h 152"/>
                <a:gd name="T20" fmla="*/ 36 w 141"/>
                <a:gd name="T21" fmla="*/ 92 h 152"/>
                <a:gd name="T22" fmla="*/ 52 w 141"/>
                <a:gd name="T23" fmla="*/ 82 h 152"/>
                <a:gd name="T24" fmla="*/ 38 w 141"/>
                <a:gd name="T25" fmla="*/ 82 h 152"/>
                <a:gd name="T26" fmla="*/ 27 w 141"/>
                <a:gd name="T27" fmla="*/ 76 h 152"/>
                <a:gd name="T28" fmla="*/ 16 w 141"/>
                <a:gd name="T29" fmla="*/ 71 h 152"/>
                <a:gd name="T30" fmla="*/ 25 w 141"/>
                <a:gd name="T31" fmla="*/ 68 h 152"/>
                <a:gd name="T32" fmla="*/ 27 w 141"/>
                <a:gd name="T33" fmla="*/ 62 h 152"/>
                <a:gd name="T34" fmla="*/ 28 w 141"/>
                <a:gd name="T35" fmla="*/ 57 h 152"/>
                <a:gd name="T36" fmla="*/ 27 w 141"/>
                <a:gd name="T37" fmla="*/ 52 h 152"/>
                <a:gd name="T38" fmla="*/ 20 w 141"/>
                <a:gd name="T39" fmla="*/ 47 h 152"/>
                <a:gd name="T40" fmla="*/ 31 w 141"/>
                <a:gd name="T41" fmla="*/ 43 h 152"/>
                <a:gd name="T42" fmla="*/ 49 w 141"/>
                <a:gd name="T43" fmla="*/ 43 h 152"/>
                <a:gd name="T44" fmla="*/ 55 w 141"/>
                <a:gd name="T45" fmla="*/ 41 h 152"/>
                <a:gd name="T46" fmla="*/ 66 w 141"/>
                <a:gd name="T47" fmla="*/ 40 h 152"/>
                <a:gd name="T48" fmla="*/ 71 w 141"/>
                <a:gd name="T49" fmla="*/ 28 h 152"/>
                <a:gd name="T50" fmla="*/ 73 w 141"/>
                <a:gd name="T51" fmla="*/ 24 h 152"/>
                <a:gd name="T52" fmla="*/ 77 w 141"/>
                <a:gd name="T53" fmla="*/ 11 h 152"/>
                <a:gd name="T54" fmla="*/ 93 w 141"/>
                <a:gd name="T55" fmla="*/ 8 h 152"/>
                <a:gd name="T56" fmla="*/ 103 w 141"/>
                <a:gd name="T57" fmla="*/ 9 h 152"/>
                <a:gd name="T58" fmla="*/ 106 w 141"/>
                <a:gd name="T59" fmla="*/ 8 h 152"/>
                <a:gd name="T60" fmla="*/ 117 w 141"/>
                <a:gd name="T61" fmla="*/ 3 h 152"/>
                <a:gd name="T62" fmla="*/ 111 w 141"/>
                <a:gd name="T63" fmla="*/ 11 h 152"/>
                <a:gd name="T64" fmla="*/ 104 w 141"/>
                <a:gd name="T65" fmla="*/ 19 h 152"/>
                <a:gd name="T66" fmla="*/ 98 w 141"/>
                <a:gd name="T67" fmla="*/ 24 h 152"/>
                <a:gd name="T68" fmla="*/ 92 w 141"/>
                <a:gd name="T69" fmla="*/ 30 h 152"/>
                <a:gd name="T70" fmla="*/ 81 w 141"/>
                <a:gd name="T71" fmla="*/ 36 h 152"/>
                <a:gd name="T72" fmla="*/ 90 w 141"/>
                <a:gd name="T73" fmla="*/ 44 h 152"/>
                <a:gd name="T74" fmla="*/ 101 w 141"/>
                <a:gd name="T75" fmla="*/ 47 h 152"/>
                <a:gd name="T76" fmla="*/ 106 w 141"/>
                <a:gd name="T77" fmla="*/ 47 h 152"/>
                <a:gd name="T78" fmla="*/ 109 w 141"/>
                <a:gd name="T79" fmla="*/ 40 h 152"/>
                <a:gd name="T80" fmla="*/ 123 w 141"/>
                <a:gd name="T81" fmla="*/ 46 h 152"/>
                <a:gd name="T82" fmla="*/ 133 w 141"/>
                <a:gd name="T83" fmla="*/ 49 h 152"/>
                <a:gd name="T84" fmla="*/ 136 w 141"/>
                <a:gd name="T85" fmla="*/ 52 h 152"/>
                <a:gd name="T86" fmla="*/ 136 w 141"/>
                <a:gd name="T87" fmla="*/ 65 h 152"/>
                <a:gd name="T88" fmla="*/ 138 w 141"/>
                <a:gd name="T89" fmla="*/ 74 h 152"/>
                <a:gd name="T90" fmla="*/ 139 w 141"/>
                <a:gd name="T91" fmla="*/ 84 h 152"/>
                <a:gd name="T92" fmla="*/ 135 w 141"/>
                <a:gd name="T93" fmla="*/ 101 h 152"/>
                <a:gd name="T94" fmla="*/ 127 w 141"/>
                <a:gd name="T95" fmla="*/ 116 h 152"/>
                <a:gd name="T96" fmla="*/ 125 w 141"/>
                <a:gd name="T97" fmla="*/ 124 h 152"/>
                <a:gd name="T98" fmla="*/ 108 w 141"/>
                <a:gd name="T99" fmla="*/ 120 h 152"/>
                <a:gd name="T100" fmla="*/ 108 w 141"/>
                <a:gd name="T101" fmla="*/ 120 h 152"/>
                <a:gd name="T102" fmla="*/ 93 w 141"/>
                <a:gd name="T103" fmla="*/ 125 h 152"/>
                <a:gd name="T104" fmla="*/ 81 w 141"/>
                <a:gd name="T105" fmla="*/ 133 h 152"/>
                <a:gd name="T106" fmla="*/ 71 w 141"/>
                <a:gd name="T107" fmla="*/ 138 h 152"/>
                <a:gd name="T108" fmla="*/ 62 w 141"/>
                <a:gd name="T109" fmla="*/ 135 h 152"/>
                <a:gd name="T110" fmla="*/ 57 w 141"/>
                <a:gd name="T111" fmla="*/ 146 h 152"/>
                <a:gd name="T112" fmla="*/ 39 w 141"/>
                <a:gd name="T113" fmla="*/ 147 h 152"/>
                <a:gd name="T114" fmla="*/ 22 w 141"/>
                <a:gd name="T115" fmla="*/ 147 h 152"/>
                <a:gd name="T116" fmla="*/ 25 w 141"/>
                <a:gd name="T117" fmla="*/ 143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1" h="152">
                  <a:moveTo>
                    <a:pt x="11" y="146"/>
                  </a:moveTo>
                  <a:lnTo>
                    <a:pt x="8" y="146"/>
                  </a:lnTo>
                  <a:lnTo>
                    <a:pt x="11" y="143"/>
                  </a:lnTo>
                  <a:lnTo>
                    <a:pt x="11" y="143"/>
                  </a:lnTo>
                  <a:lnTo>
                    <a:pt x="16" y="139"/>
                  </a:lnTo>
                  <a:lnTo>
                    <a:pt x="16" y="141"/>
                  </a:lnTo>
                  <a:lnTo>
                    <a:pt x="20" y="138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16" y="138"/>
                  </a:lnTo>
                  <a:lnTo>
                    <a:pt x="12" y="139"/>
                  </a:lnTo>
                  <a:lnTo>
                    <a:pt x="12" y="139"/>
                  </a:lnTo>
                  <a:lnTo>
                    <a:pt x="9" y="141"/>
                  </a:lnTo>
                  <a:lnTo>
                    <a:pt x="5" y="139"/>
                  </a:lnTo>
                  <a:lnTo>
                    <a:pt x="1" y="139"/>
                  </a:lnTo>
                  <a:lnTo>
                    <a:pt x="1" y="136"/>
                  </a:lnTo>
                  <a:lnTo>
                    <a:pt x="5" y="135"/>
                  </a:lnTo>
                  <a:lnTo>
                    <a:pt x="6" y="132"/>
                  </a:lnTo>
                  <a:lnTo>
                    <a:pt x="9" y="130"/>
                  </a:lnTo>
                  <a:lnTo>
                    <a:pt x="12" y="128"/>
                  </a:lnTo>
                  <a:lnTo>
                    <a:pt x="14" y="128"/>
                  </a:lnTo>
                  <a:lnTo>
                    <a:pt x="17" y="125"/>
                  </a:lnTo>
                  <a:lnTo>
                    <a:pt x="20" y="125"/>
                  </a:lnTo>
                  <a:lnTo>
                    <a:pt x="17" y="125"/>
                  </a:lnTo>
                  <a:lnTo>
                    <a:pt x="14" y="125"/>
                  </a:lnTo>
                  <a:lnTo>
                    <a:pt x="11" y="125"/>
                  </a:lnTo>
                  <a:lnTo>
                    <a:pt x="6" y="125"/>
                  </a:lnTo>
                  <a:lnTo>
                    <a:pt x="3" y="127"/>
                  </a:lnTo>
                  <a:lnTo>
                    <a:pt x="0" y="127"/>
                  </a:lnTo>
                  <a:lnTo>
                    <a:pt x="0" y="124"/>
                  </a:lnTo>
                  <a:lnTo>
                    <a:pt x="3" y="122"/>
                  </a:lnTo>
                  <a:lnTo>
                    <a:pt x="6" y="120"/>
                  </a:lnTo>
                  <a:lnTo>
                    <a:pt x="11" y="122"/>
                  </a:lnTo>
                  <a:lnTo>
                    <a:pt x="14" y="119"/>
                  </a:lnTo>
                  <a:lnTo>
                    <a:pt x="14" y="120"/>
                  </a:lnTo>
                  <a:lnTo>
                    <a:pt x="17" y="122"/>
                  </a:lnTo>
                  <a:lnTo>
                    <a:pt x="20" y="120"/>
                  </a:lnTo>
                  <a:lnTo>
                    <a:pt x="20" y="117"/>
                  </a:lnTo>
                  <a:lnTo>
                    <a:pt x="17" y="114"/>
                  </a:lnTo>
                  <a:lnTo>
                    <a:pt x="20" y="114"/>
                  </a:lnTo>
                  <a:lnTo>
                    <a:pt x="24" y="111"/>
                  </a:lnTo>
                  <a:lnTo>
                    <a:pt x="27" y="108"/>
                  </a:lnTo>
                  <a:lnTo>
                    <a:pt x="41" y="108"/>
                  </a:lnTo>
                  <a:lnTo>
                    <a:pt x="55" y="105"/>
                  </a:lnTo>
                  <a:lnTo>
                    <a:pt x="52" y="103"/>
                  </a:lnTo>
                  <a:lnTo>
                    <a:pt x="49" y="100"/>
                  </a:lnTo>
                  <a:lnTo>
                    <a:pt x="44" y="105"/>
                  </a:lnTo>
                  <a:lnTo>
                    <a:pt x="41" y="106"/>
                  </a:lnTo>
                  <a:lnTo>
                    <a:pt x="39" y="106"/>
                  </a:lnTo>
                  <a:lnTo>
                    <a:pt x="36" y="106"/>
                  </a:lnTo>
                  <a:lnTo>
                    <a:pt x="31" y="106"/>
                  </a:lnTo>
                  <a:lnTo>
                    <a:pt x="20" y="108"/>
                  </a:lnTo>
                  <a:lnTo>
                    <a:pt x="30" y="101"/>
                  </a:lnTo>
                  <a:lnTo>
                    <a:pt x="38" y="95"/>
                  </a:lnTo>
                  <a:lnTo>
                    <a:pt x="36" y="92"/>
                  </a:lnTo>
                  <a:lnTo>
                    <a:pt x="39" y="87"/>
                  </a:lnTo>
                  <a:lnTo>
                    <a:pt x="43" y="86"/>
                  </a:lnTo>
                  <a:lnTo>
                    <a:pt x="46" y="87"/>
                  </a:lnTo>
                  <a:lnTo>
                    <a:pt x="49" y="86"/>
                  </a:lnTo>
                  <a:lnTo>
                    <a:pt x="52" y="82"/>
                  </a:lnTo>
                  <a:lnTo>
                    <a:pt x="49" y="82"/>
                  </a:lnTo>
                  <a:lnTo>
                    <a:pt x="47" y="81"/>
                  </a:lnTo>
                  <a:lnTo>
                    <a:pt x="44" y="82"/>
                  </a:lnTo>
                  <a:lnTo>
                    <a:pt x="41" y="82"/>
                  </a:lnTo>
                  <a:lnTo>
                    <a:pt x="38" y="82"/>
                  </a:lnTo>
                  <a:lnTo>
                    <a:pt x="33" y="82"/>
                  </a:lnTo>
                  <a:lnTo>
                    <a:pt x="31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7" y="76"/>
                  </a:lnTo>
                  <a:lnTo>
                    <a:pt x="22" y="74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20" y="73"/>
                  </a:lnTo>
                  <a:lnTo>
                    <a:pt x="16" y="71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70"/>
                  </a:lnTo>
                  <a:lnTo>
                    <a:pt x="20" y="68"/>
                  </a:lnTo>
                  <a:lnTo>
                    <a:pt x="25" y="68"/>
                  </a:lnTo>
                  <a:lnTo>
                    <a:pt x="28" y="68"/>
                  </a:lnTo>
                  <a:lnTo>
                    <a:pt x="30" y="68"/>
                  </a:lnTo>
                  <a:lnTo>
                    <a:pt x="27" y="68"/>
                  </a:lnTo>
                  <a:lnTo>
                    <a:pt x="24" y="63"/>
                  </a:lnTo>
                  <a:lnTo>
                    <a:pt x="27" y="62"/>
                  </a:lnTo>
                  <a:lnTo>
                    <a:pt x="31" y="60"/>
                  </a:lnTo>
                  <a:lnTo>
                    <a:pt x="35" y="60"/>
                  </a:lnTo>
                  <a:lnTo>
                    <a:pt x="35" y="57"/>
                  </a:lnTo>
                  <a:lnTo>
                    <a:pt x="31" y="57"/>
                  </a:lnTo>
                  <a:lnTo>
                    <a:pt x="28" y="57"/>
                  </a:lnTo>
                  <a:lnTo>
                    <a:pt x="25" y="59"/>
                  </a:lnTo>
                  <a:lnTo>
                    <a:pt x="25" y="57"/>
                  </a:lnTo>
                  <a:lnTo>
                    <a:pt x="28" y="54"/>
                  </a:lnTo>
                  <a:lnTo>
                    <a:pt x="28" y="55"/>
                  </a:lnTo>
                  <a:lnTo>
                    <a:pt x="27" y="52"/>
                  </a:lnTo>
                  <a:lnTo>
                    <a:pt x="28" y="49"/>
                  </a:lnTo>
                  <a:lnTo>
                    <a:pt x="24" y="49"/>
                  </a:lnTo>
                  <a:lnTo>
                    <a:pt x="25" y="46"/>
                  </a:lnTo>
                  <a:lnTo>
                    <a:pt x="24" y="44"/>
                  </a:lnTo>
                  <a:lnTo>
                    <a:pt x="20" y="47"/>
                  </a:lnTo>
                  <a:lnTo>
                    <a:pt x="22" y="44"/>
                  </a:lnTo>
                  <a:lnTo>
                    <a:pt x="24" y="41"/>
                  </a:lnTo>
                  <a:lnTo>
                    <a:pt x="25" y="44"/>
                  </a:lnTo>
                  <a:lnTo>
                    <a:pt x="28" y="43"/>
                  </a:lnTo>
                  <a:lnTo>
                    <a:pt x="31" y="43"/>
                  </a:lnTo>
                  <a:lnTo>
                    <a:pt x="35" y="40"/>
                  </a:lnTo>
                  <a:lnTo>
                    <a:pt x="38" y="40"/>
                  </a:lnTo>
                  <a:lnTo>
                    <a:pt x="41" y="41"/>
                  </a:lnTo>
                  <a:lnTo>
                    <a:pt x="46" y="40"/>
                  </a:lnTo>
                  <a:lnTo>
                    <a:pt x="49" y="43"/>
                  </a:lnTo>
                  <a:lnTo>
                    <a:pt x="51" y="46"/>
                  </a:lnTo>
                  <a:lnTo>
                    <a:pt x="51" y="47"/>
                  </a:lnTo>
                  <a:lnTo>
                    <a:pt x="51" y="46"/>
                  </a:lnTo>
                  <a:lnTo>
                    <a:pt x="52" y="43"/>
                  </a:lnTo>
                  <a:lnTo>
                    <a:pt x="55" y="41"/>
                  </a:lnTo>
                  <a:lnTo>
                    <a:pt x="60" y="43"/>
                  </a:lnTo>
                  <a:lnTo>
                    <a:pt x="63" y="43"/>
                  </a:lnTo>
                  <a:lnTo>
                    <a:pt x="66" y="44"/>
                  </a:lnTo>
                  <a:lnTo>
                    <a:pt x="70" y="41"/>
                  </a:lnTo>
                  <a:lnTo>
                    <a:pt x="66" y="40"/>
                  </a:lnTo>
                  <a:lnTo>
                    <a:pt x="76" y="33"/>
                  </a:lnTo>
                  <a:lnTo>
                    <a:pt x="81" y="30"/>
                  </a:lnTo>
                  <a:lnTo>
                    <a:pt x="77" y="28"/>
                  </a:lnTo>
                  <a:lnTo>
                    <a:pt x="74" y="30"/>
                  </a:lnTo>
                  <a:lnTo>
                    <a:pt x="71" y="28"/>
                  </a:lnTo>
                  <a:lnTo>
                    <a:pt x="66" y="28"/>
                  </a:lnTo>
                  <a:lnTo>
                    <a:pt x="63" y="27"/>
                  </a:lnTo>
                  <a:lnTo>
                    <a:pt x="66" y="24"/>
                  </a:lnTo>
                  <a:lnTo>
                    <a:pt x="70" y="22"/>
                  </a:lnTo>
                  <a:lnTo>
                    <a:pt x="73" y="24"/>
                  </a:lnTo>
                  <a:lnTo>
                    <a:pt x="73" y="19"/>
                  </a:lnTo>
                  <a:lnTo>
                    <a:pt x="76" y="20"/>
                  </a:lnTo>
                  <a:lnTo>
                    <a:pt x="74" y="16"/>
                  </a:lnTo>
                  <a:lnTo>
                    <a:pt x="74" y="14"/>
                  </a:lnTo>
                  <a:lnTo>
                    <a:pt x="77" y="11"/>
                  </a:lnTo>
                  <a:lnTo>
                    <a:pt x="81" y="8"/>
                  </a:lnTo>
                  <a:lnTo>
                    <a:pt x="84" y="8"/>
                  </a:lnTo>
                  <a:lnTo>
                    <a:pt x="87" y="8"/>
                  </a:lnTo>
                  <a:lnTo>
                    <a:pt x="90" y="6"/>
                  </a:lnTo>
                  <a:lnTo>
                    <a:pt x="93" y="8"/>
                  </a:lnTo>
                  <a:lnTo>
                    <a:pt x="98" y="8"/>
                  </a:lnTo>
                  <a:lnTo>
                    <a:pt x="97" y="3"/>
                  </a:lnTo>
                  <a:lnTo>
                    <a:pt x="100" y="3"/>
                  </a:lnTo>
                  <a:lnTo>
                    <a:pt x="101" y="6"/>
                  </a:lnTo>
                  <a:lnTo>
                    <a:pt x="103" y="9"/>
                  </a:lnTo>
                  <a:lnTo>
                    <a:pt x="100" y="11"/>
                  </a:lnTo>
                  <a:lnTo>
                    <a:pt x="100" y="14"/>
                  </a:lnTo>
                  <a:lnTo>
                    <a:pt x="101" y="14"/>
                  </a:lnTo>
                  <a:lnTo>
                    <a:pt x="104" y="13"/>
                  </a:lnTo>
                  <a:lnTo>
                    <a:pt x="106" y="8"/>
                  </a:lnTo>
                  <a:lnTo>
                    <a:pt x="103" y="5"/>
                  </a:lnTo>
                  <a:lnTo>
                    <a:pt x="106" y="3"/>
                  </a:lnTo>
                  <a:lnTo>
                    <a:pt x="111" y="1"/>
                  </a:lnTo>
                  <a:lnTo>
                    <a:pt x="114" y="0"/>
                  </a:lnTo>
                  <a:lnTo>
                    <a:pt x="117" y="3"/>
                  </a:lnTo>
                  <a:lnTo>
                    <a:pt x="120" y="3"/>
                  </a:lnTo>
                  <a:lnTo>
                    <a:pt x="117" y="6"/>
                  </a:lnTo>
                  <a:lnTo>
                    <a:pt x="114" y="8"/>
                  </a:lnTo>
                  <a:lnTo>
                    <a:pt x="111" y="11"/>
                  </a:lnTo>
                  <a:lnTo>
                    <a:pt x="111" y="11"/>
                  </a:lnTo>
                  <a:lnTo>
                    <a:pt x="108" y="13"/>
                  </a:lnTo>
                  <a:lnTo>
                    <a:pt x="106" y="14"/>
                  </a:lnTo>
                  <a:lnTo>
                    <a:pt x="106" y="14"/>
                  </a:lnTo>
                  <a:lnTo>
                    <a:pt x="106" y="16"/>
                  </a:lnTo>
                  <a:lnTo>
                    <a:pt x="104" y="19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103" y="20"/>
                  </a:lnTo>
                  <a:lnTo>
                    <a:pt x="101" y="20"/>
                  </a:lnTo>
                  <a:lnTo>
                    <a:pt x="98" y="24"/>
                  </a:lnTo>
                  <a:lnTo>
                    <a:pt x="93" y="25"/>
                  </a:lnTo>
                  <a:lnTo>
                    <a:pt x="90" y="25"/>
                  </a:lnTo>
                  <a:lnTo>
                    <a:pt x="93" y="28"/>
                  </a:lnTo>
                  <a:lnTo>
                    <a:pt x="95" y="28"/>
                  </a:lnTo>
                  <a:lnTo>
                    <a:pt x="92" y="30"/>
                  </a:lnTo>
                  <a:lnTo>
                    <a:pt x="90" y="32"/>
                  </a:lnTo>
                  <a:lnTo>
                    <a:pt x="87" y="32"/>
                  </a:lnTo>
                  <a:lnTo>
                    <a:pt x="84" y="33"/>
                  </a:lnTo>
                  <a:lnTo>
                    <a:pt x="82" y="33"/>
                  </a:lnTo>
                  <a:lnTo>
                    <a:pt x="81" y="36"/>
                  </a:lnTo>
                  <a:lnTo>
                    <a:pt x="82" y="36"/>
                  </a:lnTo>
                  <a:lnTo>
                    <a:pt x="85" y="40"/>
                  </a:lnTo>
                  <a:lnTo>
                    <a:pt x="87" y="41"/>
                  </a:lnTo>
                  <a:lnTo>
                    <a:pt x="89" y="41"/>
                  </a:lnTo>
                  <a:lnTo>
                    <a:pt x="90" y="44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5" y="46"/>
                  </a:lnTo>
                  <a:lnTo>
                    <a:pt x="98" y="47"/>
                  </a:lnTo>
                  <a:lnTo>
                    <a:pt x="101" y="47"/>
                  </a:lnTo>
                  <a:lnTo>
                    <a:pt x="101" y="47"/>
                  </a:lnTo>
                  <a:lnTo>
                    <a:pt x="104" y="47"/>
                  </a:lnTo>
                  <a:lnTo>
                    <a:pt x="106" y="47"/>
                  </a:lnTo>
                  <a:lnTo>
                    <a:pt x="104" y="47"/>
                  </a:lnTo>
                  <a:lnTo>
                    <a:pt x="106" y="47"/>
                  </a:lnTo>
                  <a:lnTo>
                    <a:pt x="108" y="46"/>
                  </a:lnTo>
                  <a:lnTo>
                    <a:pt x="108" y="46"/>
                  </a:lnTo>
                  <a:lnTo>
                    <a:pt x="111" y="43"/>
                  </a:lnTo>
                  <a:lnTo>
                    <a:pt x="109" y="40"/>
                  </a:lnTo>
                  <a:lnTo>
                    <a:pt x="109" y="40"/>
                  </a:lnTo>
                  <a:lnTo>
                    <a:pt x="112" y="38"/>
                  </a:lnTo>
                  <a:lnTo>
                    <a:pt x="117" y="36"/>
                  </a:lnTo>
                  <a:lnTo>
                    <a:pt x="120" y="40"/>
                  </a:lnTo>
                  <a:lnTo>
                    <a:pt x="120" y="43"/>
                  </a:lnTo>
                  <a:lnTo>
                    <a:pt x="123" y="46"/>
                  </a:lnTo>
                  <a:lnTo>
                    <a:pt x="125" y="46"/>
                  </a:lnTo>
                  <a:lnTo>
                    <a:pt x="125" y="49"/>
                  </a:lnTo>
                  <a:lnTo>
                    <a:pt x="127" y="51"/>
                  </a:lnTo>
                  <a:lnTo>
                    <a:pt x="133" y="49"/>
                  </a:lnTo>
                  <a:lnTo>
                    <a:pt x="133" y="49"/>
                  </a:lnTo>
                  <a:lnTo>
                    <a:pt x="135" y="47"/>
                  </a:lnTo>
                  <a:lnTo>
                    <a:pt x="136" y="49"/>
                  </a:lnTo>
                  <a:lnTo>
                    <a:pt x="136" y="49"/>
                  </a:lnTo>
                  <a:lnTo>
                    <a:pt x="141" y="51"/>
                  </a:lnTo>
                  <a:lnTo>
                    <a:pt x="136" y="52"/>
                  </a:lnTo>
                  <a:lnTo>
                    <a:pt x="133" y="52"/>
                  </a:lnTo>
                  <a:lnTo>
                    <a:pt x="133" y="57"/>
                  </a:lnTo>
                  <a:lnTo>
                    <a:pt x="136" y="59"/>
                  </a:lnTo>
                  <a:lnTo>
                    <a:pt x="136" y="62"/>
                  </a:lnTo>
                  <a:lnTo>
                    <a:pt x="136" y="65"/>
                  </a:lnTo>
                  <a:lnTo>
                    <a:pt x="136" y="66"/>
                  </a:lnTo>
                  <a:lnTo>
                    <a:pt x="141" y="70"/>
                  </a:lnTo>
                  <a:lnTo>
                    <a:pt x="139" y="73"/>
                  </a:lnTo>
                  <a:lnTo>
                    <a:pt x="138" y="73"/>
                  </a:lnTo>
                  <a:lnTo>
                    <a:pt x="138" y="74"/>
                  </a:lnTo>
                  <a:lnTo>
                    <a:pt x="139" y="76"/>
                  </a:lnTo>
                  <a:lnTo>
                    <a:pt x="135" y="78"/>
                  </a:lnTo>
                  <a:lnTo>
                    <a:pt x="136" y="79"/>
                  </a:lnTo>
                  <a:lnTo>
                    <a:pt x="138" y="82"/>
                  </a:lnTo>
                  <a:lnTo>
                    <a:pt x="139" y="84"/>
                  </a:lnTo>
                  <a:lnTo>
                    <a:pt x="139" y="87"/>
                  </a:lnTo>
                  <a:lnTo>
                    <a:pt x="139" y="90"/>
                  </a:lnTo>
                  <a:lnTo>
                    <a:pt x="139" y="93"/>
                  </a:lnTo>
                  <a:lnTo>
                    <a:pt x="138" y="97"/>
                  </a:lnTo>
                  <a:lnTo>
                    <a:pt x="135" y="101"/>
                  </a:lnTo>
                  <a:lnTo>
                    <a:pt x="135" y="101"/>
                  </a:lnTo>
                  <a:lnTo>
                    <a:pt x="133" y="105"/>
                  </a:lnTo>
                  <a:lnTo>
                    <a:pt x="133" y="109"/>
                  </a:lnTo>
                  <a:lnTo>
                    <a:pt x="130" y="112"/>
                  </a:lnTo>
                  <a:lnTo>
                    <a:pt x="127" y="116"/>
                  </a:lnTo>
                  <a:lnTo>
                    <a:pt x="125" y="117"/>
                  </a:lnTo>
                  <a:lnTo>
                    <a:pt x="123" y="117"/>
                  </a:lnTo>
                  <a:lnTo>
                    <a:pt x="127" y="117"/>
                  </a:lnTo>
                  <a:lnTo>
                    <a:pt x="128" y="122"/>
                  </a:lnTo>
                  <a:lnTo>
                    <a:pt x="125" y="124"/>
                  </a:lnTo>
                  <a:lnTo>
                    <a:pt x="120" y="124"/>
                  </a:lnTo>
                  <a:lnTo>
                    <a:pt x="117" y="122"/>
                  </a:lnTo>
                  <a:lnTo>
                    <a:pt x="114" y="122"/>
                  </a:lnTo>
                  <a:lnTo>
                    <a:pt x="111" y="124"/>
                  </a:lnTo>
                  <a:lnTo>
                    <a:pt x="108" y="120"/>
                  </a:lnTo>
                  <a:lnTo>
                    <a:pt x="108" y="119"/>
                  </a:lnTo>
                  <a:lnTo>
                    <a:pt x="108" y="119"/>
                  </a:lnTo>
                  <a:lnTo>
                    <a:pt x="108" y="119"/>
                  </a:lnTo>
                  <a:lnTo>
                    <a:pt x="108" y="119"/>
                  </a:lnTo>
                  <a:lnTo>
                    <a:pt x="108" y="120"/>
                  </a:lnTo>
                  <a:lnTo>
                    <a:pt x="108" y="124"/>
                  </a:lnTo>
                  <a:lnTo>
                    <a:pt x="104" y="125"/>
                  </a:lnTo>
                  <a:lnTo>
                    <a:pt x="100" y="125"/>
                  </a:lnTo>
                  <a:lnTo>
                    <a:pt x="98" y="125"/>
                  </a:lnTo>
                  <a:lnTo>
                    <a:pt x="93" y="125"/>
                  </a:lnTo>
                  <a:lnTo>
                    <a:pt x="90" y="127"/>
                  </a:lnTo>
                  <a:lnTo>
                    <a:pt x="89" y="127"/>
                  </a:lnTo>
                  <a:lnTo>
                    <a:pt x="87" y="127"/>
                  </a:lnTo>
                  <a:lnTo>
                    <a:pt x="89" y="130"/>
                  </a:lnTo>
                  <a:lnTo>
                    <a:pt x="81" y="133"/>
                  </a:lnTo>
                  <a:lnTo>
                    <a:pt x="79" y="132"/>
                  </a:lnTo>
                  <a:lnTo>
                    <a:pt x="79" y="132"/>
                  </a:lnTo>
                  <a:lnTo>
                    <a:pt x="77" y="135"/>
                  </a:lnTo>
                  <a:lnTo>
                    <a:pt x="74" y="136"/>
                  </a:lnTo>
                  <a:lnTo>
                    <a:pt x="71" y="138"/>
                  </a:lnTo>
                  <a:lnTo>
                    <a:pt x="68" y="138"/>
                  </a:lnTo>
                  <a:lnTo>
                    <a:pt x="70" y="135"/>
                  </a:lnTo>
                  <a:lnTo>
                    <a:pt x="65" y="135"/>
                  </a:lnTo>
                  <a:lnTo>
                    <a:pt x="63" y="135"/>
                  </a:lnTo>
                  <a:lnTo>
                    <a:pt x="62" y="135"/>
                  </a:lnTo>
                  <a:lnTo>
                    <a:pt x="65" y="138"/>
                  </a:lnTo>
                  <a:lnTo>
                    <a:pt x="65" y="141"/>
                  </a:lnTo>
                  <a:lnTo>
                    <a:pt x="62" y="143"/>
                  </a:lnTo>
                  <a:lnTo>
                    <a:pt x="60" y="143"/>
                  </a:lnTo>
                  <a:lnTo>
                    <a:pt x="57" y="146"/>
                  </a:lnTo>
                  <a:lnTo>
                    <a:pt x="54" y="144"/>
                  </a:lnTo>
                  <a:lnTo>
                    <a:pt x="51" y="147"/>
                  </a:lnTo>
                  <a:lnTo>
                    <a:pt x="46" y="147"/>
                  </a:lnTo>
                  <a:lnTo>
                    <a:pt x="43" y="147"/>
                  </a:lnTo>
                  <a:lnTo>
                    <a:pt x="39" y="147"/>
                  </a:lnTo>
                  <a:lnTo>
                    <a:pt x="28" y="151"/>
                  </a:lnTo>
                  <a:lnTo>
                    <a:pt x="19" y="152"/>
                  </a:lnTo>
                  <a:lnTo>
                    <a:pt x="22" y="147"/>
                  </a:lnTo>
                  <a:lnTo>
                    <a:pt x="25" y="146"/>
                  </a:lnTo>
                  <a:lnTo>
                    <a:pt x="22" y="147"/>
                  </a:lnTo>
                  <a:lnTo>
                    <a:pt x="17" y="147"/>
                  </a:lnTo>
                  <a:lnTo>
                    <a:pt x="22" y="146"/>
                  </a:lnTo>
                  <a:lnTo>
                    <a:pt x="25" y="144"/>
                  </a:lnTo>
                  <a:lnTo>
                    <a:pt x="28" y="143"/>
                  </a:lnTo>
                  <a:lnTo>
                    <a:pt x="25" y="143"/>
                  </a:lnTo>
                  <a:lnTo>
                    <a:pt x="20" y="143"/>
                  </a:lnTo>
                  <a:lnTo>
                    <a:pt x="17" y="144"/>
                  </a:lnTo>
                  <a:lnTo>
                    <a:pt x="14" y="144"/>
                  </a:lnTo>
                  <a:lnTo>
                    <a:pt x="11" y="146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31" name="Freeform 564"/>
            <p:cNvSpPr>
              <a:spLocks/>
            </p:cNvSpPr>
            <p:nvPr/>
          </p:nvSpPr>
          <p:spPr bwMode="auto">
            <a:xfrm>
              <a:off x="4941514" y="2578004"/>
              <a:ext cx="219084" cy="94776"/>
            </a:xfrm>
            <a:custGeom>
              <a:avLst/>
              <a:gdLst>
                <a:gd name="T0" fmla="*/ 42 w 296"/>
                <a:gd name="T1" fmla="*/ 35 h 113"/>
                <a:gd name="T2" fmla="*/ 60 w 296"/>
                <a:gd name="T3" fmla="*/ 37 h 113"/>
                <a:gd name="T4" fmla="*/ 71 w 296"/>
                <a:gd name="T5" fmla="*/ 40 h 113"/>
                <a:gd name="T6" fmla="*/ 55 w 296"/>
                <a:gd name="T7" fmla="*/ 45 h 113"/>
                <a:gd name="T8" fmla="*/ 69 w 296"/>
                <a:gd name="T9" fmla="*/ 51 h 113"/>
                <a:gd name="T10" fmla="*/ 49 w 296"/>
                <a:gd name="T11" fmla="*/ 54 h 113"/>
                <a:gd name="T12" fmla="*/ 25 w 296"/>
                <a:gd name="T13" fmla="*/ 57 h 113"/>
                <a:gd name="T14" fmla="*/ 6 w 296"/>
                <a:gd name="T15" fmla="*/ 64 h 113"/>
                <a:gd name="T16" fmla="*/ 31 w 296"/>
                <a:gd name="T17" fmla="*/ 62 h 113"/>
                <a:gd name="T18" fmla="*/ 53 w 296"/>
                <a:gd name="T19" fmla="*/ 65 h 113"/>
                <a:gd name="T20" fmla="*/ 60 w 296"/>
                <a:gd name="T21" fmla="*/ 72 h 113"/>
                <a:gd name="T22" fmla="*/ 66 w 296"/>
                <a:gd name="T23" fmla="*/ 70 h 113"/>
                <a:gd name="T24" fmla="*/ 57 w 296"/>
                <a:gd name="T25" fmla="*/ 78 h 113"/>
                <a:gd name="T26" fmla="*/ 58 w 296"/>
                <a:gd name="T27" fmla="*/ 83 h 113"/>
                <a:gd name="T28" fmla="*/ 50 w 296"/>
                <a:gd name="T29" fmla="*/ 91 h 113"/>
                <a:gd name="T30" fmla="*/ 31 w 296"/>
                <a:gd name="T31" fmla="*/ 99 h 113"/>
                <a:gd name="T32" fmla="*/ 55 w 296"/>
                <a:gd name="T33" fmla="*/ 97 h 113"/>
                <a:gd name="T34" fmla="*/ 79 w 296"/>
                <a:gd name="T35" fmla="*/ 94 h 113"/>
                <a:gd name="T36" fmla="*/ 88 w 296"/>
                <a:gd name="T37" fmla="*/ 100 h 113"/>
                <a:gd name="T38" fmla="*/ 96 w 296"/>
                <a:gd name="T39" fmla="*/ 102 h 113"/>
                <a:gd name="T40" fmla="*/ 106 w 296"/>
                <a:gd name="T41" fmla="*/ 108 h 113"/>
                <a:gd name="T42" fmla="*/ 155 w 296"/>
                <a:gd name="T43" fmla="*/ 111 h 113"/>
                <a:gd name="T44" fmla="*/ 166 w 296"/>
                <a:gd name="T45" fmla="*/ 102 h 113"/>
                <a:gd name="T46" fmla="*/ 187 w 296"/>
                <a:gd name="T47" fmla="*/ 99 h 113"/>
                <a:gd name="T48" fmla="*/ 225 w 296"/>
                <a:gd name="T49" fmla="*/ 86 h 113"/>
                <a:gd name="T50" fmla="*/ 245 w 296"/>
                <a:gd name="T51" fmla="*/ 81 h 113"/>
                <a:gd name="T52" fmla="*/ 264 w 296"/>
                <a:gd name="T53" fmla="*/ 75 h 113"/>
                <a:gd name="T54" fmla="*/ 275 w 296"/>
                <a:gd name="T55" fmla="*/ 67 h 113"/>
                <a:gd name="T56" fmla="*/ 285 w 296"/>
                <a:gd name="T57" fmla="*/ 59 h 113"/>
                <a:gd name="T58" fmla="*/ 291 w 296"/>
                <a:gd name="T59" fmla="*/ 56 h 113"/>
                <a:gd name="T60" fmla="*/ 294 w 296"/>
                <a:gd name="T61" fmla="*/ 45 h 113"/>
                <a:gd name="T62" fmla="*/ 294 w 296"/>
                <a:gd name="T63" fmla="*/ 37 h 113"/>
                <a:gd name="T64" fmla="*/ 271 w 296"/>
                <a:gd name="T65" fmla="*/ 37 h 113"/>
                <a:gd name="T66" fmla="*/ 266 w 296"/>
                <a:gd name="T67" fmla="*/ 26 h 113"/>
                <a:gd name="T68" fmla="*/ 263 w 296"/>
                <a:gd name="T69" fmla="*/ 15 h 113"/>
                <a:gd name="T70" fmla="*/ 268 w 296"/>
                <a:gd name="T71" fmla="*/ 7 h 113"/>
                <a:gd name="T72" fmla="*/ 244 w 296"/>
                <a:gd name="T73" fmla="*/ 8 h 113"/>
                <a:gd name="T74" fmla="*/ 223 w 296"/>
                <a:gd name="T75" fmla="*/ 4 h 113"/>
                <a:gd name="T76" fmla="*/ 212 w 296"/>
                <a:gd name="T77" fmla="*/ 15 h 113"/>
                <a:gd name="T78" fmla="*/ 191 w 296"/>
                <a:gd name="T79" fmla="*/ 23 h 113"/>
                <a:gd name="T80" fmla="*/ 177 w 296"/>
                <a:gd name="T81" fmla="*/ 24 h 113"/>
                <a:gd name="T82" fmla="*/ 168 w 296"/>
                <a:gd name="T83" fmla="*/ 21 h 113"/>
                <a:gd name="T84" fmla="*/ 149 w 296"/>
                <a:gd name="T85" fmla="*/ 16 h 113"/>
                <a:gd name="T86" fmla="*/ 136 w 296"/>
                <a:gd name="T87" fmla="*/ 29 h 113"/>
                <a:gd name="T88" fmla="*/ 122 w 296"/>
                <a:gd name="T89" fmla="*/ 15 h 113"/>
                <a:gd name="T90" fmla="*/ 109 w 296"/>
                <a:gd name="T91" fmla="*/ 35 h 113"/>
                <a:gd name="T92" fmla="*/ 95 w 296"/>
                <a:gd name="T93" fmla="*/ 40 h 113"/>
                <a:gd name="T94" fmla="*/ 87 w 296"/>
                <a:gd name="T95" fmla="*/ 43 h 113"/>
                <a:gd name="T96" fmla="*/ 77 w 296"/>
                <a:gd name="T97" fmla="*/ 32 h 113"/>
                <a:gd name="T98" fmla="*/ 87 w 296"/>
                <a:gd name="T99" fmla="*/ 21 h 113"/>
                <a:gd name="T100" fmla="*/ 71 w 296"/>
                <a:gd name="T101" fmla="*/ 10 h 113"/>
                <a:gd name="T102" fmla="*/ 49 w 296"/>
                <a:gd name="T103" fmla="*/ 4 h 113"/>
                <a:gd name="T104" fmla="*/ 63 w 296"/>
                <a:gd name="T105" fmla="*/ 10 h 113"/>
                <a:gd name="T106" fmla="*/ 58 w 296"/>
                <a:gd name="T107" fmla="*/ 19 h 113"/>
                <a:gd name="T108" fmla="*/ 49 w 296"/>
                <a:gd name="T109" fmla="*/ 19 h 113"/>
                <a:gd name="T110" fmla="*/ 34 w 296"/>
                <a:gd name="T111" fmla="*/ 13 h 113"/>
                <a:gd name="T112" fmla="*/ 23 w 296"/>
                <a:gd name="T113" fmla="*/ 18 h 113"/>
                <a:gd name="T114" fmla="*/ 20 w 296"/>
                <a:gd name="T115" fmla="*/ 26 h 113"/>
                <a:gd name="T116" fmla="*/ 30 w 296"/>
                <a:gd name="T117" fmla="*/ 32 h 113"/>
                <a:gd name="T118" fmla="*/ 14 w 296"/>
                <a:gd name="T119" fmla="*/ 32 h 113"/>
                <a:gd name="T120" fmla="*/ 0 w 296"/>
                <a:gd name="T121" fmla="*/ 38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6" h="113">
                  <a:moveTo>
                    <a:pt x="14" y="42"/>
                  </a:moveTo>
                  <a:lnTo>
                    <a:pt x="23" y="38"/>
                  </a:lnTo>
                  <a:lnTo>
                    <a:pt x="31" y="38"/>
                  </a:lnTo>
                  <a:lnTo>
                    <a:pt x="34" y="35"/>
                  </a:lnTo>
                  <a:lnTo>
                    <a:pt x="39" y="37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5" y="34"/>
                  </a:lnTo>
                  <a:lnTo>
                    <a:pt x="45" y="37"/>
                  </a:lnTo>
                  <a:lnTo>
                    <a:pt x="50" y="35"/>
                  </a:lnTo>
                  <a:lnTo>
                    <a:pt x="53" y="34"/>
                  </a:lnTo>
                  <a:lnTo>
                    <a:pt x="53" y="37"/>
                  </a:lnTo>
                  <a:lnTo>
                    <a:pt x="57" y="37"/>
                  </a:lnTo>
                  <a:lnTo>
                    <a:pt x="60" y="37"/>
                  </a:lnTo>
                  <a:lnTo>
                    <a:pt x="63" y="35"/>
                  </a:lnTo>
                  <a:lnTo>
                    <a:pt x="60" y="37"/>
                  </a:lnTo>
                  <a:lnTo>
                    <a:pt x="57" y="38"/>
                  </a:lnTo>
                  <a:lnTo>
                    <a:pt x="60" y="40"/>
                  </a:lnTo>
                  <a:lnTo>
                    <a:pt x="63" y="37"/>
                  </a:lnTo>
                  <a:lnTo>
                    <a:pt x="68" y="40"/>
                  </a:lnTo>
                  <a:lnTo>
                    <a:pt x="71" y="40"/>
                  </a:lnTo>
                  <a:lnTo>
                    <a:pt x="74" y="40"/>
                  </a:lnTo>
                  <a:lnTo>
                    <a:pt x="72" y="40"/>
                  </a:lnTo>
                  <a:lnTo>
                    <a:pt x="69" y="40"/>
                  </a:lnTo>
                  <a:lnTo>
                    <a:pt x="66" y="42"/>
                  </a:lnTo>
                  <a:lnTo>
                    <a:pt x="63" y="43"/>
                  </a:lnTo>
                  <a:lnTo>
                    <a:pt x="58" y="45"/>
                  </a:lnTo>
                  <a:lnTo>
                    <a:pt x="55" y="45"/>
                  </a:lnTo>
                  <a:lnTo>
                    <a:pt x="52" y="48"/>
                  </a:lnTo>
                  <a:lnTo>
                    <a:pt x="49" y="50"/>
                  </a:lnTo>
                  <a:lnTo>
                    <a:pt x="52" y="50"/>
                  </a:lnTo>
                  <a:lnTo>
                    <a:pt x="55" y="51"/>
                  </a:lnTo>
                  <a:lnTo>
                    <a:pt x="63" y="51"/>
                  </a:lnTo>
                  <a:lnTo>
                    <a:pt x="66" y="50"/>
                  </a:lnTo>
                  <a:lnTo>
                    <a:pt x="69" y="51"/>
                  </a:lnTo>
                  <a:lnTo>
                    <a:pt x="66" y="54"/>
                  </a:lnTo>
                  <a:lnTo>
                    <a:pt x="63" y="54"/>
                  </a:lnTo>
                  <a:lnTo>
                    <a:pt x="61" y="54"/>
                  </a:lnTo>
                  <a:lnTo>
                    <a:pt x="58" y="54"/>
                  </a:lnTo>
                  <a:lnTo>
                    <a:pt x="55" y="54"/>
                  </a:lnTo>
                  <a:lnTo>
                    <a:pt x="52" y="54"/>
                  </a:lnTo>
                  <a:lnTo>
                    <a:pt x="49" y="54"/>
                  </a:lnTo>
                  <a:lnTo>
                    <a:pt x="44" y="56"/>
                  </a:lnTo>
                  <a:lnTo>
                    <a:pt x="41" y="54"/>
                  </a:lnTo>
                  <a:lnTo>
                    <a:pt x="38" y="56"/>
                  </a:lnTo>
                  <a:lnTo>
                    <a:pt x="34" y="56"/>
                  </a:lnTo>
                  <a:lnTo>
                    <a:pt x="31" y="59"/>
                  </a:lnTo>
                  <a:lnTo>
                    <a:pt x="30" y="54"/>
                  </a:lnTo>
                  <a:lnTo>
                    <a:pt x="25" y="57"/>
                  </a:lnTo>
                  <a:lnTo>
                    <a:pt x="22" y="57"/>
                  </a:lnTo>
                  <a:lnTo>
                    <a:pt x="19" y="59"/>
                  </a:lnTo>
                  <a:lnTo>
                    <a:pt x="15" y="59"/>
                  </a:lnTo>
                  <a:lnTo>
                    <a:pt x="12" y="59"/>
                  </a:lnTo>
                  <a:lnTo>
                    <a:pt x="7" y="59"/>
                  </a:lnTo>
                  <a:lnTo>
                    <a:pt x="4" y="61"/>
                  </a:lnTo>
                  <a:lnTo>
                    <a:pt x="6" y="64"/>
                  </a:lnTo>
                  <a:lnTo>
                    <a:pt x="9" y="65"/>
                  </a:lnTo>
                  <a:lnTo>
                    <a:pt x="14" y="65"/>
                  </a:lnTo>
                  <a:lnTo>
                    <a:pt x="17" y="62"/>
                  </a:lnTo>
                  <a:lnTo>
                    <a:pt x="20" y="64"/>
                  </a:lnTo>
                  <a:lnTo>
                    <a:pt x="23" y="62"/>
                  </a:lnTo>
                  <a:lnTo>
                    <a:pt x="28" y="62"/>
                  </a:lnTo>
                  <a:lnTo>
                    <a:pt x="31" y="62"/>
                  </a:lnTo>
                  <a:lnTo>
                    <a:pt x="38" y="62"/>
                  </a:lnTo>
                  <a:lnTo>
                    <a:pt x="41" y="64"/>
                  </a:lnTo>
                  <a:lnTo>
                    <a:pt x="45" y="62"/>
                  </a:lnTo>
                  <a:lnTo>
                    <a:pt x="49" y="62"/>
                  </a:lnTo>
                  <a:lnTo>
                    <a:pt x="50" y="67"/>
                  </a:lnTo>
                  <a:lnTo>
                    <a:pt x="53" y="65"/>
                  </a:lnTo>
                  <a:lnTo>
                    <a:pt x="53" y="65"/>
                  </a:lnTo>
                  <a:lnTo>
                    <a:pt x="50" y="67"/>
                  </a:lnTo>
                  <a:lnTo>
                    <a:pt x="49" y="70"/>
                  </a:lnTo>
                  <a:lnTo>
                    <a:pt x="52" y="72"/>
                  </a:lnTo>
                  <a:lnTo>
                    <a:pt x="52" y="75"/>
                  </a:lnTo>
                  <a:lnTo>
                    <a:pt x="53" y="75"/>
                  </a:lnTo>
                  <a:lnTo>
                    <a:pt x="57" y="73"/>
                  </a:lnTo>
                  <a:lnTo>
                    <a:pt x="60" y="72"/>
                  </a:lnTo>
                  <a:lnTo>
                    <a:pt x="66" y="70"/>
                  </a:lnTo>
                  <a:lnTo>
                    <a:pt x="66" y="69"/>
                  </a:lnTo>
                  <a:lnTo>
                    <a:pt x="71" y="69"/>
                  </a:lnTo>
                  <a:lnTo>
                    <a:pt x="71" y="69"/>
                  </a:lnTo>
                  <a:lnTo>
                    <a:pt x="69" y="70"/>
                  </a:lnTo>
                  <a:lnTo>
                    <a:pt x="69" y="70"/>
                  </a:lnTo>
                  <a:lnTo>
                    <a:pt x="66" y="70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0" y="73"/>
                  </a:lnTo>
                  <a:lnTo>
                    <a:pt x="58" y="75"/>
                  </a:lnTo>
                  <a:lnTo>
                    <a:pt x="57" y="78"/>
                  </a:lnTo>
                  <a:lnTo>
                    <a:pt x="60" y="78"/>
                  </a:lnTo>
                  <a:lnTo>
                    <a:pt x="57" y="78"/>
                  </a:lnTo>
                  <a:lnTo>
                    <a:pt x="53" y="81"/>
                  </a:lnTo>
                  <a:lnTo>
                    <a:pt x="61" y="78"/>
                  </a:lnTo>
                  <a:lnTo>
                    <a:pt x="71" y="78"/>
                  </a:lnTo>
                  <a:lnTo>
                    <a:pt x="68" y="78"/>
                  </a:lnTo>
                  <a:lnTo>
                    <a:pt x="65" y="80"/>
                  </a:lnTo>
                  <a:lnTo>
                    <a:pt x="61" y="81"/>
                  </a:lnTo>
                  <a:lnTo>
                    <a:pt x="58" y="83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58" y="86"/>
                  </a:lnTo>
                  <a:lnTo>
                    <a:pt x="53" y="86"/>
                  </a:lnTo>
                  <a:lnTo>
                    <a:pt x="53" y="86"/>
                  </a:lnTo>
                  <a:lnTo>
                    <a:pt x="53" y="89"/>
                  </a:lnTo>
                  <a:lnTo>
                    <a:pt x="50" y="91"/>
                  </a:lnTo>
                  <a:lnTo>
                    <a:pt x="47" y="91"/>
                  </a:lnTo>
                  <a:lnTo>
                    <a:pt x="42" y="91"/>
                  </a:lnTo>
                  <a:lnTo>
                    <a:pt x="39" y="92"/>
                  </a:lnTo>
                  <a:lnTo>
                    <a:pt x="36" y="89"/>
                  </a:lnTo>
                  <a:lnTo>
                    <a:pt x="33" y="92"/>
                  </a:lnTo>
                  <a:lnTo>
                    <a:pt x="33" y="96"/>
                  </a:lnTo>
                  <a:lnTo>
                    <a:pt x="31" y="99"/>
                  </a:lnTo>
                  <a:lnTo>
                    <a:pt x="34" y="99"/>
                  </a:lnTo>
                  <a:lnTo>
                    <a:pt x="39" y="97"/>
                  </a:lnTo>
                  <a:lnTo>
                    <a:pt x="42" y="97"/>
                  </a:lnTo>
                  <a:lnTo>
                    <a:pt x="45" y="97"/>
                  </a:lnTo>
                  <a:lnTo>
                    <a:pt x="49" y="97"/>
                  </a:lnTo>
                  <a:lnTo>
                    <a:pt x="53" y="97"/>
                  </a:lnTo>
                  <a:lnTo>
                    <a:pt x="55" y="97"/>
                  </a:lnTo>
                  <a:lnTo>
                    <a:pt x="58" y="97"/>
                  </a:lnTo>
                  <a:lnTo>
                    <a:pt x="61" y="97"/>
                  </a:lnTo>
                  <a:lnTo>
                    <a:pt x="66" y="97"/>
                  </a:lnTo>
                  <a:lnTo>
                    <a:pt x="69" y="97"/>
                  </a:lnTo>
                  <a:lnTo>
                    <a:pt x="71" y="94"/>
                  </a:lnTo>
                  <a:lnTo>
                    <a:pt x="76" y="94"/>
                  </a:lnTo>
                  <a:lnTo>
                    <a:pt x="79" y="94"/>
                  </a:lnTo>
                  <a:lnTo>
                    <a:pt x="77" y="94"/>
                  </a:lnTo>
                  <a:lnTo>
                    <a:pt x="77" y="97"/>
                  </a:lnTo>
                  <a:lnTo>
                    <a:pt x="80" y="99"/>
                  </a:lnTo>
                  <a:lnTo>
                    <a:pt x="84" y="99"/>
                  </a:lnTo>
                  <a:lnTo>
                    <a:pt x="87" y="97"/>
                  </a:lnTo>
                  <a:lnTo>
                    <a:pt x="88" y="97"/>
                  </a:lnTo>
                  <a:lnTo>
                    <a:pt x="88" y="100"/>
                  </a:lnTo>
                  <a:lnTo>
                    <a:pt x="85" y="100"/>
                  </a:lnTo>
                  <a:lnTo>
                    <a:pt x="88" y="102"/>
                  </a:lnTo>
                  <a:lnTo>
                    <a:pt x="91" y="100"/>
                  </a:lnTo>
                  <a:lnTo>
                    <a:pt x="95" y="97"/>
                  </a:lnTo>
                  <a:lnTo>
                    <a:pt x="95" y="97"/>
                  </a:lnTo>
                  <a:lnTo>
                    <a:pt x="98" y="102"/>
                  </a:lnTo>
                  <a:lnTo>
                    <a:pt x="96" y="102"/>
                  </a:lnTo>
                  <a:lnTo>
                    <a:pt x="93" y="102"/>
                  </a:lnTo>
                  <a:lnTo>
                    <a:pt x="95" y="107"/>
                  </a:lnTo>
                  <a:lnTo>
                    <a:pt x="99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4" y="108"/>
                  </a:lnTo>
                  <a:lnTo>
                    <a:pt x="106" y="108"/>
                  </a:lnTo>
                  <a:lnTo>
                    <a:pt x="115" y="110"/>
                  </a:lnTo>
                  <a:lnTo>
                    <a:pt x="126" y="113"/>
                  </a:lnTo>
                  <a:lnTo>
                    <a:pt x="137" y="113"/>
                  </a:lnTo>
                  <a:lnTo>
                    <a:pt x="147" y="111"/>
                  </a:lnTo>
                  <a:lnTo>
                    <a:pt x="152" y="111"/>
                  </a:lnTo>
                  <a:lnTo>
                    <a:pt x="153" y="111"/>
                  </a:lnTo>
                  <a:lnTo>
                    <a:pt x="155" y="111"/>
                  </a:lnTo>
                  <a:lnTo>
                    <a:pt x="157" y="110"/>
                  </a:lnTo>
                  <a:lnTo>
                    <a:pt x="161" y="110"/>
                  </a:lnTo>
                  <a:lnTo>
                    <a:pt x="164" y="107"/>
                  </a:lnTo>
                  <a:lnTo>
                    <a:pt x="163" y="105"/>
                  </a:lnTo>
                  <a:lnTo>
                    <a:pt x="166" y="103"/>
                  </a:lnTo>
                  <a:lnTo>
                    <a:pt x="163" y="103"/>
                  </a:lnTo>
                  <a:lnTo>
                    <a:pt x="166" y="102"/>
                  </a:lnTo>
                  <a:lnTo>
                    <a:pt x="169" y="102"/>
                  </a:lnTo>
                  <a:lnTo>
                    <a:pt x="172" y="100"/>
                  </a:lnTo>
                  <a:lnTo>
                    <a:pt x="177" y="100"/>
                  </a:lnTo>
                  <a:lnTo>
                    <a:pt x="179" y="100"/>
                  </a:lnTo>
                  <a:lnTo>
                    <a:pt x="182" y="100"/>
                  </a:lnTo>
                  <a:lnTo>
                    <a:pt x="182" y="99"/>
                  </a:lnTo>
                  <a:lnTo>
                    <a:pt x="187" y="99"/>
                  </a:lnTo>
                  <a:lnTo>
                    <a:pt x="190" y="99"/>
                  </a:lnTo>
                  <a:lnTo>
                    <a:pt x="191" y="96"/>
                  </a:lnTo>
                  <a:lnTo>
                    <a:pt x="193" y="96"/>
                  </a:lnTo>
                  <a:lnTo>
                    <a:pt x="193" y="99"/>
                  </a:lnTo>
                  <a:lnTo>
                    <a:pt x="207" y="94"/>
                  </a:lnTo>
                  <a:lnTo>
                    <a:pt x="222" y="86"/>
                  </a:lnTo>
                  <a:lnTo>
                    <a:pt x="225" y="86"/>
                  </a:lnTo>
                  <a:lnTo>
                    <a:pt x="228" y="84"/>
                  </a:lnTo>
                  <a:lnTo>
                    <a:pt x="233" y="83"/>
                  </a:lnTo>
                  <a:lnTo>
                    <a:pt x="236" y="81"/>
                  </a:lnTo>
                  <a:lnTo>
                    <a:pt x="239" y="78"/>
                  </a:lnTo>
                  <a:lnTo>
                    <a:pt x="239" y="78"/>
                  </a:lnTo>
                  <a:lnTo>
                    <a:pt x="242" y="81"/>
                  </a:lnTo>
                  <a:lnTo>
                    <a:pt x="245" y="81"/>
                  </a:lnTo>
                  <a:lnTo>
                    <a:pt x="250" y="83"/>
                  </a:lnTo>
                  <a:lnTo>
                    <a:pt x="253" y="80"/>
                  </a:lnTo>
                  <a:lnTo>
                    <a:pt x="253" y="80"/>
                  </a:lnTo>
                  <a:lnTo>
                    <a:pt x="256" y="78"/>
                  </a:lnTo>
                  <a:lnTo>
                    <a:pt x="260" y="77"/>
                  </a:lnTo>
                  <a:lnTo>
                    <a:pt x="263" y="75"/>
                  </a:lnTo>
                  <a:lnTo>
                    <a:pt x="264" y="75"/>
                  </a:lnTo>
                  <a:lnTo>
                    <a:pt x="266" y="72"/>
                  </a:lnTo>
                  <a:lnTo>
                    <a:pt x="263" y="70"/>
                  </a:lnTo>
                  <a:lnTo>
                    <a:pt x="266" y="67"/>
                  </a:lnTo>
                  <a:lnTo>
                    <a:pt x="271" y="67"/>
                  </a:lnTo>
                  <a:lnTo>
                    <a:pt x="268" y="64"/>
                  </a:lnTo>
                  <a:lnTo>
                    <a:pt x="272" y="67"/>
                  </a:lnTo>
                  <a:lnTo>
                    <a:pt x="275" y="67"/>
                  </a:lnTo>
                  <a:lnTo>
                    <a:pt x="279" y="64"/>
                  </a:lnTo>
                  <a:lnTo>
                    <a:pt x="282" y="62"/>
                  </a:lnTo>
                  <a:lnTo>
                    <a:pt x="285" y="62"/>
                  </a:lnTo>
                  <a:lnTo>
                    <a:pt x="282" y="62"/>
                  </a:lnTo>
                  <a:lnTo>
                    <a:pt x="285" y="59"/>
                  </a:lnTo>
                  <a:lnTo>
                    <a:pt x="282" y="59"/>
                  </a:lnTo>
                  <a:lnTo>
                    <a:pt x="285" y="59"/>
                  </a:lnTo>
                  <a:lnTo>
                    <a:pt x="288" y="57"/>
                  </a:lnTo>
                  <a:lnTo>
                    <a:pt x="282" y="54"/>
                  </a:lnTo>
                  <a:lnTo>
                    <a:pt x="279" y="54"/>
                  </a:lnTo>
                  <a:lnTo>
                    <a:pt x="282" y="53"/>
                  </a:lnTo>
                  <a:lnTo>
                    <a:pt x="285" y="54"/>
                  </a:lnTo>
                  <a:lnTo>
                    <a:pt x="288" y="56"/>
                  </a:lnTo>
                  <a:lnTo>
                    <a:pt x="291" y="56"/>
                  </a:lnTo>
                  <a:lnTo>
                    <a:pt x="296" y="53"/>
                  </a:lnTo>
                  <a:lnTo>
                    <a:pt x="296" y="50"/>
                  </a:lnTo>
                  <a:lnTo>
                    <a:pt x="291" y="48"/>
                  </a:lnTo>
                  <a:lnTo>
                    <a:pt x="285" y="48"/>
                  </a:lnTo>
                  <a:lnTo>
                    <a:pt x="291" y="48"/>
                  </a:lnTo>
                  <a:lnTo>
                    <a:pt x="294" y="46"/>
                  </a:lnTo>
                  <a:lnTo>
                    <a:pt x="294" y="45"/>
                  </a:lnTo>
                  <a:lnTo>
                    <a:pt x="291" y="45"/>
                  </a:lnTo>
                  <a:lnTo>
                    <a:pt x="287" y="45"/>
                  </a:lnTo>
                  <a:lnTo>
                    <a:pt x="283" y="45"/>
                  </a:lnTo>
                  <a:lnTo>
                    <a:pt x="287" y="45"/>
                  </a:lnTo>
                  <a:lnTo>
                    <a:pt x="291" y="43"/>
                  </a:lnTo>
                  <a:lnTo>
                    <a:pt x="294" y="40"/>
                  </a:lnTo>
                  <a:lnTo>
                    <a:pt x="294" y="37"/>
                  </a:lnTo>
                  <a:lnTo>
                    <a:pt x="291" y="37"/>
                  </a:lnTo>
                  <a:lnTo>
                    <a:pt x="287" y="34"/>
                  </a:lnTo>
                  <a:lnTo>
                    <a:pt x="283" y="34"/>
                  </a:lnTo>
                  <a:lnTo>
                    <a:pt x="280" y="32"/>
                  </a:lnTo>
                  <a:lnTo>
                    <a:pt x="277" y="32"/>
                  </a:lnTo>
                  <a:lnTo>
                    <a:pt x="269" y="37"/>
                  </a:lnTo>
                  <a:lnTo>
                    <a:pt x="271" y="37"/>
                  </a:lnTo>
                  <a:lnTo>
                    <a:pt x="274" y="34"/>
                  </a:lnTo>
                  <a:lnTo>
                    <a:pt x="274" y="34"/>
                  </a:lnTo>
                  <a:lnTo>
                    <a:pt x="277" y="31"/>
                  </a:lnTo>
                  <a:lnTo>
                    <a:pt x="277" y="27"/>
                  </a:lnTo>
                  <a:lnTo>
                    <a:pt x="271" y="29"/>
                  </a:lnTo>
                  <a:lnTo>
                    <a:pt x="263" y="29"/>
                  </a:lnTo>
                  <a:lnTo>
                    <a:pt x="266" y="26"/>
                  </a:lnTo>
                  <a:lnTo>
                    <a:pt x="269" y="24"/>
                  </a:lnTo>
                  <a:lnTo>
                    <a:pt x="272" y="21"/>
                  </a:lnTo>
                  <a:lnTo>
                    <a:pt x="269" y="18"/>
                  </a:lnTo>
                  <a:lnTo>
                    <a:pt x="266" y="18"/>
                  </a:lnTo>
                  <a:lnTo>
                    <a:pt x="263" y="18"/>
                  </a:lnTo>
                  <a:lnTo>
                    <a:pt x="258" y="15"/>
                  </a:lnTo>
                  <a:lnTo>
                    <a:pt x="263" y="15"/>
                  </a:lnTo>
                  <a:lnTo>
                    <a:pt x="264" y="13"/>
                  </a:lnTo>
                  <a:lnTo>
                    <a:pt x="264" y="10"/>
                  </a:lnTo>
                  <a:lnTo>
                    <a:pt x="268" y="8"/>
                  </a:lnTo>
                  <a:lnTo>
                    <a:pt x="271" y="8"/>
                  </a:lnTo>
                  <a:lnTo>
                    <a:pt x="275" y="7"/>
                  </a:lnTo>
                  <a:lnTo>
                    <a:pt x="271" y="7"/>
                  </a:lnTo>
                  <a:lnTo>
                    <a:pt x="268" y="7"/>
                  </a:lnTo>
                  <a:lnTo>
                    <a:pt x="264" y="7"/>
                  </a:lnTo>
                  <a:lnTo>
                    <a:pt x="261" y="10"/>
                  </a:lnTo>
                  <a:lnTo>
                    <a:pt x="253" y="12"/>
                  </a:lnTo>
                  <a:lnTo>
                    <a:pt x="252" y="15"/>
                  </a:lnTo>
                  <a:lnTo>
                    <a:pt x="250" y="13"/>
                  </a:lnTo>
                  <a:lnTo>
                    <a:pt x="247" y="12"/>
                  </a:lnTo>
                  <a:lnTo>
                    <a:pt x="244" y="8"/>
                  </a:lnTo>
                  <a:lnTo>
                    <a:pt x="244" y="5"/>
                  </a:lnTo>
                  <a:lnTo>
                    <a:pt x="241" y="2"/>
                  </a:lnTo>
                  <a:lnTo>
                    <a:pt x="237" y="0"/>
                  </a:lnTo>
                  <a:lnTo>
                    <a:pt x="234" y="0"/>
                  </a:lnTo>
                  <a:lnTo>
                    <a:pt x="229" y="2"/>
                  </a:lnTo>
                  <a:lnTo>
                    <a:pt x="226" y="2"/>
                  </a:lnTo>
                  <a:lnTo>
                    <a:pt x="223" y="4"/>
                  </a:lnTo>
                  <a:lnTo>
                    <a:pt x="223" y="7"/>
                  </a:lnTo>
                  <a:lnTo>
                    <a:pt x="225" y="12"/>
                  </a:lnTo>
                  <a:lnTo>
                    <a:pt x="223" y="12"/>
                  </a:lnTo>
                  <a:lnTo>
                    <a:pt x="220" y="13"/>
                  </a:lnTo>
                  <a:lnTo>
                    <a:pt x="218" y="16"/>
                  </a:lnTo>
                  <a:lnTo>
                    <a:pt x="215" y="15"/>
                  </a:lnTo>
                  <a:lnTo>
                    <a:pt x="212" y="15"/>
                  </a:lnTo>
                  <a:lnTo>
                    <a:pt x="209" y="13"/>
                  </a:lnTo>
                  <a:lnTo>
                    <a:pt x="209" y="13"/>
                  </a:lnTo>
                  <a:lnTo>
                    <a:pt x="206" y="12"/>
                  </a:lnTo>
                  <a:lnTo>
                    <a:pt x="201" y="13"/>
                  </a:lnTo>
                  <a:lnTo>
                    <a:pt x="198" y="16"/>
                  </a:lnTo>
                  <a:lnTo>
                    <a:pt x="195" y="19"/>
                  </a:lnTo>
                  <a:lnTo>
                    <a:pt x="191" y="23"/>
                  </a:lnTo>
                  <a:lnTo>
                    <a:pt x="188" y="18"/>
                  </a:lnTo>
                  <a:lnTo>
                    <a:pt x="183" y="15"/>
                  </a:lnTo>
                  <a:lnTo>
                    <a:pt x="179" y="15"/>
                  </a:lnTo>
                  <a:lnTo>
                    <a:pt x="172" y="13"/>
                  </a:lnTo>
                  <a:lnTo>
                    <a:pt x="172" y="18"/>
                  </a:lnTo>
                  <a:lnTo>
                    <a:pt x="172" y="21"/>
                  </a:lnTo>
                  <a:lnTo>
                    <a:pt x="177" y="24"/>
                  </a:lnTo>
                  <a:lnTo>
                    <a:pt x="176" y="27"/>
                  </a:lnTo>
                  <a:lnTo>
                    <a:pt x="176" y="31"/>
                  </a:lnTo>
                  <a:lnTo>
                    <a:pt x="176" y="32"/>
                  </a:lnTo>
                  <a:lnTo>
                    <a:pt x="174" y="31"/>
                  </a:lnTo>
                  <a:lnTo>
                    <a:pt x="172" y="26"/>
                  </a:lnTo>
                  <a:lnTo>
                    <a:pt x="171" y="23"/>
                  </a:lnTo>
                  <a:lnTo>
                    <a:pt x="168" y="21"/>
                  </a:lnTo>
                  <a:lnTo>
                    <a:pt x="166" y="18"/>
                  </a:lnTo>
                  <a:lnTo>
                    <a:pt x="163" y="15"/>
                  </a:lnTo>
                  <a:lnTo>
                    <a:pt x="160" y="13"/>
                  </a:lnTo>
                  <a:lnTo>
                    <a:pt x="157" y="13"/>
                  </a:lnTo>
                  <a:lnTo>
                    <a:pt x="152" y="15"/>
                  </a:lnTo>
                  <a:lnTo>
                    <a:pt x="152" y="18"/>
                  </a:lnTo>
                  <a:lnTo>
                    <a:pt x="149" y="16"/>
                  </a:lnTo>
                  <a:lnTo>
                    <a:pt x="144" y="16"/>
                  </a:lnTo>
                  <a:lnTo>
                    <a:pt x="141" y="19"/>
                  </a:lnTo>
                  <a:lnTo>
                    <a:pt x="139" y="23"/>
                  </a:lnTo>
                  <a:lnTo>
                    <a:pt x="141" y="26"/>
                  </a:lnTo>
                  <a:lnTo>
                    <a:pt x="139" y="29"/>
                  </a:lnTo>
                  <a:lnTo>
                    <a:pt x="137" y="29"/>
                  </a:lnTo>
                  <a:lnTo>
                    <a:pt x="136" y="29"/>
                  </a:lnTo>
                  <a:lnTo>
                    <a:pt x="136" y="29"/>
                  </a:lnTo>
                  <a:lnTo>
                    <a:pt x="133" y="27"/>
                  </a:lnTo>
                  <a:lnTo>
                    <a:pt x="131" y="24"/>
                  </a:lnTo>
                  <a:lnTo>
                    <a:pt x="126" y="21"/>
                  </a:lnTo>
                  <a:lnTo>
                    <a:pt x="126" y="18"/>
                  </a:lnTo>
                  <a:lnTo>
                    <a:pt x="123" y="16"/>
                  </a:lnTo>
                  <a:lnTo>
                    <a:pt x="122" y="15"/>
                  </a:lnTo>
                  <a:lnTo>
                    <a:pt x="118" y="16"/>
                  </a:lnTo>
                  <a:lnTo>
                    <a:pt x="115" y="18"/>
                  </a:lnTo>
                  <a:lnTo>
                    <a:pt x="115" y="23"/>
                  </a:lnTo>
                  <a:lnTo>
                    <a:pt x="117" y="26"/>
                  </a:lnTo>
                  <a:lnTo>
                    <a:pt x="115" y="31"/>
                  </a:lnTo>
                  <a:lnTo>
                    <a:pt x="111" y="37"/>
                  </a:lnTo>
                  <a:lnTo>
                    <a:pt x="109" y="35"/>
                  </a:lnTo>
                  <a:lnTo>
                    <a:pt x="109" y="38"/>
                  </a:lnTo>
                  <a:lnTo>
                    <a:pt x="106" y="37"/>
                  </a:lnTo>
                  <a:lnTo>
                    <a:pt x="104" y="35"/>
                  </a:lnTo>
                  <a:lnTo>
                    <a:pt x="103" y="32"/>
                  </a:lnTo>
                  <a:lnTo>
                    <a:pt x="99" y="34"/>
                  </a:lnTo>
                  <a:lnTo>
                    <a:pt x="96" y="35"/>
                  </a:lnTo>
                  <a:lnTo>
                    <a:pt x="95" y="40"/>
                  </a:lnTo>
                  <a:lnTo>
                    <a:pt x="93" y="43"/>
                  </a:lnTo>
                  <a:lnTo>
                    <a:pt x="91" y="40"/>
                  </a:lnTo>
                  <a:lnTo>
                    <a:pt x="90" y="43"/>
                  </a:lnTo>
                  <a:lnTo>
                    <a:pt x="88" y="46"/>
                  </a:lnTo>
                  <a:lnTo>
                    <a:pt x="88" y="50"/>
                  </a:lnTo>
                  <a:lnTo>
                    <a:pt x="87" y="46"/>
                  </a:lnTo>
                  <a:lnTo>
                    <a:pt x="87" y="43"/>
                  </a:lnTo>
                  <a:lnTo>
                    <a:pt x="87" y="40"/>
                  </a:lnTo>
                  <a:lnTo>
                    <a:pt x="84" y="38"/>
                  </a:lnTo>
                  <a:lnTo>
                    <a:pt x="80" y="40"/>
                  </a:lnTo>
                  <a:lnTo>
                    <a:pt x="84" y="37"/>
                  </a:lnTo>
                  <a:lnTo>
                    <a:pt x="85" y="34"/>
                  </a:lnTo>
                  <a:lnTo>
                    <a:pt x="80" y="32"/>
                  </a:lnTo>
                  <a:lnTo>
                    <a:pt x="77" y="32"/>
                  </a:lnTo>
                  <a:lnTo>
                    <a:pt x="76" y="27"/>
                  </a:lnTo>
                  <a:lnTo>
                    <a:pt x="80" y="31"/>
                  </a:lnTo>
                  <a:lnTo>
                    <a:pt x="84" y="31"/>
                  </a:lnTo>
                  <a:lnTo>
                    <a:pt x="85" y="27"/>
                  </a:lnTo>
                  <a:lnTo>
                    <a:pt x="90" y="24"/>
                  </a:lnTo>
                  <a:lnTo>
                    <a:pt x="88" y="21"/>
                  </a:lnTo>
                  <a:lnTo>
                    <a:pt x="87" y="21"/>
                  </a:lnTo>
                  <a:lnTo>
                    <a:pt x="84" y="21"/>
                  </a:lnTo>
                  <a:lnTo>
                    <a:pt x="87" y="19"/>
                  </a:lnTo>
                  <a:lnTo>
                    <a:pt x="82" y="16"/>
                  </a:lnTo>
                  <a:lnTo>
                    <a:pt x="79" y="16"/>
                  </a:lnTo>
                  <a:lnTo>
                    <a:pt x="79" y="13"/>
                  </a:lnTo>
                  <a:lnTo>
                    <a:pt x="76" y="10"/>
                  </a:lnTo>
                  <a:lnTo>
                    <a:pt x="71" y="10"/>
                  </a:lnTo>
                  <a:lnTo>
                    <a:pt x="68" y="10"/>
                  </a:lnTo>
                  <a:lnTo>
                    <a:pt x="66" y="7"/>
                  </a:lnTo>
                  <a:lnTo>
                    <a:pt x="63" y="5"/>
                  </a:lnTo>
                  <a:lnTo>
                    <a:pt x="60" y="4"/>
                  </a:lnTo>
                  <a:lnTo>
                    <a:pt x="57" y="5"/>
                  </a:lnTo>
                  <a:lnTo>
                    <a:pt x="52" y="4"/>
                  </a:lnTo>
                  <a:lnTo>
                    <a:pt x="49" y="4"/>
                  </a:lnTo>
                  <a:lnTo>
                    <a:pt x="45" y="5"/>
                  </a:lnTo>
                  <a:lnTo>
                    <a:pt x="45" y="8"/>
                  </a:lnTo>
                  <a:lnTo>
                    <a:pt x="49" y="8"/>
                  </a:lnTo>
                  <a:lnTo>
                    <a:pt x="52" y="8"/>
                  </a:lnTo>
                  <a:lnTo>
                    <a:pt x="55" y="10"/>
                  </a:lnTo>
                  <a:lnTo>
                    <a:pt x="60" y="10"/>
                  </a:lnTo>
                  <a:lnTo>
                    <a:pt x="63" y="10"/>
                  </a:lnTo>
                  <a:lnTo>
                    <a:pt x="60" y="12"/>
                  </a:lnTo>
                  <a:lnTo>
                    <a:pt x="57" y="12"/>
                  </a:lnTo>
                  <a:lnTo>
                    <a:pt x="52" y="10"/>
                  </a:lnTo>
                  <a:lnTo>
                    <a:pt x="49" y="13"/>
                  </a:lnTo>
                  <a:lnTo>
                    <a:pt x="52" y="15"/>
                  </a:lnTo>
                  <a:lnTo>
                    <a:pt x="55" y="16"/>
                  </a:lnTo>
                  <a:lnTo>
                    <a:pt x="58" y="19"/>
                  </a:lnTo>
                  <a:lnTo>
                    <a:pt x="58" y="23"/>
                  </a:lnTo>
                  <a:lnTo>
                    <a:pt x="55" y="23"/>
                  </a:lnTo>
                  <a:lnTo>
                    <a:pt x="52" y="26"/>
                  </a:lnTo>
                  <a:lnTo>
                    <a:pt x="52" y="26"/>
                  </a:lnTo>
                  <a:lnTo>
                    <a:pt x="55" y="21"/>
                  </a:lnTo>
                  <a:lnTo>
                    <a:pt x="53" y="18"/>
                  </a:lnTo>
                  <a:lnTo>
                    <a:pt x="49" y="19"/>
                  </a:lnTo>
                  <a:lnTo>
                    <a:pt x="45" y="21"/>
                  </a:lnTo>
                  <a:lnTo>
                    <a:pt x="47" y="18"/>
                  </a:lnTo>
                  <a:lnTo>
                    <a:pt x="42" y="19"/>
                  </a:lnTo>
                  <a:lnTo>
                    <a:pt x="45" y="16"/>
                  </a:lnTo>
                  <a:lnTo>
                    <a:pt x="42" y="15"/>
                  </a:lnTo>
                  <a:lnTo>
                    <a:pt x="38" y="13"/>
                  </a:lnTo>
                  <a:lnTo>
                    <a:pt x="34" y="13"/>
                  </a:lnTo>
                  <a:lnTo>
                    <a:pt x="31" y="13"/>
                  </a:lnTo>
                  <a:lnTo>
                    <a:pt x="30" y="15"/>
                  </a:lnTo>
                  <a:lnTo>
                    <a:pt x="34" y="16"/>
                  </a:lnTo>
                  <a:lnTo>
                    <a:pt x="30" y="18"/>
                  </a:lnTo>
                  <a:lnTo>
                    <a:pt x="34" y="21"/>
                  </a:lnTo>
                  <a:lnTo>
                    <a:pt x="30" y="18"/>
                  </a:lnTo>
                  <a:lnTo>
                    <a:pt x="23" y="18"/>
                  </a:lnTo>
                  <a:lnTo>
                    <a:pt x="23" y="21"/>
                  </a:lnTo>
                  <a:lnTo>
                    <a:pt x="26" y="23"/>
                  </a:lnTo>
                  <a:lnTo>
                    <a:pt x="30" y="24"/>
                  </a:lnTo>
                  <a:lnTo>
                    <a:pt x="34" y="26"/>
                  </a:lnTo>
                  <a:lnTo>
                    <a:pt x="26" y="24"/>
                  </a:lnTo>
                  <a:lnTo>
                    <a:pt x="23" y="23"/>
                  </a:lnTo>
                  <a:lnTo>
                    <a:pt x="20" y="26"/>
                  </a:lnTo>
                  <a:lnTo>
                    <a:pt x="23" y="27"/>
                  </a:lnTo>
                  <a:lnTo>
                    <a:pt x="26" y="29"/>
                  </a:lnTo>
                  <a:lnTo>
                    <a:pt x="30" y="29"/>
                  </a:lnTo>
                  <a:lnTo>
                    <a:pt x="34" y="29"/>
                  </a:lnTo>
                  <a:lnTo>
                    <a:pt x="30" y="29"/>
                  </a:lnTo>
                  <a:lnTo>
                    <a:pt x="26" y="31"/>
                  </a:lnTo>
                  <a:lnTo>
                    <a:pt x="30" y="32"/>
                  </a:lnTo>
                  <a:lnTo>
                    <a:pt x="33" y="32"/>
                  </a:lnTo>
                  <a:lnTo>
                    <a:pt x="28" y="32"/>
                  </a:lnTo>
                  <a:lnTo>
                    <a:pt x="25" y="31"/>
                  </a:lnTo>
                  <a:lnTo>
                    <a:pt x="19" y="29"/>
                  </a:lnTo>
                  <a:lnTo>
                    <a:pt x="15" y="27"/>
                  </a:lnTo>
                  <a:lnTo>
                    <a:pt x="11" y="27"/>
                  </a:lnTo>
                  <a:lnTo>
                    <a:pt x="14" y="32"/>
                  </a:lnTo>
                  <a:lnTo>
                    <a:pt x="17" y="34"/>
                  </a:lnTo>
                  <a:lnTo>
                    <a:pt x="14" y="35"/>
                  </a:lnTo>
                  <a:lnTo>
                    <a:pt x="17" y="37"/>
                  </a:lnTo>
                  <a:lnTo>
                    <a:pt x="11" y="35"/>
                  </a:lnTo>
                  <a:lnTo>
                    <a:pt x="7" y="34"/>
                  </a:lnTo>
                  <a:lnTo>
                    <a:pt x="4" y="34"/>
                  </a:lnTo>
                  <a:lnTo>
                    <a:pt x="0" y="38"/>
                  </a:lnTo>
                  <a:lnTo>
                    <a:pt x="7" y="38"/>
                  </a:lnTo>
                  <a:lnTo>
                    <a:pt x="11" y="38"/>
                  </a:lnTo>
                  <a:lnTo>
                    <a:pt x="14" y="4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grpSp>
          <p:nvGrpSpPr>
            <p:cNvPr id="332" name="Group 565"/>
            <p:cNvGrpSpPr>
              <a:grpSpLocks/>
            </p:cNvGrpSpPr>
            <p:nvPr/>
          </p:nvGrpSpPr>
          <p:grpSpPr bwMode="auto">
            <a:xfrm>
              <a:off x="4212218" y="2132856"/>
              <a:ext cx="1068954" cy="651568"/>
              <a:chOff x="1813" y="896"/>
              <a:chExt cx="727" cy="385"/>
            </a:xfrm>
            <a:solidFill>
              <a:srgbClr val="A6A6A6"/>
            </a:solidFill>
          </p:grpSpPr>
          <p:sp>
            <p:nvSpPr>
              <p:cNvPr id="643" name="Freeform 566"/>
              <p:cNvSpPr>
                <a:spLocks/>
              </p:cNvSpPr>
              <p:nvPr/>
            </p:nvSpPr>
            <p:spPr bwMode="auto">
              <a:xfrm>
                <a:off x="1818" y="896"/>
                <a:ext cx="722" cy="385"/>
              </a:xfrm>
              <a:custGeom>
                <a:avLst/>
                <a:gdLst>
                  <a:gd name="T0" fmla="*/ 130 w 1445"/>
                  <a:gd name="T1" fmla="*/ 206 h 769"/>
                  <a:gd name="T2" fmla="*/ 270 w 1445"/>
                  <a:gd name="T3" fmla="*/ 228 h 769"/>
                  <a:gd name="T4" fmla="*/ 297 w 1445"/>
                  <a:gd name="T5" fmla="*/ 290 h 769"/>
                  <a:gd name="T6" fmla="*/ 273 w 1445"/>
                  <a:gd name="T7" fmla="*/ 341 h 769"/>
                  <a:gd name="T8" fmla="*/ 324 w 1445"/>
                  <a:gd name="T9" fmla="*/ 344 h 769"/>
                  <a:gd name="T10" fmla="*/ 351 w 1445"/>
                  <a:gd name="T11" fmla="*/ 373 h 769"/>
                  <a:gd name="T12" fmla="*/ 303 w 1445"/>
                  <a:gd name="T13" fmla="*/ 400 h 769"/>
                  <a:gd name="T14" fmla="*/ 335 w 1445"/>
                  <a:gd name="T15" fmla="*/ 439 h 769"/>
                  <a:gd name="T16" fmla="*/ 278 w 1445"/>
                  <a:gd name="T17" fmla="*/ 468 h 769"/>
                  <a:gd name="T18" fmla="*/ 273 w 1445"/>
                  <a:gd name="T19" fmla="*/ 477 h 769"/>
                  <a:gd name="T20" fmla="*/ 305 w 1445"/>
                  <a:gd name="T21" fmla="*/ 482 h 769"/>
                  <a:gd name="T22" fmla="*/ 251 w 1445"/>
                  <a:gd name="T23" fmla="*/ 498 h 769"/>
                  <a:gd name="T24" fmla="*/ 224 w 1445"/>
                  <a:gd name="T25" fmla="*/ 514 h 769"/>
                  <a:gd name="T26" fmla="*/ 206 w 1445"/>
                  <a:gd name="T27" fmla="*/ 538 h 769"/>
                  <a:gd name="T28" fmla="*/ 202 w 1445"/>
                  <a:gd name="T29" fmla="*/ 545 h 769"/>
                  <a:gd name="T30" fmla="*/ 238 w 1445"/>
                  <a:gd name="T31" fmla="*/ 558 h 769"/>
                  <a:gd name="T32" fmla="*/ 227 w 1445"/>
                  <a:gd name="T33" fmla="*/ 587 h 769"/>
                  <a:gd name="T34" fmla="*/ 276 w 1445"/>
                  <a:gd name="T35" fmla="*/ 606 h 769"/>
                  <a:gd name="T36" fmla="*/ 243 w 1445"/>
                  <a:gd name="T37" fmla="*/ 612 h 769"/>
                  <a:gd name="T38" fmla="*/ 238 w 1445"/>
                  <a:gd name="T39" fmla="*/ 645 h 769"/>
                  <a:gd name="T40" fmla="*/ 246 w 1445"/>
                  <a:gd name="T41" fmla="*/ 693 h 769"/>
                  <a:gd name="T42" fmla="*/ 275 w 1445"/>
                  <a:gd name="T43" fmla="*/ 717 h 769"/>
                  <a:gd name="T44" fmla="*/ 328 w 1445"/>
                  <a:gd name="T45" fmla="*/ 729 h 769"/>
                  <a:gd name="T46" fmla="*/ 336 w 1445"/>
                  <a:gd name="T47" fmla="*/ 745 h 769"/>
                  <a:gd name="T48" fmla="*/ 370 w 1445"/>
                  <a:gd name="T49" fmla="*/ 766 h 769"/>
                  <a:gd name="T50" fmla="*/ 406 w 1445"/>
                  <a:gd name="T51" fmla="*/ 736 h 769"/>
                  <a:gd name="T52" fmla="*/ 433 w 1445"/>
                  <a:gd name="T53" fmla="*/ 702 h 769"/>
                  <a:gd name="T54" fmla="*/ 473 w 1445"/>
                  <a:gd name="T55" fmla="*/ 656 h 769"/>
                  <a:gd name="T56" fmla="*/ 514 w 1445"/>
                  <a:gd name="T57" fmla="*/ 628 h 769"/>
                  <a:gd name="T58" fmla="*/ 565 w 1445"/>
                  <a:gd name="T59" fmla="*/ 563 h 769"/>
                  <a:gd name="T60" fmla="*/ 644 w 1445"/>
                  <a:gd name="T61" fmla="*/ 545 h 769"/>
                  <a:gd name="T62" fmla="*/ 760 w 1445"/>
                  <a:gd name="T63" fmla="*/ 498 h 769"/>
                  <a:gd name="T64" fmla="*/ 874 w 1445"/>
                  <a:gd name="T65" fmla="*/ 466 h 769"/>
                  <a:gd name="T66" fmla="*/ 1033 w 1445"/>
                  <a:gd name="T67" fmla="*/ 427 h 769"/>
                  <a:gd name="T68" fmla="*/ 950 w 1445"/>
                  <a:gd name="T69" fmla="*/ 406 h 769"/>
                  <a:gd name="T70" fmla="*/ 955 w 1445"/>
                  <a:gd name="T71" fmla="*/ 371 h 769"/>
                  <a:gd name="T72" fmla="*/ 952 w 1445"/>
                  <a:gd name="T73" fmla="*/ 338 h 769"/>
                  <a:gd name="T74" fmla="*/ 1110 w 1445"/>
                  <a:gd name="T75" fmla="*/ 376 h 769"/>
                  <a:gd name="T76" fmla="*/ 1069 w 1445"/>
                  <a:gd name="T77" fmla="*/ 331 h 769"/>
                  <a:gd name="T78" fmla="*/ 1045 w 1445"/>
                  <a:gd name="T79" fmla="*/ 308 h 769"/>
                  <a:gd name="T80" fmla="*/ 1056 w 1445"/>
                  <a:gd name="T81" fmla="*/ 282 h 769"/>
                  <a:gd name="T82" fmla="*/ 1139 w 1445"/>
                  <a:gd name="T83" fmla="*/ 279 h 769"/>
                  <a:gd name="T84" fmla="*/ 1158 w 1445"/>
                  <a:gd name="T85" fmla="*/ 243 h 769"/>
                  <a:gd name="T86" fmla="*/ 1175 w 1445"/>
                  <a:gd name="T87" fmla="*/ 211 h 769"/>
                  <a:gd name="T88" fmla="*/ 1150 w 1445"/>
                  <a:gd name="T89" fmla="*/ 189 h 769"/>
                  <a:gd name="T90" fmla="*/ 1202 w 1445"/>
                  <a:gd name="T91" fmla="*/ 163 h 769"/>
                  <a:gd name="T92" fmla="*/ 1207 w 1445"/>
                  <a:gd name="T93" fmla="*/ 133 h 769"/>
                  <a:gd name="T94" fmla="*/ 1252 w 1445"/>
                  <a:gd name="T95" fmla="*/ 90 h 769"/>
                  <a:gd name="T96" fmla="*/ 1302 w 1445"/>
                  <a:gd name="T97" fmla="*/ 71 h 769"/>
                  <a:gd name="T98" fmla="*/ 1299 w 1445"/>
                  <a:gd name="T99" fmla="*/ 51 h 769"/>
                  <a:gd name="T100" fmla="*/ 1187 w 1445"/>
                  <a:gd name="T101" fmla="*/ 38 h 769"/>
                  <a:gd name="T102" fmla="*/ 1033 w 1445"/>
                  <a:gd name="T103" fmla="*/ 33 h 769"/>
                  <a:gd name="T104" fmla="*/ 1025 w 1445"/>
                  <a:gd name="T105" fmla="*/ 14 h 769"/>
                  <a:gd name="T106" fmla="*/ 1007 w 1445"/>
                  <a:gd name="T107" fmla="*/ 0 h 769"/>
                  <a:gd name="T108" fmla="*/ 788 w 1445"/>
                  <a:gd name="T109" fmla="*/ 8 h 769"/>
                  <a:gd name="T110" fmla="*/ 838 w 1445"/>
                  <a:gd name="T111" fmla="*/ 21 h 769"/>
                  <a:gd name="T112" fmla="*/ 720 w 1445"/>
                  <a:gd name="T113" fmla="*/ 43 h 769"/>
                  <a:gd name="T114" fmla="*/ 543 w 1445"/>
                  <a:gd name="T115" fmla="*/ 36 h 769"/>
                  <a:gd name="T116" fmla="*/ 390 w 1445"/>
                  <a:gd name="T117" fmla="*/ 40 h 769"/>
                  <a:gd name="T118" fmla="*/ 195 w 1445"/>
                  <a:gd name="T119" fmla="*/ 86 h 769"/>
                  <a:gd name="T120" fmla="*/ 67 w 1445"/>
                  <a:gd name="T121" fmla="*/ 132 h 769"/>
                  <a:gd name="T122" fmla="*/ 108 w 1445"/>
                  <a:gd name="T123" fmla="*/ 163 h 769"/>
                  <a:gd name="T124" fmla="*/ 21 w 1445"/>
                  <a:gd name="T125" fmla="*/ 185 h 7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45" h="769">
                    <a:moveTo>
                      <a:pt x="29" y="185"/>
                    </a:moveTo>
                    <a:lnTo>
                      <a:pt x="40" y="187"/>
                    </a:lnTo>
                    <a:lnTo>
                      <a:pt x="51" y="189"/>
                    </a:lnTo>
                    <a:lnTo>
                      <a:pt x="62" y="189"/>
                    </a:lnTo>
                    <a:lnTo>
                      <a:pt x="73" y="189"/>
                    </a:lnTo>
                    <a:lnTo>
                      <a:pt x="72" y="192"/>
                    </a:lnTo>
                    <a:lnTo>
                      <a:pt x="68" y="192"/>
                    </a:lnTo>
                    <a:lnTo>
                      <a:pt x="60" y="192"/>
                    </a:lnTo>
                    <a:lnTo>
                      <a:pt x="56" y="192"/>
                    </a:lnTo>
                    <a:lnTo>
                      <a:pt x="53" y="192"/>
                    </a:lnTo>
                    <a:lnTo>
                      <a:pt x="49" y="193"/>
                    </a:lnTo>
                    <a:lnTo>
                      <a:pt x="38" y="195"/>
                    </a:lnTo>
                    <a:lnTo>
                      <a:pt x="27" y="198"/>
                    </a:lnTo>
                    <a:lnTo>
                      <a:pt x="30" y="200"/>
                    </a:lnTo>
                    <a:lnTo>
                      <a:pt x="35" y="201"/>
                    </a:lnTo>
                    <a:lnTo>
                      <a:pt x="38" y="201"/>
                    </a:lnTo>
                    <a:lnTo>
                      <a:pt x="41" y="203"/>
                    </a:lnTo>
                    <a:lnTo>
                      <a:pt x="45" y="204"/>
                    </a:lnTo>
                    <a:lnTo>
                      <a:pt x="48" y="204"/>
                    </a:lnTo>
                    <a:lnTo>
                      <a:pt x="45" y="206"/>
                    </a:lnTo>
                    <a:lnTo>
                      <a:pt x="48" y="208"/>
                    </a:lnTo>
                    <a:lnTo>
                      <a:pt x="51" y="208"/>
                    </a:lnTo>
                    <a:lnTo>
                      <a:pt x="54" y="208"/>
                    </a:lnTo>
                    <a:lnTo>
                      <a:pt x="59" y="208"/>
                    </a:lnTo>
                    <a:lnTo>
                      <a:pt x="62" y="209"/>
                    </a:lnTo>
                    <a:lnTo>
                      <a:pt x="65" y="209"/>
                    </a:lnTo>
                    <a:lnTo>
                      <a:pt x="70" y="209"/>
                    </a:lnTo>
                    <a:lnTo>
                      <a:pt x="73" y="209"/>
                    </a:lnTo>
                    <a:lnTo>
                      <a:pt x="76" y="211"/>
                    </a:lnTo>
                    <a:lnTo>
                      <a:pt x="81" y="211"/>
                    </a:lnTo>
                    <a:lnTo>
                      <a:pt x="84" y="211"/>
                    </a:lnTo>
                    <a:lnTo>
                      <a:pt x="87" y="211"/>
                    </a:lnTo>
                    <a:lnTo>
                      <a:pt x="84" y="208"/>
                    </a:lnTo>
                    <a:lnTo>
                      <a:pt x="81" y="204"/>
                    </a:lnTo>
                    <a:lnTo>
                      <a:pt x="76" y="204"/>
                    </a:lnTo>
                    <a:lnTo>
                      <a:pt x="81" y="203"/>
                    </a:lnTo>
                    <a:lnTo>
                      <a:pt x="84" y="201"/>
                    </a:lnTo>
                    <a:lnTo>
                      <a:pt x="87" y="201"/>
                    </a:lnTo>
                    <a:lnTo>
                      <a:pt x="91" y="204"/>
                    </a:lnTo>
                    <a:lnTo>
                      <a:pt x="95" y="208"/>
                    </a:lnTo>
                    <a:lnTo>
                      <a:pt x="99" y="204"/>
                    </a:lnTo>
                    <a:lnTo>
                      <a:pt x="102" y="203"/>
                    </a:lnTo>
                    <a:lnTo>
                      <a:pt x="106" y="201"/>
                    </a:lnTo>
                    <a:lnTo>
                      <a:pt x="110" y="201"/>
                    </a:lnTo>
                    <a:lnTo>
                      <a:pt x="113" y="201"/>
                    </a:lnTo>
                    <a:lnTo>
                      <a:pt x="118" y="203"/>
                    </a:lnTo>
                    <a:lnTo>
                      <a:pt x="113" y="204"/>
                    </a:lnTo>
                    <a:lnTo>
                      <a:pt x="110" y="208"/>
                    </a:lnTo>
                    <a:lnTo>
                      <a:pt x="113" y="209"/>
                    </a:lnTo>
                    <a:lnTo>
                      <a:pt x="118" y="209"/>
                    </a:lnTo>
                    <a:lnTo>
                      <a:pt x="121" y="208"/>
                    </a:lnTo>
                    <a:lnTo>
                      <a:pt x="122" y="204"/>
                    </a:lnTo>
                    <a:lnTo>
                      <a:pt x="127" y="206"/>
                    </a:lnTo>
                    <a:lnTo>
                      <a:pt x="130" y="206"/>
                    </a:lnTo>
                    <a:lnTo>
                      <a:pt x="132" y="204"/>
                    </a:lnTo>
                    <a:lnTo>
                      <a:pt x="135" y="204"/>
                    </a:lnTo>
                    <a:lnTo>
                      <a:pt x="140" y="204"/>
                    </a:lnTo>
                    <a:lnTo>
                      <a:pt x="141" y="201"/>
                    </a:lnTo>
                    <a:lnTo>
                      <a:pt x="146" y="203"/>
                    </a:lnTo>
                    <a:lnTo>
                      <a:pt x="149" y="201"/>
                    </a:lnTo>
                    <a:lnTo>
                      <a:pt x="152" y="201"/>
                    </a:lnTo>
                    <a:lnTo>
                      <a:pt x="152" y="204"/>
                    </a:lnTo>
                    <a:lnTo>
                      <a:pt x="156" y="204"/>
                    </a:lnTo>
                    <a:lnTo>
                      <a:pt x="160" y="204"/>
                    </a:lnTo>
                    <a:lnTo>
                      <a:pt x="164" y="203"/>
                    </a:lnTo>
                    <a:lnTo>
                      <a:pt x="167" y="201"/>
                    </a:lnTo>
                    <a:lnTo>
                      <a:pt x="170" y="200"/>
                    </a:lnTo>
                    <a:lnTo>
                      <a:pt x="175" y="198"/>
                    </a:lnTo>
                    <a:lnTo>
                      <a:pt x="181" y="200"/>
                    </a:lnTo>
                    <a:lnTo>
                      <a:pt x="186" y="200"/>
                    </a:lnTo>
                    <a:lnTo>
                      <a:pt x="186" y="203"/>
                    </a:lnTo>
                    <a:lnTo>
                      <a:pt x="189" y="201"/>
                    </a:lnTo>
                    <a:lnTo>
                      <a:pt x="197" y="201"/>
                    </a:lnTo>
                    <a:lnTo>
                      <a:pt x="200" y="203"/>
                    </a:lnTo>
                    <a:lnTo>
                      <a:pt x="203" y="203"/>
                    </a:lnTo>
                    <a:lnTo>
                      <a:pt x="208" y="203"/>
                    </a:lnTo>
                    <a:lnTo>
                      <a:pt x="219" y="204"/>
                    </a:lnTo>
                    <a:lnTo>
                      <a:pt x="230" y="206"/>
                    </a:lnTo>
                    <a:lnTo>
                      <a:pt x="229" y="209"/>
                    </a:lnTo>
                    <a:lnTo>
                      <a:pt x="232" y="209"/>
                    </a:lnTo>
                    <a:lnTo>
                      <a:pt x="235" y="208"/>
                    </a:lnTo>
                    <a:lnTo>
                      <a:pt x="238" y="208"/>
                    </a:lnTo>
                    <a:lnTo>
                      <a:pt x="241" y="208"/>
                    </a:lnTo>
                    <a:lnTo>
                      <a:pt x="246" y="211"/>
                    </a:lnTo>
                    <a:lnTo>
                      <a:pt x="246" y="211"/>
                    </a:lnTo>
                    <a:lnTo>
                      <a:pt x="244" y="212"/>
                    </a:lnTo>
                    <a:lnTo>
                      <a:pt x="249" y="211"/>
                    </a:lnTo>
                    <a:lnTo>
                      <a:pt x="252" y="211"/>
                    </a:lnTo>
                    <a:lnTo>
                      <a:pt x="249" y="214"/>
                    </a:lnTo>
                    <a:lnTo>
                      <a:pt x="252" y="214"/>
                    </a:lnTo>
                    <a:lnTo>
                      <a:pt x="256" y="214"/>
                    </a:lnTo>
                    <a:lnTo>
                      <a:pt x="260" y="214"/>
                    </a:lnTo>
                    <a:lnTo>
                      <a:pt x="263" y="214"/>
                    </a:lnTo>
                    <a:lnTo>
                      <a:pt x="260" y="216"/>
                    </a:lnTo>
                    <a:lnTo>
                      <a:pt x="262" y="219"/>
                    </a:lnTo>
                    <a:lnTo>
                      <a:pt x="265" y="219"/>
                    </a:lnTo>
                    <a:lnTo>
                      <a:pt x="268" y="219"/>
                    </a:lnTo>
                    <a:lnTo>
                      <a:pt x="273" y="217"/>
                    </a:lnTo>
                    <a:lnTo>
                      <a:pt x="276" y="217"/>
                    </a:lnTo>
                    <a:lnTo>
                      <a:pt x="273" y="220"/>
                    </a:lnTo>
                    <a:lnTo>
                      <a:pt x="276" y="220"/>
                    </a:lnTo>
                    <a:lnTo>
                      <a:pt x="278" y="224"/>
                    </a:lnTo>
                    <a:lnTo>
                      <a:pt x="273" y="227"/>
                    </a:lnTo>
                    <a:lnTo>
                      <a:pt x="270" y="228"/>
                    </a:lnTo>
                    <a:lnTo>
                      <a:pt x="267" y="228"/>
                    </a:lnTo>
                    <a:lnTo>
                      <a:pt x="262" y="230"/>
                    </a:lnTo>
                    <a:lnTo>
                      <a:pt x="267" y="230"/>
                    </a:lnTo>
                    <a:lnTo>
                      <a:pt x="270" y="228"/>
                    </a:lnTo>
                    <a:lnTo>
                      <a:pt x="273" y="228"/>
                    </a:lnTo>
                    <a:lnTo>
                      <a:pt x="270" y="231"/>
                    </a:lnTo>
                    <a:lnTo>
                      <a:pt x="270" y="235"/>
                    </a:lnTo>
                    <a:lnTo>
                      <a:pt x="273" y="235"/>
                    </a:lnTo>
                    <a:lnTo>
                      <a:pt x="270" y="238"/>
                    </a:lnTo>
                    <a:lnTo>
                      <a:pt x="273" y="239"/>
                    </a:lnTo>
                    <a:lnTo>
                      <a:pt x="278" y="241"/>
                    </a:lnTo>
                    <a:lnTo>
                      <a:pt x="281" y="241"/>
                    </a:lnTo>
                    <a:lnTo>
                      <a:pt x="281" y="243"/>
                    </a:lnTo>
                    <a:lnTo>
                      <a:pt x="284" y="243"/>
                    </a:lnTo>
                    <a:lnTo>
                      <a:pt x="287" y="244"/>
                    </a:lnTo>
                    <a:lnTo>
                      <a:pt x="292" y="244"/>
                    </a:lnTo>
                    <a:lnTo>
                      <a:pt x="295" y="246"/>
                    </a:lnTo>
                    <a:lnTo>
                      <a:pt x="292" y="247"/>
                    </a:lnTo>
                    <a:lnTo>
                      <a:pt x="287" y="249"/>
                    </a:lnTo>
                    <a:lnTo>
                      <a:pt x="287" y="252"/>
                    </a:lnTo>
                    <a:lnTo>
                      <a:pt x="290" y="250"/>
                    </a:lnTo>
                    <a:lnTo>
                      <a:pt x="295" y="252"/>
                    </a:lnTo>
                    <a:lnTo>
                      <a:pt x="298" y="252"/>
                    </a:lnTo>
                    <a:lnTo>
                      <a:pt x="300" y="255"/>
                    </a:lnTo>
                    <a:lnTo>
                      <a:pt x="303" y="255"/>
                    </a:lnTo>
                    <a:lnTo>
                      <a:pt x="300" y="258"/>
                    </a:lnTo>
                    <a:lnTo>
                      <a:pt x="295" y="258"/>
                    </a:lnTo>
                    <a:lnTo>
                      <a:pt x="292" y="258"/>
                    </a:lnTo>
                    <a:lnTo>
                      <a:pt x="289" y="258"/>
                    </a:lnTo>
                    <a:lnTo>
                      <a:pt x="292" y="260"/>
                    </a:lnTo>
                    <a:lnTo>
                      <a:pt x="295" y="260"/>
                    </a:lnTo>
                    <a:lnTo>
                      <a:pt x="300" y="260"/>
                    </a:lnTo>
                    <a:lnTo>
                      <a:pt x="295" y="262"/>
                    </a:lnTo>
                    <a:lnTo>
                      <a:pt x="292" y="262"/>
                    </a:lnTo>
                    <a:lnTo>
                      <a:pt x="289" y="262"/>
                    </a:lnTo>
                    <a:lnTo>
                      <a:pt x="292" y="263"/>
                    </a:lnTo>
                    <a:lnTo>
                      <a:pt x="295" y="263"/>
                    </a:lnTo>
                    <a:lnTo>
                      <a:pt x="281" y="266"/>
                    </a:lnTo>
                    <a:lnTo>
                      <a:pt x="267" y="270"/>
                    </a:lnTo>
                    <a:lnTo>
                      <a:pt x="282" y="268"/>
                    </a:lnTo>
                    <a:lnTo>
                      <a:pt x="297" y="265"/>
                    </a:lnTo>
                    <a:lnTo>
                      <a:pt x="294" y="268"/>
                    </a:lnTo>
                    <a:lnTo>
                      <a:pt x="289" y="271"/>
                    </a:lnTo>
                    <a:lnTo>
                      <a:pt x="294" y="271"/>
                    </a:lnTo>
                    <a:lnTo>
                      <a:pt x="297" y="273"/>
                    </a:lnTo>
                    <a:lnTo>
                      <a:pt x="294" y="273"/>
                    </a:lnTo>
                    <a:lnTo>
                      <a:pt x="297" y="276"/>
                    </a:lnTo>
                    <a:lnTo>
                      <a:pt x="300" y="277"/>
                    </a:lnTo>
                    <a:lnTo>
                      <a:pt x="297" y="277"/>
                    </a:lnTo>
                    <a:lnTo>
                      <a:pt x="297" y="282"/>
                    </a:lnTo>
                    <a:lnTo>
                      <a:pt x="300" y="282"/>
                    </a:lnTo>
                    <a:lnTo>
                      <a:pt x="297" y="282"/>
                    </a:lnTo>
                    <a:lnTo>
                      <a:pt x="292" y="281"/>
                    </a:lnTo>
                    <a:lnTo>
                      <a:pt x="289" y="282"/>
                    </a:lnTo>
                    <a:lnTo>
                      <a:pt x="292" y="284"/>
                    </a:lnTo>
                    <a:lnTo>
                      <a:pt x="289" y="284"/>
                    </a:lnTo>
                    <a:lnTo>
                      <a:pt x="295" y="287"/>
                    </a:lnTo>
                    <a:lnTo>
                      <a:pt x="297" y="290"/>
                    </a:lnTo>
                    <a:lnTo>
                      <a:pt x="300" y="292"/>
                    </a:lnTo>
                    <a:lnTo>
                      <a:pt x="305" y="292"/>
                    </a:lnTo>
                    <a:lnTo>
                      <a:pt x="305" y="295"/>
                    </a:lnTo>
                    <a:lnTo>
                      <a:pt x="302" y="293"/>
                    </a:lnTo>
                    <a:lnTo>
                      <a:pt x="298" y="295"/>
                    </a:lnTo>
                    <a:lnTo>
                      <a:pt x="294" y="296"/>
                    </a:lnTo>
                    <a:lnTo>
                      <a:pt x="297" y="298"/>
                    </a:lnTo>
                    <a:lnTo>
                      <a:pt x="294" y="300"/>
                    </a:lnTo>
                    <a:lnTo>
                      <a:pt x="290" y="303"/>
                    </a:lnTo>
                    <a:lnTo>
                      <a:pt x="286" y="301"/>
                    </a:lnTo>
                    <a:lnTo>
                      <a:pt x="289" y="303"/>
                    </a:lnTo>
                    <a:lnTo>
                      <a:pt x="294" y="304"/>
                    </a:lnTo>
                    <a:lnTo>
                      <a:pt x="297" y="304"/>
                    </a:lnTo>
                    <a:lnTo>
                      <a:pt x="300" y="304"/>
                    </a:lnTo>
                    <a:lnTo>
                      <a:pt x="303" y="306"/>
                    </a:lnTo>
                    <a:lnTo>
                      <a:pt x="305" y="309"/>
                    </a:lnTo>
                    <a:lnTo>
                      <a:pt x="302" y="312"/>
                    </a:lnTo>
                    <a:lnTo>
                      <a:pt x="298" y="312"/>
                    </a:lnTo>
                    <a:lnTo>
                      <a:pt x="302" y="314"/>
                    </a:lnTo>
                    <a:lnTo>
                      <a:pt x="305" y="312"/>
                    </a:lnTo>
                    <a:lnTo>
                      <a:pt x="302" y="314"/>
                    </a:lnTo>
                    <a:lnTo>
                      <a:pt x="298" y="317"/>
                    </a:lnTo>
                    <a:lnTo>
                      <a:pt x="294" y="319"/>
                    </a:lnTo>
                    <a:lnTo>
                      <a:pt x="290" y="320"/>
                    </a:lnTo>
                    <a:lnTo>
                      <a:pt x="294" y="320"/>
                    </a:lnTo>
                    <a:lnTo>
                      <a:pt x="298" y="322"/>
                    </a:lnTo>
                    <a:lnTo>
                      <a:pt x="302" y="322"/>
                    </a:lnTo>
                    <a:lnTo>
                      <a:pt x="305" y="322"/>
                    </a:lnTo>
                    <a:lnTo>
                      <a:pt x="302" y="323"/>
                    </a:lnTo>
                    <a:lnTo>
                      <a:pt x="297" y="323"/>
                    </a:lnTo>
                    <a:lnTo>
                      <a:pt x="294" y="323"/>
                    </a:lnTo>
                    <a:lnTo>
                      <a:pt x="290" y="323"/>
                    </a:lnTo>
                    <a:lnTo>
                      <a:pt x="287" y="322"/>
                    </a:lnTo>
                    <a:lnTo>
                      <a:pt x="282" y="322"/>
                    </a:lnTo>
                    <a:lnTo>
                      <a:pt x="279" y="322"/>
                    </a:lnTo>
                    <a:lnTo>
                      <a:pt x="276" y="322"/>
                    </a:lnTo>
                    <a:lnTo>
                      <a:pt x="271" y="323"/>
                    </a:lnTo>
                    <a:lnTo>
                      <a:pt x="276" y="327"/>
                    </a:lnTo>
                    <a:lnTo>
                      <a:pt x="279" y="323"/>
                    </a:lnTo>
                    <a:lnTo>
                      <a:pt x="282" y="327"/>
                    </a:lnTo>
                    <a:lnTo>
                      <a:pt x="286" y="325"/>
                    </a:lnTo>
                    <a:lnTo>
                      <a:pt x="290" y="325"/>
                    </a:lnTo>
                    <a:lnTo>
                      <a:pt x="294" y="327"/>
                    </a:lnTo>
                    <a:lnTo>
                      <a:pt x="290" y="327"/>
                    </a:lnTo>
                    <a:lnTo>
                      <a:pt x="286" y="328"/>
                    </a:lnTo>
                    <a:lnTo>
                      <a:pt x="282" y="331"/>
                    </a:lnTo>
                    <a:lnTo>
                      <a:pt x="279" y="333"/>
                    </a:lnTo>
                    <a:lnTo>
                      <a:pt x="279" y="333"/>
                    </a:lnTo>
                    <a:lnTo>
                      <a:pt x="276" y="335"/>
                    </a:lnTo>
                    <a:lnTo>
                      <a:pt x="271" y="338"/>
                    </a:lnTo>
                    <a:lnTo>
                      <a:pt x="268" y="338"/>
                    </a:lnTo>
                    <a:lnTo>
                      <a:pt x="265" y="339"/>
                    </a:lnTo>
                    <a:lnTo>
                      <a:pt x="270" y="341"/>
                    </a:lnTo>
                    <a:lnTo>
                      <a:pt x="273" y="341"/>
                    </a:lnTo>
                    <a:lnTo>
                      <a:pt x="278" y="341"/>
                    </a:lnTo>
                    <a:lnTo>
                      <a:pt x="281" y="339"/>
                    </a:lnTo>
                    <a:lnTo>
                      <a:pt x="289" y="336"/>
                    </a:lnTo>
                    <a:lnTo>
                      <a:pt x="297" y="333"/>
                    </a:lnTo>
                    <a:lnTo>
                      <a:pt x="292" y="336"/>
                    </a:lnTo>
                    <a:lnTo>
                      <a:pt x="287" y="339"/>
                    </a:lnTo>
                    <a:lnTo>
                      <a:pt x="281" y="341"/>
                    </a:lnTo>
                    <a:lnTo>
                      <a:pt x="275" y="342"/>
                    </a:lnTo>
                    <a:lnTo>
                      <a:pt x="271" y="342"/>
                    </a:lnTo>
                    <a:lnTo>
                      <a:pt x="268" y="342"/>
                    </a:lnTo>
                    <a:lnTo>
                      <a:pt x="263" y="346"/>
                    </a:lnTo>
                    <a:lnTo>
                      <a:pt x="260" y="346"/>
                    </a:lnTo>
                    <a:lnTo>
                      <a:pt x="257" y="347"/>
                    </a:lnTo>
                    <a:lnTo>
                      <a:pt x="252" y="347"/>
                    </a:lnTo>
                    <a:lnTo>
                      <a:pt x="249" y="350"/>
                    </a:lnTo>
                    <a:lnTo>
                      <a:pt x="252" y="352"/>
                    </a:lnTo>
                    <a:lnTo>
                      <a:pt x="252" y="355"/>
                    </a:lnTo>
                    <a:lnTo>
                      <a:pt x="256" y="358"/>
                    </a:lnTo>
                    <a:lnTo>
                      <a:pt x="259" y="360"/>
                    </a:lnTo>
                    <a:lnTo>
                      <a:pt x="262" y="360"/>
                    </a:lnTo>
                    <a:lnTo>
                      <a:pt x="260" y="355"/>
                    </a:lnTo>
                    <a:lnTo>
                      <a:pt x="267" y="360"/>
                    </a:lnTo>
                    <a:lnTo>
                      <a:pt x="270" y="360"/>
                    </a:lnTo>
                    <a:lnTo>
                      <a:pt x="273" y="360"/>
                    </a:lnTo>
                    <a:lnTo>
                      <a:pt x="278" y="360"/>
                    </a:lnTo>
                    <a:lnTo>
                      <a:pt x="282" y="360"/>
                    </a:lnTo>
                    <a:lnTo>
                      <a:pt x="286" y="360"/>
                    </a:lnTo>
                    <a:lnTo>
                      <a:pt x="290" y="358"/>
                    </a:lnTo>
                    <a:lnTo>
                      <a:pt x="294" y="357"/>
                    </a:lnTo>
                    <a:lnTo>
                      <a:pt x="297" y="355"/>
                    </a:lnTo>
                    <a:lnTo>
                      <a:pt x="295" y="352"/>
                    </a:lnTo>
                    <a:lnTo>
                      <a:pt x="295" y="349"/>
                    </a:lnTo>
                    <a:lnTo>
                      <a:pt x="298" y="350"/>
                    </a:lnTo>
                    <a:lnTo>
                      <a:pt x="303" y="350"/>
                    </a:lnTo>
                    <a:lnTo>
                      <a:pt x="302" y="347"/>
                    </a:lnTo>
                    <a:lnTo>
                      <a:pt x="305" y="347"/>
                    </a:lnTo>
                    <a:lnTo>
                      <a:pt x="308" y="347"/>
                    </a:lnTo>
                    <a:lnTo>
                      <a:pt x="313" y="346"/>
                    </a:lnTo>
                    <a:lnTo>
                      <a:pt x="316" y="344"/>
                    </a:lnTo>
                    <a:lnTo>
                      <a:pt x="316" y="341"/>
                    </a:lnTo>
                    <a:lnTo>
                      <a:pt x="314" y="336"/>
                    </a:lnTo>
                    <a:lnTo>
                      <a:pt x="311" y="335"/>
                    </a:lnTo>
                    <a:lnTo>
                      <a:pt x="313" y="331"/>
                    </a:lnTo>
                    <a:lnTo>
                      <a:pt x="314" y="327"/>
                    </a:lnTo>
                    <a:lnTo>
                      <a:pt x="322" y="327"/>
                    </a:lnTo>
                    <a:lnTo>
                      <a:pt x="317" y="328"/>
                    </a:lnTo>
                    <a:lnTo>
                      <a:pt x="314" y="328"/>
                    </a:lnTo>
                    <a:lnTo>
                      <a:pt x="314" y="331"/>
                    </a:lnTo>
                    <a:lnTo>
                      <a:pt x="316" y="336"/>
                    </a:lnTo>
                    <a:lnTo>
                      <a:pt x="317" y="339"/>
                    </a:lnTo>
                    <a:lnTo>
                      <a:pt x="317" y="342"/>
                    </a:lnTo>
                    <a:lnTo>
                      <a:pt x="316" y="346"/>
                    </a:lnTo>
                    <a:lnTo>
                      <a:pt x="321" y="346"/>
                    </a:lnTo>
                    <a:lnTo>
                      <a:pt x="324" y="344"/>
                    </a:lnTo>
                    <a:lnTo>
                      <a:pt x="327" y="341"/>
                    </a:lnTo>
                    <a:lnTo>
                      <a:pt x="332" y="341"/>
                    </a:lnTo>
                    <a:lnTo>
                      <a:pt x="335" y="339"/>
                    </a:lnTo>
                    <a:lnTo>
                      <a:pt x="332" y="341"/>
                    </a:lnTo>
                    <a:lnTo>
                      <a:pt x="327" y="346"/>
                    </a:lnTo>
                    <a:lnTo>
                      <a:pt x="324" y="346"/>
                    </a:lnTo>
                    <a:lnTo>
                      <a:pt x="321" y="347"/>
                    </a:lnTo>
                    <a:lnTo>
                      <a:pt x="317" y="349"/>
                    </a:lnTo>
                    <a:lnTo>
                      <a:pt x="321" y="349"/>
                    </a:lnTo>
                    <a:lnTo>
                      <a:pt x="332" y="349"/>
                    </a:lnTo>
                    <a:lnTo>
                      <a:pt x="335" y="352"/>
                    </a:lnTo>
                    <a:lnTo>
                      <a:pt x="340" y="352"/>
                    </a:lnTo>
                    <a:lnTo>
                      <a:pt x="343" y="352"/>
                    </a:lnTo>
                    <a:lnTo>
                      <a:pt x="351" y="350"/>
                    </a:lnTo>
                    <a:lnTo>
                      <a:pt x="354" y="349"/>
                    </a:lnTo>
                    <a:lnTo>
                      <a:pt x="357" y="349"/>
                    </a:lnTo>
                    <a:lnTo>
                      <a:pt x="340" y="354"/>
                    </a:lnTo>
                    <a:lnTo>
                      <a:pt x="317" y="358"/>
                    </a:lnTo>
                    <a:lnTo>
                      <a:pt x="324" y="360"/>
                    </a:lnTo>
                    <a:lnTo>
                      <a:pt x="328" y="360"/>
                    </a:lnTo>
                    <a:lnTo>
                      <a:pt x="333" y="360"/>
                    </a:lnTo>
                    <a:lnTo>
                      <a:pt x="338" y="358"/>
                    </a:lnTo>
                    <a:lnTo>
                      <a:pt x="349" y="355"/>
                    </a:lnTo>
                    <a:lnTo>
                      <a:pt x="360" y="357"/>
                    </a:lnTo>
                    <a:lnTo>
                      <a:pt x="352" y="357"/>
                    </a:lnTo>
                    <a:lnTo>
                      <a:pt x="343" y="358"/>
                    </a:lnTo>
                    <a:lnTo>
                      <a:pt x="338" y="360"/>
                    </a:lnTo>
                    <a:lnTo>
                      <a:pt x="335" y="360"/>
                    </a:lnTo>
                    <a:lnTo>
                      <a:pt x="332" y="363"/>
                    </a:lnTo>
                    <a:lnTo>
                      <a:pt x="328" y="365"/>
                    </a:lnTo>
                    <a:lnTo>
                      <a:pt x="325" y="365"/>
                    </a:lnTo>
                    <a:lnTo>
                      <a:pt x="328" y="366"/>
                    </a:lnTo>
                    <a:lnTo>
                      <a:pt x="332" y="366"/>
                    </a:lnTo>
                    <a:lnTo>
                      <a:pt x="336" y="365"/>
                    </a:lnTo>
                    <a:lnTo>
                      <a:pt x="340" y="363"/>
                    </a:lnTo>
                    <a:lnTo>
                      <a:pt x="343" y="361"/>
                    </a:lnTo>
                    <a:lnTo>
                      <a:pt x="346" y="361"/>
                    </a:lnTo>
                    <a:lnTo>
                      <a:pt x="351" y="360"/>
                    </a:lnTo>
                    <a:lnTo>
                      <a:pt x="351" y="363"/>
                    </a:lnTo>
                    <a:lnTo>
                      <a:pt x="341" y="365"/>
                    </a:lnTo>
                    <a:lnTo>
                      <a:pt x="333" y="368"/>
                    </a:lnTo>
                    <a:lnTo>
                      <a:pt x="336" y="369"/>
                    </a:lnTo>
                    <a:lnTo>
                      <a:pt x="340" y="368"/>
                    </a:lnTo>
                    <a:lnTo>
                      <a:pt x="343" y="368"/>
                    </a:lnTo>
                    <a:lnTo>
                      <a:pt x="348" y="369"/>
                    </a:lnTo>
                    <a:lnTo>
                      <a:pt x="351" y="368"/>
                    </a:lnTo>
                    <a:lnTo>
                      <a:pt x="355" y="368"/>
                    </a:lnTo>
                    <a:lnTo>
                      <a:pt x="351" y="369"/>
                    </a:lnTo>
                    <a:lnTo>
                      <a:pt x="355" y="371"/>
                    </a:lnTo>
                    <a:lnTo>
                      <a:pt x="359" y="371"/>
                    </a:lnTo>
                    <a:lnTo>
                      <a:pt x="362" y="371"/>
                    </a:lnTo>
                    <a:lnTo>
                      <a:pt x="357" y="374"/>
                    </a:lnTo>
                    <a:lnTo>
                      <a:pt x="354" y="374"/>
                    </a:lnTo>
                    <a:lnTo>
                      <a:pt x="351" y="373"/>
                    </a:lnTo>
                    <a:lnTo>
                      <a:pt x="348" y="373"/>
                    </a:lnTo>
                    <a:lnTo>
                      <a:pt x="340" y="369"/>
                    </a:lnTo>
                    <a:lnTo>
                      <a:pt x="336" y="371"/>
                    </a:lnTo>
                    <a:lnTo>
                      <a:pt x="340" y="373"/>
                    </a:lnTo>
                    <a:lnTo>
                      <a:pt x="343" y="374"/>
                    </a:lnTo>
                    <a:lnTo>
                      <a:pt x="348" y="376"/>
                    </a:lnTo>
                    <a:lnTo>
                      <a:pt x="351" y="376"/>
                    </a:lnTo>
                    <a:lnTo>
                      <a:pt x="354" y="377"/>
                    </a:lnTo>
                    <a:lnTo>
                      <a:pt x="357" y="377"/>
                    </a:lnTo>
                    <a:lnTo>
                      <a:pt x="362" y="376"/>
                    </a:lnTo>
                    <a:lnTo>
                      <a:pt x="362" y="381"/>
                    </a:lnTo>
                    <a:lnTo>
                      <a:pt x="359" y="381"/>
                    </a:lnTo>
                    <a:lnTo>
                      <a:pt x="355" y="379"/>
                    </a:lnTo>
                    <a:lnTo>
                      <a:pt x="351" y="379"/>
                    </a:lnTo>
                    <a:lnTo>
                      <a:pt x="348" y="381"/>
                    </a:lnTo>
                    <a:lnTo>
                      <a:pt x="344" y="381"/>
                    </a:lnTo>
                    <a:lnTo>
                      <a:pt x="348" y="382"/>
                    </a:lnTo>
                    <a:lnTo>
                      <a:pt x="351" y="381"/>
                    </a:lnTo>
                    <a:lnTo>
                      <a:pt x="355" y="384"/>
                    </a:lnTo>
                    <a:lnTo>
                      <a:pt x="359" y="384"/>
                    </a:lnTo>
                    <a:lnTo>
                      <a:pt x="362" y="384"/>
                    </a:lnTo>
                    <a:lnTo>
                      <a:pt x="359" y="384"/>
                    </a:lnTo>
                    <a:lnTo>
                      <a:pt x="354" y="384"/>
                    </a:lnTo>
                    <a:lnTo>
                      <a:pt x="357" y="388"/>
                    </a:lnTo>
                    <a:lnTo>
                      <a:pt x="354" y="387"/>
                    </a:lnTo>
                    <a:lnTo>
                      <a:pt x="351" y="388"/>
                    </a:lnTo>
                    <a:lnTo>
                      <a:pt x="348" y="387"/>
                    </a:lnTo>
                    <a:lnTo>
                      <a:pt x="344" y="387"/>
                    </a:lnTo>
                    <a:lnTo>
                      <a:pt x="348" y="388"/>
                    </a:lnTo>
                    <a:lnTo>
                      <a:pt x="351" y="390"/>
                    </a:lnTo>
                    <a:lnTo>
                      <a:pt x="348" y="390"/>
                    </a:lnTo>
                    <a:lnTo>
                      <a:pt x="351" y="392"/>
                    </a:lnTo>
                    <a:lnTo>
                      <a:pt x="355" y="392"/>
                    </a:lnTo>
                    <a:lnTo>
                      <a:pt x="359" y="390"/>
                    </a:lnTo>
                    <a:lnTo>
                      <a:pt x="362" y="388"/>
                    </a:lnTo>
                    <a:lnTo>
                      <a:pt x="359" y="392"/>
                    </a:lnTo>
                    <a:lnTo>
                      <a:pt x="357" y="395"/>
                    </a:lnTo>
                    <a:lnTo>
                      <a:pt x="346" y="393"/>
                    </a:lnTo>
                    <a:lnTo>
                      <a:pt x="336" y="392"/>
                    </a:lnTo>
                    <a:lnTo>
                      <a:pt x="324" y="387"/>
                    </a:lnTo>
                    <a:lnTo>
                      <a:pt x="311" y="381"/>
                    </a:lnTo>
                    <a:lnTo>
                      <a:pt x="298" y="381"/>
                    </a:lnTo>
                    <a:lnTo>
                      <a:pt x="286" y="379"/>
                    </a:lnTo>
                    <a:lnTo>
                      <a:pt x="279" y="379"/>
                    </a:lnTo>
                    <a:lnTo>
                      <a:pt x="273" y="379"/>
                    </a:lnTo>
                    <a:lnTo>
                      <a:pt x="267" y="381"/>
                    </a:lnTo>
                    <a:lnTo>
                      <a:pt x="260" y="384"/>
                    </a:lnTo>
                    <a:lnTo>
                      <a:pt x="265" y="387"/>
                    </a:lnTo>
                    <a:lnTo>
                      <a:pt x="268" y="390"/>
                    </a:lnTo>
                    <a:lnTo>
                      <a:pt x="271" y="393"/>
                    </a:lnTo>
                    <a:lnTo>
                      <a:pt x="278" y="393"/>
                    </a:lnTo>
                    <a:lnTo>
                      <a:pt x="287" y="395"/>
                    </a:lnTo>
                    <a:lnTo>
                      <a:pt x="297" y="396"/>
                    </a:lnTo>
                    <a:lnTo>
                      <a:pt x="303" y="400"/>
                    </a:lnTo>
                    <a:lnTo>
                      <a:pt x="306" y="403"/>
                    </a:lnTo>
                    <a:lnTo>
                      <a:pt x="308" y="404"/>
                    </a:lnTo>
                    <a:lnTo>
                      <a:pt x="314" y="404"/>
                    </a:lnTo>
                    <a:lnTo>
                      <a:pt x="317" y="406"/>
                    </a:lnTo>
                    <a:lnTo>
                      <a:pt x="325" y="406"/>
                    </a:lnTo>
                    <a:lnTo>
                      <a:pt x="327" y="406"/>
                    </a:lnTo>
                    <a:lnTo>
                      <a:pt x="327" y="407"/>
                    </a:lnTo>
                    <a:lnTo>
                      <a:pt x="332" y="406"/>
                    </a:lnTo>
                    <a:lnTo>
                      <a:pt x="335" y="404"/>
                    </a:lnTo>
                    <a:lnTo>
                      <a:pt x="338" y="404"/>
                    </a:lnTo>
                    <a:lnTo>
                      <a:pt x="341" y="406"/>
                    </a:lnTo>
                    <a:lnTo>
                      <a:pt x="336" y="406"/>
                    </a:lnTo>
                    <a:lnTo>
                      <a:pt x="333" y="407"/>
                    </a:lnTo>
                    <a:lnTo>
                      <a:pt x="348" y="406"/>
                    </a:lnTo>
                    <a:lnTo>
                      <a:pt x="360" y="404"/>
                    </a:lnTo>
                    <a:lnTo>
                      <a:pt x="360" y="406"/>
                    </a:lnTo>
                    <a:lnTo>
                      <a:pt x="360" y="406"/>
                    </a:lnTo>
                    <a:lnTo>
                      <a:pt x="357" y="407"/>
                    </a:lnTo>
                    <a:lnTo>
                      <a:pt x="352" y="409"/>
                    </a:lnTo>
                    <a:lnTo>
                      <a:pt x="355" y="411"/>
                    </a:lnTo>
                    <a:lnTo>
                      <a:pt x="355" y="415"/>
                    </a:lnTo>
                    <a:lnTo>
                      <a:pt x="352" y="414"/>
                    </a:lnTo>
                    <a:lnTo>
                      <a:pt x="349" y="414"/>
                    </a:lnTo>
                    <a:lnTo>
                      <a:pt x="346" y="415"/>
                    </a:lnTo>
                    <a:lnTo>
                      <a:pt x="341" y="417"/>
                    </a:lnTo>
                    <a:lnTo>
                      <a:pt x="346" y="417"/>
                    </a:lnTo>
                    <a:lnTo>
                      <a:pt x="349" y="420"/>
                    </a:lnTo>
                    <a:lnTo>
                      <a:pt x="346" y="419"/>
                    </a:lnTo>
                    <a:lnTo>
                      <a:pt x="341" y="419"/>
                    </a:lnTo>
                    <a:lnTo>
                      <a:pt x="338" y="420"/>
                    </a:lnTo>
                    <a:lnTo>
                      <a:pt x="336" y="423"/>
                    </a:lnTo>
                    <a:lnTo>
                      <a:pt x="344" y="423"/>
                    </a:lnTo>
                    <a:lnTo>
                      <a:pt x="348" y="422"/>
                    </a:lnTo>
                    <a:lnTo>
                      <a:pt x="351" y="423"/>
                    </a:lnTo>
                    <a:lnTo>
                      <a:pt x="348" y="423"/>
                    </a:lnTo>
                    <a:lnTo>
                      <a:pt x="343" y="425"/>
                    </a:lnTo>
                    <a:lnTo>
                      <a:pt x="340" y="423"/>
                    </a:lnTo>
                    <a:lnTo>
                      <a:pt x="336" y="425"/>
                    </a:lnTo>
                    <a:lnTo>
                      <a:pt x="332" y="427"/>
                    </a:lnTo>
                    <a:lnTo>
                      <a:pt x="330" y="431"/>
                    </a:lnTo>
                    <a:lnTo>
                      <a:pt x="327" y="431"/>
                    </a:lnTo>
                    <a:lnTo>
                      <a:pt x="324" y="434"/>
                    </a:lnTo>
                    <a:lnTo>
                      <a:pt x="333" y="433"/>
                    </a:lnTo>
                    <a:lnTo>
                      <a:pt x="341" y="430"/>
                    </a:lnTo>
                    <a:lnTo>
                      <a:pt x="343" y="434"/>
                    </a:lnTo>
                    <a:lnTo>
                      <a:pt x="346" y="436"/>
                    </a:lnTo>
                    <a:lnTo>
                      <a:pt x="343" y="436"/>
                    </a:lnTo>
                    <a:lnTo>
                      <a:pt x="340" y="436"/>
                    </a:lnTo>
                    <a:lnTo>
                      <a:pt x="336" y="438"/>
                    </a:lnTo>
                    <a:lnTo>
                      <a:pt x="340" y="439"/>
                    </a:lnTo>
                    <a:lnTo>
                      <a:pt x="343" y="441"/>
                    </a:lnTo>
                    <a:lnTo>
                      <a:pt x="340" y="441"/>
                    </a:lnTo>
                    <a:lnTo>
                      <a:pt x="336" y="442"/>
                    </a:lnTo>
                    <a:lnTo>
                      <a:pt x="335" y="439"/>
                    </a:lnTo>
                    <a:lnTo>
                      <a:pt x="332" y="438"/>
                    </a:lnTo>
                    <a:lnTo>
                      <a:pt x="328" y="439"/>
                    </a:lnTo>
                    <a:lnTo>
                      <a:pt x="324" y="439"/>
                    </a:lnTo>
                    <a:lnTo>
                      <a:pt x="328" y="436"/>
                    </a:lnTo>
                    <a:lnTo>
                      <a:pt x="324" y="436"/>
                    </a:lnTo>
                    <a:lnTo>
                      <a:pt x="321" y="438"/>
                    </a:lnTo>
                    <a:lnTo>
                      <a:pt x="319" y="441"/>
                    </a:lnTo>
                    <a:lnTo>
                      <a:pt x="317" y="444"/>
                    </a:lnTo>
                    <a:lnTo>
                      <a:pt x="317" y="446"/>
                    </a:lnTo>
                    <a:lnTo>
                      <a:pt x="314" y="446"/>
                    </a:lnTo>
                    <a:lnTo>
                      <a:pt x="311" y="449"/>
                    </a:lnTo>
                    <a:lnTo>
                      <a:pt x="314" y="450"/>
                    </a:lnTo>
                    <a:lnTo>
                      <a:pt x="317" y="449"/>
                    </a:lnTo>
                    <a:lnTo>
                      <a:pt x="322" y="447"/>
                    </a:lnTo>
                    <a:lnTo>
                      <a:pt x="325" y="447"/>
                    </a:lnTo>
                    <a:lnTo>
                      <a:pt x="321" y="449"/>
                    </a:lnTo>
                    <a:lnTo>
                      <a:pt x="317" y="450"/>
                    </a:lnTo>
                    <a:lnTo>
                      <a:pt x="319" y="453"/>
                    </a:lnTo>
                    <a:lnTo>
                      <a:pt x="314" y="453"/>
                    </a:lnTo>
                    <a:lnTo>
                      <a:pt x="311" y="455"/>
                    </a:lnTo>
                    <a:lnTo>
                      <a:pt x="308" y="455"/>
                    </a:lnTo>
                    <a:lnTo>
                      <a:pt x="303" y="457"/>
                    </a:lnTo>
                    <a:lnTo>
                      <a:pt x="300" y="457"/>
                    </a:lnTo>
                    <a:lnTo>
                      <a:pt x="297" y="457"/>
                    </a:lnTo>
                    <a:lnTo>
                      <a:pt x="294" y="457"/>
                    </a:lnTo>
                    <a:lnTo>
                      <a:pt x="289" y="455"/>
                    </a:lnTo>
                    <a:lnTo>
                      <a:pt x="286" y="455"/>
                    </a:lnTo>
                    <a:lnTo>
                      <a:pt x="290" y="455"/>
                    </a:lnTo>
                    <a:lnTo>
                      <a:pt x="294" y="453"/>
                    </a:lnTo>
                    <a:lnTo>
                      <a:pt x="289" y="453"/>
                    </a:lnTo>
                    <a:lnTo>
                      <a:pt x="286" y="453"/>
                    </a:lnTo>
                    <a:lnTo>
                      <a:pt x="282" y="453"/>
                    </a:lnTo>
                    <a:lnTo>
                      <a:pt x="278" y="455"/>
                    </a:lnTo>
                    <a:lnTo>
                      <a:pt x="282" y="455"/>
                    </a:lnTo>
                    <a:lnTo>
                      <a:pt x="286" y="455"/>
                    </a:lnTo>
                    <a:lnTo>
                      <a:pt x="282" y="455"/>
                    </a:lnTo>
                    <a:lnTo>
                      <a:pt x="279" y="457"/>
                    </a:lnTo>
                    <a:lnTo>
                      <a:pt x="275" y="457"/>
                    </a:lnTo>
                    <a:lnTo>
                      <a:pt x="271" y="458"/>
                    </a:lnTo>
                    <a:lnTo>
                      <a:pt x="275" y="458"/>
                    </a:lnTo>
                    <a:lnTo>
                      <a:pt x="262" y="461"/>
                    </a:lnTo>
                    <a:lnTo>
                      <a:pt x="249" y="465"/>
                    </a:lnTo>
                    <a:lnTo>
                      <a:pt x="252" y="465"/>
                    </a:lnTo>
                    <a:lnTo>
                      <a:pt x="256" y="465"/>
                    </a:lnTo>
                    <a:lnTo>
                      <a:pt x="260" y="465"/>
                    </a:lnTo>
                    <a:lnTo>
                      <a:pt x="263" y="463"/>
                    </a:lnTo>
                    <a:lnTo>
                      <a:pt x="267" y="465"/>
                    </a:lnTo>
                    <a:lnTo>
                      <a:pt x="263" y="465"/>
                    </a:lnTo>
                    <a:lnTo>
                      <a:pt x="260" y="468"/>
                    </a:lnTo>
                    <a:lnTo>
                      <a:pt x="263" y="466"/>
                    </a:lnTo>
                    <a:lnTo>
                      <a:pt x="267" y="466"/>
                    </a:lnTo>
                    <a:lnTo>
                      <a:pt x="270" y="469"/>
                    </a:lnTo>
                    <a:lnTo>
                      <a:pt x="275" y="468"/>
                    </a:lnTo>
                    <a:lnTo>
                      <a:pt x="278" y="468"/>
                    </a:lnTo>
                    <a:lnTo>
                      <a:pt x="281" y="468"/>
                    </a:lnTo>
                    <a:lnTo>
                      <a:pt x="286" y="468"/>
                    </a:lnTo>
                    <a:lnTo>
                      <a:pt x="292" y="466"/>
                    </a:lnTo>
                    <a:lnTo>
                      <a:pt x="298" y="466"/>
                    </a:lnTo>
                    <a:lnTo>
                      <a:pt x="303" y="463"/>
                    </a:lnTo>
                    <a:lnTo>
                      <a:pt x="298" y="463"/>
                    </a:lnTo>
                    <a:lnTo>
                      <a:pt x="295" y="460"/>
                    </a:lnTo>
                    <a:lnTo>
                      <a:pt x="306" y="460"/>
                    </a:lnTo>
                    <a:lnTo>
                      <a:pt x="317" y="458"/>
                    </a:lnTo>
                    <a:lnTo>
                      <a:pt x="313" y="460"/>
                    </a:lnTo>
                    <a:lnTo>
                      <a:pt x="309" y="460"/>
                    </a:lnTo>
                    <a:lnTo>
                      <a:pt x="306" y="461"/>
                    </a:lnTo>
                    <a:lnTo>
                      <a:pt x="305" y="465"/>
                    </a:lnTo>
                    <a:lnTo>
                      <a:pt x="300" y="466"/>
                    </a:lnTo>
                    <a:lnTo>
                      <a:pt x="303" y="468"/>
                    </a:lnTo>
                    <a:lnTo>
                      <a:pt x="308" y="469"/>
                    </a:lnTo>
                    <a:lnTo>
                      <a:pt x="303" y="469"/>
                    </a:lnTo>
                    <a:lnTo>
                      <a:pt x="300" y="468"/>
                    </a:lnTo>
                    <a:lnTo>
                      <a:pt x="297" y="469"/>
                    </a:lnTo>
                    <a:lnTo>
                      <a:pt x="300" y="469"/>
                    </a:lnTo>
                    <a:lnTo>
                      <a:pt x="303" y="472"/>
                    </a:lnTo>
                    <a:lnTo>
                      <a:pt x="308" y="474"/>
                    </a:lnTo>
                    <a:lnTo>
                      <a:pt x="311" y="474"/>
                    </a:lnTo>
                    <a:lnTo>
                      <a:pt x="314" y="476"/>
                    </a:lnTo>
                    <a:lnTo>
                      <a:pt x="317" y="477"/>
                    </a:lnTo>
                    <a:lnTo>
                      <a:pt x="321" y="477"/>
                    </a:lnTo>
                    <a:lnTo>
                      <a:pt x="325" y="477"/>
                    </a:lnTo>
                    <a:lnTo>
                      <a:pt x="321" y="479"/>
                    </a:lnTo>
                    <a:lnTo>
                      <a:pt x="317" y="477"/>
                    </a:lnTo>
                    <a:lnTo>
                      <a:pt x="314" y="479"/>
                    </a:lnTo>
                    <a:lnTo>
                      <a:pt x="309" y="477"/>
                    </a:lnTo>
                    <a:lnTo>
                      <a:pt x="302" y="474"/>
                    </a:lnTo>
                    <a:lnTo>
                      <a:pt x="292" y="474"/>
                    </a:lnTo>
                    <a:lnTo>
                      <a:pt x="289" y="472"/>
                    </a:lnTo>
                    <a:lnTo>
                      <a:pt x="286" y="474"/>
                    </a:lnTo>
                    <a:lnTo>
                      <a:pt x="281" y="474"/>
                    </a:lnTo>
                    <a:lnTo>
                      <a:pt x="278" y="472"/>
                    </a:lnTo>
                    <a:lnTo>
                      <a:pt x="275" y="472"/>
                    </a:lnTo>
                    <a:lnTo>
                      <a:pt x="271" y="471"/>
                    </a:lnTo>
                    <a:lnTo>
                      <a:pt x="267" y="469"/>
                    </a:lnTo>
                    <a:lnTo>
                      <a:pt x="263" y="469"/>
                    </a:lnTo>
                    <a:lnTo>
                      <a:pt x="260" y="469"/>
                    </a:lnTo>
                    <a:lnTo>
                      <a:pt x="263" y="471"/>
                    </a:lnTo>
                    <a:lnTo>
                      <a:pt x="268" y="472"/>
                    </a:lnTo>
                    <a:lnTo>
                      <a:pt x="256" y="469"/>
                    </a:lnTo>
                    <a:lnTo>
                      <a:pt x="243" y="469"/>
                    </a:lnTo>
                    <a:lnTo>
                      <a:pt x="251" y="469"/>
                    </a:lnTo>
                    <a:lnTo>
                      <a:pt x="252" y="472"/>
                    </a:lnTo>
                    <a:lnTo>
                      <a:pt x="256" y="476"/>
                    </a:lnTo>
                    <a:lnTo>
                      <a:pt x="259" y="476"/>
                    </a:lnTo>
                    <a:lnTo>
                      <a:pt x="262" y="477"/>
                    </a:lnTo>
                    <a:lnTo>
                      <a:pt x="265" y="477"/>
                    </a:lnTo>
                    <a:lnTo>
                      <a:pt x="270" y="477"/>
                    </a:lnTo>
                    <a:lnTo>
                      <a:pt x="273" y="477"/>
                    </a:lnTo>
                    <a:lnTo>
                      <a:pt x="268" y="477"/>
                    </a:lnTo>
                    <a:lnTo>
                      <a:pt x="262" y="477"/>
                    </a:lnTo>
                    <a:lnTo>
                      <a:pt x="259" y="477"/>
                    </a:lnTo>
                    <a:lnTo>
                      <a:pt x="256" y="476"/>
                    </a:lnTo>
                    <a:lnTo>
                      <a:pt x="251" y="474"/>
                    </a:lnTo>
                    <a:lnTo>
                      <a:pt x="248" y="474"/>
                    </a:lnTo>
                    <a:lnTo>
                      <a:pt x="244" y="474"/>
                    </a:lnTo>
                    <a:lnTo>
                      <a:pt x="248" y="476"/>
                    </a:lnTo>
                    <a:lnTo>
                      <a:pt x="251" y="476"/>
                    </a:lnTo>
                    <a:lnTo>
                      <a:pt x="248" y="476"/>
                    </a:lnTo>
                    <a:lnTo>
                      <a:pt x="244" y="477"/>
                    </a:lnTo>
                    <a:lnTo>
                      <a:pt x="241" y="479"/>
                    </a:lnTo>
                    <a:lnTo>
                      <a:pt x="244" y="479"/>
                    </a:lnTo>
                    <a:lnTo>
                      <a:pt x="241" y="480"/>
                    </a:lnTo>
                    <a:lnTo>
                      <a:pt x="238" y="479"/>
                    </a:lnTo>
                    <a:lnTo>
                      <a:pt x="240" y="482"/>
                    </a:lnTo>
                    <a:lnTo>
                      <a:pt x="235" y="482"/>
                    </a:lnTo>
                    <a:lnTo>
                      <a:pt x="232" y="482"/>
                    </a:lnTo>
                    <a:lnTo>
                      <a:pt x="229" y="482"/>
                    </a:lnTo>
                    <a:lnTo>
                      <a:pt x="230" y="484"/>
                    </a:lnTo>
                    <a:lnTo>
                      <a:pt x="225" y="484"/>
                    </a:lnTo>
                    <a:lnTo>
                      <a:pt x="227" y="487"/>
                    </a:lnTo>
                    <a:lnTo>
                      <a:pt x="230" y="484"/>
                    </a:lnTo>
                    <a:lnTo>
                      <a:pt x="230" y="485"/>
                    </a:lnTo>
                    <a:lnTo>
                      <a:pt x="227" y="487"/>
                    </a:lnTo>
                    <a:lnTo>
                      <a:pt x="224" y="488"/>
                    </a:lnTo>
                    <a:lnTo>
                      <a:pt x="224" y="493"/>
                    </a:lnTo>
                    <a:lnTo>
                      <a:pt x="240" y="487"/>
                    </a:lnTo>
                    <a:lnTo>
                      <a:pt x="256" y="482"/>
                    </a:lnTo>
                    <a:lnTo>
                      <a:pt x="271" y="479"/>
                    </a:lnTo>
                    <a:lnTo>
                      <a:pt x="287" y="476"/>
                    </a:lnTo>
                    <a:lnTo>
                      <a:pt x="276" y="479"/>
                    </a:lnTo>
                    <a:lnTo>
                      <a:pt x="267" y="480"/>
                    </a:lnTo>
                    <a:lnTo>
                      <a:pt x="270" y="484"/>
                    </a:lnTo>
                    <a:lnTo>
                      <a:pt x="273" y="484"/>
                    </a:lnTo>
                    <a:lnTo>
                      <a:pt x="276" y="484"/>
                    </a:lnTo>
                    <a:lnTo>
                      <a:pt x="281" y="482"/>
                    </a:lnTo>
                    <a:lnTo>
                      <a:pt x="276" y="484"/>
                    </a:lnTo>
                    <a:lnTo>
                      <a:pt x="281" y="485"/>
                    </a:lnTo>
                    <a:lnTo>
                      <a:pt x="284" y="484"/>
                    </a:lnTo>
                    <a:lnTo>
                      <a:pt x="287" y="484"/>
                    </a:lnTo>
                    <a:lnTo>
                      <a:pt x="290" y="482"/>
                    </a:lnTo>
                    <a:lnTo>
                      <a:pt x="289" y="479"/>
                    </a:lnTo>
                    <a:lnTo>
                      <a:pt x="292" y="479"/>
                    </a:lnTo>
                    <a:lnTo>
                      <a:pt x="295" y="477"/>
                    </a:lnTo>
                    <a:lnTo>
                      <a:pt x="298" y="476"/>
                    </a:lnTo>
                    <a:lnTo>
                      <a:pt x="303" y="477"/>
                    </a:lnTo>
                    <a:lnTo>
                      <a:pt x="298" y="479"/>
                    </a:lnTo>
                    <a:lnTo>
                      <a:pt x="295" y="479"/>
                    </a:lnTo>
                    <a:lnTo>
                      <a:pt x="292" y="479"/>
                    </a:lnTo>
                    <a:lnTo>
                      <a:pt x="294" y="484"/>
                    </a:lnTo>
                    <a:lnTo>
                      <a:pt x="297" y="484"/>
                    </a:lnTo>
                    <a:lnTo>
                      <a:pt x="300" y="482"/>
                    </a:lnTo>
                    <a:lnTo>
                      <a:pt x="305" y="482"/>
                    </a:lnTo>
                    <a:lnTo>
                      <a:pt x="308" y="482"/>
                    </a:lnTo>
                    <a:lnTo>
                      <a:pt x="305" y="480"/>
                    </a:lnTo>
                    <a:lnTo>
                      <a:pt x="308" y="479"/>
                    </a:lnTo>
                    <a:lnTo>
                      <a:pt x="311" y="479"/>
                    </a:lnTo>
                    <a:lnTo>
                      <a:pt x="314" y="479"/>
                    </a:lnTo>
                    <a:lnTo>
                      <a:pt x="319" y="480"/>
                    </a:lnTo>
                    <a:lnTo>
                      <a:pt x="305" y="484"/>
                    </a:lnTo>
                    <a:lnTo>
                      <a:pt x="290" y="485"/>
                    </a:lnTo>
                    <a:lnTo>
                      <a:pt x="298" y="488"/>
                    </a:lnTo>
                    <a:lnTo>
                      <a:pt x="305" y="488"/>
                    </a:lnTo>
                    <a:lnTo>
                      <a:pt x="311" y="487"/>
                    </a:lnTo>
                    <a:lnTo>
                      <a:pt x="317" y="485"/>
                    </a:lnTo>
                    <a:lnTo>
                      <a:pt x="309" y="487"/>
                    </a:lnTo>
                    <a:lnTo>
                      <a:pt x="300" y="490"/>
                    </a:lnTo>
                    <a:lnTo>
                      <a:pt x="308" y="493"/>
                    </a:lnTo>
                    <a:lnTo>
                      <a:pt x="317" y="493"/>
                    </a:lnTo>
                    <a:lnTo>
                      <a:pt x="313" y="493"/>
                    </a:lnTo>
                    <a:lnTo>
                      <a:pt x="309" y="493"/>
                    </a:lnTo>
                    <a:lnTo>
                      <a:pt x="306" y="493"/>
                    </a:lnTo>
                    <a:lnTo>
                      <a:pt x="303" y="493"/>
                    </a:lnTo>
                    <a:lnTo>
                      <a:pt x="298" y="492"/>
                    </a:lnTo>
                    <a:lnTo>
                      <a:pt x="295" y="490"/>
                    </a:lnTo>
                    <a:lnTo>
                      <a:pt x="292" y="488"/>
                    </a:lnTo>
                    <a:lnTo>
                      <a:pt x="287" y="487"/>
                    </a:lnTo>
                    <a:lnTo>
                      <a:pt x="284" y="487"/>
                    </a:lnTo>
                    <a:lnTo>
                      <a:pt x="281" y="488"/>
                    </a:lnTo>
                    <a:lnTo>
                      <a:pt x="278" y="488"/>
                    </a:lnTo>
                    <a:lnTo>
                      <a:pt x="273" y="488"/>
                    </a:lnTo>
                    <a:lnTo>
                      <a:pt x="270" y="485"/>
                    </a:lnTo>
                    <a:lnTo>
                      <a:pt x="262" y="484"/>
                    </a:lnTo>
                    <a:lnTo>
                      <a:pt x="252" y="484"/>
                    </a:lnTo>
                    <a:lnTo>
                      <a:pt x="257" y="484"/>
                    </a:lnTo>
                    <a:lnTo>
                      <a:pt x="252" y="485"/>
                    </a:lnTo>
                    <a:lnTo>
                      <a:pt x="249" y="485"/>
                    </a:lnTo>
                    <a:lnTo>
                      <a:pt x="246" y="485"/>
                    </a:lnTo>
                    <a:lnTo>
                      <a:pt x="243" y="487"/>
                    </a:lnTo>
                    <a:lnTo>
                      <a:pt x="246" y="487"/>
                    </a:lnTo>
                    <a:lnTo>
                      <a:pt x="236" y="490"/>
                    </a:lnTo>
                    <a:lnTo>
                      <a:pt x="229" y="493"/>
                    </a:lnTo>
                    <a:lnTo>
                      <a:pt x="224" y="493"/>
                    </a:lnTo>
                    <a:lnTo>
                      <a:pt x="221" y="495"/>
                    </a:lnTo>
                    <a:lnTo>
                      <a:pt x="217" y="496"/>
                    </a:lnTo>
                    <a:lnTo>
                      <a:pt x="214" y="499"/>
                    </a:lnTo>
                    <a:lnTo>
                      <a:pt x="214" y="503"/>
                    </a:lnTo>
                    <a:lnTo>
                      <a:pt x="217" y="503"/>
                    </a:lnTo>
                    <a:lnTo>
                      <a:pt x="221" y="501"/>
                    </a:lnTo>
                    <a:lnTo>
                      <a:pt x="225" y="501"/>
                    </a:lnTo>
                    <a:lnTo>
                      <a:pt x="229" y="501"/>
                    </a:lnTo>
                    <a:lnTo>
                      <a:pt x="232" y="499"/>
                    </a:lnTo>
                    <a:lnTo>
                      <a:pt x="235" y="501"/>
                    </a:lnTo>
                    <a:lnTo>
                      <a:pt x="240" y="499"/>
                    </a:lnTo>
                    <a:lnTo>
                      <a:pt x="243" y="499"/>
                    </a:lnTo>
                    <a:lnTo>
                      <a:pt x="246" y="499"/>
                    </a:lnTo>
                    <a:lnTo>
                      <a:pt x="251" y="498"/>
                    </a:lnTo>
                    <a:lnTo>
                      <a:pt x="259" y="496"/>
                    </a:lnTo>
                    <a:lnTo>
                      <a:pt x="268" y="498"/>
                    </a:lnTo>
                    <a:lnTo>
                      <a:pt x="279" y="498"/>
                    </a:lnTo>
                    <a:lnTo>
                      <a:pt x="289" y="496"/>
                    </a:lnTo>
                    <a:lnTo>
                      <a:pt x="286" y="496"/>
                    </a:lnTo>
                    <a:lnTo>
                      <a:pt x="282" y="498"/>
                    </a:lnTo>
                    <a:lnTo>
                      <a:pt x="278" y="498"/>
                    </a:lnTo>
                    <a:lnTo>
                      <a:pt x="279" y="501"/>
                    </a:lnTo>
                    <a:lnTo>
                      <a:pt x="282" y="504"/>
                    </a:lnTo>
                    <a:lnTo>
                      <a:pt x="286" y="506"/>
                    </a:lnTo>
                    <a:lnTo>
                      <a:pt x="289" y="504"/>
                    </a:lnTo>
                    <a:lnTo>
                      <a:pt x="294" y="504"/>
                    </a:lnTo>
                    <a:lnTo>
                      <a:pt x="297" y="503"/>
                    </a:lnTo>
                    <a:lnTo>
                      <a:pt x="300" y="503"/>
                    </a:lnTo>
                    <a:lnTo>
                      <a:pt x="303" y="504"/>
                    </a:lnTo>
                    <a:lnTo>
                      <a:pt x="292" y="504"/>
                    </a:lnTo>
                    <a:lnTo>
                      <a:pt x="282" y="506"/>
                    </a:lnTo>
                    <a:lnTo>
                      <a:pt x="279" y="503"/>
                    </a:lnTo>
                    <a:lnTo>
                      <a:pt x="276" y="499"/>
                    </a:lnTo>
                    <a:lnTo>
                      <a:pt x="273" y="498"/>
                    </a:lnTo>
                    <a:lnTo>
                      <a:pt x="270" y="499"/>
                    </a:lnTo>
                    <a:lnTo>
                      <a:pt x="267" y="499"/>
                    </a:lnTo>
                    <a:lnTo>
                      <a:pt x="262" y="498"/>
                    </a:lnTo>
                    <a:lnTo>
                      <a:pt x="259" y="498"/>
                    </a:lnTo>
                    <a:lnTo>
                      <a:pt x="256" y="498"/>
                    </a:lnTo>
                    <a:lnTo>
                      <a:pt x="252" y="499"/>
                    </a:lnTo>
                    <a:lnTo>
                      <a:pt x="249" y="499"/>
                    </a:lnTo>
                    <a:lnTo>
                      <a:pt x="244" y="499"/>
                    </a:lnTo>
                    <a:lnTo>
                      <a:pt x="241" y="501"/>
                    </a:lnTo>
                    <a:lnTo>
                      <a:pt x="230" y="501"/>
                    </a:lnTo>
                    <a:lnTo>
                      <a:pt x="221" y="503"/>
                    </a:lnTo>
                    <a:lnTo>
                      <a:pt x="224" y="503"/>
                    </a:lnTo>
                    <a:lnTo>
                      <a:pt x="221" y="504"/>
                    </a:lnTo>
                    <a:lnTo>
                      <a:pt x="216" y="504"/>
                    </a:lnTo>
                    <a:lnTo>
                      <a:pt x="213" y="504"/>
                    </a:lnTo>
                    <a:lnTo>
                      <a:pt x="210" y="506"/>
                    </a:lnTo>
                    <a:lnTo>
                      <a:pt x="213" y="507"/>
                    </a:lnTo>
                    <a:lnTo>
                      <a:pt x="216" y="507"/>
                    </a:lnTo>
                    <a:lnTo>
                      <a:pt x="221" y="507"/>
                    </a:lnTo>
                    <a:lnTo>
                      <a:pt x="224" y="506"/>
                    </a:lnTo>
                    <a:lnTo>
                      <a:pt x="221" y="507"/>
                    </a:lnTo>
                    <a:lnTo>
                      <a:pt x="216" y="507"/>
                    </a:lnTo>
                    <a:lnTo>
                      <a:pt x="213" y="507"/>
                    </a:lnTo>
                    <a:lnTo>
                      <a:pt x="216" y="511"/>
                    </a:lnTo>
                    <a:lnTo>
                      <a:pt x="221" y="511"/>
                    </a:lnTo>
                    <a:lnTo>
                      <a:pt x="224" y="511"/>
                    </a:lnTo>
                    <a:lnTo>
                      <a:pt x="221" y="511"/>
                    </a:lnTo>
                    <a:lnTo>
                      <a:pt x="216" y="511"/>
                    </a:lnTo>
                    <a:lnTo>
                      <a:pt x="210" y="511"/>
                    </a:lnTo>
                    <a:lnTo>
                      <a:pt x="221" y="514"/>
                    </a:lnTo>
                    <a:lnTo>
                      <a:pt x="233" y="514"/>
                    </a:lnTo>
                    <a:lnTo>
                      <a:pt x="230" y="514"/>
                    </a:lnTo>
                    <a:lnTo>
                      <a:pt x="227" y="514"/>
                    </a:lnTo>
                    <a:lnTo>
                      <a:pt x="224" y="514"/>
                    </a:lnTo>
                    <a:lnTo>
                      <a:pt x="219" y="515"/>
                    </a:lnTo>
                    <a:lnTo>
                      <a:pt x="216" y="517"/>
                    </a:lnTo>
                    <a:lnTo>
                      <a:pt x="224" y="515"/>
                    </a:lnTo>
                    <a:lnTo>
                      <a:pt x="233" y="514"/>
                    </a:lnTo>
                    <a:lnTo>
                      <a:pt x="233" y="514"/>
                    </a:lnTo>
                    <a:lnTo>
                      <a:pt x="235" y="514"/>
                    </a:lnTo>
                    <a:lnTo>
                      <a:pt x="238" y="514"/>
                    </a:lnTo>
                    <a:lnTo>
                      <a:pt x="241" y="514"/>
                    </a:lnTo>
                    <a:lnTo>
                      <a:pt x="246" y="511"/>
                    </a:lnTo>
                    <a:lnTo>
                      <a:pt x="249" y="514"/>
                    </a:lnTo>
                    <a:lnTo>
                      <a:pt x="246" y="514"/>
                    </a:lnTo>
                    <a:lnTo>
                      <a:pt x="249" y="515"/>
                    </a:lnTo>
                    <a:lnTo>
                      <a:pt x="246" y="517"/>
                    </a:lnTo>
                    <a:lnTo>
                      <a:pt x="243" y="515"/>
                    </a:lnTo>
                    <a:lnTo>
                      <a:pt x="238" y="515"/>
                    </a:lnTo>
                    <a:lnTo>
                      <a:pt x="235" y="515"/>
                    </a:lnTo>
                    <a:lnTo>
                      <a:pt x="232" y="517"/>
                    </a:lnTo>
                    <a:lnTo>
                      <a:pt x="229" y="515"/>
                    </a:lnTo>
                    <a:lnTo>
                      <a:pt x="232" y="517"/>
                    </a:lnTo>
                    <a:lnTo>
                      <a:pt x="235" y="517"/>
                    </a:lnTo>
                    <a:lnTo>
                      <a:pt x="232" y="518"/>
                    </a:lnTo>
                    <a:lnTo>
                      <a:pt x="229" y="518"/>
                    </a:lnTo>
                    <a:lnTo>
                      <a:pt x="224" y="520"/>
                    </a:lnTo>
                    <a:lnTo>
                      <a:pt x="229" y="520"/>
                    </a:lnTo>
                    <a:lnTo>
                      <a:pt x="232" y="520"/>
                    </a:lnTo>
                    <a:lnTo>
                      <a:pt x="235" y="520"/>
                    </a:lnTo>
                    <a:lnTo>
                      <a:pt x="224" y="522"/>
                    </a:lnTo>
                    <a:lnTo>
                      <a:pt x="214" y="523"/>
                    </a:lnTo>
                    <a:lnTo>
                      <a:pt x="217" y="526"/>
                    </a:lnTo>
                    <a:lnTo>
                      <a:pt x="221" y="526"/>
                    </a:lnTo>
                    <a:lnTo>
                      <a:pt x="224" y="525"/>
                    </a:lnTo>
                    <a:lnTo>
                      <a:pt x="229" y="525"/>
                    </a:lnTo>
                    <a:lnTo>
                      <a:pt x="232" y="526"/>
                    </a:lnTo>
                    <a:lnTo>
                      <a:pt x="235" y="526"/>
                    </a:lnTo>
                    <a:lnTo>
                      <a:pt x="238" y="526"/>
                    </a:lnTo>
                    <a:lnTo>
                      <a:pt x="235" y="528"/>
                    </a:lnTo>
                    <a:lnTo>
                      <a:pt x="232" y="528"/>
                    </a:lnTo>
                    <a:lnTo>
                      <a:pt x="229" y="526"/>
                    </a:lnTo>
                    <a:lnTo>
                      <a:pt x="225" y="526"/>
                    </a:lnTo>
                    <a:lnTo>
                      <a:pt x="221" y="528"/>
                    </a:lnTo>
                    <a:lnTo>
                      <a:pt x="217" y="528"/>
                    </a:lnTo>
                    <a:lnTo>
                      <a:pt x="214" y="528"/>
                    </a:lnTo>
                    <a:lnTo>
                      <a:pt x="217" y="528"/>
                    </a:lnTo>
                    <a:lnTo>
                      <a:pt x="214" y="526"/>
                    </a:lnTo>
                    <a:lnTo>
                      <a:pt x="210" y="528"/>
                    </a:lnTo>
                    <a:lnTo>
                      <a:pt x="206" y="528"/>
                    </a:lnTo>
                    <a:lnTo>
                      <a:pt x="205" y="531"/>
                    </a:lnTo>
                    <a:lnTo>
                      <a:pt x="200" y="534"/>
                    </a:lnTo>
                    <a:lnTo>
                      <a:pt x="202" y="538"/>
                    </a:lnTo>
                    <a:lnTo>
                      <a:pt x="205" y="538"/>
                    </a:lnTo>
                    <a:lnTo>
                      <a:pt x="208" y="536"/>
                    </a:lnTo>
                    <a:lnTo>
                      <a:pt x="213" y="536"/>
                    </a:lnTo>
                    <a:lnTo>
                      <a:pt x="216" y="536"/>
                    </a:lnTo>
                    <a:lnTo>
                      <a:pt x="206" y="538"/>
                    </a:lnTo>
                    <a:lnTo>
                      <a:pt x="198" y="541"/>
                    </a:lnTo>
                    <a:lnTo>
                      <a:pt x="202" y="542"/>
                    </a:lnTo>
                    <a:lnTo>
                      <a:pt x="206" y="542"/>
                    </a:lnTo>
                    <a:lnTo>
                      <a:pt x="210" y="541"/>
                    </a:lnTo>
                    <a:lnTo>
                      <a:pt x="213" y="539"/>
                    </a:lnTo>
                    <a:lnTo>
                      <a:pt x="217" y="539"/>
                    </a:lnTo>
                    <a:lnTo>
                      <a:pt x="221" y="538"/>
                    </a:lnTo>
                    <a:lnTo>
                      <a:pt x="224" y="536"/>
                    </a:lnTo>
                    <a:lnTo>
                      <a:pt x="238" y="530"/>
                    </a:lnTo>
                    <a:lnTo>
                      <a:pt x="252" y="523"/>
                    </a:lnTo>
                    <a:lnTo>
                      <a:pt x="265" y="518"/>
                    </a:lnTo>
                    <a:lnTo>
                      <a:pt x="278" y="514"/>
                    </a:lnTo>
                    <a:lnTo>
                      <a:pt x="292" y="511"/>
                    </a:lnTo>
                    <a:lnTo>
                      <a:pt x="306" y="507"/>
                    </a:lnTo>
                    <a:lnTo>
                      <a:pt x="303" y="509"/>
                    </a:lnTo>
                    <a:lnTo>
                      <a:pt x="298" y="509"/>
                    </a:lnTo>
                    <a:lnTo>
                      <a:pt x="303" y="511"/>
                    </a:lnTo>
                    <a:lnTo>
                      <a:pt x="306" y="511"/>
                    </a:lnTo>
                    <a:lnTo>
                      <a:pt x="309" y="511"/>
                    </a:lnTo>
                    <a:lnTo>
                      <a:pt x="306" y="512"/>
                    </a:lnTo>
                    <a:lnTo>
                      <a:pt x="303" y="511"/>
                    </a:lnTo>
                    <a:lnTo>
                      <a:pt x="298" y="511"/>
                    </a:lnTo>
                    <a:lnTo>
                      <a:pt x="295" y="511"/>
                    </a:lnTo>
                    <a:lnTo>
                      <a:pt x="292" y="511"/>
                    </a:lnTo>
                    <a:lnTo>
                      <a:pt x="289" y="512"/>
                    </a:lnTo>
                    <a:lnTo>
                      <a:pt x="284" y="514"/>
                    </a:lnTo>
                    <a:lnTo>
                      <a:pt x="289" y="515"/>
                    </a:lnTo>
                    <a:lnTo>
                      <a:pt x="292" y="515"/>
                    </a:lnTo>
                    <a:lnTo>
                      <a:pt x="295" y="515"/>
                    </a:lnTo>
                    <a:lnTo>
                      <a:pt x="300" y="515"/>
                    </a:lnTo>
                    <a:lnTo>
                      <a:pt x="295" y="517"/>
                    </a:lnTo>
                    <a:lnTo>
                      <a:pt x="292" y="515"/>
                    </a:lnTo>
                    <a:lnTo>
                      <a:pt x="289" y="517"/>
                    </a:lnTo>
                    <a:lnTo>
                      <a:pt x="284" y="517"/>
                    </a:lnTo>
                    <a:lnTo>
                      <a:pt x="281" y="515"/>
                    </a:lnTo>
                    <a:lnTo>
                      <a:pt x="278" y="515"/>
                    </a:lnTo>
                    <a:lnTo>
                      <a:pt x="275" y="517"/>
                    </a:lnTo>
                    <a:lnTo>
                      <a:pt x="267" y="520"/>
                    </a:lnTo>
                    <a:lnTo>
                      <a:pt x="263" y="522"/>
                    </a:lnTo>
                    <a:lnTo>
                      <a:pt x="260" y="522"/>
                    </a:lnTo>
                    <a:lnTo>
                      <a:pt x="257" y="523"/>
                    </a:lnTo>
                    <a:lnTo>
                      <a:pt x="252" y="525"/>
                    </a:lnTo>
                    <a:lnTo>
                      <a:pt x="241" y="530"/>
                    </a:lnTo>
                    <a:lnTo>
                      <a:pt x="229" y="534"/>
                    </a:lnTo>
                    <a:lnTo>
                      <a:pt x="224" y="538"/>
                    </a:lnTo>
                    <a:lnTo>
                      <a:pt x="221" y="539"/>
                    </a:lnTo>
                    <a:lnTo>
                      <a:pt x="217" y="539"/>
                    </a:lnTo>
                    <a:lnTo>
                      <a:pt x="210" y="542"/>
                    </a:lnTo>
                    <a:lnTo>
                      <a:pt x="206" y="542"/>
                    </a:lnTo>
                    <a:lnTo>
                      <a:pt x="202" y="544"/>
                    </a:lnTo>
                    <a:lnTo>
                      <a:pt x="206" y="544"/>
                    </a:lnTo>
                    <a:lnTo>
                      <a:pt x="210" y="545"/>
                    </a:lnTo>
                    <a:lnTo>
                      <a:pt x="206" y="545"/>
                    </a:lnTo>
                    <a:lnTo>
                      <a:pt x="202" y="545"/>
                    </a:lnTo>
                    <a:lnTo>
                      <a:pt x="206" y="549"/>
                    </a:lnTo>
                    <a:lnTo>
                      <a:pt x="216" y="545"/>
                    </a:lnTo>
                    <a:lnTo>
                      <a:pt x="213" y="547"/>
                    </a:lnTo>
                    <a:lnTo>
                      <a:pt x="208" y="547"/>
                    </a:lnTo>
                    <a:lnTo>
                      <a:pt x="205" y="549"/>
                    </a:lnTo>
                    <a:lnTo>
                      <a:pt x="208" y="550"/>
                    </a:lnTo>
                    <a:lnTo>
                      <a:pt x="213" y="549"/>
                    </a:lnTo>
                    <a:lnTo>
                      <a:pt x="216" y="549"/>
                    </a:lnTo>
                    <a:lnTo>
                      <a:pt x="219" y="547"/>
                    </a:lnTo>
                    <a:lnTo>
                      <a:pt x="222" y="547"/>
                    </a:lnTo>
                    <a:lnTo>
                      <a:pt x="227" y="545"/>
                    </a:lnTo>
                    <a:lnTo>
                      <a:pt x="230" y="549"/>
                    </a:lnTo>
                    <a:lnTo>
                      <a:pt x="233" y="547"/>
                    </a:lnTo>
                    <a:lnTo>
                      <a:pt x="236" y="545"/>
                    </a:lnTo>
                    <a:lnTo>
                      <a:pt x="240" y="545"/>
                    </a:lnTo>
                    <a:lnTo>
                      <a:pt x="244" y="544"/>
                    </a:lnTo>
                    <a:lnTo>
                      <a:pt x="248" y="544"/>
                    </a:lnTo>
                    <a:lnTo>
                      <a:pt x="246" y="547"/>
                    </a:lnTo>
                    <a:lnTo>
                      <a:pt x="243" y="545"/>
                    </a:lnTo>
                    <a:lnTo>
                      <a:pt x="240" y="545"/>
                    </a:lnTo>
                    <a:lnTo>
                      <a:pt x="236" y="547"/>
                    </a:lnTo>
                    <a:lnTo>
                      <a:pt x="233" y="549"/>
                    </a:lnTo>
                    <a:lnTo>
                      <a:pt x="230" y="552"/>
                    </a:lnTo>
                    <a:lnTo>
                      <a:pt x="224" y="549"/>
                    </a:lnTo>
                    <a:lnTo>
                      <a:pt x="217" y="549"/>
                    </a:lnTo>
                    <a:lnTo>
                      <a:pt x="211" y="552"/>
                    </a:lnTo>
                    <a:lnTo>
                      <a:pt x="205" y="553"/>
                    </a:lnTo>
                    <a:lnTo>
                      <a:pt x="208" y="553"/>
                    </a:lnTo>
                    <a:lnTo>
                      <a:pt x="211" y="553"/>
                    </a:lnTo>
                    <a:lnTo>
                      <a:pt x="208" y="555"/>
                    </a:lnTo>
                    <a:lnTo>
                      <a:pt x="205" y="555"/>
                    </a:lnTo>
                    <a:lnTo>
                      <a:pt x="208" y="558"/>
                    </a:lnTo>
                    <a:lnTo>
                      <a:pt x="211" y="557"/>
                    </a:lnTo>
                    <a:lnTo>
                      <a:pt x="214" y="557"/>
                    </a:lnTo>
                    <a:lnTo>
                      <a:pt x="219" y="553"/>
                    </a:lnTo>
                    <a:lnTo>
                      <a:pt x="217" y="557"/>
                    </a:lnTo>
                    <a:lnTo>
                      <a:pt x="214" y="558"/>
                    </a:lnTo>
                    <a:lnTo>
                      <a:pt x="217" y="558"/>
                    </a:lnTo>
                    <a:lnTo>
                      <a:pt x="214" y="560"/>
                    </a:lnTo>
                    <a:lnTo>
                      <a:pt x="211" y="561"/>
                    </a:lnTo>
                    <a:lnTo>
                      <a:pt x="214" y="563"/>
                    </a:lnTo>
                    <a:lnTo>
                      <a:pt x="217" y="560"/>
                    </a:lnTo>
                    <a:lnTo>
                      <a:pt x="222" y="558"/>
                    </a:lnTo>
                    <a:lnTo>
                      <a:pt x="219" y="561"/>
                    </a:lnTo>
                    <a:lnTo>
                      <a:pt x="214" y="564"/>
                    </a:lnTo>
                    <a:lnTo>
                      <a:pt x="219" y="563"/>
                    </a:lnTo>
                    <a:lnTo>
                      <a:pt x="216" y="566"/>
                    </a:lnTo>
                    <a:lnTo>
                      <a:pt x="219" y="566"/>
                    </a:lnTo>
                    <a:lnTo>
                      <a:pt x="224" y="566"/>
                    </a:lnTo>
                    <a:lnTo>
                      <a:pt x="227" y="563"/>
                    </a:lnTo>
                    <a:lnTo>
                      <a:pt x="230" y="563"/>
                    </a:lnTo>
                    <a:lnTo>
                      <a:pt x="233" y="563"/>
                    </a:lnTo>
                    <a:lnTo>
                      <a:pt x="235" y="558"/>
                    </a:lnTo>
                    <a:lnTo>
                      <a:pt x="238" y="558"/>
                    </a:lnTo>
                    <a:lnTo>
                      <a:pt x="243" y="557"/>
                    </a:lnTo>
                    <a:lnTo>
                      <a:pt x="246" y="555"/>
                    </a:lnTo>
                    <a:lnTo>
                      <a:pt x="249" y="555"/>
                    </a:lnTo>
                    <a:lnTo>
                      <a:pt x="254" y="553"/>
                    </a:lnTo>
                    <a:lnTo>
                      <a:pt x="257" y="553"/>
                    </a:lnTo>
                    <a:lnTo>
                      <a:pt x="260" y="553"/>
                    </a:lnTo>
                    <a:lnTo>
                      <a:pt x="263" y="553"/>
                    </a:lnTo>
                    <a:lnTo>
                      <a:pt x="267" y="555"/>
                    </a:lnTo>
                    <a:lnTo>
                      <a:pt x="271" y="555"/>
                    </a:lnTo>
                    <a:lnTo>
                      <a:pt x="271" y="555"/>
                    </a:lnTo>
                    <a:lnTo>
                      <a:pt x="270" y="557"/>
                    </a:lnTo>
                    <a:lnTo>
                      <a:pt x="273" y="557"/>
                    </a:lnTo>
                    <a:lnTo>
                      <a:pt x="270" y="557"/>
                    </a:lnTo>
                    <a:lnTo>
                      <a:pt x="267" y="555"/>
                    </a:lnTo>
                    <a:lnTo>
                      <a:pt x="263" y="555"/>
                    </a:lnTo>
                    <a:lnTo>
                      <a:pt x="259" y="555"/>
                    </a:lnTo>
                    <a:lnTo>
                      <a:pt x="251" y="555"/>
                    </a:lnTo>
                    <a:lnTo>
                      <a:pt x="241" y="558"/>
                    </a:lnTo>
                    <a:lnTo>
                      <a:pt x="238" y="561"/>
                    </a:lnTo>
                    <a:lnTo>
                      <a:pt x="235" y="563"/>
                    </a:lnTo>
                    <a:lnTo>
                      <a:pt x="230" y="564"/>
                    </a:lnTo>
                    <a:lnTo>
                      <a:pt x="227" y="564"/>
                    </a:lnTo>
                    <a:lnTo>
                      <a:pt x="224" y="566"/>
                    </a:lnTo>
                    <a:lnTo>
                      <a:pt x="221" y="568"/>
                    </a:lnTo>
                    <a:lnTo>
                      <a:pt x="216" y="569"/>
                    </a:lnTo>
                    <a:lnTo>
                      <a:pt x="214" y="572"/>
                    </a:lnTo>
                    <a:lnTo>
                      <a:pt x="211" y="576"/>
                    </a:lnTo>
                    <a:lnTo>
                      <a:pt x="214" y="574"/>
                    </a:lnTo>
                    <a:lnTo>
                      <a:pt x="219" y="569"/>
                    </a:lnTo>
                    <a:lnTo>
                      <a:pt x="222" y="571"/>
                    </a:lnTo>
                    <a:lnTo>
                      <a:pt x="219" y="574"/>
                    </a:lnTo>
                    <a:lnTo>
                      <a:pt x="224" y="572"/>
                    </a:lnTo>
                    <a:lnTo>
                      <a:pt x="227" y="571"/>
                    </a:lnTo>
                    <a:lnTo>
                      <a:pt x="224" y="574"/>
                    </a:lnTo>
                    <a:lnTo>
                      <a:pt x="219" y="576"/>
                    </a:lnTo>
                    <a:lnTo>
                      <a:pt x="219" y="580"/>
                    </a:lnTo>
                    <a:lnTo>
                      <a:pt x="221" y="583"/>
                    </a:lnTo>
                    <a:lnTo>
                      <a:pt x="216" y="585"/>
                    </a:lnTo>
                    <a:lnTo>
                      <a:pt x="216" y="588"/>
                    </a:lnTo>
                    <a:lnTo>
                      <a:pt x="221" y="588"/>
                    </a:lnTo>
                    <a:lnTo>
                      <a:pt x="216" y="590"/>
                    </a:lnTo>
                    <a:lnTo>
                      <a:pt x="221" y="588"/>
                    </a:lnTo>
                    <a:lnTo>
                      <a:pt x="224" y="587"/>
                    </a:lnTo>
                    <a:lnTo>
                      <a:pt x="227" y="583"/>
                    </a:lnTo>
                    <a:lnTo>
                      <a:pt x="230" y="580"/>
                    </a:lnTo>
                    <a:lnTo>
                      <a:pt x="233" y="582"/>
                    </a:lnTo>
                    <a:lnTo>
                      <a:pt x="230" y="585"/>
                    </a:lnTo>
                    <a:lnTo>
                      <a:pt x="235" y="583"/>
                    </a:lnTo>
                    <a:lnTo>
                      <a:pt x="238" y="583"/>
                    </a:lnTo>
                    <a:lnTo>
                      <a:pt x="241" y="582"/>
                    </a:lnTo>
                    <a:lnTo>
                      <a:pt x="238" y="583"/>
                    </a:lnTo>
                    <a:lnTo>
                      <a:pt x="235" y="585"/>
                    </a:lnTo>
                    <a:lnTo>
                      <a:pt x="230" y="585"/>
                    </a:lnTo>
                    <a:lnTo>
                      <a:pt x="227" y="587"/>
                    </a:lnTo>
                    <a:lnTo>
                      <a:pt x="224" y="588"/>
                    </a:lnTo>
                    <a:lnTo>
                      <a:pt x="221" y="590"/>
                    </a:lnTo>
                    <a:lnTo>
                      <a:pt x="216" y="591"/>
                    </a:lnTo>
                    <a:lnTo>
                      <a:pt x="213" y="593"/>
                    </a:lnTo>
                    <a:lnTo>
                      <a:pt x="214" y="596"/>
                    </a:lnTo>
                    <a:lnTo>
                      <a:pt x="213" y="599"/>
                    </a:lnTo>
                    <a:lnTo>
                      <a:pt x="211" y="603"/>
                    </a:lnTo>
                    <a:lnTo>
                      <a:pt x="210" y="607"/>
                    </a:lnTo>
                    <a:lnTo>
                      <a:pt x="210" y="610"/>
                    </a:lnTo>
                    <a:lnTo>
                      <a:pt x="213" y="610"/>
                    </a:lnTo>
                    <a:lnTo>
                      <a:pt x="217" y="607"/>
                    </a:lnTo>
                    <a:lnTo>
                      <a:pt x="219" y="604"/>
                    </a:lnTo>
                    <a:lnTo>
                      <a:pt x="224" y="603"/>
                    </a:lnTo>
                    <a:lnTo>
                      <a:pt x="227" y="601"/>
                    </a:lnTo>
                    <a:lnTo>
                      <a:pt x="230" y="598"/>
                    </a:lnTo>
                    <a:lnTo>
                      <a:pt x="233" y="595"/>
                    </a:lnTo>
                    <a:lnTo>
                      <a:pt x="236" y="591"/>
                    </a:lnTo>
                    <a:lnTo>
                      <a:pt x="241" y="590"/>
                    </a:lnTo>
                    <a:lnTo>
                      <a:pt x="244" y="590"/>
                    </a:lnTo>
                    <a:lnTo>
                      <a:pt x="241" y="591"/>
                    </a:lnTo>
                    <a:lnTo>
                      <a:pt x="238" y="595"/>
                    </a:lnTo>
                    <a:lnTo>
                      <a:pt x="241" y="595"/>
                    </a:lnTo>
                    <a:lnTo>
                      <a:pt x="244" y="593"/>
                    </a:lnTo>
                    <a:lnTo>
                      <a:pt x="249" y="593"/>
                    </a:lnTo>
                    <a:lnTo>
                      <a:pt x="252" y="590"/>
                    </a:lnTo>
                    <a:lnTo>
                      <a:pt x="256" y="588"/>
                    </a:lnTo>
                    <a:lnTo>
                      <a:pt x="257" y="585"/>
                    </a:lnTo>
                    <a:lnTo>
                      <a:pt x="257" y="582"/>
                    </a:lnTo>
                    <a:lnTo>
                      <a:pt x="254" y="580"/>
                    </a:lnTo>
                    <a:lnTo>
                      <a:pt x="254" y="577"/>
                    </a:lnTo>
                    <a:lnTo>
                      <a:pt x="254" y="574"/>
                    </a:lnTo>
                    <a:lnTo>
                      <a:pt x="259" y="576"/>
                    </a:lnTo>
                    <a:lnTo>
                      <a:pt x="262" y="574"/>
                    </a:lnTo>
                    <a:lnTo>
                      <a:pt x="259" y="576"/>
                    </a:lnTo>
                    <a:lnTo>
                      <a:pt x="257" y="580"/>
                    </a:lnTo>
                    <a:lnTo>
                      <a:pt x="257" y="583"/>
                    </a:lnTo>
                    <a:lnTo>
                      <a:pt x="259" y="587"/>
                    </a:lnTo>
                    <a:lnTo>
                      <a:pt x="260" y="590"/>
                    </a:lnTo>
                    <a:lnTo>
                      <a:pt x="265" y="591"/>
                    </a:lnTo>
                    <a:lnTo>
                      <a:pt x="268" y="588"/>
                    </a:lnTo>
                    <a:lnTo>
                      <a:pt x="271" y="588"/>
                    </a:lnTo>
                    <a:lnTo>
                      <a:pt x="275" y="587"/>
                    </a:lnTo>
                    <a:lnTo>
                      <a:pt x="275" y="587"/>
                    </a:lnTo>
                    <a:lnTo>
                      <a:pt x="273" y="587"/>
                    </a:lnTo>
                    <a:lnTo>
                      <a:pt x="270" y="590"/>
                    </a:lnTo>
                    <a:lnTo>
                      <a:pt x="268" y="593"/>
                    </a:lnTo>
                    <a:lnTo>
                      <a:pt x="273" y="593"/>
                    </a:lnTo>
                    <a:lnTo>
                      <a:pt x="271" y="593"/>
                    </a:lnTo>
                    <a:lnTo>
                      <a:pt x="271" y="593"/>
                    </a:lnTo>
                    <a:lnTo>
                      <a:pt x="268" y="596"/>
                    </a:lnTo>
                    <a:lnTo>
                      <a:pt x="268" y="599"/>
                    </a:lnTo>
                    <a:lnTo>
                      <a:pt x="273" y="601"/>
                    </a:lnTo>
                    <a:lnTo>
                      <a:pt x="276" y="603"/>
                    </a:lnTo>
                    <a:lnTo>
                      <a:pt x="276" y="606"/>
                    </a:lnTo>
                    <a:lnTo>
                      <a:pt x="270" y="603"/>
                    </a:lnTo>
                    <a:lnTo>
                      <a:pt x="268" y="603"/>
                    </a:lnTo>
                    <a:lnTo>
                      <a:pt x="263" y="599"/>
                    </a:lnTo>
                    <a:lnTo>
                      <a:pt x="263" y="596"/>
                    </a:lnTo>
                    <a:lnTo>
                      <a:pt x="262" y="593"/>
                    </a:lnTo>
                    <a:lnTo>
                      <a:pt x="259" y="591"/>
                    </a:lnTo>
                    <a:lnTo>
                      <a:pt x="256" y="593"/>
                    </a:lnTo>
                    <a:lnTo>
                      <a:pt x="259" y="593"/>
                    </a:lnTo>
                    <a:lnTo>
                      <a:pt x="256" y="595"/>
                    </a:lnTo>
                    <a:lnTo>
                      <a:pt x="251" y="595"/>
                    </a:lnTo>
                    <a:lnTo>
                      <a:pt x="248" y="595"/>
                    </a:lnTo>
                    <a:lnTo>
                      <a:pt x="252" y="596"/>
                    </a:lnTo>
                    <a:lnTo>
                      <a:pt x="256" y="598"/>
                    </a:lnTo>
                    <a:lnTo>
                      <a:pt x="252" y="599"/>
                    </a:lnTo>
                    <a:lnTo>
                      <a:pt x="256" y="603"/>
                    </a:lnTo>
                    <a:lnTo>
                      <a:pt x="259" y="603"/>
                    </a:lnTo>
                    <a:lnTo>
                      <a:pt x="262" y="601"/>
                    </a:lnTo>
                    <a:lnTo>
                      <a:pt x="259" y="604"/>
                    </a:lnTo>
                    <a:lnTo>
                      <a:pt x="256" y="604"/>
                    </a:lnTo>
                    <a:lnTo>
                      <a:pt x="252" y="603"/>
                    </a:lnTo>
                    <a:lnTo>
                      <a:pt x="248" y="603"/>
                    </a:lnTo>
                    <a:lnTo>
                      <a:pt x="244" y="603"/>
                    </a:lnTo>
                    <a:lnTo>
                      <a:pt x="241" y="604"/>
                    </a:lnTo>
                    <a:lnTo>
                      <a:pt x="238" y="607"/>
                    </a:lnTo>
                    <a:lnTo>
                      <a:pt x="241" y="609"/>
                    </a:lnTo>
                    <a:lnTo>
                      <a:pt x="238" y="610"/>
                    </a:lnTo>
                    <a:lnTo>
                      <a:pt x="233" y="609"/>
                    </a:lnTo>
                    <a:lnTo>
                      <a:pt x="230" y="610"/>
                    </a:lnTo>
                    <a:lnTo>
                      <a:pt x="227" y="612"/>
                    </a:lnTo>
                    <a:lnTo>
                      <a:pt x="224" y="610"/>
                    </a:lnTo>
                    <a:lnTo>
                      <a:pt x="219" y="610"/>
                    </a:lnTo>
                    <a:lnTo>
                      <a:pt x="216" y="610"/>
                    </a:lnTo>
                    <a:lnTo>
                      <a:pt x="221" y="610"/>
                    </a:lnTo>
                    <a:lnTo>
                      <a:pt x="224" y="612"/>
                    </a:lnTo>
                    <a:lnTo>
                      <a:pt x="221" y="612"/>
                    </a:lnTo>
                    <a:lnTo>
                      <a:pt x="216" y="614"/>
                    </a:lnTo>
                    <a:lnTo>
                      <a:pt x="221" y="615"/>
                    </a:lnTo>
                    <a:lnTo>
                      <a:pt x="224" y="614"/>
                    </a:lnTo>
                    <a:lnTo>
                      <a:pt x="227" y="614"/>
                    </a:lnTo>
                    <a:lnTo>
                      <a:pt x="230" y="614"/>
                    </a:lnTo>
                    <a:lnTo>
                      <a:pt x="235" y="614"/>
                    </a:lnTo>
                    <a:lnTo>
                      <a:pt x="246" y="610"/>
                    </a:lnTo>
                    <a:lnTo>
                      <a:pt x="256" y="606"/>
                    </a:lnTo>
                    <a:lnTo>
                      <a:pt x="252" y="607"/>
                    </a:lnTo>
                    <a:lnTo>
                      <a:pt x="249" y="610"/>
                    </a:lnTo>
                    <a:lnTo>
                      <a:pt x="252" y="610"/>
                    </a:lnTo>
                    <a:lnTo>
                      <a:pt x="256" y="610"/>
                    </a:lnTo>
                    <a:lnTo>
                      <a:pt x="259" y="609"/>
                    </a:lnTo>
                    <a:lnTo>
                      <a:pt x="260" y="612"/>
                    </a:lnTo>
                    <a:lnTo>
                      <a:pt x="257" y="610"/>
                    </a:lnTo>
                    <a:lnTo>
                      <a:pt x="254" y="612"/>
                    </a:lnTo>
                    <a:lnTo>
                      <a:pt x="249" y="614"/>
                    </a:lnTo>
                    <a:lnTo>
                      <a:pt x="246" y="612"/>
                    </a:lnTo>
                    <a:lnTo>
                      <a:pt x="243" y="612"/>
                    </a:lnTo>
                    <a:lnTo>
                      <a:pt x="238" y="614"/>
                    </a:lnTo>
                    <a:lnTo>
                      <a:pt x="229" y="615"/>
                    </a:lnTo>
                    <a:lnTo>
                      <a:pt x="217" y="617"/>
                    </a:lnTo>
                    <a:lnTo>
                      <a:pt x="221" y="618"/>
                    </a:lnTo>
                    <a:lnTo>
                      <a:pt x="219" y="622"/>
                    </a:lnTo>
                    <a:lnTo>
                      <a:pt x="222" y="623"/>
                    </a:lnTo>
                    <a:lnTo>
                      <a:pt x="225" y="622"/>
                    </a:lnTo>
                    <a:lnTo>
                      <a:pt x="233" y="620"/>
                    </a:lnTo>
                    <a:lnTo>
                      <a:pt x="225" y="623"/>
                    </a:lnTo>
                    <a:lnTo>
                      <a:pt x="222" y="625"/>
                    </a:lnTo>
                    <a:lnTo>
                      <a:pt x="219" y="625"/>
                    </a:lnTo>
                    <a:lnTo>
                      <a:pt x="216" y="626"/>
                    </a:lnTo>
                    <a:lnTo>
                      <a:pt x="211" y="628"/>
                    </a:lnTo>
                    <a:lnTo>
                      <a:pt x="216" y="628"/>
                    </a:lnTo>
                    <a:lnTo>
                      <a:pt x="213" y="629"/>
                    </a:lnTo>
                    <a:lnTo>
                      <a:pt x="216" y="631"/>
                    </a:lnTo>
                    <a:lnTo>
                      <a:pt x="219" y="636"/>
                    </a:lnTo>
                    <a:lnTo>
                      <a:pt x="221" y="631"/>
                    </a:lnTo>
                    <a:lnTo>
                      <a:pt x="224" y="631"/>
                    </a:lnTo>
                    <a:lnTo>
                      <a:pt x="227" y="631"/>
                    </a:lnTo>
                    <a:lnTo>
                      <a:pt x="232" y="631"/>
                    </a:lnTo>
                    <a:lnTo>
                      <a:pt x="235" y="631"/>
                    </a:lnTo>
                    <a:lnTo>
                      <a:pt x="238" y="629"/>
                    </a:lnTo>
                    <a:lnTo>
                      <a:pt x="235" y="631"/>
                    </a:lnTo>
                    <a:lnTo>
                      <a:pt x="230" y="631"/>
                    </a:lnTo>
                    <a:lnTo>
                      <a:pt x="224" y="631"/>
                    </a:lnTo>
                    <a:lnTo>
                      <a:pt x="221" y="634"/>
                    </a:lnTo>
                    <a:lnTo>
                      <a:pt x="225" y="634"/>
                    </a:lnTo>
                    <a:lnTo>
                      <a:pt x="232" y="634"/>
                    </a:lnTo>
                    <a:lnTo>
                      <a:pt x="229" y="636"/>
                    </a:lnTo>
                    <a:lnTo>
                      <a:pt x="225" y="636"/>
                    </a:lnTo>
                    <a:lnTo>
                      <a:pt x="221" y="636"/>
                    </a:lnTo>
                    <a:lnTo>
                      <a:pt x="217" y="637"/>
                    </a:lnTo>
                    <a:lnTo>
                      <a:pt x="221" y="637"/>
                    </a:lnTo>
                    <a:lnTo>
                      <a:pt x="224" y="641"/>
                    </a:lnTo>
                    <a:lnTo>
                      <a:pt x="229" y="641"/>
                    </a:lnTo>
                    <a:lnTo>
                      <a:pt x="232" y="641"/>
                    </a:lnTo>
                    <a:lnTo>
                      <a:pt x="235" y="639"/>
                    </a:lnTo>
                    <a:lnTo>
                      <a:pt x="240" y="639"/>
                    </a:lnTo>
                    <a:lnTo>
                      <a:pt x="235" y="641"/>
                    </a:lnTo>
                    <a:lnTo>
                      <a:pt x="232" y="641"/>
                    </a:lnTo>
                    <a:lnTo>
                      <a:pt x="229" y="641"/>
                    </a:lnTo>
                    <a:lnTo>
                      <a:pt x="225" y="641"/>
                    </a:lnTo>
                    <a:lnTo>
                      <a:pt x="221" y="641"/>
                    </a:lnTo>
                    <a:lnTo>
                      <a:pt x="217" y="642"/>
                    </a:lnTo>
                    <a:lnTo>
                      <a:pt x="217" y="645"/>
                    </a:lnTo>
                    <a:lnTo>
                      <a:pt x="221" y="647"/>
                    </a:lnTo>
                    <a:lnTo>
                      <a:pt x="224" y="645"/>
                    </a:lnTo>
                    <a:lnTo>
                      <a:pt x="221" y="647"/>
                    </a:lnTo>
                    <a:lnTo>
                      <a:pt x="224" y="647"/>
                    </a:lnTo>
                    <a:lnTo>
                      <a:pt x="229" y="647"/>
                    </a:lnTo>
                    <a:lnTo>
                      <a:pt x="232" y="645"/>
                    </a:lnTo>
                    <a:lnTo>
                      <a:pt x="235" y="647"/>
                    </a:lnTo>
                    <a:lnTo>
                      <a:pt x="238" y="645"/>
                    </a:lnTo>
                    <a:lnTo>
                      <a:pt x="243" y="645"/>
                    </a:lnTo>
                    <a:lnTo>
                      <a:pt x="238" y="647"/>
                    </a:lnTo>
                    <a:lnTo>
                      <a:pt x="235" y="647"/>
                    </a:lnTo>
                    <a:lnTo>
                      <a:pt x="232" y="650"/>
                    </a:lnTo>
                    <a:lnTo>
                      <a:pt x="229" y="650"/>
                    </a:lnTo>
                    <a:lnTo>
                      <a:pt x="229" y="655"/>
                    </a:lnTo>
                    <a:lnTo>
                      <a:pt x="232" y="656"/>
                    </a:lnTo>
                    <a:lnTo>
                      <a:pt x="235" y="653"/>
                    </a:lnTo>
                    <a:lnTo>
                      <a:pt x="232" y="658"/>
                    </a:lnTo>
                    <a:lnTo>
                      <a:pt x="230" y="661"/>
                    </a:lnTo>
                    <a:lnTo>
                      <a:pt x="233" y="658"/>
                    </a:lnTo>
                    <a:lnTo>
                      <a:pt x="236" y="656"/>
                    </a:lnTo>
                    <a:lnTo>
                      <a:pt x="241" y="655"/>
                    </a:lnTo>
                    <a:lnTo>
                      <a:pt x="240" y="656"/>
                    </a:lnTo>
                    <a:lnTo>
                      <a:pt x="236" y="658"/>
                    </a:lnTo>
                    <a:lnTo>
                      <a:pt x="233" y="660"/>
                    </a:lnTo>
                    <a:lnTo>
                      <a:pt x="230" y="664"/>
                    </a:lnTo>
                    <a:lnTo>
                      <a:pt x="233" y="663"/>
                    </a:lnTo>
                    <a:lnTo>
                      <a:pt x="236" y="663"/>
                    </a:lnTo>
                    <a:lnTo>
                      <a:pt x="240" y="660"/>
                    </a:lnTo>
                    <a:lnTo>
                      <a:pt x="244" y="658"/>
                    </a:lnTo>
                    <a:lnTo>
                      <a:pt x="240" y="661"/>
                    </a:lnTo>
                    <a:lnTo>
                      <a:pt x="240" y="661"/>
                    </a:lnTo>
                    <a:lnTo>
                      <a:pt x="240" y="661"/>
                    </a:lnTo>
                    <a:lnTo>
                      <a:pt x="235" y="664"/>
                    </a:lnTo>
                    <a:lnTo>
                      <a:pt x="232" y="666"/>
                    </a:lnTo>
                    <a:lnTo>
                      <a:pt x="229" y="669"/>
                    </a:lnTo>
                    <a:lnTo>
                      <a:pt x="225" y="672"/>
                    </a:lnTo>
                    <a:lnTo>
                      <a:pt x="229" y="677"/>
                    </a:lnTo>
                    <a:lnTo>
                      <a:pt x="232" y="680"/>
                    </a:lnTo>
                    <a:lnTo>
                      <a:pt x="235" y="679"/>
                    </a:lnTo>
                    <a:lnTo>
                      <a:pt x="236" y="682"/>
                    </a:lnTo>
                    <a:lnTo>
                      <a:pt x="244" y="682"/>
                    </a:lnTo>
                    <a:lnTo>
                      <a:pt x="248" y="682"/>
                    </a:lnTo>
                    <a:lnTo>
                      <a:pt x="244" y="682"/>
                    </a:lnTo>
                    <a:lnTo>
                      <a:pt x="240" y="685"/>
                    </a:lnTo>
                    <a:lnTo>
                      <a:pt x="244" y="685"/>
                    </a:lnTo>
                    <a:lnTo>
                      <a:pt x="248" y="687"/>
                    </a:lnTo>
                    <a:lnTo>
                      <a:pt x="244" y="688"/>
                    </a:lnTo>
                    <a:lnTo>
                      <a:pt x="240" y="687"/>
                    </a:lnTo>
                    <a:lnTo>
                      <a:pt x="236" y="688"/>
                    </a:lnTo>
                    <a:lnTo>
                      <a:pt x="240" y="688"/>
                    </a:lnTo>
                    <a:lnTo>
                      <a:pt x="236" y="691"/>
                    </a:lnTo>
                    <a:lnTo>
                      <a:pt x="240" y="691"/>
                    </a:lnTo>
                    <a:lnTo>
                      <a:pt x="244" y="691"/>
                    </a:lnTo>
                    <a:lnTo>
                      <a:pt x="248" y="691"/>
                    </a:lnTo>
                    <a:lnTo>
                      <a:pt x="251" y="690"/>
                    </a:lnTo>
                    <a:lnTo>
                      <a:pt x="252" y="687"/>
                    </a:lnTo>
                    <a:lnTo>
                      <a:pt x="257" y="685"/>
                    </a:lnTo>
                    <a:lnTo>
                      <a:pt x="257" y="688"/>
                    </a:lnTo>
                    <a:lnTo>
                      <a:pt x="260" y="688"/>
                    </a:lnTo>
                    <a:lnTo>
                      <a:pt x="257" y="688"/>
                    </a:lnTo>
                    <a:lnTo>
                      <a:pt x="249" y="693"/>
                    </a:lnTo>
                    <a:lnTo>
                      <a:pt x="246" y="693"/>
                    </a:lnTo>
                    <a:lnTo>
                      <a:pt x="243" y="694"/>
                    </a:lnTo>
                    <a:lnTo>
                      <a:pt x="241" y="698"/>
                    </a:lnTo>
                    <a:lnTo>
                      <a:pt x="244" y="696"/>
                    </a:lnTo>
                    <a:lnTo>
                      <a:pt x="243" y="701"/>
                    </a:lnTo>
                    <a:lnTo>
                      <a:pt x="246" y="699"/>
                    </a:lnTo>
                    <a:lnTo>
                      <a:pt x="248" y="696"/>
                    </a:lnTo>
                    <a:lnTo>
                      <a:pt x="252" y="694"/>
                    </a:lnTo>
                    <a:lnTo>
                      <a:pt x="256" y="691"/>
                    </a:lnTo>
                    <a:lnTo>
                      <a:pt x="259" y="693"/>
                    </a:lnTo>
                    <a:lnTo>
                      <a:pt x="256" y="694"/>
                    </a:lnTo>
                    <a:lnTo>
                      <a:pt x="252" y="696"/>
                    </a:lnTo>
                    <a:lnTo>
                      <a:pt x="248" y="698"/>
                    </a:lnTo>
                    <a:lnTo>
                      <a:pt x="246" y="701"/>
                    </a:lnTo>
                    <a:lnTo>
                      <a:pt x="251" y="701"/>
                    </a:lnTo>
                    <a:lnTo>
                      <a:pt x="254" y="699"/>
                    </a:lnTo>
                    <a:lnTo>
                      <a:pt x="251" y="701"/>
                    </a:lnTo>
                    <a:lnTo>
                      <a:pt x="248" y="706"/>
                    </a:lnTo>
                    <a:lnTo>
                      <a:pt x="251" y="706"/>
                    </a:lnTo>
                    <a:lnTo>
                      <a:pt x="254" y="706"/>
                    </a:lnTo>
                    <a:lnTo>
                      <a:pt x="259" y="706"/>
                    </a:lnTo>
                    <a:lnTo>
                      <a:pt x="251" y="706"/>
                    </a:lnTo>
                    <a:lnTo>
                      <a:pt x="248" y="706"/>
                    </a:lnTo>
                    <a:lnTo>
                      <a:pt x="244" y="706"/>
                    </a:lnTo>
                    <a:lnTo>
                      <a:pt x="241" y="707"/>
                    </a:lnTo>
                    <a:lnTo>
                      <a:pt x="244" y="710"/>
                    </a:lnTo>
                    <a:lnTo>
                      <a:pt x="248" y="710"/>
                    </a:lnTo>
                    <a:lnTo>
                      <a:pt x="251" y="710"/>
                    </a:lnTo>
                    <a:lnTo>
                      <a:pt x="256" y="709"/>
                    </a:lnTo>
                    <a:lnTo>
                      <a:pt x="259" y="707"/>
                    </a:lnTo>
                    <a:lnTo>
                      <a:pt x="262" y="707"/>
                    </a:lnTo>
                    <a:lnTo>
                      <a:pt x="265" y="707"/>
                    </a:lnTo>
                    <a:lnTo>
                      <a:pt x="262" y="709"/>
                    </a:lnTo>
                    <a:lnTo>
                      <a:pt x="265" y="709"/>
                    </a:lnTo>
                    <a:lnTo>
                      <a:pt x="259" y="709"/>
                    </a:lnTo>
                    <a:lnTo>
                      <a:pt x="256" y="710"/>
                    </a:lnTo>
                    <a:lnTo>
                      <a:pt x="252" y="710"/>
                    </a:lnTo>
                    <a:lnTo>
                      <a:pt x="248" y="712"/>
                    </a:lnTo>
                    <a:lnTo>
                      <a:pt x="244" y="715"/>
                    </a:lnTo>
                    <a:lnTo>
                      <a:pt x="248" y="714"/>
                    </a:lnTo>
                    <a:lnTo>
                      <a:pt x="251" y="714"/>
                    </a:lnTo>
                    <a:lnTo>
                      <a:pt x="254" y="714"/>
                    </a:lnTo>
                    <a:lnTo>
                      <a:pt x="259" y="714"/>
                    </a:lnTo>
                    <a:lnTo>
                      <a:pt x="262" y="715"/>
                    </a:lnTo>
                    <a:lnTo>
                      <a:pt x="257" y="717"/>
                    </a:lnTo>
                    <a:lnTo>
                      <a:pt x="254" y="717"/>
                    </a:lnTo>
                    <a:lnTo>
                      <a:pt x="254" y="721"/>
                    </a:lnTo>
                    <a:lnTo>
                      <a:pt x="259" y="721"/>
                    </a:lnTo>
                    <a:lnTo>
                      <a:pt x="262" y="720"/>
                    </a:lnTo>
                    <a:lnTo>
                      <a:pt x="259" y="723"/>
                    </a:lnTo>
                    <a:lnTo>
                      <a:pt x="262" y="723"/>
                    </a:lnTo>
                    <a:lnTo>
                      <a:pt x="263" y="720"/>
                    </a:lnTo>
                    <a:lnTo>
                      <a:pt x="267" y="717"/>
                    </a:lnTo>
                    <a:lnTo>
                      <a:pt x="270" y="715"/>
                    </a:lnTo>
                    <a:lnTo>
                      <a:pt x="275" y="717"/>
                    </a:lnTo>
                    <a:lnTo>
                      <a:pt x="270" y="717"/>
                    </a:lnTo>
                    <a:lnTo>
                      <a:pt x="267" y="720"/>
                    </a:lnTo>
                    <a:lnTo>
                      <a:pt x="263" y="721"/>
                    </a:lnTo>
                    <a:lnTo>
                      <a:pt x="267" y="725"/>
                    </a:lnTo>
                    <a:lnTo>
                      <a:pt x="270" y="725"/>
                    </a:lnTo>
                    <a:lnTo>
                      <a:pt x="273" y="723"/>
                    </a:lnTo>
                    <a:lnTo>
                      <a:pt x="271" y="726"/>
                    </a:lnTo>
                    <a:lnTo>
                      <a:pt x="268" y="726"/>
                    </a:lnTo>
                    <a:lnTo>
                      <a:pt x="265" y="726"/>
                    </a:lnTo>
                    <a:lnTo>
                      <a:pt x="260" y="728"/>
                    </a:lnTo>
                    <a:lnTo>
                      <a:pt x="257" y="729"/>
                    </a:lnTo>
                    <a:lnTo>
                      <a:pt x="267" y="728"/>
                    </a:lnTo>
                    <a:lnTo>
                      <a:pt x="275" y="728"/>
                    </a:lnTo>
                    <a:lnTo>
                      <a:pt x="267" y="731"/>
                    </a:lnTo>
                    <a:lnTo>
                      <a:pt x="257" y="734"/>
                    </a:lnTo>
                    <a:lnTo>
                      <a:pt x="260" y="734"/>
                    </a:lnTo>
                    <a:lnTo>
                      <a:pt x="263" y="734"/>
                    </a:lnTo>
                    <a:lnTo>
                      <a:pt x="268" y="734"/>
                    </a:lnTo>
                    <a:lnTo>
                      <a:pt x="271" y="734"/>
                    </a:lnTo>
                    <a:lnTo>
                      <a:pt x="275" y="734"/>
                    </a:lnTo>
                    <a:lnTo>
                      <a:pt x="278" y="734"/>
                    </a:lnTo>
                    <a:lnTo>
                      <a:pt x="282" y="733"/>
                    </a:lnTo>
                    <a:lnTo>
                      <a:pt x="278" y="733"/>
                    </a:lnTo>
                    <a:lnTo>
                      <a:pt x="275" y="733"/>
                    </a:lnTo>
                    <a:lnTo>
                      <a:pt x="271" y="733"/>
                    </a:lnTo>
                    <a:lnTo>
                      <a:pt x="284" y="731"/>
                    </a:lnTo>
                    <a:lnTo>
                      <a:pt x="297" y="731"/>
                    </a:lnTo>
                    <a:lnTo>
                      <a:pt x="292" y="734"/>
                    </a:lnTo>
                    <a:lnTo>
                      <a:pt x="297" y="736"/>
                    </a:lnTo>
                    <a:lnTo>
                      <a:pt x="300" y="734"/>
                    </a:lnTo>
                    <a:lnTo>
                      <a:pt x="300" y="731"/>
                    </a:lnTo>
                    <a:lnTo>
                      <a:pt x="303" y="731"/>
                    </a:lnTo>
                    <a:lnTo>
                      <a:pt x="306" y="731"/>
                    </a:lnTo>
                    <a:lnTo>
                      <a:pt x="308" y="728"/>
                    </a:lnTo>
                    <a:lnTo>
                      <a:pt x="311" y="726"/>
                    </a:lnTo>
                    <a:lnTo>
                      <a:pt x="316" y="726"/>
                    </a:lnTo>
                    <a:lnTo>
                      <a:pt x="317" y="729"/>
                    </a:lnTo>
                    <a:lnTo>
                      <a:pt x="321" y="726"/>
                    </a:lnTo>
                    <a:lnTo>
                      <a:pt x="317" y="725"/>
                    </a:lnTo>
                    <a:lnTo>
                      <a:pt x="321" y="726"/>
                    </a:lnTo>
                    <a:lnTo>
                      <a:pt x="324" y="726"/>
                    </a:lnTo>
                    <a:lnTo>
                      <a:pt x="327" y="725"/>
                    </a:lnTo>
                    <a:lnTo>
                      <a:pt x="328" y="720"/>
                    </a:lnTo>
                    <a:lnTo>
                      <a:pt x="325" y="718"/>
                    </a:lnTo>
                    <a:lnTo>
                      <a:pt x="328" y="720"/>
                    </a:lnTo>
                    <a:lnTo>
                      <a:pt x="332" y="717"/>
                    </a:lnTo>
                    <a:lnTo>
                      <a:pt x="335" y="717"/>
                    </a:lnTo>
                    <a:lnTo>
                      <a:pt x="332" y="720"/>
                    </a:lnTo>
                    <a:lnTo>
                      <a:pt x="335" y="723"/>
                    </a:lnTo>
                    <a:lnTo>
                      <a:pt x="332" y="726"/>
                    </a:lnTo>
                    <a:lnTo>
                      <a:pt x="328" y="726"/>
                    </a:lnTo>
                    <a:lnTo>
                      <a:pt x="324" y="728"/>
                    </a:lnTo>
                    <a:lnTo>
                      <a:pt x="322" y="731"/>
                    </a:lnTo>
                    <a:lnTo>
                      <a:pt x="328" y="729"/>
                    </a:lnTo>
                    <a:lnTo>
                      <a:pt x="333" y="728"/>
                    </a:lnTo>
                    <a:lnTo>
                      <a:pt x="340" y="725"/>
                    </a:lnTo>
                    <a:lnTo>
                      <a:pt x="343" y="720"/>
                    </a:lnTo>
                    <a:lnTo>
                      <a:pt x="343" y="723"/>
                    </a:lnTo>
                    <a:lnTo>
                      <a:pt x="346" y="723"/>
                    </a:lnTo>
                    <a:lnTo>
                      <a:pt x="349" y="721"/>
                    </a:lnTo>
                    <a:lnTo>
                      <a:pt x="346" y="725"/>
                    </a:lnTo>
                    <a:lnTo>
                      <a:pt x="343" y="726"/>
                    </a:lnTo>
                    <a:lnTo>
                      <a:pt x="343" y="726"/>
                    </a:lnTo>
                    <a:lnTo>
                      <a:pt x="340" y="728"/>
                    </a:lnTo>
                    <a:lnTo>
                      <a:pt x="336" y="729"/>
                    </a:lnTo>
                    <a:lnTo>
                      <a:pt x="332" y="729"/>
                    </a:lnTo>
                    <a:lnTo>
                      <a:pt x="328" y="731"/>
                    </a:lnTo>
                    <a:lnTo>
                      <a:pt x="325" y="731"/>
                    </a:lnTo>
                    <a:lnTo>
                      <a:pt x="322" y="733"/>
                    </a:lnTo>
                    <a:lnTo>
                      <a:pt x="317" y="734"/>
                    </a:lnTo>
                    <a:lnTo>
                      <a:pt x="322" y="733"/>
                    </a:lnTo>
                    <a:lnTo>
                      <a:pt x="325" y="733"/>
                    </a:lnTo>
                    <a:lnTo>
                      <a:pt x="321" y="734"/>
                    </a:lnTo>
                    <a:lnTo>
                      <a:pt x="317" y="736"/>
                    </a:lnTo>
                    <a:lnTo>
                      <a:pt x="314" y="737"/>
                    </a:lnTo>
                    <a:lnTo>
                      <a:pt x="317" y="739"/>
                    </a:lnTo>
                    <a:lnTo>
                      <a:pt x="321" y="736"/>
                    </a:lnTo>
                    <a:lnTo>
                      <a:pt x="324" y="734"/>
                    </a:lnTo>
                    <a:lnTo>
                      <a:pt x="328" y="734"/>
                    </a:lnTo>
                    <a:lnTo>
                      <a:pt x="324" y="737"/>
                    </a:lnTo>
                    <a:lnTo>
                      <a:pt x="328" y="737"/>
                    </a:lnTo>
                    <a:lnTo>
                      <a:pt x="332" y="734"/>
                    </a:lnTo>
                    <a:lnTo>
                      <a:pt x="335" y="733"/>
                    </a:lnTo>
                    <a:lnTo>
                      <a:pt x="343" y="728"/>
                    </a:lnTo>
                    <a:lnTo>
                      <a:pt x="343" y="733"/>
                    </a:lnTo>
                    <a:lnTo>
                      <a:pt x="340" y="733"/>
                    </a:lnTo>
                    <a:lnTo>
                      <a:pt x="336" y="734"/>
                    </a:lnTo>
                    <a:lnTo>
                      <a:pt x="333" y="736"/>
                    </a:lnTo>
                    <a:lnTo>
                      <a:pt x="328" y="737"/>
                    </a:lnTo>
                    <a:lnTo>
                      <a:pt x="325" y="740"/>
                    </a:lnTo>
                    <a:lnTo>
                      <a:pt x="328" y="740"/>
                    </a:lnTo>
                    <a:lnTo>
                      <a:pt x="325" y="740"/>
                    </a:lnTo>
                    <a:lnTo>
                      <a:pt x="322" y="742"/>
                    </a:lnTo>
                    <a:lnTo>
                      <a:pt x="319" y="744"/>
                    </a:lnTo>
                    <a:lnTo>
                      <a:pt x="322" y="744"/>
                    </a:lnTo>
                    <a:lnTo>
                      <a:pt x="325" y="742"/>
                    </a:lnTo>
                    <a:lnTo>
                      <a:pt x="328" y="742"/>
                    </a:lnTo>
                    <a:lnTo>
                      <a:pt x="325" y="744"/>
                    </a:lnTo>
                    <a:lnTo>
                      <a:pt x="328" y="744"/>
                    </a:lnTo>
                    <a:lnTo>
                      <a:pt x="328" y="747"/>
                    </a:lnTo>
                    <a:lnTo>
                      <a:pt x="332" y="744"/>
                    </a:lnTo>
                    <a:lnTo>
                      <a:pt x="335" y="742"/>
                    </a:lnTo>
                    <a:lnTo>
                      <a:pt x="338" y="740"/>
                    </a:lnTo>
                    <a:lnTo>
                      <a:pt x="343" y="740"/>
                    </a:lnTo>
                    <a:lnTo>
                      <a:pt x="338" y="742"/>
                    </a:lnTo>
                    <a:lnTo>
                      <a:pt x="335" y="744"/>
                    </a:lnTo>
                    <a:lnTo>
                      <a:pt x="332" y="747"/>
                    </a:lnTo>
                    <a:lnTo>
                      <a:pt x="336" y="745"/>
                    </a:lnTo>
                    <a:lnTo>
                      <a:pt x="340" y="744"/>
                    </a:lnTo>
                    <a:lnTo>
                      <a:pt x="343" y="742"/>
                    </a:lnTo>
                    <a:lnTo>
                      <a:pt x="340" y="745"/>
                    </a:lnTo>
                    <a:lnTo>
                      <a:pt x="336" y="748"/>
                    </a:lnTo>
                    <a:lnTo>
                      <a:pt x="340" y="748"/>
                    </a:lnTo>
                    <a:lnTo>
                      <a:pt x="343" y="748"/>
                    </a:lnTo>
                    <a:lnTo>
                      <a:pt x="346" y="745"/>
                    </a:lnTo>
                    <a:lnTo>
                      <a:pt x="351" y="744"/>
                    </a:lnTo>
                    <a:lnTo>
                      <a:pt x="354" y="740"/>
                    </a:lnTo>
                    <a:lnTo>
                      <a:pt x="357" y="739"/>
                    </a:lnTo>
                    <a:lnTo>
                      <a:pt x="354" y="742"/>
                    </a:lnTo>
                    <a:lnTo>
                      <a:pt x="351" y="745"/>
                    </a:lnTo>
                    <a:lnTo>
                      <a:pt x="348" y="748"/>
                    </a:lnTo>
                    <a:lnTo>
                      <a:pt x="344" y="752"/>
                    </a:lnTo>
                    <a:lnTo>
                      <a:pt x="341" y="753"/>
                    </a:lnTo>
                    <a:lnTo>
                      <a:pt x="338" y="756"/>
                    </a:lnTo>
                    <a:lnTo>
                      <a:pt x="336" y="760"/>
                    </a:lnTo>
                    <a:lnTo>
                      <a:pt x="340" y="758"/>
                    </a:lnTo>
                    <a:lnTo>
                      <a:pt x="343" y="758"/>
                    </a:lnTo>
                    <a:lnTo>
                      <a:pt x="346" y="755"/>
                    </a:lnTo>
                    <a:lnTo>
                      <a:pt x="351" y="752"/>
                    </a:lnTo>
                    <a:lnTo>
                      <a:pt x="354" y="750"/>
                    </a:lnTo>
                    <a:lnTo>
                      <a:pt x="357" y="747"/>
                    </a:lnTo>
                    <a:lnTo>
                      <a:pt x="360" y="747"/>
                    </a:lnTo>
                    <a:lnTo>
                      <a:pt x="357" y="748"/>
                    </a:lnTo>
                    <a:lnTo>
                      <a:pt x="352" y="752"/>
                    </a:lnTo>
                    <a:lnTo>
                      <a:pt x="349" y="755"/>
                    </a:lnTo>
                    <a:lnTo>
                      <a:pt x="346" y="758"/>
                    </a:lnTo>
                    <a:lnTo>
                      <a:pt x="340" y="760"/>
                    </a:lnTo>
                    <a:lnTo>
                      <a:pt x="336" y="761"/>
                    </a:lnTo>
                    <a:lnTo>
                      <a:pt x="340" y="764"/>
                    </a:lnTo>
                    <a:lnTo>
                      <a:pt x="343" y="761"/>
                    </a:lnTo>
                    <a:lnTo>
                      <a:pt x="344" y="766"/>
                    </a:lnTo>
                    <a:lnTo>
                      <a:pt x="346" y="766"/>
                    </a:lnTo>
                    <a:lnTo>
                      <a:pt x="348" y="761"/>
                    </a:lnTo>
                    <a:lnTo>
                      <a:pt x="348" y="766"/>
                    </a:lnTo>
                    <a:lnTo>
                      <a:pt x="351" y="766"/>
                    </a:lnTo>
                    <a:lnTo>
                      <a:pt x="352" y="763"/>
                    </a:lnTo>
                    <a:lnTo>
                      <a:pt x="355" y="760"/>
                    </a:lnTo>
                    <a:lnTo>
                      <a:pt x="360" y="760"/>
                    </a:lnTo>
                    <a:lnTo>
                      <a:pt x="363" y="756"/>
                    </a:lnTo>
                    <a:lnTo>
                      <a:pt x="363" y="753"/>
                    </a:lnTo>
                    <a:lnTo>
                      <a:pt x="367" y="755"/>
                    </a:lnTo>
                    <a:lnTo>
                      <a:pt x="370" y="752"/>
                    </a:lnTo>
                    <a:lnTo>
                      <a:pt x="368" y="755"/>
                    </a:lnTo>
                    <a:lnTo>
                      <a:pt x="367" y="758"/>
                    </a:lnTo>
                    <a:lnTo>
                      <a:pt x="370" y="758"/>
                    </a:lnTo>
                    <a:lnTo>
                      <a:pt x="373" y="760"/>
                    </a:lnTo>
                    <a:lnTo>
                      <a:pt x="368" y="760"/>
                    </a:lnTo>
                    <a:lnTo>
                      <a:pt x="365" y="761"/>
                    </a:lnTo>
                    <a:lnTo>
                      <a:pt x="368" y="763"/>
                    </a:lnTo>
                    <a:lnTo>
                      <a:pt x="373" y="764"/>
                    </a:lnTo>
                    <a:lnTo>
                      <a:pt x="368" y="766"/>
                    </a:lnTo>
                    <a:lnTo>
                      <a:pt x="370" y="766"/>
                    </a:lnTo>
                    <a:lnTo>
                      <a:pt x="373" y="767"/>
                    </a:lnTo>
                    <a:lnTo>
                      <a:pt x="378" y="769"/>
                    </a:lnTo>
                    <a:lnTo>
                      <a:pt x="381" y="766"/>
                    </a:lnTo>
                    <a:lnTo>
                      <a:pt x="381" y="763"/>
                    </a:lnTo>
                    <a:lnTo>
                      <a:pt x="389" y="766"/>
                    </a:lnTo>
                    <a:lnTo>
                      <a:pt x="390" y="766"/>
                    </a:lnTo>
                    <a:lnTo>
                      <a:pt x="390" y="763"/>
                    </a:lnTo>
                    <a:lnTo>
                      <a:pt x="381" y="761"/>
                    </a:lnTo>
                    <a:lnTo>
                      <a:pt x="373" y="760"/>
                    </a:lnTo>
                    <a:lnTo>
                      <a:pt x="376" y="760"/>
                    </a:lnTo>
                    <a:lnTo>
                      <a:pt x="379" y="760"/>
                    </a:lnTo>
                    <a:lnTo>
                      <a:pt x="384" y="761"/>
                    </a:lnTo>
                    <a:lnTo>
                      <a:pt x="387" y="761"/>
                    </a:lnTo>
                    <a:lnTo>
                      <a:pt x="390" y="763"/>
                    </a:lnTo>
                    <a:lnTo>
                      <a:pt x="394" y="761"/>
                    </a:lnTo>
                    <a:lnTo>
                      <a:pt x="392" y="758"/>
                    </a:lnTo>
                    <a:lnTo>
                      <a:pt x="389" y="758"/>
                    </a:lnTo>
                    <a:lnTo>
                      <a:pt x="392" y="756"/>
                    </a:lnTo>
                    <a:lnTo>
                      <a:pt x="397" y="756"/>
                    </a:lnTo>
                    <a:lnTo>
                      <a:pt x="394" y="753"/>
                    </a:lnTo>
                    <a:lnTo>
                      <a:pt x="390" y="752"/>
                    </a:lnTo>
                    <a:lnTo>
                      <a:pt x="394" y="750"/>
                    </a:lnTo>
                    <a:lnTo>
                      <a:pt x="390" y="752"/>
                    </a:lnTo>
                    <a:lnTo>
                      <a:pt x="387" y="752"/>
                    </a:lnTo>
                    <a:lnTo>
                      <a:pt x="382" y="753"/>
                    </a:lnTo>
                    <a:lnTo>
                      <a:pt x="387" y="752"/>
                    </a:lnTo>
                    <a:lnTo>
                      <a:pt x="389" y="747"/>
                    </a:lnTo>
                    <a:lnTo>
                      <a:pt x="381" y="745"/>
                    </a:lnTo>
                    <a:lnTo>
                      <a:pt x="371" y="742"/>
                    </a:lnTo>
                    <a:lnTo>
                      <a:pt x="374" y="744"/>
                    </a:lnTo>
                    <a:lnTo>
                      <a:pt x="379" y="744"/>
                    </a:lnTo>
                    <a:lnTo>
                      <a:pt x="382" y="744"/>
                    </a:lnTo>
                    <a:lnTo>
                      <a:pt x="386" y="742"/>
                    </a:lnTo>
                    <a:lnTo>
                      <a:pt x="387" y="745"/>
                    </a:lnTo>
                    <a:lnTo>
                      <a:pt x="390" y="747"/>
                    </a:lnTo>
                    <a:lnTo>
                      <a:pt x="394" y="747"/>
                    </a:lnTo>
                    <a:lnTo>
                      <a:pt x="398" y="747"/>
                    </a:lnTo>
                    <a:lnTo>
                      <a:pt x="394" y="745"/>
                    </a:lnTo>
                    <a:lnTo>
                      <a:pt x="398" y="745"/>
                    </a:lnTo>
                    <a:lnTo>
                      <a:pt x="405" y="745"/>
                    </a:lnTo>
                    <a:lnTo>
                      <a:pt x="408" y="744"/>
                    </a:lnTo>
                    <a:lnTo>
                      <a:pt x="405" y="744"/>
                    </a:lnTo>
                    <a:lnTo>
                      <a:pt x="401" y="742"/>
                    </a:lnTo>
                    <a:lnTo>
                      <a:pt x="405" y="744"/>
                    </a:lnTo>
                    <a:lnTo>
                      <a:pt x="408" y="742"/>
                    </a:lnTo>
                    <a:lnTo>
                      <a:pt x="411" y="739"/>
                    </a:lnTo>
                    <a:lnTo>
                      <a:pt x="408" y="740"/>
                    </a:lnTo>
                    <a:lnTo>
                      <a:pt x="405" y="742"/>
                    </a:lnTo>
                    <a:lnTo>
                      <a:pt x="401" y="742"/>
                    </a:lnTo>
                    <a:lnTo>
                      <a:pt x="398" y="740"/>
                    </a:lnTo>
                    <a:lnTo>
                      <a:pt x="405" y="740"/>
                    </a:lnTo>
                    <a:lnTo>
                      <a:pt x="408" y="740"/>
                    </a:lnTo>
                    <a:lnTo>
                      <a:pt x="409" y="737"/>
                    </a:lnTo>
                    <a:lnTo>
                      <a:pt x="406" y="736"/>
                    </a:lnTo>
                    <a:lnTo>
                      <a:pt x="403" y="736"/>
                    </a:lnTo>
                    <a:lnTo>
                      <a:pt x="398" y="736"/>
                    </a:lnTo>
                    <a:lnTo>
                      <a:pt x="395" y="734"/>
                    </a:lnTo>
                    <a:lnTo>
                      <a:pt x="398" y="734"/>
                    </a:lnTo>
                    <a:lnTo>
                      <a:pt x="403" y="734"/>
                    </a:lnTo>
                    <a:lnTo>
                      <a:pt x="406" y="736"/>
                    </a:lnTo>
                    <a:lnTo>
                      <a:pt x="409" y="736"/>
                    </a:lnTo>
                    <a:lnTo>
                      <a:pt x="413" y="734"/>
                    </a:lnTo>
                    <a:lnTo>
                      <a:pt x="405" y="733"/>
                    </a:lnTo>
                    <a:lnTo>
                      <a:pt x="395" y="729"/>
                    </a:lnTo>
                    <a:lnTo>
                      <a:pt x="400" y="731"/>
                    </a:lnTo>
                    <a:lnTo>
                      <a:pt x="403" y="731"/>
                    </a:lnTo>
                    <a:lnTo>
                      <a:pt x="406" y="733"/>
                    </a:lnTo>
                    <a:lnTo>
                      <a:pt x="409" y="733"/>
                    </a:lnTo>
                    <a:lnTo>
                      <a:pt x="414" y="731"/>
                    </a:lnTo>
                    <a:lnTo>
                      <a:pt x="416" y="728"/>
                    </a:lnTo>
                    <a:lnTo>
                      <a:pt x="419" y="726"/>
                    </a:lnTo>
                    <a:lnTo>
                      <a:pt x="406" y="725"/>
                    </a:lnTo>
                    <a:lnTo>
                      <a:pt x="395" y="723"/>
                    </a:lnTo>
                    <a:lnTo>
                      <a:pt x="398" y="723"/>
                    </a:lnTo>
                    <a:lnTo>
                      <a:pt x="401" y="723"/>
                    </a:lnTo>
                    <a:lnTo>
                      <a:pt x="409" y="723"/>
                    </a:lnTo>
                    <a:lnTo>
                      <a:pt x="413" y="725"/>
                    </a:lnTo>
                    <a:lnTo>
                      <a:pt x="416" y="725"/>
                    </a:lnTo>
                    <a:lnTo>
                      <a:pt x="419" y="723"/>
                    </a:lnTo>
                    <a:lnTo>
                      <a:pt x="416" y="721"/>
                    </a:lnTo>
                    <a:lnTo>
                      <a:pt x="413" y="721"/>
                    </a:lnTo>
                    <a:lnTo>
                      <a:pt x="408" y="720"/>
                    </a:lnTo>
                    <a:lnTo>
                      <a:pt x="416" y="720"/>
                    </a:lnTo>
                    <a:lnTo>
                      <a:pt x="419" y="721"/>
                    </a:lnTo>
                    <a:lnTo>
                      <a:pt x="422" y="718"/>
                    </a:lnTo>
                    <a:lnTo>
                      <a:pt x="419" y="718"/>
                    </a:lnTo>
                    <a:lnTo>
                      <a:pt x="416" y="718"/>
                    </a:lnTo>
                    <a:lnTo>
                      <a:pt x="419" y="717"/>
                    </a:lnTo>
                    <a:lnTo>
                      <a:pt x="416" y="717"/>
                    </a:lnTo>
                    <a:lnTo>
                      <a:pt x="413" y="717"/>
                    </a:lnTo>
                    <a:lnTo>
                      <a:pt x="409" y="715"/>
                    </a:lnTo>
                    <a:lnTo>
                      <a:pt x="416" y="715"/>
                    </a:lnTo>
                    <a:lnTo>
                      <a:pt x="422" y="717"/>
                    </a:lnTo>
                    <a:lnTo>
                      <a:pt x="425" y="715"/>
                    </a:lnTo>
                    <a:lnTo>
                      <a:pt x="428" y="715"/>
                    </a:lnTo>
                    <a:lnTo>
                      <a:pt x="430" y="712"/>
                    </a:lnTo>
                    <a:lnTo>
                      <a:pt x="430" y="709"/>
                    </a:lnTo>
                    <a:lnTo>
                      <a:pt x="420" y="709"/>
                    </a:lnTo>
                    <a:lnTo>
                      <a:pt x="416" y="706"/>
                    </a:lnTo>
                    <a:lnTo>
                      <a:pt x="420" y="707"/>
                    </a:lnTo>
                    <a:lnTo>
                      <a:pt x="424" y="707"/>
                    </a:lnTo>
                    <a:lnTo>
                      <a:pt x="427" y="707"/>
                    </a:lnTo>
                    <a:lnTo>
                      <a:pt x="430" y="707"/>
                    </a:lnTo>
                    <a:lnTo>
                      <a:pt x="435" y="707"/>
                    </a:lnTo>
                    <a:lnTo>
                      <a:pt x="436" y="702"/>
                    </a:lnTo>
                    <a:lnTo>
                      <a:pt x="440" y="701"/>
                    </a:lnTo>
                    <a:lnTo>
                      <a:pt x="436" y="702"/>
                    </a:lnTo>
                    <a:lnTo>
                      <a:pt x="433" y="702"/>
                    </a:lnTo>
                    <a:lnTo>
                      <a:pt x="430" y="701"/>
                    </a:lnTo>
                    <a:lnTo>
                      <a:pt x="427" y="699"/>
                    </a:lnTo>
                    <a:lnTo>
                      <a:pt x="430" y="699"/>
                    </a:lnTo>
                    <a:lnTo>
                      <a:pt x="433" y="701"/>
                    </a:lnTo>
                    <a:lnTo>
                      <a:pt x="436" y="701"/>
                    </a:lnTo>
                    <a:lnTo>
                      <a:pt x="440" y="699"/>
                    </a:lnTo>
                    <a:lnTo>
                      <a:pt x="444" y="698"/>
                    </a:lnTo>
                    <a:lnTo>
                      <a:pt x="443" y="694"/>
                    </a:lnTo>
                    <a:lnTo>
                      <a:pt x="446" y="693"/>
                    </a:lnTo>
                    <a:lnTo>
                      <a:pt x="446" y="690"/>
                    </a:lnTo>
                    <a:lnTo>
                      <a:pt x="443" y="691"/>
                    </a:lnTo>
                    <a:lnTo>
                      <a:pt x="440" y="693"/>
                    </a:lnTo>
                    <a:lnTo>
                      <a:pt x="438" y="691"/>
                    </a:lnTo>
                    <a:lnTo>
                      <a:pt x="441" y="690"/>
                    </a:lnTo>
                    <a:lnTo>
                      <a:pt x="446" y="687"/>
                    </a:lnTo>
                    <a:lnTo>
                      <a:pt x="449" y="682"/>
                    </a:lnTo>
                    <a:lnTo>
                      <a:pt x="447" y="679"/>
                    </a:lnTo>
                    <a:lnTo>
                      <a:pt x="444" y="679"/>
                    </a:lnTo>
                    <a:lnTo>
                      <a:pt x="440" y="677"/>
                    </a:lnTo>
                    <a:lnTo>
                      <a:pt x="436" y="674"/>
                    </a:lnTo>
                    <a:lnTo>
                      <a:pt x="433" y="672"/>
                    </a:lnTo>
                    <a:lnTo>
                      <a:pt x="443" y="675"/>
                    </a:lnTo>
                    <a:lnTo>
                      <a:pt x="454" y="677"/>
                    </a:lnTo>
                    <a:lnTo>
                      <a:pt x="451" y="675"/>
                    </a:lnTo>
                    <a:lnTo>
                      <a:pt x="446" y="672"/>
                    </a:lnTo>
                    <a:lnTo>
                      <a:pt x="451" y="674"/>
                    </a:lnTo>
                    <a:lnTo>
                      <a:pt x="449" y="671"/>
                    </a:lnTo>
                    <a:lnTo>
                      <a:pt x="446" y="668"/>
                    </a:lnTo>
                    <a:lnTo>
                      <a:pt x="443" y="669"/>
                    </a:lnTo>
                    <a:lnTo>
                      <a:pt x="438" y="668"/>
                    </a:lnTo>
                    <a:lnTo>
                      <a:pt x="435" y="666"/>
                    </a:lnTo>
                    <a:lnTo>
                      <a:pt x="432" y="663"/>
                    </a:lnTo>
                    <a:lnTo>
                      <a:pt x="435" y="664"/>
                    </a:lnTo>
                    <a:lnTo>
                      <a:pt x="441" y="666"/>
                    </a:lnTo>
                    <a:lnTo>
                      <a:pt x="446" y="666"/>
                    </a:lnTo>
                    <a:lnTo>
                      <a:pt x="449" y="664"/>
                    </a:lnTo>
                    <a:lnTo>
                      <a:pt x="449" y="661"/>
                    </a:lnTo>
                    <a:lnTo>
                      <a:pt x="452" y="660"/>
                    </a:lnTo>
                    <a:lnTo>
                      <a:pt x="449" y="660"/>
                    </a:lnTo>
                    <a:lnTo>
                      <a:pt x="452" y="660"/>
                    </a:lnTo>
                    <a:lnTo>
                      <a:pt x="455" y="658"/>
                    </a:lnTo>
                    <a:lnTo>
                      <a:pt x="459" y="661"/>
                    </a:lnTo>
                    <a:lnTo>
                      <a:pt x="460" y="661"/>
                    </a:lnTo>
                    <a:lnTo>
                      <a:pt x="457" y="661"/>
                    </a:lnTo>
                    <a:lnTo>
                      <a:pt x="454" y="663"/>
                    </a:lnTo>
                    <a:lnTo>
                      <a:pt x="452" y="666"/>
                    </a:lnTo>
                    <a:lnTo>
                      <a:pt x="454" y="666"/>
                    </a:lnTo>
                    <a:lnTo>
                      <a:pt x="457" y="664"/>
                    </a:lnTo>
                    <a:lnTo>
                      <a:pt x="460" y="664"/>
                    </a:lnTo>
                    <a:lnTo>
                      <a:pt x="463" y="663"/>
                    </a:lnTo>
                    <a:lnTo>
                      <a:pt x="463" y="663"/>
                    </a:lnTo>
                    <a:lnTo>
                      <a:pt x="466" y="660"/>
                    </a:lnTo>
                    <a:lnTo>
                      <a:pt x="470" y="661"/>
                    </a:lnTo>
                    <a:lnTo>
                      <a:pt x="473" y="656"/>
                    </a:lnTo>
                    <a:lnTo>
                      <a:pt x="476" y="658"/>
                    </a:lnTo>
                    <a:lnTo>
                      <a:pt x="476" y="653"/>
                    </a:lnTo>
                    <a:lnTo>
                      <a:pt x="471" y="653"/>
                    </a:lnTo>
                    <a:lnTo>
                      <a:pt x="468" y="653"/>
                    </a:lnTo>
                    <a:lnTo>
                      <a:pt x="465" y="650"/>
                    </a:lnTo>
                    <a:lnTo>
                      <a:pt x="465" y="647"/>
                    </a:lnTo>
                    <a:lnTo>
                      <a:pt x="468" y="650"/>
                    </a:lnTo>
                    <a:lnTo>
                      <a:pt x="471" y="650"/>
                    </a:lnTo>
                    <a:lnTo>
                      <a:pt x="474" y="653"/>
                    </a:lnTo>
                    <a:lnTo>
                      <a:pt x="479" y="653"/>
                    </a:lnTo>
                    <a:lnTo>
                      <a:pt x="478" y="650"/>
                    </a:lnTo>
                    <a:lnTo>
                      <a:pt x="473" y="647"/>
                    </a:lnTo>
                    <a:lnTo>
                      <a:pt x="478" y="647"/>
                    </a:lnTo>
                    <a:lnTo>
                      <a:pt x="481" y="650"/>
                    </a:lnTo>
                    <a:lnTo>
                      <a:pt x="484" y="650"/>
                    </a:lnTo>
                    <a:lnTo>
                      <a:pt x="485" y="647"/>
                    </a:lnTo>
                    <a:lnTo>
                      <a:pt x="482" y="642"/>
                    </a:lnTo>
                    <a:lnTo>
                      <a:pt x="478" y="644"/>
                    </a:lnTo>
                    <a:lnTo>
                      <a:pt x="478" y="641"/>
                    </a:lnTo>
                    <a:lnTo>
                      <a:pt x="478" y="639"/>
                    </a:lnTo>
                    <a:lnTo>
                      <a:pt x="481" y="641"/>
                    </a:lnTo>
                    <a:lnTo>
                      <a:pt x="484" y="644"/>
                    </a:lnTo>
                    <a:lnTo>
                      <a:pt x="489" y="645"/>
                    </a:lnTo>
                    <a:lnTo>
                      <a:pt x="495" y="647"/>
                    </a:lnTo>
                    <a:lnTo>
                      <a:pt x="495" y="644"/>
                    </a:lnTo>
                    <a:lnTo>
                      <a:pt x="492" y="641"/>
                    </a:lnTo>
                    <a:lnTo>
                      <a:pt x="489" y="639"/>
                    </a:lnTo>
                    <a:lnTo>
                      <a:pt x="485" y="637"/>
                    </a:lnTo>
                    <a:lnTo>
                      <a:pt x="489" y="639"/>
                    </a:lnTo>
                    <a:lnTo>
                      <a:pt x="495" y="642"/>
                    </a:lnTo>
                    <a:lnTo>
                      <a:pt x="492" y="641"/>
                    </a:lnTo>
                    <a:lnTo>
                      <a:pt x="489" y="637"/>
                    </a:lnTo>
                    <a:lnTo>
                      <a:pt x="492" y="639"/>
                    </a:lnTo>
                    <a:lnTo>
                      <a:pt x="492" y="636"/>
                    </a:lnTo>
                    <a:lnTo>
                      <a:pt x="495" y="637"/>
                    </a:lnTo>
                    <a:lnTo>
                      <a:pt x="500" y="639"/>
                    </a:lnTo>
                    <a:lnTo>
                      <a:pt x="497" y="636"/>
                    </a:lnTo>
                    <a:lnTo>
                      <a:pt x="500" y="637"/>
                    </a:lnTo>
                    <a:lnTo>
                      <a:pt x="503" y="634"/>
                    </a:lnTo>
                    <a:lnTo>
                      <a:pt x="506" y="636"/>
                    </a:lnTo>
                    <a:lnTo>
                      <a:pt x="509" y="636"/>
                    </a:lnTo>
                    <a:lnTo>
                      <a:pt x="508" y="633"/>
                    </a:lnTo>
                    <a:lnTo>
                      <a:pt x="505" y="629"/>
                    </a:lnTo>
                    <a:lnTo>
                      <a:pt x="505" y="629"/>
                    </a:lnTo>
                    <a:lnTo>
                      <a:pt x="500" y="629"/>
                    </a:lnTo>
                    <a:lnTo>
                      <a:pt x="493" y="626"/>
                    </a:lnTo>
                    <a:lnTo>
                      <a:pt x="490" y="626"/>
                    </a:lnTo>
                    <a:lnTo>
                      <a:pt x="493" y="625"/>
                    </a:lnTo>
                    <a:lnTo>
                      <a:pt x="497" y="626"/>
                    </a:lnTo>
                    <a:lnTo>
                      <a:pt x="500" y="626"/>
                    </a:lnTo>
                    <a:lnTo>
                      <a:pt x="505" y="628"/>
                    </a:lnTo>
                    <a:lnTo>
                      <a:pt x="508" y="629"/>
                    </a:lnTo>
                    <a:lnTo>
                      <a:pt x="511" y="629"/>
                    </a:lnTo>
                    <a:lnTo>
                      <a:pt x="514" y="628"/>
                    </a:lnTo>
                    <a:lnTo>
                      <a:pt x="519" y="629"/>
                    </a:lnTo>
                    <a:lnTo>
                      <a:pt x="517" y="626"/>
                    </a:lnTo>
                    <a:lnTo>
                      <a:pt x="519" y="622"/>
                    </a:lnTo>
                    <a:lnTo>
                      <a:pt x="516" y="620"/>
                    </a:lnTo>
                    <a:lnTo>
                      <a:pt x="519" y="618"/>
                    </a:lnTo>
                    <a:lnTo>
                      <a:pt x="524" y="615"/>
                    </a:lnTo>
                    <a:lnTo>
                      <a:pt x="520" y="612"/>
                    </a:lnTo>
                    <a:lnTo>
                      <a:pt x="517" y="612"/>
                    </a:lnTo>
                    <a:lnTo>
                      <a:pt x="509" y="612"/>
                    </a:lnTo>
                    <a:lnTo>
                      <a:pt x="506" y="612"/>
                    </a:lnTo>
                    <a:lnTo>
                      <a:pt x="503" y="612"/>
                    </a:lnTo>
                    <a:lnTo>
                      <a:pt x="500" y="609"/>
                    </a:lnTo>
                    <a:lnTo>
                      <a:pt x="503" y="606"/>
                    </a:lnTo>
                    <a:lnTo>
                      <a:pt x="506" y="606"/>
                    </a:lnTo>
                    <a:lnTo>
                      <a:pt x="511" y="606"/>
                    </a:lnTo>
                    <a:lnTo>
                      <a:pt x="514" y="606"/>
                    </a:lnTo>
                    <a:lnTo>
                      <a:pt x="517" y="606"/>
                    </a:lnTo>
                    <a:lnTo>
                      <a:pt x="520" y="604"/>
                    </a:lnTo>
                    <a:lnTo>
                      <a:pt x="524" y="604"/>
                    </a:lnTo>
                    <a:lnTo>
                      <a:pt x="528" y="606"/>
                    </a:lnTo>
                    <a:lnTo>
                      <a:pt x="531" y="606"/>
                    </a:lnTo>
                    <a:lnTo>
                      <a:pt x="530" y="603"/>
                    </a:lnTo>
                    <a:lnTo>
                      <a:pt x="527" y="601"/>
                    </a:lnTo>
                    <a:lnTo>
                      <a:pt x="530" y="598"/>
                    </a:lnTo>
                    <a:lnTo>
                      <a:pt x="530" y="595"/>
                    </a:lnTo>
                    <a:lnTo>
                      <a:pt x="527" y="591"/>
                    </a:lnTo>
                    <a:lnTo>
                      <a:pt x="524" y="588"/>
                    </a:lnTo>
                    <a:lnTo>
                      <a:pt x="520" y="585"/>
                    </a:lnTo>
                    <a:lnTo>
                      <a:pt x="524" y="583"/>
                    </a:lnTo>
                    <a:lnTo>
                      <a:pt x="524" y="580"/>
                    </a:lnTo>
                    <a:lnTo>
                      <a:pt x="527" y="579"/>
                    </a:lnTo>
                    <a:lnTo>
                      <a:pt x="535" y="579"/>
                    </a:lnTo>
                    <a:lnTo>
                      <a:pt x="538" y="577"/>
                    </a:lnTo>
                    <a:lnTo>
                      <a:pt x="541" y="580"/>
                    </a:lnTo>
                    <a:lnTo>
                      <a:pt x="544" y="582"/>
                    </a:lnTo>
                    <a:lnTo>
                      <a:pt x="547" y="580"/>
                    </a:lnTo>
                    <a:lnTo>
                      <a:pt x="552" y="579"/>
                    </a:lnTo>
                    <a:lnTo>
                      <a:pt x="554" y="579"/>
                    </a:lnTo>
                    <a:lnTo>
                      <a:pt x="554" y="579"/>
                    </a:lnTo>
                    <a:lnTo>
                      <a:pt x="551" y="577"/>
                    </a:lnTo>
                    <a:lnTo>
                      <a:pt x="554" y="577"/>
                    </a:lnTo>
                    <a:lnTo>
                      <a:pt x="555" y="576"/>
                    </a:lnTo>
                    <a:lnTo>
                      <a:pt x="555" y="574"/>
                    </a:lnTo>
                    <a:lnTo>
                      <a:pt x="558" y="572"/>
                    </a:lnTo>
                    <a:lnTo>
                      <a:pt x="562" y="572"/>
                    </a:lnTo>
                    <a:lnTo>
                      <a:pt x="560" y="569"/>
                    </a:lnTo>
                    <a:lnTo>
                      <a:pt x="563" y="568"/>
                    </a:lnTo>
                    <a:lnTo>
                      <a:pt x="560" y="566"/>
                    </a:lnTo>
                    <a:lnTo>
                      <a:pt x="558" y="566"/>
                    </a:lnTo>
                    <a:lnTo>
                      <a:pt x="555" y="564"/>
                    </a:lnTo>
                    <a:lnTo>
                      <a:pt x="557" y="561"/>
                    </a:lnTo>
                    <a:lnTo>
                      <a:pt x="560" y="561"/>
                    </a:lnTo>
                    <a:lnTo>
                      <a:pt x="560" y="561"/>
                    </a:lnTo>
                    <a:lnTo>
                      <a:pt x="565" y="563"/>
                    </a:lnTo>
                    <a:lnTo>
                      <a:pt x="566" y="560"/>
                    </a:lnTo>
                    <a:lnTo>
                      <a:pt x="570" y="558"/>
                    </a:lnTo>
                    <a:lnTo>
                      <a:pt x="574" y="558"/>
                    </a:lnTo>
                    <a:lnTo>
                      <a:pt x="576" y="563"/>
                    </a:lnTo>
                    <a:lnTo>
                      <a:pt x="579" y="561"/>
                    </a:lnTo>
                    <a:lnTo>
                      <a:pt x="582" y="560"/>
                    </a:lnTo>
                    <a:lnTo>
                      <a:pt x="581" y="557"/>
                    </a:lnTo>
                    <a:lnTo>
                      <a:pt x="587" y="560"/>
                    </a:lnTo>
                    <a:lnTo>
                      <a:pt x="589" y="560"/>
                    </a:lnTo>
                    <a:lnTo>
                      <a:pt x="590" y="560"/>
                    </a:lnTo>
                    <a:lnTo>
                      <a:pt x="598" y="561"/>
                    </a:lnTo>
                    <a:lnTo>
                      <a:pt x="595" y="557"/>
                    </a:lnTo>
                    <a:lnTo>
                      <a:pt x="598" y="557"/>
                    </a:lnTo>
                    <a:lnTo>
                      <a:pt x="603" y="557"/>
                    </a:lnTo>
                    <a:lnTo>
                      <a:pt x="601" y="560"/>
                    </a:lnTo>
                    <a:lnTo>
                      <a:pt x="604" y="558"/>
                    </a:lnTo>
                    <a:lnTo>
                      <a:pt x="608" y="560"/>
                    </a:lnTo>
                    <a:lnTo>
                      <a:pt x="612" y="557"/>
                    </a:lnTo>
                    <a:lnTo>
                      <a:pt x="614" y="552"/>
                    </a:lnTo>
                    <a:lnTo>
                      <a:pt x="611" y="550"/>
                    </a:lnTo>
                    <a:lnTo>
                      <a:pt x="608" y="549"/>
                    </a:lnTo>
                    <a:lnTo>
                      <a:pt x="609" y="545"/>
                    </a:lnTo>
                    <a:lnTo>
                      <a:pt x="611" y="549"/>
                    </a:lnTo>
                    <a:lnTo>
                      <a:pt x="614" y="549"/>
                    </a:lnTo>
                    <a:lnTo>
                      <a:pt x="617" y="549"/>
                    </a:lnTo>
                    <a:lnTo>
                      <a:pt x="620" y="545"/>
                    </a:lnTo>
                    <a:lnTo>
                      <a:pt x="620" y="542"/>
                    </a:lnTo>
                    <a:lnTo>
                      <a:pt x="625" y="541"/>
                    </a:lnTo>
                    <a:lnTo>
                      <a:pt x="627" y="538"/>
                    </a:lnTo>
                    <a:lnTo>
                      <a:pt x="630" y="534"/>
                    </a:lnTo>
                    <a:lnTo>
                      <a:pt x="627" y="534"/>
                    </a:lnTo>
                    <a:lnTo>
                      <a:pt x="622" y="533"/>
                    </a:lnTo>
                    <a:lnTo>
                      <a:pt x="627" y="533"/>
                    </a:lnTo>
                    <a:lnTo>
                      <a:pt x="630" y="533"/>
                    </a:lnTo>
                    <a:lnTo>
                      <a:pt x="633" y="533"/>
                    </a:lnTo>
                    <a:lnTo>
                      <a:pt x="636" y="534"/>
                    </a:lnTo>
                    <a:lnTo>
                      <a:pt x="636" y="534"/>
                    </a:lnTo>
                    <a:lnTo>
                      <a:pt x="641" y="533"/>
                    </a:lnTo>
                    <a:lnTo>
                      <a:pt x="644" y="534"/>
                    </a:lnTo>
                    <a:lnTo>
                      <a:pt x="647" y="534"/>
                    </a:lnTo>
                    <a:lnTo>
                      <a:pt x="644" y="536"/>
                    </a:lnTo>
                    <a:lnTo>
                      <a:pt x="641" y="538"/>
                    </a:lnTo>
                    <a:lnTo>
                      <a:pt x="636" y="539"/>
                    </a:lnTo>
                    <a:lnTo>
                      <a:pt x="633" y="542"/>
                    </a:lnTo>
                    <a:lnTo>
                      <a:pt x="630" y="544"/>
                    </a:lnTo>
                    <a:lnTo>
                      <a:pt x="627" y="545"/>
                    </a:lnTo>
                    <a:lnTo>
                      <a:pt x="625" y="549"/>
                    </a:lnTo>
                    <a:lnTo>
                      <a:pt x="628" y="549"/>
                    </a:lnTo>
                    <a:lnTo>
                      <a:pt x="631" y="550"/>
                    </a:lnTo>
                    <a:lnTo>
                      <a:pt x="636" y="552"/>
                    </a:lnTo>
                    <a:lnTo>
                      <a:pt x="639" y="552"/>
                    </a:lnTo>
                    <a:lnTo>
                      <a:pt x="643" y="552"/>
                    </a:lnTo>
                    <a:lnTo>
                      <a:pt x="643" y="549"/>
                    </a:lnTo>
                    <a:lnTo>
                      <a:pt x="644" y="545"/>
                    </a:lnTo>
                    <a:lnTo>
                      <a:pt x="647" y="544"/>
                    </a:lnTo>
                    <a:lnTo>
                      <a:pt x="644" y="549"/>
                    </a:lnTo>
                    <a:lnTo>
                      <a:pt x="646" y="552"/>
                    </a:lnTo>
                    <a:lnTo>
                      <a:pt x="649" y="549"/>
                    </a:lnTo>
                    <a:lnTo>
                      <a:pt x="654" y="549"/>
                    </a:lnTo>
                    <a:lnTo>
                      <a:pt x="660" y="547"/>
                    </a:lnTo>
                    <a:lnTo>
                      <a:pt x="662" y="542"/>
                    </a:lnTo>
                    <a:lnTo>
                      <a:pt x="665" y="545"/>
                    </a:lnTo>
                    <a:lnTo>
                      <a:pt x="663" y="549"/>
                    </a:lnTo>
                    <a:lnTo>
                      <a:pt x="668" y="547"/>
                    </a:lnTo>
                    <a:lnTo>
                      <a:pt x="671" y="549"/>
                    </a:lnTo>
                    <a:lnTo>
                      <a:pt x="674" y="547"/>
                    </a:lnTo>
                    <a:lnTo>
                      <a:pt x="677" y="544"/>
                    </a:lnTo>
                    <a:lnTo>
                      <a:pt x="682" y="541"/>
                    </a:lnTo>
                    <a:lnTo>
                      <a:pt x="685" y="542"/>
                    </a:lnTo>
                    <a:lnTo>
                      <a:pt x="689" y="541"/>
                    </a:lnTo>
                    <a:lnTo>
                      <a:pt x="687" y="538"/>
                    </a:lnTo>
                    <a:lnTo>
                      <a:pt x="689" y="534"/>
                    </a:lnTo>
                    <a:lnTo>
                      <a:pt x="685" y="531"/>
                    </a:lnTo>
                    <a:lnTo>
                      <a:pt x="689" y="530"/>
                    </a:lnTo>
                    <a:lnTo>
                      <a:pt x="689" y="534"/>
                    </a:lnTo>
                    <a:lnTo>
                      <a:pt x="692" y="536"/>
                    </a:lnTo>
                    <a:lnTo>
                      <a:pt x="696" y="536"/>
                    </a:lnTo>
                    <a:lnTo>
                      <a:pt x="700" y="538"/>
                    </a:lnTo>
                    <a:lnTo>
                      <a:pt x="703" y="538"/>
                    </a:lnTo>
                    <a:lnTo>
                      <a:pt x="701" y="534"/>
                    </a:lnTo>
                    <a:lnTo>
                      <a:pt x="704" y="531"/>
                    </a:lnTo>
                    <a:lnTo>
                      <a:pt x="704" y="534"/>
                    </a:lnTo>
                    <a:lnTo>
                      <a:pt x="708" y="536"/>
                    </a:lnTo>
                    <a:lnTo>
                      <a:pt x="711" y="533"/>
                    </a:lnTo>
                    <a:lnTo>
                      <a:pt x="715" y="531"/>
                    </a:lnTo>
                    <a:lnTo>
                      <a:pt x="719" y="530"/>
                    </a:lnTo>
                    <a:lnTo>
                      <a:pt x="722" y="528"/>
                    </a:lnTo>
                    <a:lnTo>
                      <a:pt x="725" y="526"/>
                    </a:lnTo>
                    <a:lnTo>
                      <a:pt x="723" y="523"/>
                    </a:lnTo>
                    <a:lnTo>
                      <a:pt x="727" y="520"/>
                    </a:lnTo>
                    <a:lnTo>
                      <a:pt x="727" y="523"/>
                    </a:lnTo>
                    <a:lnTo>
                      <a:pt x="730" y="522"/>
                    </a:lnTo>
                    <a:lnTo>
                      <a:pt x="728" y="525"/>
                    </a:lnTo>
                    <a:lnTo>
                      <a:pt x="733" y="523"/>
                    </a:lnTo>
                    <a:lnTo>
                      <a:pt x="736" y="522"/>
                    </a:lnTo>
                    <a:lnTo>
                      <a:pt x="738" y="518"/>
                    </a:lnTo>
                    <a:lnTo>
                      <a:pt x="741" y="518"/>
                    </a:lnTo>
                    <a:lnTo>
                      <a:pt x="741" y="515"/>
                    </a:lnTo>
                    <a:lnTo>
                      <a:pt x="742" y="512"/>
                    </a:lnTo>
                    <a:lnTo>
                      <a:pt x="746" y="512"/>
                    </a:lnTo>
                    <a:lnTo>
                      <a:pt x="744" y="511"/>
                    </a:lnTo>
                    <a:lnTo>
                      <a:pt x="746" y="509"/>
                    </a:lnTo>
                    <a:lnTo>
                      <a:pt x="749" y="509"/>
                    </a:lnTo>
                    <a:lnTo>
                      <a:pt x="754" y="507"/>
                    </a:lnTo>
                    <a:lnTo>
                      <a:pt x="757" y="506"/>
                    </a:lnTo>
                    <a:lnTo>
                      <a:pt x="757" y="503"/>
                    </a:lnTo>
                    <a:lnTo>
                      <a:pt x="761" y="501"/>
                    </a:lnTo>
                    <a:lnTo>
                      <a:pt x="760" y="498"/>
                    </a:lnTo>
                    <a:lnTo>
                      <a:pt x="763" y="498"/>
                    </a:lnTo>
                    <a:lnTo>
                      <a:pt x="766" y="495"/>
                    </a:lnTo>
                    <a:lnTo>
                      <a:pt x="766" y="492"/>
                    </a:lnTo>
                    <a:lnTo>
                      <a:pt x="769" y="492"/>
                    </a:lnTo>
                    <a:lnTo>
                      <a:pt x="774" y="490"/>
                    </a:lnTo>
                    <a:lnTo>
                      <a:pt x="776" y="487"/>
                    </a:lnTo>
                    <a:lnTo>
                      <a:pt x="790" y="482"/>
                    </a:lnTo>
                    <a:lnTo>
                      <a:pt x="803" y="480"/>
                    </a:lnTo>
                    <a:lnTo>
                      <a:pt x="806" y="477"/>
                    </a:lnTo>
                    <a:lnTo>
                      <a:pt x="806" y="474"/>
                    </a:lnTo>
                    <a:lnTo>
                      <a:pt x="809" y="474"/>
                    </a:lnTo>
                    <a:lnTo>
                      <a:pt x="807" y="469"/>
                    </a:lnTo>
                    <a:lnTo>
                      <a:pt x="804" y="469"/>
                    </a:lnTo>
                    <a:lnTo>
                      <a:pt x="801" y="468"/>
                    </a:lnTo>
                    <a:lnTo>
                      <a:pt x="804" y="468"/>
                    </a:lnTo>
                    <a:lnTo>
                      <a:pt x="807" y="466"/>
                    </a:lnTo>
                    <a:lnTo>
                      <a:pt x="804" y="463"/>
                    </a:lnTo>
                    <a:lnTo>
                      <a:pt x="801" y="461"/>
                    </a:lnTo>
                    <a:lnTo>
                      <a:pt x="800" y="458"/>
                    </a:lnTo>
                    <a:lnTo>
                      <a:pt x="804" y="457"/>
                    </a:lnTo>
                    <a:lnTo>
                      <a:pt x="804" y="453"/>
                    </a:lnTo>
                    <a:lnTo>
                      <a:pt x="806" y="457"/>
                    </a:lnTo>
                    <a:lnTo>
                      <a:pt x="807" y="460"/>
                    </a:lnTo>
                    <a:lnTo>
                      <a:pt x="811" y="460"/>
                    </a:lnTo>
                    <a:lnTo>
                      <a:pt x="811" y="463"/>
                    </a:lnTo>
                    <a:lnTo>
                      <a:pt x="812" y="466"/>
                    </a:lnTo>
                    <a:lnTo>
                      <a:pt x="815" y="466"/>
                    </a:lnTo>
                    <a:lnTo>
                      <a:pt x="819" y="466"/>
                    </a:lnTo>
                    <a:lnTo>
                      <a:pt x="823" y="468"/>
                    </a:lnTo>
                    <a:lnTo>
                      <a:pt x="819" y="469"/>
                    </a:lnTo>
                    <a:lnTo>
                      <a:pt x="820" y="472"/>
                    </a:lnTo>
                    <a:lnTo>
                      <a:pt x="823" y="472"/>
                    </a:lnTo>
                    <a:lnTo>
                      <a:pt x="826" y="471"/>
                    </a:lnTo>
                    <a:lnTo>
                      <a:pt x="830" y="472"/>
                    </a:lnTo>
                    <a:lnTo>
                      <a:pt x="833" y="472"/>
                    </a:lnTo>
                    <a:lnTo>
                      <a:pt x="842" y="472"/>
                    </a:lnTo>
                    <a:lnTo>
                      <a:pt x="850" y="472"/>
                    </a:lnTo>
                    <a:lnTo>
                      <a:pt x="849" y="468"/>
                    </a:lnTo>
                    <a:lnTo>
                      <a:pt x="846" y="466"/>
                    </a:lnTo>
                    <a:lnTo>
                      <a:pt x="849" y="468"/>
                    </a:lnTo>
                    <a:lnTo>
                      <a:pt x="852" y="471"/>
                    </a:lnTo>
                    <a:lnTo>
                      <a:pt x="855" y="472"/>
                    </a:lnTo>
                    <a:lnTo>
                      <a:pt x="860" y="471"/>
                    </a:lnTo>
                    <a:lnTo>
                      <a:pt x="863" y="471"/>
                    </a:lnTo>
                    <a:lnTo>
                      <a:pt x="861" y="468"/>
                    </a:lnTo>
                    <a:lnTo>
                      <a:pt x="858" y="466"/>
                    </a:lnTo>
                    <a:lnTo>
                      <a:pt x="861" y="466"/>
                    </a:lnTo>
                    <a:lnTo>
                      <a:pt x="865" y="466"/>
                    </a:lnTo>
                    <a:lnTo>
                      <a:pt x="865" y="466"/>
                    </a:lnTo>
                    <a:lnTo>
                      <a:pt x="866" y="463"/>
                    </a:lnTo>
                    <a:lnTo>
                      <a:pt x="866" y="463"/>
                    </a:lnTo>
                    <a:lnTo>
                      <a:pt x="868" y="461"/>
                    </a:lnTo>
                    <a:lnTo>
                      <a:pt x="871" y="465"/>
                    </a:lnTo>
                    <a:lnTo>
                      <a:pt x="874" y="466"/>
                    </a:lnTo>
                    <a:lnTo>
                      <a:pt x="877" y="468"/>
                    </a:lnTo>
                    <a:lnTo>
                      <a:pt x="882" y="468"/>
                    </a:lnTo>
                    <a:lnTo>
                      <a:pt x="885" y="465"/>
                    </a:lnTo>
                    <a:lnTo>
                      <a:pt x="888" y="465"/>
                    </a:lnTo>
                    <a:lnTo>
                      <a:pt x="888" y="461"/>
                    </a:lnTo>
                    <a:lnTo>
                      <a:pt x="892" y="463"/>
                    </a:lnTo>
                    <a:lnTo>
                      <a:pt x="896" y="465"/>
                    </a:lnTo>
                    <a:lnTo>
                      <a:pt x="899" y="463"/>
                    </a:lnTo>
                    <a:lnTo>
                      <a:pt x="903" y="461"/>
                    </a:lnTo>
                    <a:lnTo>
                      <a:pt x="906" y="461"/>
                    </a:lnTo>
                    <a:lnTo>
                      <a:pt x="909" y="460"/>
                    </a:lnTo>
                    <a:lnTo>
                      <a:pt x="912" y="458"/>
                    </a:lnTo>
                    <a:lnTo>
                      <a:pt x="917" y="460"/>
                    </a:lnTo>
                    <a:lnTo>
                      <a:pt x="920" y="460"/>
                    </a:lnTo>
                    <a:lnTo>
                      <a:pt x="922" y="455"/>
                    </a:lnTo>
                    <a:lnTo>
                      <a:pt x="925" y="458"/>
                    </a:lnTo>
                    <a:lnTo>
                      <a:pt x="928" y="457"/>
                    </a:lnTo>
                    <a:lnTo>
                      <a:pt x="933" y="455"/>
                    </a:lnTo>
                    <a:lnTo>
                      <a:pt x="936" y="457"/>
                    </a:lnTo>
                    <a:lnTo>
                      <a:pt x="939" y="455"/>
                    </a:lnTo>
                    <a:lnTo>
                      <a:pt x="942" y="455"/>
                    </a:lnTo>
                    <a:lnTo>
                      <a:pt x="947" y="455"/>
                    </a:lnTo>
                    <a:lnTo>
                      <a:pt x="950" y="453"/>
                    </a:lnTo>
                    <a:lnTo>
                      <a:pt x="953" y="453"/>
                    </a:lnTo>
                    <a:lnTo>
                      <a:pt x="957" y="452"/>
                    </a:lnTo>
                    <a:lnTo>
                      <a:pt x="964" y="452"/>
                    </a:lnTo>
                    <a:lnTo>
                      <a:pt x="968" y="452"/>
                    </a:lnTo>
                    <a:lnTo>
                      <a:pt x="971" y="449"/>
                    </a:lnTo>
                    <a:lnTo>
                      <a:pt x="977" y="449"/>
                    </a:lnTo>
                    <a:lnTo>
                      <a:pt x="980" y="446"/>
                    </a:lnTo>
                    <a:lnTo>
                      <a:pt x="985" y="446"/>
                    </a:lnTo>
                    <a:lnTo>
                      <a:pt x="988" y="442"/>
                    </a:lnTo>
                    <a:lnTo>
                      <a:pt x="991" y="441"/>
                    </a:lnTo>
                    <a:lnTo>
                      <a:pt x="988" y="441"/>
                    </a:lnTo>
                    <a:lnTo>
                      <a:pt x="991" y="438"/>
                    </a:lnTo>
                    <a:lnTo>
                      <a:pt x="995" y="439"/>
                    </a:lnTo>
                    <a:lnTo>
                      <a:pt x="999" y="439"/>
                    </a:lnTo>
                    <a:lnTo>
                      <a:pt x="998" y="436"/>
                    </a:lnTo>
                    <a:lnTo>
                      <a:pt x="1001" y="436"/>
                    </a:lnTo>
                    <a:lnTo>
                      <a:pt x="1006" y="436"/>
                    </a:lnTo>
                    <a:lnTo>
                      <a:pt x="1007" y="433"/>
                    </a:lnTo>
                    <a:lnTo>
                      <a:pt x="1003" y="433"/>
                    </a:lnTo>
                    <a:lnTo>
                      <a:pt x="1007" y="430"/>
                    </a:lnTo>
                    <a:lnTo>
                      <a:pt x="1010" y="431"/>
                    </a:lnTo>
                    <a:lnTo>
                      <a:pt x="1014" y="433"/>
                    </a:lnTo>
                    <a:lnTo>
                      <a:pt x="1017" y="431"/>
                    </a:lnTo>
                    <a:lnTo>
                      <a:pt x="1014" y="431"/>
                    </a:lnTo>
                    <a:lnTo>
                      <a:pt x="1018" y="430"/>
                    </a:lnTo>
                    <a:lnTo>
                      <a:pt x="1017" y="427"/>
                    </a:lnTo>
                    <a:lnTo>
                      <a:pt x="1020" y="427"/>
                    </a:lnTo>
                    <a:lnTo>
                      <a:pt x="1023" y="428"/>
                    </a:lnTo>
                    <a:lnTo>
                      <a:pt x="1026" y="427"/>
                    </a:lnTo>
                    <a:lnTo>
                      <a:pt x="1028" y="425"/>
                    </a:lnTo>
                    <a:lnTo>
                      <a:pt x="1033" y="427"/>
                    </a:lnTo>
                    <a:lnTo>
                      <a:pt x="1034" y="423"/>
                    </a:lnTo>
                    <a:lnTo>
                      <a:pt x="1031" y="422"/>
                    </a:lnTo>
                    <a:lnTo>
                      <a:pt x="1034" y="422"/>
                    </a:lnTo>
                    <a:lnTo>
                      <a:pt x="1037" y="420"/>
                    </a:lnTo>
                    <a:lnTo>
                      <a:pt x="1041" y="423"/>
                    </a:lnTo>
                    <a:lnTo>
                      <a:pt x="1045" y="422"/>
                    </a:lnTo>
                    <a:lnTo>
                      <a:pt x="1049" y="419"/>
                    </a:lnTo>
                    <a:lnTo>
                      <a:pt x="1045" y="415"/>
                    </a:lnTo>
                    <a:lnTo>
                      <a:pt x="1042" y="415"/>
                    </a:lnTo>
                    <a:lnTo>
                      <a:pt x="1045" y="415"/>
                    </a:lnTo>
                    <a:lnTo>
                      <a:pt x="1050" y="415"/>
                    </a:lnTo>
                    <a:lnTo>
                      <a:pt x="1053" y="415"/>
                    </a:lnTo>
                    <a:lnTo>
                      <a:pt x="1056" y="415"/>
                    </a:lnTo>
                    <a:lnTo>
                      <a:pt x="1056" y="411"/>
                    </a:lnTo>
                    <a:lnTo>
                      <a:pt x="1060" y="412"/>
                    </a:lnTo>
                    <a:lnTo>
                      <a:pt x="1064" y="414"/>
                    </a:lnTo>
                    <a:lnTo>
                      <a:pt x="1068" y="414"/>
                    </a:lnTo>
                    <a:lnTo>
                      <a:pt x="1064" y="411"/>
                    </a:lnTo>
                    <a:lnTo>
                      <a:pt x="1060" y="411"/>
                    </a:lnTo>
                    <a:lnTo>
                      <a:pt x="1064" y="411"/>
                    </a:lnTo>
                    <a:lnTo>
                      <a:pt x="1068" y="409"/>
                    </a:lnTo>
                    <a:lnTo>
                      <a:pt x="1071" y="411"/>
                    </a:lnTo>
                    <a:lnTo>
                      <a:pt x="1074" y="407"/>
                    </a:lnTo>
                    <a:lnTo>
                      <a:pt x="1079" y="407"/>
                    </a:lnTo>
                    <a:lnTo>
                      <a:pt x="1082" y="406"/>
                    </a:lnTo>
                    <a:lnTo>
                      <a:pt x="1087" y="406"/>
                    </a:lnTo>
                    <a:lnTo>
                      <a:pt x="1090" y="404"/>
                    </a:lnTo>
                    <a:lnTo>
                      <a:pt x="1087" y="403"/>
                    </a:lnTo>
                    <a:lnTo>
                      <a:pt x="1082" y="403"/>
                    </a:lnTo>
                    <a:lnTo>
                      <a:pt x="1079" y="403"/>
                    </a:lnTo>
                    <a:lnTo>
                      <a:pt x="1075" y="403"/>
                    </a:lnTo>
                    <a:lnTo>
                      <a:pt x="1071" y="403"/>
                    </a:lnTo>
                    <a:lnTo>
                      <a:pt x="1060" y="403"/>
                    </a:lnTo>
                    <a:lnTo>
                      <a:pt x="1050" y="401"/>
                    </a:lnTo>
                    <a:lnTo>
                      <a:pt x="1045" y="401"/>
                    </a:lnTo>
                    <a:lnTo>
                      <a:pt x="1042" y="400"/>
                    </a:lnTo>
                    <a:lnTo>
                      <a:pt x="1036" y="398"/>
                    </a:lnTo>
                    <a:lnTo>
                      <a:pt x="1031" y="398"/>
                    </a:lnTo>
                    <a:lnTo>
                      <a:pt x="1025" y="395"/>
                    </a:lnTo>
                    <a:lnTo>
                      <a:pt x="1020" y="395"/>
                    </a:lnTo>
                    <a:lnTo>
                      <a:pt x="1017" y="395"/>
                    </a:lnTo>
                    <a:lnTo>
                      <a:pt x="1010" y="396"/>
                    </a:lnTo>
                    <a:lnTo>
                      <a:pt x="1014" y="393"/>
                    </a:lnTo>
                    <a:lnTo>
                      <a:pt x="998" y="396"/>
                    </a:lnTo>
                    <a:lnTo>
                      <a:pt x="982" y="400"/>
                    </a:lnTo>
                    <a:lnTo>
                      <a:pt x="977" y="400"/>
                    </a:lnTo>
                    <a:lnTo>
                      <a:pt x="974" y="398"/>
                    </a:lnTo>
                    <a:lnTo>
                      <a:pt x="971" y="398"/>
                    </a:lnTo>
                    <a:lnTo>
                      <a:pt x="966" y="400"/>
                    </a:lnTo>
                    <a:lnTo>
                      <a:pt x="963" y="400"/>
                    </a:lnTo>
                    <a:lnTo>
                      <a:pt x="960" y="403"/>
                    </a:lnTo>
                    <a:lnTo>
                      <a:pt x="957" y="406"/>
                    </a:lnTo>
                    <a:lnTo>
                      <a:pt x="953" y="407"/>
                    </a:lnTo>
                    <a:lnTo>
                      <a:pt x="950" y="406"/>
                    </a:lnTo>
                    <a:lnTo>
                      <a:pt x="950" y="404"/>
                    </a:lnTo>
                    <a:lnTo>
                      <a:pt x="942" y="406"/>
                    </a:lnTo>
                    <a:lnTo>
                      <a:pt x="939" y="406"/>
                    </a:lnTo>
                    <a:lnTo>
                      <a:pt x="934" y="404"/>
                    </a:lnTo>
                    <a:lnTo>
                      <a:pt x="928" y="404"/>
                    </a:lnTo>
                    <a:lnTo>
                      <a:pt x="925" y="403"/>
                    </a:lnTo>
                    <a:lnTo>
                      <a:pt x="928" y="403"/>
                    </a:lnTo>
                    <a:lnTo>
                      <a:pt x="931" y="401"/>
                    </a:lnTo>
                    <a:lnTo>
                      <a:pt x="934" y="401"/>
                    </a:lnTo>
                    <a:lnTo>
                      <a:pt x="939" y="403"/>
                    </a:lnTo>
                    <a:lnTo>
                      <a:pt x="942" y="403"/>
                    </a:lnTo>
                    <a:lnTo>
                      <a:pt x="945" y="403"/>
                    </a:lnTo>
                    <a:lnTo>
                      <a:pt x="949" y="401"/>
                    </a:lnTo>
                    <a:lnTo>
                      <a:pt x="953" y="401"/>
                    </a:lnTo>
                    <a:lnTo>
                      <a:pt x="957" y="400"/>
                    </a:lnTo>
                    <a:lnTo>
                      <a:pt x="960" y="398"/>
                    </a:lnTo>
                    <a:lnTo>
                      <a:pt x="963" y="396"/>
                    </a:lnTo>
                    <a:lnTo>
                      <a:pt x="968" y="395"/>
                    </a:lnTo>
                    <a:lnTo>
                      <a:pt x="972" y="396"/>
                    </a:lnTo>
                    <a:lnTo>
                      <a:pt x="977" y="396"/>
                    </a:lnTo>
                    <a:lnTo>
                      <a:pt x="980" y="395"/>
                    </a:lnTo>
                    <a:lnTo>
                      <a:pt x="985" y="393"/>
                    </a:lnTo>
                    <a:lnTo>
                      <a:pt x="982" y="390"/>
                    </a:lnTo>
                    <a:lnTo>
                      <a:pt x="977" y="390"/>
                    </a:lnTo>
                    <a:lnTo>
                      <a:pt x="974" y="390"/>
                    </a:lnTo>
                    <a:lnTo>
                      <a:pt x="971" y="390"/>
                    </a:lnTo>
                    <a:lnTo>
                      <a:pt x="968" y="392"/>
                    </a:lnTo>
                    <a:lnTo>
                      <a:pt x="963" y="390"/>
                    </a:lnTo>
                    <a:lnTo>
                      <a:pt x="960" y="392"/>
                    </a:lnTo>
                    <a:lnTo>
                      <a:pt x="947" y="393"/>
                    </a:lnTo>
                    <a:lnTo>
                      <a:pt x="934" y="393"/>
                    </a:lnTo>
                    <a:lnTo>
                      <a:pt x="933" y="388"/>
                    </a:lnTo>
                    <a:lnTo>
                      <a:pt x="930" y="390"/>
                    </a:lnTo>
                    <a:lnTo>
                      <a:pt x="926" y="390"/>
                    </a:lnTo>
                    <a:lnTo>
                      <a:pt x="923" y="390"/>
                    </a:lnTo>
                    <a:lnTo>
                      <a:pt x="918" y="392"/>
                    </a:lnTo>
                    <a:lnTo>
                      <a:pt x="915" y="392"/>
                    </a:lnTo>
                    <a:lnTo>
                      <a:pt x="912" y="390"/>
                    </a:lnTo>
                    <a:lnTo>
                      <a:pt x="920" y="390"/>
                    </a:lnTo>
                    <a:lnTo>
                      <a:pt x="930" y="388"/>
                    </a:lnTo>
                    <a:lnTo>
                      <a:pt x="934" y="388"/>
                    </a:lnTo>
                    <a:lnTo>
                      <a:pt x="938" y="385"/>
                    </a:lnTo>
                    <a:lnTo>
                      <a:pt x="941" y="385"/>
                    </a:lnTo>
                    <a:lnTo>
                      <a:pt x="944" y="382"/>
                    </a:lnTo>
                    <a:lnTo>
                      <a:pt x="947" y="379"/>
                    </a:lnTo>
                    <a:lnTo>
                      <a:pt x="947" y="376"/>
                    </a:lnTo>
                    <a:lnTo>
                      <a:pt x="944" y="374"/>
                    </a:lnTo>
                    <a:lnTo>
                      <a:pt x="941" y="373"/>
                    </a:lnTo>
                    <a:lnTo>
                      <a:pt x="944" y="374"/>
                    </a:lnTo>
                    <a:lnTo>
                      <a:pt x="947" y="373"/>
                    </a:lnTo>
                    <a:lnTo>
                      <a:pt x="952" y="373"/>
                    </a:lnTo>
                    <a:lnTo>
                      <a:pt x="955" y="374"/>
                    </a:lnTo>
                    <a:lnTo>
                      <a:pt x="958" y="373"/>
                    </a:lnTo>
                    <a:lnTo>
                      <a:pt x="955" y="371"/>
                    </a:lnTo>
                    <a:lnTo>
                      <a:pt x="953" y="368"/>
                    </a:lnTo>
                    <a:lnTo>
                      <a:pt x="958" y="368"/>
                    </a:lnTo>
                    <a:lnTo>
                      <a:pt x="960" y="371"/>
                    </a:lnTo>
                    <a:lnTo>
                      <a:pt x="963" y="374"/>
                    </a:lnTo>
                    <a:lnTo>
                      <a:pt x="968" y="374"/>
                    </a:lnTo>
                    <a:lnTo>
                      <a:pt x="971" y="374"/>
                    </a:lnTo>
                    <a:lnTo>
                      <a:pt x="974" y="374"/>
                    </a:lnTo>
                    <a:lnTo>
                      <a:pt x="977" y="374"/>
                    </a:lnTo>
                    <a:lnTo>
                      <a:pt x="982" y="374"/>
                    </a:lnTo>
                    <a:lnTo>
                      <a:pt x="985" y="374"/>
                    </a:lnTo>
                    <a:lnTo>
                      <a:pt x="998" y="371"/>
                    </a:lnTo>
                    <a:lnTo>
                      <a:pt x="1010" y="368"/>
                    </a:lnTo>
                    <a:lnTo>
                      <a:pt x="1012" y="365"/>
                    </a:lnTo>
                    <a:lnTo>
                      <a:pt x="1015" y="365"/>
                    </a:lnTo>
                    <a:lnTo>
                      <a:pt x="1018" y="363"/>
                    </a:lnTo>
                    <a:lnTo>
                      <a:pt x="1018" y="360"/>
                    </a:lnTo>
                    <a:lnTo>
                      <a:pt x="1017" y="358"/>
                    </a:lnTo>
                    <a:lnTo>
                      <a:pt x="1015" y="357"/>
                    </a:lnTo>
                    <a:lnTo>
                      <a:pt x="1012" y="357"/>
                    </a:lnTo>
                    <a:lnTo>
                      <a:pt x="1006" y="355"/>
                    </a:lnTo>
                    <a:lnTo>
                      <a:pt x="1001" y="355"/>
                    </a:lnTo>
                    <a:lnTo>
                      <a:pt x="996" y="355"/>
                    </a:lnTo>
                    <a:lnTo>
                      <a:pt x="993" y="357"/>
                    </a:lnTo>
                    <a:lnTo>
                      <a:pt x="990" y="357"/>
                    </a:lnTo>
                    <a:lnTo>
                      <a:pt x="987" y="355"/>
                    </a:lnTo>
                    <a:lnTo>
                      <a:pt x="982" y="355"/>
                    </a:lnTo>
                    <a:lnTo>
                      <a:pt x="976" y="355"/>
                    </a:lnTo>
                    <a:lnTo>
                      <a:pt x="979" y="354"/>
                    </a:lnTo>
                    <a:lnTo>
                      <a:pt x="976" y="354"/>
                    </a:lnTo>
                    <a:lnTo>
                      <a:pt x="972" y="352"/>
                    </a:lnTo>
                    <a:lnTo>
                      <a:pt x="968" y="352"/>
                    </a:lnTo>
                    <a:lnTo>
                      <a:pt x="964" y="352"/>
                    </a:lnTo>
                    <a:lnTo>
                      <a:pt x="961" y="352"/>
                    </a:lnTo>
                    <a:lnTo>
                      <a:pt x="957" y="354"/>
                    </a:lnTo>
                    <a:lnTo>
                      <a:pt x="950" y="354"/>
                    </a:lnTo>
                    <a:lnTo>
                      <a:pt x="947" y="354"/>
                    </a:lnTo>
                    <a:lnTo>
                      <a:pt x="950" y="354"/>
                    </a:lnTo>
                    <a:lnTo>
                      <a:pt x="953" y="354"/>
                    </a:lnTo>
                    <a:lnTo>
                      <a:pt x="958" y="352"/>
                    </a:lnTo>
                    <a:lnTo>
                      <a:pt x="961" y="352"/>
                    </a:lnTo>
                    <a:lnTo>
                      <a:pt x="964" y="350"/>
                    </a:lnTo>
                    <a:lnTo>
                      <a:pt x="968" y="350"/>
                    </a:lnTo>
                    <a:lnTo>
                      <a:pt x="972" y="350"/>
                    </a:lnTo>
                    <a:lnTo>
                      <a:pt x="976" y="349"/>
                    </a:lnTo>
                    <a:lnTo>
                      <a:pt x="971" y="347"/>
                    </a:lnTo>
                    <a:lnTo>
                      <a:pt x="968" y="346"/>
                    </a:lnTo>
                    <a:lnTo>
                      <a:pt x="964" y="344"/>
                    </a:lnTo>
                    <a:lnTo>
                      <a:pt x="961" y="342"/>
                    </a:lnTo>
                    <a:lnTo>
                      <a:pt x="964" y="342"/>
                    </a:lnTo>
                    <a:lnTo>
                      <a:pt x="961" y="341"/>
                    </a:lnTo>
                    <a:lnTo>
                      <a:pt x="957" y="341"/>
                    </a:lnTo>
                    <a:lnTo>
                      <a:pt x="953" y="341"/>
                    </a:lnTo>
                    <a:lnTo>
                      <a:pt x="950" y="341"/>
                    </a:lnTo>
                    <a:lnTo>
                      <a:pt x="952" y="338"/>
                    </a:lnTo>
                    <a:lnTo>
                      <a:pt x="949" y="335"/>
                    </a:lnTo>
                    <a:lnTo>
                      <a:pt x="961" y="339"/>
                    </a:lnTo>
                    <a:lnTo>
                      <a:pt x="972" y="346"/>
                    </a:lnTo>
                    <a:lnTo>
                      <a:pt x="977" y="347"/>
                    </a:lnTo>
                    <a:lnTo>
                      <a:pt x="979" y="350"/>
                    </a:lnTo>
                    <a:lnTo>
                      <a:pt x="982" y="352"/>
                    </a:lnTo>
                    <a:lnTo>
                      <a:pt x="987" y="354"/>
                    </a:lnTo>
                    <a:lnTo>
                      <a:pt x="990" y="354"/>
                    </a:lnTo>
                    <a:lnTo>
                      <a:pt x="993" y="354"/>
                    </a:lnTo>
                    <a:lnTo>
                      <a:pt x="996" y="352"/>
                    </a:lnTo>
                    <a:lnTo>
                      <a:pt x="1001" y="354"/>
                    </a:lnTo>
                    <a:lnTo>
                      <a:pt x="1004" y="354"/>
                    </a:lnTo>
                    <a:lnTo>
                      <a:pt x="1007" y="354"/>
                    </a:lnTo>
                    <a:lnTo>
                      <a:pt x="1010" y="354"/>
                    </a:lnTo>
                    <a:lnTo>
                      <a:pt x="1015" y="355"/>
                    </a:lnTo>
                    <a:lnTo>
                      <a:pt x="1015" y="354"/>
                    </a:lnTo>
                    <a:lnTo>
                      <a:pt x="1022" y="357"/>
                    </a:lnTo>
                    <a:lnTo>
                      <a:pt x="1026" y="360"/>
                    </a:lnTo>
                    <a:lnTo>
                      <a:pt x="1031" y="361"/>
                    </a:lnTo>
                    <a:lnTo>
                      <a:pt x="1037" y="361"/>
                    </a:lnTo>
                    <a:lnTo>
                      <a:pt x="1041" y="363"/>
                    </a:lnTo>
                    <a:lnTo>
                      <a:pt x="1042" y="366"/>
                    </a:lnTo>
                    <a:lnTo>
                      <a:pt x="1047" y="369"/>
                    </a:lnTo>
                    <a:lnTo>
                      <a:pt x="1047" y="374"/>
                    </a:lnTo>
                    <a:lnTo>
                      <a:pt x="1045" y="377"/>
                    </a:lnTo>
                    <a:lnTo>
                      <a:pt x="1045" y="381"/>
                    </a:lnTo>
                    <a:lnTo>
                      <a:pt x="1049" y="384"/>
                    </a:lnTo>
                    <a:lnTo>
                      <a:pt x="1058" y="390"/>
                    </a:lnTo>
                    <a:lnTo>
                      <a:pt x="1069" y="392"/>
                    </a:lnTo>
                    <a:lnTo>
                      <a:pt x="1074" y="392"/>
                    </a:lnTo>
                    <a:lnTo>
                      <a:pt x="1080" y="392"/>
                    </a:lnTo>
                    <a:lnTo>
                      <a:pt x="1083" y="388"/>
                    </a:lnTo>
                    <a:lnTo>
                      <a:pt x="1085" y="385"/>
                    </a:lnTo>
                    <a:lnTo>
                      <a:pt x="1083" y="382"/>
                    </a:lnTo>
                    <a:lnTo>
                      <a:pt x="1087" y="379"/>
                    </a:lnTo>
                    <a:lnTo>
                      <a:pt x="1090" y="379"/>
                    </a:lnTo>
                    <a:lnTo>
                      <a:pt x="1090" y="381"/>
                    </a:lnTo>
                    <a:lnTo>
                      <a:pt x="1088" y="384"/>
                    </a:lnTo>
                    <a:lnTo>
                      <a:pt x="1088" y="387"/>
                    </a:lnTo>
                    <a:lnTo>
                      <a:pt x="1091" y="390"/>
                    </a:lnTo>
                    <a:lnTo>
                      <a:pt x="1095" y="390"/>
                    </a:lnTo>
                    <a:lnTo>
                      <a:pt x="1098" y="388"/>
                    </a:lnTo>
                    <a:lnTo>
                      <a:pt x="1099" y="393"/>
                    </a:lnTo>
                    <a:lnTo>
                      <a:pt x="1102" y="392"/>
                    </a:lnTo>
                    <a:lnTo>
                      <a:pt x="1107" y="392"/>
                    </a:lnTo>
                    <a:lnTo>
                      <a:pt x="1110" y="390"/>
                    </a:lnTo>
                    <a:lnTo>
                      <a:pt x="1109" y="385"/>
                    </a:lnTo>
                    <a:lnTo>
                      <a:pt x="1106" y="385"/>
                    </a:lnTo>
                    <a:lnTo>
                      <a:pt x="1107" y="382"/>
                    </a:lnTo>
                    <a:lnTo>
                      <a:pt x="1112" y="381"/>
                    </a:lnTo>
                    <a:lnTo>
                      <a:pt x="1107" y="379"/>
                    </a:lnTo>
                    <a:lnTo>
                      <a:pt x="1104" y="379"/>
                    </a:lnTo>
                    <a:lnTo>
                      <a:pt x="1107" y="379"/>
                    </a:lnTo>
                    <a:lnTo>
                      <a:pt x="1110" y="376"/>
                    </a:lnTo>
                    <a:lnTo>
                      <a:pt x="1114" y="374"/>
                    </a:lnTo>
                    <a:lnTo>
                      <a:pt x="1110" y="373"/>
                    </a:lnTo>
                    <a:lnTo>
                      <a:pt x="1106" y="373"/>
                    </a:lnTo>
                    <a:lnTo>
                      <a:pt x="1110" y="369"/>
                    </a:lnTo>
                    <a:lnTo>
                      <a:pt x="1106" y="369"/>
                    </a:lnTo>
                    <a:lnTo>
                      <a:pt x="1102" y="371"/>
                    </a:lnTo>
                    <a:lnTo>
                      <a:pt x="1099" y="371"/>
                    </a:lnTo>
                    <a:lnTo>
                      <a:pt x="1102" y="369"/>
                    </a:lnTo>
                    <a:lnTo>
                      <a:pt x="1106" y="369"/>
                    </a:lnTo>
                    <a:lnTo>
                      <a:pt x="1110" y="366"/>
                    </a:lnTo>
                    <a:lnTo>
                      <a:pt x="1114" y="366"/>
                    </a:lnTo>
                    <a:lnTo>
                      <a:pt x="1112" y="363"/>
                    </a:lnTo>
                    <a:lnTo>
                      <a:pt x="1109" y="363"/>
                    </a:lnTo>
                    <a:lnTo>
                      <a:pt x="1112" y="363"/>
                    </a:lnTo>
                    <a:lnTo>
                      <a:pt x="1115" y="361"/>
                    </a:lnTo>
                    <a:lnTo>
                      <a:pt x="1112" y="360"/>
                    </a:lnTo>
                    <a:lnTo>
                      <a:pt x="1115" y="358"/>
                    </a:lnTo>
                    <a:lnTo>
                      <a:pt x="1109" y="357"/>
                    </a:lnTo>
                    <a:lnTo>
                      <a:pt x="1104" y="357"/>
                    </a:lnTo>
                    <a:lnTo>
                      <a:pt x="1101" y="358"/>
                    </a:lnTo>
                    <a:lnTo>
                      <a:pt x="1095" y="363"/>
                    </a:lnTo>
                    <a:lnTo>
                      <a:pt x="1095" y="360"/>
                    </a:lnTo>
                    <a:lnTo>
                      <a:pt x="1095" y="357"/>
                    </a:lnTo>
                    <a:lnTo>
                      <a:pt x="1098" y="354"/>
                    </a:lnTo>
                    <a:lnTo>
                      <a:pt x="1101" y="352"/>
                    </a:lnTo>
                    <a:lnTo>
                      <a:pt x="1106" y="352"/>
                    </a:lnTo>
                    <a:lnTo>
                      <a:pt x="1109" y="350"/>
                    </a:lnTo>
                    <a:lnTo>
                      <a:pt x="1112" y="349"/>
                    </a:lnTo>
                    <a:lnTo>
                      <a:pt x="1109" y="349"/>
                    </a:lnTo>
                    <a:lnTo>
                      <a:pt x="1106" y="347"/>
                    </a:lnTo>
                    <a:lnTo>
                      <a:pt x="1101" y="350"/>
                    </a:lnTo>
                    <a:lnTo>
                      <a:pt x="1098" y="350"/>
                    </a:lnTo>
                    <a:lnTo>
                      <a:pt x="1095" y="354"/>
                    </a:lnTo>
                    <a:lnTo>
                      <a:pt x="1095" y="350"/>
                    </a:lnTo>
                    <a:lnTo>
                      <a:pt x="1098" y="347"/>
                    </a:lnTo>
                    <a:lnTo>
                      <a:pt x="1095" y="347"/>
                    </a:lnTo>
                    <a:lnTo>
                      <a:pt x="1091" y="349"/>
                    </a:lnTo>
                    <a:lnTo>
                      <a:pt x="1088" y="350"/>
                    </a:lnTo>
                    <a:lnTo>
                      <a:pt x="1083" y="350"/>
                    </a:lnTo>
                    <a:lnTo>
                      <a:pt x="1087" y="347"/>
                    </a:lnTo>
                    <a:lnTo>
                      <a:pt x="1090" y="347"/>
                    </a:lnTo>
                    <a:lnTo>
                      <a:pt x="1093" y="346"/>
                    </a:lnTo>
                    <a:lnTo>
                      <a:pt x="1096" y="344"/>
                    </a:lnTo>
                    <a:lnTo>
                      <a:pt x="1099" y="342"/>
                    </a:lnTo>
                    <a:lnTo>
                      <a:pt x="1096" y="341"/>
                    </a:lnTo>
                    <a:lnTo>
                      <a:pt x="1093" y="339"/>
                    </a:lnTo>
                    <a:lnTo>
                      <a:pt x="1090" y="339"/>
                    </a:lnTo>
                    <a:lnTo>
                      <a:pt x="1085" y="339"/>
                    </a:lnTo>
                    <a:lnTo>
                      <a:pt x="1082" y="336"/>
                    </a:lnTo>
                    <a:lnTo>
                      <a:pt x="1079" y="335"/>
                    </a:lnTo>
                    <a:lnTo>
                      <a:pt x="1075" y="335"/>
                    </a:lnTo>
                    <a:lnTo>
                      <a:pt x="1072" y="335"/>
                    </a:lnTo>
                    <a:lnTo>
                      <a:pt x="1072" y="331"/>
                    </a:lnTo>
                    <a:lnTo>
                      <a:pt x="1069" y="331"/>
                    </a:lnTo>
                    <a:lnTo>
                      <a:pt x="1064" y="330"/>
                    </a:lnTo>
                    <a:lnTo>
                      <a:pt x="1061" y="328"/>
                    </a:lnTo>
                    <a:lnTo>
                      <a:pt x="1058" y="328"/>
                    </a:lnTo>
                    <a:lnTo>
                      <a:pt x="1055" y="325"/>
                    </a:lnTo>
                    <a:lnTo>
                      <a:pt x="1050" y="325"/>
                    </a:lnTo>
                    <a:lnTo>
                      <a:pt x="1047" y="325"/>
                    </a:lnTo>
                    <a:lnTo>
                      <a:pt x="1044" y="327"/>
                    </a:lnTo>
                    <a:lnTo>
                      <a:pt x="1042" y="327"/>
                    </a:lnTo>
                    <a:lnTo>
                      <a:pt x="1039" y="327"/>
                    </a:lnTo>
                    <a:lnTo>
                      <a:pt x="1034" y="328"/>
                    </a:lnTo>
                    <a:lnTo>
                      <a:pt x="1031" y="331"/>
                    </a:lnTo>
                    <a:lnTo>
                      <a:pt x="1028" y="331"/>
                    </a:lnTo>
                    <a:lnTo>
                      <a:pt x="1031" y="330"/>
                    </a:lnTo>
                    <a:lnTo>
                      <a:pt x="1033" y="325"/>
                    </a:lnTo>
                    <a:lnTo>
                      <a:pt x="1029" y="325"/>
                    </a:lnTo>
                    <a:lnTo>
                      <a:pt x="1025" y="327"/>
                    </a:lnTo>
                    <a:lnTo>
                      <a:pt x="1022" y="325"/>
                    </a:lnTo>
                    <a:lnTo>
                      <a:pt x="1037" y="325"/>
                    </a:lnTo>
                    <a:lnTo>
                      <a:pt x="1052" y="322"/>
                    </a:lnTo>
                    <a:lnTo>
                      <a:pt x="1052" y="319"/>
                    </a:lnTo>
                    <a:lnTo>
                      <a:pt x="1050" y="315"/>
                    </a:lnTo>
                    <a:lnTo>
                      <a:pt x="1047" y="314"/>
                    </a:lnTo>
                    <a:lnTo>
                      <a:pt x="1044" y="314"/>
                    </a:lnTo>
                    <a:lnTo>
                      <a:pt x="1039" y="312"/>
                    </a:lnTo>
                    <a:lnTo>
                      <a:pt x="1036" y="311"/>
                    </a:lnTo>
                    <a:lnTo>
                      <a:pt x="1033" y="311"/>
                    </a:lnTo>
                    <a:lnTo>
                      <a:pt x="1028" y="312"/>
                    </a:lnTo>
                    <a:lnTo>
                      <a:pt x="1025" y="314"/>
                    </a:lnTo>
                    <a:lnTo>
                      <a:pt x="1022" y="315"/>
                    </a:lnTo>
                    <a:lnTo>
                      <a:pt x="1017" y="315"/>
                    </a:lnTo>
                    <a:lnTo>
                      <a:pt x="1014" y="317"/>
                    </a:lnTo>
                    <a:lnTo>
                      <a:pt x="1010" y="319"/>
                    </a:lnTo>
                    <a:lnTo>
                      <a:pt x="1014" y="314"/>
                    </a:lnTo>
                    <a:lnTo>
                      <a:pt x="1010" y="315"/>
                    </a:lnTo>
                    <a:lnTo>
                      <a:pt x="1003" y="315"/>
                    </a:lnTo>
                    <a:lnTo>
                      <a:pt x="1006" y="314"/>
                    </a:lnTo>
                    <a:lnTo>
                      <a:pt x="1010" y="312"/>
                    </a:lnTo>
                    <a:lnTo>
                      <a:pt x="998" y="312"/>
                    </a:lnTo>
                    <a:lnTo>
                      <a:pt x="988" y="311"/>
                    </a:lnTo>
                    <a:lnTo>
                      <a:pt x="991" y="311"/>
                    </a:lnTo>
                    <a:lnTo>
                      <a:pt x="995" y="311"/>
                    </a:lnTo>
                    <a:lnTo>
                      <a:pt x="1003" y="311"/>
                    </a:lnTo>
                    <a:lnTo>
                      <a:pt x="1006" y="311"/>
                    </a:lnTo>
                    <a:lnTo>
                      <a:pt x="1010" y="311"/>
                    </a:lnTo>
                    <a:lnTo>
                      <a:pt x="1014" y="312"/>
                    </a:lnTo>
                    <a:lnTo>
                      <a:pt x="1017" y="314"/>
                    </a:lnTo>
                    <a:lnTo>
                      <a:pt x="1022" y="312"/>
                    </a:lnTo>
                    <a:lnTo>
                      <a:pt x="1025" y="312"/>
                    </a:lnTo>
                    <a:lnTo>
                      <a:pt x="1028" y="311"/>
                    </a:lnTo>
                    <a:lnTo>
                      <a:pt x="1031" y="309"/>
                    </a:lnTo>
                    <a:lnTo>
                      <a:pt x="1034" y="309"/>
                    </a:lnTo>
                    <a:lnTo>
                      <a:pt x="1039" y="309"/>
                    </a:lnTo>
                    <a:lnTo>
                      <a:pt x="1042" y="309"/>
                    </a:lnTo>
                    <a:lnTo>
                      <a:pt x="1045" y="308"/>
                    </a:lnTo>
                    <a:lnTo>
                      <a:pt x="1050" y="304"/>
                    </a:lnTo>
                    <a:lnTo>
                      <a:pt x="1045" y="303"/>
                    </a:lnTo>
                    <a:lnTo>
                      <a:pt x="1042" y="303"/>
                    </a:lnTo>
                    <a:lnTo>
                      <a:pt x="1039" y="303"/>
                    </a:lnTo>
                    <a:lnTo>
                      <a:pt x="1036" y="301"/>
                    </a:lnTo>
                    <a:lnTo>
                      <a:pt x="1029" y="300"/>
                    </a:lnTo>
                    <a:lnTo>
                      <a:pt x="1026" y="300"/>
                    </a:lnTo>
                    <a:lnTo>
                      <a:pt x="1023" y="300"/>
                    </a:lnTo>
                    <a:lnTo>
                      <a:pt x="1018" y="300"/>
                    </a:lnTo>
                    <a:lnTo>
                      <a:pt x="1014" y="300"/>
                    </a:lnTo>
                    <a:lnTo>
                      <a:pt x="1010" y="301"/>
                    </a:lnTo>
                    <a:lnTo>
                      <a:pt x="1007" y="303"/>
                    </a:lnTo>
                    <a:lnTo>
                      <a:pt x="1004" y="301"/>
                    </a:lnTo>
                    <a:lnTo>
                      <a:pt x="999" y="301"/>
                    </a:lnTo>
                    <a:lnTo>
                      <a:pt x="996" y="301"/>
                    </a:lnTo>
                    <a:lnTo>
                      <a:pt x="993" y="304"/>
                    </a:lnTo>
                    <a:lnTo>
                      <a:pt x="990" y="308"/>
                    </a:lnTo>
                    <a:lnTo>
                      <a:pt x="987" y="308"/>
                    </a:lnTo>
                    <a:lnTo>
                      <a:pt x="990" y="304"/>
                    </a:lnTo>
                    <a:lnTo>
                      <a:pt x="990" y="301"/>
                    </a:lnTo>
                    <a:lnTo>
                      <a:pt x="985" y="301"/>
                    </a:lnTo>
                    <a:lnTo>
                      <a:pt x="990" y="301"/>
                    </a:lnTo>
                    <a:lnTo>
                      <a:pt x="993" y="300"/>
                    </a:lnTo>
                    <a:lnTo>
                      <a:pt x="996" y="300"/>
                    </a:lnTo>
                    <a:lnTo>
                      <a:pt x="999" y="300"/>
                    </a:lnTo>
                    <a:lnTo>
                      <a:pt x="1004" y="301"/>
                    </a:lnTo>
                    <a:lnTo>
                      <a:pt x="1007" y="301"/>
                    </a:lnTo>
                    <a:lnTo>
                      <a:pt x="1012" y="300"/>
                    </a:lnTo>
                    <a:lnTo>
                      <a:pt x="1015" y="296"/>
                    </a:lnTo>
                    <a:lnTo>
                      <a:pt x="1004" y="295"/>
                    </a:lnTo>
                    <a:lnTo>
                      <a:pt x="993" y="290"/>
                    </a:lnTo>
                    <a:lnTo>
                      <a:pt x="998" y="290"/>
                    </a:lnTo>
                    <a:lnTo>
                      <a:pt x="1001" y="292"/>
                    </a:lnTo>
                    <a:lnTo>
                      <a:pt x="1004" y="293"/>
                    </a:lnTo>
                    <a:lnTo>
                      <a:pt x="1007" y="295"/>
                    </a:lnTo>
                    <a:lnTo>
                      <a:pt x="1012" y="295"/>
                    </a:lnTo>
                    <a:lnTo>
                      <a:pt x="1015" y="295"/>
                    </a:lnTo>
                    <a:lnTo>
                      <a:pt x="1018" y="295"/>
                    </a:lnTo>
                    <a:lnTo>
                      <a:pt x="1023" y="298"/>
                    </a:lnTo>
                    <a:lnTo>
                      <a:pt x="1026" y="298"/>
                    </a:lnTo>
                    <a:lnTo>
                      <a:pt x="1039" y="296"/>
                    </a:lnTo>
                    <a:lnTo>
                      <a:pt x="1042" y="293"/>
                    </a:lnTo>
                    <a:lnTo>
                      <a:pt x="1047" y="290"/>
                    </a:lnTo>
                    <a:lnTo>
                      <a:pt x="1063" y="290"/>
                    </a:lnTo>
                    <a:lnTo>
                      <a:pt x="1060" y="287"/>
                    </a:lnTo>
                    <a:lnTo>
                      <a:pt x="1055" y="287"/>
                    </a:lnTo>
                    <a:lnTo>
                      <a:pt x="1055" y="282"/>
                    </a:lnTo>
                    <a:lnTo>
                      <a:pt x="1050" y="282"/>
                    </a:lnTo>
                    <a:lnTo>
                      <a:pt x="1047" y="281"/>
                    </a:lnTo>
                    <a:lnTo>
                      <a:pt x="1042" y="276"/>
                    </a:lnTo>
                    <a:lnTo>
                      <a:pt x="1047" y="276"/>
                    </a:lnTo>
                    <a:lnTo>
                      <a:pt x="1050" y="279"/>
                    </a:lnTo>
                    <a:lnTo>
                      <a:pt x="1053" y="282"/>
                    </a:lnTo>
                    <a:lnTo>
                      <a:pt x="1056" y="282"/>
                    </a:lnTo>
                    <a:lnTo>
                      <a:pt x="1056" y="285"/>
                    </a:lnTo>
                    <a:lnTo>
                      <a:pt x="1061" y="287"/>
                    </a:lnTo>
                    <a:lnTo>
                      <a:pt x="1064" y="287"/>
                    </a:lnTo>
                    <a:lnTo>
                      <a:pt x="1068" y="287"/>
                    </a:lnTo>
                    <a:lnTo>
                      <a:pt x="1072" y="284"/>
                    </a:lnTo>
                    <a:lnTo>
                      <a:pt x="1075" y="281"/>
                    </a:lnTo>
                    <a:lnTo>
                      <a:pt x="1079" y="279"/>
                    </a:lnTo>
                    <a:lnTo>
                      <a:pt x="1080" y="281"/>
                    </a:lnTo>
                    <a:lnTo>
                      <a:pt x="1087" y="282"/>
                    </a:lnTo>
                    <a:lnTo>
                      <a:pt x="1096" y="282"/>
                    </a:lnTo>
                    <a:lnTo>
                      <a:pt x="1104" y="285"/>
                    </a:lnTo>
                    <a:lnTo>
                      <a:pt x="1110" y="287"/>
                    </a:lnTo>
                    <a:lnTo>
                      <a:pt x="1115" y="287"/>
                    </a:lnTo>
                    <a:lnTo>
                      <a:pt x="1125" y="285"/>
                    </a:lnTo>
                    <a:lnTo>
                      <a:pt x="1118" y="287"/>
                    </a:lnTo>
                    <a:lnTo>
                      <a:pt x="1114" y="287"/>
                    </a:lnTo>
                    <a:lnTo>
                      <a:pt x="1109" y="287"/>
                    </a:lnTo>
                    <a:lnTo>
                      <a:pt x="1102" y="285"/>
                    </a:lnTo>
                    <a:lnTo>
                      <a:pt x="1099" y="285"/>
                    </a:lnTo>
                    <a:lnTo>
                      <a:pt x="1096" y="282"/>
                    </a:lnTo>
                    <a:lnTo>
                      <a:pt x="1091" y="282"/>
                    </a:lnTo>
                    <a:lnTo>
                      <a:pt x="1088" y="282"/>
                    </a:lnTo>
                    <a:lnTo>
                      <a:pt x="1083" y="282"/>
                    </a:lnTo>
                    <a:lnTo>
                      <a:pt x="1082" y="285"/>
                    </a:lnTo>
                    <a:lnTo>
                      <a:pt x="1091" y="290"/>
                    </a:lnTo>
                    <a:lnTo>
                      <a:pt x="1102" y="295"/>
                    </a:lnTo>
                    <a:lnTo>
                      <a:pt x="1106" y="295"/>
                    </a:lnTo>
                    <a:lnTo>
                      <a:pt x="1110" y="295"/>
                    </a:lnTo>
                    <a:lnTo>
                      <a:pt x="1114" y="296"/>
                    </a:lnTo>
                    <a:lnTo>
                      <a:pt x="1117" y="298"/>
                    </a:lnTo>
                    <a:lnTo>
                      <a:pt x="1121" y="298"/>
                    </a:lnTo>
                    <a:lnTo>
                      <a:pt x="1125" y="296"/>
                    </a:lnTo>
                    <a:lnTo>
                      <a:pt x="1128" y="295"/>
                    </a:lnTo>
                    <a:lnTo>
                      <a:pt x="1133" y="295"/>
                    </a:lnTo>
                    <a:lnTo>
                      <a:pt x="1136" y="293"/>
                    </a:lnTo>
                    <a:lnTo>
                      <a:pt x="1139" y="293"/>
                    </a:lnTo>
                    <a:lnTo>
                      <a:pt x="1142" y="290"/>
                    </a:lnTo>
                    <a:lnTo>
                      <a:pt x="1145" y="290"/>
                    </a:lnTo>
                    <a:lnTo>
                      <a:pt x="1158" y="290"/>
                    </a:lnTo>
                    <a:lnTo>
                      <a:pt x="1167" y="290"/>
                    </a:lnTo>
                    <a:lnTo>
                      <a:pt x="1167" y="287"/>
                    </a:lnTo>
                    <a:lnTo>
                      <a:pt x="1169" y="285"/>
                    </a:lnTo>
                    <a:lnTo>
                      <a:pt x="1171" y="281"/>
                    </a:lnTo>
                    <a:lnTo>
                      <a:pt x="1174" y="281"/>
                    </a:lnTo>
                    <a:lnTo>
                      <a:pt x="1175" y="277"/>
                    </a:lnTo>
                    <a:lnTo>
                      <a:pt x="1164" y="276"/>
                    </a:lnTo>
                    <a:lnTo>
                      <a:pt x="1156" y="276"/>
                    </a:lnTo>
                    <a:lnTo>
                      <a:pt x="1153" y="274"/>
                    </a:lnTo>
                    <a:lnTo>
                      <a:pt x="1150" y="273"/>
                    </a:lnTo>
                    <a:lnTo>
                      <a:pt x="1145" y="271"/>
                    </a:lnTo>
                    <a:lnTo>
                      <a:pt x="1142" y="271"/>
                    </a:lnTo>
                    <a:lnTo>
                      <a:pt x="1139" y="273"/>
                    </a:lnTo>
                    <a:lnTo>
                      <a:pt x="1137" y="276"/>
                    </a:lnTo>
                    <a:lnTo>
                      <a:pt x="1139" y="279"/>
                    </a:lnTo>
                    <a:lnTo>
                      <a:pt x="1139" y="282"/>
                    </a:lnTo>
                    <a:lnTo>
                      <a:pt x="1136" y="284"/>
                    </a:lnTo>
                    <a:lnTo>
                      <a:pt x="1136" y="281"/>
                    </a:lnTo>
                    <a:lnTo>
                      <a:pt x="1137" y="277"/>
                    </a:lnTo>
                    <a:lnTo>
                      <a:pt x="1134" y="274"/>
                    </a:lnTo>
                    <a:lnTo>
                      <a:pt x="1131" y="273"/>
                    </a:lnTo>
                    <a:lnTo>
                      <a:pt x="1128" y="271"/>
                    </a:lnTo>
                    <a:lnTo>
                      <a:pt x="1123" y="271"/>
                    </a:lnTo>
                    <a:lnTo>
                      <a:pt x="1128" y="270"/>
                    </a:lnTo>
                    <a:lnTo>
                      <a:pt x="1131" y="270"/>
                    </a:lnTo>
                    <a:lnTo>
                      <a:pt x="1134" y="266"/>
                    </a:lnTo>
                    <a:lnTo>
                      <a:pt x="1131" y="263"/>
                    </a:lnTo>
                    <a:lnTo>
                      <a:pt x="1126" y="263"/>
                    </a:lnTo>
                    <a:lnTo>
                      <a:pt x="1131" y="263"/>
                    </a:lnTo>
                    <a:lnTo>
                      <a:pt x="1134" y="263"/>
                    </a:lnTo>
                    <a:lnTo>
                      <a:pt x="1137" y="263"/>
                    </a:lnTo>
                    <a:lnTo>
                      <a:pt x="1141" y="262"/>
                    </a:lnTo>
                    <a:lnTo>
                      <a:pt x="1145" y="260"/>
                    </a:lnTo>
                    <a:lnTo>
                      <a:pt x="1142" y="257"/>
                    </a:lnTo>
                    <a:lnTo>
                      <a:pt x="1139" y="254"/>
                    </a:lnTo>
                    <a:lnTo>
                      <a:pt x="1142" y="255"/>
                    </a:lnTo>
                    <a:lnTo>
                      <a:pt x="1145" y="258"/>
                    </a:lnTo>
                    <a:lnTo>
                      <a:pt x="1150" y="258"/>
                    </a:lnTo>
                    <a:lnTo>
                      <a:pt x="1158" y="258"/>
                    </a:lnTo>
                    <a:lnTo>
                      <a:pt x="1169" y="258"/>
                    </a:lnTo>
                    <a:lnTo>
                      <a:pt x="1180" y="258"/>
                    </a:lnTo>
                    <a:lnTo>
                      <a:pt x="1182" y="263"/>
                    </a:lnTo>
                    <a:lnTo>
                      <a:pt x="1185" y="265"/>
                    </a:lnTo>
                    <a:lnTo>
                      <a:pt x="1190" y="265"/>
                    </a:lnTo>
                    <a:lnTo>
                      <a:pt x="1193" y="265"/>
                    </a:lnTo>
                    <a:lnTo>
                      <a:pt x="1201" y="265"/>
                    </a:lnTo>
                    <a:lnTo>
                      <a:pt x="1206" y="263"/>
                    </a:lnTo>
                    <a:lnTo>
                      <a:pt x="1210" y="262"/>
                    </a:lnTo>
                    <a:lnTo>
                      <a:pt x="1215" y="257"/>
                    </a:lnTo>
                    <a:lnTo>
                      <a:pt x="1212" y="257"/>
                    </a:lnTo>
                    <a:lnTo>
                      <a:pt x="1209" y="255"/>
                    </a:lnTo>
                    <a:lnTo>
                      <a:pt x="1209" y="252"/>
                    </a:lnTo>
                    <a:lnTo>
                      <a:pt x="1202" y="252"/>
                    </a:lnTo>
                    <a:lnTo>
                      <a:pt x="1199" y="254"/>
                    </a:lnTo>
                    <a:lnTo>
                      <a:pt x="1194" y="254"/>
                    </a:lnTo>
                    <a:lnTo>
                      <a:pt x="1187" y="252"/>
                    </a:lnTo>
                    <a:lnTo>
                      <a:pt x="1177" y="252"/>
                    </a:lnTo>
                    <a:lnTo>
                      <a:pt x="1166" y="252"/>
                    </a:lnTo>
                    <a:lnTo>
                      <a:pt x="1169" y="252"/>
                    </a:lnTo>
                    <a:lnTo>
                      <a:pt x="1174" y="252"/>
                    </a:lnTo>
                    <a:lnTo>
                      <a:pt x="1177" y="249"/>
                    </a:lnTo>
                    <a:lnTo>
                      <a:pt x="1174" y="246"/>
                    </a:lnTo>
                    <a:lnTo>
                      <a:pt x="1177" y="243"/>
                    </a:lnTo>
                    <a:lnTo>
                      <a:pt x="1180" y="239"/>
                    </a:lnTo>
                    <a:lnTo>
                      <a:pt x="1174" y="239"/>
                    </a:lnTo>
                    <a:lnTo>
                      <a:pt x="1171" y="238"/>
                    </a:lnTo>
                    <a:lnTo>
                      <a:pt x="1167" y="238"/>
                    </a:lnTo>
                    <a:lnTo>
                      <a:pt x="1161" y="241"/>
                    </a:lnTo>
                    <a:lnTo>
                      <a:pt x="1158" y="243"/>
                    </a:lnTo>
                    <a:lnTo>
                      <a:pt x="1153" y="243"/>
                    </a:lnTo>
                    <a:lnTo>
                      <a:pt x="1150" y="243"/>
                    </a:lnTo>
                    <a:lnTo>
                      <a:pt x="1147" y="241"/>
                    </a:lnTo>
                    <a:lnTo>
                      <a:pt x="1144" y="238"/>
                    </a:lnTo>
                    <a:lnTo>
                      <a:pt x="1139" y="236"/>
                    </a:lnTo>
                    <a:lnTo>
                      <a:pt x="1147" y="238"/>
                    </a:lnTo>
                    <a:lnTo>
                      <a:pt x="1148" y="239"/>
                    </a:lnTo>
                    <a:lnTo>
                      <a:pt x="1150" y="241"/>
                    </a:lnTo>
                    <a:lnTo>
                      <a:pt x="1153" y="241"/>
                    </a:lnTo>
                    <a:lnTo>
                      <a:pt x="1156" y="241"/>
                    </a:lnTo>
                    <a:lnTo>
                      <a:pt x="1161" y="239"/>
                    </a:lnTo>
                    <a:lnTo>
                      <a:pt x="1172" y="236"/>
                    </a:lnTo>
                    <a:lnTo>
                      <a:pt x="1183" y="236"/>
                    </a:lnTo>
                    <a:lnTo>
                      <a:pt x="1174" y="231"/>
                    </a:lnTo>
                    <a:lnTo>
                      <a:pt x="1166" y="228"/>
                    </a:lnTo>
                    <a:lnTo>
                      <a:pt x="1156" y="227"/>
                    </a:lnTo>
                    <a:lnTo>
                      <a:pt x="1148" y="225"/>
                    </a:lnTo>
                    <a:lnTo>
                      <a:pt x="1152" y="227"/>
                    </a:lnTo>
                    <a:lnTo>
                      <a:pt x="1158" y="227"/>
                    </a:lnTo>
                    <a:lnTo>
                      <a:pt x="1163" y="227"/>
                    </a:lnTo>
                    <a:lnTo>
                      <a:pt x="1160" y="224"/>
                    </a:lnTo>
                    <a:lnTo>
                      <a:pt x="1155" y="222"/>
                    </a:lnTo>
                    <a:lnTo>
                      <a:pt x="1152" y="222"/>
                    </a:lnTo>
                    <a:lnTo>
                      <a:pt x="1148" y="220"/>
                    </a:lnTo>
                    <a:lnTo>
                      <a:pt x="1152" y="220"/>
                    </a:lnTo>
                    <a:lnTo>
                      <a:pt x="1156" y="222"/>
                    </a:lnTo>
                    <a:lnTo>
                      <a:pt x="1160" y="222"/>
                    </a:lnTo>
                    <a:lnTo>
                      <a:pt x="1163" y="224"/>
                    </a:lnTo>
                    <a:lnTo>
                      <a:pt x="1167" y="225"/>
                    </a:lnTo>
                    <a:lnTo>
                      <a:pt x="1171" y="228"/>
                    </a:lnTo>
                    <a:lnTo>
                      <a:pt x="1174" y="230"/>
                    </a:lnTo>
                    <a:lnTo>
                      <a:pt x="1179" y="230"/>
                    </a:lnTo>
                    <a:lnTo>
                      <a:pt x="1182" y="231"/>
                    </a:lnTo>
                    <a:lnTo>
                      <a:pt x="1185" y="231"/>
                    </a:lnTo>
                    <a:lnTo>
                      <a:pt x="1188" y="231"/>
                    </a:lnTo>
                    <a:lnTo>
                      <a:pt x="1193" y="230"/>
                    </a:lnTo>
                    <a:lnTo>
                      <a:pt x="1196" y="231"/>
                    </a:lnTo>
                    <a:lnTo>
                      <a:pt x="1198" y="231"/>
                    </a:lnTo>
                    <a:lnTo>
                      <a:pt x="1198" y="233"/>
                    </a:lnTo>
                    <a:lnTo>
                      <a:pt x="1196" y="235"/>
                    </a:lnTo>
                    <a:lnTo>
                      <a:pt x="1201" y="236"/>
                    </a:lnTo>
                    <a:lnTo>
                      <a:pt x="1204" y="236"/>
                    </a:lnTo>
                    <a:lnTo>
                      <a:pt x="1207" y="236"/>
                    </a:lnTo>
                    <a:lnTo>
                      <a:pt x="1210" y="235"/>
                    </a:lnTo>
                    <a:lnTo>
                      <a:pt x="1213" y="230"/>
                    </a:lnTo>
                    <a:lnTo>
                      <a:pt x="1215" y="227"/>
                    </a:lnTo>
                    <a:lnTo>
                      <a:pt x="1215" y="224"/>
                    </a:lnTo>
                    <a:lnTo>
                      <a:pt x="1212" y="220"/>
                    </a:lnTo>
                    <a:lnTo>
                      <a:pt x="1215" y="217"/>
                    </a:lnTo>
                    <a:lnTo>
                      <a:pt x="1209" y="212"/>
                    </a:lnTo>
                    <a:lnTo>
                      <a:pt x="1204" y="211"/>
                    </a:lnTo>
                    <a:lnTo>
                      <a:pt x="1198" y="211"/>
                    </a:lnTo>
                    <a:lnTo>
                      <a:pt x="1190" y="211"/>
                    </a:lnTo>
                    <a:lnTo>
                      <a:pt x="1175" y="211"/>
                    </a:lnTo>
                    <a:lnTo>
                      <a:pt x="1161" y="211"/>
                    </a:lnTo>
                    <a:lnTo>
                      <a:pt x="1174" y="209"/>
                    </a:lnTo>
                    <a:lnTo>
                      <a:pt x="1187" y="209"/>
                    </a:lnTo>
                    <a:lnTo>
                      <a:pt x="1190" y="209"/>
                    </a:lnTo>
                    <a:lnTo>
                      <a:pt x="1193" y="211"/>
                    </a:lnTo>
                    <a:lnTo>
                      <a:pt x="1196" y="211"/>
                    </a:lnTo>
                    <a:lnTo>
                      <a:pt x="1201" y="209"/>
                    </a:lnTo>
                    <a:lnTo>
                      <a:pt x="1204" y="208"/>
                    </a:lnTo>
                    <a:lnTo>
                      <a:pt x="1206" y="208"/>
                    </a:lnTo>
                    <a:lnTo>
                      <a:pt x="1213" y="208"/>
                    </a:lnTo>
                    <a:lnTo>
                      <a:pt x="1213" y="204"/>
                    </a:lnTo>
                    <a:lnTo>
                      <a:pt x="1210" y="201"/>
                    </a:lnTo>
                    <a:lnTo>
                      <a:pt x="1209" y="201"/>
                    </a:lnTo>
                    <a:lnTo>
                      <a:pt x="1204" y="201"/>
                    </a:lnTo>
                    <a:lnTo>
                      <a:pt x="1201" y="203"/>
                    </a:lnTo>
                    <a:lnTo>
                      <a:pt x="1196" y="203"/>
                    </a:lnTo>
                    <a:lnTo>
                      <a:pt x="1193" y="201"/>
                    </a:lnTo>
                    <a:lnTo>
                      <a:pt x="1190" y="201"/>
                    </a:lnTo>
                    <a:lnTo>
                      <a:pt x="1187" y="200"/>
                    </a:lnTo>
                    <a:lnTo>
                      <a:pt x="1182" y="200"/>
                    </a:lnTo>
                    <a:lnTo>
                      <a:pt x="1187" y="201"/>
                    </a:lnTo>
                    <a:lnTo>
                      <a:pt x="1190" y="203"/>
                    </a:lnTo>
                    <a:lnTo>
                      <a:pt x="1193" y="204"/>
                    </a:lnTo>
                    <a:lnTo>
                      <a:pt x="1196" y="206"/>
                    </a:lnTo>
                    <a:lnTo>
                      <a:pt x="1193" y="206"/>
                    </a:lnTo>
                    <a:lnTo>
                      <a:pt x="1190" y="204"/>
                    </a:lnTo>
                    <a:lnTo>
                      <a:pt x="1187" y="203"/>
                    </a:lnTo>
                    <a:lnTo>
                      <a:pt x="1183" y="201"/>
                    </a:lnTo>
                    <a:lnTo>
                      <a:pt x="1179" y="201"/>
                    </a:lnTo>
                    <a:lnTo>
                      <a:pt x="1175" y="201"/>
                    </a:lnTo>
                    <a:lnTo>
                      <a:pt x="1171" y="203"/>
                    </a:lnTo>
                    <a:lnTo>
                      <a:pt x="1167" y="203"/>
                    </a:lnTo>
                    <a:lnTo>
                      <a:pt x="1171" y="198"/>
                    </a:lnTo>
                    <a:lnTo>
                      <a:pt x="1167" y="197"/>
                    </a:lnTo>
                    <a:lnTo>
                      <a:pt x="1163" y="197"/>
                    </a:lnTo>
                    <a:lnTo>
                      <a:pt x="1160" y="197"/>
                    </a:lnTo>
                    <a:lnTo>
                      <a:pt x="1156" y="197"/>
                    </a:lnTo>
                    <a:lnTo>
                      <a:pt x="1153" y="197"/>
                    </a:lnTo>
                    <a:lnTo>
                      <a:pt x="1156" y="195"/>
                    </a:lnTo>
                    <a:lnTo>
                      <a:pt x="1160" y="197"/>
                    </a:lnTo>
                    <a:lnTo>
                      <a:pt x="1167" y="197"/>
                    </a:lnTo>
                    <a:lnTo>
                      <a:pt x="1171" y="195"/>
                    </a:lnTo>
                    <a:lnTo>
                      <a:pt x="1166" y="195"/>
                    </a:lnTo>
                    <a:lnTo>
                      <a:pt x="1163" y="195"/>
                    </a:lnTo>
                    <a:lnTo>
                      <a:pt x="1166" y="195"/>
                    </a:lnTo>
                    <a:lnTo>
                      <a:pt x="1171" y="193"/>
                    </a:lnTo>
                    <a:lnTo>
                      <a:pt x="1166" y="192"/>
                    </a:lnTo>
                    <a:lnTo>
                      <a:pt x="1163" y="193"/>
                    </a:lnTo>
                    <a:lnTo>
                      <a:pt x="1166" y="192"/>
                    </a:lnTo>
                    <a:lnTo>
                      <a:pt x="1163" y="190"/>
                    </a:lnTo>
                    <a:lnTo>
                      <a:pt x="1160" y="190"/>
                    </a:lnTo>
                    <a:lnTo>
                      <a:pt x="1155" y="193"/>
                    </a:lnTo>
                    <a:lnTo>
                      <a:pt x="1153" y="190"/>
                    </a:lnTo>
                    <a:lnTo>
                      <a:pt x="1150" y="189"/>
                    </a:lnTo>
                    <a:lnTo>
                      <a:pt x="1153" y="187"/>
                    </a:lnTo>
                    <a:lnTo>
                      <a:pt x="1158" y="187"/>
                    </a:lnTo>
                    <a:lnTo>
                      <a:pt x="1160" y="184"/>
                    </a:lnTo>
                    <a:lnTo>
                      <a:pt x="1164" y="184"/>
                    </a:lnTo>
                    <a:lnTo>
                      <a:pt x="1167" y="185"/>
                    </a:lnTo>
                    <a:lnTo>
                      <a:pt x="1171" y="189"/>
                    </a:lnTo>
                    <a:lnTo>
                      <a:pt x="1175" y="189"/>
                    </a:lnTo>
                    <a:lnTo>
                      <a:pt x="1183" y="185"/>
                    </a:lnTo>
                    <a:lnTo>
                      <a:pt x="1193" y="184"/>
                    </a:lnTo>
                    <a:lnTo>
                      <a:pt x="1190" y="182"/>
                    </a:lnTo>
                    <a:lnTo>
                      <a:pt x="1179" y="182"/>
                    </a:lnTo>
                    <a:lnTo>
                      <a:pt x="1175" y="182"/>
                    </a:lnTo>
                    <a:lnTo>
                      <a:pt x="1179" y="182"/>
                    </a:lnTo>
                    <a:lnTo>
                      <a:pt x="1182" y="182"/>
                    </a:lnTo>
                    <a:lnTo>
                      <a:pt x="1185" y="182"/>
                    </a:lnTo>
                    <a:lnTo>
                      <a:pt x="1190" y="182"/>
                    </a:lnTo>
                    <a:lnTo>
                      <a:pt x="1193" y="182"/>
                    </a:lnTo>
                    <a:lnTo>
                      <a:pt x="1196" y="182"/>
                    </a:lnTo>
                    <a:lnTo>
                      <a:pt x="1199" y="182"/>
                    </a:lnTo>
                    <a:lnTo>
                      <a:pt x="1196" y="181"/>
                    </a:lnTo>
                    <a:lnTo>
                      <a:pt x="1193" y="181"/>
                    </a:lnTo>
                    <a:lnTo>
                      <a:pt x="1202" y="179"/>
                    </a:lnTo>
                    <a:lnTo>
                      <a:pt x="1210" y="181"/>
                    </a:lnTo>
                    <a:lnTo>
                      <a:pt x="1221" y="181"/>
                    </a:lnTo>
                    <a:lnTo>
                      <a:pt x="1229" y="182"/>
                    </a:lnTo>
                    <a:lnTo>
                      <a:pt x="1242" y="184"/>
                    </a:lnTo>
                    <a:lnTo>
                      <a:pt x="1252" y="184"/>
                    </a:lnTo>
                    <a:lnTo>
                      <a:pt x="1255" y="184"/>
                    </a:lnTo>
                    <a:lnTo>
                      <a:pt x="1259" y="182"/>
                    </a:lnTo>
                    <a:lnTo>
                      <a:pt x="1261" y="179"/>
                    </a:lnTo>
                    <a:lnTo>
                      <a:pt x="1261" y="176"/>
                    </a:lnTo>
                    <a:lnTo>
                      <a:pt x="1261" y="173"/>
                    </a:lnTo>
                    <a:lnTo>
                      <a:pt x="1258" y="168"/>
                    </a:lnTo>
                    <a:lnTo>
                      <a:pt x="1252" y="168"/>
                    </a:lnTo>
                    <a:lnTo>
                      <a:pt x="1247" y="168"/>
                    </a:lnTo>
                    <a:lnTo>
                      <a:pt x="1244" y="168"/>
                    </a:lnTo>
                    <a:lnTo>
                      <a:pt x="1240" y="171"/>
                    </a:lnTo>
                    <a:lnTo>
                      <a:pt x="1236" y="171"/>
                    </a:lnTo>
                    <a:lnTo>
                      <a:pt x="1233" y="171"/>
                    </a:lnTo>
                    <a:lnTo>
                      <a:pt x="1231" y="168"/>
                    </a:lnTo>
                    <a:lnTo>
                      <a:pt x="1228" y="166"/>
                    </a:lnTo>
                    <a:lnTo>
                      <a:pt x="1225" y="166"/>
                    </a:lnTo>
                    <a:lnTo>
                      <a:pt x="1220" y="166"/>
                    </a:lnTo>
                    <a:lnTo>
                      <a:pt x="1217" y="166"/>
                    </a:lnTo>
                    <a:lnTo>
                      <a:pt x="1213" y="168"/>
                    </a:lnTo>
                    <a:lnTo>
                      <a:pt x="1210" y="166"/>
                    </a:lnTo>
                    <a:lnTo>
                      <a:pt x="1206" y="166"/>
                    </a:lnTo>
                    <a:lnTo>
                      <a:pt x="1209" y="165"/>
                    </a:lnTo>
                    <a:lnTo>
                      <a:pt x="1213" y="166"/>
                    </a:lnTo>
                    <a:lnTo>
                      <a:pt x="1217" y="166"/>
                    </a:lnTo>
                    <a:lnTo>
                      <a:pt x="1220" y="165"/>
                    </a:lnTo>
                    <a:lnTo>
                      <a:pt x="1210" y="165"/>
                    </a:lnTo>
                    <a:lnTo>
                      <a:pt x="1199" y="163"/>
                    </a:lnTo>
                    <a:lnTo>
                      <a:pt x="1202" y="163"/>
                    </a:lnTo>
                    <a:lnTo>
                      <a:pt x="1206" y="163"/>
                    </a:lnTo>
                    <a:lnTo>
                      <a:pt x="1209" y="163"/>
                    </a:lnTo>
                    <a:lnTo>
                      <a:pt x="1213" y="163"/>
                    </a:lnTo>
                    <a:lnTo>
                      <a:pt x="1209" y="162"/>
                    </a:lnTo>
                    <a:lnTo>
                      <a:pt x="1213" y="162"/>
                    </a:lnTo>
                    <a:lnTo>
                      <a:pt x="1217" y="162"/>
                    </a:lnTo>
                    <a:lnTo>
                      <a:pt x="1213" y="160"/>
                    </a:lnTo>
                    <a:lnTo>
                      <a:pt x="1209" y="160"/>
                    </a:lnTo>
                    <a:lnTo>
                      <a:pt x="1206" y="159"/>
                    </a:lnTo>
                    <a:lnTo>
                      <a:pt x="1202" y="159"/>
                    </a:lnTo>
                    <a:lnTo>
                      <a:pt x="1206" y="157"/>
                    </a:lnTo>
                    <a:lnTo>
                      <a:pt x="1210" y="157"/>
                    </a:lnTo>
                    <a:lnTo>
                      <a:pt x="1213" y="157"/>
                    </a:lnTo>
                    <a:lnTo>
                      <a:pt x="1217" y="157"/>
                    </a:lnTo>
                    <a:lnTo>
                      <a:pt x="1220" y="157"/>
                    </a:lnTo>
                    <a:lnTo>
                      <a:pt x="1225" y="157"/>
                    </a:lnTo>
                    <a:lnTo>
                      <a:pt x="1225" y="157"/>
                    </a:lnTo>
                    <a:lnTo>
                      <a:pt x="1228" y="159"/>
                    </a:lnTo>
                    <a:lnTo>
                      <a:pt x="1231" y="159"/>
                    </a:lnTo>
                    <a:lnTo>
                      <a:pt x="1234" y="160"/>
                    </a:lnTo>
                    <a:lnTo>
                      <a:pt x="1239" y="162"/>
                    </a:lnTo>
                    <a:lnTo>
                      <a:pt x="1242" y="160"/>
                    </a:lnTo>
                    <a:lnTo>
                      <a:pt x="1245" y="160"/>
                    </a:lnTo>
                    <a:lnTo>
                      <a:pt x="1244" y="157"/>
                    </a:lnTo>
                    <a:lnTo>
                      <a:pt x="1240" y="155"/>
                    </a:lnTo>
                    <a:lnTo>
                      <a:pt x="1237" y="155"/>
                    </a:lnTo>
                    <a:lnTo>
                      <a:pt x="1233" y="155"/>
                    </a:lnTo>
                    <a:lnTo>
                      <a:pt x="1223" y="154"/>
                    </a:lnTo>
                    <a:lnTo>
                      <a:pt x="1215" y="151"/>
                    </a:lnTo>
                    <a:lnTo>
                      <a:pt x="1210" y="149"/>
                    </a:lnTo>
                    <a:lnTo>
                      <a:pt x="1207" y="147"/>
                    </a:lnTo>
                    <a:lnTo>
                      <a:pt x="1204" y="149"/>
                    </a:lnTo>
                    <a:lnTo>
                      <a:pt x="1201" y="151"/>
                    </a:lnTo>
                    <a:lnTo>
                      <a:pt x="1196" y="152"/>
                    </a:lnTo>
                    <a:lnTo>
                      <a:pt x="1193" y="154"/>
                    </a:lnTo>
                    <a:lnTo>
                      <a:pt x="1191" y="157"/>
                    </a:lnTo>
                    <a:lnTo>
                      <a:pt x="1188" y="160"/>
                    </a:lnTo>
                    <a:lnTo>
                      <a:pt x="1183" y="162"/>
                    </a:lnTo>
                    <a:lnTo>
                      <a:pt x="1187" y="160"/>
                    </a:lnTo>
                    <a:lnTo>
                      <a:pt x="1183" y="159"/>
                    </a:lnTo>
                    <a:lnTo>
                      <a:pt x="1177" y="159"/>
                    </a:lnTo>
                    <a:lnTo>
                      <a:pt x="1180" y="155"/>
                    </a:lnTo>
                    <a:lnTo>
                      <a:pt x="1183" y="154"/>
                    </a:lnTo>
                    <a:lnTo>
                      <a:pt x="1187" y="152"/>
                    </a:lnTo>
                    <a:lnTo>
                      <a:pt x="1188" y="147"/>
                    </a:lnTo>
                    <a:lnTo>
                      <a:pt x="1191" y="147"/>
                    </a:lnTo>
                    <a:lnTo>
                      <a:pt x="1196" y="146"/>
                    </a:lnTo>
                    <a:lnTo>
                      <a:pt x="1193" y="146"/>
                    </a:lnTo>
                    <a:lnTo>
                      <a:pt x="1190" y="144"/>
                    </a:lnTo>
                    <a:lnTo>
                      <a:pt x="1196" y="144"/>
                    </a:lnTo>
                    <a:lnTo>
                      <a:pt x="1201" y="143"/>
                    </a:lnTo>
                    <a:lnTo>
                      <a:pt x="1201" y="138"/>
                    </a:lnTo>
                    <a:lnTo>
                      <a:pt x="1204" y="136"/>
                    </a:lnTo>
                    <a:lnTo>
                      <a:pt x="1207" y="133"/>
                    </a:lnTo>
                    <a:lnTo>
                      <a:pt x="1210" y="132"/>
                    </a:lnTo>
                    <a:lnTo>
                      <a:pt x="1207" y="130"/>
                    </a:lnTo>
                    <a:lnTo>
                      <a:pt x="1204" y="130"/>
                    </a:lnTo>
                    <a:lnTo>
                      <a:pt x="1207" y="128"/>
                    </a:lnTo>
                    <a:lnTo>
                      <a:pt x="1210" y="128"/>
                    </a:lnTo>
                    <a:lnTo>
                      <a:pt x="1213" y="125"/>
                    </a:lnTo>
                    <a:lnTo>
                      <a:pt x="1210" y="125"/>
                    </a:lnTo>
                    <a:lnTo>
                      <a:pt x="1213" y="124"/>
                    </a:lnTo>
                    <a:lnTo>
                      <a:pt x="1217" y="124"/>
                    </a:lnTo>
                    <a:lnTo>
                      <a:pt x="1220" y="124"/>
                    </a:lnTo>
                    <a:lnTo>
                      <a:pt x="1225" y="122"/>
                    </a:lnTo>
                    <a:lnTo>
                      <a:pt x="1228" y="122"/>
                    </a:lnTo>
                    <a:lnTo>
                      <a:pt x="1233" y="124"/>
                    </a:lnTo>
                    <a:lnTo>
                      <a:pt x="1236" y="122"/>
                    </a:lnTo>
                    <a:lnTo>
                      <a:pt x="1237" y="122"/>
                    </a:lnTo>
                    <a:lnTo>
                      <a:pt x="1240" y="119"/>
                    </a:lnTo>
                    <a:lnTo>
                      <a:pt x="1239" y="119"/>
                    </a:lnTo>
                    <a:lnTo>
                      <a:pt x="1240" y="116"/>
                    </a:lnTo>
                    <a:lnTo>
                      <a:pt x="1242" y="116"/>
                    </a:lnTo>
                    <a:lnTo>
                      <a:pt x="1245" y="116"/>
                    </a:lnTo>
                    <a:lnTo>
                      <a:pt x="1250" y="116"/>
                    </a:lnTo>
                    <a:lnTo>
                      <a:pt x="1253" y="113"/>
                    </a:lnTo>
                    <a:lnTo>
                      <a:pt x="1256" y="111"/>
                    </a:lnTo>
                    <a:lnTo>
                      <a:pt x="1261" y="113"/>
                    </a:lnTo>
                    <a:lnTo>
                      <a:pt x="1264" y="109"/>
                    </a:lnTo>
                    <a:lnTo>
                      <a:pt x="1261" y="109"/>
                    </a:lnTo>
                    <a:lnTo>
                      <a:pt x="1256" y="109"/>
                    </a:lnTo>
                    <a:lnTo>
                      <a:pt x="1253" y="109"/>
                    </a:lnTo>
                    <a:lnTo>
                      <a:pt x="1250" y="113"/>
                    </a:lnTo>
                    <a:lnTo>
                      <a:pt x="1247" y="113"/>
                    </a:lnTo>
                    <a:lnTo>
                      <a:pt x="1250" y="111"/>
                    </a:lnTo>
                    <a:lnTo>
                      <a:pt x="1253" y="108"/>
                    </a:lnTo>
                    <a:lnTo>
                      <a:pt x="1253" y="103"/>
                    </a:lnTo>
                    <a:lnTo>
                      <a:pt x="1256" y="101"/>
                    </a:lnTo>
                    <a:lnTo>
                      <a:pt x="1259" y="98"/>
                    </a:lnTo>
                    <a:lnTo>
                      <a:pt x="1263" y="97"/>
                    </a:lnTo>
                    <a:lnTo>
                      <a:pt x="1266" y="97"/>
                    </a:lnTo>
                    <a:lnTo>
                      <a:pt x="1274" y="97"/>
                    </a:lnTo>
                    <a:lnTo>
                      <a:pt x="1277" y="97"/>
                    </a:lnTo>
                    <a:lnTo>
                      <a:pt x="1280" y="97"/>
                    </a:lnTo>
                    <a:lnTo>
                      <a:pt x="1288" y="97"/>
                    </a:lnTo>
                    <a:lnTo>
                      <a:pt x="1296" y="95"/>
                    </a:lnTo>
                    <a:lnTo>
                      <a:pt x="1302" y="92"/>
                    </a:lnTo>
                    <a:lnTo>
                      <a:pt x="1310" y="89"/>
                    </a:lnTo>
                    <a:lnTo>
                      <a:pt x="1307" y="87"/>
                    </a:lnTo>
                    <a:lnTo>
                      <a:pt x="1302" y="86"/>
                    </a:lnTo>
                    <a:lnTo>
                      <a:pt x="1299" y="86"/>
                    </a:lnTo>
                    <a:lnTo>
                      <a:pt x="1294" y="86"/>
                    </a:lnTo>
                    <a:lnTo>
                      <a:pt x="1285" y="87"/>
                    </a:lnTo>
                    <a:lnTo>
                      <a:pt x="1275" y="87"/>
                    </a:lnTo>
                    <a:lnTo>
                      <a:pt x="1266" y="87"/>
                    </a:lnTo>
                    <a:lnTo>
                      <a:pt x="1256" y="89"/>
                    </a:lnTo>
                    <a:lnTo>
                      <a:pt x="1253" y="90"/>
                    </a:lnTo>
                    <a:lnTo>
                      <a:pt x="1252" y="90"/>
                    </a:lnTo>
                    <a:lnTo>
                      <a:pt x="1252" y="90"/>
                    </a:lnTo>
                    <a:lnTo>
                      <a:pt x="1248" y="92"/>
                    </a:lnTo>
                    <a:lnTo>
                      <a:pt x="1245" y="95"/>
                    </a:lnTo>
                    <a:lnTo>
                      <a:pt x="1248" y="95"/>
                    </a:lnTo>
                    <a:lnTo>
                      <a:pt x="1248" y="95"/>
                    </a:lnTo>
                    <a:lnTo>
                      <a:pt x="1245" y="95"/>
                    </a:lnTo>
                    <a:lnTo>
                      <a:pt x="1242" y="97"/>
                    </a:lnTo>
                    <a:lnTo>
                      <a:pt x="1237" y="93"/>
                    </a:lnTo>
                    <a:lnTo>
                      <a:pt x="1234" y="93"/>
                    </a:lnTo>
                    <a:lnTo>
                      <a:pt x="1237" y="92"/>
                    </a:lnTo>
                    <a:lnTo>
                      <a:pt x="1240" y="90"/>
                    </a:lnTo>
                    <a:lnTo>
                      <a:pt x="1240" y="89"/>
                    </a:lnTo>
                    <a:lnTo>
                      <a:pt x="1244" y="87"/>
                    </a:lnTo>
                    <a:lnTo>
                      <a:pt x="1240" y="87"/>
                    </a:lnTo>
                    <a:lnTo>
                      <a:pt x="1252" y="84"/>
                    </a:lnTo>
                    <a:lnTo>
                      <a:pt x="1263" y="82"/>
                    </a:lnTo>
                    <a:lnTo>
                      <a:pt x="1274" y="82"/>
                    </a:lnTo>
                    <a:lnTo>
                      <a:pt x="1285" y="84"/>
                    </a:lnTo>
                    <a:lnTo>
                      <a:pt x="1296" y="84"/>
                    </a:lnTo>
                    <a:lnTo>
                      <a:pt x="1307" y="84"/>
                    </a:lnTo>
                    <a:lnTo>
                      <a:pt x="1312" y="84"/>
                    </a:lnTo>
                    <a:lnTo>
                      <a:pt x="1315" y="84"/>
                    </a:lnTo>
                    <a:lnTo>
                      <a:pt x="1320" y="84"/>
                    </a:lnTo>
                    <a:lnTo>
                      <a:pt x="1323" y="84"/>
                    </a:lnTo>
                    <a:lnTo>
                      <a:pt x="1326" y="82"/>
                    </a:lnTo>
                    <a:lnTo>
                      <a:pt x="1329" y="79"/>
                    </a:lnTo>
                    <a:lnTo>
                      <a:pt x="1334" y="79"/>
                    </a:lnTo>
                    <a:lnTo>
                      <a:pt x="1337" y="78"/>
                    </a:lnTo>
                    <a:lnTo>
                      <a:pt x="1340" y="78"/>
                    </a:lnTo>
                    <a:lnTo>
                      <a:pt x="1345" y="76"/>
                    </a:lnTo>
                    <a:lnTo>
                      <a:pt x="1332" y="74"/>
                    </a:lnTo>
                    <a:lnTo>
                      <a:pt x="1318" y="73"/>
                    </a:lnTo>
                    <a:lnTo>
                      <a:pt x="1304" y="74"/>
                    </a:lnTo>
                    <a:lnTo>
                      <a:pt x="1288" y="74"/>
                    </a:lnTo>
                    <a:lnTo>
                      <a:pt x="1274" y="73"/>
                    </a:lnTo>
                    <a:lnTo>
                      <a:pt x="1258" y="73"/>
                    </a:lnTo>
                    <a:lnTo>
                      <a:pt x="1255" y="73"/>
                    </a:lnTo>
                    <a:lnTo>
                      <a:pt x="1252" y="74"/>
                    </a:lnTo>
                    <a:lnTo>
                      <a:pt x="1247" y="74"/>
                    </a:lnTo>
                    <a:lnTo>
                      <a:pt x="1244" y="74"/>
                    </a:lnTo>
                    <a:lnTo>
                      <a:pt x="1240" y="76"/>
                    </a:lnTo>
                    <a:lnTo>
                      <a:pt x="1237" y="74"/>
                    </a:lnTo>
                    <a:lnTo>
                      <a:pt x="1233" y="74"/>
                    </a:lnTo>
                    <a:lnTo>
                      <a:pt x="1229" y="74"/>
                    </a:lnTo>
                    <a:lnTo>
                      <a:pt x="1239" y="74"/>
                    </a:lnTo>
                    <a:lnTo>
                      <a:pt x="1248" y="73"/>
                    </a:lnTo>
                    <a:lnTo>
                      <a:pt x="1258" y="71"/>
                    </a:lnTo>
                    <a:lnTo>
                      <a:pt x="1266" y="71"/>
                    </a:lnTo>
                    <a:lnTo>
                      <a:pt x="1277" y="73"/>
                    </a:lnTo>
                    <a:lnTo>
                      <a:pt x="1286" y="73"/>
                    </a:lnTo>
                    <a:lnTo>
                      <a:pt x="1290" y="73"/>
                    </a:lnTo>
                    <a:lnTo>
                      <a:pt x="1294" y="73"/>
                    </a:lnTo>
                    <a:lnTo>
                      <a:pt x="1298" y="71"/>
                    </a:lnTo>
                    <a:lnTo>
                      <a:pt x="1302" y="71"/>
                    </a:lnTo>
                    <a:lnTo>
                      <a:pt x="1305" y="68"/>
                    </a:lnTo>
                    <a:lnTo>
                      <a:pt x="1313" y="70"/>
                    </a:lnTo>
                    <a:lnTo>
                      <a:pt x="1323" y="70"/>
                    </a:lnTo>
                    <a:lnTo>
                      <a:pt x="1332" y="71"/>
                    </a:lnTo>
                    <a:lnTo>
                      <a:pt x="1342" y="70"/>
                    </a:lnTo>
                    <a:lnTo>
                      <a:pt x="1345" y="70"/>
                    </a:lnTo>
                    <a:lnTo>
                      <a:pt x="1350" y="71"/>
                    </a:lnTo>
                    <a:lnTo>
                      <a:pt x="1353" y="68"/>
                    </a:lnTo>
                    <a:lnTo>
                      <a:pt x="1358" y="68"/>
                    </a:lnTo>
                    <a:lnTo>
                      <a:pt x="1361" y="67"/>
                    </a:lnTo>
                    <a:lnTo>
                      <a:pt x="1364" y="67"/>
                    </a:lnTo>
                    <a:lnTo>
                      <a:pt x="1372" y="67"/>
                    </a:lnTo>
                    <a:lnTo>
                      <a:pt x="1377" y="67"/>
                    </a:lnTo>
                    <a:lnTo>
                      <a:pt x="1380" y="63"/>
                    </a:lnTo>
                    <a:lnTo>
                      <a:pt x="1377" y="63"/>
                    </a:lnTo>
                    <a:lnTo>
                      <a:pt x="1374" y="62"/>
                    </a:lnTo>
                    <a:lnTo>
                      <a:pt x="1391" y="60"/>
                    </a:lnTo>
                    <a:lnTo>
                      <a:pt x="1409" y="57"/>
                    </a:lnTo>
                    <a:lnTo>
                      <a:pt x="1418" y="54"/>
                    </a:lnTo>
                    <a:lnTo>
                      <a:pt x="1426" y="52"/>
                    </a:lnTo>
                    <a:lnTo>
                      <a:pt x="1431" y="52"/>
                    </a:lnTo>
                    <a:lnTo>
                      <a:pt x="1434" y="51"/>
                    </a:lnTo>
                    <a:lnTo>
                      <a:pt x="1437" y="51"/>
                    </a:lnTo>
                    <a:lnTo>
                      <a:pt x="1440" y="49"/>
                    </a:lnTo>
                    <a:lnTo>
                      <a:pt x="1445" y="48"/>
                    </a:lnTo>
                    <a:lnTo>
                      <a:pt x="1431" y="44"/>
                    </a:lnTo>
                    <a:lnTo>
                      <a:pt x="1415" y="43"/>
                    </a:lnTo>
                    <a:lnTo>
                      <a:pt x="1401" y="41"/>
                    </a:lnTo>
                    <a:lnTo>
                      <a:pt x="1386" y="40"/>
                    </a:lnTo>
                    <a:lnTo>
                      <a:pt x="1383" y="40"/>
                    </a:lnTo>
                    <a:lnTo>
                      <a:pt x="1380" y="40"/>
                    </a:lnTo>
                    <a:lnTo>
                      <a:pt x="1375" y="40"/>
                    </a:lnTo>
                    <a:lnTo>
                      <a:pt x="1372" y="40"/>
                    </a:lnTo>
                    <a:lnTo>
                      <a:pt x="1369" y="40"/>
                    </a:lnTo>
                    <a:lnTo>
                      <a:pt x="1364" y="40"/>
                    </a:lnTo>
                    <a:lnTo>
                      <a:pt x="1359" y="40"/>
                    </a:lnTo>
                    <a:lnTo>
                      <a:pt x="1356" y="40"/>
                    </a:lnTo>
                    <a:lnTo>
                      <a:pt x="1348" y="40"/>
                    </a:lnTo>
                    <a:lnTo>
                      <a:pt x="1345" y="40"/>
                    </a:lnTo>
                    <a:lnTo>
                      <a:pt x="1340" y="41"/>
                    </a:lnTo>
                    <a:lnTo>
                      <a:pt x="1334" y="41"/>
                    </a:lnTo>
                    <a:lnTo>
                      <a:pt x="1329" y="41"/>
                    </a:lnTo>
                    <a:lnTo>
                      <a:pt x="1326" y="43"/>
                    </a:lnTo>
                    <a:lnTo>
                      <a:pt x="1329" y="46"/>
                    </a:lnTo>
                    <a:lnTo>
                      <a:pt x="1324" y="44"/>
                    </a:lnTo>
                    <a:lnTo>
                      <a:pt x="1321" y="44"/>
                    </a:lnTo>
                    <a:lnTo>
                      <a:pt x="1318" y="48"/>
                    </a:lnTo>
                    <a:lnTo>
                      <a:pt x="1321" y="48"/>
                    </a:lnTo>
                    <a:lnTo>
                      <a:pt x="1318" y="49"/>
                    </a:lnTo>
                    <a:lnTo>
                      <a:pt x="1313" y="49"/>
                    </a:lnTo>
                    <a:lnTo>
                      <a:pt x="1310" y="51"/>
                    </a:lnTo>
                    <a:lnTo>
                      <a:pt x="1307" y="52"/>
                    </a:lnTo>
                    <a:lnTo>
                      <a:pt x="1302" y="52"/>
                    </a:lnTo>
                    <a:lnTo>
                      <a:pt x="1299" y="51"/>
                    </a:lnTo>
                    <a:lnTo>
                      <a:pt x="1296" y="49"/>
                    </a:lnTo>
                    <a:lnTo>
                      <a:pt x="1293" y="51"/>
                    </a:lnTo>
                    <a:lnTo>
                      <a:pt x="1285" y="49"/>
                    </a:lnTo>
                    <a:lnTo>
                      <a:pt x="1277" y="49"/>
                    </a:lnTo>
                    <a:lnTo>
                      <a:pt x="1269" y="51"/>
                    </a:lnTo>
                    <a:lnTo>
                      <a:pt x="1261" y="52"/>
                    </a:lnTo>
                    <a:lnTo>
                      <a:pt x="1264" y="49"/>
                    </a:lnTo>
                    <a:lnTo>
                      <a:pt x="1267" y="48"/>
                    </a:lnTo>
                    <a:lnTo>
                      <a:pt x="1271" y="46"/>
                    </a:lnTo>
                    <a:lnTo>
                      <a:pt x="1258" y="48"/>
                    </a:lnTo>
                    <a:lnTo>
                      <a:pt x="1245" y="51"/>
                    </a:lnTo>
                    <a:lnTo>
                      <a:pt x="1242" y="51"/>
                    </a:lnTo>
                    <a:lnTo>
                      <a:pt x="1237" y="52"/>
                    </a:lnTo>
                    <a:lnTo>
                      <a:pt x="1234" y="54"/>
                    </a:lnTo>
                    <a:lnTo>
                      <a:pt x="1231" y="55"/>
                    </a:lnTo>
                    <a:lnTo>
                      <a:pt x="1228" y="55"/>
                    </a:lnTo>
                    <a:lnTo>
                      <a:pt x="1223" y="57"/>
                    </a:lnTo>
                    <a:lnTo>
                      <a:pt x="1220" y="57"/>
                    </a:lnTo>
                    <a:lnTo>
                      <a:pt x="1215" y="59"/>
                    </a:lnTo>
                    <a:lnTo>
                      <a:pt x="1202" y="62"/>
                    </a:lnTo>
                    <a:lnTo>
                      <a:pt x="1188" y="67"/>
                    </a:lnTo>
                    <a:lnTo>
                      <a:pt x="1185" y="67"/>
                    </a:lnTo>
                    <a:lnTo>
                      <a:pt x="1180" y="68"/>
                    </a:lnTo>
                    <a:lnTo>
                      <a:pt x="1177" y="70"/>
                    </a:lnTo>
                    <a:lnTo>
                      <a:pt x="1174" y="71"/>
                    </a:lnTo>
                    <a:lnTo>
                      <a:pt x="1169" y="73"/>
                    </a:lnTo>
                    <a:lnTo>
                      <a:pt x="1166" y="73"/>
                    </a:lnTo>
                    <a:lnTo>
                      <a:pt x="1163" y="74"/>
                    </a:lnTo>
                    <a:lnTo>
                      <a:pt x="1158" y="76"/>
                    </a:lnTo>
                    <a:lnTo>
                      <a:pt x="1166" y="71"/>
                    </a:lnTo>
                    <a:lnTo>
                      <a:pt x="1161" y="71"/>
                    </a:lnTo>
                    <a:lnTo>
                      <a:pt x="1166" y="71"/>
                    </a:lnTo>
                    <a:lnTo>
                      <a:pt x="1169" y="71"/>
                    </a:lnTo>
                    <a:lnTo>
                      <a:pt x="1172" y="70"/>
                    </a:lnTo>
                    <a:lnTo>
                      <a:pt x="1177" y="67"/>
                    </a:lnTo>
                    <a:lnTo>
                      <a:pt x="1187" y="63"/>
                    </a:lnTo>
                    <a:lnTo>
                      <a:pt x="1194" y="60"/>
                    </a:lnTo>
                    <a:lnTo>
                      <a:pt x="1204" y="57"/>
                    </a:lnTo>
                    <a:lnTo>
                      <a:pt x="1213" y="54"/>
                    </a:lnTo>
                    <a:lnTo>
                      <a:pt x="1217" y="52"/>
                    </a:lnTo>
                    <a:lnTo>
                      <a:pt x="1221" y="49"/>
                    </a:lnTo>
                    <a:lnTo>
                      <a:pt x="1225" y="46"/>
                    </a:lnTo>
                    <a:lnTo>
                      <a:pt x="1228" y="43"/>
                    </a:lnTo>
                    <a:lnTo>
                      <a:pt x="1228" y="40"/>
                    </a:lnTo>
                    <a:lnTo>
                      <a:pt x="1225" y="36"/>
                    </a:lnTo>
                    <a:lnTo>
                      <a:pt x="1221" y="36"/>
                    </a:lnTo>
                    <a:lnTo>
                      <a:pt x="1218" y="36"/>
                    </a:lnTo>
                    <a:lnTo>
                      <a:pt x="1213" y="36"/>
                    </a:lnTo>
                    <a:lnTo>
                      <a:pt x="1210" y="36"/>
                    </a:lnTo>
                    <a:lnTo>
                      <a:pt x="1206" y="36"/>
                    </a:lnTo>
                    <a:lnTo>
                      <a:pt x="1198" y="36"/>
                    </a:lnTo>
                    <a:lnTo>
                      <a:pt x="1194" y="36"/>
                    </a:lnTo>
                    <a:lnTo>
                      <a:pt x="1190" y="38"/>
                    </a:lnTo>
                    <a:lnTo>
                      <a:pt x="1187" y="38"/>
                    </a:lnTo>
                    <a:lnTo>
                      <a:pt x="1183" y="40"/>
                    </a:lnTo>
                    <a:lnTo>
                      <a:pt x="1180" y="43"/>
                    </a:lnTo>
                    <a:lnTo>
                      <a:pt x="1177" y="44"/>
                    </a:lnTo>
                    <a:lnTo>
                      <a:pt x="1174" y="44"/>
                    </a:lnTo>
                    <a:lnTo>
                      <a:pt x="1169" y="44"/>
                    </a:lnTo>
                    <a:lnTo>
                      <a:pt x="1166" y="46"/>
                    </a:lnTo>
                    <a:lnTo>
                      <a:pt x="1152" y="48"/>
                    </a:lnTo>
                    <a:lnTo>
                      <a:pt x="1134" y="49"/>
                    </a:lnTo>
                    <a:lnTo>
                      <a:pt x="1118" y="52"/>
                    </a:lnTo>
                    <a:lnTo>
                      <a:pt x="1101" y="54"/>
                    </a:lnTo>
                    <a:lnTo>
                      <a:pt x="1104" y="54"/>
                    </a:lnTo>
                    <a:lnTo>
                      <a:pt x="1107" y="52"/>
                    </a:lnTo>
                    <a:lnTo>
                      <a:pt x="1104" y="52"/>
                    </a:lnTo>
                    <a:lnTo>
                      <a:pt x="1101" y="51"/>
                    </a:lnTo>
                    <a:lnTo>
                      <a:pt x="1114" y="49"/>
                    </a:lnTo>
                    <a:lnTo>
                      <a:pt x="1128" y="48"/>
                    </a:lnTo>
                    <a:lnTo>
                      <a:pt x="1131" y="48"/>
                    </a:lnTo>
                    <a:lnTo>
                      <a:pt x="1136" y="46"/>
                    </a:lnTo>
                    <a:lnTo>
                      <a:pt x="1139" y="46"/>
                    </a:lnTo>
                    <a:lnTo>
                      <a:pt x="1144" y="44"/>
                    </a:lnTo>
                    <a:lnTo>
                      <a:pt x="1147" y="44"/>
                    </a:lnTo>
                    <a:lnTo>
                      <a:pt x="1150" y="44"/>
                    </a:lnTo>
                    <a:lnTo>
                      <a:pt x="1155" y="43"/>
                    </a:lnTo>
                    <a:lnTo>
                      <a:pt x="1158" y="40"/>
                    </a:lnTo>
                    <a:lnTo>
                      <a:pt x="1153" y="38"/>
                    </a:lnTo>
                    <a:lnTo>
                      <a:pt x="1150" y="38"/>
                    </a:lnTo>
                    <a:lnTo>
                      <a:pt x="1145" y="38"/>
                    </a:lnTo>
                    <a:lnTo>
                      <a:pt x="1137" y="38"/>
                    </a:lnTo>
                    <a:lnTo>
                      <a:pt x="1126" y="38"/>
                    </a:lnTo>
                    <a:lnTo>
                      <a:pt x="1115" y="38"/>
                    </a:lnTo>
                    <a:lnTo>
                      <a:pt x="1093" y="38"/>
                    </a:lnTo>
                    <a:lnTo>
                      <a:pt x="1069" y="38"/>
                    </a:lnTo>
                    <a:lnTo>
                      <a:pt x="1066" y="40"/>
                    </a:lnTo>
                    <a:lnTo>
                      <a:pt x="1063" y="41"/>
                    </a:lnTo>
                    <a:lnTo>
                      <a:pt x="1060" y="41"/>
                    </a:lnTo>
                    <a:lnTo>
                      <a:pt x="1055" y="40"/>
                    </a:lnTo>
                    <a:lnTo>
                      <a:pt x="1052" y="40"/>
                    </a:lnTo>
                    <a:lnTo>
                      <a:pt x="1041" y="41"/>
                    </a:lnTo>
                    <a:lnTo>
                      <a:pt x="1029" y="41"/>
                    </a:lnTo>
                    <a:lnTo>
                      <a:pt x="1007" y="43"/>
                    </a:lnTo>
                    <a:lnTo>
                      <a:pt x="985" y="46"/>
                    </a:lnTo>
                    <a:lnTo>
                      <a:pt x="987" y="43"/>
                    </a:lnTo>
                    <a:lnTo>
                      <a:pt x="990" y="41"/>
                    </a:lnTo>
                    <a:lnTo>
                      <a:pt x="993" y="41"/>
                    </a:lnTo>
                    <a:lnTo>
                      <a:pt x="996" y="41"/>
                    </a:lnTo>
                    <a:lnTo>
                      <a:pt x="1001" y="41"/>
                    </a:lnTo>
                    <a:lnTo>
                      <a:pt x="1010" y="40"/>
                    </a:lnTo>
                    <a:lnTo>
                      <a:pt x="1020" y="40"/>
                    </a:lnTo>
                    <a:lnTo>
                      <a:pt x="1037" y="38"/>
                    </a:lnTo>
                    <a:lnTo>
                      <a:pt x="1055" y="36"/>
                    </a:lnTo>
                    <a:lnTo>
                      <a:pt x="1052" y="33"/>
                    </a:lnTo>
                    <a:lnTo>
                      <a:pt x="1049" y="33"/>
                    </a:lnTo>
                    <a:lnTo>
                      <a:pt x="1036" y="33"/>
                    </a:lnTo>
                    <a:lnTo>
                      <a:pt x="1033" y="33"/>
                    </a:lnTo>
                    <a:lnTo>
                      <a:pt x="1025" y="33"/>
                    </a:lnTo>
                    <a:lnTo>
                      <a:pt x="1039" y="33"/>
                    </a:lnTo>
                    <a:lnTo>
                      <a:pt x="1055" y="33"/>
                    </a:lnTo>
                    <a:lnTo>
                      <a:pt x="1069" y="35"/>
                    </a:lnTo>
                    <a:lnTo>
                      <a:pt x="1083" y="33"/>
                    </a:lnTo>
                    <a:lnTo>
                      <a:pt x="1098" y="33"/>
                    </a:lnTo>
                    <a:lnTo>
                      <a:pt x="1110" y="33"/>
                    </a:lnTo>
                    <a:lnTo>
                      <a:pt x="1125" y="33"/>
                    </a:lnTo>
                    <a:lnTo>
                      <a:pt x="1139" y="35"/>
                    </a:lnTo>
                    <a:lnTo>
                      <a:pt x="1153" y="35"/>
                    </a:lnTo>
                    <a:lnTo>
                      <a:pt x="1167" y="33"/>
                    </a:lnTo>
                    <a:lnTo>
                      <a:pt x="1180" y="33"/>
                    </a:lnTo>
                    <a:lnTo>
                      <a:pt x="1194" y="30"/>
                    </a:lnTo>
                    <a:lnTo>
                      <a:pt x="1209" y="30"/>
                    </a:lnTo>
                    <a:lnTo>
                      <a:pt x="1221" y="30"/>
                    </a:lnTo>
                    <a:lnTo>
                      <a:pt x="1225" y="30"/>
                    </a:lnTo>
                    <a:lnTo>
                      <a:pt x="1228" y="28"/>
                    </a:lnTo>
                    <a:lnTo>
                      <a:pt x="1233" y="27"/>
                    </a:lnTo>
                    <a:lnTo>
                      <a:pt x="1236" y="27"/>
                    </a:lnTo>
                    <a:lnTo>
                      <a:pt x="1240" y="25"/>
                    </a:lnTo>
                    <a:lnTo>
                      <a:pt x="1244" y="25"/>
                    </a:lnTo>
                    <a:lnTo>
                      <a:pt x="1247" y="25"/>
                    </a:lnTo>
                    <a:lnTo>
                      <a:pt x="1250" y="24"/>
                    </a:lnTo>
                    <a:lnTo>
                      <a:pt x="1237" y="21"/>
                    </a:lnTo>
                    <a:lnTo>
                      <a:pt x="1223" y="19"/>
                    </a:lnTo>
                    <a:lnTo>
                      <a:pt x="1215" y="19"/>
                    </a:lnTo>
                    <a:lnTo>
                      <a:pt x="1210" y="17"/>
                    </a:lnTo>
                    <a:lnTo>
                      <a:pt x="1206" y="17"/>
                    </a:lnTo>
                    <a:lnTo>
                      <a:pt x="1194" y="19"/>
                    </a:lnTo>
                    <a:lnTo>
                      <a:pt x="1199" y="16"/>
                    </a:lnTo>
                    <a:lnTo>
                      <a:pt x="1177" y="17"/>
                    </a:lnTo>
                    <a:lnTo>
                      <a:pt x="1155" y="19"/>
                    </a:lnTo>
                    <a:lnTo>
                      <a:pt x="1169" y="17"/>
                    </a:lnTo>
                    <a:lnTo>
                      <a:pt x="1182" y="14"/>
                    </a:lnTo>
                    <a:lnTo>
                      <a:pt x="1175" y="11"/>
                    </a:lnTo>
                    <a:lnTo>
                      <a:pt x="1171" y="9"/>
                    </a:lnTo>
                    <a:lnTo>
                      <a:pt x="1167" y="11"/>
                    </a:lnTo>
                    <a:lnTo>
                      <a:pt x="1158" y="11"/>
                    </a:lnTo>
                    <a:lnTo>
                      <a:pt x="1147" y="11"/>
                    </a:lnTo>
                    <a:lnTo>
                      <a:pt x="1136" y="13"/>
                    </a:lnTo>
                    <a:lnTo>
                      <a:pt x="1123" y="13"/>
                    </a:lnTo>
                    <a:lnTo>
                      <a:pt x="1112" y="13"/>
                    </a:lnTo>
                    <a:lnTo>
                      <a:pt x="1109" y="13"/>
                    </a:lnTo>
                    <a:lnTo>
                      <a:pt x="1104" y="11"/>
                    </a:lnTo>
                    <a:lnTo>
                      <a:pt x="1099" y="11"/>
                    </a:lnTo>
                    <a:lnTo>
                      <a:pt x="1096" y="11"/>
                    </a:lnTo>
                    <a:lnTo>
                      <a:pt x="1091" y="11"/>
                    </a:lnTo>
                    <a:lnTo>
                      <a:pt x="1088" y="11"/>
                    </a:lnTo>
                    <a:lnTo>
                      <a:pt x="1083" y="11"/>
                    </a:lnTo>
                    <a:lnTo>
                      <a:pt x="1060" y="11"/>
                    </a:lnTo>
                    <a:lnTo>
                      <a:pt x="1036" y="14"/>
                    </a:lnTo>
                    <a:lnTo>
                      <a:pt x="1033" y="16"/>
                    </a:lnTo>
                    <a:lnTo>
                      <a:pt x="1029" y="14"/>
                    </a:lnTo>
                    <a:lnTo>
                      <a:pt x="1025" y="14"/>
                    </a:lnTo>
                    <a:lnTo>
                      <a:pt x="1022" y="14"/>
                    </a:lnTo>
                    <a:lnTo>
                      <a:pt x="1012" y="14"/>
                    </a:lnTo>
                    <a:lnTo>
                      <a:pt x="1009" y="14"/>
                    </a:lnTo>
                    <a:lnTo>
                      <a:pt x="1001" y="14"/>
                    </a:lnTo>
                    <a:lnTo>
                      <a:pt x="996" y="14"/>
                    </a:lnTo>
                    <a:lnTo>
                      <a:pt x="993" y="14"/>
                    </a:lnTo>
                    <a:lnTo>
                      <a:pt x="990" y="16"/>
                    </a:lnTo>
                    <a:lnTo>
                      <a:pt x="985" y="19"/>
                    </a:lnTo>
                    <a:lnTo>
                      <a:pt x="980" y="16"/>
                    </a:lnTo>
                    <a:lnTo>
                      <a:pt x="966" y="16"/>
                    </a:lnTo>
                    <a:lnTo>
                      <a:pt x="955" y="17"/>
                    </a:lnTo>
                    <a:lnTo>
                      <a:pt x="947" y="19"/>
                    </a:lnTo>
                    <a:lnTo>
                      <a:pt x="950" y="19"/>
                    </a:lnTo>
                    <a:lnTo>
                      <a:pt x="955" y="16"/>
                    </a:lnTo>
                    <a:lnTo>
                      <a:pt x="952" y="16"/>
                    </a:lnTo>
                    <a:lnTo>
                      <a:pt x="968" y="16"/>
                    </a:lnTo>
                    <a:lnTo>
                      <a:pt x="984" y="14"/>
                    </a:lnTo>
                    <a:lnTo>
                      <a:pt x="999" y="14"/>
                    </a:lnTo>
                    <a:lnTo>
                      <a:pt x="1015" y="13"/>
                    </a:lnTo>
                    <a:lnTo>
                      <a:pt x="1012" y="11"/>
                    </a:lnTo>
                    <a:lnTo>
                      <a:pt x="1007" y="11"/>
                    </a:lnTo>
                    <a:lnTo>
                      <a:pt x="1004" y="11"/>
                    </a:lnTo>
                    <a:lnTo>
                      <a:pt x="999" y="11"/>
                    </a:lnTo>
                    <a:lnTo>
                      <a:pt x="1020" y="11"/>
                    </a:lnTo>
                    <a:lnTo>
                      <a:pt x="1039" y="11"/>
                    </a:lnTo>
                    <a:lnTo>
                      <a:pt x="1060" y="11"/>
                    </a:lnTo>
                    <a:lnTo>
                      <a:pt x="1079" y="9"/>
                    </a:lnTo>
                    <a:lnTo>
                      <a:pt x="1101" y="9"/>
                    </a:lnTo>
                    <a:lnTo>
                      <a:pt x="1123" y="11"/>
                    </a:lnTo>
                    <a:lnTo>
                      <a:pt x="1144" y="9"/>
                    </a:lnTo>
                    <a:lnTo>
                      <a:pt x="1164" y="8"/>
                    </a:lnTo>
                    <a:lnTo>
                      <a:pt x="1152" y="5"/>
                    </a:lnTo>
                    <a:lnTo>
                      <a:pt x="1136" y="3"/>
                    </a:lnTo>
                    <a:lnTo>
                      <a:pt x="1123" y="3"/>
                    </a:lnTo>
                    <a:lnTo>
                      <a:pt x="1110" y="3"/>
                    </a:lnTo>
                    <a:lnTo>
                      <a:pt x="1114" y="3"/>
                    </a:lnTo>
                    <a:lnTo>
                      <a:pt x="1110" y="5"/>
                    </a:lnTo>
                    <a:lnTo>
                      <a:pt x="1106" y="5"/>
                    </a:lnTo>
                    <a:lnTo>
                      <a:pt x="1102" y="3"/>
                    </a:lnTo>
                    <a:lnTo>
                      <a:pt x="1099" y="3"/>
                    </a:lnTo>
                    <a:lnTo>
                      <a:pt x="1102" y="3"/>
                    </a:lnTo>
                    <a:lnTo>
                      <a:pt x="1107" y="3"/>
                    </a:lnTo>
                    <a:lnTo>
                      <a:pt x="1102" y="2"/>
                    </a:lnTo>
                    <a:lnTo>
                      <a:pt x="1098" y="2"/>
                    </a:lnTo>
                    <a:lnTo>
                      <a:pt x="1095" y="3"/>
                    </a:lnTo>
                    <a:lnTo>
                      <a:pt x="1091" y="2"/>
                    </a:lnTo>
                    <a:lnTo>
                      <a:pt x="1087" y="2"/>
                    </a:lnTo>
                    <a:lnTo>
                      <a:pt x="1082" y="0"/>
                    </a:lnTo>
                    <a:lnTo>
                      <a:pt x="1079" y="0"/>
                    </a:lnTo>
                    <a:lnTo>
                      <a:pt x="1064" y="0"/>
                    </a:lnTo>
                    <a:lnTo>
                      <a:pt x="1050" y="0"/>
                    </a:lnTo>
                    <a:lnTo>
                      <a:pt x="1037" y="0"/>
                    </a:lnTo>
                    <a:lnTo>
                      <a:pt x="1023" y="0"/>
                    </a:lnTo>
                    <a:lnTo>
                      <a:pt x="1007" y="0"/>
                    </a:lnTo>
                    <a:lnTo>
                      <a:pt x="991" y="0"/>
                    </a:lnTo>
                    <a:lnTo>
                      <a:pt x="996" y="2"/>
                    </a:lnTo>
                    <a:lnTo>
                      <a:pt x="993" y="3"/>
                    </a:lnTo>
                    <a:lnTo>
                      <a:pt x="990" y="2"/>
                    </a:lnTo>
                    <a:lnTo>
                      <a:pt x="985" y="0"/>
                    </a:lnTo>
                    <a:lnTo>
                      <a:pt x="982" y="2"/>
                    </a:lnTo>
                    <a:lnTo>
                      <a:pt x="977" y="0"/>
                    </a:lnTo>
                    <a:lnTo>
                      <a:pt x="974" y="0"/>
                    </a:lnTo>
                    <a:lnTo>
                      <a:pt x="971" y="2"/>
                    </a:lnTo>
                    <a:lnTo>
                      <a:pt x="966" y="2"/>
                    </a:lnTo>
                    <a:lnTo>
                      <a:pt x="949" y="0"/>
                    </a:lnTo>
                    <a:lnTo>
                      <a:pt x="931" y="2"/>
                    </a:lnTo>
                    <a:lnTo>
                      <a:pt x="934" y="3"/>
                    </a:lnTo>
                    <a:lnTo>
                      <a:pt x="939" y="5"/>
                    </a:lnTo>
                    <a:lnTo>
                      <a:pt x="926" y="3"/>
                    </a:lnTo>
                    <a:lnTo>
                      <a:pt x="915" y="2"/>
                    </a:lnTo>
                    <a:lnTo>
                      <a:pt x="911" y="2"/>
                    </a:lnTo>
                    <a:lnTo>
                      <a:pt x="907" y="3"/>
                    </a:lnTo>
                    <a:lnTo>
                      <a:pt x="904" y="5"/>
                    </a:lnTo>
                    <a:lnTo>
                      <a:pt x="901" y="5"/>
                    </a:lnTo>
                    <a:lnTo>
                      <a:pt x="896" y="5"/>
                    </a:lnTo>
                    <a:lnTo>
                      <a:pt x="892" y="5"/>
                    </a:lnTo>
                    <a:lnTo>
                      <a:pt x="888" y="3"/>
                    </a:lnTo>
                    <a:lnTo>
                      <a:pt x="888" y="6"/>
                    </a:lnTo>
                    <a:lnTo>
                      <a:pt x="892" y="9"/>
                    </a:lnTo>
                    <a:lnTo>
                      <a:pt x="903" y="9"/>
                    </a:lnTo>
                    <a:lnTo>
                      <a:pt x="912" y="9"/>
                    </a:lnTo>
                    <a:lnTo>
                      <a:pt x="923" y="9"/>
                    </a:lnTo>
                    <a:lnTo>
                      <a:pt x="904" y="11"/>
                    </a:lnTo>
                    <a:lnTo>
                      <a:pt x="884" y="13"/>
                    </a:lnTo>
                    <a:lnTo>
                      <a:pt x="898" y="13"/>
                    </a:lnTo>
                    <a:lnTo>
                      <a:pt x="912" y="13"/>
                    </a:lnTo>
                    <a:lnTo>
                      <a:pt x="893" y="13"/>
                    </a:lnTo>
                    <a:lnTo>
                      <a:pt x="874" y="14"/>
                    </a:lnTo>
                    <a:lnTo>
                      <a:pt x="877" y="16"/>
                    </a:lnTo>
                    <a:lnTo>
                      <a:pt x="880" y="17"/>
                    </a:lnTo>
                    <a:lnTo>
                      <a:pt x="884" y="17"/>
                    </a:lnTo>
                    <a:lnTo>
                      <a:pt x="880" y="19"/>
                    </a:lnTo>
                    <a:lnTo>
                      <a:pt x="877" y="19"/>
                    </a:lnTo>
                    <a:lnTo>
                      <a:pt x="872" y="16"/>
                    </a:lnTo>
                    <a:lnTo>
                      <a:pt x="869" y="16"/>
                    </a:lnTo>
                    <a:lnTo>
                      <a:pt x="866" y="14"/>
                    </a:lnTo>
                    <a:lnTo>
                      <a:pt x="863" y="14"/>
                    </a:lnTo>
                    <a:lnTo>
                      <a:pt x="858" y="14"/>
                    </a:lnTo>
                    <a:lnTo>
                      <a:pt x="855" y="14"/>
                    </a:lnTo>
                    <a:lnTo>
                      <a:pt x="850" y="14"/>
                    </a:lnTo>
                    <a:lnTo>
                      <a:pt x="834" y="13"/>
                    </a:lnTo>
                    <a:lnTo>
                      <a:pt x="817" y="11"/>
                    </a:lnTo>
                    <a:lnTo>
                      <a:pt x="822" y="9"/>
                    </a:lnTo>
                    <a:lnTo>
                      <a:pt x="817" y="8"/>
                    </a:lnTo>
                    <a:lnTo>
                      <a:pt x="809" y="8"/>
                    </a:lnTo>
                    <a:lnTo>
                      <a:pt x="804" y="8"/>
                    </a:lnTo>
                    <a:lnTo>
                      <a:pt x="793" y="8"/>
                    </a:lnTo>
                    <a:lnTo>
                      <a:pt x="788" y="8"/>
                    </a:lnTo>
                    <a:lnTo>
                      <a:pt x="793" y="8"/>
                    </a:lnTo>
                    <a:lnTo>
                      <a:pt x="798" y="9"/>
                    </a:lnTo>
                    <a:lnTo>
                      <a:pt x="787" y="9"/>
                    </a:lnTo>
                    <a:lnTo>
                      <a:pt x="777" y="9"/>
                    </a:lnTo>
                    <a:lnTo>
                      <a:pt x="787" y="9"/>
                    </a:lnTo>
                    <a:lnTo>
                      <a:pt x="796" y="11"/>
                    </a:lnTo>
                    <a:lnTo>
                      <a:pt x="784" y="11"/>
                    </a:lnTo>
                    <a:lnTo>
                      <a:pt x="769" y="9"/>
                    </a:lnTo>
                    <a:lnTo>
                      <a:pt x="766" y="9"/>
                    </a:lnTo>
                    <a:lnTo>
                      <a:pt x="758" y="9"/>
                    </a:lnTo>
                    <a:lnTo>
                      <a:pt x="755" y="11"/>
                    </a:lnTo>
                    <a:lnTo>
                      <a:pt x="752" y="11"/>
                    </a:lnTo>
                    <a:lnTo>
                      <a:pt x="747" y="11"/>
                    </a:lnTo>
                    <a:lnTo>
                      <a:pt x="744" y="11"/>
                    </a:lnTo>
                    <a:lnTo>
                      <a:pt x="741" y="11"/>
                    </a:lnTo>
                    <a:lnTo>
                      <a:pt x="754" y="14"/>
                    </a:lnTo>
                    <a:lnTo>
                      <a:pt x="766" y="16"/>
                    </a:lnTo>
                    <a:lnTo>
                      <a:pt x="761" y="16"/>
                    </a:lnTo>
                    <a:lnTo>
                      <a:pt x="758" y="16"/>
                    </a:lnTo>
                    <a:lnTo>
                      <a:pt x="754" y="14"/>
                    </a:lnTo>
                    <a:lnTo>
                      <a:pt x="750" y="14"/>
                    </a:lnTo>
                    <a:lnTo>
                      <a:pt x="747" y="16"/>
                    </a:lnTo>
                    <a:lnTo>
                      <a:pt x="746" y="16"/>
                    </a:lnTo>
                    <a:lnTo>
                      <a:pt x="744" y="14"/>
                    </a:lnTo>
                    <a:lnTo>
                      <a:pt x="738" y="13"/>
                    </a:lnTo>
                    <a:lnTo>
                      <a:pt x="730" y="13"/>
                    </a:lnTo>
                    <a:lnTo>
                      <a:pt x="722" y="13"/>
                    </a:lnTo>
                    <a:lnTo>
                      <a:pt x="715" y="14"/>
                    </a:lnTo>
                    <a:lnTo>
                      <a:pt x="719" y="14"/>
                    </a:lnTo>
                    <a:lnTo>
                      <a:pt x="723" y="14"/>
                    </a:lnTo>
                    <a:lnTo>
                      <a:pt x="727" y="16"/>
                    </a:lnTo>
                    <a:lnTo>
                      <a:pt x="722" y="16"/>
                    </a:lnTo>
                    <a:lnTo>
                      <a:pt x="719" y="14"/>
                    </a:lnTo>
                    <a:lnTo>
                      <a:pt x="714" y="14"/>
                    </a:lnTo>
                    <a:lnTo>
                      <a:pt x="711" y="16"/>
                    </a:lnTo>
                    <a:lnTo>
                      <a:pt x="714" y="16"/>
                    </a:lnTo>
                    <a:lnTo>
                      <a:pt x="717" y="17"/>
                    </a:lnTo>
                    <a:lnTo>
                      <a:pt x="722" y="17"/>
                    </a:lnTo>
                    <a:lnTo>
                      <a:pt x="725" y="17"/>
                    </a:lnTo>
                    <a:lnTo>
                      <a:pt x="730" y="17"/>
                    </a:lnTo>
                    <a:lnTo>
                      <a:pt x="733" y="16"/>
                    </a:lnTo>
                    <a:lnTo>
                      <a:pt x="736" y="17"/>
                    </a:lnTo>
                    <a:lnTo>
                      <a:pt x="746" y="17"/>
                    </a:lnTo>
                    <a:lnTo>
                      <a:pt x="749" y="17"/>
                    </a:lnTo>
                    <a:lnTo>
                      <a:pt x="746" y="16"/>
                    </a:lnTo>
                    <a:lnTo>
                      <a:pt x="758" y="17"/>
                    </a:lnTo>
                    <a:lnTo>
                      <a:pt x="771" y="17"/>
                    </a:lnTo>
                    <a:lnTo>
                      <a:pt x="785" y="17"/>
                    </a:lnTo>
                    <a:lnTo>
                      <a:pt x="798" y="17"/>
                    </a:lnTo>
                    <a:lnTo>
                      <a:pt x="811" y="17"/>
                    </a:lnTo>
                    <a:lnTo>
                      <a:pt x="825" y="19"/>
                    </a:lnTo>
                    <a:lnTo>
                      <a:pt x="828" y="19"/>
                    </a:lnTo>
                    <a:lnTo>
                      <a:pt x="833" y="19"/>
                    </a:lnTo>
                    <a:lnTo>
                      <a:pt x="838" y="21"/>
                    </a:lnTo>
                    <a:lnTo>
                      <a:pt x="841" y="21"/>
                    </a:lnTo>
                    <a:lnTo>
                      <a:pt x="844" y="21"/>
                    </a:lnTo>
                    <a:lnTo>
                      <a:pt x="849" y="21"/>
                    </a:lnTo>
                    <a:lnTo>
                      <a:pt x="852" y="22"/>
                    </a:lnTo>
                    <a:lnTo>
                      <a:pt x="849" y="25"/>
                    </a:lnTo>
                    <a:lnTo>
                      <a:pt x="852" y="25"/>
                    </a:lnTo>
                    <a:lnTo>
                      <a:pt x="847" y="28"/>
                    </a:lnTo>
                    <a:lnTo>
                      <a:pt x="844" y="25"/>
                    </a:lnTo>
                    <a:lnTo>
                      <a:pt x="841" y="24"/>
                    </a:lnTo>
                    <a:lnTo>
                      <a:pt x="836" y="24"/>
                    </a:lnTo>
                    <a:lnTo>
                      <a:pt x="830" y="22"/>
                    </a:lnTo>
                    <a:lnTo>
                      <a:pt x="826" y="22"/>
                    </a:lnTo>
                    <a:lnTo>
                      <a:pt x="822" y="21"/>
                    </a:lnTo>
                    <a:lnTo>
                      <a:pt x="819" y="21"/>
                    </a:lnTo>
                    <a:lnTo>
                      <a:pt x="814" y="19"/>
                    </a:lnTo>
                    <a:lnTo>
                      <a:pt x="811" y="21"/>
                    </a:lnTo>
                    <a:lnTo>
                      <a:pt x="814" y="22"/>
                    </a:lnTo>
                    <a:lnTo>
                      <a:pt x="812" y="25"/>
                    </a:lnTo>
                    <a:lnTo>
                      <a:pt x="809" y="25"/>
                    </a:lnTo>
                    <a:lnTo>
                      <a:pt x="807" y="22"/>
                    </a:lnTo>
                    <a:lnTo>
                      <a:pt x="804" y="19"/>
                    </a:lnTo>
                    <a:lnTo>
                      <a:pt x="801" y="19"/>
                    </a:lnTo>
                    <a:lnTo>
                      <a:pt x="796" y="19"/>
                    </a:lnTo>
                    <a:lnTo>
                      <a:pt x="793" y="19"/>
                    </a:lnTo>
                    <a:lnTo>
                      <a:pt x="784" y="19"/>
                    </a:lnTo>
                    <a:lnTo>
                      <a:pt x="773" y="19"/>
                    </a:lnTo>
                    <a:lnTo>
                      <a:pt x="752" y="19"/>
                    </a:lnTo>
                    <a:lnTo>
                      <a:pt x="730" y="21"/>
                    </a:lnTo>
                    <a:lnTo>
                      <a:pt x="747" y="24"/>
                    </a:lnTo>
                    <a:lnTo>
                      <a:pt x="765" y="28"/>
                    </a:lnTo>
                    <a:lnTo>
                      <a:pt x="761" y="30"/>
                    </a:lnTo>
                    <a:lnTo>
                      <a:pt x="776" y="30"/>
                    </a:lnTo>
                    <a:lnTo>
                      <a:pt x="792" y="33"/>
                    </a:lnTo>
                    <a:lnTo>
                      <a:pt x="779" y="32"/>
                    </a:lnTo>
                    <a:lnTo>
                      <a:pt x="768" y="32"/>
                    </a:lnTo>
                    <a:lnTo>
                      <a:pt x="763" y="32"/>
                    </a:lnTo>
                    <a:lnTo>
                      <a:pt x="760" y="30"/>
                    </a:lnTo>
                    <a:lnTo>
                      <a:pt x="755" y="30"/>
                    </a:lnTo>
                    <a:lnTo>
                      <a:pt x="752" y="30"/>
                    </a:lnTo>
                    <a:lnTo>
                      <a:pt x="747" y="30"/>
                    </a:lnTo>
                    <a:lnTo>
                      <a:pt x="744" y="30"/>
                    </a:lnTo>
                    <a:lnTo>
                      <a:pt x="739" y="35"/>
                    </a:lnTo>
                    <a:lnTo>
                      <a:pt x="744" y="35"/>
                    </a:lnTo>
                    <a:lnTo>
                      <a:pt x="739" y="36"/>
                    </a:lnTo>
                    <a:lnTo>
                      <a:pt x="736" y="36"/>
                    </a:lnTo>
                    <a:lnTo>
                      <a:pt x="733" y="38"/>
                    </a:lnTo>
                    <a:lnTo>
                      <a:pt x="736" y="38"/>
                    </a:lnTo>
                    <a:lnTo>
                      <a:pt x="739" y="40"/>
                    </a:lnTo>
                    <a:lnTo>
                      <a:pt x="736" y="41"/>
                    </a:lnTo>
                    <a:lnTo>
                      <a:pt x="739" y="41"/>
                    </a:lnTo>
                    <a:lnTo>
                      <a:pt x="744" y="43"/>
                    </a:lnTo>
                    <a:lnTo>
                      <a:pt x="734" y="43"/>
                    </a:lnTo>
                    <a:lnTo>
                      <a:pt x="727" y="43"/>
                    </a:lnTo>
                    <a:lnTo>
                      <a:pt x="720" y="43"/>
                    </a:lnTo>
                    <a:lnTo>
                      <a:pt x="711" y="40"/>
                    </a:lnTo>
                    <a:lnTo>
                      <a:pt x="708" y="36"/>
                    </a:lnTo>
                    <a:lnTo>
                      <a:pt x="703" y="36"/>
                    </a:lnTo>
                    <a:lnTo>
                      <a:pt x="700" y="35"/>
                    </a:lnTo>
                    <a:lnTo>
                      <a:pt x="695" y="35"/>
                    </a:lnTo>
                    <a:lnTo>
                      <a:pt x="692" y="35"/>
                    </a:lnTo>
                    <a:lnTo>
                      <a:pt x="689" y="35"/>
                    </a:lnTo>
                    <a:lnTo>
                      <a:pt x="684" y="33"/>
                    </a:lnTo>
                    <a:lnTo>
                      <a:pt x="681" y="33"/>
                    </a:lnTo>
                    <a:lnTo>
                      <a:pt x="676" y="32"/>
                    </a:lnTo>
                    <a:lnTo>
                      <a:pt x="673" y="32"/>
                    </a:lnTo>
                    <a:lnTo>
                      <a:pt x="669" y="30"/>
                    </a:lnTo>
                    <a:lnTo>
                      <a:pt x="665" y="30"/>
                    </a:lnTo>
                    <a:lnTo>
                      <a:pt x="662" y="30"/>
                    </a:lnTo>
                    <a:lnTo>
                      <a:pt x="654" y="28"/>
                    </a:lnTo>
                    <a:lnTo>
                      <a:pt x="643" y="25"/>
                    </a:lnTo>
                    <a:lnTo>
                      <a:pt x="625" y="25"/>
                    </a:lnTo>
                    <a:lnTo>
                      <a:pt x="608" y="25"/>
                    </a:lnTo>
                    <a:lnTo>
                      <a:pt x="611" y="28"/>
                    </a:lnTo>
                    <a:lnTo>
                      <a:pt x="609" y="33"/>
                    </a:lnTo>
                    <a:lnTo>
                      <a:pt x="620" y="36"/>
                    </a:lnTo>
                    <a:lnTo>
                      <a:pt x="631" y="40"/>
                    </a:lnTo>
                    <a:lnTo>
                      <a:pt x="628" y="40"/>
                    </a:lnTo>
                    <a:lnTo>
                      <a:pt x="623" y="41"/>
                    </a:lnTo>
                    <a:lnTo>
                      <a:pt x="620" y="41"/>
                    </a:lnTo>
                    <a:lnTo>
                      <a:pt x="616" y="40"/>
                    </a:lnTo>
                    <a:lnTo>
                      <a:pt x="606" y="40"/>
                    </a:lnTo>
                    <a:lnTo>
                      <a:pt x="598" y="40"/>
                    </a:lnTo>
                    <a:lnTo>
                      <a:pt x="609" y="44"/>
                    </a:lnTo>
                    <a:lnTo>
                      <a:pt x="620" y="48"/>
                    </a:lnTo>
                    <a:lnTo>
                      <a:pt x="612" y="48"/>
                    </a:lnTo>
                    <a:lnTo>
                      <a:pt x="609" y="46"/>
                    </a:lnTo>
                    <a:lnTo>
                      <a:pt x="604" y="44"/>
                    </a:lnTo>
                    <a:lnTo>
                      <a:pt x="598" y="43"/>
                    </a:lnTo>
                    <a:lnTo>
                      <a:pt x="587" y="40"/>
                    </a:lnTo>
                    <a:lnTo>
                      <a:pt x="576" y="40"/>
                    </a:lnTo>
                    <a:lnTo>
                      <a:pt x="571" y="38"/>
                    </a:lnTo>
                    <a:lnTo>
                      <a:pt x="568" y="38"/>
                    </a:lnTo>
                    <a:lnTo>
                      <a:pt x="565" y="38"/>
                    </a:lnTo>
                    <a:lnTo>
                      <a:pt x="560" y="36"/>
                    </a:lnTo>
                    <a:lnTo>
                      <a:pt x="557" y="38"/>
                    </a:lnTo>
                    <a:lnTo>
                      <a:pt x="555" y="41"/>
                    </a:lnTo>
                    <a:lnTo>
                      <a:pt x="551" y="43"/>
                    </a:lnTo>
                    <a:lnTo>
                      <a:pt x="547" y="43"/>
                    </a:lnTo>
                    <a:lnTo>
                      <a:pt x="544" y="44"/>
                    </a:lnTo>
                    <a:lnTo>
                      <a:pt x="539" y="46"/>
                    </a:lnTo>
                    <a:lnTo>
                      <a:pt x="536" y="46"/>
                    </a:lnTo>
                    <a:lnTo>
                      <a:pt x="531" y="49"/>
                    </a:lnTo>
                    <a:lnTo>
                      <a:pt x="528" y="49"/>
                    </a:lnTo>
                    <a:lnTo>
                      <a:pt x="531" y="46"/>
                    </a:lnTo>
                    <a:lnTo>
                      <a:pt x="535" y="44"/>
                    </a:lnTo>
                    <a:lnTo>
                      <a:pt x="538" y="43"/>
                    </a:lnTo>
                    <a:lnTo>
                      <a:pt x="543" y="41"/>
                    </a:lnTo>
                    <a:lnTo>
                      <a:pt x="543" y="36"/>
                    </a:lnTo>
                    <a:lnTo>
                      <a:pt x="544" y="33"/>
                    </a:lnTo>
                    <a:lnTo>
                      <a:pt x="539" y="32"/>
                    </a:lnTo>
                    <a:lnTo>
                      <a:pt x="536" y="30"/>
                    </a:lnTo>
                    <a:lnTo>
                      <a:pt x="531" y="28"/>
                    </a:lnTo>
                    <a:lnTo>
                      <a:pt x="527" y="30"/>
                    </a:lnTo>
                    <a:lnTo>
                      <a:pt x="517" y="30"/>
                    </a:lnTo>
                    <a:lnTo>
                      <a:pt x="508" y="30"/>
                    </a:lnTo>
                    <a:lnTo>
                      <a:pt x="512" y="30"/>
                    </a:lnTo>
                    <a:lnTo>
                      <a:pt x="508" y="32"/>
                    </a:lnTo>
                    <a:lnTo>
                      <a:pt x="505" y="32"/>
                    </a:lnTo>
                    <a:lnTo>
                      <a:pt x="500" y="32"/>
                    </a:lnTo>
                    <a:lnTo>
                      <a:pt x="495" y="32"/>
                    </a:lnTo>
                    <a:lnTo>
                      <a:pt x="492" y="33"/>
                    </a:lnTo>
                    <a:lnTo>
                      <a:pt x="487" y="33"/>
                    </a:lnTo>
                    <a:lnTo>
                      <a:pt x="484" y="32"/>
                    </a:lnTo>
                    <a:lnTo>
                      <a:pt x="479" y="33"/>
                    </a:lnTo>
                    <a:lnTo>
                      <a:pt x="476" y="33"/>
                    </a:lnTo>
                    <a:lnTo>
                      <a:pt x="473" y="33"/>
                    </a:lnTo>
                    <a:lnTo>
                      <a:pt x="468" y="33"/>
                    </a:lnTo>
                    <a:lnTo>
                      <a:pt x="447" y="35"/>
                    </a:lnTo>
                    <a:lnTo>
                      <a:pt x="427" y="36"/>
                    </a:lnTo>
                    <a:lnTo>
                      <a:pt x="422" y="36"/>
                    </a:lnTo>
                    <a:lnTo>
                      <a:pt x="419" y="38"/>
                    </a:lnTo>
                    <a:lnTo>
                      <a:pt x="416" y="38"/>
                    </a:lnTo>
                    <a:lnTo>
                      <a:pt x="419" y="40"/>
                    </a:lnTo>
                    <a:lnTo>
                      <a:pt x="422" y="40"/>
                    </a:lnTo>
                    <a:lnTo>
                      <a:pt x="427" y="40"/>
                    </a:lnTo>
                    <a:lnTo>
                      <a:pt x="430" y="40"/>
                    </a:lnTo>
                    <a:lnTo>
                      <a:pt x="433" y="44"/>
                    </a:lnTo>
                    <a:lnTo>
                      <a:pt x="438" y="46"/>
                    </a:lnTo>
                    <a:lnTo>
                      <a:pt x="441" y="46"/>
                    </a:lnTo>
                    <a:lnTo>
                      <a:pt x="446" y="48"/>
                    </a:lnTo>
                    <a:lnTo>
                      <a:pt x="449" y="48"/>
                    </a:lnTo>
                    <a:lnTo>
                      <a:pt x="452" y="49"/>
                    </a:lnTo>
                    <a:lnTo>
                      <a:pt x="457" y="52"/>
                    </a:lnTo>
                    <a:lnTo>
                      <a:pt x="460" y="52"/>
                    </a:lnTo>
                    <a:lnTo>
                      <a:pt x="463" y="54"/>
                    </a:lnTo>
                    <a:lnTo>
                      <a:pt x="455" y="52"/>
                    </a:lnTo>
                    <a:lnTo>
                      <a:pt x="452" y="52"/>
                    </a:lnTo>
                    <a:lnTo>
                      <a:pt x="451" y="52"/>
                    </a:lnTo>
                    <a:lnTo>
                      <a:pt x="446" y="49"/>
                    </a:lnTo>
                    <a:lnTo>
                      <a:pt x="436" y="48"/>
                    </a:lnTo>
                    <a:lnTo>
                      <a:pt x="427" y="46"/>
                    </a:lnTo>
                    <a:lnTo>
                      <a:pt x="425" y="43"/>
                    </a:lnTo>
                    <a:lnTo>
                      <a:pt x="422" y="41"/>
                    </a:lnTo>
                    <a:lnTo>
                      <a:pt x="417" y="41"/>
                    </a:lnTo>
                    <a:lnTo>
                      <a:pt x="414" y="41"/>
                    </a:lnTo>
                    <a:lnTo>
                      <a:pt x="409" y="40"/>
                    </a:lnTo>
                    <a:lnTo>
                      <a:pt x="406" y="40"/>
                    </a:lnTo>
                    <a:lnTo>
                      <a:pt x="403" y="40"/>
                    </a:lnTo>
                    <a:lnTo>
                      <a:pt x="401" y="40"/>
                    </a:lnTo>
                    <a:lnTo>
                      <a:pt x="398" y="40"/>
                    </a:lnTo>
                    <a:lnTo>
                      <a:pt x="394" y="40"/>
                    </a:lnTo>
                    <a:lnTo>
                      <a:pt x="390" y="40"/>
                    </a:lnTo>
                    <a:lnTo>
                      <a:pt x="386" y="41"/>
                    </a:lnTo>
                    <a:lnTo>
                      <a:pt x="382" y="41"/>
                    </a:lnTo>
                    <a:lnTo>
                      <a:pt x="378" y="41"/>
                    </a:lnTo>
                    <a:lnTo>
                      <a:pt x="374" y="43"/>
                    </a:lnTo>
                    <a:lnTo>
                      <a:pt x="371" y="43"/>
                    </a:lnTo>
                    <a:lnTo>
                      <a:pt x="367" y="46"/>
                    </a:lnTo>
                    <a:lnTo>
                      <a:pt x="370" y="49"/>
                    </a:lnTo>
                    <a:lnTo>
                      <a:pt x="374" y="51"/>
                    </a:lnTo>
                    <a:lnTo>
                      <a:pt x="370" y="52"/>
                    </a:lnTo>
                    <a:lnTo>
                      <a:pt x="363" y="54"/>
                    </a:lnTo>
                    <a:lnTo>
                      <a:pt x="360" y="55"/>
                    </a:lnTo>
                    <a:lnTo>
                      <a:pt x="362" y="59"/>
                    </a:lnTo>
                    <a:lnTo>
                      <a:pt x="359" y="60"/>
                    </a:lnTo>
                    <a:lnTo>
                      <a:pt x="354" y="60"/>
                    </a:lnTo>
                    <a:lnTo>
                      <a:pt x="351" y="60"/>
                    </a:lnTo>
                    <a:lnTo>
                      <a:pt x="346" y="62"/>
                    </a:lnTo>
                    <a:lnTo>
                      <a:pt x="343" y="60"/>
                    </a:lnTo>
                    <a:lnTo>
                      <a:pt x="338" y="59"/>
                    </a:lnTo>
                    <a:lnTo>
                      <a:pt x="335" y="59"/>
                    </a:lnTo>
                    <a:lnTo>
                      <a:pt x="332" y="59"/>
                    </a:lnTo>
                    <a:lnTo>
                      <a:pt x="324" y="59"/>
                    </a:lnTo>
                    <a:lnTo>
                      <a:pt x="319" y="57"/>
                    </a:lnTo>
                    <a:lnTo>
                      <a:pt x="316" y="57"/>
                    </a:lnTo>
                    <a:lnTo>
                      <a:pt x="313" y="59"/>
                    </a:lnTo>
                    <a:lnTo>
                      <a:pt x="308" y="59"/>
                    </a:lnTo>
                    <a:lnTo>
                      <a:pt x="306" y="62"/>
                    </a:lnTo>
                    <a:lnTo>
                      <a:pt x="309" y="67"/>
                    </a:lnTo>
                    <a:lnTo>
                      <a:pt x="311" y="70"/>
                    </a:lnTo>
                    <a:lnTo>
                      <a:pt x="308" y="67"/>
                    </a:lnTo>
                    <a:lnTo>
                      <a:pt x="305" y="63"/>
                    </a:lnTo>
                    <a:lnTo>
                      <a:pt x="305" y="60"/>
                    </a:lnTo>
                    <a:lnTo>
                      <a:pt x="302" y="59"/>
                    </a:lnTo>
                    <a:lnTo>
                      <a:pt x="297" y="60"/>
                    </a:lnTo>
                    <a:lnTo>
                      <a:pt x="294" y="62"/>
                    </a:lnTo>
                    <a:lnTo>
                      <a:pt x="290" y="62"/>
                    </a:lnTo>
                    <a:lnTo>
                      <a:pt x="286" y="62"/>
                    </a:lnTo>
                    <a:lnTo>
                      <a:pt x="278" y="63"/>
                    </a:lnTo>
                    <a:lnTo>
                      <a:pt x="265" y="67"/>
                    </a:lnTo>
                    <a:lnTo>
                      <a:pt x="249" y="70"/>
                    </a:lnTo>
                    <a:lnTo>
                      <a:pt x="246" y="71"/>
                    </a:lnTo>
                    <a:lnTo>
                      <a:pt x="238" y="71"/>
                    </a:lnTo>
                    <a:lnTo>
                      <a:pt x="233" y="73"/>
                    </a:lnTo>
                    <a:lnTo>
                      <a:pt x="230" y="73"/>
                    </a:lnTo>
                    <a:lnTo>
                      <a:pt x="227" y="74"/>
                    </a:lnTo>
                    <a:lnTo>
                      <a:pt x="224" y="74"/>
                    </a:lnTo>
                    <a:lnTo>
                      <a:pt x="219" y="74"/>
                    </a:lnTo>
                    <a:lnTo>
                      <a:pt x="213" y="78"/>
                    </a:lnTo>
                    <a:lnTo>
                      <a:pt x="208" y="78"/>
                    </a:lnTo>
                    <a:lnTo>
                      <a:pt x="205" y="79"/>
                    </a:lnTo>
                    <a:lnTo>
                      <a:pt x="202" y="79"/>
                    </a:lnTo>
                    <a:lnTo>
                      <a:pt x="197" y="81"/>
                    </a:lnTo>
                    <a:lnTo>
                      <a:pt x="194" y="82"/>
                    </a:lnTo>
                    <a:lnTo>
                      <a:pt x="191" y="86"/>
                    </a:lnTo>
                    <a:lnTo>
                      <a:pt x="195" y="86"/>
                    </a:lnTo>
                    <a:lnTo>
                      <a:pt x="198" y="89"/>
                    </a:lnTo>
                    <a:lnTo>
                      <a:pt x="203" y="89"/>
                    </a:lnTo>
                    <a:lnTo>
                      <a:pt x="210" y="87"/>
                    </a:lnTo>
                    <a:lnTo>
                      <a:pt x="213" y="87"/>
                    </a:lnTo>
                    <a:lnTo>
                      <a:pt x="217" y="89"/>
                    </a:lnTo>
                    <a:lnTo>
                      <a:pt x="221" y="90"/>
                    </a:lnTo>
                    <a:lnTo>
                      <a:pt x="224" y="89"/>
                    </a:lnTo>
                    <a:lnTo>
                      <a:pt x="229" y="89"/>
                    </a:lnTo>
                    <a:lnTo>
                      <a:pt x="238" y="87"/>
                    </a:lnTo>
                    <a:lnTo>
                      <a:pt x="246" y="89"/>
                    </a:lnTo>
                    <a:lnTo>
                      <a:pt x="249" y="87"/>
                    </a:lnTo>
                    <a:lnTo>
                      <a:pt x="254" y="87"/>
                    </a:lnTo>
                    <a:lnTo>
                      <a:pt x="257" y="86"/>
                    </a:lnTo>
                    <a:lnTo>
                      <a:pt x="262" y="86"/>
                    </a:lnTo>
                    <a:lnTo>
                      <a:pt x="265" y="86"/>
                    </a:lnTo>
                    <a:lnTo>
                      <a:pt x="270" y="86"/>
                    </a:lnTo>
                    <a:lnTo>
                      <a:pt x="260" y="87"/>
                    </a:lnTo>
                    <a:lnTo>
                      <a:pt x="251" y="89"/>
                    </a:lnTo>
                    <a:lnTo>
                      <a:pt x="248" y="89"/>
                    </a:lnTo>
                    <a:lnTo>
                      <a:pt x="243" y="89"/>
                    </a:lnTo>
                    <a:lnTo>
                      <a:pt x="240" y="90"/>
                    </a:lnTo>
                    <a:lnTo>
                      <a:pt x="236" y="93"/>
                    </a:lnTo>
                    <a:lnTo>
                      <a:pt x="233" y="97"/>
                    </a:lnTo>
                    <a:lnTo>
                      <a:pt x="232" y="100"/>
                    </a:lnTo>
                    <a:lnTo>
                      <a:pt x="230" y="103"/>
                    </a:lnTo>
                    <a:lnTo>
                      <a:pt x="227" y="105"/>
                    </a:lnTo>
                    <a:lnTo>
                      <a:pt x="224" y="106"/>
                    </a:lnTo>
                    <a:lnTo>
                      <a:pt x="219" y="108"/>
                    </a:lnTo>
                    <a:lnTo>
                      <a:pt x="216" y="109"/>
                    </a:lnTo>
                    <a:lnTo>
                      <a:pt x="205" y="111"/>
                    </a:lnTo>
                    <a:lnTo>
                      <a:pt x="194" y="116"/>
                    </a:lnTo>
                    <a:lnTo>
                      <a:pt x="186" y="116"/>
                    </a:lnTo>
                    <a:lnTo>
                      <a:pt x="176" y="116"/>
                    </a:lnTo>
                    <a:lnTo>
                      <a:pt x="173" y="116"/>
                    </a:lnTo>
                    <a:lnTo>
                      <a:pt x="168" y="116"/>
                    </a:lnTo>
                    <a:lnTo>
                      <a:pt x="165" y="114"/>
                    </a:lnTo>
                    <a:lnTo>
                      <a:pt x="162" y="116"/>
                    </a:lnTo>
                    <a:lnTo>
                      <a:pt x="159" y="114"/>
                    </a:lnTo>
                    <a:lnTo>
                      <a:pt x="154" y="116"/>
                    </a:lnTo>
                    <a:lnTo>
                      <a:pt x="146" y="117"/>
                    </a:lnTo>
                    <a:lnTo>
                      <a:pt x="137" y="117"/>
                    </a:lnTo>
                    <a:lnTo>
                      <a:pt x="125" y="119"/>
                    </a:lnTo>
                    <a:lnTo>
                      <a:pt x="114" y="120"/>
                    </a:lnTo>
                    <a:lnTo>
                      <a:pt x="118" y="122"/>
                    </a:lnTo>
                    <a:lnTo>
                      <a:pt x="105" y="124"/>
                    </a:lnTo>
                    <a:lnTo>
                      <a:pt x="92" y="125"/>
                    </a:lnTo>
                    <a:lnTo>
                      <a:pt x="91" y="125"/>
                    </a:lnTo>
                    <a:lnTo>
                      <a:pt x="89" y="127"/>
                    </a:lnTo>
                    <a:lnTo>
                      <a:pt x="86" y="127"/>
                    </a:lnTo>
                    <a:lnTo>
                      <a:pt x="81" y="127"/>
                    </a:lnTo>
                    <a:lnTo>
                      <a:pt x="78" y="127"/>
                    </a:lnTo>
                    <a:lnTo>
                      <a:pt x="73" y="127"/>
                    </a:lnTo>
                    <a:lnTo>
                      <a:pt x="70" y="128"/>
                    </a:lnTo>
                    <a:lnTo>
                      <a:pt x="67" y="132"/>
                    </a:lnTo>
                    <a:lnTo>
                      <a:pt x="62" y="130"/>
                    </a:lnTo>
                    <a:lnTo>
                      <a:pt x="59" y="130"/>
                    </a:lnTo>
                    <a:lnTo>
                      <a:pt x="56" y="130"/>
                    </a:lnTo>
                    <a:lnTo>
                      <a:pt x="51" y="130"/>
                    </a:lnTo>
                    <a:lnTo>
                      <a:pt x="48" y="130"/>
                    </a:lnTo>
                    <a:lnTo>
                      <a:pt x="38" y="132"/>
                    </a:lnTo>
                    <a:lnTo>
                      <a:pt x="33" y="133"/>
                    </a:lnTo>
                    <a:lnTo>
                      <a:pt x="30" y="133"/>
                    </a:lnTo>
                    <a:lnTo>
                      <a:pt x="26" y="133"/>
                    </a:lnTo>
                    <a:lnTo>
                      <a:pt x="22" y="133"/>
                    </a:lnTo>
                    <a:lnTo>
                      <a:pt x="19" y="135"/>
                    </a:lnTo>
                    <a:lnTo>
                      <a:pt x="14" y="138"/>
                    </a:lnTo>
                    <a:lnTo>
                      <a:pt x="11" y="138"/>
                    </a:lnTo>
                    <a:lnTo>
                      <a:pt x="14" y="139"/>
                    </a:lnTo>
                    <a:lnTo>
                      <a:pt x="11" y="141"/>
                    </a:lnTo>
                    <a:lnTo>
                      <a:pt x="8" y="143"/>
                    </a:lnTo>
                    <a:lnTo>
                      <a:pt x="5" y="144"/>
                    </a:lnTo>
                    <a:lnTo>
                      <a:pt x="0" y="143"/>
                    </a:lnTo>
                    <a:lnTo>
                      <a:pt x="5" y="144"/>
                    </a:lnTo>
                    <a:lnTo>
                      <a:pt x="8" y="147"/>
                    </a:lnTo>
                    <a:lnTo>
                      <a:pt x="11" y="147"/>
                    </a:lnTo>
                    <a:lnTo>
                      <a:pt x="13" y="151"/>
                    </a:lnTo>
                    <a:lnTo>
                      <a:pt x="16" y="151"/>
                    </a:lnTo>
                    <a:lnTo>
                      <a:pt x="19" y="152"/>
                    </a:lnTo>
                    <a:lnTo>
                      <a:pt x="22" y="151"/>
                    </a:lnTo>
                    <a:lnTo>
                      <a:pt x="26" y="151"/>
                    </a:lnTo>
                    <a:lnTo>
                      <a:pt x="30" y="152"/>
                    </a:lnTo>
                    <a:lnTo>
                      <a:pt x="33" y="152"/>
                    </a:lnTo>
                    <a:lnTo>
                      <a:pt x="30" y="154"/>
                    </a:lnTo>
                    <a:lnTo>
                      <a:pt x="26" y="155"/>
                    </a:lnTo>
                    <a:lnTo>
                      <a:pt x="45" y="154"/>
                    </a:lnTo>
                    <a:lnTo>
                      <a:pt x="62" y="154"/>
                    </a:lnTo>
                    <a:lnTo>
                      <a:pt x="60" y="154"/>
                    </a:lnTo>
                    <a:lnTo>
                      <a:pt x="53" y="155"/>
                    </a:lnTo>
                    <a:lnTo>
                      <a:pt x="43" y="157"/>
                    </a:lnTo>
                    <a:lnTo>
                      <a:pt x="56" y="159"/>
                    </a:lnTo>
                    <a:lnTo>
                      <a:pt x="68" y="157"/>
                    </a:lnTo>
                    <a:lnTo>
                      <a:pt x="64" y="159"/>
                    </a:lnTo>
                    <a:lnTo>
                      <a:pt x="60" y="160"/>
                    </a:lnTo>
                    <a:lnTo>
                      <a:pt x="57" y="160"/>
                    </a:lnTo>
                    <a:lnTo>
                      <a:pt x="54" y="160"/>
                    </a:lnTo>
                    <a:lnTo>
                      <a:pt x="48" y="162"/>
                    </a:lnTo>
                    <a:lnTo>
                      <a:pt x="56" y="163"/>
                    </a:lnTo>
                    <a:lnTo>
                      <a:pt x="65" y="165"/>
                    </a:lnTo>
                    <a:lnTo>
                      <a:pt x="73" y="165"/>
                    </a:lnTo>
                    <a:lnTo>
                      <a:pt x="83" y="163"/>
                    </a:lnTo>
                    <a:lnTo>
                      <a:pt x="84" y="160"/>
                    </a:lnTo>
                    <a:lnTo>
                      <a:pt x="87" y="159"/>
                    </a:lnTo>
                    <a:lnTo>
                      <a:pt x="91" y="163"/>
                    </a:lnTo>
                    <a:lnTo>
                      <a:pt x="94" y="163"/>
                    </a:lnTo>
                    <a:lnTo>
                      <a:pt x="99" y="163"/>
                    </a:lnTo>
                    <a:lnTo>
                      <a:pt x="102" y="163"/>
                    </a:lnTo>
                    <a:lnTo>
                      <a:pt x="105" y="163"/>
                    </a:lnTo>
                    <a:lnTo>
                      <a:pt x="108" y="163"/>
                    </a:lnTo>
                    <a:lnTo>
                      <a:pt x="113" y="163"/>
                    </a:lnTo>
                    <a:lnTo>
                      <a:pt x="116" y="162"/>
                    </a:lnTo>
                    <a:lnTo>
                      <a:pt x="119" y="160"/>
                    </a:lnTo>
                    <a:lnTo>
                      <a:pt x="124" y="159"/>
                    </a:lnTo>
                    <a:lnTo>
                      <a:pt x="127" y="159"/>
                    </a:lnTo>
                    <a:lnTo>
                      <a:pt x="130" y="159"/>
                    </a:lnTo>
                    <a:lnTo>
                      <a:pt x="135" y="157"/>
                    </a:lnTo>
                    <a:lnTo>
                      <a:pt x="138" y="160"/>
                    </a:lnTo>
                    <a:lnTo>
                      <a:pt x="141" y="160"/>
                    </a:lnTo>
                    <a:lnTo>
                      <a:pt x="143" y="163"/>
                    </a:lnTo>
                    <a:lnTo>
                      <a:pt x="140" y="165"/>
                    </a:lnTo>
                    <a:lnTo>
                      <a:pt x="137" y="166"/>
                    </a:lnTo>
                    <a:lnTo>
                      <a:pt x="132" y="165"/>
                    </a:lnTo>
                    <a:lnTo>
                      <a:pt x="129" y="166"/>
                    </a:lnTo>
                    <a:lnTo>
                      <a:pt x="127" y="170"/>
                    </a:lnTo>
                    <a:lnTo>
                      <a:pt x="132" y="170"/>
                    </a:lnTo>
                    <a:lnTo>
                      <a:pt x="129" y="171"/>
                    </a:lnTo>
                    <a:lnTo>
                      <a:pt x="124" y="170"/>
                    </a:lnTo>
                    <a:lnTo>
                      <a:pt x="121" y="168"/>
                    </a:lnTo>
                    <a:lnTo>
                      <a:pt x="118" y="168"/>
                    </a:lnTo>
                    <a:lnTo>
                      <a:pt x="114" y="168"/>
                    </a:lnTo>
                    <a:lnTo>
                      <a:pt x="110" y="168"/>
                    </a:lnTo>
                    <a:lnTo>
                      <a:pt x="106" y="168"/>
                    </a:lnTo>
                    <a:lnTo>
                      <a:pt x="103" y="166"/>
                    </a:lnTo>
                    <a:lnTo>
                      <a:pt x="86" y="168"/>
                    </a:lnTo>
                    <a:lnTo>
                      <a:pt x="68" y="170"/>
                    </a:lnTo>
                    <a:lnTo>
                      <a:pt x="72" y="173"/>
                    </a:lnTo>
                    <a:lnTo>
                      <a:pt x="76" y="173"/>
                    </a:lnTo>
                    <a:lnTo>
                      <a:pt x="79" y="173"/>
                    </a:lnTo>
                    <a:lnTo>
                      <a:pt x="83" y="173"/>
                    </a:lnTo>
                    <a:lnTo>
                      <a:pt x="87" y="173"/>
                    </a:lnTo>
                    <a:lnTo>
                      <a:pt x="91" y="173"/>
                    </a:lnTo>
                    <a:lnTo>
                      <a:pt x="99" y="173"/>
                    </a:lnTo>
                    <a:lnTo>
                      <a:pt x="114" y="174"/>
                    </a:lnTo>
                    <a:lnTo>
                      <a:pt x="132" y="173"/>
                    </a:lnTo>
                    <a:lnTo>
                      <a:pt x="124" y="174"/>
                    </a:lnTo>
                    <a:lnTo>
                      <a:pt x="118" y="174"/>
                    </a:lnTo>
                    <a:lnTo>
                      <a:pt x="110" y="174"/>
                    </a:lnTo>
                    <a:lnTo>
                      <a:pt x="102" y="174"/>
                    </a:lnTo>
                    <a:lnTo>
                      <a:pt x="86" y="173"/>
                    </a:lnTo>
                    <a:lnTo>
                      <a:pt x="68" y="173"/>
                    </a:lnTo>
                    <a:lnTo>
                      <a:pt x="53" y="171"/>
                    </a:lnTo>
                    <a:lnTo>
                      <a:pt x="37" y="171"/>
                    </a:lnTo>
                    <a:lnTo>
                      <a:pt x="22" y="173"/>
                    </a:lnTo>
                    <a:lnTo>
                      <a:pt x="7" y="178"/>
                    </a:lnTo>
                    <a:lnTo>
                      <a:pt x="7" y="181"/>
                    </a:lnTo>
                    <a:lnTo>
                      <a:pt x="10" y="179"/>
                    </a:lnTo>
                    <a:lnTo>
                      <a:pt x="14" y="181"/>
                    </a:lnTo>
                    <a:lnTo>
                      <a:pt x="18" y="181"/>
                    </a:lnTo>
                    <a:lnTo>
                      <a:pt x="14" y="182"/>
                    </a:lnTo>
                    <a:lnTo>
                      <a:pt x="10" y="182"/>
                    </a:lnTo>
                    <a:lnTo>
                      <a:pt x="14" y="184"/>
                    </a:lnTo>
                    <a:lnTo>
                      <a:pt x="18" y="185"/>
                    </a:lnTo>
                    <a:lnTo>
                      <a:pt x="21" y="185"/>
                    </a:lnTo>
                    <a:lnTo>
                      <a:pt x="29" y="182"/>
                    </a:lnTo>
                    <a:lnTo>
                      <a:pt x="32" y="182"/>
                    </a:lnTo>
                    <a:lnTo>
                      <a:pt x="33" y="182"/>
                    </a:lnTo>
                    <a:lnTo>
                      <a:pt x="35" y="181"/>
                    </a:lnTo>
                    <a:lnTo>
                      <a:pt x="38" y="179"/>
                    </a:lnTo>
                    <a:lnTo>
                      <a:pt x="43" y="179"/>
                    </a:lnTo>
                    <a:lnTo>
                      <a:pt x="46" y="179"/>
                    </a:lnTo>
                    <a:lnTo>
                      <a:pt x="43" y="179"/>
                    </a:lnTo>
                    <a:lnTo>
                      <a:pt x="38" y="181"/>
                    </a:lnTo>
                    <a:lnTo>
                      <a:pt x="35" y="182"/>
                    </a:lnTo>
                    <a:lnTo>
                      <a:pt x="32" y="184"/>
                    </a:lnTo>
                    <a:lnTo>
                      <a:pt x="29" y="18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44" name="Freeform 567"/>
              <p:cNvSpPr>
                <a:spLocks/>
              </p:cNvSpPr>
              <p:nvPr/>
            </p:nvSpPr>
            <p:spPr bwMode="auto">
              <a:xfrm>
                <a:off x="1813" y="978"/>
                <a:ext cx="13" cy="3"/>
              </a:xfrm>
              <a:custGeom>
                <a:avLst/>
                <a:gdLst>
                  <a:gd name="T0" fmla="*/ 6 w 25"/>
                  <a:gd name="T1" fmla="*/ 0 h 5"/>
                  <a:gd name="T2" fmla="*/ 4 w 25"/>
                  <a:gd name="T3" fmla="*/ 0 h 5"/>
                  <a:gd name="T4" fmla="*/ 0 w 25"/>
                  <a:gd name="T5" fmla="*/ 3 h 5"/>
                  <a:gd name="T6" fmla="*/ 6 w 25"/>
                  <a:gd name="T7" fmla="*/ 5 h 5"/>
                  <a:gd name="T8" fmla="*/ 12 w 25"/>
                  <a:gd name="T9" fmla="*/ 5 h 5"/>
                  <a:gd name="T10" fmla="*/ 19 w 25"/>
                  <a:gd name="T11" fmla="*/ 3 h 5"/>
                  <a:gd name="T12" fmla="*/ 25 w 25"/>
                  <a:gd name="T13" fmla="*/ 1 h 5"/>
                  <a:gd name="T14" fmla="*/ 16 w 25"/>
                  <a:gd name="T15" fmla="*/ 1 h 5"/>
                  <a:gd name="T16" fmla="*/ 6 w 25"/>
                  <a:gd name="T1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" h="5">
                    <a:moveTo>
                      <a:pt x="6" y="0"/>
                    </a:moveTo>
                    <a:lnTo>
                      <a:pt x="4" y="0"/>
                    </a:lnTo>
                    <a:lnTo>
                      <a:pt x="0" y="3"/>
                    </a:lnTo>
                    <a:lnTo>
                      <a:pt x="6" y="5"/>
                    </a:lnTo>
                    <a:lnTo>
                      <a:pt x="12" y="5"/>
                    </a:lnTo>
                    <a:lnTo>
                      <a:pt x="19" y="3"/>
                    </a:lnTo>
                    <a:lnTo>
                      <a:pt x="25" y="1"/>
                    </a:lnTo>
                    <a:lnTo>
                      <a:pt x="16" y="1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45" name="Freeform 568"/>
              <p:cNvSpPr>
                <a:spLocks/>
              </p:cNvSpPr>
              <p:nvPr/>
            </p:nvSpPr>
            <p:spPr bwMode="auto">
              <a:xfrm>
                <a:off x="1828" y="978"/>
                <a:ext cx="13" cy="2"/>
              </a:xfrm>
              <a:custGeom>
                <a:avLst/>
                <a:gdLst>
                  <a:gd name="T0" fmla="*/ 0 w 25"/>
                  <a:gd name="T1" fmla="*/ 0 h 3"/>
                  <a:gd name="T2" fmla="*/ 0 w 25"/>
                  <a:gd name="T3" fmla="*/ 0 h 3"/>
                  <a:gd name="T4" fmla="*/ 3 w 25"/>
                  <a:gd name="T5" fmla="*/ 3 h 3"/>
                  <a:gd name="T6" fmla="*/ 6 w 25"/>
                  <a:gd name="T7" fmla="*/ 3 h 3"/>
                  <a:gd name="T8" fmla="*/ 17 w 25"/>
                  <a:gd name="T9" fmla="*/ 3 h 3"/>
                  <a:gd name="T10" fmla="*/ 22 w 25"/>
                  <a:gd name="T11" fmla="*/ 1 h 3"/>
                  <a:gd name="T12" fmla="*/ 25 w 25"/>
                  <a:gd name="T13" fmla="*/ 1 h 3"/>
                  <a:gd name="T14" fmla="*/ 12 w 25"/>
                  <a:gd name="T15" fmla="*/ 0 h 3"/>
                  <a:gd name="T16" fmla="*/ 0 w 25"/>
                  <a:gd name="T1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5" h="3">
                    <a:moveTo>
                      <a:pt x="0" y="0"/>
                    </a:moveTo>
                    <a:lnTo>
                      <a:pt x="0" y="0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17" y="3"/>
                    </a:lnTo>
                    <a:lnTo>
                      <a:pt x="22" y="1"/>
                    </a:lnTo>
                    <a:lnTo>
                      <a:pt x="25" y="1"/>
                    </a:lnTo>
                    <a:lnTo>
                      <a:pt x="12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46" name="Freeform 569"/>
              <p:cNvSpPr>
                <a:spLocks/>
              </p:cNvSpPr>
              <p:nvPr/>
            </p:nvSpPr>
            <p:spPr bwMode="auto">
              <a:xfrm>
                <a:off x="1933" y="1093"/>
                <a:ext cx="40" cy="19"/>
              </a:xfrm>
              <a:custGeom>
                <a:avLst/>
                <a:gdLst>
                  <a:gd name="T0" fmla="*/ 16 w 79"/>
                  <a:gd name="T1" fmla="*/ 12 h 38"/>
                  <a:gd name="T2" fmla="*/ 22 w 79"/>
                  <a:gd name="T3" fmla="*/ 14 h 38"/>
                  <a:gd name="T4" fmla="*/ 16 w 79"/>
                  <a:gd name="T5" fmla="*/ 12 h 38"/>
                  <a:gd name="T6" fmla="*/ 8 w 79"/>
                  <a:gd name="T7" fmla="*/ 16 h 38"/>
                  <a:gd name="T8" fmla="*/ 11 w 79"/>
                  <a:gd name="T9" fmla="*/ 19 h 38"/>
                  <a:gd name="T10" fmla="*/ 9 w 79"/>
                  <a:gd name="T11" fmla="*/ 20 h 38"/>
                  <a:gd name="T12" fmla="*/ 3 w 79"/>
                  <a:gd name="T13" fmla="*/ 20 h 38"/>
                  <a:gd name="T14" fmla="*/ 3 w 79"/>
                  <a:gd name="T15" fmla="*/ 25 h 38"/>
                  <a:gd name="T16" fmla="*/ 11 w 79"/>
                  <a:gd name="T17" fmla="*/ 27 h 38"/>
                  <a:gd name="T18" fmla="*/ 17 w 79"/>
                  <a:gd name="T19" fmla="*/ 27 h 38"/>
                  <a:gd name="T20" fmla="*/ 25 w 79"/>
                  <a:gd name="T21" fmla="*/ 27 h 38"/>
                  <a:gd name="T22" fmla="*/ 25 w 79"/>
                  <a:gd name="T23" fmla="*/ 28 h 38"/>
                  <a:gd name="T24" fmla="*/ 25 w 79"/>
                  <a:gd name="T25" fmla="*/ 30 h 38"/>
                  <a:gd name="T26" fmla="*/ 31 w 79"/>
                  <a:gd name="T27" fmla="*/ 28 h 38"/>
                  <a:gd name="T28" fmla="*/ 39 w 79"/>
                  <a:gd name="T29" fmla="*/ 25 h 38"/>
                  <a:gd name="T30" fmla="*/ 31 w 79"/>
                  <a:gd name="T31" fmla="*/ 30 h 38"/>
                  <a:gd name="T32" fmla="*/ 25 w 79"/>
                  <a:gd name="T33" fmla="*/ 30 h 38"/>
                  <a:gd name="T34" fmla="*/ 14 w 79"/>
                  <a:gd name="T35" fmla="*/ 35 h 38"/>
                  <a:gd name="T36" fmla="*/ 22 w 79"/>
                  <a:gd name="T37" fmla="*/ 36 h 38"/>
                  <a:gd name="T38" fmla="*/ 27 w 79"/>
                  <a:gd name="T39" fmla="*/ 38 h 38"/>
                  <a:gd name="T40" fmla="*/ 39 w 79"/>
                  <a:gd name="T41" fmla="*/ 35 h 38"/>
                  <a:gd name="T42" fmla="*/ 58 w 79"/>
                  <a:gd name="T43" fmla="*/ 32 h 38"/>
                  <a:gd name="T44" fmla="*/ 73 w 79"/>
                  <a:gd name="T45" fmla="*/ 28 h 38"/>
                  <a:gd name="T46" fmla="*/ 79 w 79"/>
                  <a:gd name="T47" fmla="*/ 24 h 38"/>
                  <a:gd name="T48" fmla="*/ 71 w 79"/>
                  <a:gd name="T49" fmla="*/ 17 h 38"/>
                  <a:gd name="T50" fmla="*/ 62 w 79"/>
                  <a:gd name="T51" fmla="*/ 12 h 38"/>
                  <a:gd name="T52" fmla="*/ 58 w 79"/>
                  <a:gd name="T53" fmla="*/ 9 h 38"/>
                  <a:gd name="T54" fmla="*/ 54 w 79"/>
                  <a:gd name="T55" fmla="*/ 5 h 38"/>
                  <a:gd name="T56" fmla="*/ 38 w 79"/>
                  <a:gd name="T57" fmla="*/ 1 h 38"/>
                  <a:gd name="T58" fmla="*/ 25 w 79"/>
                  <a:gd name="T59" fmla="*/ 0 h 38"/>
                  <a:gd name="T60" fmla="*/ 19 w 79"/>
                  <a:gd name="T61" fmla="*/ 3 h 38"/>
                  <a:gd name="T62" fmla="*/ 11 w 79"/>
                  <a:gd name="T63" fmla="*/ 8 h 38"/>
                  <a:gd name="T64" fmla="*/ 14 w 79"/>
                  <a:gd name="T65" fmla="*/ 11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9" h="38">
                    <a:moveTo>
                      <a:pt x="14" y="11"/>
                    </a:moveTo>
                    <a:lnTo>
                      <a:pt x="16" y="12"/>
                    </a:lnTo>
                    <a:lnTo>
                      <a:pt x="19" y="12"/>
                    </a:lnTo>
                    <a:lnTo>
                      <a:pt x="22" y="14"/>
                    </a:lnTo>
                    <a:lnTo>
                      <a:pt x="19" y="14"/>
                    </a:lnTo>
                    <a:lnTo>
                      <a:pt x="16" y="12"/>
                    </a:lnTo>
                    <a:lnTo>
                      <a:pt x="11" y="12"/>
                    </a:lnTo>
                    <a:lnTo>
                      <a:pt x="8" y="16"/>
                    </a:lnTo>
                    <a:lnTo>
                      <a:pt x="6" y="19"/>
                    </a:lnTo>
                    <a:lnTo>
                      <a:pt x="11" y="19"/>
                    </a:lnTo>
                    <a:lnTo>
                      <a:pt x="14" y="22"/>
                    </a:lnTo>
                    <a:lnTo>
                      <a:pt x="9" y="20"/>
                    </a:lnTo>
                    <a:lnTo>
                      <a:pt x="6" y="20"/>
                    </a:lnTo>
                    <a:lnTo>
                      <a:pt x="3" y="20"/>
                    </a:lnTo>
                    <a:lnTo>
                      <a:pt x="0" y="22"/>
                    </a:lnTo>
                    <a:lnTo>
                      <a:pt x="3" y="25"/>
                    </a:lnTo>
                    <a:lnTo>
                      <a:pt x="6" y="27"/>
                    </a:lnTo>
                    <a:lnTo>
                      <a:pt x="11" y="27"/>
                    </a:lnTo>
                    <a:lnTo>
                      <a:pt x="14" y="27"/>
                    </a:lnTo>
                    <a:lnTo>
                      <a:pt x="17" y="27"/>
                    </a:lnTo>
                    <a:lnTo>
                      <a:pt x="20" y="27"/>
                    </a:lnTo>
                    <a:lnTo>
                      <a:pt x="25" y="27"/>
                    </a:lnTo>
                    <a:lnTo>
                      <a:pt x="20" y="28"/>
                    </a:lnTo>
                    <a:lnTo>
                      <a:pt x="25" y="28"/>
                    </a:lnTo>
                    <a:lnTo>
                      <a:pt x="28" y="28"/>
                    </a:lnTo>
                    <a:lnTo>
                      <a:pt x="25" y="30"/>
                    </a:lnTo>
                    <a:lnTo>
                      <a:pt x="28" y="30"/>
                    </a:lnTo>
                    <a:lnTo>
                      <a:pt x="31" y="28"/>
                    </a:lnTo>
                    <a:lnTo>
                      <a:pt x="35" y="25"/>
                    </a:lnTo>
                    <a:lnTo>
                      <a:pt x="39" y="25"/>
                    </a:lnTo>
                    <a:lnTo>
                      <a:pt x="35" y="27"/>
                    </a:lnTo>
                    <a:lnTo>
                      <a:pt x="31" y="30"/>
                    </a:lnTo>
                    <a:lnTo>
                      <a:pt x="35" y="30"/>
                    </a:lnTo>
                    <a:lnTo>
                      <a:pt x="25" y="30"/>
                    </a:lnTo>
                    <a:lnTo>
                      <a:pt x="14" y="32"/>
                    </a:lnTo>
                    <a:lnTo>
                      <a:pt x="14" y="35"/>
                    </a:lnTo>
                    <a:lnTo>
                      <a:pt x="17" y="35"/>
                    </a:lnTo>
                    <a:lnTo>
                      <a:pt x="22" y="36"/>
                    </a:lnTo>
                    <a:lnTo>
                      <a:pt x="24" y="36"/>
                    </a:lnTo>
                    <a:lnTo>
                      <a:pt x="27" y="38"/>
                    </a:lnTo>
                    <a:lnTo>
                      <a:pt x="31" y="36"/>
                    </a:lnTo>
                    <a:lnTo>
                      <a:pt x="39" y="35"/>
                    </a:lnTo>
                    <a:lnTo>
                      <a:pt x="49" y="33"/>
                    </a:lnTo>
                    <a:lnTo>
                      <a:pt x="58" y="32"/>
                    </a:lnTo>
                    <a:lnTo>
                      <a:pt x="66" y="30"/>
                    </a:lnTo>
                    <a:lnTo>
                      <a:pt x="73" y="28"/>
                    </a:lnTo>
                    <a:lnTo>
                      <a:pt x="76" y="27"/>
                    </a:lnTo>
                    <a:lnTo>
                      <a:pt x="79" y="24"/>
                    </a:lnTo>
                    <a:lnTo>
                      <a:pt x="77" y="17"/>
                    </a:lnTo>
                    <a:lnTo>
                      <a:pt x="71" y="17"/>
                    </a:lnTo>
                    <a:lnTo>
                      <a:pt x="65" y="14"/>
                    </a:lnTo>
                    <a:lnTo>
                      <a:pt x="62" y="12"/>
                    </a:lnTo>
                    <a:lnTo>
                      <a:pt x="60" y="11"/>
                    </a:lnTo>
                    <a:lnTo>
                      <a:pt x="58" y="9"/>
                    </a:lnTo>
                    <a:lnTo>
                      <a:pt x="57" y="6"/>
                    </a:lnTo>
                    <a:lnTo>
                      <a:pt x="54" y="5"/>
                    </a:lnTo>
                    <a:lnTo>
                      <a:pt x="47" y="3"/>
                    </a:lnTo>
                    <a:lnTo>
                      <a:pt x="38" y="1"/>
                    </a:lnTo>
                    <a:lnTo>
                      <a:pt x="30" y="0"/>
                    </a:lnTo>
                    <a:lnTo>
                      <a:pt x="25" y="0"/>
                    </a:lnTo>
                    <a:lnTo>
                      <a:pt x="22" y="1"/>
                    </a:lnTo>
                    <a:lnTo>
                      <a:pt x="19" y="3"/>
                    </a:lnTo>
                    <a:lnTo>
                      <a:pt x="16" y="3"/>
                    </a:lnTo>
                    <a:lnTo>
                      <a:pt x="11" y="8"/>
                    </a:lnTo>
                    <a:lnTo>
                      <a:pt x="12" y="11"/>
                    </a:lnTo>
                    <a:lnTo>
                      <a:pt x="14" y="1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47" name="Freeform 570"/>
              <p:cNvSpPr>
                <a:spLocks/>
              </p:cNvSpPr>
              <p:nvPr/>
            </p:nvSpPr>
            <p:spPr bwMode="auto">
              <a:xfrm>
                <a:off x="1972" y="1076"/>
                <a:ext cx="11" cy="3"/>
              </a:xfrm>
              <a:custGeom>
                <a:avLst/>
                <a:gdLst>
                  <a:gd name="T0" fmla="*/ 2 w 21"/>
                  <a:gd name="T1" fmla="*/ 1 h 6"/>
                  <a:gd name="T2" fmla="*/ 0 w 21"/>
                  <a:gd name="T3" fmla="*/ 3 h 6"/>
                  <a:gd name="T4" fmla="*/ 2 w 21"/>
                  <a:gd name="T5" fmla="*/ 6 h 6"/>
                  <a:gd name="T6" fmla="*/ 5 w 21"/>
                  <a:gd name="T7" fmla="*/ 6 h 6"/>
                  <a:gd name="T8" fmla="*/ 10 w 21"/>
                  <a:gd name="T9" fmla="*/ 6 h 6"/>
                  <a:gd name="T10" fmla="*/ 13 w 21"/>
                  <a:gd name="T11" fmla="*/ 5 h 6"/>
                  <a:gd name="T12" fmla="*/ 16 w 21"/>
                  <a:gd name="T13" fmla="*/ 5 h 6"/>
                  <a:gd name="T14" fmla="*/ 21 w 21"/>
                  <a:gd name="T15" fmla="*/ 0 h 6"/>
                  <a:gd name="T16" fmla="*/ 12 w 21"/>
                  <a:gd name="T17" fmla="*/ 0 h 6"/>
                  <a:gd name="T18" fmla="*/ 2 w 21"/>
                  <a:gd name="T19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6">
                    <a:moveTo>
                      <a:pt x="2" y="1"/>
                    </a:moveTo>
                    <a:lnTo>
                      <a:pt x="0" y="3"/>
                    </a:lnTo>
                    <a:lnTo>
                      <a:pt x="2" y="6"/>
                    </a:lnTo>
                    <a:lnTo>
                      <a:pt x="5" y="6"/>
                    </a:lnTo>
                    <a:lnTo>
                      <a:pt x="10" y="6"/>
                    </a:lnTo>
                    <a:lnTo>
                      <a:pt x="13" y="5"/>
                    </a:lnTo>
                    <a:lnTo>
                      <a:pt x="16" y="5"/>
                    </a:lnTo>
                    <a:lnTo>
                      <a:pt x="21" y="0"/>
                    </a:lnTo>
                    <a:lnTo>
                      <a:pt x="12" y="0"/>
                    </a:lnTo>
                    <a:lnTo>
                      <a:pt x="2" y="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48" name="Freeform 571"/>
              <p:cNvSpPr>
                <a:spLocks/>
              </p:cNvSpPr>
              <p:nvPr/>
            </p:nvSpPr>
            <p:spPr bwMode="auto">
              <a:xfrm>
                <a:off x="2094" y="911"/>
                <a:ext cx="20" cy="4"/>
              </a:xfrm>
              <a:custGeom>
                <a:avLst/>
                <a:gdLst>
                  <a:gd name="T0" fmla="*/ 41 w 41"/>
                  <a:gd name="T1" fmla="*/ 8 h 8"/>
                  <a:gd name="T2" fmla="*/ 41 w 41"/>
                  <a:gd name="T3" fmla="*/ 8 h 8"/>
                  <a:gd name="T4" fmla="*/ 32 w 41"/>
                  <a:gd name="T5" fmla="*/ 5 h 8"/>
                  <a:gd name="T6" fmla="*/ 22 w 41"/>
                  <a:gd name="T7" fmla="*/ 3 h 8"/>
                  <a:gd name="T8" fmla="*/ 19 w 41"/>
                  <a:gd name="T9" fmla="*/ 0 h 8"/>
                  <a:gd name="T10" fmla="*/ 14 w 41"/>
                  <a:gd name="T11" fmla="*/ 0 h 8"/>
                  <a:gd name="T12" fmla="*/ 11 w 41"/>
                  <a:gd name="T13" fmla="*/ 0 h 8"/>
                  <a:gd name="T14" fmla="*/ 8 w 41"/>
                  <a:gd name="T15" fmla="*/ 0 h 8"/>
                  <a:gd name="T16" fmla="*/ 5 w 41"/>
                  <a:gd name="T17" fmla="*/ 0 h 8"/>
                  <a:gd name="T18" fmla="*/ 0 w 41"/>
                  <a:gd name="T19" fmla="*/ 3 h 8"/>
                  <a:gd name="T20" fmla="*/ 5 w 41"/>
                  <a:gd name="T21" fmla="*/ 5 h 8"/>
                  <a:gd name="T22" fmla="*/ 8 w 41"/>
                  <a:gd name="T23" fmla="*/ 6 h 8"/>
                  <a:gd name="T24" fmla="*/ 11 w 41"/>
                  <a:gd name="T25" fmla="*/ 6 h 8"/>
                  <a:gd name="T26" fmla="*/ 14 w 41"/>
                  <a:gd name="T27" fmla="*/ 6 h 8"/>
                  <a:gd name="T28" fmla="*/ 19 w 41"/>
                  <a:gd name="T29" fmla="*/ 8 h 8"/>
                  <a:gd name="T30" fmla="*/ 30 w 41"/>
                  <a:gd name="T31" fmla="*/ 8 h 8"/>
                  <a:gd name="T32" fmla="*/ 41 w 41"/>
                  <a:gd name="T3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1" h="8">
                    <a:moveTo>
                      <a:pt x="41" y="8"/>
                    </a:moveTo>
                    <a:lnTo>
                      <a:pt x="41" y="8"/>
                    </a:lnTo>
                    <a:lnTo>
                      <a:pt x="32" y="5"/>
                    </a:lnTo>
                    <a:lnTo>
                      <a:pt x="22" y="3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0" y="3"/>
                    </a:lnTo>
                    <a:lnTo>
                      <a:pt x="5" y="5"/>
                    </a:lnTo>
                    <a:lnTo>
                      <a:pt x="8" y="6"/>
                    </a:lnTo>
                    <a:lnTo>
                      <a:pt x="11" y="6"/>
                    </a:lnTo>
                    <a:lnTo>
                      <a:pt x="14" y="6"/>
                    </a:lnTo>
                    <a:lnTo>
                      <a:pt x="19" y="8"/>
                    </a:lnTo>
                    <a:lnTo>
                      <a:pt x="30" y="8"/>
                    </a:lnTo>
                    <a:lnTo>
                      <a:pt x="41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49" name="Freeform 572"/>
              <p:cNvSpPr>
                <a:spLocks/>
              </p:cNvSpPr>
              <p:nvPr/>
            </p:nvSpPr>
            <p:spPr bwMode="auto">
              <a:xfrm>
                <a:off x="2160" y="906"/>
                <a:ext cx="31" cy="8"/>
              </a:xfrm>
              <a:custGeom>
                <a:avLst/>
                <a:gdLst>
                  <a:gd name="T0" fmla="*/ 7 w 62"/>
                  <a:gd name="T1" fmla="*/ 4 h 15"/>
                  <a:gd name="T2" fmla="*/ 10 w 62"/>
                  <a:gd name="T3" fmla="*/ 7 h 15"/>
                  <a:gd name="T4" fmla="*/ 13 w 62"/>
                  <a:gd name="T5" fmla="*/ 9 h 15"/>
                  <a:gd name="T6" fmla="*/ 18 w 62"/>
                  <a:gd name="T7" fmla="*/ 9 h 15"/>
                  <a:gd name="T8" fmla="*/ 21 w 62"/>
                  <a:gd name="T9" fmla="*/ 9 h 15"/>
                  <a:gd name="T10" fmla="*/ 26 w 62"/>
                  <a:gd name="T11" fmla="*/ 11 h 15"/>
                  <a:gd name="T12" fmla="*/ 29 w 62"/>
                  <a:gd name="T13" fmla="*/ 11 h 15"/>
                  <a:gd name="T14" fmla="*/ 32 w 62"/>
                  <a:gd name="T15" fmla="*/ 11 h 15"/>
                  <a:gd name="T16" fmla="*/ 37 w 62"/>
                  <a:gd name="T17" fmla="*/ 12 h 15"/>
                  <a:gd name="T18" fmla="*/ 40 w 62"/>
                  <a:gd name="T19" fmla="*/ 12 h 15"/>
                  <a:gd name="T20" fmla="*/ 43 w 62"/>
                  <a:gd name="T21" fmla="*/ 15 h 15"/>
                  <a:gd name="T22" fmla="*/ 48 w 62"/>
                  <a:gd name="T23" fmla="*/ 15 h 15"/>
                  <a:gd name="T24" fmla="*/ 51 w 62"/>
                  <a:gd name="T25" fmla="*/ 15 h 15"/>
                  <a:gd name="T26" fmla="*/ 48 w 62"/>
                  <a:gd name="T27" fmla="*/ 12 h 15"/>
                  <a:gd name="T28" fmla="*/ 51 w 62"/>
                  <a:gd name="T29" fmla="*/ 11 h 15"/>
                  <a:gd name="T30" fmla="*/ 57 w 62"/>
                  <a:gd name="T31" fmla="*/ 9 h 15"/>
                  <a:gd name="T32" fmla="*/ 62 w 62"/>
                  <a:gd name="T33" fmla="*/ 9 h 15"/>
                  <a:gd name="T34" fmla="*/ 57 w 62"/>
                  <a:gd name="T35" fmla="*/ 6 h 15"/>
                  <a:gd name="T36" fmla="*/ 54 w 62"/>
                  <a:gd name="T37" fmla="*/ 4 h 15"/>
                  <a:gd name="T38" fmla="*/ 51 w 62"/>
                  <a:gd name="T39" fmla="*/ 4 h 15"/>
                  <a:gd name="T40" fmla="*/ 48 w 62"/>
                  <a:gd name="T41" fmla="*/ 3 h 15"/>
                  <a:gd name="T42" fmla="*/ 43 w 62"/>
                  <a:gd name="T43" fmla="*/ 3 h 15"/>
                  <a:gd name="T44" fmla="*/ 35 w 62"/>
                  <a:gd name="T45" fmla="*/ 1 h 15"/>
                  <a:gd name="T46" fmla="*/ 32 w 62"/>
                  <a:gd name="T47" fmla="*/ 1 h 15"/>
                  <a:gd name="T48" fmla="*/ 29 w 62"/>
                  <a:gd name="T49" fmla="*/ 1 h 15"/>
                  <a:gd name="T50" fmla="*/ 24 w 62"/>
                  <a:gd name="T51" fmla="*/ 0 h 15"/>
                  <a:gd name="T52" fmla="*/ 21 w 62"/>
                  <a:gd name="T53" fmla="*/ 0 h 15"/>
                  <a:gd name="T54" fmla="*/ 16 w 62"/>
                  <a:gd name="T55" fmla="*/ 1 h 15"/>
                  <a:gd name="T56" fmla="*/ 13 w 62"/>
                  <a:gd name="T57" fmla="*/ 1 h 15"/>
                  <a:gd name="T58" fmla="*/ 5 w 62"/>
                  <a:gd name="T59" fmla="*/ 1 h 15"/>
                  <a:gd name="T60" fmla="*/ 0 w 62"/>
                  <a:gd name="T61" fmla="*/ 1 h 15"/>
                  <a:gd name="T62" fmla="*/ 4 w 62"/>
                  <a:gd name="T63" fmla="*/ 3 h 15"/>
                  <a:gd name="T64" fmla="*/ 7 w 62"/>
                  <a:gd name="T65" fmla="*/ 4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2" h="15">
                    <a:moveTo>
                      <a:pt x="7" y="4"/>
                    </a:moveTo>
                    <a:lnTo>
                      <a:pt x="10" y="7"/>
                    </a:lnTo>
                    <a:lnTo>
                      <a:pt x="13" y="9"/>
                    </a:lnTo>
                    <a:lnTo>
                      <a:pt x="18" y="9"/>
                    </a:lnTo>
                    <a:lnTo>
                      <a:pt x="21" y="9"/>
                    </a:lnTo>
                    <a:lnTo>
                      <a:pt x="26" y="11"/>
                    </a:lnTo>
                    <a:lnTo>
                      <a:pt x="29" y="11"/>
                    </a:lnTo>
                    <a:lnTo>
                      <a:pt x="32" y="11"/>
                    </a:lnTo>
                    <a:lnTo>
                      <a:pt x="37" y="12"/>
                    </a:lnTo>
                    <a:lnTo>
                      <a:pt x="40" y="12"/>
                    </a:lnTo>
                    <a:lnTo>
                      <a:pt x="43" y="15"/>
                    </a:lnTo>
                    <a:lnTo>
                      <a:pt x="48" y="15"/>
                    </a:lnTo>
                    <a:lnTo>
                      <a:pt x="51" y="15"/>
                    </a:lnTo>
                    <a:lnTo>
                      <a:pt x="48" y="12"/>
                    </a:lnTo>
                    <a:lnTo>
                      <a:pt x="51" y="11"/>
                    </a:lnTo>
                    <a:lnTo>
                      <a:pt x="57" y="9"/>
                    </a:lnTo>
                    <a:lnTo>
                      <a:pt x="62" y="9"/>
                    </a:lnTo>
                    <a:lnTo>
                      <a:pt x="57" y="6"/>
                    </a:lnTo>
                    <a:lnTo>
                      <a:pt x="54" y="4"/>
                    </a:lnTo>
                    <a:lnTo>
                      <a:pt x="51" y="4"/>
                    </a:lnTo>
                    <a:lnTo>
                      <a:pt x="48" y="3"/>
                    </a:lnTo>
                    <a:lnTo>
                      <a:pt x="43" y="3"/>
                    </a:lnTo>
                    <a:lnTo>
                      <a:pt x="35" y="1"/>
                    </a:lnTo>
                    <a:lnTo>
                      <a:pt x="32" y="1"/>
                    </a:lnTo>
                    <a:lnTo>
                      <a:pt x="29" y="1"/>
                    </a:lnTo>
                    <a:lnTo>
                      <a:pt x="24" y="0"/>
                    </a:lnTo>
                    <a:lnTo>
                      <a:pt x="21" y="0"/>
                    </a:lnTo>
                    <a:lnTo>
                      <a:pt x="16" y="1"/>
                    </a:lnTo>
                    <a:lnTo>
                      <a:pt x="13" y="1"/>
                    </a:lnTo>
                    <a:lnTo>
                      <a:pt x="5" y="1"/>
                    </a:lnTo>
                    <a:lnTo>
                      <a:pt x="0" y="1"/>
                    </a:lnTo>
                    <a:lnTo>
                      <a:pt x="4" y="3"/>
                    </a:lnTo>
                    <a:lnTo>
                      <a:pt x="7" y="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50" name="Freeform 573"/>
              <p:cNvSpPr>
                <a:spLocks/>
              </p:cNvSpPr>
              <p:nvPr/>
            </p:nvSpPr>
            <p:spPr bwMode="auto">
              <a:xfrm>
                <a:off x="2242" y="899"/>
                <a:ext cx="19" cy="3"/>
              </a:xfrm>
              <a:custGeom>
                <a:avLst/>
                <a:gdLst>
                  <a:gd name="T0" fmla="*/ 31 w 38"/>
                  <a:gd name="T1" fmla="*/ 5 h 5"/>
                  <a:gd name="T2" fmla="*/ 33 w 38"/>
                  <a:gd name="T3" fmla="*/ 5 h 5"/>
                  <a:gd name="T4" fmla="*/ 38 w 38"/>
                  <a:gd name="T5" fmla="*/ 5 h 5"/>
                  <a:gd name="T6" fmla="*/ 28 w 38"/>
                  <a:gd name="T7" fmla="*/ 3 h 5"/>
                  <a:gd name="T8" fmla="*/ 19 w 38"/>
                  <a:gd name="T9" fmla="*/ 2 h 5"/>
                  <a:gd name="T10" fmla="*/ 16 w 38"/>
                  <a:gd name="T11" fmla="*/ 0 h 5"/>
                  <a:gd name="T12" fmla="*/ 11 w 38"/>
                  <a:gd name="T13" fmla="*/ 0 h 5"/>
                  <a:gd name="T14" fmla="*/ 8 w 38"/>
                  <a:gd name="T15" fmla="*/ 0 h 5"/>
                  <a:gd name="T16" fmla="*/ 4 w 38"/>
                  <a:gd name="T17" fmla="*/ 0 h 5"/>
                  <a:gd name="T18" fmla="*/ 0 w 38"/>
                  <a:gd name="T19" fmla="*/ 2 h 5"/>
                  <a:gd name="T20" fmla="*/ 16 w 38"/>
                  <a:gd name="T21" fmla="*/ 3 h 5"/>
                  <a:gd name="T22" fmla="*/ 31 w 38"/>
                  <a:gd name="T23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5">
                    <a:moveTo>
                      <a:pt x="31" y="5"/>
                    </a:moveTo>
                    <a:lnTo>
                      <a:pt x="33" y="5"/>
                    </a:lnTo>
                    <a:lnTo>
                      <a:pt x="38" y="5"/>
                    </a:lnTo>
                    <a:lnTo>
                      <a:pt x="28" y="3"/>
                    </a:lnTo>
                    <a:lnTo>
                      <a:pt x="19" y="2"/>
                    </a:lnTo>
                    <a:lnTo>
                      <a:pt x="16" y="0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16" y="3"/>
                    </a:lnTo>
                    <a:lnTo>
                      <a:pt x="31" y="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51" name="Freeform 574"/>
              <p:cNvSpPr>
                <a:spLocks/>
              </p:cNvSpPr>
              <p:nvPr/>
            </p:nvSpPr>
            <p:spPr bwMode="auto">
              <a:xfrm>
                <a:off x="2288" y="1081"/>
                <a:ext cx="37" cy="10"/>
              </a:xfrm>
              <a:custGeom>
                <a:avLst/>
                <a:gdLst>
                  <a:gd name="T0" fmla="*/ 69 w 74"/>
                  <a:gd name="T1" fmla="*/ 0 h 21"/>
                  <a:gd name="T2" fmla="*/ 52 w 74"/>
                  <a:gd name="T3" fmla="*/ 5 h 21"/>
                  <a:gd name="T4" fmla="*/ 33 w 74"/>
                  <a:gd name="T5" fmla="*/ 7 h 21"/>
                  <a:gd name="T6" fmla="*/ 25 w 74"/>
                  <a:gd name="T7" fmla="*/ 10 h 21"/>
                  <a:gd name="T8" fmla="*/ 16 w 74"/>
                  <a:gd name="T9" fmla="*/ 13 h 21"/>
                  <a:gd name="T10" fmla="*/ 12 w 74"/>
                  <a:gd name="T11" fmla="*/ 15 h 21"/>
                  <a:gd name="T12" fmla="*/ 8 w 74"/>
                  <a:gd name="T13" fmla="*/ 15 h 21"/>
                  <a:gd name="T14" fmla="*/ 4 w 74"/>
                  <a:gd name="T15" fmla="*/ 16 h 21"/>
                  <a:gd name="T16" fmla="*/ 3 w 74"/>
                  <a:gd name="T17" fmla="*/ 19 h 21"/>
                  <a:gd name="T18" fmla="*/ 0 w 74"/>
                  <a:gd name="T19" fmla="*/ 21 h 21"/>
                  <a:gd name="T20" fmla="*/ 17 w 74"/>
                  <a:gd name="T21" fmla="*/ 21 h 21"/>
                  <a:gd name="T22" fmla="*/ 36 w 74"/>
                  <a:gd name="T23" fmla="*/ 19 h 21"/>
                  <a:gd name="T24" fmla="*/ 39 w 74"/>
                  <a:gd name="T25" fmla="*/ 19 h 21"/>
                  <a:gd name="T26" fmla="*/ 43 w 74"/>
                  <a:gd name="T27" fmla="*/ 18 h 21"/>
                  <a:gd name="T28" fmla="*/ 46 w 74"/>
                  <a:gd name="T29" fmla="*/ 18 h 21"/>
                  <a:gd name="T30" fmla="*/ 50 w 74"/>
                  <a:gd name="T31" fmla="*/ 18 h 21"/>
                  <a:gd name="T32" fmla="*/ 54 w 74"/>
                  <a:gd name="T33" fmla="*/ 19 h 21"/>
                  <a:gd name="T34" fmla="*/ 65 w 74"/>
                  <a:gd name="T35" fmla="*/ 16 h 21"/>
                  <a:gd name="T36" fmla="*/ 74 w 74"/>
                  <a:gd name="T37" fmla="*/ 15 h 21"/>
                  <a:gd name="T38" fmla="*/ 71 w 74"/>
                  <a:gd name="T39" fmla="*/ 12 h 21"/>
                  <a:gd name="T40" fmla="*/ 74 w 74"/>
                  <a:gd name="T41" fmla="*/ 10 h 21"/>
                  <a:gd name="T42" fmla="*/ 74 w 74"/>
                  <a:gd name="T43" fmla="*/ 7 h 21"/>
                  <a:gd name="T44" fmla="*/ 71 w 74"/>
                  <a:gd name="T45" fmla="*/ 4 h 21"/>
                  <a:gd name="T46" fmla="*/ 68 w 74"/>
                  <a:gd name="T47" fmla="*/ 4 h 21"/>
                  <a:gd name="T48" fmla="*/ 69 w 74"/>
                  <a:gd name="T49" fmla="*/ 0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4" h="21">
                    <a:moveTo>
                      <a:pt x="69" y="0"/>
                    </a:moveTo>
                    <a:lnTo>
                      <a:pt x="52" y="5"/>
                    </a:lnTo>
                    <a:lnTo>
                      <a:pt x="33" y="7"/>
                    </a:lnTo>
                    <a:lnTo>
                      <a:pt x="25" y="10"/>
                    </a:lnTo>
                    <a:lnTo>
                      <a:pt x="16" y="13"/>
                    </a:lnTo>
                    <a:lnTo>
                      <a:pt x="12" y="15"/>
                    </a:lnTo>
                    <a:lnTo>
                      <a:pt x="8" y="15"/>
                    </a:lnTo>
                    <a:lnTo>
                      <a:pt x="4" y="16"/>
                    </a:lnTo>
                    <a:lnTo>
                      <a:pt x="3" y="19"/>
                    </a:lnTo>
                    <a:lnTo>
                      <a:pt x="0" y="21"/>
                    </a:lnTo>
                    <a:lnTo>
                      <a:pt x="17" y="21"/>
                    </a:lnTo>
                    <a:lnTo>
                      <a:pt x="36" y="19"/>
                    </a:lnTo>
                    <a:lnTo>
                      <a:pt x="39" y="19"/>
                    </a:lnTo>
                    <a:lnTo>
                      <a:pt x="43" y="18"/>
                    </a:lnTo>
                    <a:lnTo>
                      <a:pt x="46" y="18"/>
                    </a:lnTo>
                    <a:lnTo>
                      <a:pt x="50" y="18"/>
                    </a:lnTo>
                    <a:lnTo>
                      <a:pt x="54" y="19"/>
                    </a:lnTo>
                    <a:lnTo>
                      <a:pt x="65" y="16"/>
                    </a:lnTo>
                    <a:lnTo>
                      <a:pt x="74" y="15"/>
                    </a:lnTo>
                    <a:lnTo>
                      <a:pt x="71" y="12"/>
                    </a:lnTo>
                    <a:lnTo>
                      <a:pt x="74" y="10"/>
                    </a:lnTo>
                    <a:lnTo>
                      <a:pt x="74" y="7"/>
                    </a:lnTo>
                    <a:lnTo>
                      <a:pt x="71" y="4"/>
                    </a:lnTo>
                    <a:lnTo>
                      <a:pt x="68" y="4"/>
                    </a:lnTo>
                    <a:lnTo>
                      <a:pt x="69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52" name="Freeform 575"/>
              <p:cNvSpPr>
                <a:spLocks/>
              </p:cNvSpPr>
              <p:nvPr/>
            </p:nvSpPr>
            <p:spPr bwMode="auto">
              <a:xfrm>
                <a:off x="2342" y="1042"/>
                <a:ext cx="24" cy="2"/>
              </a:xfrm>
              <a:custGeom>
                <a:avLst/>
                <a:gdLst>
                  <a:gd name="T0" fmla="*/ 4 w 47"/>
                  <a:gd name="T1" fmla="*/ 3 h 4"/>
                  <a:gd name="T2" fmla="*/ 25 w 47"/>
                  <a:gd name="T3" fmla="*/ 4 h 4"/>
                  <a:gd name="T4" fmla="*/ 47 w 47"/>
                  <a:gd name="T5" fmla="*/ 4 h 4"/>
                  <a:gd name="T6" fmla="*/ 36 w 47"/>
                  <a:gd name="T7" fmla="*/ 3 h 4"/>
                  <a:gd name="T8" fmla="*/ 25 w 47"/>
                  <a:gd name="T9" fmla="*/ 0 h 4"/>
                  <a:gd name="T10" fmla="*/ 22 w 47"/>
                  <a:gd name="T11" fmla="*/ 0 h 4"/>
                  <a:gd name="T12" fmla="*/ 17 w 47"/>
                  <a:gd name="T13" fmla="*/ 0 h 4"/>
                  <a:gd name="T14" fmla="*/ 14 w 47"/>
                  <a:gd name="T15" fmla="*/ 0 h 4"/>
                  <a:gd name="T16" fmla="*/ 11 w 47"/>
                  <a:gd name="T17" fmla="*/ 0 h 4"/>
                  <a:gd name="T18" fmla="*/ 6 w 47"/>
                  <a:gd name="T19" fmla="*/ 0 h 4"/>
                  <a:gd name="T20" fmla="*/ 3 w 47"/>
                  <a:gd name="T21" fmla="*/ 0 h 4"/>
                  <a:gd name="T22" fmla="*/ 0 w 47"/>
                  <a:gd name="T23" fmla="*/ 3 h 4"/>
                  <a:gd name="T24" fmla="*/ 4 w 47"/>
                  <a:gd name="T25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7" h="4">
                    <a:moveTo>
                      <a:pt x="4" y="3"/>
                    </a:moveTo>
                    <a:lnTo>
                      <a:pt x="25" y="4"/>
                    </a:lnTo>
                    <a:lnTo>
                      <a:pt x="47" y="4"/>
                    </a:lnTo>
                    <a:lnTo>
                      <a:pt x="36" y="3"/>
                    </a:lnTo>
                    <a:lnTo>
                      <a:pt x="25" y="0"/>
                    </a:lnTo>
                    <a:lnTo>
                      <a:pt x="22" y="0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53" name="Freeform 576"/>
              <p:cNvSpPr>
                <a:spLocks/>
              </p:cNvSpPr>
              <p:nvPr/>
            </p:nvSpPr>
            <p:spPr bwMode="auto">
              <a:xfrm>
                <a:off x="2348" y="1051"/>
                <a:ext cx="29" cy="12"/>
              </a:xfrm>
              <a:custGeom>
                <a:avLst/>
                <a:gdLst>
                  <a:gd name="T0" fmla="*/ 45 w 59"/>
                  <a:gd name="T1" fmla="*/ 17 h 24"/>
                  <a:gd name="T2" fmla="*/ 41 w 59"/>
                  <a:gd name="T3" fmla="*/ 16 h 24"/>
                  <a:gd name="T4" fmla="*/ 41 w 59"/>
                  <a:gd name="T5" fmla="*/ 12 h 24"/>
                  <a:gd name="T6" fmla="*/ 49 w 59"/>
                  <a:gd name="T7" fmla="*/ 14 h 24"/>
                  <a:gd name="T8" fmla="*/ 59 w 59"/>
                  <a:gd name="T9" fmla="*/ 16 h 24"/>
                  <a:gd name="T10" fmla="*/ 57 w 59"/>
                  <a:gd name="T11" fmla="*/ 11 h 24"/>
                  <a:gd name="T12" fmla="*/ 54 w 59"/>
                  <a:gd name="T13" fmla="*/ 12 h 24"/>
                  <a:gd name="T14" fmla="*/ 51 w 59"/>
                  <a:gd name="T15" fmla="*/ 9 h 24"/>
                  <a:gd name="T16" fmla="*/ 48 w 59"/>
                  <a:gd name="T17" fmla="*/ 8 h 24"/>
                  <a:gd name="T18" fmla="*/ 45 w 59"/>
                  <a:gd name="T19" fmla="*/ 8 h 24"/>
                  <a:gd name="T20" fmla="*/ 40 w 59"/>
                  <a:gd name="T21" fmla="*/ 4 h 24"/>
                  <a:gd name="T22" fmla="*/ 37 w 59"/>
                  <a:gd name="T23" fmla="*/ 4 h 24"/>
                  <a:gd name="T24" fmla="*/ 34 w 59"/>
                  <a:gd name="T25" fmla="*/ 0 h 24"/>
                  <a:gd name="T26" fmla="*/ 30 w 59"/>
                  <a:gd name="T27" fmla="*/ 0 h 24"/>
                  <a:gd name="T28" fmla="*/ 14 w 59"/>
                  <a:gd name="T29" fmla="*/ 0 h 24"/>
                  <a:gd name="T30" fmla="*/ 0 w 59"/>
                  <a:gd name="T31" fmla="*/ 0 h 24"/>
                  <a:gd name="T32" fmla="*/ 0 w 59"/>
                  <a:gd name="T33" fmla="*/ 3 h 24"/>
                  <a:gd name="T34" fmla="*/ 0 w 59"/>
                  <a:gd name="T35" fmla="*/ 8 h 24"/>
                  <a:gd name="T36" fmla="*/ 3 w 59"/>
                  <a:gd name="T37" fmla="*/ 9 h 24"/>
                  <a:gd name="T38" fmla="*/ 7 w 59"/>
                  <a:gd name="T39" fmla="*/ 9 h 24"/>
                  <a:gd name="T40" fmla="*/ 10 w 59"/>
                  <a:gd name="T41" fmla="*/ 12 h 24"/>
                  <a:gd name="T42" fmla="*/ 14 w 59"/>
                  <a:gd name="T43" fmla="*/ 14 h 24"/>
                  <a:gd name="T44" fmla="*/ 18 w 59"/>
                  <a:gd name="T45" fmla="*/ 14 h 24"/>
                  <a:gd name="T46" fmla="*/ 21 w 59"/>
                  <a:gd name="T47" fmla="*/ 16 h 24"/>
                  <a:gd name="T48" fmla="*/ 26 w 59"/>
                  <a:gd name="T49" fmla="*/ 16 h 24"/>
                  <a:gd name="T50" fmla="*/ 29 w 59"/>
                  <a:gd name="T51" fmla="*/ 17 h 24"/>
                  <a:gd name="T52" fmla="*/ 32 w 59"/>
                  <a:gd name="T53" fmla="*/ 20 h 24"/>
                  <a:gd name="T54" fmla="*/ 37 w 59"/>
                  <a:gd name="T55" fmla="*/ 22 h 24"/>
                  <a:gd name="T56" fmla="*/ 40 w 59"/>
                  <a:gd name="T57" fmla="*/ 22 h 24"/>
                  <a:gd name="T58" fmla="*/ 43 w 59"/>
                  <a:gd name="T59" fmla="*/ 24 h 24"/>
                  <a:gd name="T60" fmla="*/ 46 w 59"/>
                  <a:gd name="T61" fmla="*/ 24 h 24"/>
                  <a:gd name="T62" fmla="*/ 51 w 59"/>
                  <a:gd name="T63" fmla="*/ 24 h 24"/>
                  <a:gd name="T64" fmla="*/ 53 w 59"/>
                  <a:gd name="T65" fmla="*/ 20 h 24"/>
                  <a:gd name="T66" fmla="*/ 49 w 59"/>
                  <a:gd name="T67" fmla="*/ 19 h 24"/>
                  <a:gd name="T68" fmla="*/ 46 w 59"/>
                  <a:gd name="T69" fmla="*/ 17 h 24"/>
                  <a:gd name="T70" fmla="*/ 45 w 59"/>
                  <a:gd name="T71" fmla="*/ 17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59" h="24">
                    <a:moveTo>
                      <a:pt x="45" y="17"/>
                    </a:moveTo>
                    <a:lnTo>
                      <a:pt x="41" y="16"/>
                    </a:lnTo>
                    <a:lnTo>
                      <a:pt x="41" y="12"/>
                    </a:lnTo>
                    <a:lnTo>
                      <a:pt x="49" y="14"/>
                    </a:lnTo>
                    <a:lnTo>
                      <a:pt x="59" y="16"/>
                    </a:lnTo>
                    <a:lnTo>
                      <a:pt x="57" y="11"/>
                    </a:lnTo>
                    <a:lnTo>
                      <a:pt x="54" y="12"/>
                    </a:lnTo>
                    <a:lnTo>
                      <a:pt x="51" y="9"/>
                    </a:lnTo>
                    <a:lnTo>
                      <a:pt x="48" y="8"/>
                    </a:lnTo>
                    <a:lnTo>
                      <a:pt x="45" y="8"/>
                    </a:lnTo>
                    <a:lnTo>
                      <a:pt x="40" y="4"/>
                    </a:lnTo>
                    <a:lnTo>
                      <a:pt x="37" y="4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14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3" y="9"/>
                    </a:lnTo>
                    <a:lnTo>
                      <a:pt x="7" y="9"/>
                    </a:lnTo>
                    <a:lnTo>
                      <a:pt x="10" y="12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21" y="16"/>
                    </a:lnTo>
                    <a:lnTo>
                      <a:pt x="26" y="16"/>
                    </a:lnTo>
                    <a:lnTo>
                      <a:pt x="29" y="17"/>
                    </a:lnTo>
                    <a:lnTo>
                      <a:pt x="32" y="20"/>
                    </a:lnTo>
                    <a:lnTo>
                      <a:pt x="37" y="22"/>
                    </a:lnTo>
                    <a:lnTo>
                      <a:pt x="40" y="22"/>
                    </a:lnTo>
                    <a:lnTo>
                      <a:pt x="43" y="24"/>
                    </a:lnTo>
                    <a:lnTo>
                      <a:pt x="46" y="24"/>
                    </a:lnTo>
                    <a:lnTo>
                      <a:pt x="51" y="24"/>
                    </a:lnTo>
                    <a:lnTo>
                      <a:pt x="53" y="20"/>
                    </a:lnTo>
                    <a:lnTo>
                      <a:pt x="49" y="19"/>
                    </a:lnTo>
                    <a:lnTo>
                      <a:pt x="46" y="17"/>
                    </a:lnTo>
                    <a:lnTo>
                      <a:pt x="45" y="1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54" name="Freeform 577"/>
              <p:cNvSpPr>
                <a:spLocks/>
              </p:cNvSpPr>
              <p:nvPr/>
            </p:nvSpPr>
            <p:spPr bwMode="auto">
              <a:xfrm>
                <a:off x="2387" y="1025"/>
                <a:ext cx="22" cy="7"/>
              </a:xfrm>
              <a:custGeom>
                <a:avLst/>
                <a:gdLst>
                  <a:gd name="T0" fmla="*/ 27 w 44"/>
                  <a:gd name="T1" fmla="*/ 0 h 13"/>
                  <a:gd name="T2" fmla="*/ 24 w 44"/>
                  <a:gd name="T3" fmla="*/ 0 h 13"/>
                  <a:gd name="T4" fmla="*/ 19 w 44"/>
                  <a:gd name="T5" fmla="*/ 0 h 13"/>
                  <a:gd name="T6" fmla="*/ 16 w 44"/>
                  <a:gd name="T7" fmla="*/ 0 h 13"/>
                  <a:gd name="T8" fmla="*/ 11 w 44"/>
                  <a:gd name="T9" fmla="*/ 2 h 13"/>
                  <a:gd name="T10" fmla="*/ 8 w 44"/>
                  <a:gd name="T11" fmla="*/ 2 h 13"/>
                  <a:gd name="T12" fmla="*/ 5 w 44"/>
                  <a:gd name="T13" fmla="*/ 4 h 13"/>
                  <a:gd name="T14" fmla="*/ 0 w 44"/>
                  <a:gd name="T15" fmla="*/ 5 h 13"/>
                  <a:gd name="T16" fmla="*/ 3 w 44"/>
                  <a:gd name="T17" fmla="*/ 10 h 13"/>
                  <a:gd name="T18" fmla="*/ 6 w 44"/>
                  <a:gd name="T19" fmla="*/ 10 h 13"/>
                  <a:gd name="T20" fmla="*/ 9 w 44"/>
                  <a:gd name="T21" fmla="*/ 10 h 13"/>
                  <a:gd name="T22" fmla="*/ 14 w 44"/>
                  <a:gd name="T23" fmla="*/ 12 h 13"/>
                  <a:gd name="T24" fmla="*/ 17 w 44"/>
                  <a:gd name="T25" fmla="*/ 13 h 13"/>
                  <a:gd name="T26" fmla="*/ 22 w 44"/>
                  <a:gd name="T27" fmla="*/ 12 h 13"/>
                  <a:gd name="T28" fmla="*/ 33 w 44"/>
                  <a:gd name="T29" fmla="*/ 10 h 13"/>
                  <a:gd name="T30" fmla="*/ 44 w 44"/>
                  <a:gd name="T31" fmla="*/ 10 h 13"/>
                  <a:gd name="T32" fmla="*/ 41 w 44"/>
                  <a:gd name="T33" fmla="*/ 8 h 13"/>
                  <a:gd name="T34" fmla="*/ 38 w 44"/>
                  <a:gd name="T35" fmla="*/ 4 h 13"/>
                  <a:gd name="T36" fmla="*/ 35 w 44"/>
                  <a:gd name="T37" fmla="*/ 2 h 13"/>
                  <a:gd name="T38" fmla="*/ 32 w 44"/>
                  <a:gd name="T39" fmla="*/ 2 h 13"/>
                  <a:gd name="T40" fmla="*/ 27 w 44"/>
                  <a:gd name="T41" fmla="*/ 2 h 13"/>
                  <a:gd name="T42" fmla="*/ 27 w 44"/>
                  <a:gd name="T43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4" h="13">
                    <a:moveTo>
                      <a:pt x="27" y="0"/>
                    </a:moveTo>
                    <a:lnTo>
                      <a:pt x="24" y="0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1" y="2"/>
                    </a:lnTo>
                    <a:lnTo>
                      <a:pt x="8" y="2"/>
                    </a:lnTo>
                    <a:lnTo>
                      <a:pt x="5" y="4"/>
                    </a:lnTo>
                    <a:lnTo>
                      <a:pt x="0" y="5"/>
                    </a:lnTo>
                    <a:lnTo>
                      <a:pt x="3" y="10"/>
                    </a:lnTo>
                    <a:lnTo>
                      <a:pt x="6" y="10"/>
                    </a:lnTo>
                    <a:lnTo>
                      <a:pt x="9" y="10"/>
                    </a:lnTo>
                    <a:lnTo>
                      <a:pt x="14" y="12"/>
                    </a:lnTo>
                    <a:lnTo>
                      <a:pt x="17" y="13"/>
                    </a:lnTo>
                    <a:lnTo>
                      <a:pt x="22" y="12"/>
                    </a:lnTo>
                    <a:lnTo>
                      <a:pt x="33" y="10"/>
                    </a:lnTo>
                    <a:lnTo>
                      <a:pt x="44" y="10"/>
                    </a:lnTo>
                    <a:lnTo>
                      <a:pt x="41" y="8"/>
                    </a:lnTo>
                    <a:lnTo>
                      <a:pt x="38" y="4"/>
                    </a:lnTo>
                    <a:lnTo>
                      <a:pt x="35" y="2"/>
                    </a:lnTo>
                    <a:lnTo>
                      <a:pt x="32" y="2"/>
                    </a:lnTo>
                    <a:lnTo>
                      <a:pt x="27" y="2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55" name="Freeform 578"/>
              <p:cNvSpPr>
                <a:spLocks/>
              </p:cNvSpPr>
              <p:nvPr/>
            </p:nvSpPr>
            <p:spPr bwMode="auto">
              <a:xfrm>
                <a:off x="2429" y="1010"/>
                <a:ext cx="20" cy="7"/>
              </a:xfrm>
              <a:custGeom>
                <a:avLst/>
                <a:gdLst>
                  <a:gd name="T0" fmla="*/ 27 w 40"/>
                  <a:gd name="T1" fmla="*/ 0 h 15"/>
                  <a:gd name="T2" fmla="*/ 22 w 40"/>
                  <a:gd name="T3" fmla="*/ 0 h 15"/>
                  <a:gd name="T4" fmla="*/ 19 w 40"/>
                  <a:gd name="T5" fmla="*/ 3 h 15"/>
                  <a:gd name="T6" fmla="*/ 16 w 40"/>
                  <a:gd name="T7" fmla="*/ 3 h 15"/>
                  <a:gd name="T8" fmla="*/ 11 w 40"/>
                  <a:gd name="T9" fmla="*/ 2 h 15"/>
                  <a:gd name="T10" fmla="*/ 8 w 40"/>
                  <a:gd name="T11" fmla="*/ 2 h 15"/>
                  <a:gd name="T12" fmla="*/ 5 w 40"/>
                  <a:gd name="T13" fmla="*/ 2 h 15"/>
                  <a:gd name="T14" fmla="*/ 3 w 40"/>
                  <a:gd name="T15" fmla="*/ 7 h 15"/>
                  <a:gd name="T16" fmla="*/ 0 w 40"/>
                  <a:gd name="T17" fmla="*/ 10 h 15"/>
                  <a:gd name="T18" fmla="*/ 0 w 40"/>
                  <a:gd name="T19" fmla="*/ 13 h 15"/>
                  <a:gd name="T20" fmla="*/ 8 w 40"/>
                  <a:gd name="T21" fmla="*/ 13 h 15"/>
                  <a:gd name="T22" fmla="*/ 17 w 40"/>
                  <a:gd name="T23" fmla="*/ 13 h 15"/>
                  <a:gd name="T24" fmla="*/ 22 w 40"/>
                  <a:gd name="T25" fmla="*/ 11 h 15"/>
                  <a:gd name="T26" fmla="*/ 25 w 40"/>
                  <a:gd name="T27" fmla="*/ 11 h 15"/>
                  <a:gd name="T28" fmla="*/ 29 w 40"/>
                  <a:gd name="T29" fmla="*/ 13 h 15"/>
                  <a:gd name="T30" fmla="*/ 33 w 40"/>
                  <a:gd name="T31" fmla="*/ 15 h 15"/>
                  <a:gd name="T32" fmla="*/ 36 w 40"/>
                  <a:gd name="T33" fmla="*/ 13 h 15"/>
                  <a:gd name="T34" fmla="*/ 40 w 40"/>
                  <a:gd name="T35" fmla="*/ 8 h 15"/>
                  <a:gd name="T36" fmla="*/ 35 w 40"/>
                  <a:gd name="T37" fmla="*/ 8 h 15"/>
                  <a:gd name="T38" fmla="*/ 32 w 40"/>
                  <a:gd name="T39" fmla="*/ 10 h 15"/>
                  <a:gd name="T40" fmla="*/ 29 w 40"/>
                  <a:gd name="T41" fmla="*/ 10 h 15"/>
                  <a:gd name="T42" fmla="*/ 25 w 40"/>
                  <a:gd name="T43" fmla="*/ 8 h 15"/>
                  <a:gd name="T44" fmla="*/ 21 w 40"/>
                  <a:gd name="T45" fmla="*/ 7 h 15"/>
                  <a:gd name="T46" fmla="*/ 25 w 40"/>
                  <a:gd name="T47" fmla="*/ 5 h 15"/>
                  <a:gd name="T48" fmla="*/ 29 w 40"/>
                  <a:gd name="T49" fmla="*/ 3 h 15"/>
                  <a:gd name="T50" fmla="*/ 27 w 40"/>
                  <a:gd name="T5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40" h="15">
                    <a:moveTo>
                      <a:pt x="27" y="0"/>
                    </a:moveTo>
                    <a:lnTo>
                      <a:pt x="22" y="0"/>
                    </a:lnTo>
                    <a:lnTo>
                      <a:pt x="19" y="3"/>
                    </a:lnTo>
                    <a:lnTo>
                      <a:pt x="16" y="3"/>
                    </a:lnTo>
                    <a:lnTo>
                      <a:pt x="11" y="2"/>
                    </a:lnTo>
                    <a:lnTo>
                      <a:pt x="8" y="2"/>
                    </a:lnTo>
                    <a:lnTo>
                      <a:pt x="5" y="2"/>
                    </a:lnTo>
                    <a:lnTo>
                      <a:pt x="3" y="7"/>
                    </a:lnTo>
                    <a:lnTo>
                      <a:pt x="0" y="10"/>
                    </a:lnTo>
                    <a:lnTo>
                      <a:pt x="0" y="13"/>
                    </a:lnTo>
                    <a:lnTo>
                      <a:pt x="8" y="13"/>
                    </a:lnTo>
                    <a:lnTo>
                      <a:pt x="17" y="13"/>
                    </a:lnTo>
                    <a:lnTo>
                      <a:pt x="22" y="11"/>
                    </a:lnTo>
                    <a:lnTo>
                      <a:pt x="25" y="11"/>
                    </a:lnTo>
                    <a:lnTo>
                      <a:pt x="29" y="13"/>
                    </a:lnTo>
                    <a:lnTo>
                      <a:pt x="33" y="15"/>
                    </a:lnTo>
                    <a:lnTo>
                      <a:pt x="36" y="13"/>
                    </a:lnTo>
                    <a:lnTo>
                      <a:pt x="40" y="8"/>
                    </a:lnTo>
                    <a:lnTo>
                      <a:pt x="35" y="8"/>
                    </a:lnTo>
                    <a:lnTo>
                      <a:pt x="32" y="10"/>
                    </a:lnTo>
                    <a:lnTo>
                      <a:pt x="29" y="10"/>
                    </a:lnTo>
                    <a:lnTo>
                      <a:pt x="25" y="8"/>
                    </a:lnTo>
                    <a:lnTo>
                      <a:pt x="21" y="7"/>
                    </a:lnTo>
                    <a:lnTo>
                      <a:pt x="25" y="5"/>
                    </a:lnTo>
                    <a:lnTo>
                      <a:pt x="29" y="3"/>
                    </a:lnTo>
                    <a:lnTo>
                      <a:pt x="27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56" name="Freeform 579"/>
              <p:cNvSpPr>
                <a:spLocks/>
              </p:cNvSpPr>
              <p:nvPr/>
            </p:nvSpPr>
            <p:spPr bwMode="auto">
              <a:xfrm>
                <a:off x="2447" y="913"/>
                <a:ext cx="8" cy="4"/>
              </a:xfrm>
              <a:custGeom>
                <a:avLst/>
                <a:gdLst>
                  <a:gd name="T0" fmla="*/ 8 w 16"/>
                  <a:gd name="T1" fmla="*/ 8 h 8"/>
                  <a:gd name="T2" fmla="*/ 12 w 16"/>
                  <a:gd name="T3" fmla="*/ 8 h 8"/>
                  <a:gd name="T4" fmla="*/ 16 w 16"/>
                  <a:gd name="T5" fmla="*/ 5 h 8"/>
                  <a:gd name="T6" fmla="*/ 12 w 16"/>
                  <a:gd name="T7" fmla="*/ 3 h 8"/>
                  <a:gd name="T8" fmla="*/ 8 w 16"/>
                  <a:gd name="T9" fmla="*/ 2 h 8"/>
                  <a:gd name="T10" fmla="*/ 5 w 16"/>
                  <a:gd name="T11" fmla="*/ 0 h 8"/>
                  <a:gd name="T12" fmla="*/ 0 w 16"/>
                  <a:gd name="T13" fmla="*/ 0 h 8"/>
                  <a:gd name="T14" fmla="*/ 0 w 16"/>
                  <a:gd name="T15" fmla="*/ 5 h 8"/>
                  <a:gd name="T16" fmla="*/ 5 w 16"/>
                  <a:gd name="T17" fmla="*/ 7 h 8"/>
                  <a:gd name="T18" fmla="*/ 8 w 16"/>
                  <a:gd name="T1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8">
                    <a:moveTo>
                      <a:pt x="8" y="8"/>
                    </a:moveTo>
                    <a:lnTo>
                      <a:pt x="12" y="8"/>
                    </a:lnTo>
                    <a:lnTo>
                      <a:pt x="16" y="5"/>
                    </a:lnTo>
                    <a:lnTo>
                      <a:pt x="12" y="3"/>
                    </a:lnTo>
                    <a:lnTo>
                      <a:pt x="8" y="2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5"/>
                    </a:lnTo>
                    <a:lnTo>
                      <a:pt x="5" y="7"/>
                    </a:lnTo>
                    <a:lnTo>
                      <a:pt x="8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57" name="Freeform 580"/>
              <p:cNvSpPr>
                <a:spLocks/>
              </p:cNvSpPr>
              <p:nvPr/>
            </p:nvSpPr>
            <p:spPr bwMode="auto">
              <a:xfrm>
                <a:off x="2348" y="1048"/>
                <a:ext cx="33" cy="6"/>
              </a:xfrm>
              <a:custGeom>
                <a:avLst/>
                <a:gdLst>
                  <a:gd name="T0" fmla="*/ 65 w 65"/>
                  <a:gd name="T1" fmla="*/ 5 h 11"/>
                  <a:gd name="T2" fmla="*/ 64 w 65"/>
                  <a:gd name="T3" fmla="*/ 4 h 11"/>
                  <a:gd name="T4" fmla="*/ 60 w 65"/>
                  <a:gd name="T5" fmla="*/ 4 h 11"/>
                  <a:gd name="T6" fmla="*/ 56 w 65"/>
                  <a:gd name="T7" fmla="*/ 2 h 11"/>
                  <a:gd name="T8" fmla="*/ 53 w 65"/>
                  <a:gd name="T9" fmla="*/ 2 h 11"/>
                  <a:gd name="T10" fmla="*/ 43 w 65"/>
                  <a:gd name="T11" fmla="*/ 0 h 11"/>
                  <a:gd name="T12" fmla="*/ 34 w 65"/>
                  <a:gd name="T13" fmla="*/ 0 h 11"/>
                  <a:gd name="T14" fmla="*/ 30 w 65"/>
                  <a:gd name="T15" fmla="*/ 0 h 11"/>
                  <a:gd name="T16" fmla="*/ 27 w 65"/>
                  <a:gd name="T17" fmla="*/ 0 h 11"/>
                  <a:gd name="T18" fmla="*/ 24 w 65"/>
                  <a:gd name="T19" fmla="*/ 0 h 11"/>
                  <a:gd name="T20" fmla="*/ 19 w 65"/>
                  <a:gd name="T21" fmla="*/ 0 h 11"/>
                  <a:gd name="T22" fmla="*/ 16 w 65"/>
                  <a:gd name="T23" fmla="*/ 2 h 11"/>
                  <a:gd name="T24" fmla="*/ 11 w 65"/>
                  <a:gd name="T25" fmla="*/ 2 h 11"/>
                  <a:gd name="T26" fmla="*/ 8 w 65"/>
                  <a:gd name="T27" fmla="*/ 2 h 11"/>
                  <a:gd name="T28" fmla="*/ 5 w 65"/>
                  <a:gd name="T29" fmla="*/ 2 h 11"/>
                  <a:gd name="T30" fmla="*/ 0 w 65"/>
                  <a:gd name="T31" fmla="*/ 5 h 11"/>
                  <a:gd name="T32" fmla="*/ 13 w 65"/>
                  <a:gd name="T33" fmla="*/ 5 h 11"/>
                  <a:gd name="T34" fmla="*/ 22 w 65"/>
                  <a:gd name="T35" fmla="*/ 7 h 11"/>
                  <a:gd name="T36" fmla="*/ 34 w 65"/>
                  <a:gd name="T37" fmla="*/ 7 h 11"/>
                  <a:gd name="T38" fmla="*/ 38 w 65"/>
                  <a:gd name="T39" fmla="*/ 7 h 11"/>
                  <a:gd name="T40" fmla="*/ 41 w 65"/>
                  <a:gd name="T41" fmla="*/ 8 h 11"/>
                  <a:gd name="T42" fmla="*/ 45 w 65"/>
                  <a:gd name="T43" fmla="*/ 11 h 11"/>
                  <a:gd name="T44" fmla="*/ 48 w 65"/>
                  <a:gd name="T45" fmla="*/ 11 h 11"/>
                  <a:gd name="T46" fmla="*/ 56 w 65"/>
                  <a:gd name="T47" fmla="*/ 11 h 11"/>
                  <a:gd name="T48" fmla="*/ 59 w 65"/>
                  <a:gd name="T49" fmla="*/ 11 h 11"/>
                  <a:gd name="T50" fmla="*/ 62 w 65"/>
                  <a:gd name="T51" fmla="*/ 11 h 11"/>
                  <a:gd name="T52" fmla="*/ 60 w 65"/>
                  <a:gd name="T53" fmla="*/ 8 h 11"/>
                  <a:gd name="T54" fmla="*/ 57 w 65"/>
                  <a:gd name="T55" fmla="*/ 8 h 11"/>
                  <a:gd name="T56" fmla="*/ 60 w 65"/>
                  <a:gd name="T57" fmla="*/ 7 h 11"/>
                  <a:gd name="T58" fmla="*/ 65 w 65"/>
                  <a:gd name="T59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65" h="11">
                    <a:moveTo>
                      <a:pt x="65" y="5"/>
                    </a:moveTo>
                    <a:lnTo>
                      <a:pt x="64" y="4"/>
                    </a:lnTo>
                    <a:lnTo>
                      <a:pt x="60" y="4"/>
                    </a:lnTo>
                    <a:lnTo>
                      <a:pt x="56" y="2"/>
                    </a:lnTo>
                    <a:lnTo>
                      <a:pt x="53" y="2"/>
                    </a:lnTo>
                    <a:lnTo>
                      <a:pt x="43" y="0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27" y="0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6" y="2"/>
                    </a:lnTo>
                    <a:lnTo>
                      <a:pt x="11" y="2"/>
                    </a:lnTo>
                    <a:lnTo>
                      <a:pt x="8" y="2"/>
                    </a:lnTo>
                    <a:lnTo>
                      <a:pt x="5" y="2"/>
                    </a:lnTo>
                    <a:lnTo>
                      <a:pt x="0" y="5"/>
                    </a:lnTo>
                    <a:lnTo>
                      <a:pt x="13" y="5"/>
                    </a:lnTo>
                    <a:lnTo>
                      <a:pt x="22" y="7"/>
                    </a:lnTo>
                    <a:lnTo>
                      <a:pt x="34" y="7"/>
                    </a:lnTo>
                    <a:lnTo>
                      <a:pt x="38" y="7"/>
                    </a:lnTo>
                    <a:lnTo>
                      <a:pt x="41" y="8"/>
                    </a:lnTo>
                    <a:lnTo>
                      <a:pt x="45" y="11"/>
                    </a:lnTo>
                    <a:lnTo>
                      <a:pt x="48" y="11"/>
                    </a:lnTo>
                    <a:lnTo>
                      <a:pt x="56" y="11"/>
                    </a:lnTo>
                    <a:lnTo>
                      <a:pt x="59" y="11"/>
                    </a:lnTo>
                    <a:lnTo>
                      <a:pt x="62" y="11"/>
                    </a:lnTo>
                    <a:lnTo>
                      <a:pt x="60" y="8"/>
                    </a:lnTo>
                    <a:lnTo>
                      <a:pt x="57" y="8"/>
                    </a:lnTo>
                    <a:lnTo>
                      <a:pt x="60" y="7"/>
                    </a:lnTo>
                    <a:lnTo>
                      <a:pt x="65" y="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sp>
          <p:nvSpPr>
            <p:cNvPr id="333" name="Freeform 582"/>
            <p:cNvSpPr>
              <a:spLocks/>
            </p:cNvSpPr>
            <p:nvPr/>
          </p:nvSpPr>
          <p:spPr bwMode="auto">
            <a:xfrm>
              <a:off x="5169420" y="3317595"/>
              <a:ext cx="301424" cy="267403"/>
            </a:xfrm>
            <a:custGeom>
              <a:avLst/>
              <a:gdLst>
                <a:gd name="T0" fmla="*/ 11 w 411"/>
                <a:gd name="T1" fmla="*/ 22 h 316"/>
                <a:gd name="T2" fmla="*/ 38 w 411"/>
                <a:gd name="T3" fmla="*/ 14 h 316"/>
                <a:gd name="T4" fmla="*/ 33 w 411"/>
                <a:gd name="T5" fmla="*/ 10 h 316"/>
                <a:gd name="T6" fmla="*/ 57 w 411"/>
                <a:gd name="T7" fmla="*/ 3 h 316"/>
                <a:gd name="T8" fmla="*/ 81 w 411"/>
                <a:gd name="T9" fmla="*/ 8 h 316"/>
                <a:gd name="T10" fmla="*/ 106 w 411"/>
                <a:gd name="T11" fmla="*/ 8 h 316"/>
                <a:gd name="T12" fmla="*/ 131 w 411"/>
                <a:gd name="T13" fmla="*/ 10 h 316"/>
                <a:gd name="T14" fmla="*/ 155 w 411"/>
                <a:gd name="T15" fmla="*/ 16 h 316"/>
                <a:gd name="T16" fmla="*/ 184 w 411"/>
                <a:gd name="T17" fmla="*/ 13 h 316"/>
                <a:gd name="T18" fmla="*/ 206 w 411"/>
                <a:gd name="T19" fmla="*/ 18 h 316"/>
                <a:gd name="T20" fmla="*/ 228 w 411"/>
                <a:gd name="T21" fmla="*/ 19 h 316"/>
                <a:gd name="T22" fmla="*/ 246 w 411"/>
                <a:gd name="T23" fmla="*/ 18 h 316"/>
                <a:gd name="T24" fmla="*/ 260 w 411"/>
                <a:gd name="T25" fmla="*/ 30 h 316"/>
                <a:gd name="T26" fmla="*/ 280 w 411"/>
                <a:gd name="T27" fmla="*/ 35 h 316"/>
                <a:gd name="T28" fmla="*/ 300 w 411"/>
                <a:gd name="T29" fmla="*/ 43 h 316"/>
                <a:gd name="T30" fmla="*/ 325 w 411"/>
                <a:gd name="T31" fmla="*/ 45 h 316"/>
                <a:gd name="T32" fmla="*/ 341 w 411"/>
                <a:gd name="T33" fmla="*/ 43 h 316"/>
                <a:gd name="T34" fmla="*/ 360 w 411"/>
                <a:gd name="T35" fmla="*/ 51 h 316"/>
                <a:gd name="T36" fmla="*/ 374 w 411"/>
                <a:gd name="T37" fmla="*/ 54 h 316"/>
                <a:gd name="T38" fmla="*/ 398 w 411"/>
                <a:gd name="T39" fmla="*/ 53 h 316"/>
                <a:gd name="T40" fmla="*/ 406 w 411"/>
                <a:gd name="T41" fmla="*/ 60 h 316"/>
                <a:gd name="T42" fmla="*/ 401 w 411"/>
                <a:gd name="T43" fmla="*/ 81 h 316"/>
                <a:gd name="T44" fmla="*/ 358 w 411"/>
                <a:gd name="T45" fmla="*/ 103 h 316"/>
                <a:gd name="T46" fmla="*/ 330 w 411"/>
                <a:gd name="T47" fmla="*/ 113 h 316"/>
                <a:gd name="T48" fmla="*/ 317 w 411"/>
                <a:gd name="T49" fmla="*/ 132 h 316"/>
                <a:gd name="T50" fmla="*/ 295 w 411"/>
                <a:gd name="T51" fmla="*/ 160 h 316"/>
                <a:gd name="T52" fmla="*/ 287 w 411"/>
                <a:gd name="T53" fmla="*/ 179 h 316"/>
                <a:gd name="T54" fmla="*/ 303 w 411"/>
                <a:gd name="T55" fmla="*/ 205 h 316"/>
                <a:gd name="T56" fmla="*/ 279 w 411"/>
                <a:gd name="T57" fmla="*/ 222 h 316"/>
                <a:gd name="T58" fmla="*/ 266 w 411"/>
                <a:gd name="T59" fmla="*/ 248 h 316"/>
                <a:gd name="T60" fmla="*/ 254 w 411"/>
                <a:gd name="T61" fmla="*/ 252 h 316"/>
                <a:gd name="T62" fmla="*/ 233 w 411"/>
                <a:gd name="T63" fmla="*/ 268 h 316"/>
                <a:gd name="T64" fmla="*/ 212 w 411"/>
                <a:gd name="T65" fmla="*/ 282 h 316"/>
                <a:gd name="T66" fmla="*/ 181 w 411"/>
                <a:gd name="T67" fmla="*/ 286 h 316"/>
                <a:gd name="T68" fmla="*/ 155 w 411"/>
                <a:gd name="T69" fmla="*/ 286 h 316"/>
                <a:gd name="T70" fmla="*/ 130 w 411"/>
                <a:gd name="T71" fmla="*/ 295 h 316"/>
                <a:gd name="T72" fmla="*/ 111 w 411"/>
                <a:gd name="T73" fmla="*/ 309 h 316"/>
                <a:gd name="T74" fmla="*/ 89 w 411"/>
                <a:gd name="T75" fmla="*/ 308 h 316"/>
                <a:gd name="T76" fmla="*/ 79 w 411"/>
                <a:gd name="T77" fmla="*/ 290 h 316"/>
                <a:gd name="T78" fmla="*/ 79 w 411"/>
                <a:gd name="T79" fmla="*/ 281 h 316"/>
                <a:gd name="T80" fmla="*/ 62 w 411"/>
                <a:gd name="T81" fmla="*/ 263 h 316"/>
                <a:gd name="T82" fmla="*/ 44 w 411"/>
                <a:gd name="T83" fmla="*/ 267 h 316"/>
                <a:gd name="T84" fmla="*/ 44 w 411"/>
                <a:gd name="T85" fmla="*/ 248 h 316"/>
                <a:gd name="T86" fmla="*/ 62 w 411"/>
                <a:gd name="T87" fmla="*/ 229 h 316"/>
                <a:gd name="T88" fmla="*/ 51 w 411"/>
                <a:gd name="T89" fmla="*/ 214 h 316"/>
                <a:gd name="T90" fmla="*/ 63 w 411"/>
                <a:gd name="T91" fmla="*/ 192 h 316"/>
                <a:gd name="T92" fmla="*/ 52 w 411"/>
                <a:gd name="T93" fmla="*/ 178 h 316"/>
                <a:gd name="T94" fmla="*/ 58 w 411"/>
                <a:gd name="T95" fmla="*/ 167 h 316"/>
                <a:gd name="T96" fmla="*/ 70 w 411"/>
                <a:gd name="T97" fmla="*/ 152 h 316"/>
                <a:gd name="T98" fmla="*/ 73 w 411"/>
                <a:gd name="T99" fmla="*/ 129 h 316"/>
                <a:gd name="T100" fmla="*/ 71 w 411"/>
                <a:gd name="T101" fmla="*/ 111 h 316"/>
                <a:gd name="T102" fmla="*/ 90 w 411"/>
                <a:gd name="T103" fmla="*/ 97 h 316"/>
                <a:gd name="T104" fmla="*/ 84 w 411"/>
                <a:gd name="T105" fmla="*/ 75 h 316"/>
                <a:gd name="T106" fmla="*/ 63 w 411"/>
                <a:gd name="T107" fmla="*/ 76 h 316"/>
                <a:gd name="T108" fmla="*/ 36 w 411"/>
                <a:gd name="T109" fmla="*/ 79 h 316"/>
                <a:gd name="T110" fmla="*/ 31 w 411"/>
                <a:gd name="T111" fmla="*/ 65 h 316"/>
                <a:gd name="T112" fmla="*/ 9 w 411"/>
                <a:gd name="T113" fmla="*/ 76 h 316"/>
                <a:gd name="T114" fmla="*/ 17 w 411"/>
                <a:gd name="T115" fmla="*/ 60 h 316"/>
                <a:gd name="T116" fmla="*/ 11 w 411"/>
                <a:gd name="T117" fmla="*/ 51 h 316"/>
                <a:gd name="T118" fmla="*/ 8 w 411"/>
                <a:gd name="T119" fmla="*/ 43 h 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11" h="316">
                  <a:moveTo>
                    <a:pt x="3" y="37"/>
                  </a:moveTo>
                  <a:lnTo>
                    <a:pt x="5" y="35"/>
                  </a:lnTo>
                  <a:lnTo>
                    <a:pt x="1" y="35"/>
                  </a:lnTo>
                  <a:lnTo>
                    <a:pt x="0" y="30"/>
                  </a:lnTo>
                  <a:lnTo>
                    <a:pt x="1" y="27"/>
                  </a:lnTo>
                  <a:lnTo>
                    <a:pt x="5" y="24"/>
                  </a:lnTo>
                  <a:lnTo>
                    <a:pt x="8" y="24"/>
                  </a:lnTo>
                  <a:lnTo>
                    <a:pt x="11" y="22"/>
                  </a:lnTo>
                  <a:lnTo>
                    <a:pt x="12" y="19"/>
                  </a:lnTo>
                  <a:lnTo>
                    <a:pt x="16" y="19"/>
                  </a:lnTo>
                  <a:lnTo>
                    <a:pt x="20" y="19"/>
                  </a:lnTo>
                  <a:lnTo>
                    <a:pt x="24" y="19"/>
                  </a:lnTo>
                  <a:lnTo>
                    <a:pt x="27" y="16"/>
                  </a:lnTo>
                  <a:lnTo>
                    <a:pt x="30" y="18"/>
                  </a:lnTo>
                  <a:lnTo>
                    <a:pt x="35" y="16"/>
                  </a:lnTo>
                  <a:lnTo>
                    <a:pt x="38" y="14"/>
                  </a:lnTo>
                  <a:lnTo>
                    <a:pt x="38" y="14"/>
                  </a:lnTo>
                  <a:lnTo>
                    <a:pt x="33" y="14"/>
                  </a:lnTo>
                  <a:lnTo>
                    <a:pt x="38" y="11"/>
                  </a:lnTo>
                  <a:lnTo>
                    <a:pt x="38" y="11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3" y="13"/>
                  </a:lnTo>
                  <a:lnTo>
                    <a:pt x="33" y="10"/>
                  </a:lnTo>
                  <a:lnTo>
                    <a:pt x="36" y="8"/>
                  </a:lnTo>
                  <a:lnTo>
                    <a:pt x="41" y="5"/>
                  </a:lnTo>
                  <a:lnTo>
                    <a:pt x="44" y="3"/>
                  </a:lnTo>
                  <a:lnTo>
                    <a:pt x="47" y="0"/>
                  </a:lnTo>
                  <a:lnTo>
                    <a:pt x="47" y="5"/>
                  </a:lnTo>
                  <a:lnTo>
                    <a:pt x="54" y="0"/>
                  </a:lnTo>
                  <a:lnTo>
                    <a:pt x="54" y="2"/>
                  </a:lnTo>
                  <a:lnTo>
                    <a:pt x="57" y="3"/>
                  </a:lnTo>
                  <a:lnTo>
                    <a:pt x="62" y="2"/>
                  </a:lnTo>
                  <a:lnTo>
                    <a:pt x="65" y="3"/>
                  </a:lnTo>
                  <a:lnTo>
                    <a:pt x="66" y="7"/>
                  </a:lnTo>
                  <a:lnTo>
                    <a:pt x="71" y="8"/>
                  </a:lnTo>
                  <a:lnTo>
                    <a:pt x="74" y="8"/>
                  </a:lnTo>
                  <a:lnTo>
                    <a:pt x="74" y="11"/>
                  </a:lnTo>
                  <a:lnTo>
                    <a:pt x="77" y="8"/>
                  </a:lnTo>
                  <a:lnTo>
                    <a:pt x="81" y="8"/>
                  </a:lnTo>
                  <a:lnTo>
                    <a:pt x="84" y="8"/>
                  </a:lnTo>
                  <a:lnTo>
                    <a:pt x="85" y="10"/>
                  </a:lnTo>
                  <a:lnTo>
                    <a:pt x="89" y="8"/>
                  </a:lnTo>
                  <a:lnTo>
                    <a:pt x="92" y="10"/>
                  </a:lnTo>
                  <a:lnTo>
                    <a:pt x="95" y="8"/>
                  </a:lnTo>
                  <a:lnTo>
                    <a:pt x="100" y="8"/>
                  </a:lnTo>
                  <a:lnTo>
                    <a:pt x="103" y="8"/>
                  </a:lnTo>
                  <a:lnTo>
                    <a:pt x="106" y="8"/>
                  </a:lnTo>
                  <a:lnTo>
                    <a:pt x="106" y="8"/>
                  </a:lnTo>
                  <a:lnTo>
                    <a:pt x="109" y="8"/>
                  </a:lnTo>
                  <a:lnTo>
                    <a:pt x="112" y="7"/>
                  </a:lnTo>
                  <a:lnTo>
                    <a:pt x="117" y="7"/>
                  </a:lnTo>
                  <a:lnTo>
                    <a:pt x="120" y="10"/>
                  </a:lnTo>
                  <a:lnTo>
                    <a:pt x="123" y="10"/>
                  </a:lnTo>
                  <a:lnTo>
                    <a:pt x="127" y="10"/>
                  </a:lnTo>
                  <a:lnTo>
                    <a:pt x="131" y="10"/>
                  </a:lnTo>
                  <a:lnTo>
                    <a:pt x="135" y="11"/>
                  </a:lnTo>
                  <a:lnTo>
                    <a:pt x="138" y="11"/>
                  </a:lnTo>
                  <a:lnTo>
                    <a:pt x="139" y="13"/>
                  </a:lnTo>
                  <a:lnTo>
                    <a:pt x="141" y="13"/>
                  </a:lnTo>
                  <a:lnTo>
                    <a:pt x="144" y="13"/>
                  </a:lnTo>
                  <a:lnTo>
                    <a:pt x="149" y="14"/>
                  </a:lnTo>
                  <a:lnTo>
                    <a:pt x="152" y="14"/>
                  </a:lnTo>
                  <a:lnTo>
                    <a:pt x="155" y="16"/>
                  </a:lnTo>
                  <a:lnTo>
                    <a:pt x="157" y="16"/>
                  </a:lnTo>
                  <a:lnTo>
                    <a:pt x="160" y="14"/>
                  </a:lnTo>
                  <a:lnTo>
                    <a:pt x="166" y="14"/>
                  </a:lnTo>
                  <a:lnTo>
                    <a:pt x="173" y="14"/>
                  </a:lnTo>
                  <a:lnTo>
                    <a:pt x="173" y="14"/>
                  </a:lnTo>
                  <a:lnTo>
                    <a:pt x="176" y="13"/>
                  </a:lnTo>
                  <a:lnTo>
                    <a:pt x="181" y="11"/>
                  </a:lnTo>
                  <a:lnTo>
                    <a:pt x="184" y="13"/>
                  </a:lnTo>
                  <a:lnTo>
                    <a:pt x="187" y="11"/>
                  </a:lnTo>
                  <a:lnTo>
                    <a:pt x="190" y="13"/>
                  </a:lnTo>
                  <a:lnTo>
                    <a:pt x="193" y="14"/>
                  </a:lnTo>
                  <a:lnTo>
                    <a:pt x="196" y="14"/>
                  </a:lnTo>
                  <a:lnTo>
                    <a:pt x="201" y="16"/>
                  </a:lnTo>
                  <a:lnTo>
                    <a:pt x="201" y="18"/>
                  </a:lnTo>
                  <a:lnTo>
                    <a:pt x="204" y="18"/>
                  </a:lnTo>
                  <a:lnTo>
                    <a:pt x="206" y="18"/>
                  </a:lnTo>
                  <a:lnTo>
                    <a:pt x="208" y="14"/>
                  </a:lnTo>
                  <a:lnTo>
                    <a:pt x="208" y="14"/>
                  </a:lnTo>
                  <a:lnTo>
                    <a:pt x="211" y="14"/>
                  </a:lnTo>
                  <a:lnTo>
                    <a:pt x="215" y="14"/>
                  </a:lnTo>
                  <a:lnTo>
                    <a:pt x="219" y="16"/>
                  </a:lnTo>
                  <a:lnTo>
                    <a:pt x="222" y="16"/>
                  </a:lnTo>
                  <a:lnTo>
                    <a:pt x="225" y="18"/>
                  </a:lnTo>
                  <a:lnTo>
                    <a:pt x="228" y="19"/>
                  </a:lnTo>
                  <a:lnTo>
                    <a:pt x="233" y="19"/>
                  </a:lnTo>
                  <a:lnTo>
                    <a:pt x="236" y="19"/>
                  </a:lnTo>
                  <a:lnTo>
                    <a:pt x="239" y="19"/>
                  </a:lnTo>
                  <a:lnTo>
                    <a:pt x="239" y="18"/>
                  </a:lnTo>
                  <a:lnTo>
                    <a:pt x="239" y="18"/>
                  </a:lnTo>
                  <a:lnTo>
                    <a:pt x="244" y="16"/>
                  </a:lnTo>
                  <a:lnTo>
                    <a:pt x="246" y="16"/>
                  </a:lnTo>
                  <a:lnTo>
                    <a:pt x="246" y="18"/>
                  </a:lnTo>
                  <a:lnTo>
                    <a:pt x="247" y="18"/>
                  </a:lnTo>
                  <a:lnTo>
                    <a:pt x="247" y="19"/>
                  </a:lnTo>
                  <a:lnTo>
                    <a:pt x="250" y="19"/>
                  </a:lnTo>
                  <a:lnTo>
                    <a:pt x="255" y="19"/>
                  </a:lnTo>
                  <a:lnTo>
                    <a:pt x="258" y="21"/>
                  </a:lnTo>
                  <a:lnTo>
                    <a:pt x="258" y="24"/>
                  </a:lnTo>
                  <a:lnTo>
                    <a:pt x="257" y="27"/>
                  </a:lnTo>
                  <a:lnTo>
                    <a:pt x="260" y="30"/>
                  </a:lnTo>
                  <a:lnTo>
                    <a:pt x="261" y="27"/>
                  </a:lnTo>
                  <a:lnTo>
                    <a:pt x="261" y="27"/>
                  </a:lnTo>
                  <a:lnTo>
                    <a:pt x="265" y="30"/>
                  </a:lnTo>
                  <a:lnTo>
                    <a:pt x="268" y="30"/>
                  </a:lnTo>
                  <a:lnTo>
                    <a:pt x="271" y="33"/>
                  </a:lnTo>
                  <a:lnTo>
                    <a:pt x="276" y="33"/>
                  </a:lnTo>
                  <a:lnTo>
                    <a:pt x="279" y="33"/>
                  </a:lnTo>
                  <a:lnTo>
                    <a:pt x="280" y="35"/>
                  </a:lnTo>
                  <a:lnTo>
                    <a:pt x="284" y="38"/>
                  </a:lnTo>
                  <a:lnTo>
                    <a:pt x="285" y="40"/>
                  </a:lnTo>
                  <a:lnTo>
                    <a:pt x="287" y="40"/>
                  </a:lnTo>
                  <a:lnTo>
                    <a:pt x="287" y="38"/>
                  </a:lnTo>
                  <a:lnTo>
                    <a:pt x="290" y="40"/>
                  </a:lnTo>
                  <a:lnTo>
                    <a:pt x="293" y="38"/>
                  </a:lnTo>
                  <a:lnTo>
                    <a:pt x="296" y="40"/>
                  </a:lnTo>
                  <a:lnTo>
                    <a:pt x="300" y="43"/>
                  </a:lnTo>
                  <a:lnTo>
                    <a:pt x="303" y="45"/>
                  </a:lnTo>
                  <a:lnTo>
                    <a:pt x="306" y="43"/>
                  </a:lnTo>
                  <a:lnTo>
                    <a:pt x="311" y="43"/>
                  </a:lnTo>
                  <a:lnTo>
                    <a:pt x="314" y="45"/>
                  </a:lnTo>
                  <a:lnTo>
                    <a:pt x="317" y="45"/>
                  </a:lnTo>
                  <a:lnTo>
                    <a:pt x="319" y="43"/>
                  </a:lnTo>
                  <a:lnTo>
                    <a:pt x="322" y="43"/>
                  </a:lnTo>
                  <a:lnTo>
                    <a:pt x="325" y="45"/>
                  </a:lnTo>
                  <a:lnTo>
                    <a:pt x="325" y="40"/>
                  </a:lnTo>
                  <a:lnTo>
                    <a:pt x="326" y="37"/>
                  </a:lnTo>
                  <a:lnTo>
                    <a:pt x="328" y="38"/>
                  </a:lnTo>
                  <a:lnTo>
                    <a:pt x="328" y="38"/>
                  </a:lnTo>
                  <a:lnTo>
                    <a:pt x="331" y="38"/>
                  </a:lnTo>
                  <a:lnTo>
                    <a:pt x="334" y="40"/>
                  </a:lnTo>
                  <a:lnTo>
                    <a:pt x="338" y="40"/>
                  </a:lnTo>
                  <a:lnTo>
                    <a:pt x="341" y="43"/>
                  </a:lnTo>
                  <a:lnTo>
                    <a:pt x="346" y="43"/>
                  </a:lnTo>
                  <a:lnTo>
                    <a:pt x="349" y="43"/>
                  </a:lnTo>
                  <a:lnTo>
                    <a:pt x="350" y="48"/>
                  </a:lnTo>
                  <a:lnTo>
                    <a:pt x="350" y="51"/>
                  </a:lnTo>
                  <a:lnTo>
                    <a:pt x="352" y="54"/>
                  </a:lnTo>
                  <a:lnTo>
                    <a:pt x="355" y="53"/>
                  </a:lnTo>
                  <a:lnTo>
                    <a:pt x="358" y="51"/>
                  </a:lnTo>
                  <a:lnTo>
                    <a:pt x="360" y="51"/>
                  </a:lnTo>
                  <a:lnTo>
                    <a:pt x="360" y="53"/>
                  </a:lnTo>
                  <a:lnTo>
                    <a:pt x="363" y="53"/>
                  </a:lnTo>
                  <a:lnTo>
                    <a:pt x="365" y="54"/>
                  </a:lnTo>
                  <a:lnTo>
                    <a:pt x="366" y="54"/>
                  </a:lnTo>
                  <a:lnTo>
                    <a:pt x="366" y="54"/>
                  </a:lnTo>
                  <a:lnTo>
                    <a:pt x="368" y="54"/>
                  </a:lnTo>
                  <a:lnTo>
                    <a:pt x="371" y="57"/>
                  </a:lnTo>
                  <a:lnTo>
                    <a:pt x="374" y="54"/>
                  </a:lnTo>
                  <a:lnTo>
                    <a:pt x="377" y="54"/>
                  </a:lnTo>
                  <a:lnTo>
                    <a:pt x="380" y="56"/>
                  </a:lnTo>
                  <a:lnTo>
                    <a:pt x="384" y="57"/>
                  </a:lnTo>
                  <a:lnTo>
                    <a:pt x="387" y="57"/>
                  </a:lnTo>
                  <a:lnTo>
                    <a:pt x="390" y="57"/>
                  </a:lnTo>
                  <a:lnTo>
                    <a:pt x="393" y="54"/>
                  </a:lnTo>
                  <a:lnTo>
                    <a:pt x="398" y="53"/>
                  </a:lnTo>
                  <a:lnTo>
                    <a:pt x="398" y="53"/>
                  </a:lnTo>
                  <a:lnTo>
                    <a:pt x="401" y="53"/>
                  </a:lnTo>
                  <a:lnTo>
                    <a:pt x="404" y="54"/>
                  </a:lnTo>
                  <a:lnTo>
                    <a:pt x="407" y="54"/>
                  </a:lnTo>
                  <a:lnTo>
                    <a:pt x="407" y="54"/>
                  </a:lnTo>
                  <a:lnTo>
                    <a:pt x="407" y="57"/>
                  </a:lnTo>
                  <a:lnTo>
                    <a:pt x="411" y="59"/>
                  </a:lnTo>
                  <a:lnTo>
                    <a:pt x="411" y="62"/>
                  </a:lnTo>
                  <a:lnTo>
                    <a:pt x="406" y="60"/>
                  </a:lnTo>
                  <a:lnTo>
                    <a:pt x="404" y="64"/>
                  </a:lnTo>
                  <a:lnTo>
                    <a:pt x="406" y="67"/>
                  </a:lnTo>
                  <a:lnTo>
                    <a:pt x="407" y="70"/>
                  </a:lnTo>
                  <a:lnTo>
                    <a:pt x="407" y="72"/>
                  </a:lnTo>
                  <a:lnTo>
                    <a:pt x="407" y="75"/>
                  </a:lnTo>
                  <a:lnTo>
                    <a:pt x="406" y="78"/>
                  </a:lnTo>
                  <a:lnTo>
                    <a:pt x="404" y="78"/>
                  </a:lnTo>
                  <a:lnTo>
                    <a:pt x="401" y="81"/>
                  </a:lnTo>
                  <a:lnTo>
                    <a:pt x="388" y="87"/>
                  </a:lnTo>
                  <a:lnTo>
                    <a:pt x="376" y="94"/>
                  </a:lnTo>
                  <a:lnTo>
                    <a:pt x="372" y="97"/>
                  </a:lnTo>
                  <a:lnTo>
                    <a:pt x="372" y="100"/>
                  </a:lnTo>
                  <a:lnTo>
                    <a:pt x="368" y="102"/>
                  </a:lnTo>
                  <a:lnTo>
                    <a:pt x="365" y="102"/>
                  </a:lnTo>
                  <a:lnTo>
                    <a:pt x="361" y="103"/>
                  </a:lnTo>
                  <a:lnTo>
                    <a:pt x="358" y="103"/>
                  </a:lnTo>
                  <a:lnTo>
                    <a:pt x="355" y="105"/>
                  </a:lnTo>
                  <a:lnTo>
                    <a:pt x="350" y="105"/>
                  </a:lnTo>
                  <a:lnTo>
                    <a:pt x="347" y="106"/>
                  </a:lnTo>
                  <a:lnTo>
                    <a:pt x="344" y="106"/>
                  </a:lnTo>
                  <a:lnTo>
                    <a:pt x="341" y="108"/>
                  </a:lnTo>
                  <a:lnTo>
                    <a:pt x="338" y="110"/>
                  </a:lnTo>
                  <a:lnTo>
                    <a:pt x="333" y="111"/>
                  </a:lnTo>
                  <a:lnTo>
                    <a:pt x="330" y="113"/>
                  </a:lnTo>
                  <a:lnTo>
                    <a:pt x="328" y="116"/>
                  </a:lnTo>
                  <a:lnTo>
                    <a:pt x="323" y="119"/>
                  </a:lnTo>
                  <a:lnTo>
                    <a:pt x="328" y="124"/>
                  </a:lnTo>
                  <a:lnTo>
                    <a:pt x="328" y="125"/>
                  </a:lnTo>
                  <a:lnTo>
                    <a:pt x="325" y="127"/>
                  </a:lnTo>
                  <a:lnTo>
                    <a:pt x="320" y="130"/>
                  </a:lnTo>
                  <a:lnTo>
                    <a:pt x="317" y="129"/>
                  </a:lnTo>
                  <a:lnTo>
                    <a:pt x="317" y="132"/>
                  </a:lnTo>
                  <a:lnTo>
                    <a:pt x="312" y="138"/>
                  </a:lnTo>
                  <a:lnTo>
                    <a:pt x="306" y="144"/>
                  </a:lnTo>
                  <a:lnTo>
                    <a:pt x="304" y="149"/>
                  </a:lnTo>
                  <a:lnTo>
                    <a:pt x="300" y="151"/>
                  </a:lnTo>
                  <a:lnTo>
                    <a:pt x="300" y="152"/>
                  </a:lnTo>
                  <a:lnTo>
                    <a:pt x="298" y="156"/>
                  </a:lnTo>
                  <a:lnTo>
                    <a:pt x="298" y="156"/>
                  </a:lnTo>
                  <a:lnTo>
                    <a:pt x="295" y="160"/>
                  </a:lnTo>
                  <a:lnTo>
                    <a:pt x="292" y="164"/>
                  </a:lnTo>
                  <a:lnTo>
                    <a:pt x="292" y="164"/>
                  </a:lnTo>
                  <a:lnTo>
                    <a:pt x="290" y="167"/>
                  </a:lnTo>
                  <a:lnTo>
                    <a:pt x="290" y="167"/>
                  </a:lnTo>
                  <a:lnTo>
                    <a:pt x="288" y="170"/>
                  </a:lnTo>
                  <a:lnTo>
                    <a:pt x="287" y="173"/>
                  </a:lnTo>
                  <a:lnTo>
                    <a:pt x="285" y="176"/>
                  </a:lnTo>
                  <a:lnTo>
                    <a:pt x="287" y="179"/>
                  </a:lnTo>
                  <a:lnTo>
                    <a:pt x="287" y="181"/>
                  </a:lnTo>
                  <a:lnTo>
                    <a:pt x="290" y="189"/>
                  </a:lnTo>
                  <a:lnTo>
                    <a:pt x="295" y="198"/>
                  </a:lnTo>
                  <a:lnTo>
                    <a:pt x="295" y="198"/>
                  </a:lnTo>
                  <a:lnTo>
                    <a:pt x="296" y="198"/>
                  </a:lnTo>
                  <a:lnTo>
                    <a:pt x="298" y="198"/>
                  </a:lnTo>
                  <a:lnTo>
                    <a:pt x="303" y="202"/>
                  </a:lnTo>
                  <a:lnTo>
                    <a:pt x="303" y="205"/>
                  </a:lnTo>
                  <a:lnTo>
                    <a:pt x="300" y="206"/>
                  </a:lnTo>
                  <a:lnTo>
                    <a:pt x="296" y="208"/>
                  </a:lnTo>
                  <a:lnTo>
                    <a:pt x="293" y="213"/>
                  </a:lnTo>
                  <a:lnTo>
                    <a:pt x="290" y="213"/>
                  </a:lnTo>
                  <a:lnTo>
                    <a:pt x="287" y="214"/>
                  </a:lnTo>
                  <a:lnTo>
                    <a:pt x="284" y="216"/>
                  </a:lnTo>
                  <a:lnTo>
                    <a:pt x="282" y="221"/>
                  </a:lnTo>
                  <a:lnTo>
                    <a:pt x="279" y="222"/>
                  </a:lnTo>
                  <a:lnTo>
                    <a:pt x="279" y="225"/>
                  </a:lnTo>
                  <a:lnTo>
                    <a:pt x="274" y="227"/>
                  </a:lnTo>
                  <a:lnTo>
                    <a:pt x="274" y="230"/>
                  </a:lnTo>
                  <a:lnTo>
                    <a:pt x="273" y="233"/>
                  </a:lnTo>
                  <a:lnTo>
                    <a:pt x="271" y="236"/>
                  </a:lnTo>
                  <a:lnTo>
                    <a:pt x="269" y="240"/>
                  </a:lnTo>
                  <a:lnTo>
                    <a:pt x="268" y="244"/>
                  </a:lnTo>
                  <a:lnTo>
                    <a:pt x="266" y="248"/>
                  </a:lnTo>
                  <a:lnTo>
                    <a:pt x="271" y="249"/>
                  </a:lnTo>
                  <a:lnTo>
                    <a:pt x="269" y="244"/>
                  </a:lnTo>
                  <a:lnTo>
                    <a:pt x="271" y="249"/>
                  </a:lnTo>
                  <a:lnTo>
                    <a:pt x="268" y="252"/>
                  </a:lnTo>
                  <a:lnTo>
                    <a:pt x="263" y="252"/>
                  </a:lnTo>
                  <a:lnTo>
                    <a:pt x="260" y="252"/>
                  </a:lnTo>
                  <a:lnTo>
                    <a:pt x="257" y="252"/>
                  </a:lnTo>
                  <a:lnTo>
                    <a:pt x="254" y="252"/>
                  </a:lnTo>
                  <a:lnTo>
                    <a:pt x="249" y="252"/>
                  </a:lnTo>
                  <a:lnTo>
                    <a:pt x="246" y="254"/>
                  </a:lnTo>
                  <a:lnTo>
                    <a:pt x="244" y="259"/>
                  </a:lnTo>
                  <a:lnTo>
                    <a:pt x="241" y="259"/>
                  </a:lnTo>
                  <a:lnTo>
                    <a:pt x="239" y="260"/>
                  </a:lnTo>
                  <a:lnTo>
                    <a:pt x="236" y="263"/>
                  </a:lnTo>
                  <a:lnTo>
                    <a:pt x="233" y="263"/>
                  </a:lnTo>
                  <a:lnTo>
                    <a:pt x="233" y="268"/>
                  </a:lnTo>
                  <a:lnTo>
                    <a:pt x="231" y="271"/>
                  </a:lnTo>
                  <a:lnTo>
                    <a:pt x="230" y="275"/>
                  </a:lnTo>
                  <a:lnTo>
                    <a:pt x="228" y="278"/>
                  </a:lnTo>
                  <a:lnTo>
                    <a:pt x="225" y="281"/>
                  </a:lnTo>
                  <a:lnTo>
                    <a:pt x="222" y="284"/>
                  </a:lnTo>
                  <a:lnTo>
                    <a:pt x="219" y="286"/>
                  </a:lnTo>
                  <a:lnTo>
                    <a:pt x="215" y="282"/>
                  </a:lnTo>
                  <a:lnTo>
                    <a:pt x="212" y="282"/>
                  </a:lnTo>
                  <a:lnTo>
                    <a:pt x="211" y="282"/>
                  </a:lnTo>
                  <a:lnTo>
                    <a:pt x="208" y="282"/>
                  </a:lnTo>
                  <a:lnTo>
                    <a:pt x="204" y="286"/>
                  </a:lnTo>
                  <a:lnTo>
                    <a:pt x="201" y="287"/>
                  </a:lnTo>
                  <a:lnTo>
                    <a:pt x="198" y="287"/>
                  </a:lnTo>
                  <a:lnTo>
                    <a:pt x="195" y="286"/>
                  </a:lnTo>
                  <a:lnTo>
                    <a:pt x="184" y="286"/>
                  </a:lnTo>
                  <a:lnTo>
                    <a:pt x="181" y="286"/>
                  </a:lnTo>
                  <a:lnTo>
                    <a:pt x="177" y="287"/>
                  </a:lnTo>
                  <a:lnTo>
                    <a:pt x="173" y="286"/>
                  </a:lnTo>
                  <a:lnTo>
                    <a:pt x="173" y="286"/>
                  </a:lnTo>
                  <a:lnTo>
                    <a:pt x="169" y="286"/>
                  </a:lnTo>
                  <a:lnTo>
                    <a:pt x="165" y="286"/>
                  </a:lnTo>
                  <a:lnTo>
                    <a:pt x="162" y="286"/>
                  </a:lnTo>
                  <a:lnTo>
                    <a:pt x="158" y="286"/>
                  </a:lnTo>
                  <a:lnTo>
                    <a:pt x="155" y="286"/>
                  </a:lnTo>
                  <a:lnTo>
                    <a:pt x="152" y="286"/>
                  </a:lnTo>
                  <a:lnTo>
                    <a:pt x="149" y="287"/>
                  </a:lnTo>
                  <a:lnTo>
                    <a:pt x="146" y="286"/>
                  </a:lnTo>
                  <a:lnTo>
                    <a:pt x="143" y="289"/>
                  </a:lnTo>
                  <a:lnTo>
                    <a:pt x="139" y="292"/>
                  </a:lnTo>
                  <a:lnTo>
                    <a:pt x="136" y="295"/>
                  </a:lnTo>
                  <a:lnTo>
                    <a:pt x="133" y="295"/>
                  </a:lnTo>
                  <a:lnTo>
                    <a:pt x="130" y="295"/>
                  </a:lnTo>
                  <a:lnTo>
                    <a:pt x="125" y="295"/>
                  </a:lnTo>
                  <a:lnTo>
                    <a:pt x="123" y="297"/>
                  </a:lnTo>
                  <a:lnTo>
                    <a:pt x="120" y="298"/>
                  </a:lnTo>
                  <a:lnTo>
                    <a:pt x="117" y="300"/>
                  </a:lnTo>
                  <a:lnTo>
                    <a:pt x="116" y="303"/>
                  </a:lnTo>
                  <a:lnTo>
                    <a:pt x="114" y="305"/>
                  </a:lnTo>
                  <a:lnTo>
                    <a:pt x="112" y="308"/>
                  </a:lnTo>
                  <a:lnTo>
                    <a:pt x="111" y="309"/>
                  </a:lnTo>
                  <a:lnTo>
                    <a:pt x="108" y="309"/>
                  </a:lnTo>
                  <a:lnTo>
                    <a:pt x="108" y="314"/>
                  </a:lnTo>
                  <a:lnTo>
                    <a:pt x="104" y="314"/>
                  </a:lnTo>
                  <a:lnTo>
                    <a:pt x="101" y="316"/>
                  </a:lnTo>
                  <a:lnTo>
                    <a:pt x="98" y="314"/>
                  </a:lnTo>
                  <a:lnTo>
                    <a:pt x="95" y="313"/>
                  </a:lnTo>
                  <a:lnTo>
                    <a:pt x="92" y="308"/>
                  </a:lnTo>
                  <a:lnTo>
                    <a:pt x="89" y="308"/>
                  </a:lnTo>
                  <a:lnTo>
                    <a:pt x="85" y="305"/>
                  </a:lnTo>
                  <a:lnTo>
                    <a:pt x="84" y="301"/>
                  </a:lnTo>
                  <a:lnTo>
                    <a:pt x="82" y="300"/>
                  </a:lnTo>
                  <a:lnTo>
                    <a:pt x="81" y="297"/>
                  </a:lnTo>
                  <a:lnTo>
                    <a:pt x="84" y="295"/>
                  </a:lnTo>
                  <a:lnTo>
                    <a:pt x="84" y="295"/>
                  </a:lnTo>
                  <a:lnTo>
                    <a:pt x="82" y="292"/>
                  </a:lnTo>
                  <a:lnTo>
                    <a:pt x="79" y="290"/>
                  </a:lnTo>
                  <a:lnTo>
                    <a:pt x="76" y="287"/>
                  </a:lnTo>
                  <a:lnTo>
                    <a:pt x="77" y="284"/>
                  </a:lnTo>
                  <a:lnTo>
                    <a:pt x="79" y="282"/>
                  </a:lnTo>
                  <a:lnTo>
                    <a:pt x="79" y="282"/>
                  </a:lnTo>
                  <a:lnTo>
                    <a:pt x="79" y="281"/>
                  </a:lnTo>
                  <a:lnTo>
                    <a:pt x="82" y="279"/>
                  </a:lnTo>
                  <a:lnTo>
                    <a:pt x="79" y="279"/>
                  </a:lnTo>
                  <a:lnTo>
                    <a:pt x="79" y="281"/>
                  </a:lnTo>
                  <a:lnTo>
                    <a:pt x="79" y="282"/>
                  </a:lnTo>
                  <a:lnTo>
                    <a:pt x="76" y="279"/>
                  </a:lnTo>
                  <a:lnTo>
                    <a:pt x="73" y="276"/>
                  </a:lnTo>
                  <a:lnTo>
                    <a:pt x="70" y="273"/>
                  </a:lnTo>
                  <a:lnTo>
                    <a:pt x="66" y="271"/>
                  </a:lnTo>
                  <a:lnTo>
                    <a:pt x="62" y="270"/>
                  </a:lnTo>
                  <a:lnTo>
                    <a:pt x="60" y="267"/>
                  </a:lnTo>
                  <a:lnTo>
                    <a:pt x="62" y="263"/>
                  </a:lnTo>
                  <a:lnTo>
                    <a:pt x="58" y="263"/>
                  </a:lnTo>
                  <a:lnTo>
                    <a:pt x="58" y="267"/>
                  </a:lnTo>
                  <a:lnTo>
                    <a:pt x="55" y="267"/>
                  </a:lnTo>
                  <a:lnTo>
                    <a:pt x="52" y="267"/>
                  </a:lnTo>
                  <a:lnTo>
                    <a:pt x="49" y="267"/>
                  </a:lnTo>
                  <a:lnTo>
                    <a:pt x="44" y="268"/>
                  </a:lnTo>
                  <a:lnTo>
                    <a:pt x="44" y="267"/>
                  </a:lnTo>
                  <a:lnTo>
                    <a:pt x="44" y="267"/>
                  </a:lnTo>
                  <a:lnTo>
                    <a:pt x="43" y="265"/>
                  </a:lnTo>
                  <a:lnTo>
                    <a:pt x="44" y="263"/>
                  </a:lnTo>
                  <a:lnTo>
                    <a:pt x="43" y="260"/>
                  </a:lnTo>
                  <a:lnTo>
                    <a:pt x="43" y="257"/>
                  </a:lnTo>
                  <a:lnTo>
                    <a:pt x="41" y="254"/>
                  </a:lnTo>
                  <a:lnTo>
                    <a:pt x="41" y="252"/>
                  </a:lnTo>
                  <a:lnTo>
                    <a:pt x="43" y="251"/>
                  </a:lnTo>
                  <a:lnTo>
                    <a:pt x="44" y="248"/>
                  </a:lnTo>
                  <a:lnTo>
                    <a:pt x="46" y="244"/>
                  </a:lnTo>
                  <a:lnTo>
                    <a:pt x="49" y="240"/>
                  </a:lnTo>
                  <a:lnTo>
                    <a:pt x="51" y="236"/>
                  </a:lnTo>
                  <a:lnTo>
                    <a:pt x="51" y="235"/>
                  </a:lnTo>
                  <a:lnTo>
                    <a:pt x="52" y="235"/>
                  </a:lnTo>
                  <a:lnTo>
                    <a:pt x="57" y="232"/>
                  </a:lnTo>
                  <a:lnTo>
                    <a:pt x="60" y="233"/>
                  </a:lnTo>
                  <a:lnTo>
                    <a:pt x="62" y="229"/>
                  </a:lnTo>
                  <a:lnTo>
                    <a:pt x="62" y="225"/>
                  </a:lnTo>
                  <a:lnTo>
                    <a:pt x="60" y="225"/>
                  </a:lnTo>
                  <a:lnTo>
                    <a:pt x="57" y="227"/>
                  </a:lnTo>
                  <a:lnTo>
                    <a:pt x="57" y="225"/>
                  </a:lnTo>
                  <a:lnTo>
                    <a:pt x="55" y="222"/>
                  </a:lnTo>
                  <a:lnTo>
                    <a:pt x="52" y="219"/>
                  </a:lnTo>
                  <a:lnTo>
                    <a:pt x="51" y="216"/>
                  </a:lnTo>
                  <a:lnTo>
                    <a:pt x="51" y="214"/>
                  </a:lnTo>
                  <a:lnTo>
                    <a:pt x="51" y="214"/>
                  </a:lnTo>
                  <a:lnTo>
                    <a:pt x="51" y="214"/>
                  </a:lnTo>
                  <a:lnTo>
                    <a:pt x="52" y="211"/>
                  </a:lnTo>
                  <a:lnTo>
                    <a:pt x="52" y="206"/>
                  </a:lnTo>
                  <a:lnTo>
                    <a:pt x="55" y="203"/>
                  </a:lnTo>
                  <a:lnTo>
                    <a:pt x="62" y="198"/>
                  </a:lnTo>
                  <a:lnTo>
                    <a:pt x="65" y="192"/>
                  </a:lnTo>
                  <a:lnTo>
                    <a:pt x="63" y="192"/>
                  </a:lnTo>
                  <a:lnTo>
                    <a:pt x="63" y="192"/>
                  </a:lnTo>
                  <a:lnTo>
                    <a:pt x="62" y="189"/>
                  </a:lnTo>
                  <a:lnTo>
                    <a:pt x="60" y="189"/>
                  </a:lnTo>
                  <a:lnTo>
                    <a:pt x="57" y="186"/>
                  </a:lnTo>
                  <a:lnTo>
                    <a:pt x="55" y="183"/>
                  </a:lnTo>
                  <a:lnTo>
                    <a:pt x="55" y="183"/>
                  </a:lnTo>
                  <a:lnTo>
                    <a:pt x="54" y="179"/>
                  </a:lnTo>
                  <a:lnTo>
                    <a:pt x="52" y="178"/>
                  </a:lnTo>
                  <a:lnTo>
                    <a:pt x="54" y="175"/>
                  </a:lnTo>
                  <a:lnTo>
                    <a:pt x="51" y="173"/>
                  </a:lnTo>
                  <a:lnTo>
                    <a:pt x="49" y="170"/>
                  </a:lnTo>
                  <a:lnTo>
                    <a:pt x="46" y="167"/>
                  </a:lnTo>
                  <a:lnTo>
                    <a:pt x="47" y="167"/>
                  </a:lnTo>
                  <a:lnTo>
                    <a:pt x="52" y="167"/>
                  </a:lnTo>
                  <a:lnTo>
                    <a:pt x="55" y="167"/>
                  </a:lnTo>
                  <a:lnTo>
                    <a:pt x="58" y="167"/>
                  </a:lnTo>
                  <a:lnTo>
                    <a:pt x="62" y="167"/>
                  </a:lnTo>
                  <a:lnTo>
                    <a:pt x="63" y="167"/>
                  </a:lnTo>
                  <a:lnTo>
                    <a:pt x="65" y="164"/>
                  </a:lnTo>
                  <a:lnTo>
                    <a:pt x="65" y="160"/>
                  </a:lnTo>
                  <a:lnTo>
                    <a:pt x="65" y="160"/>
                  </a:lnTo>
                  <a:lnTo>
                    <a:pt x="66" y="160"/>
                  </a:lnTo>
                  <a:lnTo>
                    <a:pt x="68" y="156"/>
                  </a:lnTo>
                  <a:lnTo>
                    <a:pt x="70" y="152"/>
                  </a:lnTo>
                  <a:lnTo>
                    <a:pt x="68" y="149"/>
                  </a:lnTo>
                  <a:lnTo>
                    <a:pt x="65" y="146"/>
                  </a:lnTo>
                  <a:lnTo>
                    <a:pt x="68" y="143"/>
                  </a:lnTo>
                  <a:lnTo>
                    <a:pt x="71" y="141"/>
                  </a:lnTo>
                  <a:lnTo>
                    <a:pt x="73" y="140"/>
                  </a:lnTo>
                  <a:lnTo>
                    <a:pt x="71" y="137"/>
                  </a:lnTo>
                  <a:lnTo>
                    <a:pt x="73" y="132"/>
                  </a:lnTo>
                  <a:lnTo>
                    <a:pt x="73" y="129"/>
                  </a:lnTo>
                  <a:lnTo>
                    <a:pt x="73" y="129"/>
                  </a:lnTo>
                  <a:lnTo>
                    <a:pt x="74" y="125"/>
                  </a:lnTo>
                  <a:lnTo>
                    <a:pt x="73" y="122"/>
                  </a:lnTo>
                  <a:lnTo>
                    <a:pt x="74" y="118"/>
                  </a:lnTo>
                  <a:lnTo>
                    <a:pt x="73" y="116"/>
                  </a:lnTo>
                  <a:lnTo>
                    <a:pt x="71" y="113"/>
                  </a:lnTo>
                  <a:lnTo>
                    <a:pt x="71" y="113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71" y="111"/>
                  </a:lnTo>
                  <a:lnTo>
                    <a:pt x="74" y="111"/>
                  </a:lnTo>
                  <a:lnTo>
                    <a:pt x="74" y="110"/>
                  </a:lnTo>
                  <a:lnTo>
                    <a:pt x="76" y="106"/>
                  </a:lnTo>
                  <a:lnTo>
                    <a:pt x="79" y="103"/>
                  </a:lnTo>
                  <a:lnTo>
                    <a:pt x="82" y="103"/>
                  </a:lnTo>
                  <a:lnTo>
                    <a:pt x="90" y="97"/>
                  </a:lnTo>
                  <a:lnTo>
                    <a:pt x="97" y="89"/>
                  </a:lnTo>
                  <a:lnTo>
                    <a:pt x="95" y="87"/>
                  </a:lnTo>
                  <a:lnTo>
                    <a:pt x="92" y="84"/>
                  </a:lnTo>
                  <a:lnTo>
                    <a:pt x="89" y="84"/>
                  </a:lnTo>
                  <a:lnTo>
                    <a:pt x="85" y="83"/>
                  </a:lnTo>
                  <a:lnTo>
                    <a:pt x="85" y="81"/>
                  </a:lnTo>
                  <a:lnTo>
                    <a:pt x="87" y="76"/>
                  </a:lnTo>
                  <a:lnTo>
                    <a:pt x="84" y="75"/>
                  </a:lnTo>
                  <a:lnTo>
                    <a:pt x="81" y="75"/>
                  </a:lnTo>
                  <a:lnTo>
                    <a:pt x="76" y="75"/>
                  </a:lnTo>
                  <a:lnTo>
                    <a:pt x="73" y="73"/>
                  </a:lnTo>
                  <a:lnTo>
                    <a:pt x="71" y="73"/>
                  </a:lnTo>
                  <a:lnTo>
                    <a:pt x="68" y="73"/>
                  </a:lnTo>
                  <a:lnTo>
                    <a:pt x="65" y="73"/>
                  </a:lnTo>
                  <a:lnTo>
                    <a:pt x="65" y="76"/>
                  </a:lnTo>
                  <a:lnTo>
                    <a:pt x="63" y="76"/>
                  </a:lnTo>
                  <a:lnTo>
                    <a:pt x="60" y="78"/>
                  </a:lnTo>
                  <a:lnTo>
                    <a:pt x="57" y="79"/>
                  </a:lnTo>
                  <a:lnTo>
                    <a:pt x="54" y="78"/>
                  </a:lnTo>
                  <a:lnTo>
                    <a:pt x="51" y="76"/>
                  </a:lnTo>
                  <a:lnTo>
                    <a:pt x="47" y="76"/>
                  </a:lnTo>
                  <a:lnTo>
                    <a:pt x="43" y="76"/>
                  </a:lnTo>
                  <a:lnTo>
                    <a:pt x="39" y="76"/>
                  </a:lnTo>
                  <a:lnTo>
                    <a:pt x="36" y="79"/>
                  </a:lnTo>
                  <a:lnTo>
                    <a:pt x="31" y="79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1" y="76"/>
                  </a:lnTo>
                  <a:lnTo>
                    <a:pt x="33" y="73"/>
                  </a:lnTo>
                  <a:lnTo>
                    <a:pt x="36" y="70"/>
                  </a:lnTo>
                  <a:lnTo>
                    <a:pt x="33" y="70"/>
                  </a:lnTo>
                  <a:lnTo>
                    <a:pt x="31" y="65"/>
                  </a:lnTo>
                  <a:lnTo>
                    <a:pt x="31" y="67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70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4" y="73"/>
                  </a:lnTo>
                  <a:lnTo>
                    <a:pt x="9" y="76"/>
                  </a:lnTo>
                  <a:lnTo>
                    <a:pt x="9" y="72"/>
                  </a:lnTo>
                  <a:lnTo>
                    <a:pt x="9" y="70"/>
                  </a:lnTo>
                  <a:lnTo>
                    <a:pt x="9" y="67"/>
                  </a:lnTo>
                  <a:lnTo>
                    <a:pt x="11" y="65"/>
                  </a:lnTo>
                  <a:lnTo>
                    <a:pt x="16" y="62"/>
                  </a:lnTo>
                  <a:lnTo>
                    <a:pt x="20" y="57"/>
                  </a:lnTo>
                  <a:lnTo>
                    <a:pt x="19" y="57"/>
                  </a:lnTo>
                  <a:lnTo>
                    <a:pt x="17" y="60"/>
                  </a:lnTo>
                  <a:lnTo>
                    <a:pt x="14" y="62"/>
                  </a:lnTo>
                  <a:lnTo>
                    <a:pt x="11" y="62"/>
                  </a:lnTo>
                  <a:lnTo>
                    <a:pt x="12" y="59"/>
                  </a:lnTo>
                  <a:lnTo>
                    <a:pt x="16" y="56"/>
                  </a:lnTo>
                  <a:lnTo>
                    <a:pt x="19" y="54"/>
                  </a:lnTo>
                  <a:lnTo>
                    <a:pt x="14" y="56"/>
                  </a:lnTo>
                  <a:lnTo>
                    <a:pt x="11" y="54"/>
                  </a:lnTo>
                  <a:lnTo>
                    <a:pt x="11" y="51"/>
                  </a:lnTo>
                  <a:lnTo>
                    <a:pt x="14" y="48"/>
                  </a:lnTo>
                  <a:lnTo>
                    <a:pt x="17" y="45"/>
                  </a:lnTo>
                  <a:lnTo>
                    <a:pt x="17" y="43"/>
                  </a:lnTo>
                  <a:lnTo>
                    <a:pt x="14" y="46"/>
                  </a:lnTo>
                  <a:lnTo>
                    <a:pt x="9" y="46"/>
                  </a:lnTo>
                  <a:lnTo>
                    <a:pt x="8" y="49"/>
                  </a:lnTo>
                  <a:lnTo>
                    <a:pt x="6" y="46"/>
                  </a:lnTo>
                  <a:lnTo>
                    <a:pt x="8" y="43"/>
                  </a:lnTo>
                  <a:lnTo>
                    <a:pt x="11" y="40"/>
                  </a:lnTo>
                  <a:lnTo>
                    <a:pt x="12" y="38"/>
                  </a:lnTo>
                  <a:lnTo>
                    <a:pt x="9" y="40"/>
                  </a:lnTo>
                  <a:lnTo>
                    <a:pt x="6" y="41"/>
                  </a:lnTo>
                  <a:lnTo>
                    <a:pt x="5" y="38"/>
                  </a:lnTo>
                  <a:lnTo>
                    <a:pt x="3" y="37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34" name="Freeform 583"/>
            <p:cNvSpPr>
              <a:spLocks/>
            </p:cNvSpPr>
            <p:nvPr/>
          </p:nvSpPr>
          <p:spPr bwMode="auto">
            <a:xfrm>
              <a:off x="5417911" y="3476683"/>
              <a:ext cx="8822" cy="10154"/>
            </a:xfrm>
            <a:custGeom>
              <a:avLst/>
              <a:gdLst>
                <a:gd name="T0" fmla="*/ 4 w 12"/>
                <a:gd name="T1" fmla="*/ 11 h 11"/>
                <a:gd name="T2" fmla="*/ 1 w 12"/>
                <a:gd name="T3" fmla="*/ 9 h 11"/>
                <a:gd name="T4" fmla="*/ 0 w 12"/>
                <a:gd name="T5" fmla="*/ 6 h 11"/>
                <a:gd name="T6" fmla="*/ 3 w 12"/>
                <a:gd name="T7" fmla="*/ 3 h 11"/>
                <a:gd name="T8" fmla="*/ 9 w 12"/>
                <a:gd name="T9" fmla="*/ 0 h 11"/>
                <a:gd name="T10" fmla="*/ 12 w 12"/>
                <a:gd name="T11" fmla="*/ 3 h 11"/>
                <a:gd name="T12" fmla="*/ 9 w 12"/>
                <a:gd name="T13" fmla="*/ 6 h 11"/>
                <a:gd name="T14" fmla="*/ 6 w 12"/>
                <a:gd name="T15" fmla="*/ 9 h 11"/>
                <a:gd name="T16" fmla="*/ 4 w 12"/>
                <a:gd name="T17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1">
                  <a:moveTo>
                    <a:pt x="4" y="11"/>
                  </a:moveTo>
                  <a:lnTo>
                    <a:pt x="1" y="9"/>
                  </a:lnTo>
                  <a:lnTo>
                    <a:pt x="0" y="6"/>
                  </a:lnTo>
                  <a:lnTo>
                    <a:pt x="3" y="3"/>
                  </a:lnTo>
                  <a:lnTo>
                    <a:pt x="9" y="0"/>
                  </a:lnTo>
                  <a:lnTo>
                    <a:pt x="12" y="3"/>
                  </a:lnTo>
                  <a:lnTo>
                    <a:pt x="9" y="6"/>
                  </a:lnTo>
                  <a:lnTo>
                    <a:pt x="6" y="9"/>
                  </a:lnTo>
                  <a:lnTo>
                    <a:pt x="4" y="1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35" name="Freeform 584"/>
            <p:cNvSpPr>
              <a:spLocks/>
            </p:cNvSpPr>
            <p:nvPr/>
          </p:nvSpPr>
          <p:spPr bwMode="auto">
            <a:xfrm>
              <a:off x="5447319" y="3447912"/>
              <a:ext cx="26467" cy="23694"/>
            </a:xfrm>
            <a:custGeom>
              <a:avLst/>
              <a:gdLst>
                <a:gd name="T0" fmla="*/ 30 w 37"/>
                <a:gd name="T1" fmla="*/ 22 h 29"/>
                <a:gd name="T2" fmla="*/ 27 w 37"/>
                <a:gd name="T3" fmla="*/ 25 h 29"/>
                <a:gd name="T4" fmla="*/ 22 w 37"/>
                <a:gd name="T5" fmla="*/ 29 h 29"/>
                <a:gd name="T6" fmla="*/ 19 w 37"/>
                <a:gd name="T7" fmla="*/ 25 h 29"/>
                <a:gd name="T8" fmla="*/ 16 w 37"/>
                <a:gd name="T9" fmla="*/ 25 h 29"/>
                <a:gd name="T10" fmla="*/ 13 w 37"/>
                <a:gd name="T11" fmla="*/ 24 h 29"/>
                <a:gd name="T12" fmla="*/ 11 w 37"/>
                <a:gd name="T13" fmla="*/ 21 h 29"/>
                <a:gd name="T14" fmla="*/ 10 w 37"/>
                <a:gd name="T15" fmla="*/ 17 h 29"/>
                <a:gd name="T16" fmla="*/ 7 w 37"/>
                <a:gd name="T17" fmla="*/ 17 h 29"/>
                <a:gd name="T18" fmla="*/ 3 w 37"/>
                <a:gd name="T19" fmla="*/ 19 h 29"/>
                <a:gd name="T20" fmla="*/ 0 w 37"/>
                <a:gd name="T21" fmla="*/ 17 h 29"/>
                <a:gd name="T22" fmla="*/ 0 w 37"/>
                <a:gd name="T23" fmla="*/ 14 h 29"/>
                <a:gd name="T24" fmla="*/ 3 w 37"/>
                <a:gd name="T25" fmla="*/ 13 h 29"/>
                <a:gd name="T26" fmla="*/ 7 w 37"/>
                <a:gd name="T27" fmla="*/ 10 h 29"/>
                <a:gd name="T28" fmla="*/ 11 w 37"/>
                <a:gd name="T29" fmla="*/ 6 h 29"/>
                <a:gd name="T30" fmla="*/ 19 w 37"/>
                <a:gd name="T31" fmla="*/ 2 h 29"/>
                <a:gd name="T32" fmla="*/ 29 w 37"/>
                <a:gd name="T33" fmla="*/ 0 h 29"/>
                <a:gd name="T34" fmla="*/ 26 w 37"/>
                <a:gd name="T35" fmla="*/ 2 h 29"/>
                <a:gd name="T36" fmla="*/ 26 w 37"/>
                <a:gd name="T37" fmla="*/ 6 h 29"/>
                <a:gd name="T38" fmla="*/ 29 w 37"/>
                <a:gd name="T39" fmla="*/ 10 h 29"/>
                <a:gd name="T40" fmla="*/ 32 w 37"/>
                <a:gd name="T41" fmla="*/ 8 h 29"/>
                <a:gd name="T42" fmla="*/ 35 w 37"/>
                <a:gd name="T43" fmla="*/ 10 h 29"/>
                <a:gd name="T44" fmla="*/ 37 w 37"/>
                <a:gd name="T45" fmla="*/ 13 h 29"/>
                <a:gd name="T46" fmla="*/ 34 w 37"/>
                <a:gd name="T47" fmla="*/ 16 h 29"/>
                <a:gd name="T48" fmla="*/ 30 w 37"/>
                <a:gd name="T49" fmla="*/ 19 h 29"/>
                <a:gd name="T50" fmla="*/ 30 w 37"/>
                <a:gd name="T51" fmla="*/ 22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7" h="29">
                  <a:moveTo>
                    <a:pt x="30" y="22"/>
                  </a:moveTo>
                  <a:lnTo>
                    <a:pt x="27" y="25"/>
                  </a:lnTo>
                  <a:lnTo>
                    <a:pt x="22" y="29"/>
                  </a:lnTo>
                  <a:lnTo>
                    <a:pt x="19" y="25"/>
                  </a:lnTo>
                  <a:lnTo>
                    <a:pt x="16" y="25"/>
                  </a:lnTo>
                  <a:lnTo>
                    <a:pt x="13" y="24"/>
                  </a:lnTo>
                  <a:lnTo>
                    <a:pt x="11" y="21"/>
                  </a:lnTo>
                  <a:lnTo>
                    <a:pt x="10" y="17"/>
                  </a:lnTo>
                  <a:lnTo>
                    <a:pt x="7" y="17"/>
                  </a:lnTo>
                  <a:lnTo>
                    <a:pt x="3" y="19"/>
                  </a:lnTo>
                  <a:lnTo>
                    <a:pt x="0" y="17"/>
                  </a:lnTo>
                  <a:lnTo>
                    <a:pt x="0" y="14"/>
                  </a:lnTo>
                  <a:lnTo>
                    <a:pt x="3" y="13"/>
                  </a:lnTo>
                  <a:lnTo>
                    <a:pt x="7" y="10"/>
                  </a:lnTo>
                  <a:lnTo>
                    <a:pt x="11" y="6"/>
                  </a:lnTo>
                  <a:lnTo>
                    <a:pt x="19" y="2"/>
                  </a:lnTo>
                  <a:lnTo>
                    <a:pt x="29" y="0"/>
                  </a:lnTo>
                  <a:lnTo>
                    <a:pt x="26" y="2"/>
                  </a:lnTo>
                  <a:lnTo>
                    <a:pt x="26" y="6"/>
                  </a:lnTo>
                  <a:lnTo>
                    <a:pt x="29" y="10"/>
                  </a:lnTo>
                  <a:lnTo>
                    <a:pt x="32" y="8"/>
                  </a:lnTo>
                  <a:lnTo>
                    <a:pt x="35" y="10"/>
                  </a:lnTo>
                  <a:lnTo>
                    <a:pt x="37" y="13"/>
                  </a:lnTo>
                  <a:lnTo>
                    <a:pt x="34" y="16"/>
                  </a:lnTo>
                  <a:lnTo>
                    <a:pt x="30" y="19"/>
                  </a:lnTo>
                  <a:lnTo>
                    <a:pt x="30" y="2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36" name="Freeform 585"/>
            <p:cNvSpPr>
              <a:spLocks/>
            </p:cNvSpPr>
            <p:nvPr/>
          </p:nvSpPr>
          <p:spPr bwMode="auto">
            <a:xfrm>
              <a:off x="5481137" y="3444527"/>
              <a:ext cx="13233" cy="8462"/>
            </a:xfrm>
            <a:custGeom>
              <a:avLst/>
              <a:gdLst>
                <a:gd name="T0" fmla="*/ 0 w 17"/>
                <a:gd name="T1" fmla="*/ 1 h 9"/>
                <a:gd name="T2" fmla="*/ 3 w 17"/>
                <a:gd name="T3" fmla="*/ 0 h 9"/>
                <a:gd name="T4" fmla="*/ 8 w 17"/>
                <a:gd name="T5" fmla="*/ 0 h 9"/>
                <a:gd name="T6" fmla="*/ 11 w 17"/>
                <a:gd name="T7" fmla="*/ 0 h 9"/>
                <a:gd name="T8" fmla="*/ 14 w 17"/>
                <a:gd name="T9" fmla="*/ 1 h 9"/>
                <a:gd name="T10" fmla="*/ 14 w 17"/>
                <a:gd name="T11" fmla="*/ 1 h 9"/>
                <a:gd name="T12" fmla="*/ 16 w 17"/>
                <a:gd name="T13" fmla="*/ 5 h 9"/>
                <a:gd name="T14" fmla="*/ 17 w 17"/>
                <a:gd name="T15" fmla="*/ 9 h 9"/>
                <a:gd name="T16" fmla="*/ 14 w 17"/>
                <a:gd name="T17" fmla="*/ 9 h 9"/>
                <a:gd name="T18" fmla="*/ 9 w 17"/>
                <a:gd name="T19" fmla="*/ 6 h 9"/>
                <a:gd name="T20" fmla="*/ 6 w 17"/>
                <a:gd name="T21" fmla="*/ 5 h 9"/>
                <a:gd name="T22" fmla="*/ 3 w 17"/>
                <a:gd name="T23" fmla="*/ 5 h 9"/>
                <a:gd name="T24" fmla="*/ 0 w 17"/>
                <a:gd name="T25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" h="9">
                  <a:moveTo>
                    <a:pt x="0" y="1"/>
                  </a:moveTo>
                  <a:lnTo>
                    <a:pt x="3" y="0"/>
                  </a:lnTo>
                  <a:lnTo>
                    <a:pt x="8" y="0"/>
                  </a:lnTo>
                  <a:lnTo>
                    <a:pt x="11" y="0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6" y="5"/>
                  </a:lnTo>
                  <a:lnTo>
                    <a:pt x="17" y="9"/>
                  </a:lnTo>
                  <a:lnTo>
                    <a:pt x="14" y="9"/>
                  </a:lnTo>
                  <a:lnTo>
                    <a:pt x="9" y="6"/>
                  </a:lnTo>
                  <a:lnTo>
                    <a:pt x="6" y="5"/>
                  </a:lnTo>
                  <a:lnTo>
                    <a:pt x="3" y="5"/>
                  </a:lnTo>
                  <a:lnTo>
                    <a:pt x="0" y="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37" name="Freeform 586"/>
            <p:cNvSpPr>
              <a:spLocks/>
            </p:cNvSpPr>
            <p:nvPr/>
          </p:nvSpPr>
          <p:spPr bwMode="auto">
            <a:xfrm>
              <a:off x="5153246" y="3373445"/>
              <a:ext cx="86752" cy="176012"/>
            </a:xfrm>
            <a:custGeom>
              <a:avLst/>
              <a:gdLst>
                <a:gd name="T0" fmla="*/ 12 w 119"/>
                <a:gd name="T1" fmla="*/ 108 h 210"/>
                <a:gd name="T2" fmla="*/ 25 w 119"/>
                <a:gd name="T3" fmla="*/ 83 h 210"/>
                <a:gd name="T4" fmla="*/ 28 w 119"/>
                <a:gd name="T5" fmla="*/ 72 h 210"/>
                <a:gd name="T6" fmla="*/ 33 w 119"/>
                <a:gd name="T7" fmla="*/ 62 h 210"/>
                <a:gd name="T8" fmla="*/ 33 w 119"/>
                <a:gd name="T9" fmla="*/ 56 h 210"/>
                <a:gd name="T10" fmla="*/ 36 w 119"/>
                <a:gd name="T11" fmla="*/ 43 h 210"/>
                <a:gd name="T12" fmla="*/ 33 w 119"/>
                <a:gd name="T13" fmla="*/ 33 h 210"/>
                <a:gd name="T14" fmla="*/ 31 w 119"/>
                <a:gd name="T15" fmla="*/ 22 h 210"/>
                <a:gd name="T16" fmla="*/ 31 w 119"/>
                <a:gd name="T17" fmla="*/ 19 h 210"/>
                <a:gd name="T18" fmla="*/ 34 w 119"/>
                <a:gd name="T19" fmla="*/ 10 h 210"/>
                <a:gd name="T20" fmla="*/ 42 w 119"/>
                <a:gd name="T21" fmla="*/ 5 h 210"/>
                <a:gd name="T22" fmla="*/ 53 w 119"/>
                <a:gd name="T23" fmla="*/ 0 h 210"/>
                <a:gd name="T24" fmla="*/ 53 w 119"/>
                <a:gd name="T25" fmla="*/ 11 h 210"/>
                <a:gd name="T26" fmla="*/ 58 w 119"/>
                <a:gd name="T27" fmla="*/ 14 h 210"/>
                <a:gd name="T28" fmla="*/ 73 w 119"/>
                <a:gd name="T29" fmla="*/ 11 h 210"/>
                <a:gd name="T30" fmla="*/ 85 w 119"/>
                <a:gd name="T31" fmla="*/ 11 h 210"/>
                <a:gd name="T32" fmla="*/ 93 w 119"/>
                <a:gd name="T33" fmla="*/ 8 h 210"/>
                <a:gd name="T34" fmla="*/ 106 w 119"/>
                <a:gd name="T35" fmla="*/ 10 h 210"/>
                <a:gd name="T36" fmla="*/ 111 w 119"/>
                <a:gd name="T37" fmla="*/ 19 h 210"/>
                <a:gd name="T38" fmla="*/ 112 w 119"/>
                <a:gd name="T39" fmla="*/ 32 h 210"/>
                <a:gd name="T40" fmla="*/ 96 w 119"/>
                <a:gd name="T41" fmla="*/ 45 h 210"/>
                <a:gd name="T42" fmla="*/ 93 w 119"/>
                <a:gd name="T43" fmla="*/ 46 h 210"/>
                <a:gd name="T44" fmla="*/ 96 w 119"/>
                <a:gd name="T45" fmla="*/ 53 h 210"/>
                <a:gd name="T46" fmla="*/ 95 w 119"/>
                <a:gd name="T47" fmla="*/ 64 h 210"/>
                <a:gd name="T48" fmla="*/ 93 w 119"/>
                <a:gd name="T49" fmla="*/ 76 h 210"/>
                <a:gd name="T50" fmla="*/ 92 w 119"/>
                <a:gd name="T51" fmla="*/ 87 h 210"/>
                <a:gd name="T52" fmla="*/ 87 w 119"/>
                <a:gd name="T53" fmla="*/ 95 h 210"/>
                <a:gd name="T54" fmla="*/ 80 w 119"/>
                <a:gd name="T55" fmla="*/ 102 h 210"/>
                <a:gd name="T56" fmla="*/ 68 w 119"/>
                <a:gd name="T57" fmla="*/ 102 h 210"/>
                <a:gd name="T58" fmla="*/ 74 w 119"/>
                <a:gd name="T59" fmla="*/ 113 h 210"/>
                <a:gd name="T60" fmla="*/ 79 w 119"/>
                <a:gd name="T61" fmla="*/ 121 h 210"/>
                <a:gd name="T62" fmla="*/ 85 w 119"/>
                <a:gd name="T63" fmla="*/ 127 h 210"/>
                <a:gd name="T64" fmla="*/ 77 w 119"/>
                <a:gd name="T65" fmla="*/ 138 h 210"/>
                <a:gd name="T66" fmla="*/ 73 w 119"/>
                <a:gd name="T67" fmla="*/ 149 h 210"/>
                <a:gd name="T68" fmla="*/ 77 w 119"/>
                <a:gd name="T69" fmla="*/ 157 h 210"/>
                <a:gd name="T70" fmla="*/ 84 w 119"/>
                <a:gd name="T71" fmla="*/ 160 h 210"/>
                <a:gd name="T72" fmla="*/ 74 w 119"/>
                <a:gd name="T73" fmla="*/ 170 h 210"/>
                <a:gd name="T74" fmla="*/ 63 w 119"/>
                <a:gd name="T75" fmla="*/ 187 h 210"/>
                <a:gd name="T76" fmla="*/ 66 w 119"/>
                <a:gd name="T77" fmla="*/ 198 h 210"/>
                <a:gd name="T78" fmla="*/ 49 w 119"/>
                <a:gd name="T79" fmla="*/ 210 h 210"/>
                <a:gd name="T80" fmla="*/ 34 w 119"/>
                <a:gd name="T81" fmla="*/ 206 h 210"/>
                <a:gd name="T82" fmla="*/ 28 w 119"/>
                <a:gd name="T83" fmla="*/ 203 h 210"/>
                <a:gd name="T84" fmla="*/ 17 w 119"/>
                <a:gd name="T85" fmla="*/ 208 h 210"/>
                <a:gd name="T86" fmla="*/ 17 w 119"/>
                <a:gd name="T87" fmla="*/ 200 h 210"/>
                <a:gd name="T88" fmla="*/ 20 w 119"/>
                <a:gd name="T89" fmla="*/ 189 h 210"/>
                <a:gd name="T90" fmla="*/ 22 w 119"/>
                <a:gd name="T91" fmla="*/ 176 h 210"/>
                <a:gd name="T92" fmla="*/ 23 w 119"/>
                <a:gd name="T93" fmla="*/ 160 h 210"/>
                <a:gd name="T94" fmla="*/ 25 w 119"/>
                <a:gd name="T95" fmla="*/ 149 h 210"/>
                <a:gd name="T96" fmla="*/ 19 w 119"/>
                <a:gd name="T97" fmla="*/ 148 h 210"/>
                <a:gd name="T98" fmla="*/ 9 w 119"/>
                <a:gd name="T99" fmla="*/ 149 h 210"/>
                <a:gd name="T100" fmla="*/ 14 w 119"/>
                <a:gd name="T101" fmla="*/ 143 h 210"/>
                <a:gd name="T102" fmla="*/ 17 w 119"/>
                <a:gd name="T103" fmla="*/ 132 h 210"/>
                <a:gd name="T104" fmla="*/ 7 w 119"/>
                <a:gd name="T105" fmla="*/ 141 h 210"/>
                <a:gd name="T106" fmla="*/ 3 w 119"/>
                <a:gd name="T107" fmla="*/ 133 h 210"/>
                <a:gd name="T108" fmla="*/ 7 w 119"/>
                <a:gd name="T109" fmla="*/ 11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19" h="210">
                  <a:moveTo>
                    <a:pt x="7" y="116"/>
                  </a:moveTo>
                  <a:lnTo>
                    <a:pt x="6" y="113"/>
                  </a:lnTo>
                  <a:lnTo>
                    <a:pt x="9" y="111"/>
                  </a:lnTo>
                  <a:lnTo>
                    <a:pt x="12" y="108"/>
                  </a:lnTo>
                  <a:lnTo>
                    <a:pt x="15" y="105"/>
                  </a:lnTo>
                  <a:lnTo>
                    <a:pt x="19" y="100"/>
                  </a:lnTo>
                  <a:lnTo>
                    <a:pt x="22" y="91"/>
                  </a:lnTo>
                  <a:lnTo>
                    <a:pt x="25" y="83"/>
                  </a:lnTo>
                  <a:lnTo>
                    <a:pt x="27" y="81"/>
                  </a:lnTo>
                  <a:lnTo>
                    <a:pt x="25" y="78"/>
                  </a:lnTo>
                  <a:lnTo>
                    <a:pt x="27" y="75"/>
                  </a:lnTo>
                  <a:lnTo>
                    <a:pt x="28" y="72"/>
                  </a:lnTo>
                  <a:lnTo>
                    <a:pt x="30" y="68"/>
                  </a:lnTo>
                  <a:lnTo>
                    <a:pt x="30" y="67"/>
                  </a:lnTo>
                  <a:lnTo>
                    <a:pt x="31" y="64"/>
                  </a:lnTo>
                  <a:lnTo>
                    <a:pt x="33" y="62"/>
                  </a:lnTo>
                  <a:lnTo>
                    <a:pt x="34" y="59"/>
                  </a:lnTo>
                  <a:lnTo>
                    <a:pt x="34" y="56"/>
                  </a:lnTo>
                  <a:lnTo>
                    <a:pt x="33" y="59"/>
                  </a:lnTo>
                  <a:lnTo>
                    <a:pt x="33" y="56"/>
                  </a:lnTo>
                  <a:lnTo>
                    <a:pt x="34" y="53"/>
                  </a:lnTo>
                  <a:lnTo>
                    <a:pt x="34" y="49"/>
                  </a:lnTo>
                  <a:lnTo>
                    <a:pt x="36" y="46"/>
                  </a:lnTo>
                  <a:lnTo>
                    <a:pt x="36" y="43"/>
                  </a:lnTo>
                  <a:lnTo>
                    <a:pt x="36" y="41"/>
                  </a:lnTo>
                  <a:lnTo>
                    <a:pt x="34" y="40"/>
                  </a:lnTo>
                  <a:lnTo>
                    <a:pt x="33" y="35"/>
                  </a:lnTo>
                  <a:lnTo>
                    <a:pt x="33" y="33"/>
                  </a:lnTo>
                  <a:lnTo>
                    <a:pt x="33" y="30"/>
                  </a:lnTo>
                  <a:lnTo>
                    <a:pt x="33" y="29"/>
                  </a:lnTo>
                  <a:lnTo>
                    <a:pt x="33" y="26"/>
                  </a:lnTo>
                  <a:lnTo>
                    <a:pt x="31" y="22"/>
                  </a:lnTo>
                  <a:lnTo>
                    <a:pt x="31" y="19"/>
                  </a:lnTo>
                  <a:lnTo>
                    <a:pt x="33" y="19"/>
                  </a:lnTo>
                  <a:lnTo>
                    <a:pt x="34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16"/>
                  </a:lnTo>
                  <a:lnTo>
                    <a:pt x="31" y="13"/>
                  </a:lnTo>
                  <a:lnTo>
                    <a:pt x="34" y="10"/>
                  </a:lnTo>
                  <a:lnTo>
                    <a:pt x="36" y="8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42" y="5"/>
                  </a:lnTo>
                  <a:lnTo>
                    <a:pt x="46" y="3"/>
                  </a:lnTo>
                  <a:lnTo>
                    <a:pt x="50" y="3"/>
                  </a:lnTo>
                  <a:lnTo>
                    <a:pt x="53" y="2"/>
                  </a:lnTo>
                  <a:lnTo>
                    <a:pt x="53" y="0"/>
                  </a:lnTo>
                  <a:lnTo>
                    <a:pt x="55" y="5"/>
                  </a:lnTo>
                  <a:lnTo>
                    <a:pt x="58" y="5"/>
                  </a:lnTo>
                  <a:lnTo>
                    <a:pt x="55" y="8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14"/>
                  </a:lnTo>
                  <a:lnTo>
                    <a:pt x="58" y="14"/>
                  </a:lnTo>
                  <a:lnTo>
                    <a:pt x="61" y="11"/>
                  </a:lnTo>
                  <a:lnTo>
                    <a:pt x="65" y="11"/>
                  </a:lnTo>
                  <a:lnTo>
                    <a:pt x="69" y="11"/>
                  </a:lnTo>
                  <a:lnTo>
                    <a:pt x="73" y="11"/>
                  </a:lnTo>
                  <a:lnTo>
                    <a:pt x="76" y="13"/>
                  </a:lnTo>
                  <a:lnTo>
                    <a:pt x="79" y="14"/>
                  </a:lnTo>
                  <a:lnTo>
                    <a:pt x="82" y="13"/>
                  </a:lnTo>
                  <a:lnTo>
                    <a:pt x="85" y="11"/>
                  </a:lnTo>
                  <a:lnTo>
                    <a:pt x="87" y="11"/>
                  </a:lnTo>
                  <a:lnTo>
                    <a:pt x="87" y="8"/>
                  </a:lnTo>
                  <a:lnTo>
                    <a:pt x="90" y="8"/>
                  </a:lnTo>
                  <a:lnTo>
                    <a:pt x="93" y="8"/>
                  </a:lnTo>
                  <a:lnTo>
                    <a:pt x="95" y="8"/>
                  </a:lnTo>
                  <a:lnTo>
                    <a:pt x="98" y="10"/>
                  </a:lnTo>
                  <a:lnTo>
                    <a:pt x="103" y="10"/>
                  </a:lnTo>
                  <a:lnTo>
                    <a:pt x="106" y="10"/>
                  </a:lnTo>
                  <a:lnTo>
                    <a:pt x="109" y="11"/>
                  </a:lnTo>
                  <a:lnTo>
                    <a:pt x="107" y="16"/>
                  </a:lnTo>
                  <a:lnTo>
                    <a:pt x="107" y="18"/>
                  </a:lnTo>
                  <a:lnTo>
                    <a:pt x="111" y="19"/>
                  </a:lnTo>
                  <a:lnTo>
                    <a:pt x="114" y="19"/>
                  </a:lnTo>
                  <a:lnTo>
                    <a:pt x="117" y="22"/>
                  </a:lnTo>
                  <a:lnTo>
                    <a:pt x="119" y="24"/>
                  </a:lnTo>
                  <a:lnTo>
                    <a:pt x="112" y="32"/>
                  </a:lnTo>
                  <a:lnTo>
                    <a:pt x="104" y="38"/>
                  </a:lnTo>
                  <a:lnTo>
                    <a:pt x="101" y="38"/>
                  </a:lnTo>
                  <a:lnTo>
                    <a:pt x="98" y="41"/>
                  </a:lnTo>
                  <a:lnTo>
                    <a:pt x="96" y="45"/>
                  </a:lnTo>
                  <a:lnTo>
                    <a:pt x="96" y="46"/>
                  </a:lnTo>
                  <a:lnTo>
                    <a:pt x="93" y="46"/>
                  </a:lnTo>
                  <a:lnTo>
                    <a:pt x="93" y="46"/>
                  </a:lnTo>
                  <a:lnTo>
                    <a:pt x="93" y="46"/>
                  </a:lnTo>
                  <a:lnTo>
                    <a:pt x="93" y="48"/>
                  </a:lnTo>
                  <a:lnTo>
                    <a:pt x="93" y="48"/>
                  </a:lnTo>
                  <a:lnTo>
                    <a:pt x="95" y="51"/>
                  </a:lnTo>
                  <a:lnTo>
                    <a:pt x="96" y="53"/>
                  </a:lnTo>
                  <a:lnTo>
                    <a:pt x="95" y="57"/>
                  </a:lnTo>
                  <a:lnTo>
                    <a:pt x="96" y="60"/>
                  </a:lnTo>
                  <a:lnTo>
                    <a:pt x="95" y="64"/>
                  </a:lnTo>
                  <a:lnTo>
                    <a:pt x="95" y="64"/>
                  </a:lnTo>
                  <a:lnTo>
                    <a:pt x="95" y="67"/>
                  </a:lnTo>
                  <a:lnTo>
                    <a:pt x="93" y="72"/>
                  </a:lnTo>
                  <a:lnTo>
                    <a:pt x="95" y="75"/>
                  </a:lnTo>
                  <a:lnTo>
                    <a:pt x="93" y="76"/>
                  </a:lnTo>
                  <a:lnTo>
                    <a:pt x="90" y="78"/>
                  </a:lnTo>
                  <a:lnTo>
                    <a:pt x="87" y="81"/>
                  </a:lnTo>
                  <a:lnTo>
                    <a:pt x="90" y="84"/>
                  </a:lnTo>
                  <a:lnTo>
                    <a:pt x="92" y="87"/>
                  </a:lnTo>
                  <a:lnTo>
                    <a:pt x="90" y="91"/>
                  </a:lnTo>
                  <a:lnTo>
                    <a:pt x="88" y="95"/>
                  </a:lnTo>
                  <a:lnTo>
                    <a:pt x="87" y="95"/>
                  </a:lnTo>
                  <a:lnTo>
                    <a:pt x="87" y="95"/>
                  </a:lnTo>
                  <a:lnTo>
                    <a:pt x="87" y="99"/>
                  </a:lnTo>
                  <a:lnTo>
                    <a:pt x="85" y="102"/>
                  </a:lnTo>
                  <a:lnTo>
                    <a:pt x="84" y="102"/>
                  </a:lnTo>
                  <a:lnTo>
                    <a:pt x="80" y="102"/>
                  </a:lnTo>
                  <a:lnTo>
                    <a:pt x="77" y="102"/>
                  </a:lnTo>
                  <a:lnTo>
                    <a:pt x="74" y="102"/>
                  </a:lnTo>
                  <a:lnTo>
                    <a:pt x="69" y="102"/>
                  </a:lnTo>
                  <a:lnTo>
                    <a:pt x="68" y="102"/>
                  </a:lnTo>
                  <a:lnTo>
                    <a:pt x="71" y="105"/>
                  </a:lnTo>
                  <a:lnTo>
                    <a:pt x="73" y="108"/>
                  </a:lnTo>
                  <a:lnTo>
                    <a:pt x="76" y="110"/>
                  </a:lnTo>
                  <a:lnTo>
                    <a:pt x="74" y="113"/>
                  </a:lnTo>
                  <a:lnTo>
                    <a:pt x="76" y="114"/>
                  </a:lnTo>
                  <a:lnTo>
                    <a:pt x="77" y="118"/>
                  </a:lnTo>
                  <a:lnTo>
                    <a:pt x="77" y="118"/>
                  </a:lnTo>
                  <a:lnTo>
                    <a:pt x="79" y="121"/>
                  </a:lnTo>
                  <a:lnTo>
                    <a:pt x="82" y="124"/>
                  </a:lnTo>
                  <a:lnTo>
                    <a:pt x="84" y="124"/>
                  </a:lnTo>
                  <a:lnTo>
                    <a:pt x="85" y="127"/>
                  </a:lnTo>
                  <a:lnTo>
                    <a:pt x="85" y="127"/>
                  </a:lnTo>
                  <a:lnTo>
                    <a:pt x="87" y="127"/>
                  </a:lnTo>
                  <a:lnTo>
                    <a:pt x="84" y="133"/>
                  </a:lnTo>
                  <a:lnTo>
                    <a:pt x="77" y="138"/>
                  </a:lnTo>
                  <a:lnTo>
                    <a:pt x="77" y="138"/>
                  </a:lnTo>
                  <a:lnTo>
                    <a:pt x="74" y="141"/>
                  </a:lnTo>
                  <a:lnTo>
                    <a:pt x="74" y="146"/>
                  </a:lnTo>
                  <a:lnTo>
                    <a:pt x="73" y="149"/>
                  </a:lnTo>
                  <a:lnTo>
                    <a:pt x="73" y="149"/>
                  </a:lnTo>
                  <a:lnTo>
                    <a:pt x="73" y="149"/>
                  </a:lnTo>
                  <a:lnTo>
                    <a:pt x="73" y="151"/>
                  </a:lnTo>
                  <a:lnTo>
                    <a:pt x="74" y="154"/>
                  </a:lnTo>
                  <a:lnTo>
                    <a:pt x="77" y="157"/>
                  </a:lnTo>
                  <a:lnTo>
                    <a:pt x="79" y="160"/>
                  </a:lnTo>
                  <a:lnTo>
                    <a:pt x="79" y="162"/>
                  </a:lnTo>
                  <a:lnTo>
                    <a:pt x="82" y="160"/>
                  </a:lnTo>
                  <a:lnTo>
                    <a:pt x="84" y="160"/>
                  </a:lnTo>
                  <a:lnTo>
                    <a:pt x="84" y="164"/>
                  </a:lnTo>
                  <a:lnTo>
                    <a:pt x="82" y="168"/>
                  </a:lnTo>
                  <a:lnTo>
                    <a:pt x="79" y="167"/>
                  </a:lnTo>
                  <a:lnTo>
                    <a:pt x="74" y="170"/>
                  </a:lnTo>
                  <a:lnTo>
                    <a:pt x="73" y="170"/>
                  </a:lnTo>
                  <a:lnTo>
                    <a:pt x="73" y="171"/>
                  </a:lnTo>
                  <a:lnTo>
                    <a:pt x="69" y="178"/>
                  </a:lnTo>
                  <a:lnTo>
                    <a:pt x="63" y="187"/>
                  </a:lnTo>
                  <a:lnTo>
                    <a:pt x="63" y="189"/>
                  </a:lnTo>
                  <a:lnTo>
                    <a:pt x="65" y="192"/>
                  </a:lnTo>
                  <a:lnTo>
                    <a:pt x="65" y="195"/>
                  </a:lnTo>
                  <a:lnTo>
                    <a:pt x="66" y="198"/>
                  </a:lnTo>
                  <a:lnTo>
                    <a:pt x="65" y="200"/>
                  </a:lnTo>
                  <a:lnTo>
                    <a:pt x="66" y="202"/>
                  </a:lnTo>
                  <a:lnTo>
                    <a:pt x="58" y="206"/>
                  </a:lnTo>
                  <a:lnTo>
                    <a:pt x="49" y="210"/>
                  </a:lnTo>
                  <a:lnTo>
                    <a:pt x="46" y="208"/>
                  </a:lnTo>
                  <a:lnTo>
                    <a:pt x="42" y="206"/>
                  </a:lnTo>
                  <a:lnTo>
                    <a:pt x="38" y="206"/>
                  </a:lnTo>
                  <a:lnTo>
                    <a:pt x="34" y="206"/>
                  </a:lnTo>
                  <a:lnTo>
                    <a:pt x="31" y="206"/>
                  </a:lnTo>
                  <a:lnTo>
                    <a:pt x="28" y="205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5"/>
                  </a:lnTo>
                  <a:lnTo>
                    <a:pt x="23" y="205"/>
                  </a:lnTo>
                  <a:lnTo>
                    <a:pt x="20" y="206"/>
                  </a:lnTo>
                  <a:lnTo>
                    <a:pt x="17" y="208"/>
                  </a:lnTo>
                  <a:lnTo>
                    <a:pt x="14" y="210"/>
                  </a:lnTo>
                  <a:lnTo>
                    <a:pt x="14" y="206"/>
                  </a:lnTo>
                  <a:lnTo>
                    <a:pt x="15" y="203"/>
                  </a:lnTo>
                  <a:lnTo>
                    <a:pt x="17" y="200"/>
                  </a:lnTo>
                  <a:lnTo>
                    <a:pt x="17" y="197"/>
                  </a:lnTo>
                  <a:lnTo>
                    <a:pt x="19" y="192"/>
                  </a:lnTo>
                  <a:lnTo>
                    <a:pt x="20" y="192"/>
                  </a:lnTo>
                  <a:lnTo>
                    <a:pt x="20" y="189"/>
                  </a:lnTo>
                  <a:lnTo>
                    <a:pt x="20" y="184"/>
                  </a:lnTo>
                  <a:lnTo>
                    <a:pt x="20" y="181"/>
                  </a:lnTo>
                  <a:lnTo>
                    <a:pt x="22" y="181"/>
                  </a:lnTo>
                  <a:lnTo>
                    <a:pt x="22" y="176"/>
                  </a:lnTo>
                  <a:lnTo>
                    <a:pt x="22" y="173"/>
                  </a:lnTo>
                  <a:lnTo>
                    <a:pt x="19" y="171"/>
                  </a:lnTo>
                  <a:lnTo>
                    <a:pt x="22" y="165"/>
                  </a:lnTo>
                  <a:lnTo>
                    <a:pt x="23" y="160"/>
                  </a:lnTo>
                  <a:lnTo>
                    <a:pt x="23" y="156"/>
                  </a:lnTo>
                  <a:lnTo>
                    <a:pt x="20" y="149"/>
                  </a:lnTo>
                  <a:lnTo>
                    <a:pt x="22" y="152"/>
                  </a:lnTo>
                  <a:lnTo>
                    <a:pt x="25" y="149"/>
                  </a:lnTo>
                  <a:lnTo>
                    <a:pt x="25" y="146"/>
                  </a:lnTo>
                  <a:lnTo>
                    <a:pt x="25" y="146"/>
                  </a:lnTo>
                  <a:lnTo>
                    <a:pt x="22" y="149"/>
                  </a:lnTo>
                  <a:lnTo>
                    <a:pt x="19" y="148"/>
                  </a:lnTo>
                  <a:lnTo>
                    <a:pt x="15" y="151"/>
                  </a:lnTo>
                  <a:lnTo>
                    <a:pt x="12" y="151"/>
                  </a:lnTo>
                  <a:lnTo>
                    <a:pt x="9" y="152"/>
                  </a:lnTo>
                  <a:lnTo>
                    <a:pt x="9" y="149"/>
                  </a:lnTo>
                  <a:lnTo>
                    <a:pt x="9" y="146"/>
                  </a:lnTo>
                  <a:lnTo>
                    <a:pt x="11" y="141"/>
                  </a:lnTo>
                  <a:lnTo>
                    <a:pt x="11" y="141"/>
                  </a:lnTo>
                  <a:lnTo>
                    <a:pt x="14" y="143"/>
                  </a:lnTo>
                  <a:lnTo>
                    <a:pt x="15" y="140"/>
                  </a:lnTo>
                  <a:lnTo>
                    <a:pt x="19" y="138"/>
                  </a:lnTo>
                  <a:lnTo>
                    <a:pt x="19" y="135"/>
                  </a:lnTo>
                  <a:lnTo>
                    <a:pt x="17" y="132"/>
                  </a:lnTo>
                  <a:lnTo>
                    <a:pt x="19" y="130"/>
                  </a:lnTo>
                  <a:lnTo>
                    <a:pt x="15" y="135"/>
                  </a:lnTo>
                  <a:lnTo>
                    <a:pt x="11" y="140"/>
                  </a:lnTo>
                  <a:lnTo>
                    <a:pt x="7" y="141"/>
                  </a:lnTo>
                  <a:lnTo>
                    <a:pt x="6" y="141"/>
                  </a:lnTo>
                  <a:lnTo>
                    <a:pt x="3" y="140"/>
                  </a:lnTo>
                  <a:lnTo>
                    <a:pt x="0" y="137"/>
                  </a:lnTo>
                  <a:lnTo>
                    <a:pt x="3" y="133"/>
                  </a:lnTo>
                  <a:lnTo>
                    <a:pt x="4" y="130"/>
                  </a:lnTo>
                  <a:lnTo>
                    <a:pt x="4" y="127"/>
                  </a:lnTo>
                  <a:lnTo>
                    <a:pt x="4" y="122"/>
                  </a:lnTo>
                  <a:lnTo>
                    <a:pt x="7" y="119"/>
                  </a:lnTo>
                  <a:lnTo>
                    <a:pt x="7" y="116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38" name="Freeform 588"/>
            <p:cNvSpPr>
              <a:spLocks/>
            </p:cNvSpPr>
            <p:nvPr/>
          </p:nvSpPr>
          <p:spPr bwMode="auto">
            <a:xfrm>
              <a:off x="5553185" y="3204202"/>
              <a:ext cx="288191" cy="314791"/>
            </a:xfrm>
            <a:custGeom>
              <a:avLst/>
              <a:gdLst>
                <a:gd name="T0" fmla="*/ 15 w 391"/>
                <a:gd name="T1" fmla="*/ 71 h 371"/>
                <a:gd name="T2" fmla="*/ 9 w 391"/>
                <a:gd name="T3" fmla="*/ 49 h 371"/>
                <a:gd name="T4" fmla="*/ 34 w 391"/>
                <a:gd name="T5" fmla="*/ 46 h 371"/>
                <a:gd name="T6" fmla="*/ 52 w 391"/>
                <a:gd name="T7" fmla="*/ 32 h 371"/>
                <a:gd name="T8" fmla="*/ 68 w 391"/>
                <a:gd name="T9" fmla="*/ 40 h 371"/>
                <a:gd name="T10" fmla="*/ 77 w 391"/>
                <a:gd name="T11" fmla="*/ 51 h 371"/>
                <a:gd name="T12" fmla="*/ 87 w 391"/>
                <a:gd name="T13" fmla="*/ 32 h 371"/>
                <a:gd name="T14" fmla="*/ 101 w 391"/>
                <a:gd name="T15" fmla="*/ 29 h 371"/>
                <a:gd name="T16" fmla="*/ 111 w 391"/>
                <a:gd name="T17" fmla="*/ 25 h 371"/>
                <a:gd name="T18" fmla="*/ 123 w 391"/>
                <a:gd name="T19" fmla="*/ 14 h 371"/>
                <a:gd name="T20" fmla="*/ 141 w 391"/>
                <a:gd name="T21" fmla="*/ 13 h 371"/>
                <a:gd name="T22" fmla="*/ 165 w 391"/>
                <a:gd name="T23" fmla="*/ 3 h 371"/>
                <a:gd name="T24" fmla="*/ 184 w 391"/>
                <a:gd name="T25" fmla="*/ 9 h 371"/>
                <a:gd name="T26" fmla="*/ 228 w 391"/>
                <a:gd name="T27" fmla="*/ 22 h 371"/>
                <a:gd name="T28" fmla="*/ 228 w 391"/>
                <a:gd name="T29" fmla="*/ 36 h 371"/>
                <a:gd name="T30" fmla="*/ 225 w 391"/>
                <a:gd name="T31" fmla="*/ 51 h 371"/>
                <a:gd name="T32" fmla="*/ 226 w 391"/>
                <a:gd name="T33" fmla="*/ 54 h 371"/>
                <a:gd name="T34" fmla="*/ 211 w 391"/>
                <a:gd name="T35" fmla="*/ 55 h 371"/>
                <a:gd name="T36" fmla="*/ 191 w 391"/>
                <a:gd name="T37" fmla="*/ 63 h 371"/>
                <a:gd name="T38" fmla="*/ 179 w 391"/>
                <a:gd name="T39" fmla="*/ 73 h 371"/>
                <a:gd name="T40" fmla="*/ 191 w 391"/>
                <a:gd name="T41" fmla="*/ 86 h 371"/>
                <a:gd name="T42" fmla="*/ 182 w 391"/>
                <a:gd name="T43" fmla="*/ 97 h 371"/>
                <a:gd name="T44" fmla="*/ 190 w 391"/>
                <a:gd name="T45" fmla="*/ 117 h 371"/>
                <a:gd name="T46" fmla="*/ 222 w 391"/>
                <a:gd name="T47" fmla="*/ 140 h 371"/>
                <a:gd name="T48" fmla="*/ 264 w 391"/>
                <a:gd name="T49" fmla="*/ 200 h 371"/>
                <a:gd name="T50" fmla="*/ 290 w 391"/>
                <a:gd name="T51" fmla="*/ 209 h 371"/>
                <a:gd name="T52" fmla="*/ 309 w 391"/>
                <a:gd name="T53" fmla="*/ 217 h 371"/>
                <a:gd name="T54" fmla="*/ 325 w 391"/>
                <a:gd name="T55" fmla="*/ 235 h 371"/>
                <a:gd name="T56" fmla="*/ 364 w 391"/>
                <a:gd name="T57" fmla="*/ 255 h 371"/>
                <a:gd name="T58" fmla="*/ 388 w 391"/>
                <a:gd name="T59" fmla="*/ 273 h 371"/>
                <a:gd name="T60" fmla="*/ 375 w 391"/>
                <a:gd name="T61" fmla="*/ 285 h 371"/>
                <a:gd name="T62" fmla="*/ 350 w 391"/>
                <a:gd name="T63" fmla="*/ 270 h 371"/>
                <a:gd name="T64" fmla="*/ 342 w 391"/>
                <a:gd name="T65" fmla="*/ 265 h 371"/>
                <a:gd name="T66" fmla="*/ 329 w 391"/>
                <a:gd name="T67" fmla="*/ 284 h 371"/>
                <a:gd name="T68" fmla="*/ 337 w 391"/>
                <a:gd name="T69" fmla="*/ 304 h 371"/>
                <a:gd name="T70" fmla="*/ 348 w 391"/>
                <a:gd name="T71" fmla="*/ 325 h 371"/>
                <a:gd name="T72" fmla="*/ 328 w 391"/>
                <a:gd name="T73" fmla="*/ 341 h 371"/>
                <a:gd name="T74" fmla="*/ 317 w 391"/>
                <a:gd name="T75" fmla="*/ 363 h 371"/>
                <a:gd name="T76" fmla="*/ 298 w 391"/>
                <a:gd name="T77" fmla="*/ 360 h 371"/>
                <a:gd name="T78" fmla="*/ 312 w 391"/>
                <a:gd name="T79" fmla="*/ 338 h 371"/>
                <a:gd name="T80" fmla="*/ 312 w 391"/>
                <a:gd name="T81" fmla="*/ 317 h 371"/>
                <a:gd name="T82" fmla="*/ 298 w 391"/>
                <a:gd name="T83" fmla="*/ 284 h 371"/>
                <a:gd name="T84" fmla="*/ 276 w 391"/>
                <a:gd name="T85" fmla="*/ 277 h 371"/>
                <a:gd name="T86" fmla="*/ 258 w 391"/>
                <a:gd name="T87" fmla="*/ 260 h 371"/>
                <a:gd name="T88" fmla="*/ 244 w 391"/>
                <a:gd name="T89" fmla="*/ 251 h 371"/>
                <a:gd name="T90" fmla="*/ 233 w 391"/>
                <a:gd name="T91" fmla="*/ 236 h 371"/>
                <a:gd name="T92" fmla="*/ 190 w 391"/>
                <a:gd name="T93" fmla="*/ 220 h 371"/>
                <a:gd name="T94" fmla="*/ 169 w 391"/>
                <a:gd name="T95" fmla="*/ 203 h 371"/>
                <a:gd name="T96" fmla="*/ 153 w 391"/>
                <a:gd name="T97" fmla="*/ 189 h 371"/>
                <a:gd name="T98" fmla="*/ 136 w 391"/>
                <a:gd name="T99" fmla="*/ 173 h 371"/>
                <a:gd name="T100" fmla="*/ 122 w 391"/>
                <a:gd name="T101" fmla="*/ 146 h 371"/>
                <a:gd name="T102" fmla="*/ 114 w 391"/>
                <a:gd name="T103" fmla="*/ 125 h 371"/>
                <a:gd name="T104" fmla="*/ 93 w 391"/>
                <a:gd name="T105" fmla="*/ 116 h 371"/>
                <a:gd name="T106" fmla="*/ 69 w 391"/>
                <a:gd name="T107" fmla="*/ 106 h 371"/>
                <a:gd name="T108" fmla="*/ 52 w 391"/>
                <a:gd name="T109" fmla="*/ 122 h 371"/>
                <a:gd name="T110" fmla="*/ 33 w 391"/>
                <a:gd name="T111" fmla="*/ 133 h 371"/>
                <a:gd name="T112" fmla="*/ 27 w 391"/>
                <a:gd name="T113" fmla="*/ 119 h 371"/>
                <a:gd name="T114" fmla="*/ 9 w 391"/>
                <a:gd name="T115" fmla="*/ 100 h 371"/>
                <a:gd name="T116" fmla="*/ 4 w 391"/>
                <a:gd name="T117" fmla="*/ 84 h 3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91" h="371">
                  <a:moveTo>
                    <a:pt x="0" y="79"/>
                  </a:moveTo>
                  <a:lnTo>
                    <a:pt x="1" y="79"/>
                  </a:lnTo>
                  <a:lnTo>
                    <a:pt x="1" y="78"/>
                  </a:lnTo>
                  <a:lnTo>
                    <a:pt x="6" y="78"/>
                  </a:lnTo>
                  <a:lnTo>
                    <a:pt x="9" y="78"/>
                  </a:lnTo>
                  <a:lnTo>
                    <a:pt x="11" y="76"/>
                  </a:lnTo>
                  <a:lnTo>
                    <a:pt x="14" y="74"/>
                  </a:lnTo>
                  <a:lnTo>
                    <a:pt x="15" y="71"/>
                  </a:lnTo>
                  <a:lnTo>
                    <a:pt x="19" y="68"/>
                  </a:lnTo>
                  <a:lnTo>
                    <a:pt x="15" y="65"/>
                  </a:lnTo>
                  <a:lnTo>
                    <a:pt x="12" y="60"/>
                  </a:lnTo>
                  <a:lnTo>
                    <a:pt x="12" y="57"/>
                  </a:lnTo>
                  <a:lnTo>
                    <a:pt x="9" y="55"/>
                  </a:lnTo>
                  <a:lnTo>
                    <a:pt x="6" y="52"/>
                  </a:lnTo>
                  <a:lnTo>
                    <a:pt x="6" y="52"/>
                  </a:lnTo>
                  <a:lnTo>
                    <a:pt x="9" y="49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7" y="48"/>
                  </a:lnTo>
                  <a:lnTo>
                    <a:pt x="25" y="46"/>
                  </a:lnTo>
                  <a:lnTo>
                    <a:pt x="28" y="46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4" y="46"/>
                  </a:lnTo>
                  <a:lnTo>
                    <a:pt x="38" y="46"/>
                  </a:lnTo>
                  <a:lnTo>
                    <a:pt x="41" y="46"/>
                  </a:lnTo>
                  <a:lnTo>
                    <a:pt x="44" y="44"/>
                  </a:lnTo>
                  <a:lnTo>
                    <a:pt x="46" y="40"/>
                  </a:lnTo>
                  <a:lnTo>
                    <a:pt x="49" y="38"/>
                  </a:lnTo>
                  <a:lnTo>
                    <a:pt x="50" y="36"/>
                  </a:lnTo>
                  <a:lnTo>
                    <a:pt x="49" y="32"/>
                  </a:lnTo>
                  <a:lnTo>
                    <a:pt x="52" y="32"/>
                  </a:lnTo>
                  <a:lnTo>
                    <a:pt x="55" y="29"/>
                  </a:lnTo>
                  <a:lnTo>
                    <a:pt x="57" y="25"/>
                  </a:lnTo>
                  <a:lnTo>
                    <a:pt x="60" y="29"/>
                  </a:lnTo>
                  <a:lnTo>
                    <a:pt x="60" y="32"/>
                  </a:lnTo>
                  <a:lnTo>
                    <a:pt x="63" y="36"/>
                  </a:lnTo>
                  <a:lnTo>
                    <a:pt x="65" y="38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9" y="40"/>
                  </a:lnTo>
                  <a:lnTo>
                    <a:pt x="71" y="43"/>
                  </a:lnTo>
                  <a:lnTo>
                    <a:pt x="71" y="44"/>
                  </a:lnTo>
                  <a:lnTo>
                    <a:pt x="73" y="44"/>
                  </a:lnTo>
                  <a:lnTo>
                    <a:pt x="74" y="48"/>
                  </a:lnTo>
                  <a:lnTo>
                    <a:pt x="74" y="51"/>
                  </a:lnTo>
                  <a:lnTo>
                    <a:pt x="77" y="51"/>
                  </a:lnTo>
                  <a:lnTo>
                    <a:pt x="79" y="49"/>
                  </a:lnTo>
                  <a:lnTo>
                    <a:pt x="79" y="46"/>
                  </a:lnTo>
                  <a:lnTo>
                    <a:pt x="79" y="43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82" y="36"/>
                  </a:lnTo>
                  <a:lnTo>
                    <a:pt x="85" y="35"/>
                  </a:lnTo>
                  <a:lnTo>
                    <a:pt x="87" y="32"/>
                  </a:lnTo>
                  <a:lnTo>
                    <a:pt x="87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7"/>
                  </a:lnTo>
                  <a:lnTo>
                    <a:pt x="93" y="30"/>
                  </a:lnTo>
                  <a:lnTo>
                    <a:pt x="98" y="32"/>
                  </a:lnTo>
                  <a:lnTo>
                    <a:pt x="101" y="30"/>
                  </a:lnTo>
                  <a:lnTo>
                    <a:pt x="101" y="29"/>
                  </a:lnTo>
                  <a:lnTo>
                    <a:pt x="104" y="29"/>
                  </a:lnTo>
                  <a:lnTo>
                    <a:pt x="107" y="29"/>
                  </a:lnTo>
                  <a:lnTo>
                    <a:pt x="109" y="32"/>
                  </a:lnTo>
                  <a:lnTo>
                    <a:pt x="109" y="32"/>
                  </a:lnTo>
                  <a:lnTo>
                    <a:pt x="112" y="35"/>
                  </a:lnTo>
                  <a:lnTo>
                    <a:pt x="114" y="32"/>
                  </a:lnTo>
                  <a:lnTo>
                    <a:pt x="114" y="27"/>
                  </a:lnTo>
                  <a:lnTo>
                    <a:pt x="111" y="25"/>
                  </a:lnTo>
                  <a:lnTo>
                    <a:pt x="111" y="22"/>
                  </a:lnTo>
                  <a:lnTo>
                    <a:pt x="114" y="19"/>
                  </a:lnTo>
                  <a:lnTo>
                    <a:pt x="117" y="17"/>
                  </a:lnTo>
                  <a:lnTo>
                    <a:pt x="120" y="22"/>
                  </a:lnTo>
                  <a:lnTo>
                    <a:pt x="123" y="22"/>
                  </a:lnTo>
                  <a:lnTo>
                    <a:pt x="123" y="22"/>
                  </a:lnTo>
                  <a:lnTo>
                    <a:pt x="125" y="19"/>
                  </a:lnTo>
                  <a:lnTo>
                    <a:pt x="123" y="14"/>
                  </a:lnTo>
                  <a:lnTo>
                    <a:pt x="123" y="11"/>
                  </a:lnTo>
                  <a:lnTo>
                    <a:pt x="125" y="8"/>
                  </a:lnTo>
                  <a:lnTo>
                    <a:pt x="125" y="9"/>
                  </a:lnTo>
                  <a:lnTo>
                    <a:pt x="130" y="9"/>
                  </a:lnTo>
                  <a:lnTo>
                    <a:pt x="133" y="9"/>
                  </a:lnTo>
                  <a:lnTo>
                    <a:pt x="136" y="13"/>
                  </a:lnTo>
                  <a:lnTo>
                    <a:pt x="138" y="13"/>
                  </a:lnTo>
                  <a:lnTo>
                    <a:pt x="141" y="13"/>
                  </a:lnTo>
                  <a:lnTo>
                    <a:pt x="144" y="9"/>
                  </a:lnTo>
                  <a:lnTo>
                    <a:pt x="145" y="5"/>
                  </a:lnTo>
                  <a:lnTo>
                    <a:pt x="150" y="5"/>
                  </a:lnTo>
                  <a:lnTo>
                    <a:pt x="153" y="5"/>
                  </a:lnTo>
                  <a:lnTo>
                    <a:pt x="157" y="3"/>
                  </a:lnTo>
                  <a:lnTo>
                    <a:pt x="157" y="3"/>
                  </a:lnTo>
                  <a:lnTo>
                    <a:pt x="161" y="3"/>
                  </a:lnTo>
                  <a:lnTo>
                    <a:pt x="165" y="3"/>
                  </a:lnTo>
                  <a:lnTo>
                    <a:pt x="168" y="3"/>
                  </a:lnTo>
                  <a:lnTo>
                    <a:pt x="171" y="2"/>
                  </a:lnTo>
                  <a:lnTo>
                    <a:pt x="174" y="2"/>
                  </a:lnTo>
                  <a:lnTo>
                    <a:pt x="177" y="0"/>
                  </a:lnTo>
                  <a:lnTo>
                    <a:pt x="180" y="0"/>
                  </a:lnTo>
                  <a:lnTo>
                    <a:pt x="177" y="3"/>
                  </a:lnTo>
                  <a:lnTo>
                    <a:pt x="179" y="8"/>
                  </a:lnTo>
                  <a:lnTo>
                    <a:pt x="184" y="9"/>
                  </a:lnTo>
                  <a:lnTo>
                    <a:pt x="185" y="13"/>
                  </a:lnTo>
                  <a:lnTo>
                    <a:pt x="185" y="13"/>
                  </a:lnTo>
                  <a:lnTo>
                    <a:pt x="185" y="14"/>
                  </a:lnTo>
                  <a:lnTo>
                    <a:pt x="185" y="14"/>
                  </a:lnTo>
                  <a:lnTo>
                    <a:pt x="196" y="17"/>
                  </a:lnTo>
                  <a:lnTo>
                    <a:pt x="207" y="19"/>
                  </a:lnTo>
                  <a:lnTo>
                    <a:pt x="218" y="21"/>
                  </a:lnTo>
                  <a:lnTo>
                    <a:pt x="228" y="22"/>
                  </a:lnTo>
                  <a:lnTo>
                    <a:pt x="228" y="24"/>
                  </a:lnTo>
                  <a:lnTo>
                    <a:pt x="228" y="25"/>
                  </a:lnTo>
                  <a:lnTo>
                    <a:pt x="225" y="27"/>
                  </a:lnTo>
                  <a:lnTo>
                    <a:pt x="220" y="29"/>
                  </a:lnTo>
                  <a:lnTo>
                    <a:pt x="218" y="32"/>
                  </a:lnTo>
                  <a:lnTo>
                    <a:pt x="222" y="35"/>
                  </a:lnTo>
                  <a:lnTo>
                    <a:pt x="225" y="36"/>
                  </a:lnTo>
                  <a:lnTo>
                    <a:pt x="228" y="36"/>
                  </a:lnTo>
                  <a:lnTo>
                    <a:pt x="223" y="40"/>
                  </a:lnTo>
                  <a:lnTo>
                    <a:pt x="222" y="41"/>
                  </a:lnTo>
                  <a:lnTo>
                    <a:pt x="223" y="44"/>
                  </a:lnTo>
                  <a:lnTo>
                    <a:pt x="226" y="46"/>
                  </a:lnTo>
                  <a:lnTo>
                    <a:pt x="226" y="46"/>
                  </a:lnTo>
                  <a:lnTo>
                    <a:pt x="225" y="51"/>
                  </a:lnTo>
                  <a:lnTo>
                    <a:pt x="225" y="51"/>
                  </a:lnTo>
                  <a:lnTo>
                    <a:pt x="225" y="51"/>
                  </a:lnTo>
                  <a:lnTo>
                    <a:pt x="230" y="52"/>
                  </a:lnTo>
                  <a:lnTo>
                    <a:pt x="233" y="55"/>
                  </a:lnTo>
                  <a:lnTo>
                    <a:pt x="234" y="59"/>
                  </a:lnTo>
                  <a:lnTo>
                    <a:pt x="234" y="59"/>
                  </a:lnTo>
                  <a:lnTo>
                    <a:pt x="233" y="60"/>
                  </a:lnTo>
                  <a:lnTo>
                    <a:pt x="230" y="60"/>
                  </a:lnTo>
                  <a:lnTo>
                    <a:pt x="230" y="55"/>
                  </a:lnTo>
                  <a:lnTo>
                    <a:pt x="226" y="54"/>
                  </a:lnTo>
                  <a:lnTo>
                    <a:pt x="225" y="52"/>
                  </a:lnTo>
                  <a:lnTo>
                    <a:pt x="222" y="55"/>
                  </a:lnTo>
                  <a:lnTo>
                    <a:pt x="218" y="55"/>
                  </a:lnTo>
                  <a:lnTo>
                    <a:pt x="218" y="54"/>
                  </a:lnTo>
                  <a:lnTo>
                    <a:pt x="218" y="54"/>
                  </a:lnTo>
                  <a:lnTo>
                    <a:pt x="215" y="54"/>
                  </a:lnTo>
                  <a:lnTo>
                    <a:pt x="212" y="52"/>
                  </a:lnTo>
                  <a:lnTo>
                    <a:pt x="211" y="55"/>
                  </a:lnTo>
                  <a:lnTo>
                    <a:pt x="209" y="57"/>
                  </a:lnTo>
                  <a:lnTo>
                    <a:pt x="206" y="59"/>
                  </a:lnTo>
                  <a:lnTo>
                    <a:pt x="203" y="60"/>
                  </a:lnTo>
                  <a:lnTo>
                    <a:pt x="198" y="62"/>
                  </a:lnTo>
                  <a:lnTo>
                    <a:pt x="196" y="62"/>
                  </a:lnTo>
                  <a:lnTo>
                    <a:pt x="190" y="65"/>
                  </a:lnTo>
                  <a:lnTo>
                    <a:pt x="188" y="65"/>
                  </a:lnTo>
                  <a:lnTo>
                    <a:pt x="191" y="63"/>
                  </a:lnTo>
                  <a:lnTo>
                    <a:pt x="185" y="63"/>
                  </a:lnTo>
                  <a:lnTo>
                    <a:pt x="182" y="65"/>
                  </a:lnTo>
                  <a:lnTo>
                    <a:pt x="182" y="67"/>
                  </a:lnTo>
                  <a:lnTo>
                    <a:pt x="180" y="71"/>
                  </a:lnTo>
                  <a:lnTo>
                    <a:pt x="179" y="71"/>
                  </a:lnTo>
                  <a:lnTo>
                    <a:pt x="179" y="71"/>
                  </a:lnTo>
                  <a:lnTo>
                    <a:pt x="179" y="71"/>
                  </a:lnTo>
                  <a:lnTo>
                    <a:pt x="179" y="73"/>
                  </a:lnTo>
                  <a:lnTo>
                    <a:pt x="180" y="73"/>
                  </a:lnTo>
                  <a:lnTo>
                    <a:pt x="180" y="74"/>
                  </a:lnTo>
                  <a:lnTo>
                    <a:pt x="182" y="74"/>
                  </a:lnTo>
                  <a:lnTo>
                    <a:pt x="184" y="78"/>
                  </a:lnTo>
                  <a:lnTo>
                    <a:pt x="184" y="81"/>
                  </a:lnTo>
                  <a:lnTo>
                    <a:pt x="187" y="82"/>
                  </a:lnTo>
                  <a:lnTo>
                    <a:pt x="188" y="84"/>
                  </a:lnTo>
                  <a:lnTo>
                    <a:pt x="191" y="86"/>
                  </a:lnTo>
                  <a:lnTo>
                    <a:pt x="191" y="87"/>
                  </a:lnTo>
                  <a:lnTo>
                    <a:pt x="188" y="90"/>
                  </a:lnTo>
                  <a:lnTo>
                    <a:pt x="188" y="92"/>
                  </a:lnTo>
                  <a:lnTo>
                    <a:pt x="187" y="92"/>
                  </a:lnTo>
                  <a:lnTo>
                    <a:pt x="184" y="90"/>
                  </a:lnTo>
                  <a:lnTo>
                    <a:pt x="184" y="90"/>
                  </a:lnTo>
                  <a:lnTo>
                    <a:pt x="182" y="94"/>
                  </a:lnTo>
                  <a:lnTo>
                    <a:pt x="182" y="97"/>
                  </a:lnTo>
                  <a:lnTo>
                    <a:pt x="184" y="98"/>
                  </a:lnTo>
                  <a:lnTo>
                    <a:pt x="184" y="98"/>
                  </a:lnTo>
                  <a:lnTo>
                    <a:pt x="184" y="103"/>
                  </a:lnTo>
                  <a:lnTo>
                    <a:pt x="184" y="106"/>
                  </a:lnTo>
                  <a:lnTo>
                    <a:pt x="185" y="109"/>
                  </a:lnTo>
                  <a:lnTo>
                    <a:pt x="187" y="113"/>
                  </a:lnTo>
                  <a:lnTo>
                    <a:pt x="187" y="114"/>
                  </a:lnTo>
                  <a:lnTo>
                    <a:pt x="190" y="117"/>
                  </a:lnTo>
                  <a:lnTo>
                    <a:pt x="193" y="120"/>
                  </a:lnTo>
                  <a:lnTo>
                    <a:pt x="196" y="124"/>
                  </a:lnTo>
                  <a:lnTo>
                    <a:pt x="199" y="125"/>
                  </a:lnTo>
                  <a:lnTo>
                    <a:pt x="206" y="128"/>
                  </a:lnTo>
                  <a:lnTo>
                    <a:pt x="209" y="130"/>
                  </a:lnTo>
                  <a:lnTo>
                    <a:pt x="212" y="133"/>
                  </a:lnTo>
                  <a:lnTo>
                    <a:pt x="212" y="133"/>
                  </a:lnTo>
                  <a:lnTo>
                    <a:pt x="222" y="140"/>
                  </a:lnTo>
                  <a:lnTo>
                    <a:pt x="225" y="141"/>
                  </a:lnTo>
                  <a:lnTo>
                    <a:pt x="228" y="144"/>
                  </a:lnTo>
                  <a:lnTo>
                    <a:pt x="233" y="155"/>
                  </a:lnTo>
                  <a:lnTo>
                    <a:pt x="237" y="170"/>
                  </a:lnTo>
                  <a:lnTo>
                    <a:pt x="245" y="184"/>
                  </a:lnTo>
                  <a:lnTo>
                    <a:pt x="253" y="190"/>
                  </a:lnTo>
                  <a:lnTo>
                    <a:pt x="263" y="197"/>
                  </a:lnTo>
                  <a:lnTo>
                    <a:pt x="264" y="200"/>
                  </a:lnTo>
                  <a:lnTo>
                    <a:pt x="266" y="201"/>
                  </a:lnTo>
                  <a:lnTo>
                    <a:pt x="269" y="203"/>
                  </a:lnTo>
                  <a:lnTo>
                    <a:pt x="272" y="205"/>
                  </a:lnTo>
                  <a:lnTo>
                    <a:pt x="274" y="205"/>
                  </a:lnTo>
                  <a:lnTo>
                    <a:pt x="277" y="208"/>
                  </a:lnTo>
                  <a:lnTo>
                    <a:pt x="279" y="208"/>
                  </a:lnTo>
                  <a:lnTo>
                    <a:pt x="282" y="208"/>
                  </a:lnTo>
                  <a:lnTo>
                    <a:pt x="290" y="209"/>
                  </a:lnTo>
                  <a:lnTo>
                    <a:pt x="293" y="208"/>
                  </a:lnTo>
                  <a:lnTo>
                    <a:pt x="299" y="208"/>
                  </a:lnTo>
                  <a:lnTo>
                    <a:pt x="302" y="208"/>
                  </a:lnTo>
                  <a:lnTo>
                    <a:pt x="307" y="208"/>
                  </a:lnTo>
                  <a:lnTo>
                    <a:pt x="310" y="208"/>
                  </a:lnTo>
                  <a:lnTo>
                    <a:pt x="314" y="211"/>
                  </a:lnTo>
                  <a:lnTo>
                    <a:pt x="312" y="214"/>
                  </a:lnTo>
                  <a:lnTo>
                    <a:pt x="309" y="217"/>
                  </a:lnTo>
                  <a:lnTo>
                    <a:pt x="306" y="219"/>
                  </a:lnTo>
                  <a:lnTo>
                    <a:pt x="304" y="222"/>
                  </a:lnTo>
                  <a:lnTo>
                    <a:pt x="306" y="227"/>
                  </a:lnTo>
                  <a:lnTo>
                    <a:pt x="309" y="228"/>
                  </a:lnTo>
                  <a:lnTo>
                    <a:pt x="312" y="230"/>
                  </a:lnTo>
                  <a:lnTo>
                    <a:pt x="314" y="230"/>
                  </a:lnTo>
                  <a:lnTo>
                    <a:pt x="322" y="233"/>
                  </a:lnTo>
                  <a:lnTo>
                    <a:pt x="325" y="235"/>
                  </a:lnTo>
                  <a:lnTo>
                    <a:pt x="328" y="236"/>
                  </a:lnTo>
                  <a:lnTo>
                    <a:pt x="334" y="239"/>
                  </a:lnTo>
                  <a:lnTo>
                    <a:pt x="342" y="241"/>
                  </a:lnTo>
                  <a:lnTo>
                    <a:pt x="348" y="244"/>
                  </a:lnTo>
                  <a:lnTo>
                    <a:pt x="355" y="249"/>
                  </a:lnTo>
                  <a:lnTo>
                    <a:pt x="358" y="252"/>
                  </a:lnTo>
                  <a:lnTo>
                    <a:pt x="361" y="254"/>
                  </a:lnTo>
                  <a:lnTo>
                    <a:pt x="364" y="255"/>
                  </a:lnTo>
                  <a:lnTo>
                    <a:pt x="368" y="257"/>
                  </a:lnTo>
                  <a:lnTo>
                    <a:pt x="372" y="258"/>
                  </a:lnTo>
                  <a:lnTo>
                    <a:pt x="374" y="260"/>
                  </a:lnTo>
                  <a:lnTo>
                    <a:pt x="377" y="263"/>
                  </a:lnTo>
                  <a:lnTo>
                    <a:pt x="377" y="265"/>
                  </a:lnTo>
                  <a:lnTo>
                    <a:pt x="380" y="266"/>
                  </a:lnTo>
                  <a:lnTo>
                    <a:pt x="385" y="270"/>
                  </a:lnTo>
                  <a:lnTo>
                    <a:pt x="388" y="273"/>
                  </a:lnTo>
                  <a:lnTo>
                    <a:pt x="391" y="276"/>
                  </a:lnTo>
                  <a:lnTo>
                    <a:pt x="391" y="284"/>
                  </a:lnTo>
                  <a:lnTo>
                    <a:pt x="388" y="293"/>
                  </a:lnTo>
                  <a:lnTo>
                    <a:pt x="385" y="293"/>
                  </a:lnTo>
                  <a:lnTo>
                    <a:pt x="382" y="292"/>
                  </a:lnTo>
                  <a:lnTo>
                    <a:pt x="379" y="290"/>
                  </a:lnTo>
                  <a:lnTo>
                    <a:pt x="375" y="287"/>
                  </a:lnTo>
                  <a:lnTo>
                    <a:pt x="375" y="285"/>
                  </a:lnTo>
                  <a:lnTo>
                    <a:pt x="377" y="285"/>
                  </a:lnTo>
                  <a:lnTo>
                    <a:pt x="375" y="282"/>
                  </a:lnTo>
                  <a:lnTo>
                    <a:pt x="374" y="279"/>
                  </a:lnTo>
                  <a:lnTo>
                    <a:pt x="372" y="279"/>
                  </a:lnTo>
                  <a:lnTo>
                    <a:pt x="372" y="274"/>
                  </a:lnTo>
                  <a:lnTo>
                    <a:pt x="368" y="274"/>
                  </a:lnTo>
                  <a:lnTo>
                    <a:pt x="360" y="273"/>
                  </a:lnTo>
                  <a:lnTo>
                    <a:pt x="350" y="270"/>
                  </a:lnTo>
                  <a:lnTo>
                    <a:pt x="350" y="266"/>
                  </a:lnTo>
                  <a:lnTo>
                    <a:pt x="350" y="266"/>
                  </a:lnTo>
                  <a:lnTo>
                    <a:pt x="350" y="266"/>
                  </a:lnTo>
                  <a:lnTo>
                    <a:pt x="350" y="265"/>
                  </a:lnTo>
                  <a:lnTo>
                    <a:pt x="348" y="266"/>
                  </a:lnTo>
                  <a:lnTo>
                    <a:pt x="348" y="266"/>
                  </a:lnTo>
                  <a:lnTo>
                    <a:pt x="345" y="265"/>
                  </a:lnTo>
                  <a:lnTo>
                    <a:pt x="342" y="265"/>
                  </a:lnTo>
                  <a:lnTo>
                    <a:pt x="339" y="268"/>
                  </a:lnTo>
                  <a:lnTo>
                    <a:pt x="337" y="270"/>
                  </a:lnTo>
                  <a:lnTo>
                    <a:pt x="334" y="273"/>
                  </a:lnTo>
                  <a:lnTo>
                    <a:pt x="333" y="276"/>
                  </a:lnTo>
                  <a:lnTo>
                    <a:pt x="333" y="277"/>
                  </a:lnTo>
                  <a:lnTo>
                    <a:pt x="331" y="281"/>
                  </a:lnTo>
                  <a:lnTo>
                    <a:pt x="331" y="281"/>
                  </a:lnTo>
                  <a:lnTo>
                    <a:pt x="329" y="284"/>
                  </a:lnTo>
                  <a:lnTo>
                    <a:pt x="329" y="285"/>
                  </a:lnTo>
                  <a:lnTo>
                    <a:pt x="328" y="289"/>
                  </a:lnTo>
                  <a:lnTo>
                    <a:pt x="326" y="293"/>
                  </a:lnTo>
                  <a:lnTo>
                    <a:pt x="326" y="297"/>
                  </a:lnTo>
                  <a:lnTo>
                    <a:pt x="328" y="300"/>
                  </a:lnTo>
                  <a:lnTo>
                    <a:pt x="331" y="301"/>
                  </a:lnTo>
                  <a:lnTo>
                    <a:pt x="334" y="301"/>
                  </a:lnTo>
                  <a:lnTo>
                    <a:pt x="337" y="304"/>
                  </a:lnTo>
                  <a:lnTo>
                    <a:pt x="341" y="306"/>
                  </a:lnTo>
                  <a:lnTo>
                    <a:pt x="344" y="308"/>
                  </a:lnTo>
                  <a:lnTo>
                    <a:pt x="347" y="309"/>
                  </a:lnTo>
                  <a:lnTo>
                    <a:pt x="347" y="314"/>
                  </a:lnTo>
                  <a:lnTo>
                    <a:pt x="347" y="317"/>
                  </a:lnTo>
                  <a:lnTo>
                    <a:pt x="348" y="319"/>
                  </a:lnTo>
                  <a:lnTo>
                    <a:pt x="347" y="322"/>
                  </a:lnTo>
                  <a:lnTo>
                    <a:pt x="348" y="325"/>
                  </a:lnTo>
                  <a:lnTo>
                    <a:pt x="348" y="328"/>
                  </a:lnTo>
                  <a:lnTo>
                    <a:pt x="345" y="330"/>
                  </a:lnTo>
                  <a:lnTo>
                    <a:pt x="342" y="330"/>
                  </a:lnTo>
                  <a:lnTo>
                    <a:pt x="339" y="330"/>
                  </a:lnTo>
                  <a:lnTo>
                    <a:pt x="336" y="331"/>
                  </a:lnTo>
                  <a:lnTo>
                    <a:pt x="331" y="333"/>
                  </a:lnTo>
                  <a:lnTo>
                    <a:pt x="328" y="336"/>
                  </a:lnTo>
                  <a:lnTo>
                    <a:pt x="328" y="341"/>
                  </a:lnTo>
                  <a:lnTo>
                    <a:pt x="329" y="344"/>
                  </a:lnTo>
                  <a:lnTo>
                    <a:pt x="329" y="347"/>
                  </a:lnTo>
                  <a:lnTo>
                    <a:pt x="329" y="349"/>
                  </a:lnTo>
                  <a:lnTo>
                    <a:pt x="328" y="352"/>
                  </a:lnTo>
                  <a:lnTo>
                    <a:pt x="325" y="354"/>
                  </a:lnTo>
                  <a:lnTo>
                    <a:pt x="320" y="357"/>
                  </a:lnTo>
                  <a:lnTo>
                    <a:pt x="318" y="360"/>
                  </a:lnTo>
                  <a:lnTo>
                    <a:pt x="317" y="363"/>
                  </a:lnTo>
                  <a:lnTo>
                    <a:pt x="315" y="368"/>
                  </a:lnTo>
                  <a:lnTo>
                    <a:pt x="312" y="371"/>
                  </a:lnTo>
                  <a:lnTo>
                    <a:pt x="309" y="371"/>
                  </a:lnTo>
                  <a:lnTo>
                    <a:pt x="304" y="371"/>
                  </a:lnTo>
                  <a:lnTo>
                    <a:pt x="301" y="369"/>
                  </a:lnTo>
                  <a:lnTo>
                    <a:pt x="299" y="366"/>
                  </a:lnTo>
                  <a:lnTo>
                    <a:pt x="298" y="363"/>
                  </a:lnTo>
                  <a:lnTo>
                    <a:pt x="298" y="360"/>
                  </a:lnTo>
                  <a:lnTo>
                    <a:pt x="302" y="357"/>
                  </a:lnTo>
                  <a:lnTo>
                    <a:pt x="304" y="354"/>
                  </a:lnTo>
                  <a:lnTo>
                    <a:pt x="307" y="350"/>
                  </a:lnTo>
                  <a:lnTo>
                    <a:pt x="307" y="346"/>
                  </a:lnTo>
                  <a:lnTo>
                    <a:pt x="307" y="346"/>
                  </a:lnTo>
                  <a:lnTo>
                    <a:pt x="306" y="342"/>
                  </a:lnTo>
                  <a:lnTo>
                    <a:pt x="307" y="339"/>
                  </a:lnTo>
                  <a:lnTo>
                    <a:pt x="312" y="338"/>
                  </a:lnTo>
                  <a:lnTo>
                    <a:pt x="315" y="338"/>
                  </a:lnTo>
                  <a:lnTo>
                    <a:pt x="317" y="335"/>
                  </a:lnTo>
                  <a:lnTo>
                    <a:pt x="317" y="331"/>
                  </a:lnTo>
                  <a:lnTo>
                    <a:pt x="315" y="328"/>
                  </a:lnTo>
                  <a:lnTo>
                    <a:pt x="314" y="325"/>
                  </a:lnTo>
                  <a:lnTo>
                    <a:pt x="314" y="325"/>
                  </a:lnTo>
                  <a:lnTo>
                    <a:pt x="312" y="320"/>
                  </a:lnTo>
                  <a:lnTo>
                    <a:pt x="312" y="317"/>
                  </a:lnTo>
                  <a:lnTo>
                    <a:pt x="312" y="314"/>
                  </a:lnTo>
                  <a:lnTo>
                    <a:pt x="310" y="311"/>
                  </a:lnTo>
                  <a:lnTo>
                    <a:pt x="306" y="303"/>
                  </a:lnTo>
                  <a:lnTo>
                    <a:pt x="302" y="293"/>
                  </a:lnTo>
                  <a:lnTo>
                    <a:pt x="301" y="290"/>
                  </a:lnTo>
                  <a:lnTo>
                    <a:pt x="301" y="289"/>
                  </a:lnTo>
                  <a:lnTo>
                    <a:pt x="298" y="285"/>
                  </a:lnTo>
                  <a:lnTo>
                    <a:pt x="298" y="284"/>
                  </a:lnTo>
                  <a:lnTo>
                    <a:pt x="293" y="282"/>
                  </a:lnTo>
                  <a:lnTo>
                    <a:pt x="290" y="285"/>
                  </a:lnTo>
                  <a:lnTo>
                    <a:pt x="290" y="285"/>
                  </a:lnTo>
                  <a:lnTo>
                    <a:pt x="287" y="285"/>
                  </a:lnTo>
                  <a:lnTo>
                    <a:pt x="283" y="282"/>
                  </a:lnTo>
                  <a:lnTo>
                    <a:pt x="280" y="279"/>
                  </a:lnTo>
                  <a:lnTo>
                    <a:pt x="277" y="279"/>
                  </a:lnTo>
                  <a:lnTo>
                    <a:pt x="276" y="277"/>
                  </a:lnTo>
                  <a:lnTo>
                    <a:pt x="274" y="274"/>
                  </a:lnTo>
                  <a:lnTo>
                    <a:pt x="276" y="270"/>
                  </a:lnTo>
                  <a:lnTo>
                    <a:pt x="274" y="266"/>
                  </a:lnTo>
                  <a:lnTo>
                    <a:pt x="272" y="263"/>
                  </a:lnTo>
                  <a:lnTo>
                    <a:pt x="269" y="260"/>
                  </a:lnTo>
                  <a:lnTo>
                    <a:pt x="266" y="258"/>
                  </a:lnTo>
                  <a:lnTo>
                    <a:pt x="263" y="260"/>
                  </a:lnTo>
                  <a:lnTo>
                    <a:pt x="258" y="260"/>
                  </a:lnTo>
                  <a:lnTo>
                    <a:pt x="256" y="260"/>
                  </a:lnTo>
                  <a:lnTo>
                    <a:pt x="253" y="262"/>
                  </a:lnTo>
                  <a:lnTo>
                    <a:pt x="255" y="258"/>
                  </a:lnTo>
                  <a:lnTo>
                    <a:pt x="256" y="255"/>
                  </a:lnTo>
                  <a:lnTo>
                    <a:pt x="253" y="254"/>
                  </a:lnTo>
                  <a:lnTo>
                    <a:pt x="250" y="252"/>
                  </a:lnTo>
                  <a:lnTo>
                    <a:pt x="247" y="252"/>
                  </a:lnTo>
                  <a:lnTo>
                    <a:pt x="244" y="251"/>
                  </a:lnTo>
                  <a:lnTo>
                    <a:pt x="242" y="249"/>
                  </a:lnTo>
                  <a:lnTo>
                    <a:pt x="242" y="247"/>
                  </a:lnTo>
                  <a:lnTo>
                    <a:pt x="239" y="244"/>
                  </a:lnTo>
                  <a:lnTo>
                    <a:pt x="239" y="244"/>
                  </a:lnTo>
                  <a:lnTo>
                    <a:pt x="237" y="241"/>
                  </a:lnTo>
                  <a:lnTo>
                    <a:pt x="234" y="236"/>
                  </a:lnTo>
                  <a:lnTo>
                    <a:pt x="233" y="236"/>
                  </a:lnTo>
                  <a:lnTo>
                    <a:pt x="233" y="236"/>
                  </a:lnTo>
                  <a:lnTo>
                    <a:pt x="230" y="235"/>
                  </a:lnTo>
                  <a:lnTo>
                    <a:pt x="228" y="236"/>
                  </a:lnTo>
                  <a:lnTo>
                    <a:pt x="223" y="235"/>
                  </a:lnTo>
                  <a:lnTo>
                    <a:pt x="218" y="233"/>
                  </a:lnTo>
                  <a:lnTo>
                    <a:pt x="215" y="233"/>
                  </a:lnTo>
                  <a:lnTo>
                    <a:pt x="211" y="236"/>
                  </a:lnTo>
                  <a:lnTo>
                    <a:pt x="203" y="228"/>
                  </a:lnTo>
                  <a:lnTo>
                    <a:pt x="190" y="220"/>
                  </a:lnTo>
                  <a:lnTo>
                    <a:pt x="187" y="217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2" y="212"/>
                  </a:lnTo>
                  <a:lnTo>
                    <a:pt x="180" y="208"/>
                  </a:lnTo>
                  <a:lnTo>
                    <a:pt x="177" y="206"/>
                  </a:lnTo>
                  <a:lnTo>
                    <a:pt x="172" y="203"/>
                  </a:lnTo>
                  <a:lnTo>
                    <a:pt x="169" y="203"/>
                  </a:lnTo>
                  <a:lnTo>
                    <a:pt x="168" y="201"/>
                  </a:lnTo>
                  <a:lnTo>
                    <a:pt x="168" y="201"/>
                  </a:lnTo>
                  <a:lnTo>
                    <a:pt x="166" y="198"/>
                  </a:lnTo>
                  <a:lnTo>
                    <a:pt x="165" y="195"/>
                  </a:lnTo>
                  <a:lnTo>
                    <a:pt x="161" y="192"/>
                  </a:lnTo>
                  <a:lnTo>
                    <a:pt x="158" y="190"/>
                  </a:lnTo>
                  <a:lnTo>
                    <a:pt x="157" y="190"/>
                  </a:lnTo>
                  <a:lnTo>
                    <a:pt x="153" y="189"/>
                  </a:lnTo>
                  <a:lnTo>
                    <a:pt x="150" y="187"/>
                  </a:lnTo>
                  <a:lnTo>
                    <a:pt x="147" y="189"/>
                  </a:lnTo>
                  <a:lnTo>
                    <a:pt x="149" y="186"/>
                  </a:lnTo>
                  <a:lnTo>
                    <a:pt x="147" y="182"/>
                  </a:lnTo>
                  <a:lnTo>
                    <a:pt x="144" y="179"/>
                  </a:lnTo>
                  <a:lnTo>
                    <a:pt x="142" y="178"/>
                  </a:lnTo>
                  <a:lnTo>
                    <a:pt x="139" y="174"/>
                  </a:lnTo>
                  <a:lnTo>
                    <a:pt x="136" y="173"/>
                  </a:lnTo>
                  <a:lnTo>
                    <a:pt x="134" y="170"/>
                  </a:lnTo>
                  <a:lnTo>
                    <a:pt x="133" y="166"/>
                  </a:lnTo>
                  <a:lnTo>
                    <a:pt x="130" y="166"/>
                  </a:lnTo>
                  <a:lnTo>
                    <a:pt x="126" y="166"/>
                  </a:lnTo>
                  <a:lnTo>
                    <a:pt x="126" y="160"/>
                  </a:lnTo>
                  <a:lnTo>
                    <a:pt x="126" y="157"/>
                  </a:lnTo>
                  <a:lnTo>
                    <a:pt x="126" y="152"/>
                  </a:lnTo>
                  <a:lnTo>
                    <a:pt x="122" y="146"/>
                  </a:lnTo>
                  <a:lnTo>
                    <a:pt x="119" y="143"/>
                  </a:lnTo>
                  <a:lnTo>
                    <a:pt x="119" y="140"/>
                  </a:lnTo>
                  <a:lnTo>
                    <a:pt x="119" y="136"/>
                  </a:lnTo>
                  <a:lnTo>
                    <a:pt x="119" y="133"/>
                  </a:lnTo>
                  <a:lnTo>
                    <a:pt x="119" y="133"/>
                  </a:lnTo>
                  <a:lnTo>
                    <a:pt x="117" y="132"/>
                  </a:lnTo>
                  <a:lnTo>
                    <a:pt x="117" y="128"/>
                  </a:lnTo>
                  <a:lnTo>
                    <a:pt x="114" y="125"/>
                  </a:lnTo>
                  <a:lnTo>
                    <a:pt x="111" y="122"/>
                  </a:lnTo>
                  <a:lnTo>
                    <a:pt x="111" y="122"/>
                  </a:lnTo>
                  <a:lnTo>
                    <a:pt x="109" y="122"/>
                  </a:lnTo>
                  <a:lnTo>
                    <a:pt x="106" y="120"/>
                  </a:lnTo>
                  <a:lnTo>
                    <a:pt x="104" y="119"/>
                  </a:lnTo>
                  <a:lnTo>
                    <a:pt x="99" y="120"/>
                  </a:lnTo>
                  <a:lnTo>
                    <a:pt x="96" y="119"/>
                  </a:lnTo>
                  <a:lnTo>
                    <a:pt x="93" y="116"/>
                  </a:lnTo>
                  <a:lnTo>
                    <a:pt x="93" y="116"/>
                  </a:lnTo>
                  <a:lnTo>
                    <a:pt x="90" y="114"/>
                  </a:lnTo>
                  <a:lnTo>
                    <a:pt x="87" y="111"/>
                  </a:lnTo>
                  <a:lnTo>
                    <a:pt x="84" y="111"/>
                  </a:lnTo>
                  <a:lnTo>
                    <a:pt x="79" y="109"/>
                  </a:lnTo>
                  <a:lnTo>
                    <a:pt x="76" y="108"/>
                  </a:lnTo>
                  <a:lnTo>
                    <a:pt x="73" y="108"/>
                  </a:lnTo>
                  <a:lnTo>
                    <a:pt x="69" y="106"/>
                  </a:lnTo>
                  <a:lnTo>
                    <a:pt x="66" y="108"/>
                  </a:lnTo>
                  <a:lnTo>
                    <a:pt x="65" y="109"/>
                  </a:lnTo>
                  <a:lnTo>
                    <a:pt x="61" y="111"/>
                  </a:lnTo>
                  <a:lnTo>
                    <a:pt x="60" y="111"/>
                  </a:lnTo>
                  <a:lnTo>
                    <a:pt x="58" y="116"/>
                  </a:lnTo>
                  <a:lnTo>
                    <a:pt x="57" y="117"/>
                  </a:lnTo>
                  <a:lnTo>
                    <a:pt x="53" y="119"/>
                  </a:lnTo>
                  <a:lnTo>
                    <a:pt x="52" y="122"/>
                  </a:lnTo>
                  <a:lnTo>
                    <a:pt x="52" y="122"/>
                  </a:lnTo>
                  <a:lnTo>
                    <a:pt x="49" y="125"/>
                  </a:lnTo>
                  <a:lnTo>
                    <a:pt x="49" y="127"/>
                  </a:lnTo>
                  <a:lnTo>
                    <a:pt x="44" y="128"/>
                  </a:lnTo>
                  <a:lnTo>
                    <a:pt x="41" y="130"/>
                  </a:lnTo>
                  <a:lnTo>
                    <a:pt x="39" y="130"/>
                  </a:lnTo>
                  <a:lnTo>
                    <a:pt x="36" y="132"/>
                  </a:lnTo>
                  <a:lnTo>
                    <a:pt x="33" y="133"/>
                  </a:lnTo>
                  <a:lnTo>
                    <a:pt x="28" y="133"/>
                  </a:lnTo>
                  <a:lnTo>
                    <a:pt x="28" y="132"/>
                  </a:lnTo>
                  <a:lnTo>
                    <a:pt x="28" y="128"/>
                  </a:lnTo>
                  <a:lnTo>
                    <a:pt x="31" y="125"/>
                  </a:lnTo>
                  <a:lnTo>
                    <a:pt x="34" y="120"/>
                  </a:lnTo>
                  <a:lnTo>
                    <a:pt x="34" y="120"/>
                  </a:lnTo>
                  <a:lnTo>
                    <a:pt x="33" y="117"/>
                  </a:lnTo>
                  <a:lnTo>
                    <a:pt x="27" y="119"/>
                  </a:lnTo>
                  <a:lnTo>
                    <a:pt x="23" y="117"/>
                  </a:lnTo>
                  <a:lnTo>
                    <a:pt x="19" y="116"/>
                  </a:lnTo>
                  <a:lnTo>
                    <a:pt x="12" y="114"/>
                  </a:lnTo>
                  <a:lnTo>
                    <a:pt x="9" y="111"/>
                  </a:lnTo>
                  <a:lnTo>
                    <a:pt x="9" y="109"/>
                  </a:lnTo>
                  <a:lnTo>
                    <a:pt x="7" y="106"/>
                  </a:lnTo>
                  <a:lnTo>
                    <a:pt x="7" y="103"/>
                  </a:lnTo>
                  <a:lnTo>
                    <a:pt x="9" y="100"/>
                  </a:lnTo>
                  <a:lnTo>
                    <a:pt x="11" y="97"/>
                  </a:lnTo>
                  <a:lnTo>
                    <a:pt x="14" y="97"/>
                  </a:lnTo>
                  <a:lnTo>
                    <a:pt x="14" y="95"/>
                  </a:lnTo>
                  <a:lnTo>
                    <a:pt x="12" y="92"/>
                  </a:lnTo>
                  <a:lnTo>
                    <a:pt x="9" y="89"/>
                  </a:lnTo>
                  <a:lnTo>
                    <a:pt x="6" y="87"/>
                  </a:lnTo>
                  <a:lnTo>
                    <a:pt x="4" y="86"/>
                  </a:lnTo>
                  <a:lnTo>
                    <a:pt x="4" y="84"/>
                  </a:lnTo>
                  <a:lnTo>
                    <a:pt x="1" y="81"/>
                  </a:lnTo>
                  <a:lnTo>
                    <a:pt x="0" y="7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39" name="Freeform 589"/>
            <p:cNvSpPr>
              <a:spLocks/>
            </p:cNvSpPr>
            <p:nvPr/>
          </p:nvSpPr>
          <p:spPr bwMode="auto">
            <a:xfrm>
              <a:off x="5588474" y="3405601"/>
              <a:ext cx="39700" cy="79544"/>
            </a:xfrm>
            <a:custGeom>
              <a:avLst/>
              <a:gdLst>
                <a:gd name="T0" fmla="*/ 6 w 56"/>
                <a:gd name="T1" fmla="*/ 29 h 95"/>
                <a:gd name="T2" fmla="*/ 2 w 56"/>
                <a:gd name="T3" fmla="*/ 22 h 95"/>
                <a:gd name="T4" fmla="*/ 2 w 56"/>
                <a:gd name="T5" fmla="*/ 16 h 95"/>
                <a:gd name="T6" fmla="*/ 8 w 56"/>
                <a:gd name="T7" fmla="*/ 16 h 95"/>
                <a:gd name="T8" fmla="*/ 18 w 56"/>
                <a:gd name="T9" fmla="*/ 15 h 95"/>
                <a:gd name="T10" fmla="*/ 26 w 56"/>
                <a:gd name="T11" fmla="*/ 8 h 95"/>
                <a:gd name="T12" fmla="*/ 32 w 56"/>
                <a:gd name="T13" fmla="*/ 3 h 95"/>
                <a:gd name="T14" fmla="*/ 38 w 56"/>
                <a:gd name="T15" fmla="*/ 0 h 95"/>
                <a:gd name="T16" fmla="*/ 43 w 56"/>
                <a:gd name="T17" fmla="*/ 5 h 95"/>
                <a:gd name="T18" fmla="*/ 46 w 56"/>
                <a:gd name="T19" fmla="*/ 8 h 95"/>
                <a:gd name="T20" fmla="*/ 46 w 56"/>
                <a:gd name="T21" fmla="*/ 11 h 95"/>
                <a:gd name="T22" fmla="*/ 51 w 56"/>
                <a:gd name="T23" fmla="*/ 15 h 95"/>
                <a:gd name="T24" fmla="*/ 54 w 56"/>
                <a:gd name="T25" fmla="*/ 22 h 95"/>
                <a:gd name="T26" fmla="*/ 56 w 56"/>
                <a:gd name="T27" fmla="*/ 29 h 95"/>
                <a:gd name="T28" fmla="*/ 52 w 56"/>
                <a:gd name="T29" fmla="*/ 37 h 95"/>
                <a:gd name="T30" fmla="*/ 51 w 56"/>
                <a:gd name="T31" fmla="*/ 43 h 95"/>
                <a:gd name="T32" fmla="*/ 52 w 56"/>
                <a:gd name="T33" fmla="*/ 56 h 95"/>
                <a:gd name="T34" fmla="*/ 51 w 56"/>
                <a:gd name="T35" fmla="*/ 68 h 95"/>
                <a:gd name="T36" fmla="*/ 49 w 56"/>
                <a:gd name="T37" fmla="*/ 75 h 95"/>
                <a:gd name="T38" fmla="*/ 48 w 56"/>
                <a:gd name="T39" fmla="*/ 81 h 95"/>
                <a:gd name="T40" fmla="*/ 43 w 56"/>
                <a:gd name="T41" fmla="*/ 84 h 95"/>
                <a:gd name="T42" fmla="*/ 37 w 56"/>
                <a:gd name="T43" fmla="*/ 81 h 95"/>
                <a:gd name="T44" fmla="*/ 32 w 56"/>
                <a:gd name="T45" fmla="*/ 81 h 95"/>
                <a:gd name="T46" fmla="*/ 32 w 56"/>
                <a:gd name="T47" fmla="*/ 81 h 95"/>
                <a:gd name="T48" fmla="*/ 29 w 56"/>
                <a:gd name="T49" fmla="*/ 86 h 95"/>
                <a:gd name="T50" fmla="*/ 27 w 56"/>
                <a:gd name="T51" fmla="*/ 94 h 95"/>
                <a:gd name="T52" fmla="*/ 19 w 56"/>
                <a:gd name="T53" fmla="*/ 94 h 95"/>
                <a:gd name="T54" fmla="*/ 14 w 56"/>
                <a:gd name="T55" fmla="*/ 91 h 95"/>
                <a:gd name="T56" fmla="*/ 10 w 56"/>
                <a:gd name="T57" fmla="*/ 91 h 95"/>
                <a:gd name="T58" fmla="*/ 11 w 56"/>
                <a:gd name="T59" fmla="*/ 87 h 95"/>
                <a:gd name="T60" fmla="*/ 8 w 56"/>
                <a:gd name="T61" fmla="*/ 81 h 95"/>
                <a:gd name="T62" fmla="*/ 10 w 56"/>
                <a:gd name="T63" fmla="*/ 73 h 95"/>
                <a:gd name="T64" fmla="*/ 11 w 56"/>
                <a:gd name="T65" fmla="*/ 67 h 95"/>
                <a:gd name="T66" fmla="*/ 10 w 56"/>
                <a:gd name="T67" fmla="*/ 59 h 95"/>
                <a:gd name="T68" fmla="*/ 14 w 56"/>
                <a:gd name="T69" fmla="*/ 59 h 95"/>
                <a:gd name="T70" fmla="*/ 14 w 56"/>
                <a:gd name="T71" fmla="*/ 54 h 95"/>
                <a:gd name="T72" fmla="*/ 10 w 56"/>
                <a:gd name="T73" fmla="*/ 51 h 95"/>
                <a:gd name="T74" fmla="*/ 13 w 56"/>
                <a:gd name="T75" fmla="*/ 46 h 95"/>
                <a:gd name="T76" fmla="*/ 11 w 56"/>
                <a:gd name="T77" fmla="*/ 40 h 95"/>
                <a:gd name="T78" fmla="*/ 8 w 56"/>
                <a:gd name="T79" fmla="*/ 3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6" h="95">
                  <a:moveTo>
                    <a:pt x="8" y="32"/>
                  </a:moveTo>
                  <a:lnTo>
                    <a:pt x="6" y="29"/>
                  </a:lnTo>
                  <a:lnTo>
                    <a:pt x="3" y="26"/>
                  </a:lnTo>
                  <a:lnTo>
                    <a:pt x="2" y="22"/>
                  </a:lnTo>
                  <a:lnTo>
                    <a:pt x="0" y="19"/>
                  </a:lnTo>
                  <a:lnTo>
                    <a:pt x="2" y="16"/>
                  </a:lnTo>
                  <a:lnTo>
                    <a:pt x="2" y="13"/>
                  </a:lnTo>
                  <a:lnTo>
                    <a:pt x="8" y="16"/>
                  </a:lnTo>
                  <a:lnTo>
                    <a:pt x="13" y="16"/>
                  </a:lnTo>
                  <a:lnTo>
                    <a:pt x="18" y="15"/>
                  </a:lnTo>
                  <a:lnTo>
                    <a:pt x="22" y="11"/>
                  </a:lnTo>
                  <a:lnTo>
                    <a:pt x="26" y="8"/>
                  </a:lnTo>
                  <a:lnTo>
                    <a:pt x="29" y="5"/>
                  </a:lnTo>
                  <a:lnTo>
                    <a:pt x="32" y="3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41" y="2"/>
                  </a:lnTo>
                  <a:lnTo>
                    <a:pt x="43" y="5"/>
                  </a:lnTo>
                  <a:lnTo>
                    <a:pt x="48" y="5"/>
                  </a:lnTo>
                  <a:lnTo>
                    <a:pt x="46" y="8"/>
                  </a:lnTo>
                  <a:lnTo>
                    <a:pt x="49" y="10"/>
                  </a:lnTo>
                  <a:lnTo>
                    <a:pt x="46" y="11"/>
                  </a:lnTo>
                  <a:lnTo>
                    <a:pt x="49" y="13"/>
                  </a:lnTo>
                  <a:lnTo>
                    <a:pt x="51" y="15"/>
                  </a:lnTo>
                  <a:lnTo>
                    <a:pt x="52" y="19"/>
                  </a:lnTo>
                  <a:lnTo>
                    <a:pt x="54" y="22"/>
                  </a:lnTo>
                  <a:lnTo>
                    <a:pt x="54" y="26"/>
                  </a:lnTo>
                  <a:lnTo>
                    <a:pt x="56" y="29"/>
                  </a:lnTo>
                  <a:lnTo>
                    <a:pt x="56" y="32"/>
                  </a:lnTo>
                  <a:lnTo>
                    <a:pt x="52" y="37"/>
                  </a:lnTo>
                  <a:lnTo>
                    <a:pt x="49" y="40"/>
                  </a:lnTo>
                  <a:lnTo>
                    <a:pt x="51" y="43"/>
                  </a:lnTo>
                  <a:lnTo>
                    <a:pt x="52" y="46"/>
                  </a:lnTo>
                  <a:lnTo>
                    <a:pt x="52" y="56"/>
                  </a:lnTo>
                  <a:lnTo>
                    <a:pt x="51" y="67"/>
                  </a:lnTo>
                  <a:lnTo>
                    <a:pt x="51" y="68"/>
                  </a:lnTo>
                  <a:lnTo>
                    <a:pt x="51" y="72"/>
                  </a:lnTo>
                  <a:lnTo>
                    <a:pt x="49" y="75"/>
                  </a:lnTo>
                  <a:lnTo>
                    <a:pt x="49" y="78"/>
                  </a:lnTo>
                  <a:lnTo>
                    <a:pt x="48" y="81"/>
                  </a:lnTo>
                  <a:lnTo>
                    <a:pt x="46" y="86"/>
                  </a:lnTo>
                  <a:lnTo>
                    <a:pt x="43" y="84"/>
                  </a:lnTo>
                  <a:lnTo>
                    <a:pt x="40" y="83"/>
                  </a:lnTo>
                  <a:lnTo>
                    <a:pt x="37" y="81"/>
                  </a:lnTo>
                  <a:lnTo>
                    <a:pt x="33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2" y="81"/>
                  </a:lnTo>
                  <a:lnTo>
                    <a:pt x="30" y="83"/>
                  </a:lnTo>
                  <a:lnTo>
                    <a:pt x="29" y="86"/>
                  </a:lnTo>
                  <a:lnTo>
                    <a:pt x="30" y="89"/>
                  </a:lnTo>
                  <a:lnTo>
                    <a:pt x="27" y="94"/>
                  </a:lnTo>
                  <a:lnTo>
                    <a:pt x="22" y="95"/>
                  </a:lnTo>
                  <a:lnTo>
                    <a:pt x="19" y="94"/>
                  </a:lnTo>
                  <a:lnTo>
                    <a:pt x="16" y="95"/>
                  </a:lnTo>
                  <a:lnTo>
                    <a:pt x="14" y="91"/>
                  </a:lnTo>
                  <a:lnTo>
                    <a:pt x="13" y="87"/>
                  </a:lnTo>
                  <a:lnTo>
                    <a:pt x="10" y="91"/>
                  </a:lnTo>
                  <a:lnTo>
                    <a:pt x="8" y="87"/>
                  </a:lnTo>
                  <a:lnTo>
                    <a:pt x="11" y="87"/>
                  </a:lnTo>
                  <a:lnTo>
                    <a:pt x="10" y="84"/>
                  </a:lnTo>
                  <a:lnTo>
                    <a:pt x="8" y="81"/>
                  </a:lnTo>
                  <a:lnTo>
                    <a:pt x="10" y="76"/>
                  </a:lnTo>
                  <a:lnTo>
                    <a:pt x="10" y="73"/>
                  </a:lnTo>
                  <a:lnTo>
                    <a:pt x="10" y="70"/>
                  </a:lnTo>
                  <a:lnTo>
                    <a:pt x="11" y="67"/>
                  </a:lnTo>
                  <a:lnTo>
                    <a:pt x="10" y="64"/>
                  </a:lnTo>
                  <a:lnTo>
                    <a:pt x="10" y="59"/>
                  </a:lnTo>
                  <a:lnTo>
                    <a:pt x="14" y="62"/>
                  </a:lnTo>
                  <a:lnTo>
                    <a:pt x="14" y="59"/>
                  </a:lnTo>
                  <a:lnTo>
                    <a:pt x="14" y="56"/>
                  </a:lnTo>
                  <a:lnTo>
                    <a:pt x="14" y="54"/>
                  </a:lnTo>
                  <a:lnTo>
                    <a:pt x="10" y="54"/>
                  </a:lnTo>
                  <a:lnTo>
                    <a:pt x="10" y="51"/>
                  </a:lnTo>
                  <a:lnTo>
                    <a:pt x="10" y="49"/>
                  </a:lnTo>
                  <a:lnTo>
                    <a:pt x="13" y="46"/>
                  </a:lnTo>
                  <a:lnTo>
                    <a:pt x="11" y="43"/>
                  </a:lnTo>
                  <a:lnTo>
                    <a:pt x="11" y="40"/>
                  </a:lnTo>
                  <a:lnTo>
                    <a:pt x="11" y="38"/>
                  </a:lnTo>
                  <a:lnTo>
                    <a:pt x="8" y="35"/>
                  </a:lnTo>
                  <a:lnTo>
                    <a:pt x="8" y="3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40" name="Freeform 590"/>
            <p:cNvSpPr>
              <a:spLocks/>
            </p:cNvSpPr>
            <p:nvPr/>
          </p:nvSpPr>
          <p:spPr bwMode="auto">
            <a:xfrm>
              <a:off x="5694340" y="3505455"/>
              <a:ext cx="79399" cy="55850"/>
            </a:xfrm>
            <a:custGeom>
              <a:avLst/>
              <a:gdLst>
                <a:gd name="T0" fmla="*/ 10 w 108"/>
                <a:gd name="T1" fmla="*/ 30 h 65"/>
                <a:gd name="T2" fmla="*/ 5 w 108"/>
                <a:gd name="T3" fmla="*/ 26 h 65"/>
                <a:gd name="T4" fmla="*/ 0 w 108"/>
                <a:gd name="T5" fmla="*/ 21 h 65"/>
                <a:gd name="T6" fmla="*/ 2 w 108"/>
                <a:gd name="T7" fmla="*/ 14 h 65"/>
                <a:gd name="T8" fmla="*/ 7 w 108"/>
                <a:gd name="T9" fmla="*/ 10 h 65"/>
                <a:gd name="T10" fmla="*/ 13 w 108"/>
                <a:gd name="T11" fmla="*/ 10 h 65"/>
                <a:gd name="T12" fmla="*/ 18 w 108"/>
                <a:gd name="T13" fmla="*/ 11 h 65"/>
                <a:gd name="T14" fmla="*/ 24 w 108"/>
                <a:gd name="T15" fmla="*/ 5 h 65"/>
                <a:gd name="T16" fmla="*/ 32 w 108"/>
                <a:gd name="T17" fmla="*/ 5 h 65"/>
                <a:gd name="T18" fmla="*/ 40 w 108"/>
                <a:gd name="T19" fmla="*/ 13 h 65"/>
                <a:gd name="T20" fmla="*/ 46 w 108"/>
                <a:gd name="T21" fmla="*/ 13 h 65"/>
                <a:gd name="T22" fmla="*/ 56 w 108"/>
                <a:gd name="T23" fmla="*/ 11 h 65"/>
                <a:gd name="T24" fmla="*/ 62 w 108"/>
                <a:gd name="T25" fmla="*/ 11 h 65"/>
                <a:gd name="T26" fmla="*/ 70 w 108"/>
                <a:gd name="T27" fmla="*/ 11 h 65"/>
                <a:gd name="T28" fmla="*/ 77 w 108"/>
                <a:gd name="T29" fmla="*/ 7 h 65"/>
                <a:gd name="T30" fmla="*/ 83 w 108"/>
                <a:gd name="T31" fmla="*/ 5 h 65"/>
                <a:gd name="T32" fmla="*/ 91 w 108"/>
                <a:gd name="T33" fmla="*/ 7 h 65"/>
                <a:gd name="T34" fmla="*/ 97 w 108"/>
                <a:gd name="T35" fmla="*/ 3 h 65"/>
                <a:gd name="T36" fmla="*/ 104 w 108"/>
                <a:gd name="T37" fmla="*/ 0 h 65"/>
                <a:gd name="T38" fmla="*/ 102 w 108"/>
                <a:gd name="T39" fmla="*/ 11 h 65"/>
                <a:gd name="T40" fmla="*/ 94 w 108"/>
                <a:gd name="T41" fmla="*/ 24 h 65"/>
                <a:gd name="T42" fmla="*/ 92 w 108"/>
                <a:gd name="T43" fmla="*/ 30 h 65"/>
                <a:gd name="T44" fmla="*/ 89 w 108"/>
                <a:gd name="T45" fmla="*/ 37 h 65"/>
                <a:gd name="T46" fmla="*/ 94 w 108"/>
                <a:gd name="T47" fmla="*/ 41 h 65"/>
                <a:gd name="T48" fmla="*/ 96 w 108"/>
                <a:gd name="T49" fmla="*/ 48 h 65"/>
                <a:gd name="T50" fmla="*/ 94 w 108"/>
                <a:gd name="T51" fmla="*/ 54 h 65"/>
                <a:gd name="T52" fmla="*/ 91 w 108"/>
                <a:gd name="T53" fmla="*/ 62 h 65"/>
                <a:gd name="T54" fmla="*/ 88 w 108"/>
                <a:gd name="T55" fmla="*/ 65 h 65"/>
                <a:gd name="T56" fmla="*/ 85 w 108"/>
                <a:gd name="T57" fmla="*/ 64 h 65"/>
                <a:gd name="T58" fmla="*/ 77 w 108"/>
                <a:gd name="T59" fmla="*/ 65 h 65"/>
                <a:gd name="T60" fmla="*/ 70 w 108"/>
                <a:gd name="T61" fmla="*/ 62 h 65"/>
                <a:gd name="T62" fmla="*/ 67 w 108"/>
                <a:gd name="T63" fmla="*/ 56 h 65"/>
                <a:gd name="T64" fmla="*/ 62 w 108"/>
                <a:gd name="T65" fmla="*/ 51 h 65"/>
                <a:gd name="T66" fmla="*/ 54 w 108"/>
                <a:gd name="T67" fmla="*/ 49 h 65"/>
                <a:gd name="T68" fmla="*/ 51 w 108"/>
                <a:gd name="T69" fmla="*/ 49 h 65"/>
                <a:gd name="T70" fmla="*/ 45 w 108"/>
                <a:gd name="T71" fmla="*/ 46 h 65"/>
                <a:gd name="T72" fmla="*/ 39 w 108"/>
                <a:gd name="T73" fmla="*/ 41 h 65"/>
                <a:gd name="T74" fmla="*/ 24 w 108"/>
                <a:gd name="T75" fmla="*/ 33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8" h="65">
                  <a:moveTo>
                    <a:pt x="15" y="30"/>
                  </a:moveTo>
                  <a:lnTo>
                    <a:pt x="10" y="30"/>
                  </a:lnTo>
                  <a:lnTo>
                    <a:pt x="7" y="30"/>
                  </a:lnTo>
                  <a:lnTo>
                    <a:pt x="5" y="26"/>
                  </a:lnTo>
                  <a:lnTo>
                    <a:pt x="2" y="24"/>
                  </a:lnTo>
                  <a:lnTo>
                    <a:pt x="0" y="21"/>
                  </a:lnTo>
                  <a:lnTo>
                    <a:pt x="2" y="18"/>
                  </a:lnTo>
                  <a:lnTo>
                    <a:pt x="2" y="14"/>
                  </a:lnTo>
                  <a:lnTo>
                    <a:pt x="4" y="11"/>
                  </a:lnTo>
                  <a:lnTo>
                    <a:pt x="7" y="10"/>
                  </a:lnTo>
                  <a:lnTo>
                    <a:pt x="10" y="5"/>
                  </a:lnTo>
                  <a:lnTo>
                    <a:pt x="13" y="10"/>
                  </a:lnTo>
                  <a:lnTo>
                    <a:pt x="16" y="11"/>
                  </a:lnTo>
                  <a:lnTo>
                    <a:pt x="18" y="11"/>
                  </a:lnTo>
                  <a:lnTo>
                    <a:pt x="21" y="7"/>
                  </a:lnTo>
                  <a:lnTo>
                    <a:pt x="24" y="5"/>
                  </a:lnTo>
                  <a:lnTo>
                    <a:pt x="27" y="3"/>
                  </a:lnTo>
                  <a:lnTo>
                    <a:pt x="32" y="5"/>
                  </a:lnTo>
                  <a:lnTo>
                    <a:pt x="37" y="10"/>
                  </a:lnTo>
                  <a:lnTo>
                    <a:pt x="40" y="13"/>
                  </a:lnTo>
                  <a:lnTo>
                    <a:pt x="43" y="13"/>
                  </a:lnTo>
                  <a:lnTo>
                    <a:pt x="46" y="13"/>
                  </a:lnTo>
                  <a:lnTo>
                    <a:pt x="50" y="11"/>
                  </a:lnTo>
                  <a:lnTo>
                    <a:pt x="56" y="11"/>
                  </a:lnTo>
                  <a:lnTo>
                    <a:pt x="59" y="11"/>
                  </a:lnTo>
                  <a:lnTo>
                    <a:pt x="62" y="11"/>
                  </a:lnTo>
                  <a:lnTo>
                    <a:pt x="65" y="11"/>
                  </a:lnTo>
                  <a:lnTo>
                    <a:pt x="70" y="11"/>
                  </a:lnTo>
                  <a:lnTo>
                    <a:pt x="73" y="10"/>
                  </a:lnTo>
                  <a:lnTo>
                    <a:pt x="77" y="7"/>
                  </a:lnTo>
                  <a:lnTo>
                    <a:pt x="80" y="5"/>
                  </a:lnTo>
                  <a:lnTo>
                    <a:pt x="83" y="5"/>
                  </a:lnTo>
                  <a:lnTo>
                    <a:pt x="86" y="7"/>
                  </a:lnTo>
                  <a:lnTo>
                    <a:pt x="91" y="7"/>
                  </a:lnTo>
                  <a:lnTo>
                    <a:pt x="94" y="3"/>
                  </a:lnTo>
                  <a:lnTo>
                    <a:pt x="97" y="3"/>
                  </a:lnTo>
                  <a:lnTo>
                    <a:pt x="100" y="2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02" y="11"/>
                  </a:lnTo>
                  <a:lnTo>
                    <a:pt x="96" y="21"/>
                  </a:lnTo>
                  <a:lnTo>
                    <a:pt x="94" y="24"/>
                  </a:lnTo>
                  <a:lnTo>
                    <a:pt x="92" y="27"/>
                  </a:lnTo>
                  <a:lnTo>
                    <a:pt x="92" y="30"/>
                  </a:lnTo>
                  <a:lnTo>
                    <a:pt x="89" y="33"/>
                  </a:lnTo>
                  <a:lnTo>
                    <a:pt x="89" y="37"/>
                  </a:lnTo>
                  <a:lnTo>
                    <a:pt x="89" y="38"/>
                  </a:lnTo>
                  <a:lnTo>
                    <a:pt x="94" y="41"/>
                  </a:lnTo>
                  <a:lnTo>
                    <a:pt x="92" y="45"/>
                  </a:lnTo>
                  <a:lnTo>
                    <a:pt x="96" y="48"/>
                  </a:lnTo>
                  <a:lnTo>
                    <a:pt x="97" y="51"/>
                  </a:lnTo>
                  <a:lnTo>
                    <a:pt x="94" y="54"/>
                  </a:lnTo>
                  <a:lnTo>
                    <a:pt x="92" y="59"/>
                  </a:lnTo>
                  <a:lnTo>
                    <a:pt x="91" y="62"/>
                  </a:lnTo>
                  <a:lnTo>
                    <a:pt x="91" y="65"/>
                  </a:lnTo>
                  <a:lnTo>
                    <a:pt x="88" y="65"/>
                  </a:lnTo>
                  <a:lnTo>
                    <a:pt x="88" y="65"/>
                  </a:lnTo>
                  <a:lnTo>
                    <a:pt x="85" y="64"/>
                  </a:lnTo>
                  <a:lnTo>
                    <a:pt x="80" y="65"/>
                  </a:lnTo>
                  <a:lnTo>
                    <a:pt x="77" y="65"/>
                  </a:lnTo>
                  <a:lnTo>
                    <a:pt x="73" y="62"/>
                  </a:lnTo>
                  <a:lnTo>
                    <a:pt x="70" y="62"/>
                  </a:lnTo>
                  <a:lnTo>
                    <a:pt x="69" y="59"/>
                  </a:lnTo>
                  <a:lnTo>
                    <a:pt x="67" y="56"/>
                  </a:lnTo>
                  <a:lnTo>
                    <a:pt x="65" y="54"/>
                  </a:lnTo>
                  <a:lnTo>
                    <a:pt x="62" y="51"/>
                  </a:lnTo>
                  <a:lnTo>
                    <a:pt x="58" y="49"/>
                  </a:lnTo>
                  <a:lnTo>
                    <a:pt x="54" y="49"/>
                  </a:lnTo>
                  <a:lnTo>
                    <a:pt x="54" y="49"/>
                  </a:lnTo>
                  <a:lnTo>
                    <a:pt x="51" y="49"/>
                  </a:lnTo>
                  <a:lnTo>
                    <a:pt x="48" y="48"/>
                  </a:lnTo>
                  <a:lnTo>
                    <a:pt x="45" y="46"/>
                  </a:lnTo>
                  <a:lnTo>
                    <a:pt x="42" y="45"/>
                  </a:lnTo>
                  <a:lnTo>
                    <a:pt x="39" y="41"/>
                  </a:lnTo>
                  <a:lnTo>
                    <a:pt x="34" y="41"/>
                  </a:lnTo>
                  <a:lnTo>
                    <a:pt x="24" y="33"/>
                  </a:lnTo>
                  <a:lnTo>
                    <a:pt x="15" y="3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41" name="Freeform 591"/>
            <p:cNvSpPr>
              <a:spLocks/>
            </p:cNvSpPr>
            <p:nvPr/>
          </p:nvSpPr>
          <p:spPr bwMode="auto">
            <a:xfrm>
              <a:off x="5847257" y="2933414"/>
              <a:ext cx="72047" cy="30464"/>
            </a:xfrm>
            <a:custGeom>
              <a:avLst/>
              <a:gdLst>
                <a:gd name="T0" fmla="*/ 3 w 97"/>
                <a:gd name="T1" fmla="*/ 29 h 37"/>
                <a:gd name="T2" fmla="*/ 6 w 97"/>
                <a:gd name="T3" fmla="*/ 24 h 37"/>
                <a:gd name="T4" fmla="*/ 9 w 97"/>
                <a:gd name="T5" fmla="*/ 17 h 37"/>
                <a:gd name="T6" fmla="*/ 9 w 97"/>
                <a:gd name="T7" fmla="*/ 13 h 37"/>
                <a:gd name="T8" fmla="*/ 17 w 97"/>
                <a:gd name="T9" fmla="*/ 13 h 37"/>
                <a:gd name="T10" fmla="*/ 24 w 97"/>
                <a:gd name="T11" fmla="*/ 11 h 37"/>
                <a:gd name="T12" fmla="*/ 28 w 97"/>
                <a:gd name="T13" fmla="*/ 10 h 37"/>
                <a:gd name="T14" fmla="*/ 38 w 97"/>
                <a:gd name="T15" fmla="*/ 0 h 37"/>
                <a:gd name="T16" fmla="*/ 32 w 97"/>
                <a:gd name="T17" fmla="*/ 8 h 37"/>
                <a:gd name="T18" fmla="*/ 33 w 97"/>
                <a:gd name="T19" fmla="*/ 13 h 37"/>
                <a:gd name="T20" fmla="*/ 39 w 97"/>
                <a:gd name="T21" fmla="*/ 14 h 37"/>
                <a:gd name="T22" fmla="*/ 47 w 97"/>
                <a:gd name="T23" fmla="*/ 11 h 37"/>
                <a:gd name="T24" fmla="*/ 44 w 97"/>
                <a:gd name="T25" fmla="*/ 3 h 37"/>
                <a:gd name="T26" fmla="*/ 49 w 97"/>
                <a:gd name="T27" fmla="*/ 0 h 37"/>
                <a:gd name="T28" fmla="*/ 54 w 97"/>
                <a:gd name="T29" fmla="*/ 3 h 37"/>
                <a:gd name="T30" fmla="*/ 62 w 97"/>
                <a:gd name="T31" fmla="*/ 5 h 37"/>
                <a:gd name="T32" fmla="*/ 66 w 97"/>
                <a:gd name="T33" fmla="*/ 8 h 37"/>
                <a:gd name="T34" fmla="*/ 74 w 97"/>
                <a:gd name="T35" fmla="*/ 10 h 37"/>
                <a:gd name="T36" fmla="*/ 81 w 97"/>
                <a:gd name="T37" fmla="*/ 8 h 37"/>
                <a:gd name="T38" fmla="*/ 89 w 97"/>
                <a:gd name="T39" fmla="*/ 8 h 37"/>
                <a:gd name="T40" fmla="*/ 89 w 97"/>
                <a:gd name="T41" fmla="*/ 11 h 37"/>
                <a:gd name="T42" fmla="*/ 97 w 97"/>
                <a:gd name="T43" fmla="*/ 14 h 37"/>
                <a:gd name="T44" fmla="*/ 93 w 97"/>
                <a:gd name="T45" fmla="*/ 21 h 37"/>
                <a:gd name="T46" fmla="*/ 93 w 97"/>
                <a:gd name="T47" fmla="*/ 24 h 37"/>
                <a:gd name="T48" fmla="*/ 93 w 97"/>
                <a:gd name="T49" fmla="*/ 32 h 37"/>
                <a:gd name="T50" fmla="*/ 95 w 97"/>
                <a:gd name="T51" fmla="*/ 35 h 37"/>
                <a:gd name="T52" fmla="*/ 73 w 97"/>
                <a:gd name="T53" fmla="*/ 37 h 37"/>
                <a:gd name="T54" fmla="*/ 28 w 97"/>
                <a:gd name="T55" fmla="*/ 35 h 37"/>
                <a:gd name="T56" fmla="*/ 9 w 97"/>
                <a:gd name="T57" fmla="*/ 30 h 37"/>
                <a:gd name="T58" fmla="*/ 11 w 97"/>
                <a:gd name="T59" fmla="*/ 27 h 37"/>
                <a:gd name="T60" fmla="*/ 19 w 97"/>
                <a:gd name="T61" fmla="*/ 25 h 37"/>
                <a:gd name="T62" fmla="*/ 17 w 97"/>
                <a:gd name="T63" fmla="*/ 22 h 37"/>
                <a:gd name="T64" fmla="*/ 11 w 97"/>
                <a:gd name="T65" fmla="*/ 21 h 37"/>
                <a:gd name="T66" fmla="*/ 1 w 97"/>
                <a:gd name="T67" fmla="*/ 3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7" h="37">
                  <a:moveTo>
                    <a:pt x="0" y="32"/>
                  </a:moveTo>
                  <a:lnTo>
                    <a:pt x="3" y="29"/>
                  </a:lnTo>
                  <a:lnTo>
                    <a:pt x="6" y="25"/>
                  </a:lnTo>
                  <a:lnTo>
                    <a:pt x="6" y="24"/>
                  </a:lnTo>
                  <a:lnTo>
                    <a:pt x="9" y="21"/>
                  </a:lnTo>
                  <a:lnTo>
                    <a:pt x="9" y="17"/>
                  </a:lnTo>
                  <a:lnTo>
                    <a:pt x="8" y="14"/>
                  </a:lnTo>
                  <a:lnTo>
                    <a:pt x="9" y="13"/>
                  </a:lnTo>
                  <a:lnTo>
                    <a:pt x="14" y="13"/>
                  </a:lnTo>
                  <a:lnTo>
                    <a:pt x="17" y="13"/>
                  </a:lnTo>
                  <a:lnTo>
                    <a:pt x="20" y="13"/>
                  </a:lnTo>
                  <a:lnTo>
                    <a:pt x="24" y="11"/>
                  </a:lnTo>
                  <a:lnTo>
                    <a:pt x="27" y="11"/>
                  </a:lnTo>
                  <a:lnTo>
                    <a:pt x="28" y="10"/>
                  </a:lnTo>
                  <a:lnTo>
                    <a:pt x="32" y="6"/>
                  </a:lnTo>
                  <a:lnTo>
                    <a:pt x="38" y="0"/>
                  </a:lnTo>
                  <a:lnTo>
                    <a:pt x="39" y="0"/>
                  </a:lnTo>
                  <a:lnTo>
                    <a:pt x="32" y="8"/>
                  </a:lnTo>
                  <a:lnTo>
                    <a:pt x="27" y="13"/>
                  </a:lnTo>
                  <a:lnTo>
                    <a:pt x="33" y="13"/>
                  </a:lnTo>
                  <a:lnTo>
                    <a:pt x="36" y="14"/>
                  </a:lnTo>
                  <a:lnTo>
                    <a:pt x="39" y="14"/>
                  </a:lnTo>
                  <a:lnTo>
                    <a:pt x="44" y="14"/>
                  </a:lnTo>
                  <a:lnTo>
                    <a:pt x="47" y="11"/>
                  </a:lnTo>
                  <a:lnTo>
                    <a:pt x="46" y="6"/>
                  </a:lnTo>
                  <a:lnTo>
                    <a:pt x="44" y="3"/>
                  </a:lnTo>
                  <a:lnTo>
                    <a:pt x="47" y="0"/>
                  </a:lnTo>
                  <a:lnTo>
                    <a:pt x="49" y="0"/>
                  </a:lnTo>
                  <a:lnTo>
                    <a:pt x="51" y="0"/>
                  </a:lnTo>
                  <a:lnTo>
                    <a:pt x="54" y="3"/>
                  </a:lnTo>
                  <a:lnTo>
                    <a:pt x="57" y="3"/>
                  </a:lnTo>
                  <a:lnTo>
                    <a:pt x="62" y="5"/>
                  </a:lnTo>
                  <a:lnTo>
                    <a:pt x="65" y="6"/>
                  </a:lnTo>
                  <a:lnTo>
                    <a:pt x="66" y="8"/>
                  </a:lnTo>
                  <a:lnTo>
                    <a:pt x="71" y="8"/>
                  </a:lnTo>
                  <a:lnTo>
                    <a:pt x="74" y="10"/>
                  </a:lnTo>
                  <a:lnTo>
                    <a:pt x="78" y="8"/>
                  </a:lnTo>
                  <a:lnTo>
                    <a:pt x="81" y="8"/>
                  </a:lnTo>
                  <a:lnTo>
                    <a:pt x="84" y="8"/>
                  </a:lnTo>
                  <a:lnTo>
                    <a:pt x="89" y="8"/>
                  </a:lnTo>
                  <a:lnTo>
                    <a:pt x="89" y="8"/>
                  </a:lnTo>
                  <a:lnTo>
                    <a:pt x="89" y="11"/>
                  </a:lnTo>
                  <a:lnTo>
                    <a:pt x="93" y="13"/>
                  </a:lnTo>
                  <a:lnTo>
                    <a:pt x="97" y="14"/>
                  </a:lnTo>
                  <a:lnTo>
                    <a:pt x="97" y="17"/>
                  </a:lnTo>
                  <a:lnTo>
                    <a:pt x="93" y="21"/>
                  </a:lnTo>
                  <a:lnTo>
                    <a:pt x="93" y="24"/>
                  </a:lnTo>
                  <a:lnTo>
                    <a:pt x="93" y="24"/>
                  </a:lnTo>
                  <a:lnTo>
                    <a:pt x="93" y="29"/>
                  </a:lnTo>
                  <a:lnTo>
                    <a:pt x="93" y="32"/>
                  </a:lnTo>
                  <a:lnTo>
                    <a:pt x="93" y="32"/>
                  </a:lnTo>
                  <a:lnTo>
                    <a:pt x="95" y="35"/>
                  </a:lnTo>
                  <a:lnTo>
                    <a:pt x="97" y="35"/>
                  </a:lnTo>
                  <a:lnTo>
                    <a:pt x="73" y="37"/>
                  </a:lnTo>
                  <a:lnTo>
                    <a:pt x="51" y="37"/>
                  </a:lnTo>
                  <a:lnTo>
                    <a:pt x="28" y="35"/>
                  </a:lnTo>
                  <a:lnTo>
                    <a:pt x="5" y="32"/>
                  </a:lnTo>
                  <a:lnTo>
                    <a:pt x="9" y="30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4" y="27"/>
                  </a:lnTo>
                  <a:lnTo>
                    <a:pt x="19" y="25"/>
                  </a:lnTo>
                  <a:lnTo>
                    <a:pt x="22" y="22"/>
                  </a:lnTo>
                  <a:lnTo>
                    <a:pt x="17" y="22"/>
                  </a:lnTo>
                  <a:lnTo>
                    <a:pt x="14" y="24"/>
                  </a:lnTo>
                  <a:lnTo>
                    <a:pt x="11" y="21"/>
                  </a:lnTo>
                  <a:lnTo>
                    <a:pt x="6" y="27"/>
                  </a:lnTo>
                  <a:lnTo>
                    <a:pt x="1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42" name="Freeform 592"/>
            <p:cNvSpPr>
              <a:spLocks/>
            </p:cNvSpPr>
            <p:nvPr/>
          </p:nvSpPr>
          <p:spPr bwMode="auto">
            <a:xfrm>
              <a:off x="6022230" y="3160199"/>
              <a:ext cx="86752" cy="99854"/>
            </a:xfrm>
            <a:custGeom>
              <a:avLst/>
              <a:gdLst>
                <a:gd name="T0" fmla="*/ 3 w 119"/>
                <a:gd name="T1" fmla="*/ 6 h 119"/>
                <a:gd name="T2" fmla="*/ 11 w 119"/>
                <a:gd name="T3" fmla="*/ 3 h 119"/>
                <a:gd name="T4" fmla="*/ 30 w 119"/>
                <a:gd name="T5" fmla="*/ 0 h 119"/>
                <a:gd name="T6" fmla="*/ 35 w 119"/>
                <a:gd name="T7" fmla="*/ 0 h 119"/>
                <a:gd name="T8" fmla="*/ 40 w 119"/>
                <a:gd name="T9" fmla="*/ 3 h 119"/>
                <a:gd name="T10" fmla="*/ 49 w 119"/>
                <a:gd name="T11" fmla="*/ 10 h 119"/>
                <a:gd name="T12" fmla="*/ 57 w 119"/>
                <a:gd name="T13" fmla="*/ 11 h 119"/>
                <a:gd name="T14" fmla="*/ 60 w 119"/>
                <a:gd name="T15" fmla="*/ 11 h 119"/>
                <a:gd name="T16" fmla="*/ 72 w 119"/>
                <a:gd name="T17" fmla="*/ 17 h 119"/>
                <a:gd name="T18" fmla="*/ 83 w 119"/>
                <a:gd name="T19" fmla="*/ 22 h 119"/>
                <a:gd name="T20" fmla="*/ 84 w 119"/>
                <a:gd name="T21" fmla="*/ 30 h 119"/>
                <a:gd name="T22" fmla="*/ 83 w 119"/>
                <a:gd name="T23" fmla="*/ 38 h 119"/>
                <a:gd name="T24" fmla="*/ 92 w 119"/>
                <a:gd name="T25" fmla="*/ 44 h 119"/>
                <a:gd name="T26" fmla="*/ 97 w 119"/>
                <a:gd name="T27" fmla="*/ 51 h 119"/>
                <a:gd name="T28" fmla="*/ 102 w 119"/>
                <a:gd name="T29" fmla="*/ 60 h 119"/>
                <a:gd name="T30" fmla="*/ 111 w 119"/>
                <a:gd name="T31" fmla="*/ 67 h 119"/>
                <a:gd name="T32" fmla="*/ 111 w 119"/>
                <a:gd name="T33" fmla="*/ 70 h 119"/>
                <a:gd name="T34" fmla="*/ 111 w 119"/>
                <a:gd name="T35" fmla="*/ 76 h 119"/>
                <a:gd name="T36" fmla="*/ 119 w 119"/>
                <a:gd name="T37" fmla="*/ 81 h 119"/>
                <a:gd name="T38" fmla="*/ 114 w 119"/>
                <a:gd name="T39" fmla="*/ 83 h 119"/>
                <a:gd name="T40" fmla="*/ 105 w 119"/>
                <a:gd name="T41" fmla="*/ 81 h 119"/>
                <a:gd name="T42" fmla="*/ 97 w 119"/>
                <a:gd name="T43" fmla="*/ 78 h 119"/>
                <a:gd name="T44" fmla="*/ 91 w 119"/>
                <a:gd name="T45" fmla="*/ 83 h 119"/>
                <a:gd name="T46" fmla="*/ 84 w 119"/>
                <a:gd name="T47" fmla="*/ 78 h 119"/>
                <a:gd name="T48" fmla="*/ 81 w 119"/>
                <a:gd name="T49" fmla="*/ 83 h 119"/>
                <a:gd name="T50" fmla="*/ 84 w 119"/>
                <a:gd name="T51" fmla="*/ 92 h 119"/>
                <a:gd name="T52" fmla="*/ 79 w 119"/>
                <a:gd name="T53" fmla="*/ 98 h 119"/>
                <a:gd name="T54" fmla="*/ 72 w 119"/>
                <a:gd name="T55" fmla="*/ 106 h 119"/>
                <a:gd name="T56" fmla="*/ 70 w 119"/>
                <a:gd name="T57" fmla="*/ 109 h 119"/>
                <a:gd name="T58" fmla="*/ 67 w 119"/>
                <a:gd name="T59" fmla="*/ 117 h 119"/>
                <a:gd name="T60" fmla="*/ 60 w 119"/>
                <a:gd name="T61" fmla="*/ 117 h 119"/>
                <a:gd name="T62" fmla="*/ 59 w 119"/>
                <a:gd name="T63" fmla="*/ 119 h 119"/>
                <a:gd name="T64" fmla="*/ 57 w 119"/>
                <a:gd name="T65" fmla="*/ 111 h 119"/>
                <a:gd name="T66" fmla="*/ 56 w 119"/>
                <a:gd name="T67" fmla="*/ 102 h 119"/>
                <a:gd name="T68" fmla="*/ 56 w 119"/>
                <a:gd name="T69" fmla="*/ 92 h 119"/>
                <a:gd name="T70" fmla="*/ 56 w 119"/>
                <a:gd name="T71" fmla="*/ 86 h 119"/>
                <a:gd name="T72" fmla="*/ 57 w 119"/>
                <a:gd name="T73" fmla="*/ 76 h 119"/>
                <a:gd name="T74" fmla="*/ 54 w 119"/>
                <a:gd name="T75" fmla="*/ 67 h 119"/>
                <a:gd name="T76" fmla="*/ 51 w 119"/>
                <a:gd name="T77" fmla="*/ 60 h 119"/>
                <a:gd name="T78" fmla="*/ 41 w 119"/>
                <a:gd name="T79" fmla="*/ 52 h 119"/>
                <a:gd name="T80" fmla="*/ 37 w 119"/>
                <a:gd name="T81" fmla="*/ 46 h 119"/>
                <a:gd name="T82" fmla="*/ 30 w 119"/>
                <a:gd name="T83" fmla="*/ 38 h 119"/>
                <a:gd name="T84" fmla="*/ 26 w 119"/>
                <a:gd name="T85" fmla="*/ 33 h 119"/>
                <a:gd name="T86" fmla="*/ 19 w 119"/>
                <a:gd name="T87" fmla="*/ 22 h 119"/>
                <a:gd name="T88" fmla="*/ 16 w 119"/>
                <a:gd name="T89" fmla="*/ 17 h 119"/>
                <a:gd name="T90" fmla="*/ 6 w 119"/>
                <a:gd name="T91" fmla="*/ 1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19" h="119">
                  <a:moveTo>
                    <a:pt x="0" y="8"/>
                  </a:moveTo>
                  <a:lnTo>
                    <a:pt x="0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2"/>
                  </a:lnTo>
                  <a:lnTo>
                    <a:pt x="11" y="3"/>
                  </a:lnTo>
                  <a:lnTo>
                    <a:pt x="18" y="3"/>
                  </a:lnTo>
                  <a:lnTo>
                    <a:pt x="24" y="0"/>
                  </a:lnTo>
                  <a:lnTo>
                    <a:pt x="30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40" y="3"/>
                  </a:lnTo>
                  <a:lnTo>
                    <a:pt x="43" y="5"/>
                  </a:lnTo>
                  <a:lnTo>
                    <a:pt x="46" y="8"/>
                  </a:lnTo>
                  <a:lnTo>
                    <a:pt x="49" y="10"/>
                  </a:lnTo>
                  <a:lnTo>
                    <a:pt x="52" y="8"/>
                  </a:lnTo>
                  <a:lnTo>
                    <a:pt x="54" y="11"/>
                  </a:lnTo>
                  <a:lnTo>
                    <a:pt x="57" y="11"/>
                  </a:lnTo>
                  <a:lnTo>
                    <a:pt x="59" y="14"/>
                  </a:lnTo>
                  <a:lnTo>
                    <a:pt x="59" y="14"/>
                  </a:lnTo>
                  <a:lnTo>
                    <a:pt x="60" y="11"/>
                  </a:lnTo>
                  <a:lnTo>
                    <a:pt x="67" y="13"/>
                  </a:lnTo>
                  <a:lnTo>
                    <a:pt x="70" y="14"/>
                  </a:lnTo>
                  <a:lnTo>
                    <a:pt x="72" y="17"/>
                  </a:lnTo>
                  <a:lnTo>
                    <a:pt x="76" y="21"/>
                  </a:lnTo>
                  <a:lnTo>
                    <a:pt x="79" y="17"/>
                  </a:lnTo>
                  <a:lnTo>
                    <a:pt x="83" y="22"/>
                  </a:lnTo>
                  <a:lnTo>
                    <a:pt x="83" y="25"/>
                  </a:lnTo>
                  <a:lnTo>
                    <a:pt x="84" y="27"/>
                  </a:lnTo>
                  <a:lnTo>
                    <a:pt x="84" y="30"/>
                  </a:lnTo>
                  <a:lnTo>
                    <a:pt x="84" y="33"/>
                  </a:lnTo>
                  <a:lnTo>
                    <a:pt x="83" y="33"/>
                  </a:lnTo>
                  <a:lnTo>
                    <a:pt x="83" y="38"/>
                  </a:lnTo>
                  <a:lnTo>
                    <a:pt x="86" y="40"/>
                  </a:lnTo>
                  <a:lnTo>
                    <a:pt x="89" y="41"/>
                  </a:lnTo>
                  <a:lnTo>
                    <a:pt x="92" y="44"/>
                  </a:lnTo>
                  <a:lnTo>
                    <a:pt x="95" y="43"/>
                  </a:lnTo>
                  <a:lnTo>
                    <a:pt x="98" y="48"/>
                  </a:lnTo>
                  <a:lnTo>
                    <a:pt x="97" y="51"/>
                  </a:lnTo>
                  <a:lnTo>
                    <a:pt x="97" y="54"/>
                  </a:lnTo>
                  <a:lnTo>
                    <a:pt x="98" y="57"/>
                  </a:lnTo>
                  <a:lnTo>
                    <a:pt x="102" y="60"/>
                  </a:lnTo>
                  <a:lnTo>
                    <a:pt x="105" y="63"/>
                  </a:lnTo>
                  <a:lnTo>
                    <a:pt x="108" y="63"/>
                  </a:lnTo>
                  <a:lnTo>
                    <a:pt x="111" y="67"/>
                  </a:lnTo>
                  <a:lnTo>
                    <a:pt x="111" y="67"/>
                  </a:lnTo>
                  <a:lnTo>
                    <a:pt x="111" y="68"/>
                  </a:lnTo>
                  <a:lnTo>
                    <a:pt x="111" y="70"/>
                  </a:lnTo>
                  <a:lnTo>
                    <a:pt x="113" y="75"/>
                  </a:lnTo>
                  <a:lnTo>
                    <a:pt x="110" y="76"/>
                  </a:lnTo>
                  <a:lnTo>
                    <a:pt x="111" y="76"/>
                  </a:lnTo>
                  <a:lnTo>
                    <a:pt x="114" y="78"/>
                  </a:lnTo>
                  <a:lnTo>
                    <a:pt x="114" y="79"/>
                  </a:lnTo>
                  <a:lnTo>
                    <a:pt x="119" y="81"/>
                  </a:lnTo>
                  <a:lnTo>
                    <a:pt x="119" y="81"/>
                  </a:lnTo>
                  <a:lnTo>
                    <a:pt x="117" y="83"/>
                  </a:lnTo>
                  <a:lnTo>
                    <a:pt x="114" y="83"/>
                  </a:lnTo>
                  <a:lnTo>
                    <a:pt x="110" y="84"/>
                  </a:lnTo>
                  <a:lnTo>
                    <a:pt x="108" y="81"/>
                  </a:lnTo>
                  <a:lnTo>
                    <a:pt x="105" y="81"/>
                  </a:lnTo>
                  <a:lnTo>
                    <a:pt x="103" y="83"/>
                  </a:lnTo>
                  <a:lnTo>
                    <a:pt x="100" y="81"/>
                  </a:lnTo>
                  <a:lnTo>
                    <a:pt x="97" y="78"/>
                  </a:lnTo>
                  <a:lnTo>
                    <a:pt x="94" y="79"/>
                  </a:lnTo>
                  <a:lnTo>
                    <a:pt x="94" y="78"/>
                  </a:lnTo>
                  <a:lnTo>
                    <a:pt x="91" y="83"/>
                  </a:lnTo>
                  <a:lnTo>
                    <a:pt x="89" y="78"/>
                  </a:lnTo>
                  <a:lnTo>
                    <a:pt x="87" y="76"/>
                  </a:lnTo>
                  <a:lnTo>
                    <a:pt x="84" y="78"/>
                  </a:lnTo>
                  <a:lnTo>
                    <a:pt x="81" y="79"/>
                  </a:lnTo>
                  <a:lnTo>
                    <a:pt x="81" y="79"/>
                  </a:lnTo>
                  <a:lnTo>
                    <a:pt x="81" y="83"/>
                  </a:lnTo>
                  <a:lnTo>
                    <a:pt x="81" y="84"/>
                  </a:lnTo>
                  <a:lnTo>
                    <a:pt x="83" y="87"/>
                  </a:lnTo>
                  <a:lnTo>
                    <a:pt x="84" y="92"/>
                  </a:lnTo>
                  <a:lnTo>
                    <a:pt x="83" y="95"/>
                  </a:lnTo>
                  <a:lnTo>
                    <a:pt x="81" y="98"/>
                  </a:lnTo>
                  <a:lnTo>
                    <a:pt x="79" y="98"/>
                  </a:lnTo>
                  <a:lnTo>
                    <a:pt x="76" y="102"/>
                  </a:lnTo>
                  <a:lnTo>
                    <a:pt x="75" y="105"/>
                  </a:lnTo>
                  <a:lnTo>
                    <a:pt x="72" y="106"/>
                  </a:lnTo>
                  <a:lnTo>
                    <a:pt x="72" y="109"/>
                  </a:lnTo>
                  <a:lnTo>
                    <a:pt x="72" y="109"/>
                  </a:lnTo>
                  <a:lnTo>
                    <a:pt x="70" y="109"/>
                  </a:lnTo>
                  <a:lnTo>
                    <a:pt x="70" y="113"/>
                  </a:lnTo>
                  <a:lnTo>
                    <a:pt x="70" y="116"/>
                  </a:lnTo>
                  <a:lnTo>
                    <a:pt x="67" y="117"/>
                  </a:lnTo>
                  <a:lnTo>
                    <a:pt x="67" y="117"/>
                  </a:lnTo>
                  <a:lnTo>
                    <a:pt x="64" y="117"/>
                  </a:lnTo>
                  <a:lnTo>
                    <a:pt x="60" y="117"/>
                  </a:lnTo>
                  <a:lnTo>
                    <a:pt x="60" y="117"/>
                  </a:lnTo>
                  <a:lnTo>
                    <a:pt x="60" y="119"/>
                  </a:lnTo>
                  <a:lnTo>
                    <a:pt x="59" y="119"/>
                  </a:lnTo>
                  <a:lnTo>
                    <a:pt x="59" y="117"/>
                  </a:lnTo>
                  <a:lnTo>
                    <a:pt x="57" y="114"/>
                  </a:lnTo>
                  <a:lnTo>
                    <a:pt x="57" y="111"/>
                  </a:lnTo>
                  <a:lnTo>
                    <a:pt x="57" y="108"/>
                  </a:lnTo>
                  <a:lnTo>
                    <a:pt x="56" y="105"/>
                  </a:lnTo>
                  <a:lnTo>
                    <a:pt x="56" y="102"/>
                  </a:lnTo>
                  <a:lnTo>
                    <a:pt x="54" y="97"/>
                  </a:lnTo>
                  <a:lnTo>
                    <a:pt x="54" y="94"/>
                  </a:lnTo>
                  <a:lnTo>
                    <a:pt x="56" y="92"/>
                  </a:lnTo>
                  <a:lnTo>
                    <a:pt x="54" y="89"/>
                  </a:lnTo>
                  <a:lnTo>
                    <a:pt x="54" y="87"/>
                  </a:lnTo>
                  <a:lnTo>
                    <a:pt x="56" y="86"/>
                  </a:lnTo>
                  <a:lnTo>
                    <a:pt x="57" y="83"/>
                  </a:lnTo>
                  <a:lnTo>
                    <a:pt x="57" y="79"/>
                  </a:lnTo>
                  <a:lnTo>
                    <a:pt x="57" y="76"/>
                  </a:lnTo>
                  <a:lnTo>
                    <a:pt x="57" y="73"/>
                  </a:lnTo>
                  <a:lnTo>
                    <a:pt x="56" y="70"/>
                  </a:lnTo>
                  <a:lnTo>
                    <a:pt x="54" y="67"/>
                  </a:lnTo>
                  <a:lnTo>
                    <a:pt x="54" y="67"/>
                  </a:lnTo>
                  <a:lnTo>
                    <a:pt x="52" y="63"/>
                  </a:lnTo>
                  <a:lnTo>
                    <a:pt x="51" y="60"/>
                  </a:lnTo>
                  <a:lnTo>
                    <a:pt x="48" y="57"/>
                  </a:lnTo>
                  <a:lnTo>
                    <a:pt x="45" y="54"/>
                  </a:lnTo>
                  <a:lnTo>
                    <a:pt x="41" y="52"/>
                  </a:lnTo>
                  <a:lnTo>
                    <a:pt x="40" y="49"/>
                  </a:lnTo>
                  <a:lnTo>
                    <a:pt x="40" y="49"/>
                  </a:lnTo>
                  <a:lnTo>
                    <a:pt x="37" y="46"/>
                  </a:lnTo>
                  <a:lnTo>
                    <a:pt x="33" y="43"/>
                  </a:lnTo>
                  <a:lnTo>
                    <a:pt x="33" y="40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2" y="29"/>
                  </a:lnTo>
                  <a:lnTo>
                    <a:pt x="21" y="25"/>
                  </a:lnTo>
                  <a:lnTo>
                    <a:pt x="19" y="22"/>
                  </a:lnTo>
                  <a:lnTo>
                    <a:pt x="18" y="19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3" y="14"/>
                  </a:lnTo>
                  <a:lnTo>
                    <a:pt x="11" y="11"/>
                  </a:lnTo>
                  <a:lnTo>
                    <a:pt x="6" y="10"/>
                  </a:lnTo>
                  <a:lnTo>
                    <a:pt x="3" y="8"/>
                  </a:lnTo>
                  <a:lnTo>
                    <a:pt x="0" y="8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43" name="Freeform 593"/>
            <p:cNvSpPr>
              <a:spLocks/>
            </p:cNvSpPr>
            <p:nvPr/>
          </p:nvSpPr>
          <p:spPr bwMode="auto">
            <a:xfrm>
              <a:off x="5931068" y="3302363"/>
              <a:ext cx="148506" cy="101546"/>
            </a:xfrm>
            <a:custGeom>
              <a:avLst/>
              <a:gdLst>
                <a:gd name="T0" fmla="*/ 4 w 203"/>
                <a:gd name="T1" fmla="*/ 10 h 121"/>
                <a:gd name="T2" fmla="*/ 8 w 203"/>
                <a:gd name="T3" fmla="*/ 0 h 121"/>
                <a:gd name="T4" fmla="*/ 19 w 203"/>
                <a:gd name="T5" fmla="*/ 10 h 121"/>
                <a:gd name="T6" fmla="*/ 16 w 203"/>
                <a:gd name="T7" fmla="*/ 11 h 121"/>
                <a:gd name="T8" fmla="*/ 15 w 203"/>
                <a:gd name="T9" fmla="*/ 16 h 121"/>
                <a:gd name="T10" fmla="*/ 21 w 203"/>
                <a:gd name="T11" fmla="*/ 18 h 121"/>
                <a:gd name="T12" fmla="*/ 29 w 203"/>
                <a:gd name="T13" fmla="*/ 16 h 121"/>
                <a:gd name="T14" fmla="*/ 37 w 203"/>
                <a:gd name="T15" fmla="*/ 16 h 121"/>
                <a:gd name="T16" fmla="*/ 45 w 203"/>
                <a:gd name="T17" fmla="*/ 18 h 121"/>
                <a:gd name="T18" fmla="*/ 54 w 203"/>
                <a:gd name="T19" fmla="*/ 21 h 121"/>
                <a:gd name="T20" fmla="*/ 58 w 203"/>
                <a:gd name="T21" fmla="*/ 22 h 121"/>
                <a:gd name="T22" fmla="*/ 67 w 203"/>
                <a:gd name="T23" fmla="*/ 21 h 121"/>
                <a:gd name="T24" fmla="*/ 75 w 203"/>
                <a:gd name="T25" fmla="*/ 21 h 121"/>
                <a:gd name="T26" fmla="*/ 86 w 203"/>
                <a:gd name="T27" fmla="*/ 21 h 121"/>
                <a:gd name="T28" fmla="*/ 96 w 203"/>
                <a:gd name="T29" fmla="*/ 24 h 121"/>
                <a:gd name="T30" fmla="*/ 108 w 203"/>
                <a:gd name="T31" fmla="*/ 22 h 121"/>
                <a:gd name="T32" fmla="*/ 116 w 203"/>
                <a:gd name="T33" fmla="*/ 16 h 121"/>
                <a:gd name="T34" fmla="*/ 121 w 203"/>
                <a:gd name="T35" fmla="*/ 13 h 121"/>
                <a:gd name="T36" fmla="*/ 126 w 203"/>
                <a:gd name="T37" fmla="*/ 10 h 121"/>
                <a:gd name="T38" fmla="*/ 153 w 203"/>
                <a:gd name="T39" fmla="*/ 5 h 121"/>
                <a:gd name="T40" fmla="*/ 159 w 203"/>
                <a:gd name="T41" fmla="*/ 5 h 121"/>
                <a:gd name="T42" fmla="*/ 173 w 203"/>
                <a:gd name="T43" fmla="*/ 10 h 121"/>
                <a:gd name="T44" fmla="*/ 189 w 203"/>
                <a:gd name="T45" fmla="*/ 19 h 121"/>
                <a:gd name="T46" fmla="*/ 203 w 203"/>
                <a:gd name="T47" fmla="*/ 27 h 121"/>
                <a:gd name="T48" fmla="*/ 194 w 203"/>
                <a:gd name="T49" fmla="*/ 33 h 121"/>
                <a:gd name="T50" fmla="*/ 183 w 203"/>
                <a:gd name="T51" fmla="*/ 43 h 121"/>
                <a:gd name="T52" fmla="*/ 183 w 203"/>
                <a:gd name="T53" fmla="*/ 56 h 121"/>
                <a:gd name="T54" fmla="*/ 176 w 203"/>
                <a:gd name="T55" fmla="*/ 65 h 121"/>
                <a:gd name="T56" fmla="*/ 173 w 203"/>
                <a:gd name="T57" fmla="*/ 73 h 121"/>
                <a:gd name="T58" fmla="*/ 184 w 203"/>
                <a:gd name="T59" fmla="*/ 83 h 121"/>
                <a:gd name="T60" fmla="*/ 186 w 203"/>
                <a:gd name="T61" fmla="*/ 91 h 121"/>
                <a:gd name="T62" fmla="*/ 173 w 203"/>
                <a:gd name="T63" fmla="*/ 92 h 121"/>
                <a:gd name="T64" fmla="*/ 161 w 203"/>
                <a:gd name="T65" fmla="*/ 87 h 121"/>
                <a:gd name="T66" fmla="*/ 151 w 203"/>
                <a:gd name="T67" fmla="*/ 91 h 121"/>
                <a:gd name="T68" fmla="*/ 143 w 203"/>
                <a:gd name="T69" fmla="*/ 95 h 121"/>
                <a:gd name="T70" fmla="*/ 135 w 203"/>
                <a:gd name="T71" fmla="*/ 102 h 121"/>
                <a:gd name="T72" fmla="*/ 132 w 203"/>
                <a:gd name="T73" fmla="*/ 102 h 121"/>
                <a:gd name="T74" fmla="*/ 130 w 203"/>
                <a:gd name="T75" fmla="*/ 111 h 121"/>
                <a:gd name="T76" fmla="*/ 123 w 203"/>
                <a:gd name="T77" fmla="*/ 119 h 121"/>
                <a:gd name="T78" fmla="*/ 108 w 203"/>
                <a:gd name="T79" fmla="*/ 119 h 121"/>
                <a:gd name="T80" fmla="*/ 99 w 203"/>
                <a:gd name="T81" fmla="*/ 119 h 121"/>
                <a:gd name="T82" fmla="*/ 86 w 203"/>
                <a:gd name="T83" fmla="*/ 117 h 121"/>
                <a:gd name="T84" fmla="*/ 72 w 203"/>
                <a:gd name="T85" fmla="*/ 110 h 121"/>
                <a:gd name="T86" fmla="*/ 59 w 203"/>
                <a:gd name="T87" fmla="*/ 113 h 121"/>
                <a:gd name="T88" fmla="*/ 46 w 203"/>
                <a:gd name="T89" fmla="*/ 116 h 121"/>
                <a:gd name="T90" fmla="*/ 38 w 203"/>
                <a:gd name="T91" fmla="*/ 116 h 121"/>
                <a:gd name="T92" fmla="*/ 27 w 203"/>
                <a:gd name="T93" fmla="*/ 117 h 121"/>
                <a:gd name="T94" fmla="*/ 24 w 203"/>
                <a:gd name="T95" fmla="*/ 110 h 121"/>
                <a:gd name="T96" fmla="*/ 21 w 203"/>
                <a:gd name="T97" fmla="*/ 95 h 121"/>
                <a:gd name="T98" fmla="*/ 13 w 203"/>
                <a:gd name="T99" fmla="*/ 87 h 121"/>
                <a:gd name="T100" fmla="*/ 2 w 203"/>
                <a:gd name="T101" fmla="*/ 78 h 121"/>
                <a:gd name="T102" fmla="*/ 5 w 203"/>
                <a:gd name="T103" fmla="*/ 67 h 121"/>
                <a:gd name="T104" fmla="*/ 5 w 203"/>
                <a:gd name="T105" fmla="*/ 59 h 121"/>
                <a:gd name="T106" fmla="*/ 10 w 203"/>
                <a:gd name="T107" fmla="*/ 54 h 121"/>
                <a:gd name="T108" fmla="*/ 18 w 203"/>
                <a:gd name="T109" fmla="*/ 51 h 121"/>
                <a:gd name="T110" fmla="*/ 19 w 203"/>
                <a:gd name="T111" fmla="*/ 41 h 121"/>
                <a:gd name="T112" fmla="*/ 7 w 203"/>
                <a:gd name="T113" fmla="*/ 32 h 121"/>
                <a:gd name="T114" fmla="*/ 0 w 203"/>
                <a:gd name="T115" fmla="*/ 19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3" h="121">
                  <a:moveTo>
                    <a:pt x="0" y="19"/>
                  </a:moveTo>
                  <a:lnTo>
                    <a:pt x="0" y="16"/>
                  </a:lnTo>
                  <a:lnTo>
                    <a:pt x="0" y="11"/>
                  </a:lnTo>
                  <a:lnTo>
                    <a:pt x="4" y="10"/>
                  </a:lnTo>
                  <a:lnTo>
                    <a:pt x="5" y="8"/>
                  </a:lnTo>
                  <a:lnTo>
                    <a:pt x="7" y="5"/>
                  </a:lnTo>
                  <a:lnTo>
                    <a:pt x="8" y="2"/>
                  </a:lnTo>
                  <a:lnTo>
                    <a:pt x="8" y="0"/>
                  </a:lnTo>
                  <a:lnTo>
                    <a:pt x="16" y="5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19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5" y="11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6"/>
                  </a:lnTo>
                  <a:lnTo>
                    <a:pt x="18" y="16"/>
                  </a:lnTo>
                  <a:lnTo>
                    <a:pt x="18" y="18"/>
                  </a:lnTo>
                  <a:lnTo>
                    <a:pt x="19" y="18"/>
                  </a:lnTo>
                  <a:lnTo>
                    <a:pt x="21" y="18"/>
                  </a:lnTo>
                  <a:lnTo>
                    <a:pt x="23" y="18"/>
                  </a:lnTo>
                  <a:lnTo>
                    <a:pt x="26" y="18"/>
                  </a:lnTo>
                  <a:lnTo>
                    <a:pt x="27" y="16"/>
                  </a:lnTo>
                  <a:lnTo>
                    <a:pt x="29" y="16"/>
                  </a:lnTo>
                  <a:lnTo>
                    <a:pt x="32" y="16"/>
                  </a:lnTo>
                  <a:lnTo>
                    <a:pt x="34" y="16"/>
                  </a:lnTo>
                  <a:lnTo>
                    <a:pt x="35" y="16"/>
                  </a:lnTo>
                  <a:lnTo>
                    <a:pt x="37" y="16"/>
                  </a:lnTo>
                  <a:lnTo>
                    <a:pt x="37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5" y="18"/>
                  </a:lnTo>
                  <a:lnTo>
                    <a:pt x="46" y="19"/>
                  </a:lnTo>
                  <a:lnTo>
                    <a:pt x="48" y="19"/>
                  </a:lnTo>
                  <a:lnTo>
                    <a:pt x="51" y="21"/>
                  </a:lnTo>
                  <a:lnTo>
                    <a:pt x="54" y="21"/>
                  </a:lnTo>
                  <a:lnTo>
                    <a:pt x="56" y="21"/>
                  </a:lnTo>
                  <a:lnTo>
                    <a:pt x="56" y="22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62" y="22"/>
                  </a:lnTo>
                  <a:lnTo>
                    <a:pt x="64" y="22"/>
                  </a:lnTo>
                  <a:lnTo>
                    <a:pt x="65" y="22"/>
                  </a:lnTo>
                  <a:lnTo>
                    <a:pt x="67" y="21"/>
                  </a:lnTo>
                  <a:lnTo>
                    <a:pt x="69" y="19"/>
                  </a:lnTo>
                  <a:lnTo>
                    <a:pt x="72" y="19"/>
                  </a:lnTo>
                  <a:lnTo>
                    <a:pt x="75" y="21"/>
                  </a:lnTo>
                  <a:lnTo>
                    <a:pt x="75" y="21"/>
                  </a:lnTo>
                  <a:lnTo>
                    <a:pt x="80" y="21"/>
                  </a:lnTo>
                  <a:lnTo>
                    <a:pt x="80" y="21"/>
                  </a:lnTo>
                  <a:lnTo>
                    <a:pt x="83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9" y="22"/>
                  </a:lnTo>
                  <a:lnTo>
                    <a:pt x="92" y="22"/>
                  </a:lnTo>
                  <a:lnTo>
                    <a:pt x="96" y="24"/>
                  </a:lnTo>
                  <a:lnTo>
                    <a:pt x="97" y="26"/>
                  </a:lnTo>
                  <a:lnTo>
                    <a:pt x="100" y="26"/>
                  </a:lnTo>
                  <a:lnTo>
                    <a:pt x="102" y="24"/>
                  </a:lnTo>
                  <a:lnTo>
                    <a:pt x="108" y="22"/>
                  </a:lnTo>
                  <a:lnTo>
                    <a:pt x="115" y="19"/>
                  </a:lnTo>
                  <a:lnTo>
                    <a:pt x="115" y="19"/>
                  </a:lnTo>
                  <a:lnTo>
                    <a:pt x="115" y="18"/>
                  </a:lnTo>
                  <a:lnTo>
                    <a:pt x="116" y="16"/>
                  </a:lnTo>
                  <a:lnTo>
                    <a:pt x="116" y="16"/>
                  </a:lnTo>
                  <a:lnTo>
                    <a:pt x="119" y="14"/>
                  </a:lnTo>
                  <a:lnTo>
                    <a:pt x="119" y="13"/>
                  </a:lnTo>
                  <a:lnTo>
                    <a:pt x="121" y="13"/>
                  </a:lnTo>
                  <a:lnTo>
                    <a:pt x="123" y="10"/>
                  </a:lnTo>
                  <a:lnTo>
                    <a:pt x="124" y="10"/>
                  </a:lnTo>
                  <a:lnTo>
                    <a:pt x="126" y="10"/>
                  </a:lnTo>
                  <a:lnTo>
                    <a:pt x="126" y="10"/>
                  </a:lnTo>
                  <a:lnTo>
                    <a:pt x="129" y="8"/>
                  </a:lnTo>
                  <a:lnTo>
                    <a:pt x="132" y="8"/>
                  </a:lnTo>
                  <a:lnTo>
                    <a:pt x="142" y="6"/>
                  </a:lnTo>
                  <a:lnTo>
                    <a:pt x="153" y="5"/>
                  </a:lnTo>
                  <a:lnTo>
                    <a:pt x="154" y="5"/>
                  </a:lnTo>
                  <a:lnTo>
                    <a:pt x="159" y="5"/>
                  </a:lnTo>
                  <a:lnTo>
                    <a:pt x="159" y="5"/>
                  </a:lnTo>
                  <a:lnTo>
                    <a:pt x="159" y="5"/>
                  </a:lnTo>
                  <a:lnTo>
                    <a:pt x="162" y="8"/>
                  </a:lnTo>
                  <a:lnTo>
                    <a:pt x="165" y="10"/>
                  </a:lnTo>
                  <a:lnTo>
                    <a:pt x="170" y="10"/>
                  </a:lnTo>
                  <a:lnTo>
                    <a:pt x="173" y="10"/>
                  </a:lnTo>
                  <a:lnTo>
                    <a:pt x="176" y="11"/>
                  </a:lnTo>
                  <a:lnTo>
                    <a:pt x="180" y="10"/>
                  </a:lnTo>
                  <a:lnTo>
                    <a:pt x="184" y="16"/>
                  </a:lnTo>
                  <a:lnTo>
                    <a:pt x="189" y="19"/>
                  </a:lnTo>
                  <a:lnTo>
                    <a:pt x="196" y="19"/>
                  </a:lnTo>
                  <a:lnTo>
                    <a:pt x="202" y="21"/>
                  </a:lnTo>
                  <a:lnTo>
                    <a:pt x="202" y="24"/>
                  </a:lnTo>
                  <a:lnTo>
                    <a:pt x="203" y="27"/>
                  </a:lnTo>
                  <a:lnTo>
                    <a:pt x="203" y="30"/>
                  </a:lnTo>
                  <a:lnTo>
                    <a:pt x="200" y="33"/>
                  </a:lnTo>
                  <a:lnTo>
                    <a:pt x="197" y="33"/>
                  </a:lnTo>
                  <a:lnTo>
                    <a:pt x="194" y="33"/>
                  </a:lnTo>
                  <a:lnTo>
                    <a:pt x="191" y="33"/>
                  </a:lnTo>
                  <a:lnTo>
                    <a:pt x="188" y="38"/>
                  </a:lnTo>
                  <a:lnTo>
                    <a:pt x="186" y="41"/>
                  </a:lnTo>
                  <a:lnTo>
                    <a:pt x="183" y="43"/>
                  </a:lnTo>
                  <a:lnTo>
                    <a:pt x="183" y="46"/>
                  </a:lnTo>
                  <a:lnTo>
                    <a:pt x="183" y="49"/>
                  </a:lnTo>
                  <a:lnTo>
                    <a:pt x="183" y="52"/>
                  </a:lnTo>
                  <a:lnTo>
                    <a:pt x="183" y="56"/>
                  </a:lnTo>
                  <a:lnTo>
                    <a:pt x="183" y="57"/>
                  </a:lnTo>
                  <a:lnTo>
                    <a:pt x="183" y="60"/>
                  </a:lnTo>
                  <a:lnTo>
                    <a:pt x="180" y="62"/>
                  </a:lnTo>
                  <a:lnTo>
                    <a:pt x="176" y="65"/>
                  </a:lnTo>
                  <a:lnTo>
                    <a:pt x="176" y="68"/>
                  </a:lnTo>
                  <a:lnTo>
                    <a:pt x="173" y="68"/>
                  </a:lnTo>
                  <a:lnTo>
                    <a:pt x="170" y="72"/>
                  </a:lnTo>
                  <a:lnTo>
                    <a:pt x="173" y="73"/>
                  </a:lnTo>
                  <a:lnTo>
                    <a:pt x="176" y="73"/>
                  </a:lnTo>
                  <a:lnTo>
                    <a:pt x="180" y="78"/>
                  </a:lnTo>
                  <a:lnTo>
                    <a:pt x="181" y="81"/>
                  </a:lnTo>
                  <a:lnTo>
                    <a:pt x="184" y="83"/>
                  </a:lnTo>
                  <a:lnTo>
                    <a:pt x="188" y="87"/>
                  </a:lnTo>
                  <a:lnTo>
                    <a:pt x="191" y="91"/>
                  </a:lnTo>
                  <a:lnTo>
                    <a:pt x="189" y="92"/>
                  </a:lnTo>
                  <a:lnTo>
                    <a:pt x="186" y="91"/>
                  </a:lnTo>
                  <a:lnTo>
                    <a:pt x="183" y="92"/>
                  </a:lnTo>
                  <a:lnTo>
                    <a:pt x="180" y="92"/>
                  </a:lnTo>
                  <a:lnTo>
                    <a:pt x="176" y="94"/>
                  </a:lnTo>
                  <a:lnTo>
                    <a:pt x="173" y="92"/>
                  </a:lnTo>
                  <a:lnTo>
                    <a:pt x="172" y="92"/>
                  </a:lnTo>
                  <a:lnTo>
                    <a:pt x="169" y="89"/>
                  </a:lnTo>
                  <a:lnTo>
                    <a:pt x="165" y="86"/>
                  </a:lnTo>
                  <a:lnTo>
                    <a:pt x="161" y="87"/>
                  </a:lnTo>
                  <a:lnTo>
                    <a:pt x="157" y="87"/>
                  </a:lnTo>
                  <a:lnTo>
                    <a:pt x="156" y="89"/>
                  </a:lnTo>
                  <a:lnTo>
                    <a:pt x="156" y="91"/>
                  </a:lnTo>
                  <a:lnTo>
                    <a:pt x="151" y="91"/>
                  </a:lnTo>
                  <a:lnTo>
                    <a:pt x="148" y="92"/>
                  </a:lnTo>
                  <a:lnTo>
                    <a:pt x="145" y="92"/>
                  </a:lnTo>
                  <a:lnTo>
                    <a:pt x="142" y="94"/>
                  </a:lnTo>
                  <a:lnTo>
                    <a:pt x="143" y="95"/>
                  </a:lnTo>
                  <a:lnTo>
                    <a:pt x="143" y="97"/>
                  </a:lnTo>
                  <a:lnTo>
                    <a:pt x="138" y="98"/>
                  </a:lnTo>
                  <a:lnTo>
                    <a:pt x="135" y="98"/>
                  </a:lnTo>
                  <a:lnTo>
                    <a:pt x="135" y="102"/>
                  </a:lnTo>
                  <a:lnTo>
                    <a:pt x="135" y="102"/>
                  </a:lnTo>
                  <a:lnTo>
                    <a:pt x="137" y="103"/>
                  </a:lnTo>
                  <a:lnTo>
                    <a:pt x="132" y="102"/>
                  </a:lnTo>
                  <a:lnTo>
                    <a:pt x="132" y="102"/>
                  </a:lnTo>
                  <a:lnTo>
                    <a:pt x="130" y="100"/>
                  </a:lnTo>
                  <a:lnTo>
                    <a:pt x="127" y="105"/>
                  </a:lnTo>
                  <a:lnTo>
                    <a:pt x="130" y="108"/>
                  </a:lnTo>
                  <a:lnTo>
                    <a:pt x="130" y="111"/>
                  </a:lnTo>
                  <a:lnTo>
                    <a:pt x="130" y="114"/>
                  </a:lnTo>
                  <a:lnTo>
                    <a:pt x="127" y="117"/>
                  </a:lnTo>
                  <a:lnTo>
                    <a:pt x="124" y="117"/>
                  </a:lnTo>
                  <a:lnTo>
                    <a:pt x="123" y="119"/>
                  </a:lnTo>
                  <a:lnTo>
                    <a:pt x="118" y="117"/>
                  </a:lnTo>
                  <a:lnTo>
                    <a:pt x="115" y="119"/>
                  </a:lnTo>
                  <a:lnTo>
                    <a:pt x="111" y="117"/>
                  </a:lnTo>
                  <a:lnTo>
                    <a:pt x="108" y="119"/>
                  </a:lnTo>
                  <a:lnTo>
                    <a:pt x="107" y="119"/>
                  </a:lnTo>
                  <a:lnTo>
                    <a:pt x="104" y="121"/>
                  </a:lnTo>
                  <a:lnTo>
                    <a:pt x="100" y="121"/>
                  </a:lnTo>
                  <a:lnTo>
                    <a:pt x="99" y="119"/>
                  </a:lnTo>
                  <a:lnTo>
                    <a:pt x="96" y="117"/>
                  </a:lnTo>
                  <a:lnTo>
                    <a:pt x="92" y="116"/>
                  </a:lnTo>
                  <a:lnTo>
                    <a:pt x="89" y="114"/>
                  </a:lnTo>
                  <a:lnTo>
                    <a:pt x="86" y="117"/>
                  </a:lnTo>
                  <a:lnTo>
                    <a:pt x="84" y="116"/>
                  </a:lnTo>
                  <a:lnTo>
                    <a:pt x="78" y="111"/>
                  </a:lnTo>
                  <a:lnTo>
                    <a:pt x="75" y="108"/>
                  </a:lnTo>
                  <a:lnTo>
                    <a:pt x="72" y="110"/>
                  </a:lnTo>
                  <a:lnTo>
                    <a:pt x="69" y="110"/>
                  </a:lnTo>
                  <a:lnTo>
                    <a:pt x="65" y="110"/>
                  </a:lnTo>
                  <a:lnTo>
                    <a:pt x="62" y="110"/>
                  </a:lnTo>
                  <a:lnTo>
                    <a:pt x="59" y="113"/>
                  </a:lnTo>
                  <a:lnTo>
                    <a:pt x="58" y="113"/>
                  </a:lnTo>
                  <a:lnTo>
                    <a:pt x="53" y="113"/>
                  </a:lnTo>
                  <a:lnTo>
                    <a:pt x="50" y="114"/>
                  </a:lnTo>
                  <a:lnTo>
                    <a:pt x="46" y="116"/>
                  </a:lnTo>
                  <a:lnTo>
                    <a:pt x="45" y="116"/>
                  </a:lnTo>
                  <a:lnTo>
                    <a:pt x="42" y="114"/>
                  </a:lnTo>
                  <a:lnTo>
                    <a:pt x="38" y="116"/>
                  </a:lnTo>
                  <a:lnTo>
                    <a:pt x="38" y="116"/>
                  </a:lnTo>
                  <a:lnTo>
                    <a:pt x="37" y="116"/>
                  </a:lnTo>
                  <a:lnTo>
                    <a:pt x="34" y="116"/>
                  </a:lnTo>
                  <a:lnTo>
                    <a:pt x="31" y="117"/>
                  </a:lnTo>
                  <a:lnTo>
                    <a:pt x="27" y="117"/>
                  </a:lnTo>
                  <a:lnTo>
                    <a:pt x="24" y="117"/>
                  </a:lnTo>
                  <a:lnTo>
                    <a:pt x="24" y="114"/>
                  </a:lnTo>
                  <a:lnTo>
                    <a:pt x="24" y="111"/>
                  </a:lnTo>
                  <a:lnTo>
                    <a:pt x="24" y="110"/>
                  </a:lnTo>
                  <a:lnTo>
                    <a:pt x="24" y="106"/>
                  </a:lnTo>
                  <a:lnTo>
                    <a:pt x="26" y="103"/>
                  </a:lnTo>
                  <a:lnTo>
                    <a:pt x="23" y="97"/>
                  </a:lnTo>
                  <a:lnTo>
                    <a:pt x="21" y="95"/>
                  </a:lnTo>
                  <a:lnTo>
                    <a:pt x="21" y="92"/>
                  </a:lnTo>
                  <a:lnTo>
                    <a:pt x="19" y="91"/>
                  </a:lnTo>
                  <a:lnTo>
                    <a:pt x="16" y="89"/>
                  </a:lnTo>
                  <a:lnTo>
                    <a:pt x="13" y="87"/>
                  </a:lnTo>
                  <a:lnTo>
                    <a:pt x="10" y="86"/>
                  </a:lnTo>
                  <a:lnTo>
                    <a:pt x="8" y="84"/>
                  </a:lnTo>
                  <a:lnTo>
                    <a:pt x="5" y="81"/>
                  </a:lnTo>
                  <a:lnTo>
                    <a:pt x="2" y="78"/>
                  </a:lnTo>
                  <a:lnTo>
                    <a:pt x="7" y="75"/>
                  </a:lnTo>
                  <a:lnTo>
                    <a:pt x="8" y="73"/>
                  </a:lnTo>
                  <a:lnTo>
                    <a:pt x="8" y="70"/>
                  </a:lnTo>
                  <a:lnTo>
                    <a:pt x="5" y="67"/>
                  </a:lnTo>
                  <a:lnTo>
                    <a:pt x="5" y="65"/>
                  </a:lnTo>
                  <a:lnTo>
                    <a:pt x="5" y="62"/>
                  </a:lnTo>
                  <a:lnTo>
                    <a:pt x="5" y="59"/>
                  </a:lnTo>
                  <a:lnTo>
                    <a:pt x="5" y="59"/>
                  </a:lnTo>
                  <a:lnTo>
                    <a:pt x="4" y="57"/>
                  </a:lnTo>
                  <a:lnTo>
                    <a:pt x="7" y="56"/>
                  </a:lnTo>
                  <a:lnTo>
                    <a:pt x="10" y="54"/>
                  </a:lnTo>
                  <a:lnTo>
                    <a:pt x="10" y="54"/>
                  </a:lnTo>
                  <a:lnTo>
                    <a:pt x="13" y="54"/>
                  </a:lnTo>
                  <a:lnTo>
                    <a:pt x="15" y="51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48"/>
                  </a:lnTo>
                  <a:lnTo>
                    <a:pt x="21" y="43"/>
                  </a:lnTo>
                  <a:lnTo>
                    <a:pt x="23" y="43"/>
                  </a:lnTo>
                  <a:lnTo>
                    <a:pt x="19" y="41"/>
                  </a:lnTo>
                  <a:lnTo>
                    <a:pt x="16" y="38"/>
                  </a:lnTo>
                  <a:lnTo>
                    <a:pt x="13" y="35"/>
                  </a:lnTo>
                  <a:lnTo>
                    <a:pt x="12" y="33"/>
                  </a:lnTo>
                  <a:lnTo>
                    <a:pt x="7" y="32"/>
                  </a:lnTo>
                  <a:lnTo>
                    <a:pt x="5" y="29"/>
                  </a:lnTo>
                  <a:lnTo>
                    <a:pt x="4" y="26"/>
                  </a:lnTo>
                  <a:lnTo>
                    <a:pt x="2" y="22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44" name="Freeform 594"/>
            <p:cNvSpPr>
              <a:spLocks/>
            </p:cNvSpPr>
            <p:nvPr/>
          </p:nvSpPr>
          <p:spPr bwMode="auto">
            <a:xfrm>
              <a:off x="5836964" y="3326058"/>
              <a:ext cx="47051" cy="57543"/>
            </a:xfrm>
            <a:custGeom>
              <a:avLst/>
              <a:gdLst>
                <a:gd name="T0" fmla="*/ 1 w 63"/>
                <a:gd name="T1" fmla="*/ 39 h 68"/>
                <a:gd name="T2" fmla="*/ 4 w 63"/>
                <a:gd name="T3" fmla="*/ 35 h 68"/>
                <a:gd name="T4" fmla="*/ 1 w 63"/>
                <a:gd name="T5" fmla="*/ 31 h 68"/>
                <a:gd name="T6" fmla="*/ 0 w 63"/>
                <a:gd name="T7" fmla="*/ 28 h 68"/>
                <a:gd name="T8" fmla="*/ 1 w 63"/>
                <a:gd name="T9" fmla="*/ 20 h 68"/>
                <a:gd name="T10" fmla="*/ 4 w 63"/>
                <a:gd name="T11" fmla="*/ 17 h 68"/>
                <a:gd name="T12" fmla="*/ 6 w 63"/>
                <a:gd name="T13" fmla="*/ 12 h 68"/>
                <a:gd name="T14" fmla="*/ 9 w 63"/>
                <a:gd name="T15" fmla="*/ 9 h 68"/>
                <a:gd name="T16" fmla="*/ 12 w 63"/>
                <a:gd name="T17" fmla="*/ 8 h 68"/>
                <a:gd name="T18" fmla="*/ 15 w 63"/>
                <a:gd name="T19" fmla="*/ 8 h 68"/>
                <a:gd name="T20" fmla="*/ 17 w 63"/>
                <a:gd name="T21" fmla="*/ 11 h 68"/>
                <a:gd name="T22" fmla="*/ 14 w 63"/>
                <a:gd name="T23" fmla="*/ 3 h 68"/>
                <a:gd name="T24" fmla="*/ 17 w 63"/>
                <a:gd name="T25" fmla="*/ 1 h 68"/>
                <a:gd name="T26" fmla="*/ 23 w 63"/>
                <a:gd name="T27" fmla="*/ 0 h 68"/>
                <a:gd name="T28" fmla="*/ 23 w 63"/>
                <a:gd name="T29" fmla="*/ 3 h 68"/>
                <a:gd name="T30" fmla="*/ 28 w 63"/>
                <a:gd name="T31" fmla="*/ 4 h 68"/>
                <a:gd name="T32" fmla="*/ 31 w 63"/>
                <a:gd name="T33" fmla="*/ 8 h 68"/>
                <a:gd name="T34" fmla="*/ 34 w 63"/>
                <a:gd name="T35" fmla="*/ 11 h 68"/>
                <a:gd name="T36" fmla="*/ 41 w 63"/>
                <a:gd name="T37" fmla="*/ 14 h 68"/>
                <a:gd name="T38" fmla="*/ 42 w 63"/>
                <a:gd name="T39" fmla="*/ 16 h 68"/>
                <a:gd name="T40" fmla="*/ 46 w 63"/>
                <a:gd name="T41" fmla="*/ 17 h 68"/>
                <a:gd name="T42" fmla="*/ 53 w 63"/>
                <a:gd name="T43" fmla="*/ 20 h 68"/>
                <a:gd name="T44" fmla="*/ 55 w 63"/>
                <a:gd name="T45" fmla="*/ 22 h 68"/>
                <a:gd name="T46" fmla="*/ 58 w 63"/>
                <a:gd name="T47" fmla="*/ 23 h 68"/>
                <a:gd name="T48" fmla="*/ 63 w 63"/>
                <a:gd name="T49" fmla="*/ 28 h 68"/>
                <a:gd name="T50" fmla="*/ 61 w 63"/>
                <a:gd name="T51" fmla="*/ 28 h 68"/>
                <a:gd name="T52" fmla="*/ 57 w 63"/>
                <a:gd name="T53" fmla="*/ 31 h 68"/>
                <a:gd name="T54" fmla="*/ 52 w 63"/>
                <a:gd name="T55" fmla="*/ 31 h 68"/>
                <a:gd name="T56" fmla="*/ 53 w 63"/>
                <a:gd name="T57" fmla="*/ 33 h 68"/>
                <a:gd name="T58" fmla="*/ 53 w 63"/>
                <a:gd name="T59" fmla="*/ 36 h 68"/>
                <a:gd name="T60" fmla="*/ 50 w 63"/>
                <a:gd name="T61" fmla="*/ 41 h 68"/>
                <a:gd name="T62" fmla="*/ 46 w 63"/>
                <a:gd name="T63" fmla="*/ 43 h 68"/>
                <a:gd name="T64" fmla="*/ 44 w 63"/>
                <a:gd name="T65" fmla="*/ 38 h 68"/>
                <a:gd name="T66" fmla="*/ 39 w 63"/>
                <a:gd name="T67" fmla="*/ 36 h 68"/>
                <a:gd name="T68" fmla="*/ 34 w 63"/>
                <a:gd name="T69" fmla="*/ 44 h 68"/>
                <a:gd name="T70" fmla="*/ 31 w 63"/>
                <a:gd name="T71" fmla="*/ 47 h 68"/>
                <a:gd name="T72" fmla="*/ 33 w 63"/>
                <a:gd name="T73" fmla="*/ 49 h 68"/>
                <a:gd name="T74" fmla="*/ 30 w 63"/>
                <a:gd name="T75" fmla="*/ 55 h 68"/>
                <a:gd name="T76" fmla="*/ 31 w 63"/>
                <a:gd name="T77" fmla="*/ 60 h 68"/>
                <a:gd name="T78" fmla="*/ 30 w 63"/>
                <a:gd name="T79" fmla="*/ 65 h 68"/>
                <a:gd name="T80" fmla="*/ 31 w 63"/>
                <a:gd name="T81" fmla="*/ 68 h 68"/>
                <a:gd name="T82" fmla="*/ 27 w 63"/>
                <a:gd name="T83" fmla="*/ 65 h 68"/>
                <a:gd name="T84" fmla="*/ 23 w 63"/>
                <a:gd name="T85" fmla="*/ 63 h 68"/>
                <a:gd name="T86" fmla="*/ 17 w 63"/>
                <a:gd name="T87" fmla="*/ 54 h 68"/>
                <a:gd name="T88" fmla="*/ 11 w 63"/>
                <a:gd name="T89" fmla="*/ 50 h 68"/>
                <a:gd name="T90" fmla="*/ 7 w 63"/>
                <a:gd name="T91" fmla="*/ 46 h 68"/>
                <a:gd name="T92" fmla="*/ 7 w 63"/>
                <a:gd name="T93" fmla="*/ 46 h 68"/>
                <a:gd name="T94" fmla="*/ 11 w 63"/>
                <a:gd name="T95" fmla="*/ 44 h 68"/>
                <a:gd name="T96" fmla="*/ 11 w 63"/>
                <a:gd name="T97" fmla="*/ 44 h 68"/>
                <a:gd name="T98" fmla="*/ 7 w 63"/>
                <a:gd name="T99" fmla="*/ 43 h 68"/>
                <a:gd name="T100" fmla="*/ 1 w 63"/>
                <a:gd name="T101" fmla="*/ 44 h 68"/>
                <a:gd name="T102" fmla="*/ 1 w 63"/>
                <a:gd name="T103" fmla="*/ 4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3" h="68">
                  <a:moveTo>
                    <a:pt x="0" y="39"/>
                  </a:moveTo>
                  <a:lnTo>
                    <a:pt x="1" y="39"/>
                  </a:lnTo>
                  <a:lnTo>
                    <a:pt x="1" y="38"/>
                  </a:lnTo>
                  <a:lnTo>
                    <a:pt x="4" y="35"/>
                  </a:lnTo>
                  <a:lnTo>
                    <a:pt x="3" y="33"/>
                  </a:lnTo>
                  <a:lnTo>
                    <a:pt x="1" y="31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3"/>
                  </a:lnTo>
                  <a:lnTo>
                    <a:pt x="1" y="20"/>
                  </a:lnTo>
                  <a:lnTo>
                    <a:pt x="6" y="20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9" y="9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5" y="8"/>
                  </a:lnTo>
                  <a:lnTo>
                    <a:pt x="15" y="11"/>
                  </a:lnTo>
                  <a:lnTo>
                    <a:pt x="17" y="11"/>
                  </a:lnTo>
                  <a:lnTo>
                    <a:pt x="17" y="6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17" y="1"/>
                  </a:lnTo>
                  <a:lnTo>
                    <a:pt x="20" y="0"/>
                  </a:lnTo>
                  <a:lnTo>
                    <a:pt x="23" y="0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5" y="3"/>
                  </a:lnTo>
                  <a:lnTo>
                    <a:pt x="28" y="4"/>
                  </a:lnTo>
                  <a:lnTo>
                    <a:pt x="30" y="6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4" y="11"/>
                  </a:lnTo>
                  <a:lnTo>
                    <a:pt x="38" y="14"/>
                  </a:lnTo>
                  <a:lnTo>
                    <a:pt x="41" y="14"/>
                  </a:lnTo>
                  <a:lnTo>
                    <a:pt x="41" y="16"/>
                  </a:lnTo>
                  <a:lnTo>
                    <a:pt x="42" y="16"/>
                  </a:lnTo>
                  <a:lnTo>
                    <a:pt x="42" y="17"/>
                  </a:lnTo>
                  <a:lnTo>
                    <a:pt x="46" y="17"/>
                  </a:lnTo>
                  <a:lnTo>
                    <a:pt x="49" y="19"/>
                  </a:lnTo>
                  <a:lnTo>
                    <a:pt x="53" y="20"/>
                  </a:lnTo>
                  <a:lnTo>
                    <a:pt x="53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8" y="23"/>
                  </a:lnTo>
                  <a:lnTo>
                    <a:pt x="61" y="25"/>
                  </a:lnTo>
                  <a:lnTo>
                    <a:pt x="63" y="28"/>
                  </a:lnTo>
                  <a:lnTo>
                    <a:pt x="61" y="28"/>
                  </a:lnTo>
                  <a:lnTo>
                    <a:pt x="61" y="28"/>
                  </a:lnTo>
                  <a:lnTo>
                    <a:pt x="58" y="30"/>
                  </a:lnTo>
                  <a:lnTo>
                    <a:pt x="57" y="31"/>
                  </a:lnTo>
                  <a:lnTo>
                    <a:pt x="55" y="31"/>
                  </a:lnTo>
                  <a:lnTo>
                    <a:pt x="52" y="31"/>
                  </a:lnTo>
                  <a:lnTo>
                    <a:pt x="52" y="33"/>
                  </a:lnTo>
                  <a:lnTo>
                    <a:pt x="53" y="33"/>
                  </a:lnTo>
                  <a:lnTo>
                    <a:pt x="55" y="35"/>
                  </a:lnTo>
                  <a:lnTo>
                    <a:pt x="53" y="36"/>
                  </a:lnTo>
                  <a:lnTo>
                    <a:pt x="53" y="39"/>
                  </a:lnTo>
                  <a:lnTo>
                    <a:pt x="50" y="41"/>
                  </a:lnTo>
                  <a:lnTo>
                    <a:pt x="47" y="43"/>
                  </a:lnTo>
                  <a:lnTo>
                    <a:pt x="46" y="43"/>
                  </a:lnTo>
                  <a:lnTo>
                    <a:pt x="42" y="39"/>
                  </a:lnTo>
                  <a:lnTo>
                    <a:pt x="44" y="38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8" y="39"/>
                  </a:lnTo>
                  <a:lnTo>
                    <a:pt x="34" y="44"/>
                  </a:lnTo>
                  <a:lnTo>
                    <a:pt x="33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3" y="49"/>
                  </a:lnTo>
                  <a:lnTo>
                    <a:pt x="30" y="52"/>
                  </a:lnTo>
                  <a:lnTo>
                    <a:pt x="30" y="55"/>
                  </a:lnTo>
                  <a:lnTo>
                    <a:pt x="31" y="58"/>
                  </a:lnTo>
                  <a:lnTo>
                    <a:pt x="31" y="60"/>
                  </a:lnTo>
                  <a:lnTo>
                    <a:pt x="31" y="62"/>
                  </a:lnTo>
                  <a:lnTo>
                    <a:pt x="30" y="65"/>
                  </a:lnTo>
                  <a:lnTo>
                    <a:pt x="31" y="66"/>
                  </a:lnTo>
                  <a:lnTo>
                    <a:pt x="31" y="68"/>
                  </a:lnTo>
                  <a:lnTo>
                    <a:pt x="30" y="66"/>
                  </a:lnTo>
                  <a:lnTo>
                    <a:pt x="27" y="65"/>
                  </a:lnTo>
                  <a:lnTo>
                    <a:pt x="23" y="63"/>
                  </a:lnTo>
                  <a:lnTo>
                    <a:pt x="23" y="63"/>
                  </a:lnTo>
                  <a:lnTo>
                    <a:pt x="22" y="60"/>
                  </a:lnTo>
                  <a:lnTo>
                    <a:pt x="17" y="54"/>
                  </a:lnTo>
                  <a:lnTo>
                    <a:pt x="14" y="50"/>
                  </a:lnTo>
                  <a:lnTo>
                    <a:pt x="11" y="50"/>
                  </a:lnTo>
                  <a:lnTo>
                    <a:pt x="11" y="49"/>
                  </a:lnTo>
                  <a:lnTo>
                    <a:pt x="7" y="46"/>
                  </a:lnTo>
                  <a:lnTo>
                    <a:pt x="4" y="46"/>
                  </a:lnTo>
                  <a:lnTo>
                    <a:pt x="7" y="46"/>
                  </a:lnTo>
                  <a:lnTo>
                    <a:pt x="7" y="43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7" y="43"/>
                  </a:lnTo>
                  <a:lnTo>
                    <a:pt x="4" y="44"/>
                  </a:lnTo>
                  <a:lnTo>
                    <a:pt x="1" y="44"/>
                  </a:lnTo>
                  <a:lnTo>
                    <a:pt x="1" y="43"/>
                  </a:lnTo>
                  <a:lnTo>
                    <a:pt x="1" y="43"/>
                  </a:lnTo>
                  <a:lnTo>
                    <a:pt x="0" y="39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45" name="Freeform 595"/>
            <p:cNvSpPr>
              <a:spLocks/>
            </p:cNvSpPr>
            <p:nvPr/>
          </p:nvSpPr>
          <p:spPr bwMode="auto">
            <a:xfrm>
              <a:off x="5886957" y="3366677"/>
              <a:ext cx="61755" cy="50772"/>
            </a:xfrm>
            <a:custGeom>
              <a:avLst/>
              <a:gdLst>
                <a:gd name="T0" fmla="*/ 3 w 84"/>
                <a:gd name="T1" fmla="*/ 32 h 61"/>
                <a:gd name="T2" fmla="*/ 1 w 84"/>
                <a:gd name="T3" fmla="*/ 24 h 61"/>
                <a:gd name="T4" fmla="*/ 6 w 84"/>
                <a:gd name="T5" fmla="*/ 21 h 61"/>
                <a:gd name="T6" fmla="*/ 9 w 84"/>
                <a:gd name="T7" fmla="*/ 15 h 61"/>
                <a:gd name="T8" fmla="*/ 12 w 84"/>
                <a:gd name="T9" fmla="*/ 10 h 61"/>
                <a:gd name="T10" fmla="*/ 19 w 84"/>
                <a:gd name="T11" fmla="*/ 7 h 61"/>
                <a:gd name="T12" fmla="*/ 22 w 84"/>
                <a:gd name="T13" fmla="*/ 8 h 61"/>
                <a:gd name="T14" fmla="*/ 27 w 84"/>
                <a:gd name="T15" fmla="*/ 10 h 61"/>
                <a:gd name="T16" fmla="*/ 28 w 84"/>
                <a:gd name="T17" fmla="*/ 7 h 61"/>
                <a:gd name="T18" fmla="*/ 28 w 84"/>
                <a:gd name="T19" fmla="*/ 5 h 61"/>
                <a:gd name="T20" fmla="*/ 33 w 84"/>
                <a:gd name="T21" fmla="*/ 5 h 61"/>
                <a:gd name="T22" fmla="*/ 39 w 84"/>
                <a:gd name="T23" fmla="*/ 5 h 61"/>
                <a:gd name="T24" fmla="*/ 41 w 84"/>
                <a:gd name="T25" fmla="*/ 3 h 61"/>
                <a:gd name="T26" fmla="*/ 46 w 84"/>
                <a:gd name="T27" fmla="*/ 0 h 61"/>
                <a:gd name="T28" fmla="*/ 50 w 84"/>
                <a:gd name="T29" fmla="*/ 2 h 61"/>
                <a:gd name="T30" fmla="*/ 58 w 84"/>
                <a:gd name="T31" fmla="*/ 0 h 61"/>
                <a:gd name="T32" fmla="*/ 60 w 84"/>
                <a:gd name="T33" fmla="*/ 2 h 61"/>
                <a:gd name="T34" fmla="*/ 66 w 84"/>
                <a:gd name="T35" fmla="*/ 8 h 61"/>
                <a:gd name="T36" fmla="*/ 71 w 84"/>
                <a:gd name="T37" fmla="*/ 11 h 61"/>
                <a:gd name="T38" fmla="*/ 77 w 84"/>
                <a:gd name="T39" fmla="*/ 15 h 61"/>
                <a:gd name="T40" fmla="*/ 79 w 84"/>
                <a:gd name="T41" fmla="*/ 19 h 61"/>
                <a:gd name="T42" fmla="*/ 84 w 84"/>
                <a:gd name="T43" fmla="*/ 27 h 61"/>
                <a:gd name="T44" fmla="*/ 82 w 84"/>
                <a:gd name="T45" fmla="*/ 34 h 61"/>
                <a:gd name="T46" fmla="*/ 82 w 84"/>
                <a:gd name="T47" fmla="*/ 38 h 61"/>
                <a:gd name="T48" fmla="*/ 81 w 84"/>
                <a:gd name="T49" fmla="*/ 41 h 61"/>
                <a:gd name="T50" fmla="*/ 76 w 84"/>
                <a:gd name="T51" fmla="*/ 45 h 61"/>
                <a:gd name="T52" fmla="*/ 73 w 84"/>
                <a:gd name="T53" fmla="*/ 48 h 61"/>
                <a:gd name="T54" fmla="*/ 68 w 84"/>
                <a:gd name="T55" fmla="*/ 49 h 61"/>
                <a:gd name="T56" fmla="*/ 63 w 84"/>
                <a:gd name="T57" fmla="*/ 49 h 61"/>
                <a:gd name="T58" fmla="*/ 58 w 84"/>
                <a:gd name="T59" fmla="*/ 48 h 61"/>
                <a:gd name="T60" fmla="*/ 52 w 84"/>
                <a:gd name="T61" fmla="*/ 49 h 61"/>
                <a:gd name="T62" fmla="*/ 49 w 84"/>
                <a:gd name="T63" fmla="*/ 53 h 61"/>
                <a:gd name="T64" fmla="*/ 46 w 84"/>
                <a:gd name="T65" fmla="*/ 57 h 61"/>
                <a:gd name="T66" fmla="*/ 33 w 84"/>
                <a:gd name="T67" fmla="*/ 59 h 61"/>
                <a:gd name="T68" fmla="*/ 27 w 84"/>
                <a:gd name="T69" fmla="*/ 61 h 61"/>
                <a:gd name="T70" fmla="*/ 24 w 84"/>
                <a:gd name="T71" fmla="*/ 61 h 61"/>
                <a:gd name="T72" fmla="*/ 19 w 84"/>
                <a:gd name="T73" fmla="*/ 61 h 61"/>
                <a:gd name="T74" fmla="*/ 16 w 84"/>
                <a:gd name="T75" fmla="*/ 57 h 61"/>
                <a:gd name="T76" fmla="*/ 11 w 84"/>
                <a:gd name="T77" fmla="*/ 59 h 61"/>
                <a:gd name="T78" fmla="*/ 8 w 84"/>
                <a:gd name="T79" fmla="*/ 53 h 61"/>
                <a:gd name="T80" fmla="*/ 6 w 84"/>
                <a:gd name="T81" fmla="*/ 51 h 61"/>
                <a:gd name="T82" fmla="*/ 1 w 84"/>
                <a:gd name="T83" fmla="*/ 45 h 61"/>
                <a:gd name="T84" fmla="*/ 3 w 84"/>
                <a:gd name="T85" fmla="*/ 40 h 61"/>
                <a:gd name="T86" fmla="*/ 1 w 84"/>
                <a:gd name="T87" fmla="*/ 35 h 61"/>
                <a:gd name="T88" fmla="*/ 0 w 84"/>
                <a:gd name="T89" fmla="*/ 3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84" h="61">
                  <a:moveTo>
                    <a:pt x="0" y="32"/>
                  </a:moveTo>
                  <a:lnTo>
                    <a:pt x="3" y="32"/>
                  </a:lnTo>
                  <a:lnTo>
                    <a:pt x="1" y="29"/>
                  </a:lnTo>
                  <a:lnTo>
                    <a:pt x="1" y="24"/>
                  </a:lnTo>
                  <a:lnTo>
                    <a:pt x="3" y="22"/>
                  </a:lnTo>
                  <a:lnTo>
                    <a:pt x="6" y="21"/>
                  </a:lnTo>
                  <a:lnTo>
                    <a:pt x="9" y="18"/>
                  </a:lnTo>
                  <a:lnTo>
                    <a:pt x="9" y="15"/>
                  </a:lnTo>
                  <a:lnTo>
                    <a:pt x="9" y="11"/>
                  </a:lnTo>
                  <a:lnTo>
                    <a:pt x="12" y="10"/>
                  </a:lnTo>
                  <a:lnTo>
                    <a:pt x="16" y="10"/>
                  </a:lnTo>
                  <a:lnTo>
                    <a:pt x="19" y="7"/>
                  </a:lnTo>
                  <a:lnTo>
                    <a:pt x="20" y="7"/>
                  </a:lnTo>
                  <a:lnTo>
                    <a:pt x="22" y="8"/>
                  </a:lnTo>
                  <a:lnTo>
                    <a:pt x="25" y="10"/>
                  </a:lnTo>
                  <a:lnTo>
                    <a:pt x="27" y="10"/>
                  </a:lnTo>
                  <a:lnTo>
                    <a:pt x="27" y="8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5"/>
                  </a:lnTo>
                  <a:lnTo>
                    <a:pt x="31" y="5"/>
                  </a:lnTo>
                  <a:lnTo>
                    <a:pt x="33" y="5"/>
                  </a:lnTo>
                  <a:lnTo>
                    <a:pt x="35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41" y="3"/>
                  </a:lnTo>
                  <a:lnTo>
                    <a:pt x="44" y="2"/>
                  </a:lnTo>
                  <a:lnTo>
                    <a:pt x="46" y="0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5" y="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60" y="2"/>
                  </a:lnTo>
                  <a:lnTo>
                    <a:pt x="63" y="5"/>
                  </a:lnTo>
                  <a:lnTo>
                    <a:pt x="66" y="8"/>
                  </a:lnTo>
                  <a:lnTo>
                    <a:pt x="68" y="10"/>
                  </a:lnTo>
                  <a:lnTo>
                    <a:pt x="71" y="11"/>
                  </a:lnTo>
                  <a:lnTo>
                    <a:pt x="74" y="13"/>
                  </a:lnTo>
                  <a:lnTo>
                    <a:pt x="77" y="15"/>
                  </a:lnTo>
                  <a:lnTo>
                    <a:pt x="79" y="16"/>
                  </a:lnTo>
                  <a:lnTo>
                    <a:pt x="79" y="19"/>
                  </a:lnTo>
                  <a:lnTo>
                    <a:pt x="81" y="21"/>
                  </a:lnTo>
                  <a:lnTo>
                    <a:pt x="84" y="27"/>
                  </a:lnTo>
                  <a:lnTo>
                    <a:pt x="82" y="30"/>
                  </a:lnTo>
                  <a:lnTo>
                    <a:pt x="82" y="34"/>
                  </a:lnTo>
                  <a:lnTo>
                    <a:pt x="82" y="35"/>
                  </a:lnTo>
                  <a:lnTo>
                    <a:pt x="82" y="38"/>
                  </a:lnTo>
                  <a:lnTo>
                    <a:pt x="82" y="41"/>
                  </a:lnTo>
                  <a:lnTo>
                    <a:pt x="81" y="41"/>
                  </a:lnTo>
                  <a:lnTo>
                    <a:pt x="76" y="41"/>
                  </a:lnTo>
                  <a:lnTo>
                    <a:pt x="76" y="45"/>
                  </a:lnTo>
                  <a:lnTo>
                    <a:pt x="76" y="48"/>
                  </a:lnTo>
                  <a:lnTo>
                    <a:pt x="73" y="48"/>
                  </a:lnTo>
                  <a:lnTo>
                    <a:pt x="70" y="49"/>
                  </a:lnTo>
                  <a:lnTo>
                    <a:pt x="68" y="49"/>
                  </a:lnTo>
                  <a:lnTo>
                    <a:pt x="66" y="51"/>
                  </a:lnTo>
                  <a:lnTo>
                    <a:pt x="63" y="49"/>
                  </a:lnTo>
                  <a:lnTo>
                    <a:pt x="62" y="49"/>
                  </a:lnTo>
                  <a:lnTo>
                    <a:pt x="58" y="48"/>
                  </a:lnTo>
                  <a:lnTo>
                    <a:pt x="55" y="49"/>
                  </a:lnTo>
                  <a:lnTo>
                    <a:pt x="52" y="49"/>
                  </a:lnTo>
                  <a:lnTo>
                    <a:pt x="49" y="51"/>
                  </a:lnTo>
                  <a:lnTo>
                    <a:pt x="49" y="53"/>
                  </a:lnTo>
                  <a:lnTo>
                    <a:pt x="47" y="54"/>
                  </a:lnTo>
                  <a:lnTo>
                    <a:pt x="46" y="57"/>
                  </a:lnTo>
                  <a:lnTo>
                    <a:pt x="39" y="59"/>
                  </a:lnTo>
                  <a:lnTo>
                    <a:pt x="33" y="59"/>
                  </a:lnTo>
                  <a:lnTo>
                    <a:pt x="30" y="61"/>
                  </a:lnTo>
                  <a:lnTo>
                    <a:pt x="27" y="61"/>
                  </a:lnTo>
                  <a:lnTo>
                    <a:pt x="27" y="61"/>
                  </a:lnTo>
                  <a:lnTo>
                    <a:pt x="24" y="61"/>
                  </a:lnTo>
                  <a:lnTo>
                    <a:pt x="22" y="61"/>
                  </a:lnTo>
                  <a:lnTo>
                    <a:pt x="19" y="61"/>
                  </a:lnTo>
                  <a:lnTo>
                    <a:pt x="19" y="59"/>
                  </a:lnTo>
                  <a:lnTo>
                    <a:pt x="16" y="57"/>
                  </a:lnTo>
                  <a:lnTo>
                    <a:pt x="12" y="59"/>
                  </a:lnTo>
                  <a:lnTo>
                    <a:pt x="11" y="59"/>
                  </a:lnTo>
                  <a:lnTo>
                    <a:pt x="9" y="56"/>
                  </a:lnTo>
                  <a:lnTo>
                    <a:pt x="8" y="53"/>
                  </a:lnTo>
                  <a:lnTo>
                    <a:pt x="8" y="51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1" y="45"/>
                  </a:lnTo>
                  <a:lnTo>
                    <a:pt x="1" y="43"/>
                  </a:lnTo>
                  <a:lnTo>
                    <a:pt x="3" y="40"/>
                  </a:lnTo>
                  <a:lnTo>
                    <a:pt x="3" y="38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46" name="Freeform 596"/>
            <p:cNvSpPr>
              <a:spLocks/>
            </p:cNvSpPr>
            <p:nvPr/>
          </p:nvSpPr>
          <p:spPr bwMode="auto">
            <a:xfrm>
              <a:off x="5859020" y="3356521"/>
              <a:ext cx="44111" cy="101546"/>
            </a:xfrm>
            <a:custGeom>
              <a:avLst/>
              <a:gdLst>
                <a:gd name="T0" fmla="*/ 3 w 58"/>
                <a:gd name="T1" fmla="*/ 78 h 121"/>
                <a:gd name="T2" fmla="*/ 3 w 58"/>
                <a:gd name="T3" fmla="*/ 70 h 121"/>
                <a:gd name="T4" fmla="*/ 8 w 58"/>
                <a:gd name="T5" fmla="*/ 67 h 121"/>
                <a:gd name="T6" fmla="*/ 4 w 58"/>
                <a:gd name="T7" fmla="*/ 62 h 121"/>
                <a:gd name="T8" fmla="*/ 8 w 58"/>
                <a:gd name="T9" fmla="*/ 54 h 121"/>
                <a:gd name="T10" fmla="*/ 4 w 58"/>
                <a:gd name="T11" fmla="*/ 48 h 121"/>
                <a:gd name="T12" fmla="*/ 8 w 58"/>
                <a:gd name="T13" fmla="*/ 43 h 121"/>
                <a:gd name="T14" fmla="*/ 8 w 58"/>
                <a:gd name="T15" fmla="*/ 35 h 121"/>
                <a:gd name="T16" fmla="*/ 3 w 58"/>
                <a:gd name="T17" fmla="*/ 32 h 121"/>
                <a:gd name="T18" fmla="*/ 1 w 58"/>
                <a:gd name="T19" fmla="*/ 30 h 121"/>
                <a:gd name="T20" fmla="*/ 1 w 58"/>
                <a:gd name="T21" fmla="*/ 26 h 121"/>
                <a:gd name="T22" fmla="*/ 1 w 58"/>
                <a:gd name="T23" fmla="*/ 22 h 121"/>
                <a:gd name="T24" fmla="*/ 0 w 58"/>
                <a:gd name="T25" fmla="*/ 16 h 121"/>
                <a:gd name="T26" fmla="*/ 1 w 58"/>
                <a:gd name="T27" fmla="*/ 11 h 121"/>
                <a:gd name="T28" fmla="*/ 3 w 58"/>
                <a:gd name="T29" fmla="*/ 11 h 121"/>
                <a:gd name="T30" fmla="*/ 8 w 58"/>
                <a:gd name="T31" fmla="*/ 3 h 121"/>
                <a:gd name="T32" fmla="*/ 9 w 58"/>
                <a:gd name="T33" fmla="*/ 0 h 121"/>
                <a:gd name="T34" fmla="*/ 12 w 58"/>
                <a:gd name="T35" fmla="*/ 3 h 121"/>
                <a:gd name="T36" fmla="*/ 17 w 58"/>
                <a:gd name="T37" fmla="*/ 7 h 121"/>
                <a:gd name="T38" fmla="*/ 23 w 58"/>
                <a:gd name="T39" fmla="*/ 3 h 121"/>
                <a:gd name="T40" fmla="*/ 28 w 58"/>
                <a:gd name="T41" fmla="*/ 10 h 121"/>
                <a:gd name="T42" fmla="*/ 33 w 58"/>
                <a:gd name="T43" fmla="*/ 13 h 121"/>
                <a:gd name="T44" fmla="*/ 38 w 58"/>
                <a:gd name="T45" fmla="*/ 16 h 121"/>
                <a:gd name="T46" fmla="*/ 39 w 58"/>
                <a:gd name="T47" fmla="*/ 19 h 121"/>
                <a:gd name="T48" fmla="*/ 41 w 58"/>
                <a:gd name="T49" fmla="*/ 21 h 121"/>
                <a:gd name="T50" fmla="*/ 43 w 58"/>
                <a:gd name="T51" fmla="*/ 27 h 121"/>
                <a:gd name="T52" fmla="*/ 41 w 58"/>
                <a:gd name="T53" fmla="*/ 33 h 121"/>
                <a:gd name="T54" fmla="*/ 39 w 58"/>
                <a:gd name="T55" fmla="*/ 40 h 121"/>
                <a:gd name="T56" fmla="*/ 38 w 58"/>
                <a:gd name="T57" fmla="*/ 43 h 121"/>
                <a:gd name="T58" fmla="*/ 39 w 58"/>
                <a:gd name="T59" fmla="*/ 46 h 121"/>
                <a:gd name="T60" fmla="*/ 41 w 58"/>
                <a:gd name="T61" fmla="*/ 51 h 121"/>
                <a:gd name="T62" fmla="*/ 39 w 58"/>
                <a:gd name="T63" fmla="*/ 56 h 121"/>
                <a:gd name="T64" fmla="*/ 44 w 58"/>
                <a:gd name="T65" fmla="*/ 62 h 121"/>
                <a:gd name="T66" fmla="*/ 46 w 58"/>
                <a:gd name="T67" fmla="*/ 64 h 121"/>
                <a:gd name="T68" fmla="*/ 49 w 58"/>
                <a:gd name="T69" fmla="*/ 70 h 121"/>
                <a:gd name="T70" fmla="*/ 54 w 58"/>
                <a:gd name="T71" fmla="*/ 68 h 121"/>
                <a:gd name="T72" fmla="*/ 57 w 58"/>
                <a:gd name="T73" fmla="*/ 72 h 121"/>
                <a:gd name="T74" fmla="*/ 57 w 58"/>
                <a:gd name="T75" fmla="*/ 75 h 121"/>
                <a:gd name="T76" fmla="*/ 58 w 58"/>
                <a:gd name="T77" fmla="*/ 78 h 121"/>
                <a:gd name="T78" fmla="*/ 58 w 58"/>
                <a:gd name="T79" fmla="*/ 83 h 121"/>
                <a:gd name="T80" fmla="*/ 54 w 58"/>
                <a:gd name="T81" fmla="*/ 87 h 121"/>
                <a:gd name="T82" fmla="*/ 50 w 58"/>
                <a:gd name="T83" fmla="*/ 89 h 121"/>
                <a:gd name="T84" fmla="*/ 49 w 58"/>
                <a:gd name="T85" fmla="*/ 97 h 121"/>
                <a:gd name="T86" fmla="*/ 46 w 58"/>
                <a:gd name="T87" fmla="*/ 103 h 121"/>
                <a:gd name="T88" fmla="*/ 44 w 58"/>
                <a:gd name="T89" fmla="*/ 105 h 121"/>
                <a:gd name="T90" fmla="*/ 38 w 58"/>
                <a:gd name="T91" fmla="*/ 106 h 121"/>
                <a:gd name="T92" fmla="*/ 38 w 58"/>
                <a:gd name="T93" fmla="*/ 111 h 121"/>
                <a:gd name="T94" fmla="*/ 39 w 58"/>
                <a:gd name="T95" fmla="*/ 114 h 121"/>
                <a:gd name="T96" fmla="*/ 36 w 58"/>
                <a:gd name="T97" fmla="*/ 118 h 121"/>
                <a:gd name="T98" fmla="*/ 30 w 58"/>
                <a:gd name="T99" fmla="*/ 121 h 121"/>
                <a:gd name="T100" fmla="*/ 27 w 58"/>
                <a:gd name="T101" fmla="*/ 119 h 121"/>
                <a:gd name="T102" fmla="*/ 25 w 58"/>
                <a:gd name="T103" fmla="*/ 116 h 121"/>
                <a:gd name="T104" fmla="*/ 25 w 58"/>
                <a:gd name="T105" fmla="*/ 111 h 121"/>
                <a:gd name="T106" fmla="*/ 12 w 58"/>
                <a:gd name="T107" fmla="*/ 100 h 121"/>
                <a:gd name="T108" fmla="*/ 4 w 58"/>
                <a:gd name="T109" fmla="*/ 91 h 121"/>
                <a:gd name="T110" fmla="*/ 6 w 58"/>
                <a:gd name="T111" fmla="*/ 94 h 121"/>
                <a:gd name="T112" fmla="*/ 4 w 58"/>
                <a:gd name="T113" fmla="*/ 86 h 121"/>
                <a:gd name="T114" fmla="*/ 3 w 58"/>
                <a:gd name="T115" fmla="*/ 8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8" h="121">
                  <a:moveTo>
                    <a:pt x="1" y="81"/>
                  </a:moveTo>
                  <a:lnTo>
                    <a:pt x="3" y="78"/>
                  </a:lnTo>
                  <a:lnTo>
                    <a:pt x="4" y="73"/>
                  </a:lnTo>
                  <a:lnTo>
                    <a:pt x="3" y="70"/>
                  </a:lnTo>
                  <a:lnTo>
                    <a:pt x="6" y="72"/>
                  </a:lnTo>
                  <a:lnTo>
                    <a:pt x="8" y="67"/>
                  </a:lnTo>
                  <a:lnTo>
                    <a:pt x="4" y="65"/>
                  </a:lnTo>
                  <a:lnTo>
                    <a:pt x="4" y="62"/>
                  </a:lnTo>
                  <a:lnTo>
                    <a:pt x="6" y="59"/>
                  </a:lnTo>
                  <a:lnTo>
                    <a:pt x="8" y="54"/>
                  </a:lnTo>
                  <a:lnTo>
                    <a:pt x="3" y="51"/>
                  </a:lnTo>
                  <a:lnTo>
                    <a:pt x="4" y="48"/>
                  </a:lnTo>
                  <a:lnTo>
                    <a:pt x="6" y="45"/>
                  </a:lnTo>
                  <a:lnTo>
                    <a:pt x="8" y="43"/>
                  </a:lnTo>
                  <a:lnTo>
                    <a:pt x="8" y="40"/>
                  </a:lnTo>
                  <a:lnTo>
                    <a:pt x="8" y="35"/>
                  </a:lnTo>
                  <a:lnTo>
                    <a:pt x="6" y="32"/>
                  </a:lnTo>
                  <a:lnTo>
                    <a:pt x="3" y="32"/>
                  </a:lnTo>
                  <a:lnTo>
                    <a:pt x="1" y="32"/>
                  </a:lnTo>
                  <a:lnTo>
                    <a:pt x="1" y="30"/>
                  </a:lnTo>
                  <a:lnTo>
                    <a:pt x="0" y="29"/>
                  </a:lnTo>
                  <a:lnTo>
                    <a:pt x="1" y="26"/>
                  </a:lnTo>
                  <a:lnTo>
                    <a:pt x="1" y="24"/>
                  </a:lnTo>
                  <a:lnTo>
                    <a:pt x="1" y="22"/>
                  </a:lnTo>
                  <a:lnTo>
                    <a:pt x="0" y="19"/>
                  </a:lnTo>
                  <a:lnTo>
                    <a:pt x="0" y="16"/>
                  </a:lnTo>
                  <a:lnTo>
                    <a:pt x="3" y="13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3" y="11"/>
                  </a:lnTo>
                  <a:lnTo>
                    <a:pt x="4" y="8"/>
                  </a:lnTo>
                  <a:lnTo>
                    <a:pt x="8" y="3"/>
                  </a:lnTo>
                  <a:lnTo>
                    <a:pt x="9" y="0"/>
                  </a:lnTo>
                  <a:lnTo>
                    <a:pt x="9" y="0"/>
                  </a:lnTo>
                  <a:lnTo>
                    <a:pt x="14" y="2"/>
                  </a:lnTo>
                  <a:lnTo>
                    <a:pt x="12" y="3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20" y="5"/>
                  </a:lnTo>
                  <a:lnTo>
                    <a:pt x="23" y="3"/>
                  </a:lnTo>
                  <a:lnTo>
                    <a:pt x="27" y="7"/>
                  </a:lnTo>
                  <a:lnTo>
                    <a:pt x="28" y="10"/>
                  </a:lnTo>
                  <a:lnTo>
                    <a:pt x="30" y="13"/>
                  </a:lnTo>
                  <a:lnTo>
                    <a:pt x="33" y="13"/>
                  </a:lnTo>
                  <a:lnTo>
                    <a:pt x="35" y="13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9" y="19"/>
                  </a:lnTo>
                  <a:lnTo>
                    <a:pt x="39" y="19"/>
                  </a:lnTo>
                  <a:lnTo>
                    <a:pt x="41" y="21"/>
                  </a:lnTo>
                  <a:lnTo>
                    <a:pt x="41" y="24"/>
                  </a:lnTo>
                  <a:lnTo>
                    <a:pt x="43" y="27"/>
                  </a:lnTo>
                  <a:lnTo>
                    <a:pt x="41" y="30"/>
                  </a:lnTo>
                  <a:lnTo>
                    <a:pt x="41" y="33"/>
                  </a:lnTo>
                  <a:lnTo>
                    <a:pt x="39" y="35"/>
                  </a:lnTo>
                  <a:lnTo>
                    <a:pt x="39" y="40"/>
                  </a:lnTo>
                  <a:lnTo>
                    <a:pt x="41" y="43"/>
                  </a:lnTo>
                  <a:lnTo>
                    <a:pt x="38" y="43"/>
                  </a:lnTo>
                  <a:lnTo>
                    <a:pt x="39" y="46"/>
                  </a:lnTo>
                  <a:lnTo>
                    <a:pt x="39" y="46"/>
                  </a:lnTo>
                  <a:lnTo>
                    <a:pt x="41" y="49"/>
                  </a:lnTo>
                  <a:lnTo>
                    <a:pt x="41" y="51"/>
                  </a:lnTo>
                  <a:lnTo>
                    <a:pt x="39" y="54"/>
                  </a:lnTo>
                  <a:lnTo>
                    <a:pt x="39" y="56"/>
                  </a:lnTo>
                  <a:lnTo>
                    <a:pt x="44" y="62"/>
                  </a:lnTo>
                  <a:lnTo>
                    <a:pt x="44" y="62"/>
                  </a:lnTo>
                  <a:lnTo>
                    <a:pt x="46" y="62"/>
                  </a:lnTo>
                  <a:lnTo>
                    <a:pt x="46" y="64"/>
                  </a:lnTo>
                  <a:lnTo>
                    <a:pt x="47" y="67"/>
                  </a:lnTo>
                  <a:lnTo>
                    <a:pt x="49" y="70"/>
                  </a:lnTo>
                  <a:lnTo>
                    <a:pt x="50" y="70"/>
                  </a:lnTo>
                  <a:lnTo>
                    <a:pt x="54" y="68"/>
                  </a:lnTo>
                  <a:lnTo>
                    <a:pt x="57" y="70"/>
                  </a:lnTo>
                  <a:lnTo>
                    <a:pt x="57" y="72"/>
                  </a:lnTo>
                  <a:lnTo>
                    <a:pt x="57" y="75"/>
                  </a:lnTo>
                  <a:lnTo>
                    <a:pt x="57" y="75"/>
                  </a:lnTo>
                  <a:lnTo>
                    <a:pt x="58" y="78"/>
                  </a:lnTo>
                  <a:lnTo>
                    <a:pt x="58" y="78"/>
                  </a:lnTo>
                  <a:lnTo>
                    <a:pt x="58" y="79"/>
                  </a:lnTo>
                  <a:lnTo>
                    <a:pt x="58" y="83"/>
                  </a:lnTo>
                  <a:lnTo>
                    <a:pt x="58" y="84"/>
                  </a:lnTo>
                  <a:lnTo>
                    <a:pt x="54" y="87"/>
                  </a:lnTo>
                  <a:lnTo>
                    <a:pt x="50" y="89"/>
                  </a:lnTo>
                  <a:lnTo>
                    <a:pt x="50" y="89"/>
                  </a:lnTo>
                  <a:lnTo>
                    <a:pt x="50" y="92"/>
                  </a:lnTo>
                  <a:lnTo>
                    <a:pt x="49" y="97"/>
                  </a:lnTo>
                  <a:lnTo>
                    <a:pt x="47" y="100"/>
                  </a:lnTo>
                  <a:lnTo>
                    <a:pt x="46" y="103"/>
                  </a:lnTo>
                  <a:lnTo>
                    <a:pt x="44" y="103"/>
                  </a:lnTo>
                  <a:lnTo>
                    <a:pt x="44" y="105"/>
                  </a:lnTo>
                  <a:lnTo>
                    <a:pt x="41" y="103"/>
                  </a:lnTo>
                  <a:lnTo>
                    <a:pt x="38" y="106"/>
                  </a:lnTo>
                  <a:lnTo>
                    <a:pt x="36" y="108"/>
                  </a:lnTo>
                  <a:lnTo>
                    <a:pt x="38" y="111"/>
                  </a:lnTo>
                  <a:lnTo>
                    <a:pt x="38" y="111"/>
                  </a:lnTo>
                  <a:lnTo>
                    <a:pt x="39" y="114"/>
                  </a:lnTo>
                  <a:lnTo>
                    <a:pt x="36" y="114"/>
                  </a:lnTo>
                  <a:lnTo>
                    <a:pt x="36" y="118"/>
                  </a:lnTo>
                  <a:lnTo>
                    <a:pt x="33" y="121"/>
                  </a:lnTo>
                  <a:lnTo>
                    <a:pt x="30" y="121"/>
                  </a:lnTo>
                  <a:lnTo>
                    <a:pt x="27" y="119"/>
                  </a:lnTo>
                  <a:lnTo>
                    <a:pt x="27" y="119"/>
                  </a:lnTo>
                  <a:lnTo>
                    <a:pt x="25" y="119"/>
                  </a:lnTo>
                  <a:lnTo>
                    <a:pt x="25" y="116"/>
                  </a:lnTo>
                  <a:lnTo>
                    <a:pt x="25" y="113"/>
                  </a:lnTo>
                  <a:lnTo>
                    <a:pt x="25" y="111"/>
                  </a:lnTo>
                  <a:lnTo>
                    <a:pt x="22" y="106"/>
                  </a:lnTo>
                  <a:lnTo>
                    <a:pt x="12" y="100"/>
                  </a:lnTo>
                  <a:lnTo>
                    <a:pt x="1" y="91"/>
                  </a:lnTo>
                  <a:lnTo>
                    <a:pt x="4" y="91"/>
                  </a:lnTo>
                  <a:lnTo>
                    <a:pt x="6" y="94"/>
                  </a:lnTo>
                  <a:lnTo>
                    <a:pt x="6" y="94"/>
                  </a:lnTo>
                  <a:lnTo>
                    <a:pt x="8" y="91"/>
                  </a:lnTo>
                  <a:lnTo>
                    <a:pt x="4" y="86"/>
                  </a:lnTo>
                  <a:lnTo>
                    <a:pt x="6" y="86"/>
                  </a:lnTo>
                  <a:lnTo>
                    <a:pt x="3" y="83"/>
                  </a:lnTo>
                  <a:lnTo>
                    <a:pt x="1" y="81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grpSp>
          <p:nvGrpSpPr>
            <p:cNvPr id="347" name="Group 597"/>
            <p:cNvGrpSpPr>
              <a:grpSpLocks/>
            </p:cNvGrpSpPr>
            <p:nvPr/>
          </p:nvGrpSpPr>
          <p:grpSpPr bwMode="auto">
            <a:xfrm>
              <a:off x="5869362" y="3386923"/>
              <a:ext cx="217615" cy="235242"/>
              <a:chOff x="2940" y="1637"/>
              <a:chExt cx="148" cy="139"/>
            </a:xfrm>
            <a:solidFill>
              <a:schemeClr val="bg1">
                <a:lumMod val="65000"/>
              </a:schemeClr>
            </a:solidFill>
          </p:grpSpPr>
          <p:sp>
            <p:nvSpPr>
              <p:cNvPr id="618" name="Freeform 598"/>
              <p:cNvSpPr>
                <a:spLocks/>
              </p:cNvSpPr>
              <p:nvPr/>
            </p:nvSpPr>
            <p:spPr bwMode="auto">
              <a:xfrm>
                <a:off x="2992" y="1694"/>
                <a:ext cx="2" cy="1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19" name="Freeform 599"/>
              <p:cNvSpPr>
                <a:spLocks/>
              </p:cNvSpPr>
              <p:nvPr/>
            </p:nvSpPr>
            <p:spPr bwMode="auto">
              <a:xfrm>
                <a:off x="3066" y="1736"/>
                <a:ext cx="7" cy="4"/>
              </a:xfrm>
              <a:custGeom>
                <a:avLst/>
                <a:gdLst>
                  <a:gd name="T0" fmla="*/ 1 w 14"/>
                  <a:gd name="T1" fmla="*/ 10 h 10"/>
                  <a:gd name="T2" fmla="*/ 0 w 14"/>
                  <a:gd name="T3" fmla="*/ 7 h 10"/>
                  <a:gd name="T4" fmla="*/ 3 w 14"/>
                  <a:gd name="T5" fmla="*/ 3 h 10"/>
                  <a:gd name="T6" fmla="*/ 6 w 14"/>
                  <a:gd name="T7" fmla="*/ 2 h 10"/>
                  <a:gd name="T8" fmla="*/ 9 w 14"/>
                  <a:gd name="T9" fmla="*/ 0 h 10"/>
                  <a:gd name="T10" fmla="*/ 14 w 14"/>
                  <a:gd name="T11" fmla="*/ 0 h 10"/>
                  <a:gd name="T12" fmla="*/ 6 w 14"/>
                  <a:gd name="T13" fmla="*/ 7 h 10"/>
                  <a:gd name="T14" fmla="*/ 3 w 14"/>
                  <a:gd name="T15" fmla="*/ 5 h 10"/>
                  <a:gd name="T16" fmla="*/ 1 w 14"/>
                  <a:gd name="T1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10">
                    <a:moveTo>
                      <a:pt x="1" y="10"/>
                    </a:moveTo>
                    <a:lnTo>
                      <a:pt x="0" y="7"/>
                    </a:lnTo>
                    <a:lnTo>
                      <a:pt x="3" y="3"/>
                    </a:lnTo>
                    <a:lnTo>
                      <a:pt x="6" y="2"/>
                    </a:lnTo>
                    <a:lnTo>
                      <a:pt x="9" y="0"/>
                    </a:lnTo>
                    <a:lnTo>
                      <a:pt x="14" y="0"/>
                    </a:lnTo>
                    <a:lnTo>
                      <a:pt x="6" y="7"/>
                    </a:lnTo>
                    <a:lnTo>
                      <a:pt x="3" y="5"/>
                    </a:lnTo>
                    <a:lnTo>
                      <a:pt x="1" y="1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20" name="Freeform 600"/>
              <p:cNvSpPr>
                <a:spLocks/>
              </p:cNvSpPr>
              <p:nvPr/>
            </p:nvSpPr>
            <p:spPr bwMode="auto">
              <a:xfrm>
                <a:off x="3071" y="1659"/>
                <a:ext cx="2" cy="1"/>
              </a:xfrm>
              <a:custGeom>
                <a:avLst/>
                <a:gdLst>
                  <a:gd name="T0" fmla="*/ 3 w 5"/>
                  <a:gd name="T1" fmla="*/ 4 h 4"/>
                  <a:gd name="T2" fmla="*/ 0 w 5"/>
                  <a:gd name="T3" fmla="*/ 0 h 4"/>
                  <a:gd name="T4" fmla="*/ 5 w 5"/>
                  <a:gd name="T5" fmla="*/ 2 h 4"/>
                  <a:gd name="T6" fmla="*/ 3 w 5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4">
                    <a:moveTo>
                      <a:pt x="3" y="4"/>
                    </a:moveTo>
                    <a:lnTo>
                      <a:pt x="0" y="0"/>
                    </a:lnTo>
                    <a:lnTo>
                      <a:pt x="5" y="2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21" name="Freeform 601"/>
              <p:cNvSpPr>
                <a:spLocks/>
              </p:cNvSpPr>
              <p:nvPr/>
            </p:nvSpPr>
            <p:spPr bwMode="auto">
              <a:xfrm>
                <a:off x="2947" y="1637"/>
                <a:ext cx="108" cy="108"/>
              </a:xfrm>
              <a:custGeom>
                <a:avLst/>
                <a:gdLst>
                  <a:gd name="T0" fmla="*/ 11 w 215"/>
                  <a:gd name="T1" fmla="*/ 76 h 217"/>
                  <a:gd name="T2" fmla="*/ 19 w 215"/>
                  <a:gd name="T3" fmla="*/ 68 h 217"/>
                  <a:gd name="T4" fmla="*/ 31 w 215"/>
                  <a:gd name="T5" fmla="*/ 49 h 217"/>
                  <a:gd name="T6" fmla="*/ 30 w 215"/>
                  <a:gd name="T7" fmla="*/ 37 h 217"/>
                  <a:gd name="T8" fmla="*/ 46 w 215"/>
                  <a:gd name="T9" fmla="*/ 35 h 217"/>
                  <a:gd name="T10" fmla="*/ 60 w 215"/>
                  <a:gd name="T11" fmla="*/ 27 h 217"/>
                  <a:gd name="T12" fmla="*/ 87 w 215"/>
                  <a:gd name="T13" fmla="*/ 24 h 217"/>
                  <a:gd name="T14" fmla="*/ 107 w 215"/>
                  <a:gd name="T15" fmla="*/ 16 h 217"/>
                  <a:gd name="T16" fmla="*/ 127 w 215"/>
                  <a:gd name="T17" fmla="*/ 13 h 217"/>
                  <a:gd name="T18" fmla="*/ 147 w 215"/>
                  <a:gd name="T19" fmla="*/ 11 h 217"/>
                  <a:gd name="T20" fmla="*/ 169 w 215"/>
                  <a:gd name="T21" fmla="*/ 21 h 217"/>
                  <a:gd name="T22" fmla="*/ 192 w 215"/>
                  <a:gd name="T23" fmla="*/ 19 h 217"/>
                  <a:gd name="T24" fmla="*/ 199 w 215"/>
                  <a:gd name="T25" fmla="*/ 0 h 217"/>
                  <a:gd name="T26" fmla="*/ 214 w 215"/>
                  <a:gd name="T27" fmla="*/ 13 h 217"/>
                  <a:gd name="T28" fmla="*/ 206 w 215"/>
                  <a:gd name="T29" fmla="*/ 33 h 217"/>
                  <a:gd name="T30" fmla="*/ 174 w 215"/>
                  <a:gd name="T31" fmla="*/ 33 h 217"/>
                  <a:gd name="T32" fmla="*/ 155 w 215"/>
                  <a:gd name="T33" fmla="*/ 37 h 217"/>
                  <a:gd name="T34" fmla="*/ 133 w 215"/>
                  <a:gd name="T35" fmla="*/ 43 h 217"/>
                  <a:gd name="T36" fmla="*/ 122 w 215"/>
                  <a:gd name="T37" fmla="*/ 46 h 217"/>
                  <a:gd name="T38" fmla="*/ 144 w 215"/>
                  <a:gd name="T39" fmla="*/ 65 h 217"/>
                  <a:gd name="T40" fmla="*/ 122 w 215"/>
                  <a:gd name="T41" fmla="*/ 62 h 217"/>
                  <a:gd name="T42" fmla="*/ 127 w 215"/>
                  <a:gd name="T43" fmla="*/ 71 h 217"/>
                  <a:gd name="T44" fmla="*/ 112 w 215"/>
                  <a:gd name="T45" fmla="*/ 67 h 217"/>
                  <a:gd name="T46" fmla="*/ 111 w 215"/>
                  <a:gd name="T47" fmla="*/ 71 h 217"/>
                  <a:gd name="T48" fmla="*/ 95 w 215"/>
                  <a:gd name="T49" fmla="*/ 51 h 217"/>
                  <a:gd name="T50" fmla="*/ 85 w 215"/>
                  <a:gd name="T51" fmla="*/ 52 h 217"/>
                  <a:gd name="T52" fmla="*/ 87 w 215"/>
                  <a:gd name="T53" fmla="*/ 73 h 217"/>
                  <a:gd name="T54" fmla="*/ 111 w 215"/>
                  <a:gd name="T55" fmla="*/ 105 h 217"/>
                  <a:gd name="T56" fmla="*/ 101 w 215"/>
                  <a:gd name="T57" fmla="*/ 100 h 217"/>
                  <a:gd name="T58" fmla="*/ 100 w 215"/>
                  <a:gd name="T59" fmla="*/ 114 h 217"/>
                  <a:gd name="T60" fmla="*/ 103 w 215"/>
                  <a:gd name="T61" fmla="*/ 124 h 217"/>
                  <a:gd name="T62" fmla="*/ 119 w 215"/>
                  <a:gd name="T63" fmla="*/ 133 h 217"/>
                  <a:gd name="T64" fmla="*/ 138 w 215"/>
                  <a:gd name="T65" fmla="*/ 148 h 217"/>
                  <a:gd name="T66" fmla="*/ 138 w 215"/>
                  <a:gd name="T67" fmla="*/ 168 h 217"/>
                  <a:gd name="T68" fmla="*/ 115 w 215"/>
                  <a:gd name="T69" fmla="*/ 154 h 217"/>
                  <a:gd name="T70" fmla="*/ 107 w 215"/>
                  <a:gd name="T71" fmla="*/ 163 h 217"/>
                  <a:gd name="T72" fmla="*/ 120 w 215"/>
                  <a:gd name="T73" fmla="*/ 174 h 217"/>
                  <a:gd name="T74" fmla="*/ 104 w 215"/>
                  <a:gd name="T75" fmla="*/ 174 h 217"/>
                  <a:gd name="T76" fmla="*/ 106 w 215"/>
                  <a:gd name="T77" fmla="*/ 200 h 217"/>
                  <a:gd name="T78" fmla="*/ 107 w 215"/>
                  <a:gd name="T79" fmla="*/ 214 h 217"/>
                  <a:gd name="T80" fmla="*/ 88 w 215"/>
                  <a:gd name="T81" fmla="*/ 206 h 217"/>
                  <a:gd name="T82" fmla="*/ 82 w 215"/>
                  <a:gd name="T83" fmla="*/ 205 h 217"/>
                  <a:gd name="T84" fmla="*/ 68 w 215"/>
                  <a:gd name="T85" fmla="*/ 197 h 217"/>
                  <a:gd name="T86" fmla="*/ 58 w 215"/>
                  <a:gd name="T87" fmla="*/ 195 h 217"/>
                  <a:gd name="T88" fmla="*/ 54 w 215"/>
                  <a:gd name="T89" fmla="*/ 171 h 217"/>
                  <a:gd name="T90" fmla="*/ 46 w 215"/>
                  <a:gd name="T91" fmla="*/ 152 h 217"/>
                  <a:gd name="T92" fmla="*/ 63 w 215"/>
                  <a:gd name="T93" fmla="*/ 140 h 217"/>
                  <a:gd name="T94" fmla="*/ 85 w 215"/>
                  <a:gd name="T95" fmla="*/ 148 h 217"/>
                  <a:gd name="T96" fmla="*/ 109 w 215"/>
                  <a:gd name="T97" fmla="*/ 146 h 217"/>
                  <a:gd name="T98" fmla="*/ 85 w 215"/>
                  <a:gd name="T99" fmla="*/ 138 h 217"/>
                  <a:gd name="T100" fmla="*/ 57 w 215"/>
                  <a:gd name="T101" fmla="*/ 140 h 217"/>
                  <a:gd name="T102" fmla="*/ 42 w 215"/>
                  <a:gd name="T103" fmla="*/ 138 h 217"/>
                  <a:gd name="T104" fmla="*/ 31 w 215"/>
                  <a:gd name="T105" fmla="*/ 125 h 217"/>
                  <a:gd name="T106" fmla="*/ 33 w 215"/>
                  <a:gd name="T107" fmla="*/ 114 h 217"/>
                  <a:gd name="T108" fmla="*/ 27 w 215"/>
                  <a:gd name="T109" fmla="*/ 108 h 217"/>
                  <a:gd name="T110" fmla="*/ 12 w 215"/>
                  <a:gd name="T111" fmla="*/ 102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15" h="217">
                    <a:moveTo>
                      <a:pt x="0" y="84"/>
                    </a:moveTo>
                    <a:lnTo>
                      <a:pt x="3" y="86"/>
                    </a:lnTo>
                    <a:lnTo>
                      <a:pt x="6" y="86"/>
                    </a:lnTo>
                    <a:lnTo>
                      <a:pt x="9" y="83"/>
                    </a:lnTo>
                    <a:lnTo>
                      <a:pt x="9" y="79"/>
                    </a:lnTo>
                    <a:lnTo>
                      <a:pt x="12" y="79"/>
                    </a:lnTo>
                    <a:lnTo>
                      <a:pt x="11" y="76"/>
                    </a:lnTo>
                    <a:lnTo>
                      <a:pt x="11" y="76"/>
                    </a:lnTo>
                    <a:lnTo>
                      <a:pt x="9" y="73"/>
                    </a:lnTo>
                    <a:lnTo>
                      <a:pt x="11" y="71"/>
                    </a:lnTo>
                    <a:lnTo>
                      <a:pt x="14" y="68"/>
                    </a:lnTo>
                    <a:lnTo>
                      <a:pt x="17" y="70"/>
                    </a:lnTo>
                    <a:lnTo>
                      <a:pt x="17" y="68"/>
                    </a:lnTo>
                    <a:lnTo>
                      <a:pt x="19" y="68"/>
                    </a:lnTo>
                    <a:lnTo>
                      <a:pt x="20" y="65"/>
                    </a:lnTo>
                    <a:lnTo>
                      <a:pt x="22" y="62"/>
                    </a:lnTo>
                    <a:lnTo>
                      <a:pt x="23" y="57"/>
                    </a:lnTo>
                    <a:lnTo>
                      <a:pt x="23" y="54"/>
                    </a:lnTo>
                    <a:lnTo>
                      <a:pt x="23" y="54"/>
                    </a:lnTo>
                    <a:lnTo>
                      <a:pt x="27" y="52"/>
                    </a:lnTo>
                    <a:lnTo>
                      <a:pt x="31" y="49"/>
                    </a:lnTo>
                    <a:lnTo>
                      <a:pt x="31" y="48"/>
                    </a:lnTo>
                    <a:lnTo>
                      <a:pt x="31" y="44"/>
                    </a:lnTo>
                    <a:lnTo>
                      <a:pt x="31" y="43"/>
                    </a:lnTo>
                    <a:lnTo>
                      <a:pt x="31" y="43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37"/>
                    </a:lnTo>
                    <a:lnTo>
                      <a:pt x="33" y="37"/>
                    </a:lnTo>
                    <a:lnTo>
                      <a:pt x="35" y="37"/>
                    </a:lnTo>
                    <a:lnTo>
                      <a:pt x="38" y="37"/>
                    </a:lnTo>
                    <a:lnTo>
                      <a:pt x="38" y="37"/>
                    </a:lnTo>
                    <a:lnTo>
                      <a:pt x="41" y="37"/>
                    </a:lnTo>
                    <a:lnTo>
                      <a:pt x="44" y="35"/>
                    </a:lnTo>
                    <a:lnTo>
                      <a:pt x="46" y="35"/>
                    </a:lnTo>
                    <a:lnTo>
                      <a:pt x="49" y="37"/>
                    </a:lnTo>
                    <a:lnTo>
                      <a:pt x="52" y="35"/>
                    </a:lnTo>
                    <a:lnTo>
                      <a:pt x="55" y="33"/>
                    </a:lnTo>
                    <a:lnTo>
                      <a:pt x="57" y="33"/>
                    </a:lnTo>
                    <a:lnTo>
                      <a:pt x="58" y="30"/>
                    </a:lnTo>
                    <a:lnTo>
                      <a:pt x="60" y="29"/>
                    </a:lnTo>
                    <a:lnTo>
                      <a:pt x="60" y="27"/>
                    </a:lnTo>
                    <a:lnTo>
                      <a:pt x="63" y="25"/>
                    </a:lnTo>
                    <a:lnTo>
                      <a:pt x="71" y="25"/>
                    </a:lnTo>
                    <a:lnTo>
                      <a:pt x="77" y="27"/>
                    </a:lnTo>
                    <a:lnTo>
                      <a:pt x="79" y="25"/>
                    </a:lnTo>
                    <a:lnTo>
                      <a:pt x="81" y="25"/>
                    </a:lnTo>
                    <a:lnTo>
                      <a:pt x="84" y="24"/>
                    </a:lnTo>
                    <a:lnTo>
                      <a:pt x="87" y="24"/>
                    </a:lnTo>
                    <a:lnTo>
                      <a:pt x="87" y="21"/>
                    </a:lnTo>
                    <a:lnTo>
                      <a:pt x="87" y="17"/>
                    </a:lnTo>
                    <a:lnTo>
                      <a:pt x="93" y="17"/>
                    </a:lnTo>
                    <a:lnTo>
                      <a:pt x="100" y="17"/>
                    </a:lnTo>
                    <a:lnTo>
                      <a:pt x="103" y="16"/>
                    </a:lnTo>
                    <a:lnTo>
                      <a:pt x="106" y="16"/>
                    </a:lnTo>
                    <a:lnTo>
                      <a:pt x="107" y="16"/>
                    </a:lnTo>
                    <a:lnTo>
                      <a:pt x="107" y="16"/>
                    </a:lnTo>
                    <a:lnTo>
                      <a:pt x="111" y="14"/>
                    </a:lnTo>
                    <a:lnTo>
                      <a:pt x="114" y="16"/>
                    </a:lnTo>
                    <a:lnTo>
                      <a:pt x="115" y="16"/>
                    </a:lnTo>
                    <a:lnTo>
                      <a:pt x="119" y="14"/>
                    </a:lnTo>
                    <a:lnTo>
                      <a:pt x="122" y="13"/>
                    </a:lnTo>
                    <a:lnTo>
                      <a:pt x="127" y="13"/>
                    </a:lnTo>
                    <a:lnTo>
                      <a:pt x="128" y="13"/>
                    </a:lnTo>
                    <a:lnTo>
                      <a:pt x="131" y="10"/>
                    </a:lnTo>
                    <a:lnTo>
                      <a:pt x="134" y="10"/>
                    </a:lnTo>
                    <a:lnTo>
                      <a:pt x="138" y="10"/>
                    </a:lnTo>
                    <a:lnTo>
                      <a:pt x="141" y="10"/>
                    </a:lnTo>
                    <a:lnTo>
                      <a:pt x="144" y="8"/>
                    </a:lnTo>
                    <a:lnTo>
                      <a:pt x="147" y="11"/>
                    </a:lnTo>
                    <a:lnTo>
                      <a:pt x="153" y="16"/>
                    </a:lnTo>
                    <a:lnTo>
                      <a:pt x="155" y="17"/>
                    </a:lnTo>
                    <a:lnTo>
                      <a:pt x="158" y="14"/>
                    </a:lnTo>
                    <a:lnTo>
                      <a:pt x="161" y="16"/>
                    </a:lnTo>
                    <a:lnTo>
                      <a:pt x="165" y="17"/>
                    </a:lnTo>
                    <a:lnTo>
                      <a:pt x="168" y="19"/>
                    </a:lnTo>
                    <a:lnTo>
                      <a:pt x="169" y="21"/>
                    </a:lnTo>
                    <a:lnTo>
                      <a:pt x="173" y="21"/>
                    </a:lnTo>
                    <a:lnTo>
                      <a:pt x="176" y="19"/>
                    </a:lnTo>
                    <a:lnTo>
                      <a:pt x="177" y="19"/>
                    </a:lnTo>
                    <a:lnTo>
                      <a:pt x="180" y="17"/>
                    </a:lnTo>
                    <a:lnTo>
                      <a:pt x="184" y="19"/>
                    </a:lnTo>
                    <a:lnTo>
                      <a:pt x="187" y="17"/>
                    </a:lnTo>
                    <a:lnTo>
                      <a:pt x="192" y="19"/>
                    </a:lnTo>
                    <a:lnTo>
                      <a:pt x="193" y="17"/>
                    </a:lnTo>
                    <a:lnTo>
                      <a:pt x="196" y="17"/>
                    </a:lnTo>
                    <a:lnTo>
                      <a:pt x="199" y="14"/>
                    </a:lnTo>
                    <a:lnTo>
                      <a:pt x="199" y="11"/>
                    </a:lnTo>
                    <a:lnTo>
                      <a:pt x="199" y="8"/>
                    </a:lnTo>
                    <a:lnTo>
                      <a:pt x="196" y="5"/>
                    </a:lnTo>
                    <a:lnTo>
                      <a:pt x="199" y="0"/>
                    </a:lnTo>
                    <a:lnTo>
                      <a:pt x="204" y="2"/>
                    </a:lnTo>
                    <a:lnTo>
                      <a:pt x="209" y="5"/>
                    </a:lnTo>
                    <a:lnTo>
                      <a:pt x="209" y="5"/>
                    </a:lnTo>
                    <a:lnTo>
                      <a:pt x="211" y="6"/>
                    </a:lnTo>
                    <a:lnTo>
                      <a:pt x="214" y="6"/>
                    </a:lnTo>
                    <a:lnTo>
                      <a:pt x="214" y="10"/>
                    </a:lnTo>
                    <a:lnTo>
                      <a:pt x="214" y="13"/>
                    </a:lnTo>
                    <a:lnTo>
                      <a:pt x="215" y="16"/>
                    </a:lnTo>
                    <a:lnTo>
                      <a:pt x="212" y="17"/>
                    </a:lnTo>
                    <a:lnTo>
                      <a:pt x="209" y="21"/>
                    </a:lnTo>
                    <a:lnTo>
                      <a:pt x="206" y="24"/>
                    </a:lnTo>
                    <a:lnTo>
                      <a:pt x="206" y="27"/>
                    </a:lnTo>
                    <a:lnTo>
                      <a:pt x="207" y="32"/>
                    </a:lnTo>
                    <a:lnTo>
                      <a:pt x="206" y="33"/>
                    </a:lnTo>
                    <a:lnTo>
                      <a:pt x="203" y="37"/>
                    </a:lnTo>
                    <a:lnTo>
                      <a:pt x="201" y="40"/>
                    </a:lnTo>
                    <a:lnTo>
                      <a:pt x="198" y="41"/>
                    </a:lnTo>
                    <a:lnTo>
                      <a:pt x="198" y="38"/>
                    </a:lnTo>
                    <a:lnTo>
                      <a:pt x="187" y="37"/>
                    </a:lnTo>
                    <a:lnTo>
                      <a:pt x="177" y="35"/>
                    </a:lnTo>
                    <a:lnTo>
                      <a:pt x="174" y="33"/>
                    </a:lnTo>
                    <a:lnTo>
                      <a:pt x="169" y="33"/>
                    </a:lnTo>
                    <a:lnTo>
                      <a:pt x="168" y="32"/>
                    </a:lnTo>
                    <a:lnTo>
                      <a:pt x="163" y="32"/>
                    </a:lnTo>
                    <a:lnTo>
                      <a:pt x="163" y="33"/>
                    </a:lnTo>
                    <a:lnTo>
                      <a:pt x="158" y="35"/>
                    </a:lnTo>
                    <a:lnTo>
                      <a:pt x="157" y="37"/>
                    </a:lnTo>
                    <a:lnTo>
                      <a:pt x="155" y="37"/>
                    </a:lnTo>
                    <a:lnTo>
                      <a:pt x="152" y="37"/>
                    </a:lnTo>
                    <a:lnTo>
                      <a:pt x="149" y="35"/>
                    </a:lnTo>
                    <a:lnTo>
                      <a:pt x="146" y="33"/>
                    </a:lnTo>
                    <a:lnTo>
                      <a:pt x="142" y="33"/>
                    </a:lnTo>
                    <a:lnTo>
                      <a:pt x="141" y="38"/>
                    </a:lnTo>
                    <a:lnTo>
                      <a:pt x="136" y="40"/>
                    </a:lnTo>
                    <a:lnTo>
                      <a:pt x="133" y="43"/>
                    </a:lnTo>
                    <a:lnTo>
                      <a:pt x="130" y="43"/>
                    </a:lnTo>
                    <a:lnTo>
                      <a:pt x="127" y="41"/>
                    </a:lnTo>
                    <a:lnTo>
                      <a:pt x="127" y="40"/>
                    </a:lnTo>
                    <a:lnTo>
                      <a:pt x="125" y="40"/>
                    </a:lnTo>
                    <a:lnTo>
                      <a:pt x="120" y="41"/>
                    </a:lnTo>
                    <a:lnTo>
                      <a:pt x="120" y="44"/>
                    </a:lnTo>
                    <a:lnTo>
                      <a:pt x="122" y="46"/>
                    </a:lnTo>
                    <a:lnTo>
                      <a:pt x="127" y="49"/>
                    </a:lnTo>
                    <a:lnTo>
                      <a:pt x="125" y="52"/>
                    </a:lnTo>
                    <a:lnTo>
                      <a:pt x="128" y="56"/>
                    </a:lnTo>
                    <a:lnTo>
                      <a:pt x="131" y="54"/>
                    </a:lnTo>
                    <a:lnTo>
                      <a:pt x="134" y="57"/>
                    </a:lnTo>
                    <a:lnTo>
                      <a:pt x="138" y="59"/>
                    </a:lnTo>
                    <a:lnTo>
                      <a:pt x="144" y="65"/>
                    </a:lnTo>
                    <a:lnTo>
                      <a:pt x="141" y="67"/>
                    </a:lnTo>
                    <a:lnTo>
                      <a:pt x="134" y="60"/>
                    </a:lnTo>
                    <a:lnTo>
                      <a:pt x="131" y="59"/>
                    </a:lnTo>
                    <a:lnTo>
                      <a:pt x="128" y="57"/>
                    </a:lnTo>
                    <a:lnTo>
                      <a:pt x="125" y="57"/>
                    </a:lnTo>
                    <a:lnTo>
                      <a:pt x="120" y="59"/>
                    </a:lnTo>
                    <a:lnTo>
                      <a:pt x="122" y="62"/>
                    </a:lnTo>
                    <a:lnTo>
                      <a:pt x="125" y="63"/>
                    </a:lnTo>
                    <a:lnTo>
                      <a:pt x="127" y="65"/>
                    </a:lnTo>
                    <a:lnTo>
                      <a:pt x="130" y="67"/>
                    </a:lnTo>
                    <a:lnTo>
                      <a:pt x="131" y="70"/>
                    </a:lnTo>
                    <a:lnTo>
                      <a:pt x="131" y="71"/>
                    </a:lnTo>
                    <a:lnTo>
                      <a:pt x="128" y="73"/>
                    </a:lnTo>
                    <a:lnTo>
                      <a:pt x="127" y="71"/>
                    </a:lnTo>
                    <a:lnTo>
                      <a:pt x="125" y="68"/>
                    </a:lnTo>
                    <a:lnTo>
                      <a:pt x="122" y="65"/>
                    </a:lnTo>
                    <a:lnTo>
                      <a:pt x="119" y="62"/>
                    </a:lnTo>
                    <a:lnTo>
                      <a:pt x="115" y="62"/>
                    </a:lnTo>
                    <a:lnTo>
                      <a:pt x="112" y="60"/>
                    </a:lnTo>
                    <a:lnTo>
                      <a:pt x="109" y="63"/>
                    </a:lnTo>
                    <a:lnTo>
                      <a:pt x="112" y="67"/>
                    </a:lnTo>
                    <a:lnTo>
                      <a:pt x="115" y="71"/>
                    </a:lnTo>
                    <a:lnTo>
                      <a:pt x="119" y="71"/>
                    </a:lnTo>
                    <a:lnTo>
                      <a:pt x="122" y="75"/>
                    </a:lnTo>
                    <a:lnTo>
                      <a:pt x="117" y="75"/>
                    </a:lnTo>
                    <a:lnTo>
                      <a:pt x="114" y="73"/>
                    </a:lnTo>
                    <a:lnTo>
                      <a:pt x="111" y="73"/>
                    </a:lnTo>
                    <a:lnTo>
                      <a:pt x="111" y="71"/>
                    </a:lnTo>
                    <a:lnTo>
                      <a:pt x="107" y="68"/>
                    </a:lnTo>
                    <a:lnTo>
                      <a:pt x="109" y="65"/>
                    </a:lnTo>
                    <a:lnTo>
                      <a:pt x="106" y="62"/>
                    </a:lnTo>
                    <a:lnTo>
                      <a:pt x="98" y="59"/>
                    </a:lnTo>
                    <a:lnTo>
                      <a:pt x="95" y="56"/>
                    </a:lnTo>
                    <a:lnTo>
                      <a:pt x="92" y="52"/>
                    </a:lnTo>
                    <a:lnTo>
                      <a:pt x="95" y="51"/>
                    </a:lnTo>
                    <a:lnTo>
                      <a:pt x="95" y="48"/>
                    </a:lnTo>
                    <a:lnTo>
                      <a:pt x="92" y="48"/>
                    </a:lnTo>
                    <a:lnTo>
                      <a:pt x="88" y="51"/>
                    </a:lnTo>
                    <a:lnTo>
                      <a:pt x="87" y="51"/>
                    </a:lnTo>
                    <a:lnTo>
                      <a:pt x="87" y="51"/>
                    </a:lnTo>
                    <a:lnTo>
                      <a:pt x="85" y="52"/>
                    </a:lnTo>
                    <a:lnTo>
                      <a:pt x="85" y="52"/>
                    </a:lnTo>
                    <a:lnTo>
                      <a:pt x="85" y="56"/>
                    </a:lnTo>
                    <a:lnTo>
                      <a:pt x="85" y="59"/>
                    </a:lnTo>
                    <a:lnTo>
                      <a:pt x="84" y="62"/>
                    </a:lnTo>
                    <a:lnTo>
                      <a:pt x="82" y="67"/>
                    </a:lnTo>
                    <a:lnTo>
                      <a:pt x="84" y="70"/>
                    </a:lnTo>
                    <a:lnTo>
                      <a:pt x="85" y="71"/>
                    </a:lnTo>
                    <a:lnTo>
                      <a:pt x="87" y="73"/>
                    </a:lnTo>
                    <a:lnTo>
                      <a:pt x="88" y="76"/>
                    </a:lnTo>
                    <a:lnTo>
                      <a:pt x="90" y="76"/>
                    </a:lnTo>
                    <a:lnTo>
                      <a:pt x="93" y="79"/>
                    </a:lnTo>
                    <a:lnTo>
                      <a:pt x="96" y="87"/>
                    </a:lnTo>
                    <a:lnTo>
                      <a:pt x="96" y="89"/>
                    </a:lnTo>
                    <a:lnTo>
                      <a:pt x="104" y="95"/>
                    </a:lnTo>
                    <a:lnTo>
                      <a:pt x="111" y="105"/>
                    </a:lnTo>
                    <a:lnTo>
                      <a:pt x="107" y="106"/>
                    </a:lnTo>
                    <a:lnTo>
                      <a:pt x="104" y="109"/>
                    </a:lnTo>
                    <a:lnTo>
                      <a:pt x="103" y="109"/>
                    </a:lnTo>
                    <a:lnTo>
                      <a:pt x="106" y="106"/>
                    </a:lnTo>
                    <a:lnTo>
                      <a:pt x="106" y="103"/>
                    </a:lnTo>
                    <a:lnTo>
                      <a:pt x="103" y="100"/>
                    </a:lnTo>
                    <a:lnTo>
                      <a:pt x="101" y="100"/>
                    </a:lnTo>
                    <a:lnTo>
                      <a:pt x="98" y="98"/>
                    </a:lnTo>
                    <a:lnTo>
                      <a:pt x="95" y="102"/>
                    </a:lnTo>
                    <a:lnTo>
                      <a:pt x="95" y="105"/>
                    </a:lnTo>
                    <a:lnTo>
                      <a:pt x="98" y="108"/>
                    </a:lnTo>
                    <a:lnTo>
                      <a:pt x="98" y="111"/>
                    </a:lnTo>
                    <a:lnTo>
                      <a:pt x="103" y="111"/>
                    </a:lnTo>
                    <a:lnTo>
                      <a:pt x="100" y="114"/>
                    </a:lnTo>
                    <a:lnTo>
                      <a:pt x="96" y="116"/>
                    </a:lnTo>
                    <a:lnTo>
                      <a:pt x="92" y="117"/>
                    </a:lnTo>
                    <a:lnTo>
                      <a:pt x="87" y="117"/>
                    </a:lnTo>
                    <a:lnTo>
                      <a:pt x="90" y="119"/>
                    </a:lnTo>
                    <a:lnTo>
                      <a:pt x="92" y="121"/>
                    </a:lnTo>
                    <a:lnTo>
                      <a:pt x="100" y="122"/>
                    </a:lnTo>
                    <a:lnTo>
                      <a:pt x="103" y="124"/>
                    </a:lnTo>
                    <a:lnTo>
                      <a:pt x="104" y="127"/>
                    </a:lnTo>
                    <a:lnTo>
                      <a:pt x="107" y="125"/>
                    </a:lnTo>
                    <a:lnTo>
                      <a:pt x="111" y="127"/>
                    </a:lnTo>
                    <a:lnTo>
                      <a:pt x="111" y="130"/>
                    </a:lnTo>
                    <a:lnTo>
                      <a:pt x="112" y="133"/>
                    </a:lnTo>
                    <a:lnTo>
                      <a:pt x="115" y="133"/>
                    </a:lnTo>
                    <a:lnTo>
                      <a:pt x="119" y="133"/>
                    </a:lnTo>
                    <a:lnTo>
                      <a:pt x="122" y="135"/>
                    </a:lnTo>
                    <a:lnTo>
                      <a:pt x="123" y="138"/>
                    </a:lnTo>
                    <a:lnTo>
                      <a:pt x="125" y="140"/>
                    </a:lnTo>
                    <a:lnTo>
                      <a:pt x="127" y="140"/>
                    </a:lnTo>
                    <a:lnTo>
                      <a:pt x="133" y="141"/>
                    </a:lnTo>
                    <a:lnTo>
                      <a:pt x="136" y="144"/>
                    </a:lnTo>
                    <a:lnTo>
                      <a:pt x="138" y="148"/>
                    </a:lnTo>
                    <a:lnTo>
                      <a:pt x="136" y="152"/>
                    </a:lnTo>
                    <a:lnTo>
                      <a:pt x="136" y="155"/>
                    </a:lnTo>
                    <a:lnTo>
                      <a:pt x="138" y="159"/>
                    </a:lnTo>
                    <a:lnTo>
                      <a:pt x="139" y="160"/>
                    </a:lnTo>
                    <a:lnTo>
                      <a:pt x="139" y="163"/>
                    </a:lnTo>
                    <a:lnTo>
                      <a:pt x="138" y="167"/>
                    </a:lnTo>
                    <a:lnTo>
                      <a:pt x="138" y="168"/>
                    </a:lnTo>
                    <a:lnTo>
                      <a:pt x="134" y="165"/>
                    </a:lnTo>
                    <a:lnTo>
                      <a:pt x="131" y="162"/>
                    </a:lnTo>
                    <a:lnTo>
                      <a:pt x="128" y="159"/>
                    </a:lnTo>
                    <a:lnTo>
                      <a:pt x="125" y="155"/>
                    </a:lnTo>
                    <a:lnTo>
                      <a:pt x="122" y="154"/>
                    </a:lnTo>
                    <a:lnTo>
                      <a:pt x="119" y="152"/>
                    </a:lnTo>
                    <a:lnTo>
                      <a:pt x="115" y="154"/>
                    </a:lnTo>
                    <a:lnTo>
                      <a:pt x="112" y="154"/>
                    </a:lnTo>
                    <a:lnTo>
                      <a:pt x="109" y="155"/>
                    </a:lnTo>
                    <a:lnTo>
                      <a:pt x="106" y="157"/>
                    </a:lnTo>
                    <a:lnTo>
                      <a:pt x="103" y="157"/>
                    </a:lnTo>
                    <a:lnTo>
                      <a:pt x="103" y="160"/>
                    </a:lnTo>
                    <a:lnTo>
                      <a:pt x="107" y="160"/>
                    </a:lnTo>
                    <a:lnTo>
                      <a:pt x="107" y="163"/>
                    </a:lnTo>
                    <a:lnTo>
                      <a:pt x="107" y="165"/>
                    </a:lnTo>
                    <a:lnTo>
                      <a:pt x="109" y="168"/>
                    </a:lnTo>
                    <a:lnTo>
                      <a:pt x="111" y="170"/>
                    </a:lnTo>
                    <a:lnTo>
                      <a:pt x="114" y="171"/>
                    </a:lnTo>
                    <a:lnTo>
                      <a:pt x="114" y="168"/>
                    </a:lnTo>
                    <a:lnTo>
                      <a:pt x="117" y="171"/>
                    </a:lnTo>
                    <a:lnTo>
                      <a:pt x="120" y="174"/>
                    </a:lnTo>
                    <a:lnTo>
                      <a:pt x="119" y="176"/>
                    </a:lnTo>
                    <a:lnTo>
                      <a:pt x="115" y="178"/>
                    </a:lnTo>
                    <a:lnTo>
                      <a:pt x="112" y="178"/>
                    </a:lnTo>
                    <a:lnTo>
                      <a:pt x="111" y="181"/>
                    </a:lnTo>
                    <a:lnTo>
                      <a:pt x="107" y="179"/>
                    </a:lnTo>
                    <a:lnTo>
                      <a:pt x="107" y="176"/>
                    </a:lnTo>
                    <a:lnTo>
                      <a:pt x="104" y="174"/>
                    </a:lnTo>
                    <a:lnTo>
                      <a:pt x="101" y="173"/>
                    </a:lnTo>
                    <a:lnTo>
                      <a:pt x="98" y="173"/>
                    </a:lnTo>
                    <a:lnTo>
                      <a:pt x="95" y="171"/>
                    </a:lnTo>
                    <a:lnTo>
                      <a:pt x="98" y="181"/>
                    </a:lnTo>
                    <a:lnTo>
                      <a:pt x="104" y="192"/>
                    </a:lnTo>
                    <a:lnTo>
                      <a:pt x="104" y="195"/>
                    </a:lnTo>
                    <a:lnTo>
                      <a:pt x="106" y="200"/>
                    </a:lnTo>
                    <a:lnTo>
                      <a:pt x="107" y="203"/>
                    </a:lnTo>
                    <a:lnTo>
                      <a:pt x="106" y="206"/>
                    </a:lnTo>
                    <a:lnTo>
                      <a:pt x="106" y="209"/>
                    </a:lnTo>
                    <a:lnTo>
                      <a:pt x="111" y="213"/>
                    </a:lnTo>
                    <a:lnTo>
                      <a:pt x="112" y="216"/>
                    </a:lnTo>
                    <a:lnTo>
                      <a:pt x="111" y="217"/>
                    </a:lnTo>
                    <a:lnTo>
                      <a:pt x="107" y="214"/>
                    </a:lnTo>
                    <a:lnTo>
                      <a:pt x="104" y="213"/>
                    </a:lnTo>
                    <a:lnTo>
                      <a:pt x="101" y="209"/>
                    </a:lnTo>
                    <a:lnTo>
                      <a:pt x="98" y="206"/>
                    </a:lnTo>
                    <a:lnTo>
                      <a:pt x="98" y="201"/>
                    </a:lnTo>
                    <a:lnTo>
                      <a:pt x="95" y="201"/>
                    </a:lnTo>
                    <a:lnTo>
                      <a:pt x="92" y="203"/>
                    </a:lnTo>
                    <a:lnTo>
                      <a:pt x="88" y="206"/>
                    </a:lnTo>
                    <a:lnTo>
                      <a:pt x="88" y="209"/>
                    </a:lnTo>
                    <a:lnTo>
                      <a:pt x="88" y="213"/>
                    </a:lnTo>
                    <a:lnTo>
                      <a:pt x="88" y="216"/>
                    </a:lnTo>
                    <a:lnTo>
                      <a:pt x="85" y="216"/>
                    </a:lnTo>
                    <a:lnTo>
                      <a:pt x="84" y="211"/>
                    </a:lnTo>
                    <a:lnTo>
                      <a:pt x="84" y="208"/>
                    </a:lnTo>
                    <a:lnTo>
                      <a:pt x="82" y="205"/>
                    </a:lnTo>
                    <a:lnTo>
                      <a:pt x="82" y="205"/>
                    </a:lnTo>
                    <a:lnTo>
                      <a:pt x="81" y="201"/>
                    </a:lnTo>
                    <a:lnTo>
                      <a:pt x="77" y="198"/>
                    </a:lnTo>
                    <a:lnTo>
                      <a:pt x="76" y="195"/>
                    </a:lnTo>
                    <a:lnTo>
                      <a:pt x="74" y="194"/>
                    </a:lnTo>
                    <a:lnTo>
                      <a:pt x="71" y="194"/>
                    </a:lnTo>
                    <a:lnTo>
                      <a:pt x="68" y="197"/>
                    </a:lnTo>
                    <a:lnTo>
                      <a:pt x="68" y="200"/>
                    </a:lnTo>
                    <a:lnTo>
                      <a:pt x="69" y="203"/>
                    </a:lnTo>
                    <a:lnTo>
                      <a:pt x="65" y="203"/>
                    </a:lnTo>
                    <a:lnTo>
                      <a:pt x="61" y="201"/>
                    </a:lnTo>
                    <a:lnTo>
                      <a:pt x="60" y="198"/>
                    </a:lnTo>
                    <a:lnTo>
                      <a:pt x="60" y="198"/>
                    </a:lnTo>
                    <a:lnTo>
                      <a:pt x="58" y="195"/>
                    </a:lnTo>
                    <a:lnTo>
                      <a:pt x="57" y="192"/>
                    </a:lnTo>
                    <a:lnTo>
                      <a:pt x="55" y="187"/>
                    </a:lnTo>
                    <a:lnTo>
                      <a:pt x="58" y="184"/>
                    </a:lnTo>
                    <a:lnTo>
                      <a:pt x="60" y="181"/>
                    </a:lnTo>
                    <a:lnTo>
                      <a:pt x="58" y="178"/>
                    </a:lnTo>
                    <a:lnTo>
                      <a:pt x="57" y="174"/>
                    </a:lnTo>
                    <a:lnTo>
                      <a:pt x="54" y="171"/>
                    </a:lnTo>
                    <a:lnTo>
                      <a:pt x="50" y="170"/>
                    </a:lnTo>
                    <a:lnTo>
                      <a:pt x="47" y="167"/>
                    </a:lnTo>
                    <a:lnTo>
                      <a:pt x="46" y="163"/>
                    </a:lnTo>
                    <a:lnTo>
                      <a:pt x="42" y="160"/>
                    </a:lnTo>
                    <a:lnTo>
                      <a:pt x="39" y="157"/>
                    </a:lnTo>
                    <a:lnTo>
                      <a:pt x="42" y="155"/>
                    </a:lnTo>
                    <a:lnTo>
                      <a:pt x="46" y="152"/>
                    </a:lnTo>
                    <a:lnTo>
                      <a:pt x="47" y="148"/>
                    </a:lnTo>
                    <a:lnTo>
                      <a:pt x="47" y="148"/>
                    </a:lnTo>
                    <a:lnTo>
                      <a:pt x="50" y="146"/>
                    </a:lnTo>
                    <a:lnTo>
                      <a:pt x="54" y="148"/>
                    </a:lnTo>
                    <a:lnTo>
                      <a:pt x="58" y="146"/>
                    </a:lnTo>
                    <a:lnTo>
                      <a:pt x="60" y="141"/>
                    </a:lnTo>
                    <a:lnTo>
                      <a:pt x="63" y="140"/>
                    </a:lnTo>
                    <a:lnTo>
                      <a:pt x="66" y="140"/>
                    </a:lnTo>
                    <a:lnTo>
                      <a:pt x="69" y="141"/>
                    </a:lnTo>
                    <a:lnTo>
                      <a:pt x="73" y="143"/>
                    </a:lnTo>
                    <a:lnTo>
                      <a:pt x="76" y="146"/>
                    </a:lnTo>
                    <a:lnTo>
                      <a:pt x="81" y="146"/>
                    </a:lnTo>
                    <a:lnTo>
                      <a:pt x="82" y="148"/>
                    </a:lnTo>
                    <a:lnTo>
                      <a:pt x="85" y="148"/>
                    </a:lnTo>
                    <a:lnTo>
                      <a:pt x="93" y="152"/>
                    </a:lnTo>
                    <a:lnTo>
                      <a:pt x="98" y="155"/>
                    </a:lnTo>
                    <a:lnTo>
                      <a:pt x="100" y="152"/>
                    </a:lnTo>
                    <a:lnTo>
                      <a:pt x="103" y="151"/>
                    </a:lnTo>
                    <a:lnTo>
                      <a:pt x="106" y="151"/>
                    </a:lnTo>
                    <a:lnTo>
                      <a:pt x="107" y="151"/>
                    </a:lnTo>
                    <a:lnTo>
                      <a:pt x="109" y="146"/>
                    </a:lnTo>
                    <a:lnTo>
                      <a:pt x="106" y="144"/>
                    </a:lnTo>
                    <a:lnTo>
                      <a:pt x="98" y="144"/>
                    </a:lnTo>
                    <a:lnTo>
                      <a:pt x="95" y="144"/>
                    </a:lnTo>
                    <a:lnTo>
                      <a:pt x="92" y="141"/>
                    </a:lnTo>
                    <a:lnTo>
                      <a:pt x="90" y="140"/>
                    </a:lnTo>
                    <a:lnTo>
                      <a:pt x="88" y="141"/>
                    </a:lnTo>
                    <a:lnTo>
                      <a:pt x="85" y="138"/>
                    </a:lnTo>
                    <a:lnTo>
                      <a:pt x="82" y="135"/>
                    </a:lnTo>
                    <a:lnTo>
                      <a:pt x="81" y="138"/>
                    </a:lnTo>
                    <a:lnTo>
                      <a:pt x="74" y="140"/>
                    </a:lnTo>
                    <a:lnTo>
                      <a:pt x="71" y="138"/>
                    </a:lnTo>
                    <a:lnTo>
                      <a:pt x="66" y="136"/>
                    </a:lnTo>
                    <a:lnTo>
                      <a:pt x="65" y="138"/>
                    </a:lnTo>
                    <a:lnTo>
                      <a:pt x="57" y="140"/>
                    </a:lnTo>
                    <a:lnTo>
                      <a:pt x="54" y="140"/>
                    </a:lnTo>
                    <a:lnTo>
                      <a:pt x="50" y="141"/>
                    </a:lnTo>
                    <a:lnTo>
                      <a:pt x="47" y="136"/>
                    </a:lnTo>
                    <a:lnTo>
                      <a:pt x="47" y="135"/>
                    </a:lnTo>
                    <a:lnTo>
                      <a:pt x="46" y="135"/>
                    </a:lnTo>
                    <a:lnTo>
                      <a:pt x="46" y="135"/>
                    </a:lnTo>
                    <a:lnTo>
                      <a:pt x="42" y="138"/>
                    </a:lnTo>
                    <a:lnTo>
                      <a:pt x="39" y="141"/>
                    </a:lnTo>
                    <a:lnTo>
                      <a:pt x="39" y="138"/>
                    </a:lnTo>
                    <a:lnTo>
                      <a:pt x="38" y="135"/>
                    </a:lnTo>
                    <a:lnTo>
                      <a:pt x="35" y="130"/>
                    </a:lnTo>
                    <a:lnTo>
                      <a:pt x="33" y="127"/>
                    </a:lnTo>
                    <a:lnTo>
                      <a:pt x="33" y="125"/>
                    </a:lnTo>
                    <a:lnTo>
                      <a:pt x="31" y="125"/>
                    </a:lnTo>
                    <a:lnTo>
                      <a:pt x="30" y="122"/>
                    </a:lnTo>
                    <a:lnTo>
                      <a:pt x="27" y="122"/>
                    </a:lnTo>
                    <a:lnTo>
                      <a:pt x="25" y="119"/>
                    </a:lnTo>
                    <a:lnTo>
                      <a:pt x="25" y="116"/>
                    </a:lnTo>
                    <a:lnTo>
                      <a:pt x="25" y="114"/>
                    </a:lnTo>
                    <a:lnTo>
                      <a:pt x="28" y="114"/>
                    </a:lnTo>
                    <a:lnTo>
                      <a:pt x="33" y="114"/>
                    </a:lnTo>
                    <a:lnTo>
                      <a:pt x="35" y="116"/>
                    </a:lnTo>
                    <a:lnTo>
                      <a:pt x="38" y="116"/>
                    </a:lnTo>
                    <a:lnTo>
                      <a:pt x="39" y="113"/>
                    </a:lnTo>
                    <a:lnTo>
                      <a:pt x="38" y="111"/>
                    </a:lnTo>
                    <a:lnTo>
                      <a:pt x="33" y="113"/>
                    </a:lnTo>
                    <a:lnTo>
                      <a:pt x="30" y="109"/>
                    </a:lnTo>
                    <a:lnTo>
                      <a:pt x="27" y="108"/>
                    </a:lnTo>
                    <a:lnTo>
                      <a:pt x="25" y="111"/>
                    </a:lnTo>
                    <a:lnTo>
                      <a:pt x="25" y="114"/>
                    </a:lnTo>
                    <a:lnTo>
                      <a:pt x="23" y="111"/>
                    </a:lnTo>
                    <a:lnTo>
                      <a:pt x="20" y="108"/>
                    </a:lnTo>
                    <a:lnTo>
                      <a:pt x="17" y="105"/>
                    </a:lnTo>
                    <a:lnTo>
                      <a:pt x="16" y="102"/>
                    </a:lnTo>
                    <a:lnTo>
                      <a:pt x="12" y="102"/>
                    </a:lnTo>
                    <a:lnTo>
                      <a:pt x="11" y="100"/>
                    </a:lnTo>
                    <a:lnTo>
                      <a:pt x="8" y="97"/>
                    </a:lnTo>
                    <a:lnTo>
                      <a:pt x="8" y="94"/>
                    </a:lnTo>
                    <a:lnTo>
                      <a:pt x="4" y="89"/>
                    </a:lnTo>
                    <a:lnTo>
                      <a:pt x="3" y="86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22" name="Freeform 602"/>
              <p:cNvSpPr>
                <a:spLocks/>
              </p:cNvSpPr>
              <p:nvPr/>
            </p:nvSpPr>
            <p:spPr bwMode="auto">
              <a:xfrm>
                <a:off x="2940" y="1676"/>
                <a:ext cx="8" cy="9"/>
              </a:xfrm>
              <a:custGeom>
                <a:avLst/>
                <a:gdLst>
                  <a:gd name="T0" fmla="*/ 13 w 16"/>
                  <a:gd name="T1" fmla="*/ 15 h 18"/>
                  <a:gd name="T2" fmla="*/ 16 w 16"/>
                  <a:gd name="T3" fmla="*/ 18 h 18"/>
                  <a:gd name="T4" fmla="*/ 13 w 16"/>
                  <a:gd name="T5" fmla="*/ 18 h 18"/>
                  <a:gd name="T6" fmla="*/ 9 w 16"/>
                  <a:gd name="T7" fmla="*/ 15 h 18"/>
                  <a:gd name="T8" fmla="*/ 6 w 16"/>
                  <a:gd name="T9" fmla="*/ 11 h 18"/>
                  <a:gd name="T10" fmla="*/ 3 w 16"/>
                  <a:gd name="T11" fmla="*/ 8 h 18"/>
                  <a:gd name="T12" fmla="*/ 2 w 16"/>
                  <a:gd name="T13" fmla="*/ 5 h 18"/>
                  <a:gd name="T14" fmla="*/ 0 w 16"/>
                  <a:gd name="T15" fmla="*/ 2 h 18"/>
                  <a:gd name="T16" fmla="*/ 8 w 16"/>
                  <a:gd name="T17" fmla="*/ 0 h 18"/>
                  <a:gd name="T18" fmla="*/ 9 w 16"/>
                  <a:gd name="T19" fmla="*/ 4 h 18"/>
                  <a:gd name="T20" fmla="*/ 8 w 16"/>
                  <a:gd name="T21" fmla="*/ 8 h 18"/>
                  <a:gd name="T22" fmla="*/ 9 w 16"/>
                  <a:gd name="T23" fmla="*/ 11 h 18"/>
                  <a:gd name="T24" fmla="*/ 9 w 16"/>
                  <a:gd name="T25" fmla="*/ 15 h 18"/>
                  <a:gd name="T26" fmla="*/ 13 w 16"/>
                  <a:gd name="T27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" h="18">
                    <a:moveTo>
                      <a:pt x="13" y="15"/>
                    </a:moveTo>
                    <a:lnTo>
                      <a:pt x="16" y="18"/>
                    </a:lnTo>
                    <a:lnTo>
                      <a:pt x="13" y="18"/>
                    </a:lnTo>
                    <a:lnTo>
                      <a:pt x="9" y="15"/>
                    </a:lnTo>
                    <a:lnTo>
                      <a:pt x="6" y="11"/>
                    </a:lnTo>
                    <a:lnTo>
                      <a:pt x="3" y="8"/>
                    </a:lnTo>
                    <a:lnTo>
                      <a:pt x="2" y="5"/>
                    </a:lnTo>
                    <a:lnTo>
                      <a:pt x="0" y="2"/>
                    </a:lnTo>
                    <a:lnTo>
                      <a:pt x="8" y="0"/>
                    </a:lnTo>
                    <a:lnTo>
                      <a:pt x="9" y="4"/>
                    </a:lnTo>
                    <a:lnTo>
                      <a:pt x="8" y="8"/>
                    </a:lnTo>
                    <a:lnTo>
                      <a:pt x="9" y="11"/>
                    </a:lnTo>
                    <a:lnTo>
                      <a:pt x="9" y="15"/>
                    </a:lnTo>
                    <a:lnTo>
                      <a:pt x="13" y="1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23" name="Freeform 603"/>
              <p:cNvSpPr>
                <a:spLocks/>
              </p:cNvSpPr>
              <p:nvPr/>
            </p:nvSpPr>
            <p:spPr bwMode="auto">
              <a:xfrm>
                <a:off x="2953" y="1704"/>
                <a:ext cx="8" cy="8"/>
              </a:xfrm>
              <a:custGeom>
                <a:avLst/>
                <a:gdLst>
                  <a:gd name="T0" fmla="*/ 7 w 16"/>
                  <a:gd name="T1" fmla="*/ 3 h 16"/>
                  <a:gd name="T2" fmla="*/ 7 w 16"/>
                  <a:gd name="T3" fmla="*/ 0 h 16"/>
                  <a:gd name="T4" fmla="*/ 10 w 16"/>
                  <a:gd name="T5" fmla="*/ 3 h 16"/>
                  <a:gd name="T6" fmla="*/ 10 w 16"/>
                  <a:gd name="T7" fmla="*/ 6 h 16"/>
                  <a:gd name="T8" fmla="*/ 11 w 16"/>
                  <a:gd name="T9" fmla="*/ 8 h 16"/>
                  <a:gd name="T10" fmla="*/ 15 w 16"/>
                  <a:gd name="T11" fmla="*/ 11 h 16"/>
                  <a:gd name="T12" fmla="*/ 16 w 16"/>
                  <a:gd name="T13" fmla="*/ 14 h 16"/>
                  <a:gd name="T14" fmla="*/ 13 w 16"/>
                  <a:gd name="T15" fmla="*/ 16 h 16"/>
                  <a:gd name="T16" fmla="*/ 10 w 16"/>
                  <a:gd name="T17" fmla="*/ 14 h 16"/>
                  <a:gd name="T18" fmla="*/ 7 w 16"/>
                  <a:gd name="T19" fmla="*/ 14 h 16"/>
                  <a:gd name="T20" fmla="*/ 5 w 16"/>
                  <a:gd name="T21" fmla="*/ 9 h 16"/>
                  <a:gd name="T22" fmla="*/ 2 w 16"/>
                  <a:gd name="T23" fmla="*/ 13 h 16"/>
                  <a:gd name="T24" fmla="*/ 0 w 16"/>
                  <a:gd name="T25" fmla="*/ 8 h 16"/>
                  <a:gd name="T26" fmla="*/ 2 w 16"/>
                  <a:gd name="T27" fmla="*/ 5 h 16"/>
                  <a:gd name="T28" fmla="*/ 5 w 16"/>
                  <a:gd name="T29" fmla="*/ 5 h 16"/>
                  <a:gd name="T30" fmla="*/ 7 w 16"/>
                  <a:gd name="T31" fmla="*/ 3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6" h="16">
                    <a:moveTo>
                      <a:pt x="7" y="3"/>
                    </a:moveTo>
                    <a:lnTo>
                      <a:pt x="7" y="0"/>
                    </a:lnTo>
                    <a:lnTo>
                      <a:pt x="10" y="3"/>
                    </a:lnTo>
                    <a:lnTo>
                      <a:pt x="10" y="6"/>
                    </a:lnTo>
                    <a:lnTo>
                      <a:pt x="11" y="8"/>
                    </a:lnTo>
                    <a:lnTo>
                      <a:pt x="15" y="11"/>
                    </a:lnTo>
                    <a:lnTo>
                      <a:pt x="16" y="14"/>
                    </a:lnTo>
                    <a:lnTo>
                      <a:pt x="13" y="16"/>
                    </a:lnTo>
                    <a:lnTo>
                      <a:pt x="10" y="14"/>
                    </a:lnTo>
                    <a:lnTo>
                      <a:pt x="7" y="14"/>
                    </a:lnTo>
                    <a:lnTo>
                      <a:pt x="5" y="9"/>
                    </a:lnTo>
                    <a:lnTo>
                      <a:pt x="2" y="13"/>
                    </a:lnTo>
                    <a:lnTo>
                      <a:pt x="0" y="8"/>
                    </a:lnTo>
                    <a:lnTo>
                      <a:pt x="2" y="5"/>
                    </a:lnTo>
                    <a:lnTo>
                      <a:pt x="5" y="5"/>
                    </a:lnTo>
                    <a:lnTo>
                      <a:pt x="7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24" name="Freeform 604"/>
              <p:cNvSpPr>
                <a:spLocks/>
              </p:cNvSpPr>
              <p:nvPr/>
            </p:nvSpPr>
            <p:spPr bwMode="auto">
              <a:xfrm>
                <a:off x="2956" y="1696"/>
                <a:ext cx="4" cy="5"/>
              </a:xfrm>
              <a:custGeom>
                <a:avLst/>
                <a:gdLst>
                  <a:gd name="T0" fmla="*/ 4 w 6"/>
                  <a:gd name="T1" fmla="*/ 0 h 9"/>
                  <a:gd name="T2" fmla="*/ 4 w 6"/>
                  <a:gd name="T3" fmla="*/ 0 h 9"/>
                  <a:gd name="T4" fmla="*/ 6 w 6"/>
                  <a:gd name="T5" fmla="*/ 2 h 9"/>
                  <a:gd name="T6" fmla="*/ 6 w 6"/>
                  <a:gd name="T7" fmla="*/ 5 h 9"/>
                  <a:gd name="T8" fmla="*/ 6 w 6"/>
                  <a:gd name="T9" fmla="*/ 8 h 9"/>
                  <a:gd name="T10" fmla="*/ 3 w 6"/>
                  <a:gd name="T11" fmla="*/ 9 h 9"/>
                  <a:gd name="T12" fmla="*/ 0 w 6"/>
                  <a:gd name="T13" fmla="*/ 6 h 9"/>
                  <a:gd name="T14" fmla="*/ 1 w 6"/>
                  <a:gd name="T15" fmla="*/ 3 h 9"/>
                  <a:gd name="T16" fmla="*/ 4 w 6"/>
                  <a:gd name="T17" fmla="*/ 0 h 9"/>
                  <a:gd name="T18" fmla="*/ 4 w 6"/>
                  <a:gd name="T19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9">
                    <a:moveTo>
                      <a:pt x="4" y="0"/>
                    </a:moveTo>
                    <a:lnTo>
                      <a:pt x="4" y="0"/>
                    </a:lnTo>
                    <a:lnTo>
                      <a:pt x="6" y="2"/>
                    </a:lnTo>
                    <a:lnTo>
                      <a:pt x="6" y="5"/>
                    </a:lnTo>
                    <a:lnTo>
                      <a:pt x="6" y="8"/>
                    </a:lnTo>
                    <a:lnTo>
                      <a:pt x="3" y="9"/>
                    </a:lnTo>
                    <a:lnTo>
                      <a:pt x="0" y="6"/>
                    </a:lnTo>
                    <a:lnTo>
                      <a:pt x="1" y="3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25" name="Freeform 605"/>
              <p:cNvSpPr>
                <a:spLocks/>
              </p:cNvSpPr>
              <p:nvPr/>
            </p:nvSpPr>
            <p:spPr bwMode="auto">
              <a:xfrm>
                <a:off x="2958" y="1703"/>
                <a:ext cx="2" cy="4"/>
              </a:xfrm>
              <a:custGeom>
                <a:avLst/>
                <a:gdLst>
                  <a:gd name="T0" fmla="*/ 3 w 3"/>
                  <a:gd name="T1" fmla="*/ 8 h 8"/>
                  <a:gd name="T2" fmla="*/ 1 w 3"/>
                  <a:gd name="T3" fmla="*/ 3 h 8"/>
                  <a:gd name="T4" fmla="*/ 0 w 3"/>
                  <a:gd name="T5" fmla="*/ 0 h 8"/>
                  <a:gd name="T6" fmla="*/ 1 w 3"/>
                  <a:gd name="T7" fmla="*/ 3 h 8"/>
                  <a:gd name="T8" fmla="*/ 3 w 3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8">
                    <a:moveTo>
                      <a:pt x="3" y="8"/>
                    </a:moveTo>
                    <a:lnTo>
                      <a:pt x="1" y="3"/>
                    </a:lnTo>
                    <a:lnTo>
                      <a:pt x="0" y="0"/>
                    </a:lnTo>
                    <a:lnTo>
                      <a:pt x="1" y="3"/>
                    </a:lnTo>
                    <a:lnTo>
                      <a:pt x="3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26" name="Freeform 606"/>
              <p:cNvSpPr>
                <a:spLocks/>
              </p:cNvSpPr>
              <p:nvPr/>
            </p:nvSpPr>
            <p:spPr bwMode="auto">
              <a:xfrm>
                <a:off x="2998" y="1746"/>
                <a:ext cx="3" cy="5"/>
              </a:xfrm>
              <a:custGeom>
                <a:avLst/>
                <a:gdLst>
                  <a:gd name="T0" fmla="*/ 1 w 4"/>
                  <a:gd name="T1" fmla="*/ 0 h 9"/>
                  <a:gd name="T2" fmla="*/ 3 w 4"/>
                  <a:gd name="T3" fmla="*/ 3 h 9"/>
                  <a:gd name="T4" fmla="*/ 4 w 4"/>
                  <a:gd name="T5" fmla="*/ 8 h 9"/>
                  <a:gd name="T6" fmla="*/ 1 w 4"/>
                  <a:gd name="T7" fmla="*/ 9 h 9"/>
                  <a:gd name="T8" fmla="*/ 0 w 4"/>
                  <a:gd name="T9" fmla="*/ 6 h 9"/>
                  <a:gd name="T10" fmla="*/ 0 w 4"/>
                  <a:gd name="T11" fmla="*/ 1 h 9"/>
                  <a:gd name="T12" fmla="*/ 1 w 4"/>
                  <a:gd name="T13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" h="9">
                    <a:moveTo>
                      <a:pt x="1" y="0"/>
                    </a:moveTo>
                    <a:lnTo>
                      <a:pt x="3" y="3"/>
                    </a:lnTo>
                    <a:lnTo>
                      <a:pt x="4" y="8"/>
                    </a:lnTo>
                    <a:lnTo>
                      <a:pt x="1" y="9"/>
                    </a:lnTo>
                    <a:lnTo>
                      <a:pt x="0" y="6"/>
                    </a:lnTo>
                    <a:lnTo>
                      <a:pt x="0" y="1"/>
                    </a:lnTo>
                    <a:lnTo>
                      <a:pt x="1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27" name="Freeform 607"/>
              <p:cNvSpPr>
                <a:spLocks/>
              </p:cNvSpPr>
              <p:nvPr/>
            </p:nvSpPr>
            <p:spPr bwMode="auto">
              <a:xfrm>
                <a:off x="3006" y="1713"/>
                <a:ext cx="1" cy="2"/>
              </a:xfrm>
              <a:custGeom>
                <a:avLst/>
                <a:gdLst>
                  <a:gd name="T0" fmla="*/ 2 w 3"/>
                  <a:gd name="T1" fmla="*/ 0 h 3"/>
                  <a:gd name="T2" fmla="*/ 3 w 3"/>
                  <a:gd name="T3" fmla="*/ 3 h 3"/>
                  <a:gd name="T4" fmla="*/ 0 w 3"/>
                  <a:gd name="T5" fmla="*/ 3 h 3"/>
                  <a:gd name="T6" fmla="*/ 0 w 3"/>
                  <a:gd name="T7" fmla="*/ 0 h 3"/>
                  <a:gd name="T8" fmla="*/ 2 w 3"/>
                  <a:gd name="T9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2" y="0"/>
                    </a:moveTo>
                    <a:lnTo>
                      <a:pt x="3" y="3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28" name="Freeform 608"/>
              <p:cNvSpPr>
                <a:spLocks/>
              </p:cNvSpPr>
              <p:nvPr/>
            </p:nvSpPr>
            <p:spPr bwMode="auto">
              <a:xfrm>
                <a:off x="3006" y="1718"/>
                <a:ext cx="1" cy="2"/>
              </a:xfrm>
              <a:custGeom>
                <a:avLst/>
                <a:gdLst>
                  <a:gd name="T0" fmla="*/ 3 w 3"/>
                  <a:gd name="T1" fmla="*/ 4 h 4"/>
                  <a:gd name="T2" fmla="*/ 0 w 3"/>
                  <a:gd name="T3" fmla="*/ 0 h 4"/>
                  <a:gd name="T4" fmla="*/ 3 w 3"/>
                  <a:gd name="T5" fmla="*/ 0 h 4"/>
                  <a:gd name="T6" fmla="*/ 3 w 3"/>
                  <a:gd name="T7" fmla="*/ 4 h 4"/>
                  <a:gd name="T8" fmla="*/ 3 w 3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4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29" name="Freeform 609"/>
              <p:cNvSpPr>
                <a:spLocks/>
              </p:cNvSpPr>
              <p:nvPr/>
            </p:nvSpPr>
            <p:spPr bwMode="auto">
              <a:xfrm>
                <a:off x="2996" y="1692"/>
                <a:ext cx="29" cy="22"/>
              </a:xfrm>
              <a:custGeom>
                <a:avLst/>
                <a:gdLst>
                  <a:gd name="T0" fmla="*/ 24 w 57"/>
                  <a:gd name="T1" fmla="*/ 24 h 44"/>
                  <a:gd name="T2" fmla="*/ 24 w 57"/>
                  <a:gd name="T3" fmla="*/ 19 h 44"/>
                  <a:gd name="T4" fmla="*/ 21 w 57"/>
                  <a:gd name="T5" fmla="*/ 17 h 44"/>
                  <a:gd name="T6" fmla="*/ 17 w 57"/>
                  <a:gd name="T7" fmla="*/ 14 h 44"/>
                  <a:gd name="T8" fmla="*/ 14 w 57"/>
                  <a:gd name="T9" fmla="*/ 13 h 44"/>
                  <a:gd name="T10" fmla="*/ 11 w 57"/>
                  <a:gd name="T11" fmla="*/ 10 h 44"/>
                  <a:gd name="T12" fmla="*/ 8 w 57"/>
                  <a:gd name="T13" fmla="*/ 8 h 44"/>
                  <a:gd name="T14" fmla="*/ 3 w 57"/>
                  <a:gd name="T15" fmla="*/ 6 h 44"/>
                  <a:gd name="T16" fmla="*/ 0 w 57"/>
                  <a:gd name="T17" fmla="*/ 8 h 44"/>
                  <a:gd name="T18" fmla="*/ 5 w 57"/>
                  <a:gd name="T19" fmla="*/ 3 h 44"/>
                  <a:gd name="T20" fmla="*/ 9 w 57"/>
                  <a:gd name="T21" fmla="*/ 0 h 44"/>
                  <a:gd name="T22" fmla="*/ 13 w 57"/>
                  <a:gd name="T23" fmla="*/ 0 h 44"/>
                  <a:gd name="T24" fmla="*/ 14 w 57"/>
                  <a:gd name="T25" fmla="*/ 2 h 44"/>
                  <a:gd name="T26" fmla="*/ 16 w 57"/>
                  <a:gd name="T27" fmla="*/ 3 h 44"/>
                  <a:gd name="T28" fmla="*/ 17 w 57"/>
                  <a:gd name="T29" fmla="*/ 8 h 44"/>
                  <a:gd name="T30" fmla="*/ 22 w 57"/>
                  <a:gd name="T31" fmla="*/ 10 h 44"/>
                  <a:gd name="T32" fmla="*/ 29 w 57"/>
                  <a:gd name="T33" fmla="*/ 13 h 44"/>
                  <a:gd name="T34" fmla="*/ 33 w 57"/>
                  <a:gd name="T35" fmla="*/ 14 h 44"/>
                  <a:gd name="T36" fmla="*/ 38 w 57"/>
                  <a:gd name="T37" fmla="*/ 14 h 44"/>
                  <a:gd name="T38" fmla="*/ 41 w 57"/>
                  <a:gd name="T39" fmla="*/ 17 h 44"/>
                  <a:gd name="T40" fmla="*/ 44 w 57"/>
                  <a:gd name="T41" fmla="*/ 21 h 44"/>
                  <a:gd name="T42" fmla="*/ 43 w 57"/>
                  <a:gd name="T43" fmla="*/ 24 h 44"/>
                  <a:gd name="T44" fmla="*/ 44 w 57"/>
                  <a:gd name="T45" fmla="*/ 29 h 44"/>
                  <a:gd name="T46" fmla="*/ 46 w 57"/>
                  <a:gd name="T47" fmla="*/ 32 h 44"/>
                  <a:gd name="T48" fmla="*/ 48 w 57"/>
                  <a:gd name="T49" fmla="*/ 35 h 44"/>
                  <a:gd name="T50" fmla="*/ 51 w 57"/>
                  <a:gd name="T51" fmla="*/ 37 h 44"/>
                  <a:gd name="T52" fmla="*/ 55 w 57"/>
                  <a:gd name="T53" fmla="*/ 37 h 44"/>
                  <a:gd name="T54" fmla="*/ 57 w 57"/>
                  <a:gd name="T55" fmla="*/ 40 h 44"/>
                  <a:gd name="T56" fmla="*/ 55 w 57"/>
                  <a:gd name="T57" fmla="*/ 43 h 44"/>
                  <a:gd name="T58" fmla="*/ 55 w 57"/>
                  <a:gd name="T59" fmla="*/ 44 h 44"/>
                  <a:gd name="T60" fmla="*/ 44 w 57"/>
                  <a:gd name="T61" fmla="*/ 37 h 44"/>
                  <a:gd name="T62" fmla="*/ 44 w 57"/>
                  <a:gd name="T63" fmla="*/ 33 h 44"/>
                  <a:gd name="T64" fmla="*/ 41 w 57"/>
                  <a:gd name="T65" fmla="*/ 30 h 44"/>
                  <a:gd name="T66" fmla="*/ 40 w 57"/>
                  <a:gd name="T67" fmla="*/ 27 h 44"/>
                  <a:gd name="T68" fmla="*/ 36 w 57"/>
                  <a:gd name="T69" fmla="*/ 25 h 44"/>
                  <a:gd name="T70" fmla="*/ 32 w 57"/>
                  <a:gd name="T71" fmla="*/ 25 h 44"/>
                  <a:gd name="T72" fmla="*/ 29 w 57"/>
                  <a:gd name="T73" fmla="*/ 25 h 44"/>
                  <a:gd name="T74" fmla="*/ 25 w 57"/>
                  <a:gd name="T75" fmla="*/ 25 h 44"/>
                  <a:gd name="T76" fmla="*/ 24 w 57"/>
                  <a:gd name="T77" fmla="*/ 2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7" h="44">
                    <a:moveTo>
                      <a:pt x="24" y="24"/>
                    </a:moveTo>
                    <a:lnTo>
                      <a:pt x="24" y="19"/>
                    </a:lnTo>
                    <a:lnTo>
                      <a:pt x="21" y="17"/>
                    </a:lnTo>
                    <a:lnTo>
                      <a:pt x="17" y="14"/>
                    </a:lnTo>
                    <a:lnTo>
                      <a:pt x="14" y="13"/>
                    </a:lnTo>
                    <a:lnTo>
                      <a:pt x="11" y="10"/>
                    </a:lnTo>
                    <a:lnTo>
                      <a:pt x="8" y="8"/>
                    </a:lnTo>
                    <a:lnTo>
                      <a:pt x="3" y="6"/>
                    </a:lnTo>
                    <a:lnTo>
                      <a:pt x="0" y="8"/>
                    </a:lnTo>
                    <a:lnTo>
                      <a:pt x="5" y="3"/>
                    </a:lnTo>
                    <a:lnTo>
                      <a:pt x="9" y="0"/>
                    </a:lnTo>
                    <a:lnTo>
                      <a:pt x="13" y="0"/>
                    </a:lnTo>
                    <a:lnTo>
                      <a:pt x="14" y="2"/>
                    </a:lnTo>
                    <a:lnTo>
                      <a:pt x="16" y="3"/>
                    </a:lnTo>
                    <a:lnTo>
                      <a:pt x="17" y="8"/>
                    </a:lnTo>
                    <a:lnTo>
                      <a:pt x="22" y="10"/>
                    </a:lnTo>
                    <a:lnTo>
                      <a:pt x="29" y="13"/>
                    </a:lnTo>
                    <a:lnTo>
                      <a:pt x="33" y="14"/>
                    </a:lnTo>
                    <a:lnTo>
                      <a:pt x="38" y="14"/>
                    </a:lnTo>
                    <a:lnTo>
                      <a:pt x="41" y="17"/>
                    </a:lnTo>
                    <a:lnTo>
                      <a:pt x="44" y="21"/>
                    </a:lnTo>
                    <a:lnTo>
                      <a:pt x="43" y="24"/>
                    </a:lnTo>
                    <a:lnTo>
                      <a:pt x="44" y="29"/>
                    </a:lnTo>
                    <a:lnTo>
                      <a:pt x="46" y="32"/>
                    </a:lnTo>
                    <a:lnTo>
                      <a:pt x="48" y="35"/>
                    </a:lnTo>
                    <a:lnTo>
                      <a:pt x="51" y="37"/>
                    </a:lnTo>
                    <a:lnTo>
                      <a:pt x="55" y="37"/>
                    </a:lnTo>
                    <a:lnTo>
                      <a:pt x="57" y="40"/>
                    </a:lnTo>
                    <a:lnTo>
                      <a:pt x="55" y="43"/>
                    </a:lnTo>
                    <a:lnTo>
                      <a:pt x="55" y="44"/>
                    </a:lnTo>
                    <a:lnTo>
                      <a:pt x="44" y="37"/>
                    </a:lnTo>
                    <a:lnTo>
                      <a:pt x="44" y="33"/>
                    </a:lnTo>
                    <a:lnTo>
                      <a:pt x="41" y="30"/>
                    </a:lnTo>
                    <a:lnTo>
                      <a:pt x="40" y="27"/>
                    </a:lnTo>
                    <a:lnTo>
                      <a:pt x="36" y="25"/>
                    </a:lnTo>
                    <a:lnTo>
                      <a:pt x="32" y="25"/>
                    </a:lnTo>
                    <a:lnTo>
                      <a:pt x="29" y="25"/>
                    </a:lnTo>
                    <a:lnTo>
                      <a:pt x="25" y="25"/>
                    </a:lnTo>
                    <a:lnTo>
                      <a:pt x="24" y="2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30" name="Freeform 610"/>
              <p:cNvSpPr>
                <a:spLocks/>
              </p:cNvSpPr>
              <p:nvPr/>
            </p:nvSpPr>
            <p:spPr bwMode="auto">
              <a:xfrm>
                <a:off x="3007" y="1690"/>
                <a:ext cx="2" cy="1"/>
              </a:xfrm>
              <a:custGeom>
                <a:avLst/>
                <a:gdLst>
                  <a:gd name="T0" fmla="*/ 5 w 5"/>
                  <a:gd name="T1" fmla="*/ 3 h 3"/>
                  <a:gd name="T2" fmla="*/ 0 w 5"/>
                  <a:gd name="T3" fmla="*/ 0 h 3"/>
                  <a:gd name="T4" fmla="*/ 5 w 5"/>
                  <a:gd name="T5" fmla="*/ 0 h 3"/>
                  <a:gd name="T6" fmla="*/ 5 w 5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3">
                    <a:moveTo>
                      <a:pt x="5" y="3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5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31" name="Freeform 611"/>
              <p:cNvSpPr>
                <a:spLocks/>
              </p:cNvSpPr>
              <p:nvPr/>
            </p:nvSpPr>
            <p:spPr bwMode="auto">
              <a:xfrm>
                <a:off x="3009" y="1760"/>
                <a:ext cx="48" cy="16"/>
              </a:xfrm>
              <a:custGeom>
                <a:avLst/>
                <a:gdLst>
                  <a:gd name="T0" fmla="*/ 21 w 95"/>
                  <a:gd name="T1" fmla="*/ 19 h 32"/>
                  <a:gd name="T2" fmla="*/ 17 w 95"/>
                  <a:gd name="T3" fmla="*/ 21 h 32"/>
                  <a:gd name="T4" fmla="*/ 14 w 95"/>
                  <a:gd name="T5" fmla="*/ 19 h 32"/>
                  <a:gd name="T6" fmla="*/ 11 w 95"/>
                  <a:gd name="T7" fmla="*/ 18 h 32"/>
                  <a:gd name="T8" fmla="*/ 8 w 95"/>
                  <a:gd name="T9" fmla="*/ 19 h 32"/>
                  <a:gd name="T10" fmla="*/ 5 w 95"/>
                  <a:gd name="T11" fmla="*/ 19 h 32"/>
                  <a:gd name="T12" fmla="*/ 0 w 95"/>
                  <a:gd name="T13" fmla="*/ 16 h 32"/>
                  <a:gd name="T14" fmla="*/ 0 w 95"/>
                  <a:gd name="T15" fmla="*/ 13 h 32"/>
                  <a:gd name="T16" fmla="*/ 2 w 95"/>
                  <a:gd name="T17" fmla="*/ 10 h 32"/>
                  <a:gd name="T18" fmla="*/ 2 w 95"/>
                  <a:gd name="T19" fmla="*/ 7 h 32"/>
                  <a:gd name="T20" fmla="*/ 5 w 95"/>
                  <a:gd name="T21" fmla="*/ 8 h 32"/>
                  <a:gd name="T22" fmla="*/ 6 w 95"/>
                  <a:gd name="T23" fmla="*/ 5 h 32"/>
                  <a:gd name="T24" fmla="*/ 6 w 95"/>
                  <a:gd name="T25" fmla="*/ 0 h 32"/>
                  <a:gd name="T26" fmla="*/ 8 w 95"/>
                  <a:gd name="T27" fmla="*/ 5 h 32"/>
                  <a:gd name="T28" fmla="*/ 11 w 95"/>
                  <a:gd name="T29" fmla="*/ 7 h 32"/>
                  <a:gd name="T30" fmla="*/ 13 w 95"/>
                  <a:gd name="T31" fmla="*/ 7 h 32"/>
                  <a:gd name="T32" fmla="*/ 14 w 95"/>
                  <a:gd name="T33" fmla="*/ 7 h 32"/>
                  <a:gd name="T34" fmla="*/ 19 w 95"/>
                  <a:gd name="T35" fmla="*/ 7 h 32"/>
                  <a:gd name="T36" fmla="*/ 22 w 95"/>
                  <a:gd name="T37" fmla="*/ 5 h 32"/>
                  <a:gd name="T38" fmla="*/ 19 w 95"/>
                  <a:gd name="T39" fmla="*/ 8 h 32"/>
                  <a:gd name="T40" fmla="*/ 24 w 95"/>
                  <a:gd name="T41" fmla="*/ 12 h 32"/>
                  <a:gd name="T42" fmla="*/ 25 w 95"/>
                  <a:gd name="T43" fmla="*/ 13 h 32"/>
                  <a:gd name="T44" fmla="*/ 28 w 95"/>
                  <a:gd name="T45" fmla="*/ 15 h 32"/>
                  <a:gd name="T46" fmla="*/ 35 w 95"/>
                  <a:gd name="T47" fmla="*/ 13 h 32"/>
                  <a:gd name="T48" fmla="*/ 43 w 95"/>
                  <a:gd name="T49" fmla="*/ 12 h 32"/>
                  <a:gd name="T50" fmla="*/ 51 w 95"/>
                  <a:gd name="T51" fmla="*/ 12 h 32"/>
                  <a:gd name="T52" fmla="*/ 54 w 95"/>
                  <a:gd name="T53" fmla="*/ 15 h 32"/>
                  <a:gd name="T54" fmla="*/ 60 w 95"/>
                  <a:gd name="T55" fmla="*/ 15 h 32"/>
                  <a:gd name="T56" fmla="*/ 65 w 95"/>
                  <a:gd name="T57" fmla="*/ 16 h 32"/>
                  <a:gd name="T58" fmla="*/ 68 w 95"/>
                  <a:gd name="T59" fmla="*/ 16 h 32"/>
                  <a:gd name="T60" fmla="*/ 68 w 95"/>
                  <a:gd name="T61" fmla="*/ 16 h 32"/>
                  <a:gd name="T62" fmla="*/ 71 w 95"/>
                  <a:gd name="T63" fmla="*/ 15 h 32"/>
                  <a:gd name="T64" fmla="*/ 74 w 95"/>
                  <a:gd name="T65" fmla="*/ 15 h 32"/>
                  <a:gd name="T66" fmla="*/ 76 w 95"/>
                  <a:gd name="T67" fmla="*/ 18 h 32"/>
                  <a:gd name="T68" fmla="*/ 74 w 95"/>
                  <a:gd name="T69" fmla="*/ 23 h 32"/>
                  <a:gd name="T70" fmla="*/ 79 w 95"/>
                  <a:gd name="T71" fmla="*/ 24 h 32"/>
                  <a:gd name="T72" fmla="*/ 82 w 95"/>
                  <a:gd name="T73" fmla="*/ 21 h 32"/>
                  <a:gd name="T74" fmla="*/ 86 w 95"/>
                  <a:gd name="T75" fmla="*/ 19 h 32"/>
                  <a:gd name="T76" fmla="*/ 89 w 95"/>
                  <a:gd name="T77" fmla="*/ 21 h 32"/>
                  <a:gd name="T78" fmla="*/ 92 w 95"/>
                  <a:gd name="T79" fmla="*/ 18 h 32"/>
                  <a:gd name="T80" fmla="*/ 95 w 95"/>
                  <a:gd name="T81" fmla="*/ 23 h 32"/>
                  <a:gd name="T82" fmla="*/ 94 w 95"/>
                  <a:gd name="T83" fmla="*/ 26 h 32"/>
                  <a:gd name="T84" fmla="*/ 90 w 95"/>
                  <a:gd name="T85" fmla="*/ 29 h 32"/>
                  <a:gd name="T86" fmla="*/ 90 w 95"/>
                  <a:gd name="T87" fmla="*/ 29 h 32"/>
                  <a:gd name="T88" fmla="*/ 89 w 95"/>
                  <a:gd name="T89" fmla="*/ 29 h 32"/>
                  <a:gd name="T90" fmla="*/ 81 w 95"/>
                  <a:gd name="T91" fmla="*/ 27 h 32"/>
                  <a:gd name="T92" fmla="*/ 74 w 95"/>
                  <a:gd name="T93" fmla="*/ 27 h 32"/>
                  <a:gd name="T94" fmla="*/ 71 w 95"/>
                  <a:gd name="T95" fmla="*/ 29 h 32"/>
                  <a:gd name="T96" fmla="*/ 71 w 95"/>
                  <a:gd name="T97" fmla="*/ 29 h 32"/>
                  <a:gd name="T98" fmla="*/ 67 w 95"/>
                  <a:gd name="T99" fmla="*/ 29 h 32"/>
                  <a:gd name="T100" fmla="*/ 63 w 95"/>
                  <a:gd name="T101" fmla="*/ 29 h 32"/>
                  <a:gd name="T102" fmla="*/ 60 w 95"/>
                  <a:gd name="T103" fmla="*/ 31 h 32"/>
                  <a:gd name="T104" fmla="*/ 52 w 95"/>
                  <a:gd name="T105" fmla="*/ 31 h 32"/>
                  <a:gd name="T106" fmla="*/ 44 w 95"/>
                  <a:gd name="T107" fmla="*/ 32 h 32"/>
                  <a:gd name="T108" fmla="*/ 43 w 95"/>
                  <a:gd name="T109" fmla="*/ 29 h 32"/>
                  <a:gd name="T110" fmla="*/ 41 w 95"/>
                  <a:gd name="T111" fmla="*/ 24 h 32"/>
                  <a:gd name="T112" fmla="*/ 38 w 95"/>
                  <a:gd name="T113" fmla="*/ 24 h 32"/>
                  <a:gd name="T114" fmla="*/ 35 w 95"/>
                  <a:gd name="T115" fmla="*/ 23 h 32"/>
                  <a:gd name="T116" fmla="*/ 32 w 95"/>
                  <a:gd name="T117" fmla="*/ 23 h 32"/>
                  <a:gd name="T118" fmla="*/ 28 w 95"/>
                  <a:gd name="T119" fmla="*/ 21 h 32"/>
                  <a:gd name="T120" fmla="*/ 27 w 95"/>
                  <a:gd name="T121" fmla="*/ 21 h 32"/>
                  <a:gd name="T122" fmla="*/ 24 w 95"/>
                  <a:gd name="T123" fmla="*/ 21 h 32"/>
                  <a:gd name="T124" fmla="*/ 21 w 95"/>
                  <a:gd name="T125" fmla="*/ 1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5" h="32">
                    <a:moveTo>
                      <a:pt x="21" y="19"/>
                    </a:moveTo>
                    <a:lnTo>
                      <a:pt x="17" y="21"/>
                    </a:lnTo>
                    <a:lnTo>
                      <a:pt x="14" y="19"/>
                    </a:lnTo>
                    <a:lnTo>
                      <a:pt x="11" y="18"/>
                    </a:lnTo>
                    <a:lnTo>
                      <a:pt x="8" y="19"/>
                    </a:lnTo>
                    <a:lnTo>
                      <a:pt x="5" y="19"/>
                    </a:lnTo>
                    <a:lnTo>
                      <a:pt x="0" y="16"/>
                    </a:lnTo>
                    <a:lnTo>
                      <a:pt x="0" y="13"/>
                    </a:lnTo>
                    <a:lnTo>
                      <a:pt x="2" y="10"/>
                    </a:lnTo>
                    <a:lnTo>
                      <a:pt x="2" y="7"/>
                    </a:lnTo>
                    <a:lnTo>
                      <a:pt x="5" y="8"/>
                    </a:lnTo>
                    <a:lnTo>
                      <a:pt x="6" y="5"/>
                    </a:lnTo>
                    <a:lnTo>
                      <a:pt x="6" y="0"/>
                    </a:lnTo>
                    <a:lnTo>
                      <a:pt x="8" y="5"/>
                    </a:lnTo>
                    <a:lnTo>
                      <a:pt x="11" y="7"/>
                    </a:lnTo>
                    <a:lnTo>
                      <a:pt x="13" y="7"/>
                    </a:lnTo>
                    <a:lnTo>
                      <a:pt x="14" y="7"/>
                    </a:lnTo>
                    <a:lnTo>
                      <a:pt x="19" y="7"/>
                    </a:lnTo>
                    <a:lnTo>
                      <a:pt x="22" y="5"/>
                    </a:lnTo>
                    <a:lnTo>
                      <a:pt x="19" y="8"/>
                    </a:lnTo>
                    <a:lnTo>
                      <a:pt x="24" y="12"/>
                    </a:lnTo>
                    <a:lnTo>
                      <a:pt x="25" y="13"/>
                    </a:lnTo>
                    <a:lnTo>
                      <a:pt x="28" y="15"/>
                    </a:lnTo>
                    <a:lnTo>
                      <a:pt x="35" y="13"/>
                    </a:lnTo>
                    <a:lnTo>
                      <a:pt x="43" y="12"/>
                    </a:lnTo>
                    <a:lnTo>
                      <a:pt x="51" y="12"/>
                    </a:lnTo>
                    <a:lnTo>
                      <a:pt x="54" y="15"/>
                    </a:lnTo>
                    <a:lnTo>
                      <a:pt x="60" y="15"/>
                    </a:lnTo>
                    <a:lnTo>
                      <a:pt x="65" y="16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71" y="15"/>
                    </a:lnTo>
                    <a:lnTo>
                      <a:pt x="74" y="15"/>
                    </a:lnTo>
                    <a:lnTo>
                      <a:pt x="76" y="18"/>
                    </a:lnTo>
                    <a:lnTo>
                      <a:pt x="74" y="23"/>
                    </a:lnTo>
                    <a:lnTo>
                      <a:pt x="79" y="24"/>
                    </a:lnTo>
                    <a:lnTo>
                      <a:pt x="82" y="21"/>
                    </a:lnTo>
                    <a:lnTo>
                      <a:pt x="86" y="19"/>
                    </a:lnTo>
                    <a:lnTo>
                      <a:pt x="89" y="21"/>
                    </a:lnTo>
                    <a:lnTo>
                      <a:pt x="92" y="18"/>
                    </a:lnTo>
                    <a:lnTo>
                      <a:pt x="95" y="23"/>
                    </a:lnTo>
                    <a:lnTo>
                      <a:pt x="94" y="26"/>
                    </a:lnTo>
                    <a:lnTo>
                      <a:pt x="90" y="29"/>
                    </a:lnTo>
                    <a:lnTo>
                      <a:pt x="90" y="29"/>
                    </a:lnTo>
                    <a:lnTo>
                      <a:pt x="89" y="29"/>
                    </a:lnTo>
                    <a:lnTo>
                      <a:pt x="81" y="27"/>
                    </a:lnTo>
                    <a:lnTo>
                      <a:pt x="74" y="27"/>
                    </a:lnTo>
                    <a:lnTo>
                      <a:pt x="71" y="29"/>
                    </a:lnTo>
                    <a:lnTo>
                      <a:pt x="71" y="29"/>
                    </a:lnTo>
                    <a:lnTo>
                      <a:pt x="67" y="29"/>
                    </a:lnTo>
                    <a:lnTo>
                      <a:pt x="63" y="29"/>
                    </a:lnTo>
                    <a:lnTo>
                      <a:pt x="60" y="31"/>
                    </a:lnTo>
                    <a:lnTo>
                      <a:pt x="52" y="31"/>
                    </a:lnTo>
                    <a:lnTo>
                      <a:pt x="44" y="32"/>
                    </a:lnTo>
                    <a:lnTo>
                      <a:pt x="43" y="29"/>
                    </a:lnTo>
                    <a:lnTo>
                      <a:pt x="41" y="24"/>
                    </a:lnTo>
                    <a:lnTo>
                      <a:pt x="38" y="24"/>
                    </a:lnTo>
                    <a:lnTo>
                      <a:pt x="35" y="23"/>
                    </a:lnTo>
                    <a:lnTo>
                      <a:pt x="32" y="23"/>
                    </a:lnTo>
                    <a:lnTo>
                      <a:pt x="28" y="21"/>
                    </a:lnTo>
                    <a:lnTo>
                      <a:pt x="27" y="21"/>
                    </a:lnTo>
                    <a:lnTo>
                      <a:pt x="24" y="21"/>
                    </a:lnTo>
                    <a:lnTo>
                      <a:pt x="21" y="19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32" name="Freeform 612"/>
              <p:cNvSpPr>
                <a:spLocks/>
              </p:cNvSpPr>
              <p:nvPr/>
            </p:nvSpPr>
            <p:spPr bwMode="auto">
              <a:xfrm>
                <a:off x="3021" y="1656"/>
                <a:ext cx="4" cy="5"/>
              </a:xfrm>
              <a:custGeom>
                <a:avLst/>
                <a:gdLst>
                  <a:gd name="T0" fmla="*/ 5 w 8"/>
                  <a:gd name="T1" fmla="*/ 9 h 9"/>
                  <a:gd name="T2" fmla="*/ 2 w 8"/>
                  <a:gd name="T3" fmla="*/ 6 h 9"/>
                  <a:gd name="T4" fmla="*/ 0 w 8"/>
                  <a:gd name="T5" fmla="*/ 3 h 9"/>
                  <a:gd name="T6" fmla="*/ 3 w 8"/>
                  <a:gd name="T7" fmla="*/ 0 h 9"/>
                  <a:gd name="T8" fmla="*/ 6 w 8"/>
                  <a:gd name="T9" fmla="*/ 0 h 9"/>
                  <a:gd name="T10" fmla="*/ 8 w 8"/>
                  <a:gd name="T11" fmla="*/ 3 h 9"/>
                  <a:gd name="T12" fmla="*/ 8 w 8"/>
                  <a:gd name="T13" fmla="*/ 8 h 9"/>
                  <a:gd name="T14" fmla="*/ 5 w 8"/>
                  <a:gd name="T15" fmla="*/ 8 h 9"/>
                  <a:gd name="T16" fmla="*/ 5 w 8"/>
                  <a:gd name="T1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9">
                    <a:moveTo>
                      <a:pt x="5" y="9"/>
                    </a:moveTo>
                    <a:lnTo>
                      <a:pt x="2" y="6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8" y="3"/>
                    </a:lnTo>
                    <a:lnTo>
                      <a:pt x="8" y="8"/>
                    </a:lnTo>
                    <a:lnTo>
                      <a:pt x="5" y="8"/>
                    </a:lnTo>
                    <a:lnTo>
                      <a:pt x="5" y="9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33" name="Freeform 613"/>
              <p:cNvSpPr>
                <a:spLocks/>
              </p:cNvSpPr>
              <p:nvPr/>
            </p:nvSpPr>
            <p:spPr bwMode="auto">
              <a:xfrm>
                <a:off x="3021" y="1694"/>
                <a:ext cx="4" cy="4"/>
              </a:xfrm>
              <a:custGeom>
                <a:avLst/>
                <a:gdLst>
                  <a:gd name="T0" fmla="*/ 4 w 8"/>
                  <a:gd name="T1" fmla="*/ 8 h 8"/>
                  <a:gd name="T2" fmla="*/ 3 w 8"/>
                  <a:gd name="T3" fmla="*/ 5 h 8"/>
                  <a:gd name="T4" fmla="*/ 0 w 8"/>
                  <a:gd name="T5" fmla="*/ 3 h 8"/>
                  <a:gd name="T6" fmla="*/ 0 w 8"/>
                  <a:gd name="T7" fmla="*/ 0 h 8"/>
                  <a:gd name="T8" fmla="*/ 3 w 8"/>
                  <a:gd name="T9" fmla="*/ 2 h 8"/>
                  <a:gd name="T10" fmla="*/ 6 w 8"/>
                  <a:gd name="T11" fmla="*/ 5 h 8"/>
                  <a:gd name="T12" fmla="*/ 8 w 8"/>
                  <a:gd name="T13" fmla="*/ 8 h 8"/>
                  <a:gd name="T14" fmla="*/ 4 w 8"/>
                  <a:gd name="T1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8">
                    <a:moveTo>
                      <a:pt x="4" y="8"/>
                    </a:moveTo>
                    <a:lnTo>
                      <a:pt x="3" y="5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6" y="5"/>
                    </a:lnTo>
                    <a:lnTo>
                      <a:pt x="8" y="8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34" name="Freeform 614"/>
              <p:cNvSpPr>
                <a:spLocks/>
              </p:cNvSpPr>
              <p:nvPr/>
            </p:nvSpPr>
            <p:spPr bwMode="auto">
              <a:xfrm>
                <a:off x="3030" y="1672"/>
                <a:ext cx="6" cy="4"/>
              </a:xfrm>
              <a:custGeom>
                <a:avLst/>
                <a:gdLst>
                  <a:gd name="T0" fmla="*/ 2 w 13"/>
                  <a:gd name="T1" fmla="*/ 0 h 8"/>
                  <a:gd name="T2" fmla="*/ 7 w 13"/>
                  <a:gd name="T3" fmla="*/ 0 h 8"/>
                  <a:gd name="T4" fmla="*/ 10 w 13"/>
                  <a:gd name="T5" fmla="*/ 2 h 8"/>
                  <a:gd name="T6" fmla="*/ 11 w 13"/>
                  <a:gd name="T7" fmla="*/ 0 h 8"/>
                  <a:gd name="T8" fmla="*/ 13 w 13"/>
                  <a:gd name="T9" fmla="*/ 0 h 8"/>
                  <a:gd name="T10" fmla="*/ 13 w 13"/>
                  <a:gd name="T11" fmla="*/ 0 h 8"/>
                  <a:gd name="T12" fmla="*/ 11 w 13"/>
                  <a:gd name="T13" fmla="*/ 4 h 8"/>
                  <a:gd name="T14" fmla="*/ 11 w 13"/>
                  <a:gd name="T15" fmla="*/ 8 h 8"/>
                  <a:gd name="T16" fmla="*/ 8 w 13"/>
                  <a:gd name="T17" fmla="*/ 7 h 8"/>
                  <a:gd name="T18" fmla="*/ 5 w 13"/>
                  <a:gd name="T19" fmla="*/ 8 h 8"/>
                  <a:gd name="T20" fmla="*/ 0 w 13"/>
                  <a:gd name="T21" fmla="*/ 7 h 8"/>
                  <a:gd name="T22" fmla="*/ 2 w 13"/>
                  <a:gd name="T23" fmla="*/ 4 h 8"/>
                  <a:gd name="T24" fmla="*/ 2 w 13"/>
                  <a:gd name="T2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" h="8">
                    <a:moveTo>
                      <a:pt x="2" y="0"/>
                    </a:moveTo>
                    <a:lnTo>
                      <a:pt x="7" y="0"/>
                    </a:lnTo>
                    <a:lnTo>
                      <a:pt x="10" y="2"/>
                    </a:lnTo>
                    <a:lnTo>
                      <a:pt x="11" y="0"/>
                    </a:lnTo>
                    <a:lnTo>
                      <a:pt x="13" y="0"/>
                    </a:lnTo>
                    <a:lnTo>
                      <a:pt x="13" y="0"/>
                    </a:lnTo>
                    <a:lnTo>
                      <a:pt x="11" y="4"/>
                    </a:lnTo>
                    <a:lnTo>
                      <a:pt x="11" y="8"/>
                    </a:lnTo>
                    <a:lnTo>
                      <a:pt x="8" y="7"/>
                    </a:lnTo>
                    <a:lnTo>
                      <a:pt x="5" y="8"/>
                    </a:lnTo>
                    <a:lnTo>
                      <a:pt x="0" y="7"/>
                    </a:lnTo>
                    <a:lnTo>
                      <a:pt x="2" y="4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35" name="Freeform 615"/>
              <p:cNvSpPr>
                <a:spLocks/>
              </p:cNvSpPr>
              <p:nvPr/>
            </p:nvSpPr>
            <p:spPr bwMode="auto">
              <a:xfrm>
                <a:off x="3027" y="1713"/>
                <a:ext cx="5" cy="7"/>
              </a:xfrm>
              <a:custGeom>
                <a:avLst/>
                <a:gdLst>
                  <a:gd name="T0" fmla="*/ 9 w 9"/>
                  <a:gd name="T1" fmla="*/ 13 h 13"/>
                  <a:gd name="T2" fmla="*/ 6 w 9"/>
                  <a:gd name="T3" fmla="*/ 9 h 13"/>
                  <a:gd name="T4" fmla="*/ 3 w 9"/>
                  <a:gd name="T5" fmla="*/ 5 h 13"/>
                  <a:gd name="T6" fmla="*/ 0 w 9"/>
                  <a:gd name="T7" fmla="*/ 3 h 13"/>
                  <a:gd name="T8" fmla="*/ 3 w 9"/>
                  <a:gd name="T9" fmla="*/ 0 h 13"/>
                  <a:gd name="T10" fmla="*/ 5 w 9"/>
                  <a:gd name="T11" fmla="*/ 3 h 13"/>
                  <a:gd name="T12" fmla="*/ 8 w 9"/>
                  <a:gd name="T13" fmla="*/ 3 h 13"/>
                  <a:gd name="T14" fmla="*/ 9 w 9"/>
                  <a:gd name="T15" fmla="*/ 6 h 13"/>
                  <a:gd name="T16" fmla="*/ 9 w 9"/>
                  <a:gd name="T17" fmla="*/ 9 h 13"/>
                  <a:gd name="T18" fmla="*/ 9 w 9"/>
                  <a:gd name="T19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" h="13">
                    <a:moveTo>
                      <a:pt x="9" y="13"/>
                    </a:moveTo>
                    <a:lnTo>
                      <a:pt x="6" y="9"/>
                    </a:lnTo>
                    <a:lnTo>
                      <a:pt x="3" y="5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5" y="3"/>
                    </a:lnTo>
                    <a:lnTo>
                      <a:pt x="8" y="3"/>
                    </a:lnTo>
                    <a:lnTo>
                      <a:pt x="9" y="6"/>
                    </a:lnTo>
                    <a:lnTo>
                      <a:pt x="9" y="9"/>
                    </a:lnTo>
                    <a:lnTo>
                      <a:pt x="9" y="1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36" name="Freeform 616"/>
              <p:cNvSpPr>
                <a:spLocks/>
              </p:cNvSpPr>
              <p:nvPr/>
            </p:nvSpPr>
            <p:spPr bwMode="auto">
              <a:xfrm>
                <a:off x="3039" y="1730"/>
                <a:ext cx="4" cy="5"/>
              </a:xfrm>
              <a:custGeom>
                <a:avLst/>
                <a:gdLst>
                  <a:gd name="T0" fmla="*/ 3 w 8"/>
                  <a:gd name="T1" fmla="*/ 10 h 10"/>
                  <a:gd name="T2" fmla="*/ 1 w 8"/>
                  <a:gd name="T3" fmla="*/ 7 h 10"/>
                  <a:gd name="T4" fmla="*/ 0 w 8"/>
                  <a:gd name="T5" fmla="*/ 3 h 10"/>
                  <a:gd name="T6" fmla="*/ 3 w 8"/>
                  <a:gd name="T7" fmla="*/ 0 h 10"/>
                  <a:gd name="T8" fmla="*/ 6 w 8"/>
                  <a:gd name="T9" fmla="*/ 0 h 10"/>
                  <a:gd name="T10" fmla="*/ 8 w 8"/>
                  <a:gd name="T11" fmla="*/ 3 h 10"/>
                  <a:gd name="T12" fmla="*/ 8 w 8"/>
                  <a:gd name="T13" fmla="*/ 7 h 10"/>
                  <a:gd name="T14" fmla="*/ 4 w 8"/>
                  <a:gd name="T15" fmla="*/ 10 h 10"/>
                  <a:gd name="T16" fmla="*/ 3 w 8"/>
                  <a:gd name="T1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0">
                    <a:moveTo>
                      <a:pt x="3" y="10"/>
                    </a:moveTo>
                    <a:lnTo>
                      <a:pt x="1" y="7"/>
                    </a:lnTo>
                    <a:lnTo>
                      <a:pt x="0" y="3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8" y="3"/>
                    </a:lnTo>
                    <a:lnTo>
                      <a:pt x="8" y="7"/>
                    </a:lnTo>
                    <a:lnTo>
                      <a:pt x="4" y="10"/>
                    </a:lnTo>
                    <a:lnTo>
                      <a:pt x="3" y="1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37" name="Freeform 617"/>
              <p:cNvSpPr>
                <a:spLocks/>
              </p:cNvSpPr>
              <p:nvPr/>
            </p:nvSpPr>
            <p:spPr bwMode="auto">
              <a:xfrm>
                <a:off x="3045" y="1701"/>
                <a:ext cx="6" cy="9"/>
              </a:xfrm>
              <a:custGeom>
                <a:avLst/>
                <a:gdLst>
                  <a:gd name="T0" fmla="*/ 7 w 11"/>
                  <a:gd name="T1" fmla="*/ 20 h 20"/>
                  <a:gd name="T2" fmla="*/ 3 w 11"/>
                  <a:gd name="T3" fmla="*/ 16 h 20"/>
                  <a:gd name="T4" fmla="*/ 3 w 11"/>
                  <a:gd name="T5" fmla="*/ 13 h 20"/>
                  <a:gd name="T6" fmla="*/ 5 w 11"/>
                  <a:gd name="T7" fmla="*/ 10 h 20"/>
                  <a:gd name="T8" fmla="*/ 3 w 11"/>
                  <a:gd name="T9" fmla="*/ 7 h 20"/>
                  <a:gd name="T10" fmla="*/ 0 w 11"/>
                  <a:gd name="T11" fmla="*/ 4 h 20"/>
                  <a:gd name="T12" fmla="*/ 3 w 11"/>
                  <a:gd name="T13" fmla="*/ 0 h 20"/>
                  <a:gd name="T14" fmla="*/ 8 w 11"/>
                  <a:gd name="T15" fmla="*/ 0 h 20"/>
                  <a:gd name="T16" fmla="*/ 11 w 11"/>
                  <a:gd name="T17" fmla="*/ 2 h 20"/>
                  <a:gd name="T18" fmla="*/ 10 w 11"/>
                  <a:gd name="T19" fmla="*/ 7 h 20"/>
                  <a:gd name="T20" fmla="*/ 11 w 11"/>
                  <a:gd name="T21" fmla="*/ 10 h 20"/>
                  <a:gd name="T22" fmla="*/ 11 w 11"/>
                  <a:gd name="T23" fmla="*/ 13 h 20"/>
                  <a:gd name="T24" fmla="*/ 10 w 11"/>
                  <a:gd name="T25" fmla="*/ 16 h 20"/>
                  <a:gd name="T26" fmla="*/ 7 w 11"/>
                  <a:gd name="T27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1" h="20">
                    <a:moveTo>
                      <a:pt x="7" y="20"/>
                    </a:moveTo>
                    <a:lnTo>
                      <a:pt x="3" y="16"/>
                    </a:lnTo>
                    <a:lnTo>
                      <a:pt x="3" y="13"/>
                    </a:lnTo>
                    <a:lnTo>
                      <a:pt x="5" y="10"/>
                    </a:lnTo>
                    <a:lnTo>
                      <a:pt x="3" y="7"/>
                    </a:lnTo>
                    <a:lnTo>
                      <a:pt x="0" y="4"/>
                    </a:lnTo>
                    <a:lnTo>
                      <a:pt x="3" y="0"/>
                    </a:lnTo>
                    <a:lnTo>
                      <a:pt x="8" y="0"/>
                    </a:lnTo>
                    <a:lnTo>
                      <a:pt x="11" y="2"/>
                    </a:lnTo>
                    <a:lnTo>
                      <a:pt x="10" y="7"/>
                    </a:lnTo>
                    <a:lnTo>
                      <a:pt x="11" y="10"/>
                    </a:lnTo>
                    <a:lnTo>
                      <a:pt x="11" y="13"/>
                    </a:lnTo>
                    <a:lnTo>
                      <a:pt x="10" y="16"/>
                    </a:lnTo>
                    <a:lnTo>
                      <a:pt x="7" y="2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38" name="Freeform 618"/>
              <p:cNvSpPr>
                <a:spLocks/>
              </p:cNvSpPr>
              <p:nvPr/>
            </p:nvSpPr>
            <p:spPr bwMode="auto">
              <a:xfrm>
                <a:off x="3049" y="1720"/>
                <a:ext cx="6" cy="3"/>
              </a:xfrm>
              <a:custGeom>
                <a:avLst/>
                <a:gdLst>
                  <a:gd name="T0" fmla="*/ 0 w 11"/>
                  <a:gd name="T1" fmla="*/ 6 h 6"/>
                  <a:gd name="T2" fmla="*/ 0 w 11"/>
                  <a:gd name="T3" fmla="*/ 3 h 6"/>
                  <a:gd name="T4" fmla="*/ 5 w 11"/>
                  <a:gd name="T5" fmla="*/ 1 h 6"/>
                  <a:gd name="T6" fmla="*/ 8 w 11"/>
                  <a:gd name="T7" fmla="*/ 1 h 6"/>
                  <a:gd name="T8" fmla="*/ 11 w 11"/>
                  <a:gd name="T9" fmla="*/ 0 h 6"/>
                  <a:gd name="T10" fmla="*/ 10 w 11"/>
                  <a:gd name="T11" fmla="*/ 3 h 6"/>
                  <a:gd name="T12" fmla="*/ 2 w 11"/>
                  <a:gd name="T13" fmla="*/ 6 h 6"/>
                  <a:gd name="T14" fmla="*/ 0 w 11"/>
                  <a:gd name="T1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6">
                    <a:moveTo>
                      <a:pt x="0" y="6"/>
                    </a:moveTo>
                    <a:lnTo>
                      <a:pt x="0" y="3"/>
                    </a:lnTo>
                    <a:lnTo>
                      <a:pt x="5" y="1"/>
                    </a:lnTo>
                    <a:lnTo>
                      <a:pt x="8" y="1"/>
                    </a:lnTo>
                    <a:lnTo>
                      <a:pt x="11" y="0"/>
                    </a:lnTo>
                    <a:lnTo>
                      <a:pt x="10" y="3"/>
                    </a:lnTo>
                    <a:lnTo>
                      <a:pt x="2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39" name="Freeform 619"/>
              <p:cNvSpPr>
                <a:spLocks/>
              </p:cNvSpPr>
              <p:nvPr/>
            </p:nvSpPr>
            <p:spPr bwMode="auto">
              <a:xfrm>
                <a:off x="3044" y="1685"/>
                <a:ext cx="14" cy="9"/>
              </a:xfrm>
              <a:custGeom>
                <a:avLst/>
                <a:gdLst>
                  <a:gd name="T0" fmla="*/ 20 w 27"/>
                  <a:gd name="T1" fmla="*/ 17 h 17"/>
                  <a:gd name="T2" fmla="*/ 16 w 27"/>
                  <a:gd name="T3" fmla="*/ 16 h 17"/>
                  <a:gd name="T4" fmla="*/ 12 w 27"/>
                  <a:gd name="T5" fmla="*/ 14 h 17"/>
                  <a:gd name="T6" fmla="*/ 9 w 27"/>
                  <a:gd name="T7" fmla="*/ 12 h 17"/>
                  <a:gd name="T8" fmla="*/ 12 w 27"/>
                  <a:gd name="T9" fmla="*/ 11 h 17"/>
                  <a:gd name="T10" fmla="*/ 9 w 27"/>
                  <a:gd name="T11" fmla="*/ 11 h 17"/>
                  <a:gd name="T12" fmla="*/ 6 w 27"/>
                  <a:gd name="T13" fmla="*/ 11 h 17"/>
                  <a:gd name="T14" fmla="*/ 3 w 27"/>
                  <a:gd name="T15" fmla="*/ 9 h 17"/>
                  <a:gd name="T16" fmla="*/ 0 w 27"/>
                  <a:gd name="T17" fmla="*/ 6 h 17"/>
                  <a:gd name="T18" fmla="*/ 3 w 27"/>
                  <a:gd name="T19" fmla="*/ 5 h 17"/>
                  <a:gd name="T20" fmla="*/ 6 w 27"/>
                  <a:gd name="T21" fmla="*/ 5 h 17"/>
                  <a:gd name="T22" fmla="*/ 11 w 27"/>
                  <a:gd name="T23" fmla="*/ 3 h 17"/>
                  <a:gd name="T24" fmla="*/ 14 w 27"/>
                  <a:gd name="T25" fmla="*/ 0 h 17"/>
                  <a:gd name="T26" fmla="*/ 17 w 27"/>
                  <a:gd name="T27" fmla="*/ 1 h 17"/>
                  <a:gd name="T28" fmla="*/ 19 w 27"/>
                  <a:gd name="T29" fmla="*/ 5 h 17"/>
                  <a:gd name="T30" fmla="*/ 22 w 27"/>
                  <a:gd name="T31" fmla="*/ 8 h 17"/>
                  <a:gd name="T32" fmla="*/ 24 w 27"/>
                  <a:gd name="T33" fmla="*/ 11 h 17"/>
                  <a:gd name="T34" fmla="*/ 27 w 27"/>
                  <a:gd name="T35" fmla="*/ 14 h 17"/>
                  <a:gd name="T36" fmla="*/ 24 w 27"/>
                  <a:gd name="T37" fmla="*/ 14 h 17"/>
                  <a:gd name="T38" fmla="*/ 20 w 27"/>
                  <a:gd name="T39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" h="17">
                    <a:moveTo>
                      <a:pt x="20" y="17"/>
                    </a:moveTo>
                    <a:lnTo>
                      <a:pt x="16" y="16"/>
                    </a:lnTo>
                    <a:lnTo>
                      <a:pt x="12" y="14"/>
                    </a:lnTo>
                    <a:lnTo>
                      <a:pt x="9" y="12"/>
                    </a:lnTo>
                    <a:lnTo>
                      <a:pt x="12" y="11"/>
                    </a:lnTo>
                    <a:lnTo>
                      <a:pt x="9" y="11"/>
                    </a:lnTo>
                    <a:lnTo>
                      <a:pt x="6" y="11"/>
                    </a:lnTo>
                    <a:lnTo>
                      <a:pt x="3" y="9"/>
                    </a:lnTo>
                    <a:lnTo>
                      <a:pt x="0" y="6"/>
                    </a:lnTo>
                    <a:lnTo>
                      <a:pt x="3" y="5"/>
                    </a:lnTo>
                    <a:lnTo>
                      <a:pt x="6" y="5"/>
                    </a:lnTo>
                    <a:lnTo>
                      <a:pt x="11" y="3"/>
                    </a:lnTo>
                    <a:lnTo>
                      <a:pt x="14" y="0"/>
                    </a:lnTo>
                    <a:lnTo>
                      <a:pt x="17" y="1"/>
                    </a:lnTo>
                    <a:lnTo>
                      <a:pt x="19" y="5"/>
                    </a:lnTo>
                    <a:lnTo>
                      <a:pt x="22" y="8"/>
                    </a:lnTo>
                    <a:lnTo>
                      <a:pt x="24" y="11"/>
                    </a:lnTo>
                    <a:lnTo>
                      <a:pt x="27" y="14"/>
                    </a:lnTo>
                    <a:lnTo>
                      <a:pt x="24" y="14"/>
                    </a:lnTo>
                    <a:lnTo>
                      <a:pt x="20" y="1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40" name="Freeform 620"/>
              <p:cNvSpPr>
                <a:spLocks/>
              </p:cNvSpPr>
              <p:nvPr/>
            </p:nvSpPr>
            <p:spPr bwMode="auto">
              <a:xfrm>
                <a:off x="3059" y="1717"/>
                <a:ext cx="7" cy="4"/>
              </a:xfrm>
              <a:custGeom>
                <a:avLst/>
                <a:gdLst>
                  <a:gd name="T0" fmla="*/ 6 w 13"/>
                  <a:gd name="T1" fmla="*/ 6 h 6"/>
                  <a:gd name="T2" fmla="*/ 3 w 13"/>
                  <a:gd name="T3" fmla="*/ 3 h 6"/>
                  <a:gd name="T4" fmla="*/ 0 w 13"/>
                  <a:gd name="T5" fmla="*/ 5 h 6"/>
                  <a:gd name="T6" fmla="*/ 0 w 13"/>
                  <a:gd name="T7" fmla="*/ 1 h 6"/>
                  <a:gd name="T8" fmla="*/ 3 w 13"/>
                  <a:gd name="T9" fmla="*/ 0 h 6"/>
                  <a:gd name="T10" fmla="*/ 6 w 13"/>
                  <a:gd name="T11" fmla="*/ 0 h 6"/>
                  <a:gd name="T12" fmla="*/ 9 w 13"/>
                  <a:gd name="T13" fmla="*/ 1 h 6"/>
                  <a:gd name="T14" fmla="*/ 13 w 13"/>
                  <a:gd name="T15" fmla="*/ 0 h 6"/>
                  <a:gd name="T16" fmla="*/ 11 w 13"/>
                  <a:gd name="T17" fmla="*/ 5 h 6"/>
                  <a:gd name="T18" fmla="*/ 8 w 13"/>
                  <a:gd name="T19" fmla="*/ 6 h 6"/>
                  <a:gd name="T20" fmla="*/ 6 w 13"/>
                  <a:gd name="T2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3" h="6">
                    <a:moveTo>
                      <a:pt x="6" y="6"/>
                    </a:moveTo>
                    <a:lnTo>
                      <a:pt x="3" y="3"/>
                    </a:lnTo>
                    <a:lnTo>
                      <a:pt x="0" y="5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6" y="0"/>
                    </a:lnTo>
                    <a:lnTo>
                      <a:pt x="9" y="1"/>
                    </a:lnTo>
                    <a:lnTo>
                      <a:pt x="13" y="0"/>
                    </a:lnTo>
                    <a:lnTo>
                      <a:pt x="11" y="5"/>
                    </a:lnTo>
                    <a:lnTo>
                      <a:pt x="8" y="6"/>
                    </a:lnTo>
                    <a:lnTo>
                      <a:pt x="6" y="6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41" name="Freeform 621"/>
              <p:cNvSpPr>
                <a:spLocks/>
              </p:cNvSpPr>
              <p:nvPr/>
            </p:nvSpPr>
            <p:spPr bwMode="auto">
              <a:xfrm>
                <a:off x="3070" y="1758"/>
                <a:ext cx="3" cy="9"/>
              </a:xfrm>
              <a:custGeom>
                <a:avLst/>
                <a:gdLst>
                  <a:gd name="T0" fmla="*/ 4 w 7"/>
                  <a:gd name="T1" fmla="*/ 17 h 17"/>
                  <a:gd name="T2" fmla="*/ 2 w 7"/>
                  <a:gd name="T3" fmla="*/ 12 h 17"/>
                  <a:gd name="T4" fmla="*/ 0 w 7"/>
                  <a:gd name="T5" fmla="*/ 9 h 17"/>
                  <a:gd name="T6" fmla="*/ 2 w 7"/>
                  <a:gd name="T7" fmla="*/ 6 h 17"/>
                  <a:gd name="T8" fmla="*/ 4 w 7"/>
                  <a:gd name="T9" fmla="*/ 3 h 17"/>
                  <a:gd name="T10" fmla="*/ 5 w 7"/>
                  <a:gd name="T11" fmla="*/ 0 h 17"/>
                  <a:gd name="T12" fmla="*/ 5 w 7"/>
                  <a:gd name="T13" fmla="*/ 3 h 17"/>
                  <a:gd name="T14" fmla="*/ 4 w 7"/>
                  <a:gd name="T15" fmla="*/ 6 h 17"/>
                  <a:gd name="T16" fmla="*/ 5 w 7"/>
                  <a:gd name="T17" fmla="*/ 9 h 17"/>
                  <a:gd name="T18" fmla="*/ 7 w 7"/>
                  <a:gd name="T19" fmla="*/ 12 h 17"/>
                  <a:gd name="T20" fmla="*/ 4 w 7"/>
                  <a:gd name="T21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" h="17">
                    <a:moveTo>
                      <a:pt x="4" y="17"/>
                    </a:moveTo>
                    <a:lnTo>
                      <a:pt x="2" y="12"/>
                    </a:lnTo>
                    <a:lnTo>
                      <a:pt x="0" y="9"/>
                    </a:lnTo>
                    <a:lnTo>
                      <a:pt x="2" y="6"/>
                    </a:lnTo>
                    <a:lnTo>
                      <a:pt x="4" y="3"/>
                    </a:lnTo>
                    <a:lnTo>
                      <a:pt x="5" y="0"/>
                    </a:lnTo>
                    <a:lnTo>
                      <a:pt x="5" y="3"/>
                    </a:lnTo>
                    <a:lnTo>
                      <a:pt x="4" y="6"/>
                    </a:lnTo>
                    <a:lnTo>
                      <a:pt x="5" y="9"/>
                    </a:lnTo>
                    <a:lnTo>
                      <a:pt x="7" y="12"/>
                    </a:lnTo>
                    <a:lnTo>
                      <a:pt x="4" y="1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42" name="Freeform 622"/>
              <p:cNvSpPr>
                <a:spLocks/>
              </p:cNvSpPr>
              <p:nvPr/>
            </p:nvSpPr>
            <p:spPr bwMode="auto">
              <a:xfrm>
                <a:off x="3079" y="1745"/>
                <a:ext cx="9" cy="10"/>
              </a:xfrm>
              <a:custGeom>
                <a:avLst/>
                <a:gdLst>
                  <a:gd name="T0" fmla="*/ 7 w 17"/>
                  <a:gd name="T1" fmla="*/ 18 h 21"/>
                  <a:gd name="T2" fmla="*/ 6 w 17"/>
                  <a:gd name="T3" fmla="*/ 21 h 21"/>
                  <a:gd name="T4" fmla="*/ 3 w 17"/>
                  <a:gd name="T5" fmla="*/ 21 h 21"/>
                  <a:gd name="T6" fmla="*/ 1 w 17"/>
                  <a:gd name="T7" fmla="*/ 18 h 21"/>
                  <a:gd name="T8" fmla="*/ 3 w 17"/>
                  <a:gd name="T9" fmla="*/ 15 h 21"/>
                  <a:gd name="T10" fmla="*/ 0 w 17"/>
                  <a:gd name="T11" fmla="*/ 11 h 21"/>
                  <a:gd name="T12" fmla="*/ 4 w 17"/>
                  <a:gd name="T13" fmla="*/ 7 h 21"/>
                  <a:gd name="T14" fmla="*/ 7 w 17"/>
                  <a:gd name="T15" fmla="*/ 3 h 21"/>
                  <a:gd name="T16" fmla="*/ 12 w 17"/>
                  <a:gd name="T17" fmla="*/ 2 h 21"/>
                  <a:gd name="T18" fmla="*/ 17 w 17"/>
                  <a:gd name="T19" fmla="*/ 0 h 21"/>
                  <a:gd name="T20" fmla="*/ 17 w 17"/>
                  <a:gd name="T21" fmla="*/ 3 h 21"/>
                  <a:gd name="T22" fmla="*/ 15 w 17"/>
                  <a:gd name="T23" fmla="*/ 7 h 21"/>
                  <a:gd name="T24" fmla="*/ 15 w 17"/>
                  <a:gd name="T25" fmla="*/ 10 h 21"/>
                  <a:gd name="T26" fmla="*/ 14 w 17"/>
                  <a:gd name="T27" fmla="*/ 13 h 21"/>
                  <a:gd name="T28" fmla="*/ 14 w 17"/>
                  <a:gd name="T29" fmla="*/ 16 h 21"/>
                  <a:gd name="T30" fmla="*/ 14 w 17"/>
                  <a:gd name="T31" fmla="*/ 16 h 21"/>
                  <a:gd name="T32" fmla="*/ 11 w 17"/>
                  <a:gd name="T33" fmla="*/ 16 h 21"/>
                  <a:gd name="T34" fmla="*/ 7 w 17"/>
                  <a:gd name="T35" fmla="*/ 18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7" h="21">
                    <a:moveTo>
                      <a:pt x="7" y="18"/>
                    </a:moveTo>
                    <a:lnTo>
                      <a:pt x="6" y="21"/>
                    </a:lnTo>
                    <a:lnTo>
                      <a:pt x="3" y="21"/>
                    </a:lnTo>
                    <a:lnTo>
                      <a:pt x="1" y="18"/>
                    </a:lnTo>
                    <a:lnTo>
                      <a:pt x="3" y="15"/>
                    </a:lnTo>
                    <a:lnTo>
                      <a:pt x="0" y="11"/>
                    </a:lnTo>
                    <a:lnTo>
                      <a:pt x="4" y="7"/>
                    </a:lnTo>
                    <a:lnTo>
                      <a:pt x="7" y="3"/>
                    </a:lnTo>
                    <a:lnTo>
                      <a:pt x="12" y="2"/>
                    </a:lnTo>
                    <a:lnTo>
                      <a:pt x="17" y="0"/>
                    </a:lnTo>
                    <a:lnTo>
                      <a:pt x="17" y="3"/>
                    </a:lnTo>
                    <a:lnTo>
                      <a:pt x="15" y="7"/>
                    </a:lnTo>
                    <a:lnTo>
                      <a:pt x="15" y="10"/>
                    </a:lnTo>
                    <a:lnTo>
                      <a:pt x="14" y="13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1" y="16"/>
                    </a:lnTo>
                    <a:lnTo>
                      <a:pt x="7" y="1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sp>
          <p:nvSpPr>
            <p:cNvPr id="348" name="Freeform 623"/>
            <p:cNvSpPr>
              <a:spLocks/>
            </p:cNvSpPr>
            <p:nvPr/>
          </p:nvSpPr>
          <p:spPr bwMode="auto">
            <a:xfrm>
              <a:off x="6191321" y="3595153"/>
              <a:ext cx="55873" cy="38926"/>
            </a:xfrm>
            <a:custGeom>
              <a:avLst/>
              <a:gdLst>
                <a:gd name="T0" fmla="*/ 2 w 78"/>
                <a:gd name="T1" fmla="*/ 29 h 46"/>
                <a:gd name="T2" fmla="*/ 0 w 78"/>
                <a:gd name="T3" fmla="*/ 24 h 46"/>
                <a:gd name="T4" fmla="*/ 5 w 78"/>
                <a:gd name="T5" fmla="*/ 27 h 46"/>
                <a:gd name="T6" fmla="*/ 8 w 78"/>
                <a:gd name="T7" fmla="*/ 26 h 46"/>
                <a:gd name="T8" fmla="*/ 10 w 78"/>
                <a:gd name="T9" fmla="*/ 23 h 46"/>
                <a:gd name="T10" fmla="*/ 10 w 78"/>
                <a:gd name="T11" fmla="*/ 21 h 46"/>
                <a:gd name="T12" fmla="*/ 11 w 78"/>
                <a:gd name="T13" fmla="*/ 21 h 46"/>
                <a:gd name="T14" fmla="*/ 13 w 78"/>
                <a:gd name="T15" fmla="*/ 21 h 46"/>
                <a:gd name="T16" fmla="*/ 13 w 78"/>
                <a:gd name="T17" fmla="*/ 21 h 46"/>
                <a:gd name="T18" fmla="*/ 14 w 78"/>
                <a:gd name="T19" fmla="*/ 21 h 46"/>
                <a:gd name="T20" fmla="*/ 14 w 78"/>
                <a:gd name="T21" fmla="*/ 21 h 46"/>
                <a:gd name="T22" fmla="*/ 19 w 78"/>
                <a:gd name="T23" fmla="*/ 23 h 46"/>
                <a:gd name="T24" fmla="*/ 22 w 78"/>
                <a:gd name="T25" fmla="*/ 21 h 46"/>
                <a:gd name="T26" fmla="*/ 22 w 78"/>
                <a:gd name="T27" fmla="*/ 18 h 46"/>
                <a:gd name="T28" fmla="*/ 22 w 78"/>
                <a:gd name="T29" fmla="*/ 15 h 46"/>
                <a:gd name="T30" fmla="*/ 37 w 78"/>
                <a:gd name="T31" fmla="*/ 15 h 46"/>
                <a:gd name="T32" fmla="*/ 49 w 78"/>
                <a:gd name="T33" fmla="*/ 13 h 46"/>
                <a:gd name="T34" fmla="*/ 54 w 78"/>
                <a:gd name="T35" fmla="*/ 12 h 46"/>
                <a:gd name="T36" fmla="*/ 57 w 78"/>
                <a:gd name="T37" fmla="*/ 10 h 46"/>
                <a:gd name="T38" fmla="*/ 60 w 78"/>
                <a:gd name="T39" fmla="*/ 8 h 46"/>
                <a:gd name="T40" fmla="*/ 64 w 78"/>
                <a:gd name="T41" fmla="*/ 7 h 46"/>
                <a:gd name="T42" fmla="*/ 65 w 78"/>
                <a:gd name="T43" fmla="*/ 7 h 46"/>
                <a:gd name="T44" fmla="*/ 68 w 78"/>
                <a:gd name="T45" fmla="*/ 5 h 46"/>
                <a:gd name="T46" fmla="*/ 71 w 78"/>
                <a:gd name="T47" fmla="*/ 2 h 46"/>
                <a:gd name="T48" fmla="*/ 76 w 78"/>
                <a:gd name="T49" fmla="*/ 0 h 46"/>
                <a:gd name="T50" fmla="*/ 78 w 78"/>
                <a:gd name="T51" fmla="*/ 0 h 46"/>
                <a:gd name="T52" fmla="*/ 73 w 78"/>
                <a:gd name="T53" fmla="*/ 4 h 46"/>
                <a:gd name="T54" fmla="*/ 70 w 78"/>
                <a:gd name="T55" fmla="*/ 7 h 46"/>
                <a:gd name="T56" fmla="*/ 67 w 78"/>
                <a:gd name="T57" fmla="*/ 10 h 46"/>
                <a:gd name="T58" fmla="*/ 64 w 78"/>
                <a:gd name="T59" fmla="*/ 12 h 46"/>
                <a:gd name="T60" fmla="*/ 60 w 78"/>
                <a:gd name="T61" fmla="*/ 15 h 46"/>
                <a:gd name="T62" fmla="*/ 57 w 78"/>
                <a:gd name="T63" fmla="*/ 16 h 46"/>
                <a:gd name="T64" fmla="*/ 56 w 78"/>
                <a:gd name="T65" fmla="*/ 19 h 46"/>
                <a:gd name="T66" fmla="*/ 57 w 78"/>
                <a:gd name="T67" fmla="*/ 23 h 46"/>
                <a:gd name="T68" fmla="*/ 59 w 78"/>
                <a:gd name="T69" fmla="*/ 26 h 46"/>
                <a:gd name="T70" fmla="*/ 60 w 78"/>
                <a:gd name="T71" fmla="*/ 26 h 46"/>
                <a:gd name="T72" fmla="*/ 62 w 78"/>
                <a:gd name="T73" fmla="*/ 29 h 46"/>
                <a:gd name="T74" fmla="*/ 59 w 78"/>
                <a:gd name="T75" fmla="*/ 29 h 46"/>
                <a:gd name="T76" fmla="*/ 57 w 78"/>
                <a:gd name="T77" fmla="*/ 31 h 46"/>
                <a:gd name="T78" fmla="*/ 52 w 78"/>
                <a:gd name="T79" fmla="*/ 29 h 46"/>
                <a:gd name="T80" fmla="*/ 49 w 78"/>
                <a:gd name="T81" fmla="*/ 29 h 46"/>
                <a:gd name="T82" fmla="*/ 46 w 78"/>
                <a:gd name="T83" fmla="*/ 34 h 46"/>
                <a:gd name="T84" fmla="*/ 43 w 78"/>
                <a:gd name="T85" fmla="*/ 37 h 46"/>
                <a:gd name="T86" fmla="*/ 40 w 78"/>
                <a:gd name="T87" fmla="*/ 38 h 46"/>
                <a:gd name="T88" fmla="*/ 37 w 78"/>
                <a:gd name="T89" fmla="*/ 40 h 46"/>
                <a:gd name="T90" fmla="*/ 32 w 78"/>
                <a:gd name="T91" fmla="*/ 42 h 46"/>
                <a:gd name="T92" fmla="*/ 27 w 78"/>
                <a:gd name="T93" fmla="*/ 43 h 46"/>
                <a:gd name="T94" fmla="*/ 29 w 78"/>
                <a:gd name="T95" fmla="*/ 46 h 46"/>
                <a:gd name="T96" fmla="*/ 24 w 78"/>
                <a:gd name="T97" fmla="*/ 45 h 46"/>
                <a:gd name="T98" fmla="*/ 24 w 78"/>
                <a:gd name="T99" fmla="*/ 43 h 46"/>
                <a:gd name="T100" fmla="*/ 21 w 78"/>
                <a:gd name="T101" fmla="*/ 42 h 46"/>
                <a:gd name="T102" fmla="*/ 19 w 78"/>
                <a:gd name="T103" fmla="*/ 43 h 46"/>
                <a:gd name="T104" fmla="*/ 14 w 78"/>
                <a:gd name="T105" fmla="*/ 43 h 46"/>
                <a:gd name="T106" fmla="*/ 11 w 78"/>
                <a:gd name="T107" fmla="*/ 42 h 46"/>
                <a:gd name="T108" fmla="*/ 10 w 78"/>
                <a:gd name="T109" fmla="*/ 40 h 46"/>
                <a:gd name="T110" fmla="*/ 6 w 78"/>
                <a:gd name="T111" fmla="*/ 38 h 46"/>
                <a:gd name="T112" fmla="*/ 5 w 78"/>
                <a:gd name="T113" fmla="*/ 35 h 46"/>
                <a:gd name="T114" fmla="*/ 3 w 78"/>
                <a:gd name="T115" fmla="*/ 32 h 46"/>
                <a:gd name="T116" fmla="*/ 2 w 78"/>
                <a:gd name="T117" fmla="*/ 29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8" h="46">
                  <a:moveTo>
                    <a:pt x="2" y="29"/>
                  </a:moveTo>
                  <a:lnTo>
                    <a:pt x="0" y="24"/>
                  </a:lnTo>
                  <a:lnTo>
                    <a:pt x="5" y="27"/>
                  </a:lnTo>
                  <a:lnTo>
                    <a:pt x="8" y="26"/>
                  </a:lnTo>
                  <a:lnTo>
                    <a:pt x="10" y="23"/>
                  </a:lnTo>
                  <a:lnTo>
                    <a:pt x="10" y="21"/>
                  </a:lnTo>
                  <a:lnTo>
                    <a:pt x="11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9" y="23"/>
                  </a:lnTo>
                  <a:lnTo>
                    <a:pt x="22" y="21"/>
                  </a:lnTo>
                  <a:lnTo>
                    <a:pt x="22" y="18"/>
                  </a:lnTo>
                  <a:lnTo>
                    <a:pt x="22" y="15"/>
                  </a:lnTo>
                  <a:lnTo>
                    <a:pt x="37" y="15"/>
                  </a:lnTo>
                  <a:lnTo>
                    <a:pt x="49" y="13"/>
                  </a:lnTo>
                  <a:lnTo>
                    <a:pt x="54" y="12"/>
                  </a:lnTo>
                  <a:lnTo>
                    <a:pt x="57" y="10"/>
                  </a:lnTo>
                  <a:lnTo>
                    <a:pt x="60" y="8"/>
                  </a:lnTo>
                  <a:lnTo>
                    <a:pt x="64" y="7"/>
                  </a:lnTo>
                  <a:lnTo>
                    <a:pt x="65" y="7"/>
                  </a:lnTo>
                  <a:lnTo>
                    <a:pt x="68" y="5"/>
                  </a:lnTo>
                  <a:lnTo>
                    <a:pt x="71" y="2"/>
                  </a:lnTo>
                  <a:lnTo>
                    <a:pt x="76" y="0"/>
                  </a:lnTo>
                  <a:lnTo>
                    <a:pt x="78" y="0"/>
                  </a:lnTo>
                  <a:lnTo>
                    <a:pt x="73" y="4"/>
                  </a:lnTo>
                  <a:lnTo>
                    <a:pt x="70" y="7"/>
                  </a:lnTo>
                  <a:lnTo>
                    <a:pt x="67" y="10"/>
                  </a:lnTo>
                  <a:lnTo>
                    <a:pt x="64" y="12"/>
                  </a:lnTo>
                  <a:lnTo>
                    <a:pt x="60" y="15"/>
                  </a:lnTo>
                  <a:lnTo>
                    <a:pt x="57" y="16"/>
                  </a:lnTo>
                  <a:lnTo>
                    <a:pt x="56" y="19"/>
                  </a:lnTo>
                  <a:lnTo>
                    <a:pt x="57" y="23"/>
                  </a:lnTo>
                  <a:lnTo>
                    <a:pt x="59" y="26"/>
                  </a:lnTo>
                  <a:lnTo>
                    <a:pt x="60" y="26"/>
                  </a:lnTo>
                  <a:lnTo>
                    <a:pt x="62" y="29"/>
                  </a:lnTo>
                  <a:lnTo>
                    <a:pt x="59" y="29"/>
                  </a:lnTo>
                  <a:lnTo>
                    <a:pt x="57" y="31"/>
                  </a:lnTo>
                  <a:lnTo>
                    <a:pt x="52" y="29"/>
                  </a:lnTo>
                  <a:lnTo>
                    <a:pt x="49" y="29"/>
                  </a:lnTo>
                  <a:lnTo>
                    <a:pt x="46" y="34"/>
                  </a:lnTo>
                  <a:lnTo>
                    <a:pt x="43" y="37"/>
                  </a:lnTo>
                  <a:lnTo>
                    <a:pt x="40" y="38"/>
                  </a:lnTo>
                  <a:lnTo>
                    <a:pt x="37" y="40"/>
                  </a:lnTo>
                  <a:lnTo>
                    <a:pt x="32" y="42"/>
                  </a:lnTo>
                  <a:lnTo>
                    <a:pt x="27" y="43"/>
                  </a:lnTo>
                  <a:lnTo>
                    <a:pt x="29" y="46"/>
                  </a:lnTo>
                  <a:lnTo>
                    <a:pt x="24" y="45"/>
                  </a:lnTo>
                  <a:lnTo>
                    <a:pt x="24" y="43"/>
                  </a:lnTo>
                  <a:lnTo>
                    <a:pt x="21" y="42"/>
                  </a:lnTo>
                  <a:lnTo>
                    <a:pt x="19" y="43"/>
                  </a:lnTo>
                  <a:lnTo>
                    <a:pt x="14" y="43"/>
                  </a:lnTo>
                  <a:lnTo>
                    <a:pt x="11" y="42"/>
                  </a:lnTo>
                  <a:lnTo>
                    <a:pt x="10" y="40"/>
                  </a:lnTo>
                  <a:lnTo>
                    <a:pt x="6" y="38"/>
                  </a:lnTo>
                  <a:lnTo>
                    <a:pt x="5" y="35"/>
                  </a:lnTo>
                  <a:lnTo>
                    <a:pt x="3" y="32"/>
                  </a:lnTo>
                  <a:lnTo>
                    <a:pt x="2" y="29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49" name="Freeform 626"/>
            <p:cNvSpPr>
              <a:spLocks/>
            </p:cNvSpPr>
            <p:nvPr/>
          </p:nvSpPr>
          <p:spPr bwMode="auto">
            <a:xfrm>
              <a:off x="1875810" y="2769248"/>
              <a:ext cx="39701" cy="18617"/>
            </a:xfrm>
            <a:custGeom>
              <a:avLst/>
              <a:gdLst>
                <a:gd name="T0" fmla="*/ 2 w 56"/>
                <a:gd name="T1" fmla="*/ 14 h 22"/>
                <a:gd name="T2" fmla="*/ 5 w 56"/>
                <a:gd name="T3" fmla="*/ 14 h 22"/>
                <a:gd name="T4" fmla="*/ 5 w 56"/>
                <a:gd name="T5" fmla="*/ 14 h 22"/>
                <a:gd name="T6" fmla="*/ 8 w 56"/>
                <a:gd name="T7" fmla="*/ 17 h 22"/>
                <a:gd name="T8" fmla="*/ 11 w 56"/>
                <a:gd name="T9" fmla="*/ 19 h 22"/>
                <a:gd name="T10" fmla="*/ 16 w 56"/>
                <a:gd name="T11" fmla="*/ 19 h 22"/>
                <a:gd name="T12" fmla="*/ 18 w 56"/>
                <a:gd name="T13" fmla="*/ 22 h 22"/>
                <a:gd name="T14" fmla="*/ 19 w 56"/>
                <a:gd name="T15" fmla="*/ 19 h 22"/>
                <a:gd name="T16" fmla="*/ 23 w 56"/>
                <a:gd name="T17" fmla="*/ 19 h 22"/>
                <a:gd name="T18" fmla="*/ 27 w 56"/>
                <a:gd name="T19" fmla="*/ 19 h 22"/>
                <a:gd name="T20" fmla="*/ 30 w 56"/>
                <a:gd name="T21" fmla="*/ 19 h 22"/>
                <a:gd name="T22" fmla="*/ 34 w 56"/>
                <a:gd name="T23" fmla="*/ 17 h 22"/>
                <a:gd name="T24" fmla="*/ 37 w 56"/>
                <a:gd name="T25" fmla="*/ 17 h 22"/>
                <a:gd name="T26" fmla="*/ 42 w 56"/>
                <a:gd name="T27" fmla="*/ 17 h 22"/>
                <a:gd name="T28" fmla="*/ 45 w 56"/>
                <a:gd name="T29" fmla="*/ 14 h 22"/>
                <a:gd name="T30" fmla="*/ 46 w 56"/>
                <a:gd name="T31" fmla="*/ 11 h 22"/>
                <a:gd name="T32" fmla="*/ 49 w 56"/>
                <a:gd name="T33" fmla="*/ 8 h 22"/>
                <a:gd name="T34" fmla="*/ 54 w 56"/>
                <a:gd name="T35" fmla="*/ 4 h 22"/>
                <a:gd name="T36" fmla="*/ 56 w 56"/>
                <a:gd name="T37" fmla="*/ 1 h 22"/>
                <a:gd name="T38" fmla="*/ 53 w 56"/>
                <a:gd name="T39" fmla="*/ 1 h 22"/>
                <a:gd name="T40" fmla="*/ 49 w 56"/>
                <a:gd name="T41" fmla="*/ 0 h 22"/>
                <a:gd name="T42" fmla="*/ 46 w 56"/>
                <a:gd name="T43" fmla="*/ 0 h 22"/>
                <a:gd name="T44" fmla="*/ 42 w 56"/>
                <a:gd name="T45" fmla="*/ 0 h 22"/>
                <a:gd name="T46" fmla="*/ 38 w 56"/>
                <a:gd name="T47" fmla="*/ 0 h 22"/>
                <a:gd name="T48" fmla="*/ 35 w 56"/>
                <a:gd name="T49" fmla="*/ 0 h 22"/>
                <a:gd name="T50" fmla="*/ 32 w 56"/>
                <a:gd name="T51" fmla="*/ 1 h 22"/>
                <a:gd name="T52" fmla="*/ 27 w 56"/>
                <a:gd name="T53" fmla="*/ 1 h 22"/>
                <a:gd name="T54" fmla="*/ 24 w 56"/>
                <a:gd name="T55" fmla="*/ 3 h 22"/>
                <a:gd name="T56" fmla="*/ 21 w 56"/>
                <a:gd name="T57" fmla="*/ 6 h 22"/>
                <a:gd name="T58" fmla="*/ 18 w 56"/>
                <a:gd name="T59" fmla="*/ 4 h 22"/>
                <a:gd name="T60" fmla="*/ 13 w 56"/>
                <a:gd name="T61" fmla="*/ 4 h 22"/>
                <a:gd name="T62" fmla="*/ 10 w 56"/>
                <a:gd name="T63" fmla="*/ 4 h 22"/>
                <a:gd name="T64" fmla="*/ 5 w 56"/>
                <a:gd name="T65" fmla="*/ 6 h 22"/>
                <a:gd name="T66" fmla="*/ 2 w 56"/>
                <a:gd name="T67" fmla="*/ 6 h 22"/>
                <a:gd name="T68" fmla="*/ 2 w 56"/>
                <a:gd name="T69" fmla="*/ 8 h 22"/>
                <a:gd name="T70" fmla="*/ 0 w 56"/>
                <a:gd name="T71" fmla="*/ 11 h 22"/>
                <a:gd name="T72" fmla="*/ 2 w 56"/>
                <a:gd name="T73" fmla="*/ 14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6" h="22">
                  <a:moveTo>
                    <a:pt x="2" y="14"/>
                  </a:moveTo>
                  <a:lnTo>
                    <a:pt x="5" y="14"/>
                  </a:lnTo>
                  <a:lnTo>
                    <a:pt x="5" y="14"/>
                  </a:lnTo>
                  <a:lnTo>
                    <a:pt x="8" y="17"/>
                  </a:lnTo>
                  <a:lnTo>
                    <a:pt x="11" y="19"/>
                  </a:lnTo>
                  <a:lnTo>
                    <a:pt x="16" y="19"/>
                  </a:lnTo>
                  <a:lnTo>
                    <a:pt x="18" y="22"/>
                  </a:lnTo>
                  <a:lnTo>
                    <a:pt x="19" y="19"/>
                  </a:lnTo>
                  <a:lnTo>
                    <a:pt x="23" y="19"/>
                  </a:lnTo>
                  <a:lnTo>
                    <a:pt x="27" y="19"/>
                  </a:lnTo>
                  <a:lnTo>
                    <a:pt x="30" y="19"/>
                  </a:lnTo>
                  <a:lnTo>
                    <a:pt x="34" y="17"/>
                  </a:lnTo>
                  <a:lnTo>
                    <a:pt x="37" y="17"/>
                  </a:lnTo>
                  <a:lnTo>
                    <a:pt x="42" y="17"/>
                  </a:lnTo>
                  <a:lnTo>
                    <a:pt x="45" y="14"/>
                  </a:lnTo>
                  <a:lnTo>
                    <a:pt x="46" y="11"/>
                  </a:lnTo>
                  <a:lnTo>
                    <a:pt x="49" y="8"/>
                  </a:lnTo>
                  <a:lnTo>
                    <a:pt x="54" y="4"/>
                  </a:lnTo>
                  <a:lnTo>
                    <a:pt x="56" y="1"/>
                  </a:lnTo>
                  <a:lnTo>
                    <a:pt x="53" y="1"/>
                  </a:lnTo>
                  <a:lnTo>
                    <a:pt x="49" y="0"/>
                  </a:lnTo>
                  <a:lnTo>
                    <a:pt x="46" y="0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35" y="0"/>
                  </a:lnTo>
                  <a:lnTo>
                    <a:pt x="32" y="1"/>
                  </a:lnTo>
                  <a:lnTo>
                    <a:pt x="27" y="1"/>
                  </a:lnTo>
                  <a:lnTo>
                    <a:pt x="24" y="3"/>
                  </a:lnTo>
                  <a:lnTo>
                    <a:pt x="21" y="6"/>
                  </a:lnTo>
                  <a:lnTo>
                    <a:pt x="18" y="4"/>
                  </a:lnTo>
                  <a:lnTo>
                    <a:pt x="13" y="4"/>
                  </a:lnTo>
                  <a:lnTo>
                    <a:pt x="10" y="4"/>
                  </a:lnTo>
                  <a:lnTo>
                    <a:pt x="5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0" y="11"/>
                  </a:lnTo>
                  <a:lnTo>
                    <a:pt x="2" y="14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50" name="Freeform 627"/>
            <p:cNvSpPr>
              <a:spLocks/>
            </p:cNvSpPr>
            <p:nvPr/>
          </p:nvSpPr>
          <p:spPr bwMode="auto">
            <a:xfrm>
              <a:off x="2481599" y="2833559"/>
              <a:ext cx="41170" cy="40619"/>
            </a:xfrm>
            <a:custGeom>
              <a:avLst/>
              <a:gdLst>
                <a:gd name="T0" fmla="*/ 19 w 56"/>
                <a:gd name="T1" fmla="*/ 31 h 49"/>
                <a:gd name="T2" fmla="*/ 22 w 56"/>
                <a:gd name="T3" fmla="*/ 31 h 49"/>
                <a:gd name="T4" fmla="*/ 25 w 56"/>
                <a:gd name="T5" fmla="*/ 30 h 49"/>
                <a:gd name="T6" fmla="*/ 22 w 56"/>
                <a:gd name="T7" fmla="*/ 31 h 49"/>
                <a:gd name="T8" fmla="*/ 19 w 56"/>
                <a:gd name="T9" fmla="*/ 31 h 49"/>
                <a:gd name="T10" fmla="*/ 17 w 56"/>
                <a:gd name="T11" fmla="*/ 36 h 49"/>
                <a:gd name="T12" fmla="*/ 21 w 56"/>
                <a:gd name="T13" fmla="*/ 36 h 49"/>
                <a:gd name="T14" fmla="*/ 17 w 56"/>
                <a:gd name="T15" fmla="*/ 36 h 49"/>
                <a:gd name="T16" fmla="*/ 14 w 56"/>
                <a:gd name="T17" fmla="*/ 36 h 49"/>
                <a:gd name="T18" fmla="*/ 11 w 56"/>
                <a:gd name="T19" fmla="*/ 39 h 49"/>
                <a:gd name="T20" fmla="*/ 6 w 56"/>
                <a:gd name="T21" fmla="*/ 43 h 49"/>
                <a:gd name="T22" fmla="*/ 5 w 56"/>
                <a:gd name="T23" fmla="*/ 46 h 49"/>
                <a:gd name="T24" fmla="*/ 0 w 56"/>
                <a:gd name="T25" fmla="*/ 49 h 49"/>
                <a:gd name="T26" fmla="*/ 5 w 56"/>
                <a:gd name="T27" fmla="*/ 49 h 49"/>
                <a:gd name="T28" fmla="*/ 8 w 56"/>
                <a:gd name="T29" fmla="*/ 47 h 49"/>
                <a:gd name="T30" fmla="*/ 11 w 56"/>
                <a:gd name="T31" fmla="*/ 46 h 49"/>
                <a:gd name="T32" fmla="*/ 14 w 56"/>
                <a:gd name="T33" fmla="*/ 44 h 49"/>
                <a:gd name="T34" fmla="*/ 17 w 56"/>
                <a:gd name="T35" fmla="*/ 44 h 49"/>
                <a:gd name="T36" fmla="*/ 22 w 56"/>
                <a:gd name="T37" fmla="*/ 41 h 49"/>
                <a:gd name="T38" fmla="*/ 25 w 56"/>
                <a:gd name="T39" fmla="*/ 38 h 49"/>
                <a:gd name="T40" fmla="*/ 29 w 56"/>
                <a:gd name="T41" fmla="*/ 38 h 49"/>
                <a:gd name="T42" fmla="*/ 32 w 56"/>
                <a:gd name="T43" fmla="*/ 38 h 49"/>
                <a:gd name="T44" fmla="*/ 35 w 56"/>
                <a:gd name="T45" fmla="*/ 36 h 49"/>
                <a:gd name="T46" fmla="*/ 32 w 56"/>
                <a:gd name="T47" fmla="*/ 33 h 49"/>
                <a:gd name="T48" fmla="*/ 37 w 56"/>
                <a:gd name="T49" fmla="*/ 33 h 49"/>
                <a:gd name="T50" fmla="*/ 40 w 56"/>
                <a:gd name="T51" fmla="*/ 30 h 49"/>
                <a:gd name="T52" fmla="*/ 41 w 56"/>
                <a:gd name="T53" fmla="*/ 27 h 49"/>
                <a:gd name="T54" fmla="*/ 41 w 56"/>
                <a:gd name="T55" fmla="*/ 23 h 49"/>
                <a:gd name="T56" fmla="*/ 41 w 56"/>
                <a:gd name="T57" fmla="*/ 20 h 49"/>
                <a:gd name="T58" fmla="*/ 43 w 56"/>
                <a:gd name="T59" fmla="*/ 16 h 49"/>
                <a:gd name="T60" fmla="*/ 46 w 56"/>
                <a:gd name="T61" fmla="*/ 14 h 49"/>
                <a:gd name="T62" fmla="*/ 48 w 56"/>
                <a:gd name="T63" fmla="*/ 11 h 49"/>
                <a:gd name="T64" fmla="*/ 49 w 56"/>
                <a:gd name="T65" fmla="*/ 14 h 49"/>
                <a:gd name="T66" fmla="*/ 46 w 56"/>
                <a:gd name="T67" fmla="*/ 17 h 49"/>
                <a:gd name="T68" fmla="*/ 46 w 56"/>
                <a:gd name="T69" fmla="*/ 22 h 49"/>
                <a:gd name="T70" fmla="*/ 44 w 56"/>
                <a:gd name="T71" fmla="*/ 25 h 49"/>
                <a:gd name="T72" fmla="*/ 44 w 56"/>
                <a:gd name="T73" fmla="*/ 28 h 49"/>
                <a:gd name="T74" fmla="*/ 46 w 56"/>
                <a:gd name="T75" fmla="*/ 23 h 49"/>
                <a:gd name="T76" fmla="*/ 49 w 56"/>
                <a:gd name="T77" fmla="*/ 20 h 49"/>
                <a:gd name="T78" fmla="*/ 51 w 56"/>
                <a:gd name="T79" fmla="*/ 17 h 49"/>
                <a:gd name="T80" fmla="*/ 52 w 56"/>
                <a:gd name="T81" fmla="*/ 14 h 49"/>
                <a:gd name="T82" fmla="*/ 52 w 56"/>
                <a:gd name="T83" fmla="*/ 11 h 49"/>
                <a:gd name="T84" fmla="*/ 56 w 56"/>
                <a:gd name="T85" fmla="*/ 8 h 49"/>
                <a:gd name="T86" fmla="*/ 52 w 56"/>
                <a:gd name="T87" fmla="*/ 8 h 49"/>
                <a:gd name="T88" fmla="*/ 48 w 56"/>
                <a:gd name="T89" fmla="*/ 6 h 49"/>
                <a:gd name="T90" fmla="*/ 44 w 56"/>
                <a:gd name="T91" fmla="*/ 6 h 49"/>
                <a:gd name="T92" fmla="*/ 41 w 56"/>
                <a:gd name="T93" fmla="*/ 6 h 49"/>
                <a:gd name="T94" fmla="*/ 43 w 56"/>
                <a:gd name="T95" fmla="*/ 0 h 49"/>
                <a:gd name="T96" fmla="*/ 40 w 56"/>
                <a:gd name="T97" fmla="*/ 0 h 49"/>
                <a:gd name="T98" fmla="*/ 38 w 56"/>
                <a:gd name="T99" fmla="*/ 3 h 49"/>
                <a:gd name="T100" fmla="*/ 37 w 56"/>
                <a:gd name="T101" fmla="*/ 8 h 49"/>
                <a:gd name="T102" fmla="*/ 40 w 56"/>
                <a:gd name="T103" fmla="*/ 6 h 49"/>
                <a:gd name="T104" fmla="*/ 37 w 56"/>
                <a:gd name="T105" fmla="*/ 9 h 49"/>
                <a:gd name="T106" fmla="*/ 32 w 56"/>
                <a:gd name="T107" fmla="*/ 12 h 49"/>
                <a:gd name="T108" fmla="*/ 30 w 56"/>
                <a:gd name="T109" fmla="*/ 16 h 49"/>
                <a:gd name="T110" fmla="*/ 27 w 56"/>
                <a:gd name="T111" fmla="*/ 19 h 49"/>
                <a:gd name="T112" fmla="*/ 24 w 56"/>
                <a:gd name="T113" fmla="*/ 22 h 49"/>
                <a:gd name="T114" fmla="*/ 22 w 56"/>
                <a:gd name="T115" fmla="*/ 27 h 49"/>
                <a:gd name="T116" fmla="*/ 19 w 56"/>
                <a:gd name="T117" fmla="*/ 30 h 49"/>
                <a:gd name="T118" fmla="*/ 19 w 56"/>
                <a:gd name="T119" fmla="*/ 31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6" h="49">
                  <a:moveTo>
                    <a:pt x="19" y="31"/>
                  </a:moveTo>
                  <a:lnTo>
                    <a:pt x="22" y="31"/>
                  </a:lnTo>
                  <a:lnTo>
                    <a:pt x="25" y="30"/>
                  </a:lnTo>
                  <a:lnTo>
                    <a:pt x="22" y="31"/>
                  </a:lnTo>
                  <a:lnTo>
                    <a:pt x="19" y="31"/>
                  </a:lnTo>
                  <a:lnTo>
                    <a:pt x="17" y="36"/>
                  </a:lnTo>
                  <a:lnTo>
                    <a:pt x="21" y="36"/>
                  </a:lnTo>
                  <a:lnTo>
                    <a:pt x="17" y="36"/>
                  </a:lnTo>
                  <a:lnTo>
                    <a:pt x="14" y="36"/>
                  </a:lnTo>
                  <a:lnTo>
                    <a:pt x="11" y="39"/>
                  </a:lnTo>
                  <a:lnTo>
                    <a:pt x="6" y="43"/>
                  </a:lnTo>
                  <a:lnTo>
                    <a:pt x="5" y="46"/>
                  </a:lnTo>
                  <a:lnTo>
                    <a:pt x="0" y="49"/>
                  </a:lnTo>
                  <a:lnTo>
                    <a:pt x="5" y="49"/>
                  </a:lnTo>
                  <a:lnTo>
                    <a:pt x="8" y="47"/>
                  </a:lnTo>
                  <a:lnTo>
                    <a:pt x="11" y="46"/>
                  </a:lnTo>
                  <a:lnTo>
                    <a:pt x="14" y="44"/>
                  </a:lnTo>
                  <a:lnTo>
                    <a:pt x="17" y="44"/>
                  </a:lnTo>
                  <a:lnTo>
                    <a:pt x="22" y="41"/>
                  </a:lnTo>
                  <a:lnTo>
                    <a:pt x="25" y="38"/>
                  </a:lnTo>
                  <a:lnTo>
                    <a:pt x="29" y="38"/>
                  </a:lnTo>
                  <a:lnTo>
                    <a:pt x="32" y="38"/>
                  </a:lnTo>
                  <a:lnTo>
                    <a:pt x="35" y="36"/>
                  </a:lnTo>
                  <a:lnTo>
                    <a:pt x="32" y="33"/>
                  </a:lnTo>
                  <a:lnTo>
                    <a:pt x="37" y="33"/>
                  </a:lnTo>
                  <a:lnTo>
                    <a:pt x="40" y="30"/>
                  </a:lnTo>
                  <a:lnTo>
                    <a:pt x="41" y="27"/>
                  </a:lnTo>
                  <a:lnTo>
                    <a:pt x="41" y="23"/>
                  </a:lnTo>
                  <a:lnTo>
                    <a:pt x="41" y="20"/>
                  </a:lnTo>
                  <a:lnTo>
                    <a:pt x="43" y="16"/>
                  </a:lnTo>
                  <a:lnTo>
                    <a:pt x="46" y="14"/>
                  </a:lnTo>
                  <a:lnTo>
                    <a:pt x="48" y="11"/>
                  </a:lnTo>
                  <a:lnTo>
                    <a:pt x="49" y="14"/>
                  </a:lnTo>
                  <a:lnTo>
                    <a:pt x="46" y="17"/>
                  </a:lnTo>
                  <a:lnTo>
                    <a:pt x="46" y="22"/>
                  </a:lnTo>
                  <a:lnTo>
                    <a:pt x="44" y="25"/>
                  </a:lnTo>
                  <a:lnTo>
                    <a:pt x="44" y="28"/>
                  </a:lnTo>
                  <a:lnTo>
                    <a:pt x="46" y="23"/>
                  </a:lnTo>
                  <a:lnTo>
                    <a:pt x="49" y="20"/>
                  </a:lnTo>
                  <a:lnTo>
                    <a:pt x="51" y="17"/>
                  </a:lnTo>
                  <a:lnTo>
                    <a:pt x="52" y="14"/>
                  </a:lnTo>
                  <a:lnTo>
                    <a:pt x="52" y="11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48" y="6"/>
                  </a:lnTo>
                  <a:lnTo>
                    <a:pt x="44" y="6"/>
                  </a:lnTo>
                  <a:lnTo>
                    <a:pt x="41" y="6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38" y="3"/>
                  </a:lnTo>
                  <a:lnTo>
                    <a:pt x="37" y="8"/>
                  </a:lnTo>
                  <a:lnTo>
                    <a:pt x="40" y="6"/>
                  </a:lnTo>
                  <a:lnTo>
                    <a:pt x="37" y="9"/>
                  </a:lnTo>
                  <a:lnTo>
                    <a:pt x="32" y="12"/>
                  </a:lnTo>
                  <a:lnTo>
                    <a:pt x="30" y="16"/>
                  </a:lnTo>
                  <a:lnTo>
                    <a:pt x="27" y="19"/>
                  </a:lnTo>
                  <a:lnTo>
                    <a:pt x="24" y="22"/>
                  </a:lnTo>
                  <a:lnTo>
                    <a:pt x="22" y="27"/>
                  </a:lnTo>
                  <a:lnTo>
                    <a:pt x="19" y="30"/>
                  </a:lnTo>
                  <a:lnTo>
                    <a:pt x="19" y="3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51" name="Freeform 628"/>
            <p:cNvSpPr>
              <a:spLocks/>
            </p:cNvSpPr>
            <p:nvPr/>
          </p:nvSpPr>
          <p:spPr bwMode="auto">
            <a:xfrm>
              <a:off x="2500715" y="2911412"/>
              <a:ext cx="24996" cy="22002"/>
            </a:xfrm>
            <a:custGeom>
              <a:avLst/>
              <a:gdLst>
                <a:gd name="T0" fmla="*/ 2 w 35"/>
                <a:gd name="T1" fmla="*/ 23 h 27"/>
                <a:gd name="T2" fmla="*/ 5 w 35"/>
                <a:gd name="T3" fmla="*/ 23 h 27"/>
                <a:gd name="T4" fmla="*/ 12 w 35"/>
                <a:gd name="T5" fmla="*/ 16 h 27"/>
                <a:gd name="T6" fmla="*/ 10 w 35"/>
                <a:gd name="T7" fmla="*/ 19 h 27"/>
                <a:gd name="T8" fmla="*/ 7 w 35"/>
                <a:gd name="T9" fmla="*/ 23 h 27"/>
                <a:gd name="T10" fmla="*/ 10 w 35"/>
                <a:gd name="T11" fmla="*/ 20 h 27"/>
                <a:gd name="T12" fmla="*/ 13 w 35"/>
                <a:gd name="T13" fmla="*/ 19 h 27"/>
                <a:gd name="T14" fmla="*/ 16 w 35"/>
                <a:gd name="T15" fmla="*/ 16 h 27"/>
                <a:gd name="T16" fmla="*/ 19 w 35"/>
                <a:gd name="T17" fmla="*/ 12 h 27"/>
                <a:gd name="T18" fmla="*/ 18 w 35"/>
                <a:gd name="T19" fmla="*/ 16 h 27"/>
                <a:gd name="T20" fmla="*/ 15 w 35"/>
                <a:gd name="T21" fmla="*/ 19 h 27"/>
                <a:gd name="T22" fmla="*/ 8 w 35"/>
                <a:gd name="T23" fmla="*/ 23 h 27"/>
                <a:gd name="T24" fmla="*/ 5 w 35"/>
                <a:gd name="T25" fmla="*/ 25 h 27"/>
                <a:gd name="T26" fmla="*/ 8 w 35"/>
                <a:gd name="T27" fmla="*/ 25 h 27"/>
                <a:gd name="T28" fmla="*/ 12 w 35"/>
                <a:gd name="T29" fmla="*/ 23 h 27"/>
                <a:gd name="T30" fmla="*/ 15 w 35"/>
                <a:gd name="T31" fmla="*/ 20 h 27"/>
                <a:gd name="T32" fmla="*/ 13 w 35"/>
                <a:gd name="T33" fmla="*/ 23 h 27"/>
                <a:gd name="T34" fmla="*/ 8 w 35"/>
                <a:gd name="T35" fmla="*/ 25 h 27"/>
                <a:gd name="T36" fmla="*/ 13 w 35"/>
                <a:gd name="T37" fmla="*/ 27 h 27"/>
                <a:gd name="T38" fmla="*/ 16 w 35"/>
                <a:gd name="T39" fmla="*/ 25 h 27"/>
                <a:gd name="T40" fmla="*/ 19 w 35"/>
                <a:gd name="T41" fmla="*/ 22 h 27"/>
                <a:gd name="T42" fmla="*/ 23 w 35"/>
                <a:gd name="T43" fmla="*/ 20 h 27"/>
                <a:gd name="T44" fmla="*/ 26 w 35"/>
                <a:gd name="T45" fmla="*/ 17 h 27"/>
                <a:gd name="T46" fmla="*/ 31 w 35"/>
                <a:gd name="T47" fmla="*/ 14 h 27"/>
                <a:gd name="T48" fmla="*/ 34 w 35"/>
                <a:gd name="T49" fmla="*/ 9 h 27"/>
                <a:gd name="T50" fmla="*/ 35 w 35"/>
                <a:gd name="T51" fmla="*/ 6 h 27"/>
                <a:gd name="T52" fmla="*/ 35 w 35"/>
                <a:gd name="T53" fmla="*/ 0 h 27"/>
                <a:gd name="T54" fmla="*/ 32 w 35"/>
                <a:gd name="T55" fmla="*/ 0 h 27"/>
                <a:gd name="T56" fmla="*/ 29 w 35"/>
                <a:gd name="T57" fmla="*/ 0 h 27"/>
                <a:gd name="T58" fmla="*/ 26 w 35"/>
                <a:gd name="T59" fmla="*/ 1 h 27"/>
                <a:gd name="T60" fmla="*/ 21 w 35"/>
                <a:gd name="T61" fmla="*/ 3 h 27"/>
                <a:gd name="T62" fmla="*/ 18 w 35"/>
                <a:gd name="T63" fmla="*/ 3 h 27"/>
                <a:gd name="T64" fmla="*/ 21 w 35"/>
                <a:gd name="T65" fmla="*/ 4 h 27"/>
                <a:gd name="T66" fmla="*/ 18 w 35"/>
                <a:gd name="T67" fmla="*/ 6 h 27"/>
                <a:gd name="T68" fmla="*/ 15 w 35"/>
                <a:gd name="T69" fmla="*/ 6 h 27"/>
                <a:gd name="T70" fmla="*/ 18 w 35"/>
                <a:gd name="T71" fmla="*/ 8 h 27"/>
                <a:gd name="T72" fmla="*/ 15 w 35"/>
                <a:gd name="T73" fmla="*/ 9 h 27"/>
                <a:gd name="T74" fmla="*/ 12 w 35"/>
                <a:gd name="T75" fmla="*/ 9 h 27"/>
                <a:gd name="T76" fmla="*/ 10 w 35"/>
                <a:gd name="T77" fmla="*/ 14 h 27"/>
                <a:gd name="T78" fmla="*/ 7 w 35"/>
                <a:gd name="T79" fmla="*/ 16 h 27"/>
                <a:gd name="T80" fmla="*/ 4 w 35"/>
                <a:gd name="T81" fmla="*/ 17 h 27"/>
                <a:gd name="T82" fmla="*/ 0 w 35"/>
                <a:gd name="T83" fmla="*/ 20 h 27"/>
                <a:gd name="T84" fmla="*/ 2 w 35"/>
                <a:gd name="T85" fmla="*/ 23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5" h="27">
                  <a:moveTo>
                    <a:pt x="2" y="23"/>
                  </a:moveTo>
                  <a:lnTo>
                    <a:pt x="5" y="23"/>
                  </a:lnTo>
                  <a:lnTo>
                    <a:pt x="12" y="16"/>
                  </a:lnTo>
                  <a:lnTo>
                    <a:pt x="10" y="19"/>
                  </a:lnTo>
                  <a:lnTo>
                    <a:pt x="7" y="23"/>
                  </a:lnTo>
                  <a:lnTo>
                    <a:pt x="10" y="20"/>
                  </a:lnTo>
                  <a:lnTo>
                    <a:pt x="13" y="19"/>
                  </a:lnTo>
                  <a:lnTo>
                    <a:pt x="16" y="16"/>
                  </a:lnTo>
                  <a:lnTo>
                    <a:pt x="19" y="12"/>
                  </a:lnTo>
                  <a:lnTo>
                    <a:pt x="18" y="16"/>
                  </a:lnTo>
                  <a:lnTo>
                    <a:pt x="15" y="19"/>
                  </a:lnTo>
                  <a:lnTo>
                    <a:pt x="8" y="23"/>
                  </a:lnTo>
                  <a:lnTo>
                    <a:pt x="5" y="25"/>
                  </a:lnTo>
                  <a:lnTo>
                    <a:pt x="8" y="25"/>
                  </a:lnTo>
                  <a:lnTo>
                    <a:pt x="12" y="23"/>
                  </a:lnTo>
                  <a:lnTo>
                    <a:pt x="15" y="20"/>
                  </a:lnTo>
                  <a:lnTo>
                    <a:pt x="13" y="23"/>
                  </a:lnTo>
                  <a:lnTo>
                    <a:pt x="8" y="25"/>
                  </a:lnTo>
                  <a:lnTo>
                    <a:pt x="13" y="27"/>
                  </a:lnTo>
                  <a:lnTo>
                    <a:pt x="16" y="25"/>
                  </a:lnTo>
                  <a:lnTo>
                    <a:pt x="19" y="22"/>
                  </a:lnTo>
                  <a:lnTo>
                    <a:pt x="23" y="20"/>
                  </a:lnTo>
                  <a:lnTo>
                    <a:pt x="26" y="17"/>
                  </a:lnTo>
                  <a:lnTo>
                    <a:pt x="31" y="14"/>
                  </a:lnTo>
                  <a:lnTo>
                    <a:pt x="34" y="9"/>
                  </a:lnTo>
                  <a:lnTo>
                    <a:pt x="35" y="6"/>
                  </a:lnTo>
                  <a:lnTo>
                    <a:pt x="35" y="0"/>
                  </a:lnTo>
                  <a:lnTo>
                    <a:pt x="32" y="0"/>
                  </a:lnTo>
                  <a:lnTo>
                    <a:pt x="29" y="0"/>
                  </a:lnTo>
                  <a:lnTo>
                    <a:pt x="26" y="1"/>
                  </a:lnTo>
                  <a:lnTo>
                    <a:pt x="21" y="3"/>
                  </a:lnTo>
                  <a:lnTo>
                    <a:pt x="18" y="3"/>
                  </a:lnTo>
                  <a:lnTo>
                    <a:pt x="21" y="4"/>
                  </a:lnTo>
                  <a:lnTo>
                    <a:pt x="18" y="6"/>
                  </a:lnTo>
                  <a:lnTo>
                    <a:pt x="15" y="6"/>
                  </a:lnTo>
                  <a:lnTo>
                    <a:pt x="18" y="8"/>
                  </a:lnTo>
                  <a:lnTo>
                    <a:pt x="15" y="9"/>
                  </a:lnTo>
                  <a:lnTo>
                    <a:pt x="12" y="9"/>
                  </a:lnTo>
                  <a:lnTo>
                    <a:pt x="10" y="14"/>
                  </a:lnTo>
                  <a:lnTo>
                    <a:pt x="7" y="16"/>
                  </a:lnTo>
                  <a:lnTo>
                    <a:pt x="4" y="17"/>
                  </a:lnTo>
                  <a:lnTo>
                    <a:pt x="0" y="20"/>
                  </a:lnTo>
                  <a:lnTo>
                    <a:pt x="2" y="2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52" name="Freeform 629"/>
            <p:cNvSpPr>
              <a:spLocks/>
            </p:cNvSpPr>
            <p:nvPr/>
          </p:nvSpPr>
          <p:spPr bwMode="auto">
            <a:xfrm>
              <a:off x="1784648" y="2435839"/>
              <a:ext cx="954264" cy="512805"/>
            </a:xfrm>
            <a:custGeom>
              <a:avLst/>
              <a:gdLst>
                <a:gd name="T0" fmla="*/ 65 w 1299"/>
                <a:gd name="T1" fmla="*/ 573 h 606"/>
                <a:gd name="T2" fmla="*/ 169 w 1299"/>
                <a:gd name="T3" fmla="*/ 543 h 606"/>
                <a:gd name="T4" fmla="*/ 291 w 1299"/>
                <a:gd name="T5" fmla="*/ 495 h 606"/>
                <a:gd name="T6" fmla="*/ 344 w 1299"/>
                <a:gd name="T7" fmla="*/ 454 h 606"/>
                <a:gd name="T8" fmla="*/ 306 w 1299"/>
                <a:gd name="T9" fmla="*/ 455 h 606"/>
                <a:gd name="T10" fmla="*/ 247 w 1299"/>
                <a:gd name="T11" fmla="*/ 451 h 606"/>
                <a:gd name="T12" fmla="*/ 244 w 1299"/>
                <a:gd name="T13" fmla="*/ 432 h 606"/>
                <a:gd name="T14" fmla="*/ 264 w 1299"/>
                <a:gd name="T15" fmla="*/ 403 h 606"/>
                <a:gd name="T16" fmla="*/ 203 w 1299"/>
                <a:gd name="T17" fmla="*/ 389 h 606"/>
                <a:gd name="T18" fmla="*/ 252 w 1299"/>
                <a:gd name="T19" fmla="*/ 386 h 606"/>
                <a:gd name="T20" fmla="*/ 238 w 1299"/>
                <a:gd name="T21" fmla="*/ 368 h 606"/>
                <a:gd name="T22" fmla="*/ 242 w 1299"/>
                <a:gd name="T23" fmla="*/ 344 h 606"/>
                <a:gd name="T24" fmla="*/ 331 w 1299"/>
                <a:gd name="T25" fmla="*/ 300 h 606"/>
                <a:gd name="T26" fmla="*/ 433 w 1299"/>
                <a:gd name="T27" fmla="*/ 279 h 606"/>
                <a:gd name="T28" fmla="*/ 526 w 1299"/>
                <a:gd name="T29" fmla="*/ 238 h 606"/>
                <a:gd name="T30" fmla="*/ 458 w 1299"/>
                <a:gd name="T31" fmla="*/ 243 h 606"/>
                <a:gd name="T32" fmla="*/ 391 w 1299"/>
                <a:gd name="T33" fmla="*/ 219 h 606"/>
                <a:gd name="T34" fmla="*/ 393 w 1299"/>
                <a:gd name="T35" fmla="*/ 199 h 606"/>
                <a:gd name="T36" fmla="*/ 506 w 1299"/>
                <a:gd name="T37" fmla="*/ 173 h 606"/>
                <a:gd name="T38" fmla="*/ 561 w 1299"/>
                <a:gd name="T39" fmla="*/ 186 h 606"/>
                <a:gd name="T40" fmla="*/ 594 w 1299"/>
                <a:gd name="T41" fmla="*/ 156 h 606"/>
                <a:gd name="T42" fmla="*/ 615 w 1299"/>
                <a:gd name="T43" fmla="*/ 167 h 606"/>
                <a:gd name="T44" fmla="*/ 588 w 1299"/>
                <a:gd name="T45" fmla="*/ 151 h 606"/>
                <a:gd name="T46" fmla="*/ 631 w 1299"/>
                <a:gd name="T47" fmla="*/ 86 h 606"/>
                <a:gd name="T48" fmla="*/ 837 w 1299"/>
                <a:gd name="T49" fmla="*/ 30 h 606"/>
                <a:gd name="T50" fmla="*/ 878 w 1299"/>
                <a:gd name="T51" fmla="*/ 21 h 606"/>
                <a:gd name="T52" fmla="*/ 999 w 1299"/>
                <a:gd name="T53" fmla="*/ 13 h 606"/>
                <a:gd name="T54" fmla="*/ 1053 w 1299"/>
                <a:gd name="T55" fmla="*/ 29 h 606"/>
                <a:gd name="T56" fmla="*/ 1173 w 1299"/>
                <a:gd name="T57" fmla="*/ 42 h 606"/>
                <a:gd name="T58" fmla="*/ 1287 w 1299"/>
                <a:gd name="T59" fmla="*/ 61 h 606"/>
                <a:gd name="T60" fmla="*/ 924 w 1299"/>
                <a:gd name="T61" fmla="*/ 397 h 606"/>
                <a:gd name="T62" fmla="*/ 1002 w 1299"/>
                <a:gd name="T63" fmla="*/ 421 h 606"/>
                <a:gd name="T64" fmla="*/ 1031 w 1299"/>
                <a:gd name="T65" fmla="*/ 490 h 606"/>
                <a:gd name="T66" fmla="*/ 1032 w 1299"/>
                <a:gd name="T67" fmla="*/ 568 h 606"/>
                <a:gd name="T68" fmla="*/ 1002 w 1299"/>
                <a:gd name="T69" fmla="*/ 589 h 606"/>
                <a:gd name="T70" fmla="*/ 1000 w 1299"/>
                <a:gd name="T71" fmla="*/ 560 h 606"/>
                <a:gd name="T72" fmla="*/ 999 w 1299"/>
                <a:gd name="T73" fmla="*/ 547 h 606"/>
                <a:gd name="T74" fmla="*/ 991 w 1299"/>
                <a:gd name="T75" fmla="*/ 517 h 606"/>
                <a:gd name="T76" fmla="*/ 1013 w 1299"/>
                <a:gd name="T77" fmla="*/ 486 h 606"/>
                <a:gd name="T78" fmla="*/ 997 w 1299"/>
                <a:gd name="T79" fmla="*/ 465 h 606"/>
                <a:gd name="T80" fmla="*/ 977 w 1299"/>
                <a:gd name="T81" fmla="*/ 474 h 606"/>
                <a:gd name="T82" fmla="*/ 954 w 1299"/>
                <a:gd name="T83" fmla="*/ 448 h 606"/>
                <a:gd name="T84" fmla="*/ 934 w 1299"/>
                <a:gd name="T85" fmla="*/ 474 h 606"/>
                <a:gd name="T86" fmla="*/ 905 w 1299"/>
                <a:gd name="T87" fmla="*/ 421 h 606"/>
                <a:gd name="T88" fmla="*/ 867 w 1299"/>
                <a:gd name="T89" fmla="*/ 409 h 606"/>
                <a:gd name="T90" fmla="*/ 796 w 1299"/>
                <a:gd name="T91" fmla="*/ 384 h 606"/>
                <a:gd name="T92" fmla="*/ 758 w 1299"/>
                <a:gd name="T93" fmla="*/ 381 h 606"/>
                <a:gd name="T94" fmla="*/ 745 w 1299"/>
                <a:gd name="T95" fmla="*/ 370 h 606"/>
                <a:gd name="T96" fmla="*/ 707 w 1299"/>
                <a:gd name="T97" fmla="*/ 370 h 606"/>
                <a:gd name="T98" fmla="*/ 685 w 1299"/>
                <a:gd name="T99" fmla="*/ 387 h 606"/>
                <a:gd name="T100" fmla="*/ 645 w 1299"/>
                <a:gd name="T101" fmla="*/ 408 h 606"/>
                <a:gd name="T102" fmla="*/ 596 w 1299"/>
                <a:gd name="T103" fmla="*/ 424 h 606"/>
                <a:gd name="T104" fmla="*/ 534 w 1299"/>
                <a:gd name="T105" fmla="*/ 432 h 606"/>
                <a:gd name="T106" fmla="*/ 607 w 1299"/>
                <a:gd name="T107" fmla="*/ 384 h 606"/>
                <a:gd name="T108" fmla="*/ 704 w 1299"/>
                <a:gd name="T109" fmla="*/ 352 h 606"/>
                <a:gd name="T110" fmla="*/ 553 w 1299"/>
                <a:gd name="T111" fmla="*/ 398 h 606"/>
                <a:gd name="T112" fmla="*/ 475 w 1299"/>
                <a:gd name="T113" fmla="*/ 432 h 606"/>
                <a:gd name="T114" fmla="*/ 409 w 1299"/>
                <a:gd name="T115" fmla="*/ 476 h 606"/>
                <a:gd name="T116" fmla="*/ 312 w 1299"/>
                <a:gd name="T117" fmla="*/ 508 h 606"/>
                <a:gd name="T118" fmla="*/ 226 w 1299"/>
                <a:gd name="T119" fmla="*/ 539 h 606"/>
                <a:gd name="T120" fmla="*/ 165 w 1299"/>
                <a:gd name="T121" fmla="*/ 563 h 606"/>
                <a:gd name="T122" fmla="*/ 92 w 1299"/>
                <a:gd name="T123" fmla="*/ 582 h 606"/>
                <a:gd name="T124" fmla="*/ 36 w 1299"/>
                <a:gd name="T125" fmla="*/ 587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99" h="606">
                  <a:moveTo>
                    <a:pt x="25" y="597"/>
                  </a:moveTo>
                  <a:lnTo>
                    <a:pt x="22" y="600"/>
                  </a:lnTo>
                  <a:lnTo>
                    <a:pt x="19" y="600"/>
                  </a:lnTo>
                  <a:lnTo>
                    <a:pt x="20" y="597"/>
                  </a:lnTo>
                  <a:lnTo>
                    <a:pt x="15" y="593"/>
                  </a:lnTo>
                  <a:lnTo>
                    <a:pt x="12" y="595"/>
                  </a:lnTo>
                  <a:lnTo>
                    <a:pt x="14" y="598"/>
                  </a:lnTo>
                  <a:lnTo>
                    <a:pt x="9" y="601"/>
                  </a:lnTo>
                  <a:lnTo>
                    <a:pt x="6" y="601"/>
                  </a:lnTo>
                  <a:lnTo>
                    <a:pt x="3" y="604"/>
                  </a:lnTo>
                  <a:lnTo>
                    <a:pt x="0" y="604"/>
                  </a:lnTo>
                  <a:lnTo>
                    <a:pt x="8" y="598"/>
                  </a:lnTo>
                  <a:lnTo>
                    <a:pt x="11" y="593"/>
                  </a:lnTo>
                  <a:lnTo>
                    <a:pt x="15" y="592"/>
                  </a:lnTo>
                  <a:lnTo>
                    <a:pt x="27" y="589"/>
                  </a:lnTo>
                  <a:lnTo>
                    <a:pt x="23" y="590"/>
                  </a:lnTo>
                  <a:lnTo>
                    <a:pt x="27" y="590"/>
                  </a:lnTo>
                  <a:lnTo>
                    <a:pt x="30" y="590"/>
                  </a:lnTo>
                  <a:lnTo>
                    <a:pt x="33" y="587"/>
                  </a:lnTo>
                  <a:lnTo>
                    <a:pt x="36" y="585"/>
                  </a:lnTo>
                  <a:lnTo>
                    <a:pt x="41" y="584"/>
                  </a:lnTo>
                  <a:lnTo>
                    <a:pt x="44" y="584"/>
                  </a:lnTo>
                  <a:lnTo>
                    <a:pt x="47" y="584"/>
                  </a:lnTo>
                  <a:lnTo>
                    <a:pt x="50" y="579"/>
                  </a:lnTo>
                  <a:lnTo>
                    <a:pt x="54" y="578"/>
                  </a:lnTo>
                  <a:lnTo>
                    <a:pt x="57" y="576"/>
                  </a:lnTo>
                  <a:lnTo>
                    <a:pt x="61" y="574"/>
                  </a:lnTo>
                  <a:lnTo>
                    <a:pt x="65" y="573"/>
                  </a:lnTo>
                  <a:lnTo>
                    <a:pt x="76" y="568"/>
                  </a:lnTo>
                  <a:lnTo>
                    <a:pt x="87" y="565"/>
                  </a:lnTo>
                  <a:lnTo>
                    <a:pt x="100" y="562"/>
                  </a:lnTo>
                  <a:lnTo>
                    <a:pt x="111" y="560"/>
                  </a:lnTo>
                  <a:lnTo>
                    <a:pt x="107" y="560"/>
                  </a:lnTo>
                  <a:lnTo>
                    <a:pt x="111" y="562"/>
                  </a:lnTo>
                  <a:lnTo>
                    <a:pt x="115" y="562"/>
                  </a:lnTo>
                  <a:lnTo>
                    <a:pt x="119" y="560"/>
                  </a:lnTo>
                  <a:lnTo>
                    <a:pt x="122" y="560"/>
                  </a:lnTo>
                  <a:lnTo>
                    <a:pt x="119" y="562"/>
                  </a:lnTo>
                  <a:lnTo>
                    <a:pt x="114" y="563"/>
                  </a:lnTo>
                  <a:lnTo>
                    <a:pt x="114" y="566"/>
                  </a:lnTo>
                  <a:lnTo>
                    <a:pt x="114" y="570"/>
                  </a:lnTo>
                  <a:lnTo>
                    <a:pt x="117" y="570"/>
                  </a:lnTo>
                  <a:lnTo>
                    <a:pt x="119" y="566"/>
                  </a:lnTo>
                  <a:lnTo>
                    <a:pt x="122" y="563"/>
                  </a:lnTo>
                  <a:lnTo>
                    <a:pt x="125" y="565"/>
                  </a:lnTo>
                  <a:lnTo>
                    <a:pt x="128" y="563"/>
                  </a:lnTo>
                  <a:lnTo>
                    <a:pt x="131" y="568"/>
                  </a:lnTo>
                  <a:lnTo>
                    <a:pt x="134" y="566"/>
                  </a:lnTo>
                  <a:lnTo>
                    <a:pt x="131" y="562"/>
                  </a:lnTo>
                  <a:lnTo>
                    <a:pt x="133" y="559"/>
                  </a:lnTo>
                  <a:lnTo>
                    <a:pt x="138" y="557"/>
                  </a:lnTo>
                  <a:lnTo>
                    <a:pt x="141" y="555"/>
                  </a:lnTo>
                  <a:lnTo>
                    <a:pt x="144" y="552"/>
                  </a:lnTo>
                  <a:lnTo>
                    <a:pt x="149" y="551"/>
                  </a:lnTo>
                  <a:lnTo>
                    <a:pt x="158" y="546"/>
                  </a:lnTo>
                  <a:lnTo>
                    <a:pt x="169" y="543"/>
                  </a:lnTo>
                  <a:lnTo>
                    <a:pt x="177" y="538"/>
                  </a:lnTo>
                  <a:lnTo>
                    <a:pt x="187" y="536"/>
                  </a:lnTo>
                  <a:lnTo>
                    <a:pt x="198" y="533"/>
                  </a:lnTo>
                  <a:lnTo>
                    <a:pt x="207" y="530"/>
                  </a:lnTo>
                  <a:lnTo>
                    <a:pt x="212" y="528"/>
                  </a:lnTo>
                  <a:lnTo>
                    <a:pt x="215" y="527"/>
                  </a:lnTo>
                  <a:lnTo>
                    <a:pt x="218" y="528"/>
                  </a:lnTo>
                  <a:lnTo>
                    <a:pt x="222" y="528"/>
                  </a:lnTo>
                  <a:lnTo>
                    <a:pt x="226" y="528"/>
                  </a:lnTo>
                  <a:lnTo>
                    <a:pt x="228" y="524"/>
                  </a:lnTo>
                  <a:lnTo>
                    <a:pt x="233" y="520"/>
                  </a:lnTo>
                  <a:lnTo>
                    <a:pt x="236" y="519"/>
                  </a:lnTo>
                  <a:lnTo>
                    <a:pt x="239" y="517"/>
                  </a:lnTo>
                  <a:lnTo>
                    <a:pt x="242" y="516"/>
                  </a:lnTo>
                  <a:lnTo>
                    <a:pt x="247" y="514"/>
                  </a:lnTo>
                  <a:lnTo>
                    <a:pt x="255" y="509"/>
                  </a:lnTo>
                  <a:lnTo>
                    <a:pt x="264" y="508"/>
                  </a:lnTo>
                  <a:lnTo>
                    <a:pt x="276" y="503"/>
                  </a:lnTo>
                  <a:lnTo>
                    <a:pt x="285" y="500"/>
                  </a:lnTo>
                  <a:lnTo>
                    <a:pt x="284" y="503"/>
                  </a:lnTo>
                  <a:lnTo>
                    <a:pt x="287" y="503"/>
                  </a:lnTo>
                  <a:lnTo>
                    <a:pt x="291" y="503"/>
                  </a:lnTo>
                  <a:lnTo>
                    <a:pt x="295" y="500"/>
                  </a:lnTo>
                  <a:lnTo>
                    <a:pt x="291" y="501"/>
                  </a:lnTo>
                  <a:lnTo>
                    <a:pt x="288" y="501"/>
                  </a:lnTo>
                  <a:lnTo>
                    <a:pt x="287" y="501"/>
                  </a:lnTo>
                  <a:lnTo>
                    <a:pt x="290" y="498"/>
                  </a:lnTo>
                  <a:lnTo>
                    <a:pt x="291" y="495"/>
                  </a:lnTo>
                  <a:lnTo>
                    <a:pt x="295" y="492"/>
                  </a:lnTo>
                  <a:lnTo>
                    <a:pt x="298" y="490"/>
                  </a:lnTo>
                  <a:lnTo>
                    <a:pt x="304" y="486"/>
                  </a:lnTo>
                  <a:lnTo>
                    <a:pt x="309" y="482"/>
                  </a:lnTo>
                  <a:lnTo>
                    <a:pt x="312" y="479"/>
                  </a:lnTo>
                  <a:lnTo>
                    <a:pt x="315" y="478"/>
                  </a:lnTo>
                  <a:lnTo>
                    <a:pt x="318" y="476"/>
                  </a:lnTo>
                  <a:lnTo>
                    <a:pt x="323" y="476"/>
                  </a:lnTo>
                  <a:lnTo>
                    <a:pt x="326" y="474"/>
                  </a:lnTo>
                  <a:lnTo>
                    <a:pt x="330" y="476"/>
                  </a:lnTo>
                  <a:lnTo>
                    <a:pt x="326" y="474"/>
                  </a:lnTo>
                  <a:lnTo>
                    <a:pt x="323" y="474"/>
                  </a:lnTo>
                  <a:lnTo>
                    <a:pt x="323" y="471"/>
                  </a:lnTo>
                  <a:lnTo>
                    <a:pt x="326" y="468"/>
                  </a:lnTo>
                  <a:lnTo>
                    <a:pt x="334" y="465"/>
                  </a:lnTo>
                  <a:lnTo>
                    <a:pt x="342" y="460"/>
                  </a:lnTo>
                  <a:lnTo>
                    <a:pt x="352" y="457"/>
                  </a:lnTo>
                  <a:lnTo>
                    <a:pt x="361" y="454"/>
                  </a:lnTo>
                  <a:lnTo>
                    <a:pt x="369" y="448"/>
                  </a:lnTo>
                  <a:lnTo>
                    <a:pt x="377" y="444"/>
                  </a:lnTo>
                  <a:lnTo>
                    <a:pt x="385" y="440"/>
                  </a:lnTo>
                  <a:lnTo>
                    <a:pt x="380" y="441"/>
                  </a:lnTo>
                  <a:lnTo>
                    <a:pt x="377" y="443"/>
                  </a:lnTo>
                  <a:lnTo>
                    <a:pt x="374" y="446"/>
                  </a:lnTo>
                  <a:lnTo>
                    <a:pt x="371" y="446"/>
                  </a:lnTo>
                  <a:lnTo>
                    <a:pt x="361" y="449"/>
                  </a:lnTo>
                  <a:lnTo>
                    <a:pt x="352" y="452"/>
                  </a:lnTo>
                  <a:lnTo>
                    <a:pt x="344" y="454"/>
                  </a:lnTo>
                  <a:lnTo>
                    <a:pt x="334" y="455"/>
                  </a:lnTo>
                  <a:lnTo>
                    <a:pt x="331" y="457"/>
                  </a:lnTo>
                  <a:lnTo>
                    <a:pt x="328" y="459"/>
                  </a:lnTo>
                  <a:lnTo>
                    <a:pt x="323" y="459"/>
                  </a:lnTo>
                  <a:lnTo>
                    <a:pt x="320" y="460"/>
                  </a:lnTo>
                  <a:lnTo>
                    <a:pt x="317" y="459"/>
                  </a:lnTo>
                  <a:lnTo>
                    <a:pt x="320" y="454"/>
                  </a:lnTo>
                  <a:lnTo>
                    <a:pt x="318" y="451"/>
                  </a:lnTo>
                  <a:lnTo>
                    <a:pt x="323" y="449"/>
                  </a:lnTo>
                  <a:lnTo>
                    <a:pt x="326" y="446"/>
                  </a:lnTo>
                  <a:lnTo>
                    <a:pt x="330" y="444"/>
                  </a:lnTo>
                  <a:lnTo>
                    <a:pt x="333" y="443"/>
                  </a:lnTo>
                  <a:lnTo>
                    <a:pt x="337" y="444"/>
                  </a:lnTo>
                  <a:lnTo>
                    <a:pt x="336" y="448"/>
                  </a:lnTo>
                  <a:lnTo>
                    <a:pt x="337" y="448"/>
                  </a:lnTo>
                  <a:lnTo>
                    <a:pt x="341" y="444"/>
                  </a:lnTo>
                  <a:lnTo>
                    <a:pt x="336" y="443"/>
                  </a:lnTo>
                  <a:lnTo>
                    <a:pt x="334" y="440"/>
                  </a:lnTo>
                  <a:lnTo>
                    <a:pt x="334" y="438"/>
                  </a:lnTo>
                  <a:lnTo>
                    <a:pt x="333" y="441"/>
                  </a:lnTo>
                  <a:lnTo>
                    <a:pt x="328" y="443"/>
                  </a:lnTo>
                  <a:lnTo>
                    <a:pt x="325" y="446"/>
                  </a:lnTo>
                  <a:lnTo>
                    <a:pt x="322" y="448"/>
                  </a:lnTo>
                  <a:lnTo>
                    <a:pt x="318" y="449"/>
                  </a:lnTo>
                  <a:lnTo>
                    <a:pt x="315" y="449"/>
                  </a:lnTo>
                  <a:lnTo>
                    <a:pt x="318" y="446"/>
                  </a:lnTo>
                  <a:lnTo>
                    <a:pt x="309" y="454"/>
                  </a:lnTo>
                  <a:lnTo>
                    <a:pt x="306" y="455"/>
                  </a:lnTo>
                  <a:lnTo>
                    <a:pt x="303" y="457"/>
                  </a:lnTo>
                  <a:lnTo>
                    <a:pt x="298" y="465"/>
                  </a:lnTo>
                  <a:lnTo>
                    <a:pt x="293" y="467"/>
                  </a:lnTo>
                  <a:lnTo>
                    <a:pt x="290" y="468"/>
                  </a:lnTo>
                  <a:lnTo>
                    <a:pt x="287" y="467"/>
                  </a:lnTo>
                  <a:lnTo>
                    <a:pt x="287" y="467"/>
                  </a:lnTo>
                  <a:lnTo>
                    <a:pt x="287" y="463"/>
                  </a:lnTo>
                  <a:lnTo>
                    <a:pt x="290" y="455"/>
                  </a:lnTo>
                  <a:lnTo>
                    <a:pt x="290" y="452"/>
                  </a:lnTo>
                  <a:lnTo>
                    <a:pt x="287" y="451"/>
                  </a:lnTo>
                  <a:lnTo>
                    <a:pt x="290" y="449"/>
                  </a:lnTo>
                  <a:lnTo>
                    <a:pt x="287" y="448"/>
                  </a:lnTo>
                  <a:lnTo>
                    <a:pt x="284" y="451"/>
                  </a:lnTo>
                  <a:lnTo>
                    <a:pt x="280" y="452"/>
                  </a:lnTo>
                  <a:lnTo>
                    <a:pt x="276" y="454"/>
                  </a:lnTo>
                  <a:lnTo>
                    <a:pt x="277" y="451"/>
                  </a:lnTo>
                  <a:lnTo>
                    <a:pt x="279" y="449"/>
                  </a:lnTo>
                  <a:lnTo>
                    <a:pt x="276" y="451"/>
                  </a:lnTo>
                  <a:lnTo>
                    <a:pt x="272" y="446"/>
                  </a:lnTo>
                  <a:lnTo>
                    <a:pt x="276" y="444"/>
                  </a:lnTo>
                  <a:lnTo>
                    <a:pt x="272" y="443"/>
                  </a:lnTo>
                  <a:lnTo>
                    <a:pt x="269" y="444"/>
                  </a:lnTo>
                  <a:lnTo>
                    <a:pt x="266" y="446"/>
                  </a:lnTo>
                  <a:lnTo>
                    <a:pt x="261" y="448"/>
                  </a:lnTo>
                  <a:lnTo>
                    <a:pt x="258" y="448"/>
                  </a:lnTo>
                  <a:lnTo>
                    <a:pt x="253" y="451"/>
                  </a:lnTo>
                  <a:lnTo>
                    <a:pt x="250" y="449"/>
                  </a:lnTo>
                  <a:lnTo>
                    <a:pt x="247" y="451"/>
                  </a:lnTo>
                  <a:lnTo>
                    <a:pt x="239" y="452"/>
                  </a:lnTo>
                  <a:lnTo>
                    <a:pt x="236" y="452"/>
                  </a:lnTo>
                  <a:lnTo>
                    <a:pt x="233" y="455"/>
                  </a:lnTo>
                  <a:lnTo>
                    <a:pt x="230" y="457"/>
                  </a:lnTo>
                  <a:lnTo>
                    <a:pt x="225" y="459"/>
                  </a:lnTo>
                  <a:lnTo>
                    <a:pt x="222" y="459"/>
                  </a:lnTo>
                  <a:lnTo>
                    <a:pt x="218" y="460"/>
                  </a:lnTo>
                  <a:lnTo>
                    <a:pt x="215" y="462"/>
                  </a:lnTo>
                  <a:lnTo>
                    <a:pt x="211" y="459"/>
                  </a:lnTo>
                  <a:lnTo>
                    <a:pt x="207" y="459"/>
                  </a:lnTo>
                  <a:lnTo>
                    <a:pt x="211" y="457"/>
                  </a:lnTo>
                  <a:lnTo>
                    <a:pt x="215" y="457"/>
                  </a:lnTo>
                  <a:lnTo>
                    <a:pt x="218" y="455"/>
                  </a:lnTo>
                  <a:lnTo>
                    <a:pt x="222" y="454"/>
                  </a:lnTo>
                  <a:lnTo>
                    <a:pt x="225" y="452"/>
                  </a:lnTo>
                  <a:lnTo>
                    <a:pt x="226" y="449"/>
                  </a:lnTo>
                  <a:lnTo>
                    <a:pt x="230" y="446"/>
                  </a:lnTo>
                  <a:lnTo>
                    <a:pt x="233" y="443"/>
                  </a:lnTo>
                  <a:lnTo>
                    <a:pt x="236" y="443"/>
                  </a:lnTo>
                  <a:lnTo>
                    <a:pt x="239" y="443"/>
                  </a:lnTo>
                  <a:lnTo>
                    <a:pt x="244" y="441"/>
                  </a:lnTo>
                  <a:lnTo>
                    <a:pt x="239" y="441"/>
                  </a:lnTo>
                  <a:lnTo>
                    <a:pt x="236" y="441"/>
                  </a:lnTo>
                  <a:lnTo>
                    <a:pt x="233" y="441"/>
                  </a:lnTo>
                  <a:lnTo>
                    <a:pt x="234" y="438"/>
                  </a:lnTo>
                  <a:lnTo>
                    <a:pt x="236" y="435"/>
                  </a:lnTo>
                  <a:lnTo>
                    <a:pt x="239" y="435"/>
                  </a:lnTo>
                  <a:lnTo>
                    <a:pt x="244" y="432"/>
                  </a:lnTo>
                  <a:lnTo>
                    <a:pt x="250" y="428"/>
                  </a:lnTo>
                  <a:lnTo>
                    <a:pt x="253" y="427"/>
                  </a:lnTo>
                  <a:lnTo>
                    <a:pt x="258" y="427"/>
                  </a:lnTo>
                  <a:lnTo>
                    <a:pt x="258" y="422"/>
                  </a:lnTo>
                  <a:lnTo>
                    <a:pt x="261" y="419"/>
                  </a:lnTo>
                  <a:lnTo>
                    <a:pt x="263" y="416"/>
                  </a:lnTo>
                  <a:lnTo>
                    <a:pt x="264" y="413"/>
                  </a:lnTo>
                  <a:lnTo>
                    <a:pt x="268" y="409"/>
                  </a:lnTo>
                  <a:lnTo>
                    <a:pt x="268" y="408"/>
                  </a:lnTo>
                  <a:lnTo>
                    <a:pt x="271" y="403"/>
                  </a:lnTo>
                  <a:lnTo>
                    <a:pt x="277" y="400"/>
                  </a:lnTo>
                  <a:lnTo>
                    <a:pt x="274" y="400"/>
                  </a:lnTo>
                  <a:lnTo>
                    <a:pt x="271" y="402"/>
                  </a:lnTo>
                  <a:lnTo>
                    <a:pt x="279" y="394"/>
                  </a:lnTo>
                  <a:lnTo>
                    <a:pt x="288" y="389"/>
                  </a:lnTo>
                  <a:lnTo>
                    <a:pt x="298" y="384"/>
                  </a:lnTo>
                  <a:lnTo>
                    <a:pt x="309" y="381"/>
                  </a:lnTo>
                  <a:lnTo>
                    <a:pt x="306" y="381"/>
                  </a:lnTo>
                  <a:lnTo>
                    <a:pt x="303" y="382"/>
                  </a:lnTo>
                  <a:lnTo>
                    <a:pt x="303" y="379"/>
                  </a:lnTo>
                  <a:lnTo>
                    <a:pt x="299" y="384"/>
                  </a:lnTo>
                  <a:lnTo>
                    <a:pt x="295" y="384"/>
                  </a:lnTo>
                  <a:lnTo>
                    <a:pt x="291" y="386"/>
                  </a:lnTo>
                  <a:lnTo>
                    <a:pt x="284" y="390"/>
                  </a:lnTo>
                  <a:lnTo>
                    <a:pt x="276" y="394"/>
                  </a:lnTo>
                  <a:lnTo>
                    <a:pt x="266" y="398"/>
                  </a:lnTo>
                  <a:lnTo>
                    <a:pt x="268" y="402"/>
                  </a:lnTo>
                  <a:lnTo>
                    <a:pt x="264" y="403"/>
                  </a:lnTo>
                  <a:lnTo>
                    <a:pt x="261" y="406"/>
                  </a:lnTo>
                  <a:lnTo>
                    <a:pt x="258" y="408"/>
                  </a:lnTo>
                  <a:lnTo>
                    <a:pt x="253" y="408"/>
                  </a:lnTo>
                  <a:lnTo>
                    <a:pt x="252" y="408"/>
                  </a:lnTo>
                  <a:lnTo>
                    <a:pt x="247" y="409"/>
                  </a:lnTo>
                  <a:lnTo>
                    <a:pt x="244" y="409"/>
                  </a:lnTo>
                  <a:lnTo>
                    <a:pt x="239" y="411"/>
                  </a:lnTo>
                  <a:lnTo>
                    <a:pt x="236" y="413"/>
                  </a:lnTo>
                  <a:lnTo>
                    <a:pt x="228" y="413"/>
                  </a:lnTo>
                  <a:lnTo>
                    <a:pt x="220" y="414"/>
                  </a:lnTo>
                  <a:lnTo>
                    <a:pt x="212" y="414"/>
                  </a:lnTo>
                  <a:lnTo>
                    <a:pt x="204" y="414"/>
                  </a:lnTo>
                  <a:lnTo>
                    <a:pt x="206" y="409"/>
                  </a:lnTo>
                  <a:lnTo>
                    <a:pt x="209" y="408"/>
                  </a:lnTo>
                  <a:lnTo>
                    <a:pt x="212" y="408"/>
                  </a:lnTo>
                  <a:lnTo>
                    <a:pt x="207" y="405"/>
                  </a:lnTo>
                  <a:lnTo>
                    <a:pt x="207" y="402"/>
                  </a:lnTo>
                  <a:lnTo>
                    <a:pt x="209" y="400"/>
                  </a:lnTo>
                  <a:lnTo>
                    <a:pt x="209" y="397"/>
                  </a:lnTo>
                  <a:lnTo>
                    <a:pt x="212" y="395"/>
                  </a:lnTo>
                  <a:lnTo>
                    <a:pt x="207" y="397"/>
                  </a:lnTo>
                  <a:lnTo>
                    <a:pt x="207" y="397"/>
                  </a:lnTo>
                  <a:lnTo>
                    <a:pt x="203" y="395"/>
                  </a:lnTo>
                  <a:lnTo>
                    <a:pt x="203" y="392"/>
                  </a:lnTo>
                  <a:lnTo>
                    <a:pt x="206" y="390"/>
                  </a:lnTo>
                  <a:lnTo>
                    <a:pt x="209" y="389"/>
                  </a:lnTo>
                  <a:lnTo>
                    <a:pt x="206" y="389"/>
                  </a:lnTo>
                  <a:lnTo>
                    <a:pt x="203" y="389"/>
                  </a:lnTo>
                  <a:lnTo>
                    <a:pt x="206" y="386"/>
                  </a:lnTo>
                  <a:lnTo>
                    <a:pt x="209" y="384"/>
                  </a:lnTo>
                  <a:lnTo>
                    <a:pt x="214" y="382"/>
                  </a:lnTo>
                  <a:lnTo>
                    <a:pt x="217" y="381"/>
                  </a:lnTo>
                  <a:lnTo>
                    <a:pt x="220" y="381"/>
                  </a:lnTo>
                  <a:lnTo>
                    <a:pt x="223" y="378"/>
                  </a:lnTo>
                  <a:lnTo>
                    <a:pt x="228" y="376"/>
                  </a:lnTo>
                  <a:lnTo>
                    <a:pt x="231" y="373"/>
                  </a:lnTo>
                  <a:lnTo>
                    <a:pt x="234" y="375"/>
                  </a:lnTo>
                  <a:lnTo>
                    <a:pt x="238" y="373"/>
                  </a:lnTo>
                  <a:lnTo>
                    <a:pt x="236" y="376"/>
                  </a:lnTo>
                  <a:lnTo>
                    <a:pt x="239" y="376"/>
                  </a:lnTo>
                  <a:lnTo>
                    <a:pt x="242" y="378"/>
                  </a:lnTo>
                  <a:lnTo>
                    <a:pt x="242" y="381"/>
                  </a:lnTo>
                  <a:lnTo>
                    <a:pt x="238" y="382"/>
                  </a:lnTo>
                  <a:lnTo>
                    <a:pt x="234" y="384"/>
                  </a:lnTo>
                  <a:lnTo>
                    <a:pt x="231" y="386"/>
                  </a:lnTo>
                  <a:lnTo>
                    <a:pt x="230" y="386"/>
                  </a:lnTo>
                  <a:lnTo>
                    <a:pt x="233" y="386"/>
                  </a:lnTo>
                  <a:lnTo>
                    <a:pt x="236" y="384"/>
                  </a:lnTo>
                  <a:lnTo>
                    <a:pt x="239" y="382"/>
                  </a:lnTo>
                  <a:lnTo>
                    <a:pt x="244" y="382"/>
                  </a:lnTo>
                  <a:lnTo>
                    <a:pt x="247" y="381"/>
                  </a:lnTo>
                  <a:lnTo>
                    <a:pt x="250" y="379"/>
                  </a:lnTo>
                  <a:lnTo>
                    <a:pt x="253" y="378"/>
                  </a:lnTo>
                  <a:lnTo>
                    <a:pt x="252" y="382"/>
                  </a:lnTo>
                  <a:lnTo>
                    <a:pt x="249" y="386"/>
                  </a:lnTo>
                  <a:lnTo>
                    <a:pt x="252" y="386"/>
                  </a:lnTo>
                  <a:lnTo>
                    <a:pt x="255" y="384"/>
                  </a:lnTo>
                  <a:lnTo>
                    <a:pt x="258" y="384"/>
                  </a:lnTo>
                  <a:lnTo>
                    <a:pt x="263" y="382"/>
                  </a:lnTo>
                  <a:lnTo>
                    <a:pt x="266" y="379"/>
                  </a:lnTo>
                  <a:lnTo>
                    <a:pt x="264" y="376"/>
                  </a:lnTo>
                  <a:lnTo>
                    <a:pt x="260" y="376"/>
                  </a:lnTo>
                  <a:lnTo>
                    <a:pt x="263" y="375"/>
                  </a:lnTo>
                  <a:lnTo>
                    <a:pt x="268" y="375"/>
                  </a:lnTo>
                  <a:lnTo>
                    <a:pt x="271" y="373"/>
                  </a:lnTo>
                  <a:lnTo>
                    <a:pt x="268" y="373"/>
                  </a:lnTo>
                  <a:lnTo>
                    <a:pt x="271" y="371"/>
                  </a:lnTo>
                  <a:lnTo>
                    <a:pt x="268" y="371"/>
                  </a:lnTo>
                  <a:lnTo>
                    <a:pt x="263" y="373"/>
                  </a:lnTo>
                  <a:lnTo>
                    <a:pt x="260" y="375"/>
                  </a:lnTo>
                  <a:lnTo>
                    <a:pt x="257" y="376"/>
                  </a:lnTo>
                  <a:lnTo>
                    <a:pt x="253" y="375"/>
                  </a:lnTo>
                  <a:lnTo>
                    <a:pt x="242" y="375"/>
                  </a:lnTo>
                  <a:lnTo>
                    <a:pt x="239" y="373"/>
                  </a:lnTo>
                  <a:lnTo>
                    <a:pt x="236" y="373"/>
                  </a:lnTo>
                  <a:lnTo>
                    <a:pt x="233" y="371"/>
                  </a:lnTo>
                  <a:lnTo>
                    <a:pt x="228" y="373"/>
                  </a:lnTo>
                  <a:lnTo>
                    <a:pt x="230" y="370"/>
                  </a:lnTo>
                  <a:lnTo>
                    <a:pt x="233" y="370"/>
                  </a:lnTo>
                  <a:lnTo>
                    <a:pt x="238" y="368"/>
                  </a:lnTo>
                  <a:lnTo>
                    <a:pt x="241" y="367"/>
                  </a:lnTo>
                  <a:lnTo>
                    <a:pt x="244" y="367"/>
                  </a:lnTo>
                  <a:lnTo>
                    <a:pt x="241" y="365"/>
                  </a:lnTo>
                  <a:lnTo>
                    <a:pt x="238" y="368"/>
                  </a:lnTo>
                  <a:lnTo>
                    <a:pt x="239" y="363"/>
                  </a:lnTo>
                  <a:lnTo>
                    <a:pt x="242" y="362"/>
                  </a:lnTo>
                  <a:lnTo>
                    <a:pt x="239" y="363"/>
                  </a:lnTo>
                  <a:lnTo>
                    <a:pt x="234" y="363"/>
                  </a:lnTo>
                  <a:lnTo>
                    <a:pt x="238" y="360"/>
                  </a:lnTo>
                  <a:lnTo>
                    <a:pt x="241" y="360"/>
                  </a:lnTo>
                  <a:lnTo>
                    <a:pt x="244" y="357"/>
                  </a:lnTo>
                  <a:lnTo>
                    <a:pt x="245" y="357"/>
                  </a:lnTo>
                  <a:lnTo>
                    <a:pt x="242" y="357"/>
                  </a:lnTo>
                  <a:lnTo>
                    <a:pt x="239" y="360"/>
                  </a:lnTo>
                  <a:lnTo>
                    <a:pt x="234" y="362"/>
                  </a:lnTo>
                  <a:lnTo>
                    <a:pt x="231" y="365"/>
                  </a:lnTo>
                  <a:lnTo>
                    <a:pt x="228" y="367"/>
                  </a:lnTo>
                  <a:lnTo>
                    <a:pt x="223" y="367"/>
                  </a:lnTo>
                  <a:lnTo>
                    <a:pt x="225" y="363"/>
                  </a:lnTo>
                  <a:lnTo>
                    <a:pt x="228" y="360"/>
                  </a:lnTo>
                  <a:lnTo>
                    <a:pt x="225" y="357"/>
                  </a:lnTo>
                  <a:lnTo>
                    <a:pt x="230" y="354"/>
                  </a:lnTo>
                  <a:lnTo>
                    <a:pt x="233" y="354"/>
                  </a:lnTo>
                  <a:lnTo>
                    <a:pt x="236" y="352"/>
                  </a:lnTo>
                  <a:lnTo>
                    <a:pt x="233" y="349"/>
                  </a:lnTo>
                  <a:lnTo>
                    <a:pt x="230" y="351"/>
                  </a:lnTo>
                  <a:lnTo>
                    <a:pt x="231" y="346"/>
                  </a:lnTo>
                  <a:lnTo>
                    <a:pt x="234" y="344"/>
                  </a:lnTo>
                  <a:lnTo>
                    <a:pt x="238" y="346"/>
                  </a:lnTo>
                  <a:lnTo>
                    <a:pt x="242" y="344"/>
                  </a:lnTo>
                  <a:lnTo>
                    <a:pt x="245" y="344"/>
                  </a:lnTo>
                  <a:lnTo>
                    <a:pt x="242" y="344"/>
                  </a:lnTo>
                  <a:lnTo>
                    <a:pt x="242" y="340"/>
                  </a:lnTo>
                  <a:lnTo>
                    <a:pt x="245" y="340"/>
                  </a:lnTo>
                  <a:lnTo>
                    <a:pt x="252" y="340"/>
                  </a:lnTo>
                  <a:lnTo>
                    <a:pt x="257" y="338"/>
                  </a:lnTo>
                  <a:lnTo>
                    <a:pt x="260" y="335"/>
                  </a:lnTo>
                  <a:lnTo>
                    <a:pt x="268" y="329"/>
                  </a:lnTo>
                  <a:lnTo>
                    <a:pt x="277" y="325"/>
                  </a:lnTo>
                  <a:lnTo>
                    <a:pt x="295" y="317"/>
                  </a:lnTo>
                  <a:lnTo>
                    <a:pt x="312" y="313"/>
                  </a:lnTo>
                  <a:lnTo>
                    <a:pt x="312" y="316"/>
                  </a:lnTo>
                  <a:lnTo>
                    <a:pt x="309" y="319"/>
                  </a:lnTo>
                  <a:lnTo>
                    <a:pt x="315" y="317"/>
                  </a:lnTo>
                  <a:lnTo>
                    <a:pt x="317" y="316"/>
                  </a:lnTo>
                  <a:lnTo>
                    <a:pt x="314" y="314"/>
                  </a:lnTo>
                  <a:lnTo>
                    <a:pt x="317" y="311"/>
                  </a:lnTo>
                  <a:lnTo>
                    <a:pt x="320" y="311"/>
                  </a:lnTo>
                  <a:lnTo>
                    <a:pt x="323" y="310"/>
                  </a:lnTo>
                  <a:lnTo>
                    <a:pt x="326" y="308"/>
                  </a:lnTo>
                  <a:lnTo>
                    <a:pt x="331" y="306"/>
                  </a:lnTo>
                  <a:lnTo>
                    <a:pt x="334" y="305"/>
                  </a:lnTo>
                  <a:lnTo>
                    <a:pt x="333" y="305"/>
                  </a:lnTo>
                  <a:lnTo>
                    <a:pt x="330" y="306"/>
                  </a:lnTo>
                  <a:lnTo>
                    <a:pt x="322" y="310"/>
                  </a:lnTo>
                  <a:lnTo>
                    <a:pt x="318" y="311"/>
                  </a:lnTo>
                  <a:lnTo>
                    <a:pt x="322" y="306"/>
                  </a:lnTo>
                  <a:lnTo>
                    <a:pt x="326" y="303"/>
                  </a:lnTo>
                  <a:lnTo>
                    <a:pt x="328" y="305"/>
                  </a:lnTo>
                  <a:lnTo>
                    <a:pt x="331" y="300"/>
                  </a:lnTo>
                  <a:lnTo>
                    <a:pt x="334" y="298"/>
                  </a:lnTo>
                  <a:lnTo>
                    <a:pt x="337" y="297"/>
                  </a:lnTo>
                  <a:lnTo>
                    <a:pt x="342" y="295"/>
                  </a:lnTo>
                  <a:lnTo>
                    <a:pt x="345" y="295"/>
                  </a:lnTo>
                  <a:lnTo>
                    <a:pt x="349" y="295"/>
                  </a:lnTo>
                  <a:lnTo>
                    <a:pt x="352" y="295"/>
                  </a:lnTo>
                  <a:lnTo>
                    <a:pt x="350" y="292"/>
                  </a:lnTo>
                  <a:lnTo>
                    <a:pt x="356" y="289"/>
                  </a:lnTo>
                  <a:lnTo>
                    <a:pt x="363" y="287"/>
                  </a:lnTo>
                  <a:lnTo>
                    <a:pt x="371" y="287"/>
                  </a:lnTo>
                  <a:lnTo>
                    <a:pt x="377" y="289"/>
                  </a:lnTo>
                  <a:lnTo>
                    <a:pt x="377" y="292"/>
                  </a:lnTo>
                  <a:lnTo>
                    <a:pt x="372" y="294"/>
                  </a:lnTo>
                  <a:lnTo>
                    <a:pt x="369" y="295"/>
                  </a:lnTo>
                  <a:lnTo>
                    <a:pt x="366" y="295"/>
                  </a:lnTo>
                  <a:lnTo>
                    <a:pt x="364" y="297"/>
                  </a:lnTo>
                  <a:lnTo>
                    <a:pt x="368" y="295"/>
                  </a:lnTo>
                  <a:lnTo>
                    <a:pt x="372" y="295"/>
                  </a:lnTo>
                  <a:lnTo>
                    <a:pt x="376" y="294"/>
                  </a:lnTo>
                  <a:lnTo>
                    <a:pt x="379" y="292"/>
                  </a:lnTo>
                  <a:lnTo>
                    <a:pt x="382" y="295"/>
                  </a:lnTo>
                  <a:lnTo>
                    <a:pt x="391" y="294"/>
                  </a:lnTo>
                  <a:lnTo>
                    <a:pt x="401" y="291"/>
                  </a:lnTo>
                  <a:lnTo>
                    <a:pt x="409" y="287"/>
                  </a:lnTo>
                  <a:lnTo>
                    <a:pt x="418" y="284"/>
                  </a:lnTo>
                  <a:lnTo>
                    <a:pt x="428" y="279"/>
                  </a:lnTo>
                  <a:lnTo>
                    <a:pt x="436" y="276"/>
                  </a:lnTo>
                  <a:lnTo>
                    <a:pt x="433" y="279"/>
                  </a:lnTo>
                  <a:lnTo>
                    <a:pt x="436" y="279"/>
                  </a:lnTo>
                  <a:lnTo>
                    <a:pt x="441" y="279"/>
                  </a:lnTo>
                  <a:lnTo>
                    <a:pt x="444" y="279"/>
                  </a:lnTo>
                  <a:lnTo>
                    <a:pt x="447" y="279"/>
                  </a:lnTo>
                  <a:lnTo>
                    <a:pt x="450" y="279"/>
                  </a:lnTo>
                  <a:lnTo>
                    <a:pt x="461" y="278"/>
                  </a:lnTo>
                  <a:lnTo>
                    <a:pt x="472" y="275"/>
                  </a:lnTo>
                  <a:lnTo>
                    <a:pt x="475" y="273"/>
                  </a:lnTo>
                  <a:lnTo>
                    <a:pt x="479" y="271"/>
                  </a:lnTo>
                  <a:lnTo>
                    <a:pt x="483" y="270"/>
                  </a:lnTo>
                  <a:lnTo>
                    <a:pt x="487" y="268"/>
                  </a:lnTo>
                  <a:lnTo>
                    <a:pt x="490" y="267"/>
                  </a:lnTo>
                  <a:lnTo>
                    <a:pt x="493" y="264"/>
                  </a:lnTo>
                  <a:lnTo>
                    <a:pt x="496" y="259"/>
                  </a:lnTo>
                  <a:lnTo>
                    <a:pt x="499" y="256"/>
                  </a:lnTo>
                  <a:lnTo>
                    <a:pt x="502" y="252"/>
                  </a:lnTo>
                  <a:lnTo>
                    <a:pt x="506" y="249"/>
                  </a:lnTo>
                  <a:lnTo>
                    <a:pt x="506" y="246"/>
                  </a:lnTo>
                  <a:lnTo>
                    <a:pt x="502" y="245"/>
                  </a:lnTo>
                  <a:lnTo>
                    <a:pt x="499" y="245"/>
                  </a:lnTo>
                  <a:lnTo>
                    <a:pt x="502" y="243"/>
                  </a:lnTo>
                  <a:lnTo>
                    <a:pt x="506" y="241"/>
                  </a:lnTo>
                  <a:lnTo>
                    <a:pt x="509" y="240"/>
                  </a:lnTo>
                  <a:lnTo>
                    <a:pt x="512" y="241"/>
                  </a:lnTo>
                  <a:lnTo>
                    <a:pt x="515" y="241"/>
                  </a:lnTo>
                  <a:lnTo>
                    <a:pt x="520" y="240"/>
                  </a:lnTo>
                  <a:lnTo>
                    <a:pt x="523" y="240"/>
                  </a:lnTo>
                  <a:lnTo>
                    <a:pt x="526" y="238"/>
                  </a:lnTo>
                  <a:lnTo>
                    <a:pt x="529" y="237"/>
                  </a:lnTo>
                  <a:lnTo>
                    <a:pt x="534" y="233"/>
                  </a:lnTo>
                  <a:lnTo>
                    <a:pt x="536" y="230"/>
                  </a:lnTo>
                  <a:lnTo>
                    <a:pt x="534" y="227"/>
                  </a:lnTo>
                  <a:lnTo>
                    <a:pt x="537" y="227"/>
                  </a:lnTo>
                  <a:lnTo>
                    <a:pt x="539" y="225"/>
                  </a:lnTo>
                  <a:lnTo>
                    <a:pt x="529" y="227"/>
                  </a:lnTo>
                  <a:lnTo>
                    <a:pt x="521" y="232"/>
                  </a:lnTo>
                  <a:lnTo>
                    <a:pt x="518" y="232"/>
                  </a:lnTo>
                  <a:lnTo>
                    <a:pt x="513" y="233"/>
                  </a:lnTo>
                  <a:lnTo>
                    <a:pt x="510" y="232"/>
                  </a:lnTo>
                  <a:lnTo>
                    <a:pt x="507" y="232"/>
                  </a:lnTo>
                  <a:lnTo>
                    <a:pt x="504" y="233"/>
                  </a:lnTo>
                  <a:lnTo>
                    <a:pt x="507" y="232"/>
                  </a:lnTo>
                  <a:lnTo>
                    <a:pt x="502" y="233"/>
                  </a:lnTo>
                  <a:lnTo>
                    <a:pt x="496" y="235"/>
                  </a:lnTo>
                  <a:lnTo>
                    <a:pt x="493" y="235"/>
                  </a:lnTo>
                  <a:lnTo>
                    <a:pt x="490" y="237"/>
                  </a:lnTo>
                  <a:lnTo>
                    <a:pt x="485" y="238"/>
                  </a:lnTo>
                  <a:lnTo>
                    <a:pt x="472" y="241"/>
                  </a:lnTo>
                  <a:lnTo>
                    <a:pt x="461" y="248"/>
                  </a:lnTo>
                  <a:lnTo>
                    <a:pt x="463" y="245"/>
                  </a:lnTo>
                  <a:lnTo>
                    <a:pt x="466" y="240"/>
                  </a:lnTo>
                  <a:lnTo>
                    <a:pt x="464" y="237"/>
                  </a:lnTo>
                  <a:lnTo>
                    <a:pt x="461" y="237"/>
                  </a:lnTo>
                  <a:lnTo>
                    <a:pt x="458" y="238"/>
                  </a:lnTo>
                  <a:lnTo>
                    <a:pt x="461" y="241"/>
                  </a:lnTo>
                  <a:lnTo>
                    <a:pt x="458" y="243"/>
                  </a:lnTo>
                  <a:lnTo>
                    <a:pt x="453" y="245"/>
                  </a:lnTo>
                  <a:lnTo>
                    <a:pt x="452" y="241"/>
                  </a:lnTo>
                  <a:lnTo>
                    <a:pt x="448" y="240"/>
                  </a:lnTo>
                  <a:lnTo>
                    <a:pt x="445" y="238"/>
                  </a:lnTo>
                  <a:lnTo>
                    <a:pt x="441" y="238"/>
                  </a:lnTo>
                  <a:lnTo>
                    <a:pt x="437" y="240"/>
                  </a:lnTo>
                  <a:lnTo>
                    <a:pt x="426" y="240"/>
                  </a:lnTo>
                  <a:lnTo>
                    <a:pt x="417" y="241"/>
                  </a:lnTo>
                  <a:lnTo>
                    <a:pt x="412" y="241"/>
                  </a:lnTo>
                  <a:lnTo>
                    <a:pt x="409" y="241"/>
                  </a:lnTo>
                  <a:lnTo>
                    <a:pt x="406" y="243"/>
                  </a:lnTo>
                  <a:lnTo>
                    <a:pt x="402" y="243"/>
                  </a:lnTo>
                  <a:lnTo>
                    <a:pt x="398" y="241"/>
                  </a:lnTo>
                  <a:lnTo>
                    <a:pt x="388" y="240"/>
                  </a:lnTo>
                  <a:lnTo>
                    <a:pt x="377" y="238"/>
                  </a:lnTo>
                  <a:lnTo>
                    <a:pt x="377" y="235"/>
                  </a:lnTo>
                  <a:lnTo>
                    <a:pt x="380" y="232"/>
                  </a:lnTo>
                  <a:lnTo>
                    <a:pt x="383" y="230"/>
                  </a:lnTo>
                  <a:lnTo>
                    <a:pt x="387" y="229"/>
                  </a:lnTo>
                  <a:lnTo>
                    <a:pt x="387" y="227"/>
                  </a:lnTo>
                  <a:lnTo>
                    <a:pt x="385" y="224"/>
                  </a:lnTo>
                  <a:lnTo>
                    <a:pt x="387" y="221"/>
                  </a:lnTo>
                  <a:lnTo>
                    <a:pt x="388" y="216"/>
                  </a:lnTo>
                  <a:lnTo>
                    <a:pt x="391" y="214"/>
                  </a:lnTo>
                  <a:lnTo>
                    <a:pt x="396" y="213"/>
                  </a:lnTo>
                  <a:lnTo>
                    <a:pt x="391" y="216"/>
                  </a:lnTo>
                  <a:lnTo>
                    <a:pt x="388" y="218"/>
                  </a:lnTo>
                  <a:lnTo>
                    <a:pt x="391" y="219"/>
                  </a:lnTo>
                  <a:lnTo>
                    <a:pt x="396" y="219"/>
                  </a:lnTo>
                  <a:lnTo>
                    <a:pt x="399" y="218"/>
                  </a:lnTo>
                  <a:lnTo>
                    <a:pt x="402" y="216"/>
                  </a:lnTo>
                  <a:lnTo>
                    <a:pt x="406" y="214"/>
                  </a:lnTo>
                  <a:lnTo>
                    <a:pt x="410" y="214"/>
                  </a:lnTo>
                  <a:lnTo>
                    <a:pt x="414" y="216"/>
                  </a:lnTo>
                  <a:lnTo>
                    <a:pt x="415" y="216"/>
                  </a:lnTo>
                  <a:lnTo>
                    <a:pt x="412" y="213"/>
                  </a:lnTo>
                  <a:lnTo>
                    <a:pt x="409" y="211"/>
                  </a:lnTo>
                  <a:lnTo>
                    <a:pt x="404" y="211"/>
                  </a:lnTo>
                  <a:lnTo>
                    <a:pt x="401" y="210"/>
                  </a:lnTo>
                  <a:lnTo>
                    <a:pt x="398" y="211"/>
                  </a:lnTo>
                  <a:lnTo>
                    <a:pt x="395" y="210"/>
                  </a:lnTo>
                  <a:lnTo>
                    <a:pt x="391" y="210"/>
                  </a:lnTo>
                  <a:lnTo>
                    <a:pt x="387" y="208"/>
                  </a:lnTo>
                  <a:lnTo>
                    <a:pt x="383" y="205"/>
                  </a:lnTo>
                  <a:lnTo>
                    <a:pt x="380" y="203"/>
                  </a:lnTo>
                  <a:lnTo>
                    <a:pt x="380" y="200"/>
                  </a:lnTo>
                  <a:lnTo>
                    <a:pt x="383" y="199"/>
                  </a:lnTo>
                  <a:lnTo>
                    <a:pt x="388" y="197"/>
                  </a:lnTo>
                  <a:lnTo>
                    <a:pt x="391" y="197"/>
                  </a:lnTo>
                  <a:lnTo>
                    <a:pt x="393" y="195"/>
                  </a:lnTo>
                  <a:lnTo>
                    <a:pt x="390" y="197"/>
                  </a:lnTo>
                  <a:lnTo>
                    <a:pt x="387" y="199"/>
                  </a:lnTo>
                  <a:lnTo>
                    <a:pt x="382" y="200"/>
                  </a:lnTo>
                  <a:lnTo>
                    <a:pt x="387" y="200"/>
                  </a:lnTo>
                  <a:lnTo>
                    <a:pt x="390" y="199"/>
                  </a:lnTo>
                  <a:lnTo>
                    <a:pt x="393" y="199"/>
                  </a:lnTo>
                  <a:lnTo>
                    <a:pt x="401" y="197"/>
                  </a:lnTo>
                  <a:lnTo>
                    <a:pt x="404" y="194"/>
                  </a:lnTo>
                  <a:lnTo>
                    <a:pt x="407" y="194"/>
                  </a:lnTo>
                  <a:lnTo>
                    <a:pt x="412" y="192"/>
                  </a:lnTo>
                  <a:lnTo>
                    <a:pt x="415" y="191"/>
                  </a:lnTo>
                  <a:lnTo>
                    <a:pt x="418" y="192"/>
                  </a:lnTo>
                  <a:lnTo>
                    <a:pt x="423" y="192"/>
                  </a:lnTo>
                  <a:lnTo>
                    <a:pt x="426" y="191"/>
                  </a:lnTo>
                  <a:lnTo>
                    <a:pt x="429" y="189"/>
                  </a:lnTo>
                  <a:lnTo>
                    <a:pt x="441" y="186"/>
                  </a:lnTo>
                  <a:lnTo>
                    <a:pt x="452" y="183"/>
                  </a:lnTo>
                  <a:lnTo>
                    <a:pt x="455" y="183"/>
                  </a:lnTo>
                  <a:lnTo>
                    <a:pt x="458" y="181"/>
                  </a:lnTo>
                  <a:lnTo>
                    <a:pt x="463" y="184"/>
                  </a:lnTo>
                  <a:lnTo>
                    <a:pt x="466" y="184"/>
                  </a:lnTo>
                  <a:lnTo>
                    <a:pt x="469" y="184"/>
                  </a:lnTo>
                  <a:lnTo>
                    <a:pt x="472" y="183"/>
                  </a:lnTo>
                  <a:lnTo>
                    <a:pt x="477" y="183"/>
                  </a:lnTo>
                  <a:lnTo>
                    <a:pt x="472" y="180"/>
                  </a:lnTo>
                  <a:lnTo>
                    <a:pt x="477" y="176"/>
                  </a:lnTo>
                  <a:lnTo>
                    <a:pt x="480" y="176"/>
                  </a:lnTo>
                  <a:lnTo>
                    <a:pt x="483" y="175"/>
                  </a:lnTo>
                  <a:lnTo>
                    <a:pt x="487" y="175"/>
                  </a:lnTo>
                  <a:lnTo>
                    <a:pt x="491" y="173"/>
                  </a:lnTo>
                  <a:lnTo>
                    <a:pt x="494" y="173"/>
                  </a:lnTo>
                  <a:lnTo>
                    <a:pt x="498" y="173"/>
                  </a:lnTo>
                  <a:lnTo>
                    <a:pt x="502" y="172"/>
                  </a:lnTo>
                  <a:lnTo>
                    <a:pt x="506" y="173"/>
                  </a:lnTo>
                  <a:lnTo>
                    <a:pt x="507" y="172"/>
                  </a:lnTo>
                  <a:lnTo>
                    <a:pt x="517" y="168"/>
                  </a:lnTo>
                  <a:lnTo>
                    <a:pt x="528" y="167"/>
                  </a:lnTo>
                  <a:lnTo>
                    <a:pt x="537" y="167"/>
                  </a:lnTo>
                  <a:lnTo>
                    <a:pt x="547" y="167"/>
                  </a:lnTo>
                  <a:lnTo>
                    <a:pt x="544" y="167"/>
                  </a:lnTo>
                  <a:lnTo>
                    <a:pt x="542" y="170"/>
                  </a:lnTo>
                  <a:lnTo>
                    <a:pt x="537" y="172"/>
                  </a:lnTo>
                  <a:lnTo>
                    <a:pt x="534" y="173"/>
                  </a:lnTo>
                  <a:lnTo>
                    <a:pt x="528" y="178"/>
                  </a:lnTo>
                  <a:lnTo>
                    <a:pt x="525" y="180"/>
                  </a:lnTo>
                  <a:lnTo>
                    <a:pt x="523" y="180"/>
                  </a:lnTo>
                  <a:lnTo>
                    <a:pt x="517" y="181"/>
                  </a:lnTo>
                  <a:lnTo>
                    <a:pt x="520" y="181"/>
                  </a:lnTo>
                  <a:lnTo>
                    <a:pt x="520" y="184"/>
                  </a:lnTo>
                  <a:lnTo>
                    <a:pt x="525" y="186"/>
                  </a:lnTo>
                  <a:lnTo>
                    <a:pt x="528" y="184"/>
                  </a:lnTo>
                  <a:lnTo>
                    <a:pt x="531" y="184"/>
                  </a:lnTo>
                  <a:lnTo>
                    <a:pt x="536" y="186"/>
                  </a:lnTo>
                  <a:lnTo>
                    <a:pt x="539" y="186"/>
                  </a:lnTo>
                  <a:lnTo>
                    <a:pt x="542" y="184"/>
                  </a:lnTo>
                  <a:lnTo>
                    <a:pt x="545" y="184"/>
                  </a:lnTo>
                  <a:lnTo>
                    <a:pt x="550" y="184"/>
                  </a:lnTo>
                  <a:lnTo>
                    <a:pt x="547" y="187"/>
                  </a:lnTo>
                  <a:lnTo>
                    <a:pt x="550" y="186"/>
                  </a:lnTo>
                  <a:lnTo>
                    <a:pt x="553" y="186"/>
                  </a:lnTo>
                  <a:lnTo>
                    <a:pt x="556" y="186"/>
                  </a:lnTo>
                  <a:lnTo>
                    <a:pt x="561" y="186"/>
                  </a:lnTo>
                  <a:lnTo>
                    <a:pt x="564" y="186"/>
                  </a:lnTo>
                  <a:lnTo>
                    <a:pt x="567" y="186"/>
                  </a:lnTo>
                  <a:lnTo>
                    <a:pt x="572" y="186"/>
                  </a:lnTo>
                  <a:lnTo>
                    <a:pt x="575" y="186"/>
                  </a:lnTo>
                  <a:lnTo>
                    <a:pt x="574" y="186"/>
                  </a:lnTo>
                  <a:lnTo>
                    <a:pt x="579" y="184"/>
                  </a:lnTo>
                  <a:lnTo>
                    <a:pt x="582" y="183"/>
                  </a:lnTo>
                  <a:lnTo>
                    <a:pt x="588" y="180"/>
                  </a:lnTo>
                  <a:lnTo>
                    <a:pt x="591" y="178"/>
                  </a:lnTo>
                  <a:lnTo>
                    <a:pt x="594" y="178"/>
                  </a:lnTo>
                  <a:lnTo>
                    <a:pt x="599" y="180"/>
                  </a:lnTo>
                  <a:lnTo>
                    <a:pt x="594" y="183"/>
                  </a:lnTo>
                  <a:lnTo>
                    <a:pt x="599" y="181"/>
                  </a:lnTo>
                  <a:lnTo>
                    <a:pt x="602" y="181"/>
                  </a:lnTo>
                  <a:lnTo>
                    <a:pt x="605" y="176"/>
                  </a:lnTo>
                  <a:lnTo>
                    <a:pt x="601" y="175"/>
                  </a:lnTo>
                  <a:lnTo>
                    <a:pt x="598" y="173"/>
                  </a:lnTo>
                  <a:lnTo>
                    <a:pt x="590" y="173"/>
                  </a:lnTo>
                  <a:lnTo>
                    <a:pt x="586" y="175"/>
                  </a:lnTo>
                  <a:lnTo>
                    <a:pt x="583" y="176"/>
                  </a:lnTo>
                  <a:lnTo>
                    <a:pt x="586" y="173"/>
                  </a:lnTo>
                  <a:lnTo>
                    <a:pt x="590" y="172"/>
                  </a:lnTo>
                  <a:lnTo>
                    <a:pt x="594" y="170"/>
                  </a:lnTo>
                  <a:lnTo>
                    <a:pt x="593" y="165"/>
                  </a:lnTo>
                  <a:lnTo>
                    <a:pt x="593" y="162"/>
                  </a:lnTo>
                  <a:lnTo>
                    <a:pt x="590" y="162"/>
                  </a:lnTo>
                  <a:lnTo>
                    <a:pt x="591" y="159"/>
                  </a:lnTo>
                  <a:lnTo>
                    <a:pt x="594" y="156"/>
                  </a:lnTo>
                  <a:lnTo>
                    <a:pt x="598" y="154"/>
                  </a:lnTo>
                  <a:lnTo>
                    <a:pt x="601" y="154"/>
                  </a:lnTo>
                  <a:lnTo>
                    <a:pt x="602" y="157"/>
                  </a:lnTo>
                  <a:lnTo>
                    <a:pt x="601" y="162"/>
                  </a:lnTo>
                  <a:lnTo>
                    <a:pt x="598" y="164"/>
                  </a:lnTo>
                  <a:lnTo>
                    <a:pt x="594" y="167"/>
                  </a:lnTo>
                  <a:lnTo>
                    <a:pt x="596" y="170"/>
                  </a:lnTo>
                  <a:lnTo>
                    <a:pt x="599" y="172"/>
                  </a:lnTo>
                  <a:lnTo>
                    <a:pt x="604" y="172"/>
                  </a:lnTo>
                  <a:lnTo>
                    <a:pt x="607" y="170"/>
                  </a:lnTo>
                  <a:lnTo>
                    <a:pt x="610" y="170"/>
                  </a:lnTo>
                  <a:lnTo>
                    <a:pt x="615" y="173"/>
                  </a:lnTo>
                  <a:lnTo>
                    <a:pt x="618" y="175"/>
                  </a:lnTo>
                  <a:lnTo>
                    <a:pt x="621" y="175"/>
                  </a:lnTo>
                  <a:lnTo>
                    <a:pt x="625" y="175"/>
                  </a:lnTo>
                  <a:lnTo>
                    <a:pt x="629" y="175"/>
                  </a:lnTo>
                  <a:lnTo>
                    <a:pt x="632" y="173"/>
                  </a:lnTo>
                  <a:lnTo>
                    <a:pt x="636" y="172"/>
                  </a:lnTo>
                  <a:lnTo>
                    <a:pt x="639" y="168"/>
                  </a:lnTo>
                  <a:lnTo>
                    <a:pt x="642" y="165"/>
                  </a:lnTo>
                  <a:lnTo>
                    <a:pt x="637" y="165"/>
                  </a:lnTo>
                  <a:lnTo>
                    <a:pt x="634" y="167"/>
                  </a:lnTo>
                  <a:lnTo>
                    <a:pt x="631" y="167"/>
                  </a:lnTo>
                  <a:lnTo>
                    <a:pt x="626" y="164"/>
                  </a:lnTo>
                  <a:lnTo>
                    <a:pt x="623" y="165"/>
                  </a:lnTo>
                  <a:lnTo>
                    <a:pt x="620" y="165"/>
                  </a:lnTo>
                  <a:lnTo>
                    <a:pt x="617" y="167"/>
                  </a:lnTo>
                  <a:lnTo>
                    <a:pt x="615" y="167"/>
                  </a:lnTo>
                  <a:lnTo>
                    <a:pt x="612" y="168"/>
                  </a:lnTo>
                  <a:lnTo>
                    <a:pt x="610" y="168"/>
                  </a:lnTo>
                  <a:lnTo>
                    <a:pt x="605" y="168"/>
                  </a:lnTo>
                  <a:lnTo>
                    <a:pt x="604" y="168"/>
                  </a:lnTo>
                  <a:lnTo>
                    <a:pt x="604" y="165"/>
                  </a:lnTo>
                  <a:lnTo>
                    <a:pt x="604" y="164"/>
                  </a:lnTo>
                  <a:lnTo>
                    <a:pt x="609" y="159"/>
                  </a:lnTo>
                  <a:lnTo>
                    <a:pt x="612" y="157"/>
                  </a:lnTo>
                  <a:lnTo>
                    <a:pt x="617" y="156"/>
                  </a:lnTo>
                  <a:lnTo>
                    <a:pt x="620" y="154"/>
                  </a:lnTo>
                  <a:lnTo>
                    <a:pt x="620" y="154"/>
                  </a:lnTo>
                  <a:lnTo>
                    <a:pt x="625" y="154"/>
                  </a:lnTo>
                  <a:lnTo>
                    <a:pt x="621" y="151"/>
                  </a:lnTo>
                  <a:lnTo>
                    <a:pt x="615" y="151"/>
                  </a:lnTo>
                  <a:lnTo>
                    <a:pt x="610" y="153"/>
                  </a:lnTo>
                  <a:lnTo>
                    <a:pt x="610" y="149"/>
                  </a:lnTo>
                  <a:lnTo>
                    <a:pt x="607" y="153"/>
                  </a:lnTo>
                  <a:lnTo>
                    <a:pt x="604" y="153"/>
                  </a:lnTo>
                  <a:lnTo>
                    <a:pt x="607" y="151"/>
                  </a:lnTo>
                  <a:lnTo>
                    <a:pt x="610" y="148"/>
                  </a:lnTo>
                  <a:lnTo>
                    <a:pt x="613" y="146"/>
                  </a:lnTo>
                  <a:lnTo>
                    <a:pt x="612" y="146"/>
                  </a:lnTo>
                  <a:lnTo>
                    <a:pt x="607" y="149"/>
                  </a:lnTo>
                  <a:lnTo>
                    <a:pt x="605" y="151"/>
                  </a:lnTo>
                  <a:lnTo>
                    <a:pt x="602" y="151"/>
                  </a:lnTo>
                  <a:lnTo>
                    <a:pt x="598" y="153"/>
                  </a:lnTo>
                  <a:lnTo>
                    <a:pt x="598" y="151"/>
                  </a:lnTo>
                  <a:lnTo>
                    <a:pt x="588" y="151"/>
                  </a:lnTo>
                  <a:lnTo>
                    <a:pt x="577" y="149"/>
                  </a:lnTo>
                  <a:lnTo>
                    <a:pt x="577" y="146"/>
                  </a:lnTo>
                  <a:lnTo>
                    <a:pt x="580" y="143"/>
                  </a:lnTo>
                  <a:lnTo>
                    <a:pt x="585" y="140"/>
                  </a:lnTo>
                  <a:lnTo>
                    <a:pt x="590" y="134"/>
                  </a:lnTo>
                  <a:lnTo>
                    <a:pt x="588" y="129"/>
                  </a:lnTo>
                  <a:lnTo>
                    <a:pt x="585" y="126"/>
                  </a:lnTo>
                  <a:lnTo>
                    <a:pt x="583" y="124"/>
                  </a:lnTo>
                  <a:lnTo>
                    <a:pt x="582" y="121"/>
                  </a:lnTo>
                  <a:lnTo>
                    <a:pt x="580" y="118"/>
                  </a:lnTo>
                  <a:lnTo>
                    <a:pt x="577" y="114"/>
                  </a:lnTo>
                  <a:lnTo>
                    <a:pt x="574" y="114"/>
                  </a:lnTo>
                  <a:lnTo>
                    <a:pt x="569" y="113"/>
                  </a:lnTo>
                  <a:lnTo>
                    <a:pt x="569" y="110"/>
                  </a:lnTo>
                  <a:lnTo>
                    <a:pt x="566" y="107"/>
                  </a:lnTo>
                  <a:lnTo>
                    <a:pt x="563" y="105"/>
                  </a:lnTo>
                  <a:lnTo>
                    <a:pt x="559" y="105"/>
                  </a:lnTo>
                  <a:lnTo>
                    <a:pt x="567" y="103"/>
                  </a:lnTo>
                  <a:lnTo>
                    <a:pt x="575" y="102"/>
                  </a:lnTo>
                  <a:lnTo>
                    <a:pt x="583" y="97"/>
                  </a:lnTo>
                  <a:lnTo>
                    <a:pt x="591" y="92"/>
                  </a:lnTo>
                  <a:lnTo>
                    <a:pt x="594" y="91"/>
                  </a:lnTo>
                  <a:lnTo>
                    <a:pt x="598" y="88"/>
                  </a:lnTo>
                  <a:lnTo>
                    <a:pt x="602" y="86"/>
                  </a:lnTo>
                  <a:lnTo>
                    <a:pt x="605" y="88"/>
                  </a:lnTo>
                  <a:lnTo>
                    <a:pt x="609" y="88"/>
                  </a:lnTo>
                  <a:lnTo>
                    <a:pt x="620" y="88"/>
                  </a:lnTo>
                  <a:lnTo>
                    <a:pt x="631" y="86"/>
                  </a:lnTo>
                  <a:lnTo>
                    <a:pt x="651" y="84"/>
                  </a:lnTo>
                  <a:lnTo>
                    <a:pt x="670" y="81"/>
                  </a:lnTo>
                  <a:lnTo>
                    <a:pt x="690" y="76"/>
                  </a:lnTo>
                  <a:lnTo>
                    <a:pt x="709" y="69"/>
                  </a:lnTo>
                  <a:lnTo>
                    <a:pt x="705" y="70"/>
                  </a:lnTo>
                  <a:lnTo>
                    <a:pt x="702" y="72"/>
                  </a:lnTo>
                  <a:lnTo>
                    <a:pt x="713" y="67"/>
                  </a:lnTo>
                  <a:lnTo>
                    <a:pt x="724" y="61"/>
                  </a:lnTo>
                  <a:lnTo>
                    <a:pt x="728" y="59"/>
                  </a:lnTo>
                  <a:lnTo>
                    <a:pt x="731" y="57"/>
                  </a:lnTo>
                  <a:lnTo>
                    <a:pt x="734" y="56"/>
                  </a:lnTo>
                  <a:lnTo>
                    <a:pt x="739" y="54"/>
                  </a:lnTo>
                  <a:lnTo>
                    <a:pt x="742" y="53"/>
                  </a:lnTo>
                  <a:lnTo>
                    <a:pt x="745" y="53"/>
                  </a:lnTo>
                  <a:lnTo>
                    <a:pt x="767" y="45"/>
                  </a:lnTo>
                  <a:lnTo>
                    <a:pt x="789" y="37"/>
                  </a:lnTo>
                  <a:lnTo>
                    <a:pt x="786" y="40"/>
                  </a:lnTo>
                  <a:lnTo>
                    <a:pt x="788" y="40"/>
                  </a:lnTo>
                  <a:lnTo>
                    <a:pt x="783" y="42"/>
                  </a:lnTo>
                  <a:lnTo>
                    <a:pt x="793" y="40"/>
                  </a:lnTo>
                  <a:lnTo>
                    <a:pt x="802" y="40"/>
                  </a:lnTo>
                  <a:lnTo>
                    <a:pt x="805" y="38"/>
                  </a:lnTo>
                  <a:lnTo>
                    <a:pt x="808" y="38"/>
                  </a:lnTo>
                  <a:lnTo>
                    <a:pt x="813" y="38"/>
                  </a:lnTo>
                  <a:lnTo>
                    <a:pt x="816" y="37"/>
                  </a:lnTo>
                  <a:lnTo>
                    <a:pt x="820" y="35"/>
                  </a:lnTo>
                  <a:lnTo>
                    <a:pt x="829" y="34"/>
                  </a:lnTo>
                  <a:lnTo>
                    <a:pt x="837" y="30"/>
                  </a:lnTo>
                  <a:lnTo>
                    <a:pt x="842" y="30"/>
                  </a:lnTo>
                  <a:lnTo>
                    <a:pt x="845" y="29"/>
                  </a:lnTo>
                  <a:lnTo>
                    <a:pt x="848" y="27"/>
                  </a:lnTo>
                  <a:lnTo>
                    <a:pt x="853" y="29"/>
                  </a:lnTo>
                  <a:lnTo>
                    <a:pt x="853" y="27"/>
                  </a:lnTo>
                  <a:lnTo>
                    <a:pt x="850" y="30"/>
                  </a:lnTo>
                  <a:lnTo>
                    <a:pt x="850" y="30"/>
                  </a:lnTo>
                  <a:lnTo>
                    <a:pt x="847" y="32"/>
                  </a:lnTo>
                  <a:lnTo>
                    <a:pt x="842" y="32"/>
                  </a:lnTo>
                  <a:lnTo>
                    <a:pt x="847" y="32"/>
                  </a:lnTo>
                  <a:lnTo>
                    <a:pt x="847" y="32"/>
                  </a:lnTo>
                  <a:lnTo>
                    <a:pt x="845" y="34"/>
                  </a:lnTo>
                  <a:lnTo>
                    <a:pt x="837" y="37"/>
                  </a:lnTo>
                  <a:lnTo>
                    <a:pt x="840" y="35"/>
                  </a:lnTo>
                  <a:lnTo>
                    <a:pt x="839" y="40"/>
                  </a:lnTo>
                  <a:lnTo>
                    <a:pt x="848" y="34"/>
                  </a:lnTo>
                  <a:lnTo>
                    <a:pt x="853" y="32"/>
                  </a:lnTo>
                  <a:lnTo>
                    <a:pt x="858" y="32"/>
                  </a:lnTo>
                  <a:lnTo>
                    <a:pt x="867" y="30"/>
                  </a:lnTo>
                  <a:lnTo>
                    <a:pt x="861" y="30"/>
                  </a:lnTo>
                  <a:lnTo>
                    <a:pt x="858" y="30"/>
                  </a:lnTo>
                  <a:lnTo>
                    <a:pt x="858" y="27"/>
                  </a:lnTo>
                  <a:lnTo>
                    <a:pt x="856" y="27"/>
                  </a:lnTo>
                  <a:lnTo>
                    <a:pt x="851" y="27"/>
                  </a:lnTo>
                  <a:lnTo>
                    <a:pt x="869" y="23"/>
                  </a:lnTo>
                  <a:lnTo>
                    <a:pt x="886" y="19"/>
                  </a:lnTo>
                  <a:lnTo>
                    <a:pt x="883" y="21"/>
                  </a:lnTo>
                  <a:lnTo>
                    <a:pt x="878" y="21"/>
                  </a:lnTo>
                  <a:lnTo>
                    <a:pt x="883" y="23"/>
                  </a:lnTo>
                  <a:lnTo>
                    <a:pt x="886" y="23"/>
                  </a:lnTo>
                  <a:lnTo>
                    <a:pt x="889" y="21"/>
                  </a:lnTo>
                  <a:lnTo>
                    <a:pt x="893" y="21"/>
                  </a:lnTo>
                  <a:lnTo>
                    <a:pt x="897" y="21"/>
                  </a:lnTo>
                  <a:lnTo>
                    <a:pt x="900" y="21"/>
                  </a:lnTo>
                  <a:lnTo>
                    <a:pt x="904" y="21"/>
                  </a:lnTo>
                  <a:lnTo>
                    <a:pt x="919" y="19"/>
                  </a:lnTo>
                  <a:lnTo>
                    <a:pt x="934" y="16"/>
                  </a:lnTo>
                  <a:lnTo>
                    <a:pt x="948" y="13"/>
                  </a:lnTo>
                  <a:lnTo>
                    <a:pt x="961" y="8"/>
                  </a:lnTo>
                  <a:lnTo>
                    <a:pt x="973" y="3"/>
                  </a:lnTo>
                  <a:lnTo>
                    <a:pt x="988" y="0"/>
                  </a:lnTo>
                  <a:lnTo>
                    <a:pt x="983" y="2"/>
                  </a:lnTo>
                  <a:lnTo>
                    <a:pt x="980" y="3"/>
                  </a:lnTo>
                  <a:lnTo>
                    <a:pt x="983" y="5"/>
                  </a:lnTo>
                  <a:lnTo>
                    <a:pt x="986" y="5"/>
                  </a:lnTo>
                  <a:lnTo>
                    <a:pt x="991" y="7"/>
                  </a:lnTo>
                  <a:lnTo>
                    <a:pt x="994" y="7"/>
                  </a:lnTo>
                  <a:lnTo>
                    <a:pt x="996" y="11"/>
                  </a:lnTo>
                  <a:lnTo>
                    <a:pt x="983" y="15"/>
                  </a:lnTo>
                  <a:lnTo>
                    <a:pt x="969" y="16"/>
                  </a:lnTo>
                  <a:lnTo>
                    <a:pt x="970" y="18"/>
                  </a:lnTo>
                  <a:lnTo>
                    <a:pt x="970" y="19"/>
                  </a:lnTo>
                  <a:lnTo>
                    <a:pt x="965" y="23"/>
                  </a:lnTo>
                  <a:lnTo>
                    <a:pt x="978" y="19"/>
                  </a:lnTo>
                  <a:lnTo>
                    <a:pt x="988" y="16"/>
                  </a:lnTo>
                  <a:lnTo>
                    <a:pt x="999" y="13"/>
                  </a:lnTo>
                  <a:lnTo>
                    <a:pt x="1008" y="10"/>
                  </a:lnTo>
                  <a:lnTo>
                    <a:pt x="1005" y="13"/>
                  </a:lnTo>
                  <a:lnTo>
                    <a:pt x="1008" y="11"/>
                  </a:lnTo>
                  <a:lnTo>
                    <a:pt x="1013" y="11"/>
                  </a:lnTo>
                  <a:lnTo>
                    <a:pt x="1013" y="15"/>
                  </a:lnTo>
                  <a:lnTo>
                    <a:pt x="1010" y="16"/>
                  </a:lnTo>
                  <a:lnTo>
                    <a:pt x="1007" y="18"/>
                  </a:lnTo>
                  <a:lnTo>
                    <a:pt x="1002" y="18"/>
                  </a:lnTo>
                  <a:lnTo>
                    <a:pt x="1007" y="21"/>
                  </a:lnTo>
                  <a:lnTo>
                    <a:pt x="1010" y="19"/>
                  </a:lnTo>
                  <a:lnTo>
                    <a:pt x="1013" y="21"/>
                  </a:lnTo>
                  <a:lnTo>
                    <a:pt x="1018" y="21"/>
                  </a:lnTo>
                  <a:lnTo>
                    <a:pt x="1021" y="19"/>
                  </a:lnTo>
                  <a:lnTo>
                    <a:pt x="1024" y="18"/>
                  </a:lnTo>
                  <a:lnTo>
                    <a:pt x="1027" y="18"/>
                  </a:lnTo>
                  <a:lnTo>
                    <a:pt x="1032" y="18"/>
                  </a:lnTo>
                  <a:lnTo>
                    <a:pt x="1035" y="18"/>
                  </a:lnTo>
                  <a:lnTo>
                    <a:pt x="1038" y="18"/>
                  </a:lnTo>
                  <a:lnTo>
                    <a:pt x="1042" y="18"/>
                  </a:lnTo>
                  <a:lnTo>
                    <a:pt x="1046" y="16"/>
                  </a:lnTo>
                  <a:lnTo>
                    <a:pt x="1056" y="18"/>
                  </a:lnTo>
                  <a:lnTo>
                    <a:pt x="1064" y="19"/>
                  </a:lnTo>
                  <a:lnTo>
                    <a:pt x="1061" y="23"/>
                  </a:lnTo>
                  <a:lnTo>
                    <a:pt x="1056" y="23"/>
                  </a:lnTo>
                  <a:lnTo>
                    <a:pt x="1050" y="26"/>
                  </a:lnTo>
                  <a:lnTo>
                    <a:pt x="1053" y="27"/>
                  </a:lnTo>
                  <a:lnTo>
                    <a:pt x="1056" y="27"/>
                  </a:lnTo>
                  <a:lnTo>
                    <a:pt x="1053" y="29"/>
                  </a:lnTo>
                  <a:lnTo>
                    <a:pt x="1045" y="29"/>
                  </a:lnTo>
                  <a:lnTo>
                    <a:pt x="1042" y="29"/>
                  </a:lnTo>
                  <a:lnTo>
                    <a:pt x="1053" y="29"/>
                  </a:lnTo>
                  <a:lnTo>
                    <a:pt x="1064" y="29"/>
                  </a:lnTo>
                  <a:lnTo>
                    <a:pt x="1056" y="32"/>
                  </a:lnTo>
                  <a:lnTo>
                    <a:pt x="1059" y="34"/>
                  </a:lnTo>
                  <a:lnTo>
                    <a:pt x="1064" y="34"/>
                  </a:lnTo>
                  <a:lnTo>
                    <a:pt x="1067" y="34"/>
                  </a:lnTo>
                  <a:lnTo>
                    <a:pt x="1070" y="35"/>
                  </a:lnTo>
                  <a:lnTo>
                    <a:pt x="1073" y="34"/>
                  </a:lnTo>
                  <a:lnTo>
                    <a:pt x="1073" y="34"/>
                  </a:lnTo>
                  <a:lnTo>
                    <a:pt x="1086" y="32"/>
                  </a:lnTo>
                  <a:lnTo>
                    <a:pt x="1096" y="32"/>
                  </a:lnTo>
                  <a:lnTo>
                    <a:pt x="1094" y="34"/>
                  </a:lnTo>
                  <a:lnTo>
                    <a:pt x="1103" y="32"/>
                  </a:lnTo>
                  <a:lnTo>
                    <a:pt x="1115" y="30"/>
                  </a:lnTo>
                  <a:lnTo>
                    <a:pt x="1118" y="30"/>
                  </a:lnTo>
                  <a:lnTo>
                    <a:pt x="1121" y="32"/>
                  </a:lnTo>
                  <a:lnTo>
                    <a:pt x="1126" y="30"/>
                  </a:lnTo>
                  <a:lnTo>
                    <a:pt x="1129" y="32"/>
                  </a:lnTo>
                  <a:lnTo>
                    <a:pt x="1134" y="34"/>
                  </a:lnTo>
                  <a:lnTo>
                    <a:pt x="1137" y="34"/>
                  </a:lnTo>
                  <a:lnTo>
                    <a:pt x="1140" y="37"/>
                  </a:lnTo>
                  <a:lnTo>
                    <a:pt x="1146" y="37"/>
                  </a:lnTo>
                  <a:lnTo>
                    <a:pt x="1151" y="37"/>
                  </a:lnTo>
                  <a:lnTo>
                    <a:pt x="1151" y="40"/>
                  </a:lnTo>
                  <a:lnTo>
                    <a:pt x="1162" y="42"/>
                  </a:lnTo>
                  <a:lnTo>
                    <a:pt x="1173" y="42"/>
                  </a:lnTo>
                  <a:lnTo>
                    <a:pt x="1176" y="42"/>
                  </a:lnTo>
                  <a:lnTo>
                    <a:pt x="1180" y="42"/>
                  </a:lnTo>
                  <a:lnTo>
                    <a:pt x="1186" y="42"/>
                  </a:lnTo>
                  <a:lnTo>
                    <a:pt x="1191" y="43"/>
                  </a:lnTo>
                  <a:lnTo>
                    <a:pt x="1194" y="43"/>
                  </a:lnTo>
                  <a:lnTo>
                    <a:pt x="1197" y="42"/>
                  </a:lnTo>
                  <a:lnTo>
                    <a:pt x="1199" y="46"/>
                  </a:lnTo>
                  <a:lnTo>
                    <a:pt x="1202" y="45"/>
                  </a:lnTo>
                  <a:lnTo>
                    <a:pt x="1205" y="48"/>
                  </a:lnTo>
                  <a:lnTo>
                    <a:pt x="1203" y="48"/>
                  </a:lnTo>
                  <a:lnTo>
                    <a:pt x="1221" y="48"/>
                  </a:lnTo>
                  <a:lnTo>
                    <a:pt x="1237" y="46"/>
                  </a:lnTo>
                  <a:lnTo>
                    <a:pt x="1235" y="48"/>
                  </a:lnTo>
                  <a:lnTo>
                    <a:pt x="1235" y="48"/>
                  </a:lnTo>
                  <a:lnTo>
                    <a:pt x="1240" y="45"/>
                  </a:lnTo>
                  <a:lnTo>
                    <a:pt x="1243" y="46"/>
                  </a:lnTo>
                  <a:lnTo>
                    <a:pt x="1246" y="45"/>
                  </a:lnTo>
                  <a:lnTo>
                    <a:pt x="1249" y="45"/>
                  </a:lnTo>
                  <a:lnTo>
                    <a:pt x="1254" y="45"/>
                  </a:lnTo>
                  <a:lnTo>
                    <a:pt x="1264" y="45"/>
                  </a:lnTo>
                  <a:lnTo>
                    <a:pt x="1273" y="48"/>
                  </a:lnTo>
                  <a:lnTo>
                    <a:pt x="1275" y="53"/>
                  </a:lnTo>
                  <a:lnTo>
                    <a:pt x="1278" y="53"/>
                  </a:lnTo>
                  <a:lnTo>
                    <a:pt x="1281" y="54"/>
                  </a:lnTo>
                  <a:lnTo>
                    <a:pt x="1283" y="54"/>
                  </a:lnTo>
                  <a:lnTo>
                    <a:pt x="1286" y="56"/>
                  </a:lnTo>
                  <a:lnTo>
                    <a:pt x="1286" y="57"/>
                  </a:lnTo>
                  <a:lnTo>
                    <a:pt x="1287" y="61"/>
                  </a:lnTo>
                  <a:lnTo>
                    <a:pt x="1292" y="61"/>
                  </a:lnTo>
                  <a:lnTo>
                    <a:pt x="1295" y="59"/>
                  </a:lnTo>
                  <a:lnTo>
                    <a:pt x="1299" y="61"/>
                  </a:lnTo>
                  <a:lnTo>
                    <a:pt x="1246" y="100"/>
                  </a:lnTo>
                  <a:lnTo>
                    <a:pt x="1194" y="141"/>
                  </a:lnTo>
                  <a:lnTo>
                    <a:pt x="1142" y="183"/>
                  </a:lnTo>
                  <a:lnTo>
                    <a:pt x="1091" y="224"/>
                  </a:lnTo>
                  <a:lnTo>
                    <a:pt x="1065" y="245"/>
                  </a:lnTo>
                  <a:lnTo>
                    <a:pt x="1040" y="267"/>
                  </a:lnTo>
                  <a:lnTo>
                    <a:pt x="1015" y="287"/>
                  </a:lnTo>
                  <a:lnTo>
                    <a:pt x="989" y="310"/>
                  </a:lnTo>
                  <a:lnTo>
                    <a:pt x="977" y="321"/>
                  </a:lnTo>
                  <a:lnTo>
                    <a:pt x="965" y="330"/>
                  </a:lnTo>
                  <a:lnTo>
                    <a:pt x="953" y="341"/>
                  </a:lnTo>
                  <a:lnTo>
                    <a:pt x="940" y="351"/>
                  </a:lnTo>
                  <a:lnTo>
                    <a:pt x="927" y="362"/>
                  </a:lnTo>
                  <a:lnTo>
                    <a:pt x="916" y="375"/>
                  </a:lnTo>
                  <a:lnTo>
                    <a:pt x="912" y="378"/>
                  </a:lnTo>
                  <a:lnTo>
                    <a:pt x="907" y="381"/>
                  </a:lnTo>
                  <a:lnTo>
                    <a:pt x="896" y="392"/>
                  </a:lnTo>
                  <a:lnTo>
                    <a:pt x="893" y="397"/>
                  </a:lnTo>
                  <a:lnTo>
                    <a:pt x="897" y="398"/>
                  </a:lnTo>
                  <a:lnTo>
                    <a:pt x="900" y="398"/>
                  </a:lnTo>
                  <a:lnTo>
                    <a:pt x="904" y="398"/>
                  </a:lnTo>
                  <a:lnTo>
                    <a:pt x="907" y="395"/>
                  </a:lnTo>
                  <a:lnTo>
                    <a:pt x="915" y="400"/>
                  </a:lnTo>
                  <a:lnTo>
                    <a:pt x="916" y="400"/>
                  </a:lnTo>
                  <a:lnTo>
                    <a:pt x="924" y="397"/>
                  </a:lnTo>
                  <a:lnTo>
                    <a:pt x="932" y="395"/>
                  </a:lnTo>
                  <a:lnTo>
                    <a:pt x="939" y="394"/>
                  </a:lnTo>
                  <a:lnTo>
                    <a:pt x="948" y="395"/>
                  </a:lnTo>
                  <a:lnTo>
                    <a:pt x="943" y="398"/>
                  </a:lnTo>
                  <a:lnTo>
                    <a:pt x="935" y="403"/>
                  </a:lnTo>
                  <a:lnTo>
                    <a:pt x="935" y="408"/>
                  </a:lnTo>
                  <a:lnTo>
                    <a:pt x="935" y="408"/>
                  </a:lnTo>
                  <a:lnTo>
                    <a:pt x="939" y="409"/>
                  </a:lnTo>
                  <a:lnTo>
                    <a:pt x="940" y="413"/>
                  </a:lnTo>
                  <a:lnTo>
                    <a:pt x="939" y="417"/>
                  </a:lnTo>
                  <a:lnTo>
                    <a:pt x="940" y="421"/>
                  </a:lnTo>
                  <a:lnTo>
                    <a:pt x="945" y="430"/>
                  </a:lnTo>
                  <a:lnTo>
                    <a:pt x="945" y="435"/>
                  </a:lnTo>
                  <a:lnTo>
                    <a:pt x="943" y="440"/>
                  </a:lnTo>
                  <a:lnTo>
                    <a:pt x="939" y="448"/>
                  </a:lnTo>
                  <a:lnTo>
                    <a:pt x="950" y="444"/>
                  </a:lnTo>
                  <a:lnTo>
                    <a:pt x="961" y="441"/>
                  </a:lnTo>
                  <a:lnTo>
                    <a:pt x="965" y="440"/>
                  </a:lnTo>
                  <a:lnTo>
                    <a:pt x="969" y="438"/>
                  </a:lnTo>
                  <a:lnTo>
                    <a:pt x="973" y="438"/>
                  </a:lnTo>
                  <a:lnTo>
                    <a:pt x="977" y="436"/>
                  </a:lnTo>
                  <a:lnTo>
                    <a:pt x="981" y="433"/>
                  </a:lnTo>
                  <a:lnTo>
                    <a:pt x="985" y="432"/>
                  </a:lnTo>
                  <a:lnTo>
                    <a:pt x="988" y="427"/>
                  </a:lnTo>
                  <a:lnTo>
                    <a:pt x="991" y="427"/>
                  </a:lnTo>
                  <a:lnTo>
                    <a:pt x="996" y="425"/>
                  </a:lnTo>
                  <a:lnTo>
                    <a:pt x="997" y="422"/>
                  </a:lnTo>
                  <a:lnTo>
                    <a:pt x="1002" y="421"/>
                  </a:lnTo>
                  <a:lnTo>
                    <a:pt x="1005" y="421"/>
                  </a:lnTo>
                  <a:lnTo>
                    <a:pt x="1008" y="421"/>
                  </a:lnTo>
                  <a:lnTo>
                    <a:pt x="1013" y="419"/>
                  </a:lnTo>
                  <a:lnTo>
                    <a:pt x="1027" y="416"/>
                  </a:lnTo>
                  <a:lnTo>
                    <a:pt x="1032" y="417"/>
                  </a:lnTo>
                  <a:lnTo>
                    <a:pt x="1034" y="422"/>
                  </a:lnTo>
                  <a:lnTo>
                    <a:pt x="1034" y="422"/>
                  </a:lnTo>
                  <a:lnTo>
                    <a:pt x="1032" y="425"/>
                  </a:lnTo>
                  <a:lnTo>
                    <a:pt x="1027" y="428"/>
                  </a:lnTo>
                  <a:lnTo>
                    <a:pt x="1026" y="432"/>
                  </a:lnTo>
                  <a:lnTo>
                    <a:pt x="1026" y="435"/>
                  </a:lnTo>
                  <a:lnTo>
                    <a:pt x="1031" y="436"/>
                  </a:lnTo>
                  <a:lnTo>
                    <a:pt x="1032" y="441"/>
                  </a:lnTo>
                  <a:lnTo>
                    <a:pt x="1031" y="444"/>
                  </a:lnTo>
                  <a:lnTo>
                    <a:pt x="1029" y="448"/>
                  </a:lnTo>
                  <a:lnTo>
                    <a:pt x="1029" y="451"/>
                  </a:lnTo>
                  <a:lnTo>
                    <a:pt x="1034" y="454"/>
                  </a:lnTo>
                  <a:lnTo>
                    <a:pt x="1035" y="457"/>
                  </a:lnTo>
                  <a:lnTo>
                    <a:pt x="1035" y="460"/>
                  </a:lnTo>
                  <a:lnTo>
                    <a:pt x="1037" y="463"/>
                  </a:lnTo>
                  <a:lnTo>
                    <a:pt x="1037" y="467"/>
                  </a:lnTo>
                  <a:lnTo>
                    <a:pt x="1032" y="470"/>
                  </a:lnTo>
                  <a:lnTo>
                    <a:pt x="1032" y="473"/>
                  </a:lnTo>
                  <a:lnTo>
                    <a:pt x="1034" y="476"/>
                  </a:lnTo>
                  <a:lnTo>
                    <a:pt x="1032" y="479"/>
                  </a:lnTo>
                  <a:lnTo>
                    <a:pt x="1031" y="484"/>
                  </a:lnTo>
                  <a:lnTo>
                    <a:pt x="1031" y="487"/>
                  </a:lnTo>
                  <a:lnTo>
                    <a:pt x="1031" y="490"/>
                  </a:lnTo>
                  <a:lnTo>
                    <a:pt x="1027" y="493"/>
                  </a:lnTo>
                  <a:lnTo>
                    <a:pt x="1027" y="497"/>
                  </a:lnTo>
                  <a:lnTo>
                    <a:pt x="1027" y="501"/>
                  </a:lnTo>
                  <a:lnTo>
                    <a:pt x="1027" y="508"/>
                  </a:lnTo>
                  <a:lnTo>
                    <a:pt x="1026" y="511"/>
                  </a:lnTo>
                  <a:lnTo>
                    <a:pt x="1023" y="514"/>
                  </a:lnTo>
                  <a:lnTo>
                    <a:pt x="1019" y="517"/>
                  </a:lnTo>
                  <a:lnTo>
                    <a:pt x="1023" y="520"/>
                  </a:lnTo>
                  <a:lnTo>
                    <a:pt x="1019" y="524"/>
                  </a:lnTo>
                  <a:lnTo>
                    <a:pt x="1018" y="527"/>
                  </a:lnTo>
                  <a:lnTo>
                    <a:pt x="1018" y="530"/>
                  </a:lnTo>
                  <a:lnTo>
                    <a:pt x="1016" y="535"/>
                  </a:lnTo>
                  <a:lnTo>
                    <a:pt x="1016" y="536"/>
                  </a:lnTo>
                  <a:lnTo>
                    <a:pt x="1019" y="536"/>
                  </a:lnTo>
                  <a:lnTo>
                    <a:pt x="1024" y="538"/>
                  </a:lnTo>
                  <a:lnTo>
                    <a:pt x="1027" y="541"/>
                  </a:lnTo>
                  <a:lnTo>
                    <a:pt x="1031" y="544"/>
                  </a:lnTo>
                  <a:lnTo>
                    <a:pt x="1034" y="544"/>
                  </a:lnTo>
                  <a:lnTo>
                    <a:pt x="1037" y="546"/>
                  </a:lnTo>
                  <a:lnTo>
                    <a:pt x="1037" y="549"/>
                  </a:lnTo>
                  <a:lnTo>
                    <a:pt x="1042" y="551"/>
                  </a:lnTo>
                  <a:lnTo>
                    <a:pt x="1042" y="554"/>
                  </a:lnTo>
                  <a:lnTo>
                    <a:pt x="1045" y="555"/>
                  </a:lnTo>
                  <a:lnTo>
                    <a:pt x="1048" y="555"/>
                  </a:lnTo>
                  <a:lnTo>
                    <a:pt x="1046" y="560"/>
                  </a:lnTo>
                  <a:lnTo>
                    <a:pt x="1042" y="563"/>
                  </a:lnTo>
                  <a:lnTo>
                    <a:pt x="1037" y="566"/>
                  </a:lnTo>
                  <a:lnTo>
                    <a:pt x="1032" y="568"/>
                  </a:lnTo>
                  <a:lnTo>
                    <a:pt x="1031" y="573"/>
                  </a:lnTo>
                  <a:lnTo>
                    <a:pt x="1027" y="576"/>
                  </a:lnTo>
                  <a:lnTo>
                    <a:pt x="1026" y="579"/>
                  </a:lnTo>
                  <a:lnTo>
                    <a:pt x="1024" y="582"/>
                  </a:lnTo>
                  <a:lnTo>
                    <a:pt x="1023" y="585"/>
                  </a:lnTo>
                  <a:lnTo>
                    <a:pt x="1023" y="585"/>
                  </a:lnTo>
                  <a:lnTo>
                    <a:pt x="1021" y="587"/>
                  </a:lnTo>
                  <a:lnTo>
                    <a:pt x="1018" y="589"/>
                  </a:lnTo>
                  <a:lnTo>
                    <a:pt x="1015" y="590"/>
                  </a:lnTo>
                  <a:lnTo>
                    <a:pt x="1011" y="593"/>
                  </a:lnTo>
                  <a:lnTo>
                    <a:pt x="1007" y="595"/>
                  </a:lnTo>
                  <a:lnTo>
                    <a:pt x="1004" y="597"/>
                  </a:lnTo>
                  <a:lnTo>
                    <a:pt x="994" y="603"/>
                  </a:lnTo>
                  <a:lnTo>
                    <a:pt x="983" y="606"/>
                  </a:lnTo>
                  <a:lnTo>
                    <a:pt x="985" y="603"/>
                  </a:lnTo>
                  <a:lnTo>
                    <a:pt x="988" y="600"/>
                  </a:lnTo>
                  <a:lnTo>
                    <a:pt x="985" y="603"/>
                  </a:lnTo>
                  <a:lnTo>
                    <a:pt x="981" y="604"/>
                  </a:lnTo>
                  <a:lnTo>
                    <a:pt x="977" y="606"/>
                  </a:lnTo>
                  <a:lnTo>
                    <a:pt x="978" y="603"/>
                  </a:lnTo>
                  <a:lnTo>
                    <a:pt x="981" y="600"/>
                  </a:lnTo>
                  <a:lnTo>
                    <a:pt x="985" y="595"/>
                  </a:lnTo>
                  <a:lnTo>
                    <a:pt x="988" y="595"/>
                  </a:lnTo>
                  <a:lnTo>
                    <a:pt x="991" y="595"/>
                  </a:lnTo>
                  <a:lnTo>
                    <a:pt x="1000" y="590"/>
                  </a:lnTo>
                  <a:lnTo>
                    <a:pt x="1008" y="585"/>
                  </a:lnTo>
                  <a:lnTo>
                    <a:pt x="1005" y="587"/>
                  </a:lnTo>
                  <a:lnTo>
                    <a:pt x="1002" y="589"/>
                  </a:lnTo>
                  <a:lnTo>
                    <a:pt x="999" y="590"/>
                  </a:lnTo>
                  <a:lnTo>
                    <a:pt x="994" y="592"/>
                  </a:lnTo>
                  <a:lnTo>
                    <a:pt x="991" y="592"/>
                  </a:lnTo>
                  <a:lnTo>
                    <a:pt x="988" y="593"/>
                  </a:lnTo>
                  <a:lnTo>
                    <a:pt x="986" y="590"/>
                  </a:lnTo>
                  <a:lnTo>
                    <a:pt x="994" y="587"/>
                  </a:lnTo>
                  <a:lnTo>
                    <a:pt x="1004" y="585"/>
                  </a:lnTo>
                  <a:lnTo>
                    <a:pt x="1000" y="585"/>
                  </a:lnTo>
                  <a:lnTo>
                    <a:pt x="997" y="585"/>
                  </a:lnTo>
                  <a:lnTo>
                    <a:pt x="999" y="582"/>
                  </a:lnTo>
                  <a:lnTo>
                    <a:pt x="1002" y="579"/>
                  </a:lnTo>
                  <a:lnTo>
                    <a:pt x="1007" y="576"/>
                  </a:lnTo>
                  <a:lnTo>
                    <a:pt x="1008" y="573"/>
                  </a:lnTo>
                  <a:lnTo>
                    <a:pt x="1010" y="568"/>
                  </a:lnTo>
                  <a:lnTo>
                    <a:pt x="1011" y="565"/>
                  </a:lnTo>
                  <a:lnTo>
                    <a:pt x="1010" y="562"/>
                  </a:lnTo>
                  <a:lnTo>
                    <a:pt x="1013" y="559"/>
                  </a:lnTo>
                  <a:lnTo>
                    <a:pt x="1018" y="557"/>
                  </a:lnTo>
                  <a:lnTo>
                    <a:pt x="1021" y="555"/>
                  </a:lnTo>
                  <a:lnTo>
                    <a:pt x="1018" y="557"/>
                  </a:lnTo>
                  <a:lnTo>
                    <a:pt x="1013" y="559"/>
                  </a:lnTo>
                  <a:lnTo>
                    <a:pt x="1010" y="559"/>
                  </a:lnTo>
                  <a:lnTo>
                    <a:pt x="1007" y="560"/>
                  </a:lnTo>
                  <a:lnTo>
                    <a:pt x="1004" y="560"/>
                  </a:lnTo>
                  <a:lnTo>
                    <a:pt x="1000" y="562"/>
                  </a:lnTo>
                  <a:lnTo>
                    <a:pt x="997" y="562"/>
                  </a:lnTo>
                  <a:lnTo>
                    <a:pt x="999" y="562"/>
                  </a:lnTo>
                  <a:lnTo>
                    <a:pt x="1000" y="560"/>
                  </a:lnTo>
                  <a:lnTo>
                    <a:pt x="1004" y="560"/>
                  </a:lnTo>
                  <a:lnTo>
                    <a:pt x="1004" y="560"/>
                  </a:lnTo>
                  <a:lnTo>
                    <a:pt x="999" y="562"/>
                  </a:lnTo>
                  <a:lnTo>
                    <a:pt x="996" y="562"/>
                  </a:lnTo>
                  <a:lnTo>
                    <a:pt x="992" y="563"/>
                  </a:lnTo>
                  <a:lnTo>
                    <a:pt x="989" y="563"/>
                  </a:lnTo>
                  <a:lnTo>
                    <a:pt x="985" y="565"/>
                  </a:lnTo>
                  <a:lnTo>
                    <a:pt x="986" y="568"/>
                  </a:lnTo>
                  <a:lnTo>
                    <a:pt x="981" y="570"/>
                  </a:lnTo>
                  <a:lnTo>
                    <a:pt x="978" y="573"/>
                  </a:lnTo>
                  <a:lnTo>
                    <a:pt x="975" y="571"/>
                  </a:lnTo>
                  <a:lnTo>
                    <a:pt x="973" y="576"/>
                  </a:lnTo>
                  <a:lnTo>
                    <a:pt x="970" y="578"/>
                  </a:lnTo>
                  <a:lnTo>
                    <a:pt x="967" y="574"/>
                  </a:lnTo>
                  <a:lnTo>
                    <a:pt x="970" y="571"/>
                  </a:lnTo>
                  <a:lnTo>
                    <a:pt x="973" y="568"/>
                  </a:lnTo>
                  <a:lnTo>
                    <a:pt x="977" y="566"/>
                  </a:lnTo>
                  <a:lnTo>
                    <a:pt x="980" y="565"/>
                  </a:lnTo>
                  <a:lnTo>
                    <a:pt x="985" y="562"/>
                  </a:lnTo>
                  <a:lnTo>
                    <a:pt x="988" y="560"/>
                  </a:lnTo>
                  <a:lnTo>
                    <a:pt x="992" y="555"/>
                  </a:lnTo>
                  <a:lnTo>
                    <a:pt x="996" y="552"/>
                  </a:lnTo>
                  <a:lnTo>
                    <a:pt x="1000" y="552"/>
                  </a:lnTo>
                  <a:lnTo>
                    <a:pt x="1008" y="552"/>
                  </a:lnTo>
                  <a:lnTo>
                    <a:pt x="1004" y="551"/>
                  </a:lnTo>
                  <a:lnTo>
                    <a:pt x="1004" y="551"/>
                  </a:lnTo>
                  <a:lnTo>
                    <a:pt x="1000" y="551"/>
                  </a:lnTo>
                  <a:lnTo>
                    <a:pt x="999" y="547"/>
                  </a:lnTo>
                  <a:lnTo>
                    <a:pt x="999" y="546"/>
                  </a:lnTo>
                  <a:lnTo>
                    <a:pt x="999" y="549"/>
                  </a:lnTo>
                  <a:lnTo>
                    <a:pt x="994" y="552"/>
                  </a:lnTo>
                  <a:lnTo>
                    <a:pt x="991" y="554"/>
                  </a:lnTo>
                  <a:lnTo>
                    <a:pt x="988" y="552"/>
                  </a:lnTo>
                  <a:lnTo>
                    <a:pt x="988" y="547"/>
                  </a:lnTo>
                  <a:lnTo>
                    <a:pt x="991" y="544"/>
                  </a:lnTo>
                  <a:lnTo>
                    <a:pt x="994" y="541"/>
                  </a:lnTo>
                  <a:lnTo>
                    <a:pt x="994" y="541"/>
                  </a:lnTo>
                  <a:lnTo>
                    <a:pt x="996" y="544"/>
                  </a:lnTo>
                  <a:lnTo>
                    <a:pt x="997" y="544"/>
                  </a:lnTo>
                  <a:lnTo>
                    <a:pt x="997" y="544"/>
                  </a:lnTo>
                  <a:lnTo>
                    <a:pt x="997" y="539"/>
                  </a:lnTo>
                  <a:lnTo>
                    <a:pt x="999" y="536"/>
                  </a:lnTo>
                  <a:lnTo>
                    <a:pt x="994" y="535"/>
                  </a:lnTo>
                  <a:lnTo>
                    <a:pt x="999" y="533"/>
                  </a:lnTo>
                  <a:lnTo>
                    <a:pt x="1002" y="530"/>
                  </a:lnTo>
                  <a:lnTo>
                    <a:pt x="1005" y="528"/>
                  </a:lnTo>
                  <a:lnTo>
                    <a:pt x="1002" y="530"/>
                  </a:lnTo>
                  <a:lnTo>
                    <a:pt x="999" y="530"/>
                  </a:lnTo>
                  <a:lnTo>
                    <a:pt x="996" y="525"/>
                  </a:lnTo>
                  <a:lnTo>
                    <a:pt x="996" y="522"/>
                  </a:lnTo>
                  <a:lnTo>
                    <a:pt x="999" y="522"/>
                  </a:lnTo>
                  <a:lnTo>
                    <a:pt x="1002" y="519"/>
                  </a:lnTo>
                  <a:lnTo>
                    <a:pt x="999" y="520"/>
                  </a:lnTo>
                  <a:lnTo>
                    <a:pt x="994" y="517"/>
                  </a:lnTo>
                  <a:lnTo>
                    <a:pt x="994" y="514"/>
                  </a:lnTo>
                  <a:lnTo>
                    <a:pt x="991" y="517"/>
                  </a:lnTo>
                  <a:lnTo>
                    <a:pt x="988" y="516"/>
                  </a:lnTo>
                  <a:lnTo>
                    <a:pt x="988" y="513"/>
                  </a:lnTo>
                  <a:lnTo>
                    <a:pt x="992" y="509"/>
                  </a:lnTo>
                  <a:lnTo>
                    <a:pt x="996" y="509"/>
                  </a:lnTo>
                  <a:lnTo>
                    <a:pt x="999" y="509"/>
                  </a:lnTo>
                  <a:lnTo>
                    <a:pt x="1002" y="509"/>
                  </a:lnTo>
                  <a:lnTo>
                    <a:pt x="1007" y="508"/>
                  </a:lnTo>
                  <a:lnTo>
                    <a:pt x="1002" y="508"/>
                  </a:lnTo>
                  <a:lnTo>
                    <a:pt x="999" y="509"/>
                  </a:lnTo>
                  <a:lnTo>
                    <a:pt x="996" y="508"/>
                  </a:lnTo>
                  <a:lnTo>
                    <a:pt x="999" y="506"/>
                  </a:lnTo>
                  <a:lnTo>
                    <a:pt x="997" y="501"/>
                  </a:lnTo>
                  <a:lnTo>
                    <a:pt x="1002" y="500"/>
                  </a:lnTo>
                  <a:lnTo>
                    <a:pt x="1005" y="498"/>
                  </a:lnTo>
                  <a:lnTo>
                    <a:pt x="1002" y="498"/>
                  </a:lnTo>
                  <a:lnTo>
                    <a:pt x="1000" y="495"/>
                  </a:lnTo>
                  <a:lnTo>
                    <a:pt x="1004" y="493"/>
                  </a:lnTo>
                  <a:lnTo>
                    <a:pt x="1008" y="497"/>
                  </a:lnTo>
                  <a:lnTo>
                    <a:pt x="1011" y="500"/>
                  </a:lnTo>
                  <a:lnTo>
                    <a:pt x="1011" y="497"/>
                  </a:lnTo>
                  <a:lnTo>
                    <a:pt x="1008" y="493"/>
                  </a:lnTo>
                  <a:lnTo>
                    <a:pt x="1008" y="489"/>
                  </a:lnTo>
                  <a:lnTo>
                    <a:pt x="1013" y="486"/>
                  </a:lnTo>
                  <a:lnTo>
                    <a:pt x="1016" y="487"/>
                  </a:lnTo>
                  <a:lnTo>
                    <a:pt x="1019" y="487"/>
                  </a:lnTo>
                  <a:lnTo>
                    <a:pt x="1023" y="489"/>
                  </a:lnTo>
                  <a:lnTo>
                    <a:pt x="1018" y="486"/>
                  </a:lnTo>
                  <a:lnTo>
                    <a:pt x="1013" y="486"/>
                  </a:lnTo>
                  <a:lnTo>
                    <a:pt x="1010" y="487"/>
                  </a:lnTo>
                  <a:lnTo>
                    <a:pt x="1005" y="490"/>
                  </a:lnTo>
                  <a:lnTo>
                    <a:pt x="1004" y="487"/>
                  </a:lnTo>
                  <a:lnTo>
                    <a:pt x="1007" y="484"/>
                  </a:lnTo>
                  <a:lnTo>
                    <a:pt x="1010" y="484"/>
                  </a:lnTo>
                  <a:lnTo>
                    <a:pt x="1013" y="481"/>
                  </a:lnTo>
                  <a:lnTo>
                    <a:pt x="1016" y="478"/>
                  </a:lnTo>
                  <a:lnTo>
                    <a:pt x="1013" y="479"/>
                  </a:lnTo>
                  <a:lnTo>
                    <a:pt x="1008" y="482"/>
                  </a:lnTo>
                  <a:lnTo>
                    <a:pt x="1005" y="484"/>
                  </a:lnTo>
                  <a:lnTo>
                    <a:pt x="1004" y="479"/>
                  </a:lnTo>
                  <a:lnTo>
                    <a:pt x="1007" y="476"/>
                  </a:lnTo>
                  <a:lnTo>
                    <a:pt x="1010" y="474"/>
                  </a:lnTo>
                  <a:lnTo>
                    <a:pt x="1013" y="471"/>
                  </a:lnTo>
                  <a:lnTo>
                    <a:pt x="1016" y="468"/>
                  </a:lnTo>
                  <a:lnTo>
                    <a:pt x="1021" y="467"/>
                  </a:lnTo>
                  <a:lnTo>
                    <a:pt x="1024" y="463"/>
                  </a:lnTo>
                  <a:lnTo>
                    <a:pt x="1027" y="463"/>
                  </a:lnTo>
                  <a:lnTo>
                    <a:pt x="1029" y="463"/>
                  </a:lnTo>
                  <a:lnTo>
                    <a:pt x="1016" y="468"/>
                  </a:lnTo>
                  <a:lnTo>
                    <a:pt x="1004" y="474"/>
                  </a:lnTo>
                  <a:lnTo>
                    <a:pt x="1002" y="471"/>
                  </a:lnTo>
                  <a:lnTo>
                    <a:pt x="1000" y="470"/>
                  </a:lnTo>
                  <a:lnTo>
                    <a:pt x="1000" y="470"/>
                  </a:lnTo>
                  <a:lnTo>
                    <a:pt x="1000" y="470"/>
                  </a:lnTo>
                  <a:lnTo>
                    <a:pt x="999" y="470"/>
                  </a:lnTo>
                  <a:lnTo>
                    <a:pt x="996" y="468"/>
                  </a:lnTo>
                  <a:lnTo>
                    <a:pt x="997" y="465"/>
                  </a:lnTo>
                  <a:lnTo>
                    <a:pt x="999" y="462"/>
                  </a:lnTo>
                  <a:lnTo>
                    <a:pt x="999" y="459"/>
                  </a:lnTo>
                  <a:lnTo>
                    <a:pt x="1002" y="455"/>
                  </a:lnTo>
                  <a:lnTo>
                    <a:pt x="1005" y="452"/>
                  </a:lnTo>
                  <a:lnTo>
                    <a:pt x="1002" y="454"/>
                  </a:lnTo>
                  <a:lnTo>
                    <a:pt x="1002" y="451"/>
                  </a:lnTo>
                  <a:lnTo>
                    <a:pt x="1005" y="448"/>
                  </a:lnTo>
                  <a:lnTo>
                    <a:pt x="1008" y="443"/>
                  </a:lnTo>
                  <a:lnTo>
                    <a:pt x="1010" y="440"/>
                  </a:lnTo>
                  <a:lnTo>
                    <a:pt x="1011" y="436"/>
                  </a:lnTo>
                  <a:lnTo>
                    <a:pt x="1015" y="433"/>
                  </a:lnTo>
                  <a:lnTo>
                    <a:pt x="1018" y="430"/>
                  </a:lnTo>
                  <a:lnTo>
                    <a:pt x="1021" y="427"/>
                  </a:lnTo>
                  <a:lnTo>
                    <a:pt x="1018" y="430"/>
                  </a:lnTo>
                  <a:lnTo>
                    <a:pt x="1013" y="432"/>
                  </a:lnTo>
                  <a:lnTo>
                    <a:pt x="1010" y="433"/>
                  </a:lnTo>
                  <a:lnTo>
                    <a:pt x="1010" y="433"/>
                  </a:lnTo>
                  <a:lnTo>
                    <a:pt x="1010" y="436"/>
                  </a:lnTo>
                  <a:lnTo>
                    <a:pt x="1008" y="440"/>
                  </a:lnTo>
                  <a:lnTo>
                    <a:pt x="1007" y="436"/>
                  </a:lnTo>
                  <a:lnTo>
                    <a:pt x="1000" y="446"/>
                  </a:lnTo>
                  <a:lnTo>
                    <a:pt x="994" y="457"/>
                  </a:lnTo>
                  <a:lnTo>
                    <a:pt x="989" y="460"/>
                  </a:lnTo>
                  <a:lnTo>
                    <a:pt x="989" y="463"/>
                  </a:lnTo>
                  <a:lnTo>
                    <a:pt x="986" y="467"/>
                  </a:lnTo>
                  <a:lnTo>
                    <a:pt x="985" y="470"/>
                  </a:lnTo>
                  <a:lnTo>
                    <a:pt x="980" y="473"/>
                  </a:lnTo>
                  <a:lnTo>
                    <a:pt x="977" y="474"/>
                  </a:lnTo>
                  <a:lnTo>
                    <a:pt x="973" y="473"/>
                  </a:lnTo>
                  <a:lnTo>
                    <a:pt x="975" y="470"/>
                  </a:lnTo>
                  <a:lnTo>
                    <a:pt x="977" y="467"/>
                  </a:lnTo>
                  <a:lnTo>
                    <a:pt x="973" y="468"/>
                  </a:lnTo>
                  <a:lnTo>
                    <a:pt x="970" y="467"/>
                  </a:lnTo>
                  <a:lnTo>
                    <a:pt x="965" y="468"/>
                  </a:lnTo>
                  <a:lnTo>
                    <a:pt x="962" y="468"/>
                  </a:lnTo>
                  <a:lnTo>
                    <a:pt x="965" y="465"/>
                  </a:lnTo>
                  <a:lnTo>
                    <a:pt x="969" y="463"/>
                  </a:lnTo>
                  <a:lnTo>
                    <a:pt x="970" y="459"/>
                  </a:lnTo>
                  <a:lnTo>
                    <a:pt x="973" y="455"/>
                  </a:lnTo>
                  <a:lnTo>
                    <a:pt x="973" y="452"/>
                  </a:lnTo>
                  <a:lnTo>
                    <a:pt x="977" y="451"/>
                  </a:lnTo>
                  <a:lnTo>
                    <a:pt x="985" y="449"/>
                  </a:lnTo>
                  <a:lnTo>
                    <a:pt x="981" y="448"/>
                  </a:lnTo>
                  <a:lnTo>
                    <a:pt x="977" y="451"/>
                  </a:lnTo>
                  <a:lnTo>
                    <a:pt x="978" y="446"/>
                  </a:lnTo>
                  <a:lnTo>
                    <a:pt x="975" y="448"/>
                  </a:lnTo>
                  <a:lnTo>
                    <a:pt x="973" y="451"/>
                  </a:lnTo>
                  <a:lnTo>
                    <a:pt x="970" y="454"/>
                  </a:lnTo>
                  <a:lnTo>
                    <a:pt x="967" y="454"/>
                  </a:lnTo>
                  <a:lnTo>
                    <a:pt x="962" y="451"/>
                  </a:lnTo>
                  <a:lnTo>
                    <a:pt x="965" y="448"/>
                  </a:lnTo>
                  <a:lnTo>
                    <a:pt x="964" y="444"/>
                  </a:lnTo>
                  <a:lnTo>
                    <a:pt x="962" y="448"/>
                  </a:lnTo>
                  <a:lnTo>
                    <a:pt x="958" y="448"/>
                  </a:lnTo>
                  <a:lnTo>
                    <a:pt x="956" y="444"/>
                  </a:lnTo>
                  <a:lnTo>
                    <a:pt x="954" y="448"/>
                  </a:lnTo>
                  <a:lnTo>
                    <a:pt x="951" y="448"/>
                  </a:lnTo>
                  <a:lnTo>
                    <a:pt x="946" y="449"/>
                  </a:lnTo>
                  <a:lnTo>
                    <a:pt x="943" y="451"/>
                  </a:lnTo>
                  <a:lnTo>
                    <a:pt x="946" y="451"/>
                  </a:lnTo>
                  <a:lnTo>
                    <a:pt x="951" y="449"/>
                  </a:lnTo>
                  <a:lnTo>
                    <a:pt x="954" y="451"/>
                  </a:lnTo>
                  <a:lnTo>
                    <a:pt x="958" y="451"/>
                  </a:lnTo>
                  <a:lnTo>
                    <a:pt x="956" y="454"/>
                  </a:lnTo>
                  <a:lnTo>
                    <a:pt x="958" y="457"/>
                  </a:lnTo>
                  <a:lnTo>
                    <a:pt x="961" y="455"/>
                  </a:lnTo>
                  <a:lnTo>
                    <a:pt x="958" y="459"/>
                  </a:lnTo>
                  <a:lnTo>
                    <a:pt x="953" y="460"/>
                  </a:lnTo>
                  <a:lnTo>
                    <a:pt x="956" y="459"/>
                  </a:lnTo>
                  <a:lnTo>
                    <a:pt x="961" y="459"/>
                  </a:lnTo>
                  <a:lnTo>
                    <a:pt x="962" y="462"/>
                  </a:lnTo>
                  <a:lnTo>
                    <a:pt x="959" y="463"/>
                  </a:lnTo>
                  <a:lnTo>
                    <a:pt x="959" y="467"/>
                  </a:lnTo>
                  <a:lnTo>
                    <a:pt x="956" y="470"/>
                  </a:lnTo>
                  <a:lnTo>
                    <a:pt x="951" y="470"/>
                  </a:lnTo>
                  <a:lnTo>
                    <a:pt x="948" y="471"/>
                  </a:lnTo>
                  <a:lnTo>
                    <a:pt x="950" y="468"/>
                  </a:lnTo>
                  <a:lnTo>
                    <a:pt x="946" y="468"/>
                  </a:lnTo>
                  <a:lnTo>
                    <a:pt x="943" y="468"/>
                  </a:lnTo>
                  <a:lnTo>
                    <a:pt x="946" y="468"/>
                  </a:lnTo>
                  <a:lnTo>
                    <a:pt x="943" y="471"/>
                  </a:lnTo>
                  <a:lnTo>
                    <a:pt x="939" y="470"/>
                  </a:lnTo>
                  <a:lnTo>
                    <a:pt x="937" y="473"/>
                  </a:lnTo>
                  <a:lnTo>
                    <a:pt x="934" y="474"/>
                  </a:lnTo>
                  <a:lnTo>
                    <a:pt x="932" y="474"/>
                  </a:lnTo>
                  <a:lnTo>
                    <a:pt x="934" y="471"/>
                  </a:lnTo>
                  <a:lnTo>
                    <a:pt x="931" y="470"/>
                  </a:lnTo>
                  <a:lnTo>
                    <a:pt x="927" y="468"/>
                  </a:lnTo>
                  <a:lnTo>
                    <a:pt x="924" y="465"/>
                  </a:lnTo>
                  <a:lnTo>
                    <a:pt x="921" y="462"/>
                  </a:lnTo>
                  <a:lnTo>
                    <a:pt x="924" y="459"/>
                  </a:lnTo>
                  <a:lnTo>
                    <a:pt x="921" y="459"/>
                  </a:lnTo>
                  <a:lnTo>
                    <a:pt x="919" y="455"/>
                  </a:lnTo>
                  <a:lnTo>
                    <a:pt x="919" y="452"/>
                  </a:lnTo>
                  <a:lnTo>
                    <a:pt x="921" y="448"/>
                  </a:lnTo>
                  <a:lnTo>
                    <a:pt x="919" y="444"/>
                  </a:lnTo>
                  <a:lnTo>
                    <a:pt x="916" y="441"/>
                  </a:lnTo>
                  <a:lnTo>
                    <a:pt x="913" y="441"/>
                  </a:lnTo>
                  <a:lnTo>
                    <a:pt x="916" y="438"/>
                  </a:lnTo>
                  <a:lnTo>
                    <a:pt x="919" y="438"/>
                  </a:lnTo>
                  <a:lnTo>
                    <a:pt x="915" y="438"/>
                  </a:lnTo>
                  <a:lnTo>
                    <a:pt x="912" y="440"/>
                  </a:lnTo>
                  <a:lnTo>
                    <a:pt x="912" y="440"/>
                  </a:lnTo>
                  <a:lnTo>
                    <a:pt x="908" y="436"/>
                  </a:lnTo>
                  <a:lnTo>
                    <a:pt x="905" y="433"/>
                  </a:lnTo>
                  <a:lnTo>
                    <a:pt x="904" y="430"/>
                  </a:lnTo>
                  <a:lnTo>
                    <a:pt x="900" y="432"/>
                  </a:lnTo>
                  <a:lnTo>
                    <a:pt x="899" y="428"/>
                  </a:lnTo>
                  <a:lnTo>
                    <a:pt x="896" y="427"/>
                  </a:lnTo>
                  <a:lnTo>
                    <a:pt x="899" y="424"/>
                  </a:lnTo>
                  <a:lnTo>
                    <a:pt x="902" y="422"/>
                  </a:lnTo>
                  <a:lnTo>
                    <a:pt x="905" y="421"/>
                  </a:lnTo>
                  <a:lnTo>
                    <a:pt x="908" y="419"/>
                  </a:lnTo>
                  <a:lnTo>
                    <a:pt x="912" y="416"/>
                  </a:lnTo>
                  <a:lnTo>
                    <a:pt x="913" y="413"/>
                  </a:lnTo>
                  <a:lnTo>
                    <a:pt x="916" y="409"/>
                  </a:lnTo>
                  <a:lnTo>
                    <a:pt x="919" y="408"/>
                  </a:lnTo>
                  <a:lnTo>
                    <a:pt x="923" y="413"/>
                  </a:lnTo>
                  <a:lnTo>
                    <a:pt x="918" y="414"/>
                  </a:lnTo>
                  <a:lnTo>
                    <a:pt x="915" y="417"/>
                  </a:lnTo>
                  <a:lnTo>
                    <a:pt x="913" y="422"/>
                  </a:lnTo>
                  <a:lnTo>
                    <a:pt x="916" y="417"/>
                  </a:lnTo>
                  <a:lnTo>
                    <a:pt x="919" y="416"/>
                  </a:lnTo>
                  <a:lnTo>
                    <a:pt x="924" y="413"/>
                  </a:lnTo>
                  <a:lnTo>
                    <a:pt x="927" y="413"/>
                  </a:lnTo>
                  <a:lnTo>
                    <a:pt x="931" y="414"/>
                  </a:lnTo>
                  <a:lnTo>
                    <a:pt x="927" y="413"/>
                  </a:lnTo>
                  <a:lnTo>
                    <a:pt x="924" y="409"/>
                  </a:lnTo>
                  <a:lnTo>
                    <a:pt x="924" y="408"/>
                  </a:lnTo>
                  <a:lnTo>
                    <a:pt x="921" y="406"/>
                  </a:lnTo>
                  <a:lnTo>
                    <a:pt x="919" y="408"/>
                  </a:lnTo>
                  <a:lnTo>
                    <a:pt x="916" y="409"/>
                  </a:lnTo>
                  <a:lnTo>
                    <a:pt x="912" y="411"/>
                  </a:lnTo>
                  <a:lnTo>
                    <a:pt x="904" y="414"/>
                  </a:lnTo>
                  <a:lnTo>
                    <a:pt x="894" y="417"/>
                  </a:lnTo>
                  <a:lnTo>
                    <a:pt x="885" y="419"/>
                  </a:lnTo>
                  <a:lnTo>
                    <a:pt x="878" y="419"/>
                  </a:lnTo>
                  <a:lnTo>
                    <a:pt x="870" y="416"/>
                  </a:lnTo>
                  <a:lnTo>
                    <a:pt x="862" y="413"/>
                  </a:lnTo>
                  <a:lnTo>
                    <a:pt x="867" y="409"/>
                  </a:lnTo>
                  <a:lnTo>
                    <a:pt x="870" y="408"/>
                  </a:lnTo>
                  <a:lnTo>
                    <a:pt x="872" y="408"/>
                  </a:lnTo>
                  <a:lnTo>
                    <a:pt x="872" y="403"/>
                  </a:lnTo>
                  <a:lnTo>
                    <a:pt x="869" y="405"/>
                  </a:lnTo>
                  <a:lnTo>
                    <a:pt x="866" y="408"/>
                  </a:lnTo>
                  <a:lnTo>
                    <a:pt x="864" y="408"/>
                  </a:lnTo>
                  <a:lnTo>
                    <a:pt x="861" y="408"/>
                  </a:lnTo>
                  <a:lnTo>
                    <a:pt x="858" y="409"/>
                  </a:lnTo>
                  <a:lnTo>
                    <a:pt x="854" y="408"/>
                  </a:lnTo>
                  <a:lnTo>
                    <a:pt x="843" y="405"/>
                  </a:lnTo>
                  <a:lnTo>
                    <a:pt x="832" y="403"/>
                  </a:lnTo>
                  <a:lnTo>
                    <a:pt x="821" y="405"/>
                  </a:lnTo>
                  <a:lnTo>
                    <a:pt x="812" y="405"/>
                  </a:lnTo>
                  <a:lnTo>
                    <a:pt x="807" y="405"/>
                  </a:lnTo>
                  <a:lnTo>
                    <a:pt x="801" y="406"/>
                  </a:lnTo>
                  <a:lnTo>
                    <a:pt x="797" y="408"/>
                  </a:lnTo>
                  <a:lnTo>
                    <a:pt x="794" y="408"/>
                  </a:lnTo>
                  <a:lnTo>
                    <a:pt x="789" y="406"/>
                  </a:lnTo>
                  <a:lnTo>
                    <a:pt x="794" y="406"/>
                  </a:lnTo>
                  <a:lnTo>
                    <a:pt x="793" y="403"/>
                  </a:lnTo>
                  <a:lnTo>
                    <a:pt x="789" y="400"/>
                  </a:lnTo>
                  <a:lnTo>
                    <a:pt x="785" y="400"/>
                  </a:lnTo>
                  <a:lnTo>
                    <a:pt x="783" y="397"/>
                  </a:lnTo>
                  <a:lnTo>
                    <a:pt x="778" y="397"/>
                  </a:lnTo>
                  <a:lnTo>
                    <a:pt x="783" y="394"/>
                  </a:lnTo>
                  <a:lnTo>
                    <a:pt x="789" y="389"/>
                  </a:lnTo>
                  <a:lnTo>
                    <a:pt x="793" y="386"/>
                  </a:lnTo>
                  <a:lnTo>
                    <a:pt x="796" y="384"/>
                  </a:lnTo>
                  <a:lnTo>
                    <a:pt x="799" y="382"/>
                  </a:lnTo>
                  <a:lnTo>
                    <a:pt x="804" y="382"/>
                  </a:lnTo>
                  <a:lnTo>
                    <a:pt x="804" y="381"/>
                  </a:lnTo>
                  <a:lnTo>
                    <a:pt x="794" y="384"/>
                  </a:lnTo>
                  <a:lnTo>
                    <a:pt x="783" y="389"/>
                  </a:lnTo>
                  <a:lnTo>
                    <a:pt x="780" y="390"/>
                  </a:lnTo>
                  <a:lnTo>
                    <a:pt x="777" y="392"/>
                  </a:lnTo>
                  <a:lnTo>
                    <a:pt x="774" y="394"/>
                  </a:lnTo>
                  <a:lnTo>
                    <a:pt x="769" y="394"/>
                  </a:lnTo>
                  <a:lnTo>
                    <a:pt x="766" y="392"/>
                  </a:lnTo>
                  <a:lnTo>
                    <a:pt x="762" y="390"/>
                  </a:lnTo>
                  <a:lnTo>
                    <a:pt x="759" y="390"/>
                  </a:lnTo>
                  <a:lnTo>
                    <a:pt x="762" y="387"/>
                  </a:lnTo>
                  <a:lnTo>
                    <a:pt x="766" y="386"/>
                  </a:lnTo>
                  <a:lnTo>
                    <a:pt x="769" y="384"/>
                  </a:lnTo>
                  <a:lnTo>
                    <a:pt x="774" y="382"/>
                  </a:lnTo>
                  <a:lnTo>
                    <a:pt x="769" y="384"/>
                  </a:lnTo>
                  <a:lnTo>
                    <a:pt x="766" y="384"/>
                  </a:lnTo>
                  <a:lnTo>
                    <a:pt x="762" y="384"/>
                  </a:lnTo>
                  <a:lnTo>
                    <a:pt x="766" y="381"/>
                  </a:lnTo>
                  <a:lnTo>
                    <a:pt x="762" y="382"/>
                  </a:lnTo>
                  <a:lnTo>
                    <a:pt x="758" y="382"/>
                  </a:lnTo>
                  <a:lnTo>
                    <a:pt x="755" y="384"/>
                  </a:lnTo>
                  <a:lnTo>
                    <a:pt x="758" y="381"/>
                  </a:lnTo>
                  <a:lnTo>
                    <a:pt x="762" y="381"/>
                  </a:lnTo>
                  <a:lnTo>
                    <a:pt x="766" y="379"/>
                  </a:lnTo>
                  <a:lnTo>
                    <a:pt x="761" y="379"/>
                  </a:lnTo>
                  <a:lnTo>
                    <a:pt x="758" y="381"/>
                  </a:lnTo>
                  <a:lnTo>
                    <a:pt x="755" y="381"/>
                  </a:lnTo>
                  <a:lnTo>
                    <a:pt x="751" y="381"/>
                  </a:lnTo>
                  <a:lnTo>
                    <a:pt x="748" y="381"/>
                  </a:lnTo>
                  <a:lnTo>
                    <a:pt x="751" y="379"/>
                  </a:lnTo>
                  <a:lnTo>
                    <a:pt x="755" y="379"/>
                  </a:lnTo>
                  <a:lnTo>
                    <a:pt x="758" y="378"/>
                  </a:lnTo>
                  <a:lnTo>
                    <a:pt x="762" y="376"/>
                  </a:lnTo>
                  <a:lnTo>
                    <a:pt x="766" y="376"/>
                  </a:lnTo>
                  <a:lnTo>
                    <a:pt x="767" y="376"/>
                  </a:lnTo>
                  <a:lnTo>
                    <a:pt x="764" y="375"/>
                  </a:lnTo>
                  <a:lnTo>
                    <a:pt x="761" y="376"/>
                  </a:lnTo>
                  <a:lnTo>
                    <a:pt x="756" y="376"/>
                  </a:lnTo>
                  <a:lnTo>
                    <a:pt x="753" y="376"/>
                  </a:lnTo>
                  <a:lnTo>
                    <a:pt x="753" y="371"/>
                  </a:lnTo>
                  <a:lnTo>
                    <a:pt x="756" y="373"/>
                  </a:lnTo>
                  <a:lnTo>
                    <a:pt x="759" y="368"/>
                  </a:lnTo>
                  <a:lnTo>
                    <a:pt x="762" y="368"/>
                  </a:lnTo>
                  <a:lnTo>
                    <a:pt x="766" y="367"/>
                  </a:lnTo>
                  <a:lnTo>
                    <a:pt x="770" y="367"/>
                  </a:lnTo>
                  <a:lnTo>
                    <a:pt x="774" y="367"/>
                  </a:lnTo>
                  <a:lnTo>
                    <a:pt x="770" y="365"/>
                  </a:lnTo>
                  <a:lnTo>
                    <a:pt x="766" y="365"/>
                  </a:lnTo>
                  <a:lnTo>
                    <a:pt x="762" y="367"/>
                  </a:lnTo>
                  <a:lnTo>
                    <a:pt x="759" y="368"/>
                  </a:lnTo>
                  <a:lnTo>
                    <a:pt x="756" y="368"/>
                  </a:lnTo>
                  <a:lnTo>
                    <a:pt x="751" y="371"/>
                  </a:lnTo>
                  <a:lnTo>
                    <a:pt x="748" y="371"/>
                  </a:lnTo>
                  <a:lnTo>
                    <a:pt x="745" y="370"/>
                  </a:lnTo>
                  <a:lnTo>
                    <a:pt x="742" y="371"/>
                  </a:lnTo>
                  <a:lnTo>
                    <a:pt x="737" y="373"/>
                  </a:lnTo>
                  <a:lnTo>
                    <a:pt x="734" y="375"/>
                  </a:lnTo>
                  <a:lnTo>
                    <a:pt x="737" y="370"/>
                  </a:lnTo>
                  <a:lnTo>
                    <a:pt x="734" y="371"/>
                  </a:lnTo>
                  <a:lnTo>
                    <a:pt x="729" y="373"/>
                  </a:lnTo>
                  <a:lnTo>
                    <a:pt x="734" y="370"/>
                  </a:lnTo>
                  <a:lnTo>
                    <a:pt x="737" y="368"/>
                  </a:lnTo>
                  <a:lnTo>
                    <a:pt x="740" y="363"/>
                  </a:lnTo>
                  <a:lnTo>
                    <a:pt x="737" y="367"/>
                  </a:lnTo>
                  <a:lnTo>
                    <a:pt x="732" y="368"/>
                  </a:lnTo>
                  <a:lnTo>
                    <a:pt x="729" y="371"/>
                  </a:lnTo>
                  <a:lnTo>
                    <a:pt x="726" y="375"/>
                  </a:lnTo>
                  <a:lnTo>
                    <a:pt x="723" y="376"/>
                  </a:lnTo>
                  <a:lnTo>
                    <a:pt x="726" y="371"/>
                  </a:lnTo>
                  <a:lnTo>
                    <a:pt x="723" y="373"/>
                  </a:lnTo>
                  <a:lnTo>
                    <a:pt x="720" y="376"/>
                  </a:lnTo>
                  <a:lnTo>
                    <a:pt x="716" y="373"/>
                  </a:lnTo>
                  <a:lnTo>
                    <a:pt x="729" y="365"/>
                  </a:lnTo>
                  <a:lnTo>
                    <a:pt x="740" y="360"/>
                  </a:lnTo>
                  <a:lnTo>
                    <a:pt x="736" y="362"/>
                  </a:lnTo>
                  <a:lnTo>
                    <a:pt x="732" y="363"/>
                  </a:lnTo>
                  <a:lnTo>
                    <a:pt x="726" y="367"/>
                  </a:lnTo>
                  <a:lnTo>
                    <a:pt x="721" y="368"/>
                  </a:lnTo>
                  <a:lnTo>
                    <a:pt x="718" y="367"/>
                  </a:lnTo>
                  <a:lnTo>
                    <a:pt x="715" y="367"/>
                  </a:lnTo>
                  <a:lnTo>
                    <a:pt x="710" y="368"/>
                  </a:lnTo>
                  <a:lnTo>
                    <a:pt x="707" y="370"/>
                  </a:lnTo>
                  <a:lnTo>
                    <a:pt x="710" y="370"/>
                  </a:lnTo>
                  <a:lnTo>
                    <a:pt x="715" y="368"/>
                  </a:lnTo>
                  <a:lnTo>
                    <a:pt x="718" y="367"/>
                  </a:lnTo>
                  <a:lnTo>
                    <a:pt x="715" y="370"/>
                  </a:lnTo>
                  <a:lnTo>
                    <a:pt x="710" y="371"/>
                  </a:lnTo>
                  <a:lnTo>
                    <a:pt x="707" y="373"/>
                  </a:lnTo>
                  <a:lnTo>
                    <a:pt x="704" y="376"/>
                  </a:lnTo>
                  <a:lnTo>
                    <a:pt x="701" y="376"/>
                  </a:lnTo>
                  <a:lnTo>
                    <a:pt x="697" y="376"/>
                  </a:lnTo>
                  <a:lnTo>
                    <a:pt x="693" y="378"/>
                  </a:lnTo>
                  <a:lnTo>
                    <a:pt x="697" y="378"/>
                  </a:lnTo>
                  <a:lnTo>
                    <a:pt x="694" y="379"/>
                  </a:lnTo>
                  <a:lnTo>
                    <a:pt x="690" y="379"/>
                  </a:lnTo>
                  <a:lnTo>
                    <a:pt x="686" y="381"/>
                  </a:lnTo>
                  <a:lnTo>
                    <a:pt x="690" y="381"/>
                  </a:lnTo>
                  <a:lnTo>
                    <a:pt x="694" y="379"/>
                  </a:lnTo>
                  <a:lnTo>
                    <a:pt x="697" y="379"/>
                  </a:lnTo>
                  <a:lnTo>
                    <a:pt x="694" y="382"/>
                  </a:lnTo>
                  <a:lnTo>
                    <a:pt x="697" y="381"/>
                  </a:lnTo>
                  <a:lnTo>
                    <a:pt x="701" y="379"/>
                  </a:lnTo>
                  <a:lnTo>
                    <a:pt x="699" y="382"/>
                  </a:lnTo>
                  <a:lnTo>
                    <a:pt x="696" y="386"/>
                  </a:lnTo>
                  <a:lnTo>
                    <a:pt x="691" y="387"/>
                  </a:lnTo>
                  <a:lnTo>
                    <a:pt x="688" y="386"/>
                  </a:lnTo>
                  <a:lnTo>
                    <a:pt x="685" y="387"/>
                  </a:lnTo>
                  <a:lnTo>
                    <a:pt x="677" y="389"/>
                  </a:lnTo>
                  <a:lnTo>
                    <a:pt x="682" y="389"/>
                  </a:lnTo>
                  <a:lnTo>
                    <a:pt x="685" y="387"/>
                  </a:lnTo>
                  <a:lnTo>
                    <a:pt x="688" y="387"/>
                  </a:lnTo>
                  <a:lnTo>
                    <a:pt x="691" y="389"/>
                  </a:lnTo>
                  <a:lnTo>
                    <a:pt x="694" y="387"/>
                  </a:lnTo>
                  <a:lnTo>
                    <a:pt x="699" y="386"/>
                  </a:lnTo>
                  <a:lnTo>
                    <a:pt x="699" y="389"/>
                  </a:lnTo>
                  <a:lnTo>
                    <a:pt x="696" y="390"/>
                  </a:lnTo>
                  <a:lnTo>
                    <a:pt x="691" y="392"/>
                  </a:lnTo>
                  <a:lnTo>
                    <a:pt x="688" y="394"/>
                  </a:lnTo>
                  <a:lnTo>
                    <a:pt x="685" y="394"/>
                  </a:lnTo>
                  <a:lnTo>
                    <a:pt x="682" y="397"/>
                  </a:lnTo>
                  <a:lnTo>
                    <a:pt x="677" y="397"/>
                  </a:lnTo>
                  <a:lnTo>
                    <a:pt x="674" y="400"/>
                  </a:lnTo>
                  <a:lnTo>
                    <a:pt x="677" y="398"/>
                  </a:lnTo>
                  <a:lnTo>
                    <a:pt x="682" y="398"/>
                  </a:lnTo>
                  <a:lnTo>
                    <a:pt x="677" y="402"/>
                  </a:lnTo>
                  <a:lnTo>
                    <a:pt x="682" y="400"/>
                  </a:lnTo>
                  <a:lnTo>
                    <a:pt x="677" y="402"/>
                  </a:lnTo>
                  <a:lnTo>
                    <a:pt x="674" y="403"/>
                  </a:lnTo>
                  <a:lnTo>
                    <a:pt x="670" y="403"/>
                  </a:lnTo>
                  <a:lnTo>
                    <a:pt x="666" y="406"/>
                  </a:lnTo>
                  <a:lnTo>
                    <a:pt x="664" y="408"/>
                  </a:lnTo>
                  <a:lnTo>
                    <a:pt x="661" y="408"/>
                  </a:lnTo>
                  <a:lnTo>
                    <a:pt x="658" y="409"/>
                  </a:lnTo>
                  <a:lnTo>
                    <a:pt x="655" y="409"/>
                  </a:lnTo>
                  <a:lnTo>
                    <a:pt x="650" y="409"/>
                  </a:lnTo>
                  <a:lnTo>
                    <a:pt x="647" y="408"/>
                  </a:lnTo>
                  <a:lnTo>
                    <a:pt x="644" y="408"/>
                  </a:lnTo>
                  <a:lnTo>
                    <a:pt x="645" y="408"/>
                  </a:lnTo>
                  <a:lnTo>
                    <a:pt x="648" y="406"/>
                  </a:lnTo>
                  <a:lnTo>
                    <a:pt x="645" y="406"/>
                  </a:lnTo>
                  <a:lnTo>
                    <a:pt x="642" y="408"/>
                  </a:lnTo>
                  <a:lnTo>
                    <a:pt x="639" y="409"/>
                  </a:lnTo>
                  <a:lnTo>
                    <a:pt x="634" y="413"/>
                  </a:lnTo>
                  <a:lnTo>
                    <a:pt x="637" y="408"/>
                  </a:lnTo>
                  <a:lnTo>
                    <a:pt x="639" y="408"/>
                  </a:lnTo>
                  <a:lnTo>
                    <a:pt x="642" y="403"/>
                  </a:lnTo>
                  <a:lnTo>
                    <a:pt x="639" y="405"/>
                  </a:lnTo>
                  <a:lnTo>
                    <a:pt x="636" y="408"/>
                  </a:lnTo>
                  <a:lnTo>
                    <a:pt x="632" y="409"/>
                  </a:lnTo>
                  <a:lnTo>
                    <a:pt x="629" y="409"/>
                  </a:lnTo>
                  <a:lnTo>
                    <a:pt x="626" y="413"/>
                  </a:lnTo>
                  <a:lnTo>
                    <a:pt x="621" y="414"/>
                  </a:lnTo>
                  <a:lnTo>
                    <a:pt x="621" y="417"/>
                  </a:lnTo>
                  <a:lnTo>
                    <a:pt x="621" y="414"/>
                  </a:lnTo>
                  <a:lnTo>
                    <a:pt x="625" y="411"/>
                  </a:lnTo>
                  <a:lnTo>
                    <a:pt x="621" y="413"/>
                  </a:lnTo>
                  <a:lnTo>
                    <a:pt x="617" y="413"/>
                  </a:lnTo>
                  <a:lnTo>
                    <a:pt x="615" y="416"/>
                  </a:lnTo>
                  <a:lnTo>
                    <a:pt x="612" y="419"/>
                  </a:lnTo>
                  <a:lnTo>
                    <a:pt x="612" y="416"/>
                  </a:lnTo>
                  <a:lnTo>
                    <a:pt x="610" y="414"/>
                  </a:lnTo>
                  <a:lnTo>
                    <a:pt x="609" y="416"/>
                  </a:lnTo>
                  <a:lnTo>
                    <a:pt x="605" y="419"/>
                  </a:lnTo>
                  <a:lnTo>
                    <a:pt x="602" y="421"/>
                  </a:lnTo>
                  <a:lnTo>
                    <a:pt x="599" y="422"/>
                  </a:lnTo>
                  <a:lnTo>
                    <a:pt x="596" y="424"/>
                  </a:lnTo>
                  <a:lnTo>
                    <a:pt x="593" y="425"/>
                  </a:lnTo>
                  <a:lnTo>
                    <a:pt x="588" y="427"/>
                  </a:lnTo>
                  <a:lnTo>
                    <a:pt x="585" y="427"/>
                  </a:lnTo>
                  <a:lnTo>
                    <a:pt x="588" y="424"/>
                  </a:lnTo>
                  <a:lnTo>
                    <a:pt x="593" y="424"/>
                  </a:lnTo>
                  <a:lnTo>
                    <a:pt x="596" y="421"/>
                  </a:lnTo>
                  <a:lnTo>
                    <a:pt x="599" y="419"/>
                  </a:lnTo>
                  <a:lnTo>
                    <a:pt x="590" y="422"/>
                  </a:lnTo>
                  <a:lnTo>
                    <a:pt x="580" y="427"/>
                  </a:lnTo>
                  <a:lnTo>
                    <a:pt x="583" y="424"/>
                  </a:lnTo>
                  <a:lnTo>
                    <a:pt x="580" y="424"/>
                  </a:lnTo>
                  <a:lnTo>
                    <a:pt x="577" y="427"/>
                  </a:lnTo>
                  <a:lnTo>
                    <a:pt x="574" y="428"/>
                  </a:lnTo>
                  <a:lnTo>
                    <a:pt x="569" y="430"/>
                  </a:lnTo>
                  <a:lnTo>
                    <a:pt x="566" y="432"/>
                  </a:lnTo>
                  <a:lnTo>
                    <a:pt x="563" y="433"/>
                  </a:lnTo>
                  <a:lnTo>
                    <a:pt x="559" y="436"/>
                  </a:lnTo>
                  <a:lnTo>
                    <a:pt x="555" y="433"/>
                  </a:lnTo>
                  <a:lnTo>
                    <a:pt x="552" y="433"/>
                  </a:lnTo>
                  <a:lnTo>
                    <a:pt x="553" y="436"/>
                  </a:lnTo>
                  <a:lnTo>
                    <a:pt x="550" y="436"/>
                  </a:lnTo>
                  <a:lnTo>
                    <a:pt x="545" y="435"/>
                  </a:lnTo>
                  <a:lnTo>
                    <a:pt x="542" y="436"/>
                  </a:lnTo>
                  <a:lnTo>
                    <a:pt x="539" y="438"/>
                  </a:lnTo>
                  <a:lnTo>
                    <a:pt x="534" y="438"/>
                  </a:lnTo>
                  <a:lnTo>
                    <a:pt x="531" y="436"/>
                  </a:lnTo>
                  <a:lnTo>
                    <a:pt x="531" y="433"/>
                  </a:lnTo>
                  <a:lnTo>
                    <a:pt x="534" y="432"/>
                  </a:lnTo>
                  <a:lnTo>
                    <a:pt x="537" y="432"/>
                  </a:lnTo>
                  <a:lnTo>
                    <a:pt x="542" y="428"/>
                  </a:lnTo>
                  <a:lnTo>
                    <a:pt x="550" y="427"/>
                  </a:lnTo>
                  <a:lnTo>
                    <a:pt x="553" y="427"/>
                  </a:lnTo>
                  <a:lnTo>
                    <a:pt x="556" y="425"/>
                  </a:lnTo>
                  <a:lnTo>
                    <a:pt x="559" y="424"/>
                  </a:lnTo>
                  <a:lnTo>
                    <a:pt x="563" y="424"/>
                  </a:lnTo>
                  <a:lnTo>
                    <a:pt x="567" y="422"/>
                  </a:lnTo>
                  <a:lnTo>
                    <a:pt x="571" y="421"/>
                  </a:lnTo>
                  <a:lnTo>
                    <a:pt x="574" y="417"/>
                  </a:lnTo>
                  <a:lnTo>
                    <a:pt x="579" y="417"/>
                  </a:lnTo>
                  <a:lnTo>
                    <a:pt x="574" y="416"/>
                  </a:lnTo>
                  <a:lnTo>
                    <a:pt x="571" y="417"/>
                  </a:lnTo>
                  <a:lnTo>
                    <a:pt x="567" y="419"/>
                  </a:lnTo>
                  <a:lnTo>
                    <a:pt x="564" y="419"/>
                  </a:lnTo>
                  <a:lnTo>
                    <a:pt x="559" y="421"/>
                  </a:lnTo>
                  <a:lnTo>
                    <a:pt x="556" y="421"/>
                  </a:lnTo>
                  <a:lnTo>
                    <a:pt x="553" y="417"/>
                  </a:lnTo>
                  <a:lnTo>
                    <a:pt x="564" y="409"/>
                  </a:lnTo>
                  <a:lnTo>
                    <a:pt x="575" y="405"/>
                  </a:lnTo>
                  <a:lnTo>
                    <a:pt x="586" y="400"/>
                  </a:lnTo>
                  <a:lnTo>
                    <a:pt x="590" y="398"/>
                  </a:lnTo>
                  <a:lnTo>
                    <a:pt x="593" y="395"/>
                  </a:lnTo>
                  <a:lnTo>
                    <a:pt x="598" y="394"/>
                  </a:lnTo>
                  <a:lnTo>
                    <a:pt x="598" y="394"/>
                  </a:lnTo>
                  <a:lnTo>
                    <a:pt x="601" y="390"/>
                  </a:lnTo>
                  <a:lnTo>
                    <a:pt x="605" y="387"/>
                  </a:lnTo>
                  <a:lnTo>
                    <a:pt x="607" y="384"/>
                  </a:lnTo>
                  <a:lnTo>
                    <a:pt x="610" y="381"/>
                  </a:lnTo>
                  <a:lnTo>
                    <a:pt x="613" y="379"/>
                  </a:lnTo>
                  <a:lnTo>
                    <a:pt x="617" y="379"/>
                  </a:lnTo>
                  <a:lnTo>
                    <a:pt x="623" y="378"/>
                  </a:lnTo>
                  <a:lnTo>
                    <a:pt x="637" y="373"/>
                  </a:lnTo>
                  <a:lnTo>
                    <a:pt x="653" y="368"/>
                  </a:lnTo>
                  <a:lnTo>
                    <a:pt x="653" y="371"/>
                  </a:lnTo>
                  <a:lnTo>
                    <a:pt x="656" y="373"/>
                  </a:lnTo>
                  <a:lnTo>
                    <a:pt x="659" y="373"/>
                  </a:lnTo>
                  <a:lnTo>
                    <a:pt x="663" y="371"/>
                  </a:lnTo>
                  <a:lnTo>
                    <a:pt x="667" y="371"/>
                  </a:lnTo>
                  <a:lnTo>
                    <a:pt x="675" y="373"/>
                  </a:lnTo>
                  <a:lnTo>
                    <a:pt x="685" y="375"/>
                  </a:lnTo>
                  <a:lnTo>
                    <a:pt x="680" y="371"/>
                  </a:lnTo>
                  <a:lnTo>
                    <a:pt x="677" y="371"/>
                  </a:lnTo>
                  <a:lnTo>
                    <a:pt x="674" y="370"/>
                  </a:lnTo>
                  <a:lnTo>
                    <a:pt x="670" y="367"/>
                  </a:lnTo>
                  <a:lnTo>
                    <a:pt x="669" y="365"/>
                  </a:lnTo>
                  <a:lnTo>
                    <a:pt x="672" y="362"/>
                  </a:lnTo>
                  <a:lnTo>
                    <a:pt x="675" y="362"/>
                  </a:lnTo>
                  <a:lnTo>
                    <a:pt x="678" y="360"/>
                  </a:lnTo>
                  <a:lnTo>
                    <a:pt x="682" y="359"/>
                  </a:lnTo>
                  <a:lnTo>
                    <a:pt x="685" y="357"/>
                  </a:lnTo>
                  <a:lnTo>
                    <a:pt x="690" y="356"/>
                  </a:lnTo>
                  <a:lnTo>
                    <a:pt x="693" y="354"/>
                  </a:lnTo>
                  <a:lnTo>
                    <a:pt x="696" y="354"/>
                  </a:lnTo>
                  <a:lnTo>
                    <a:pt x="701" y="352"/>
                  </a:lnTo>
                  <a:lnTo>
                    <a:pt x="704" y="352"/>
                  </a:lnTo>
                  <a:lnTo>
                    <a:pt x="701" y="351"/>
                  </a:lnTo>
                  <a:lnTo>
                    <a:pt x="697" y="352"/>
                  </a:lnTo>
                  <a:lnTo>
                    <a:pt x="693" y="352"/>
                  </a:lnTo>
                  <a:lnTo>
                    <a:pt x="690" y="354"/>
                  </a:lnTo>
                  <a:lnTo>
                    <a:pt x="686" y="354"/>
                  </a:lnTo>
                  <a:lnTo>
                    <a:pt x="683" y="356"/>
                  </a:lnTo>
                  <a:lnTo>
                    <a:pt x="677" y="360"/>
                  </a:lnTo>
                  <a:lnTo>
                    <a:pt x="674" y="360"/>
                  </a:lnTo>
                  <a:lnTo>
                    <a:pt x="670" y="360"/>
                  </a:lnTo>
                  <a:lnTo>
                    <a:pt x="663" y="360"/>
                  </a:lnTo>
                  <a:lnTo>
                    <a:pt x="663" y="357"/>
                  </a:lnTo>
                  <a:lnTo>
                    <a:pt x="663" y="357"/>
                  </a:lnTo>
                  <a:lnTo>
                    <a:pt x="650" y="362"/>
                  </a:lnTo>
                  <a:lnTo>
                    <a:pt x="634" y="367"/>
                  </a:lnTo>
                  <a:lnTo>
                    <a:pt x="626" y="368"/>
                  </a:lnTo>
                  <a:lnTo>
                    <a:pt x="617" y="370"/>
                  </a:lnTo>
                  <a:lnTo>
                    <a:pt x="613" y="371"/>
                  </a:lnTo>
                  <a:lnTo>
                    <a:pt x="609" y="373"/>
                  </a:lnTo>
                  <a:lnTo>
                    <a:pt x="605" y="376"/>
                  </a:lnTo>
                  <a:lnTo>
                    <a:pt x="602" y="379"/>
                  </a:lnTo>
                  <a:lnTo>
                    <a:pt x="588" y="382"/>
                  </a:lnTo>
                  <a:lnTo>
                    <a:pt x="574" y="389"/>
                  </a:lnTo>
                  <a:lnTo>
                    <a:pt x="572" y="392"/>
                  </a:lnTo>
                  <a:lnTo>
                    <a:pt x="567" y="394"/>
                  </a:lnTo>
                  <a:lnTo>
                    <a:pt x="564" y="395"/>
                  </a:lnTo>
                  <a:lnTo>
                    <a:pt x="561" y="397"/>
                  </a:lnTo>
                  <a:lnTo>
                    <a:pt x="556" y="398"/>
                  </a:lnTo>
                  <a:lnTo>
                    <a:pt x="553" y="398"/>
                  </a:lnTo>
                  <a:lnTo>
                    <a:pt x="550" y="398"/>
                  </a:lnTo>
                  <a:lnTo>
                    <a:pt x="547" y="395"/>
                  </a:lnTo>
                  <a:lnTo>
                    <a:pt x="542" y="397"/>
                  </a:lnTo>
                  <a:lnTo>
                    <a:pt x="547" y="397"/>
                  </a:lnTo>
                  <a:lnTo>
                    <a:pt x="547" y="400"/>
                  </a:lnTo>
                  <a:lnTo>
                    <a:pt x="548" y="403"/>
                  </a:lnTo>
                  <a:lnTo>
                    <a:pt x="540" y="409"/>
                  </a:lnTo>
                  <a:lnTo>
                    <a:pt x="534" y="411"/>
                  </a:lnTo>
                  <a:lnTo>
                    <a:pt x="526" y="413"/>
                  </a:lnTo>
                  <a:lnTo>
                    <a:pt x="518" y="413"/>
                  </a:lnTo>
                  <a:lnTo>
                    <a:pt x="521" y="414"/>
                  </a:lnTo>
                  <a:lnTo>
                    <a:pt x="520" y="417"/>
                  </a:lnTo>
                  <a:lnTo>
                    <a:pt x="517" y="419"/>
                  </a:lnTo>
                  <a:lnTo>
                    <a:pt x="512" y="421"/>
                  </a:lnTo>
                  <a:lnTo>
                    <a:pt x="509" y="419"/>
                  </a:lnTo>
                  <a:lnTo>
                    <a:pt x="506" y="421"/>
                  </a:lnTo>
                  <a:lnTo>
                    <a:pt x="509" y="417"/>
                  </a:lnTo>
                  <a:lnTo>
                    <a:pt x="506" y="419"/>
                  </a:lnTo>
                  <a:lnTo>
                    <a:pt x="501" y="421"/>
                  </a:lnTo>
                  <a:lnTo>
                    <a:pt x="498" y="421"/>
                  </a:lnTo>
                  <a:lnTo>
                    <a:pt x="494" y="424"/>
                  </a:lnTo>
                  <a:lnTo>
                    <a:pt x="488" y="424"/>
                  </a:lnTo>
                  <a:lnTo>
                    <a:pt x="487" y="427"/>
                  </a:lnTo>
                  <a:lnTo>
                    <a:pt x="483" y="428"/>
                  </a:lnTo>
                  <a:lnTo>
                    <a:pt x="480" y="428"/>
                  </a:lnTo>
                  <a:lnTo>
                    <a:pt x="475" y="430"/>
                  </a:lnTo>
                  <a:lnTo>
                    <a:pt x="472" y="432"/>
                  </a:lnTo>
                  <a:lnTo>
                    <a:pt x="475" y="432"/>
                  </a:lnTo>
                  <a:lnTo>
                    <a:pt x="471" y="433"/>
                  </a:lnTo>
                  <a:lnTo>
                    <a:pt x="464" y="435"/>
                  </a:lnTo>
                  <a:lnTo>
                    <a:pt x="460" y="440"/>
                  </a:lnTo>
                  <a:lnTo>
                    <a:pt x="455" y="443"/>
                  </a:lnTo>
                  <a:lnTo>
                    <a:pt x="460" y="443"/>
                  </a:lnTo>
                  <a:lnTo>
                    <a:pt x="463" y="443"/>
                  </a:lnTo>
                  <a:lnTo>
                    <a:pt x="466" y="443"/>
                  </a:lnTo>
                  <a:lnTo>
                    <a:pt x="469" y="443"/>
                  </a:lnTo>
                  <a:lnTo>
                    <a:pt x="472" y="444"/>
                  </a:lnTo>
                  <a:lnTo>
                    <a:pt x="474" y="449"/>
                  </a:lnTo>
                  <a:lnTo>
                    <a:pt x="467" y="452"/>
                  </a:lnTo>
                  <a:lnTo>
                    <a:pt x="460" y="455"/>
                  </a:lnTo>
                  <a:lnTo>
                    <a:pt x="453" y="459"/>
                  </a:lnTo>
                  <a:lnTo>
                    <a:pt x="445" y="460"/>
                  </a:lnTo>
                  <a:lnTo>
                    <a:pt x="442" y="462"/>
                  </a:lnTo>
                  <a:lnTo>
                    <a:pt x="437" y="463"/>
                  </a:lnTo>
                  <a:lnTo>
                    <a:pt x="434" y="463"/>
                  </a:lnTo>
                  <a:lnTo>
                    <a:pt x="431" y="468"/>
                  </a:lnTo>
                  <a:lnTo>
                    <a:pt x="426" y="470"/>
                  </a:lnTo>
                  <a:lnTo>
                    <a:pt x="420" y="471"/>
                  </a:lnTo>
                  <a:lnTo>
                    <a:pt x="417" y="473"/>
                  </a:lnTo>
                  <a:lnTo>
                    <a:pt x="420" y="471"/>
                  </a:lnTo>
                  <a:lnTo>
                    <a:pt x="423" y="471"/>
                  </a:lnTo>
                  <a:lnTo>
                    <a:pt x="420" y="473"/>
                  </a:lnTo>
                  <a:lnTo>
                    <a:pt x="417" y="476"/>
                  </a:lnTo>
                  <a:lnTo>
                    <a:pt x="412" y="478"/>
                  </a:lnTo>
                  <a:lnTo>
                    <a:pt x="409" y="479"/>
                  </a:lnTo>
                  <a:lnTo>
                    <a:pt x="409" y="476"/>
                  </a:lnTo>
                  <a:lnTo>
                    <a:pt x="406" y="479"/>
                  </a:lnTo>
                  <a:lnTo>
                    <a:pt x="402" y="478"/>
                  </a:lnTo>
                  <a:lnTo>
                    <a:pt x="399" y="482"/>
                  </a:lnTo>
                  <a:lnTo>
                    <a:pt x="396" y="481"/>
                  </a:lnTo>
                  <a:lnTo>
                    <a:pt x="393" y="482"/>
                  </a:lnTo>
                  <a:lnTo>
                    <a:pt x="388" y="482"/>
                  </a:lnTo>
                  <a:lnTo>
                    <a:pt x="385" y="482"/>
                  </a:lnTo>
                  <a:lnTo>
                    <a:pt x="382" y="484"/>
                  </a:lnTo>
                  <a:lnTo>
                    <a:pt x="377" y="487"/>
                  </a:lnTo>
                  <a:lnTo>
                    <a:pt x="374" y="487"/>
                  </a:lnTo>
                  <a:lnTo>
                    <a:pt x="371" y="489"/>
                  </a:lnTo>
                  <a:lnTo>
                    <a:pt x="368" y="490"/>
                  </a:lnTo>
                  <a:lnTo>
                    <a:pt x="363" y="493"/>
                  </a:lnTo>
                  <a:lnTo>
                    <a:pt x="360" y="492"/>
                  </a:lnTo>
                  <a:lnTo>
                    <a:pt x="356" y="492"/>
                  </a:lnTo>
                  <a:lnTo>
                    <a:pt x="353" y="495"/>
                  </a:lnTo>
                  <a:lnTo>
                    <a:pt x="350" y="497"/>
                  </a:lnTo>
                  <a:lnTo>
                    <a:pt x="347" y="497"/>
                  </a:lnTo>
                  <a:lnTo>
                    <a:pt x="344" y="500"/>
                  </a:lnTo>
                  <a:lnTo>
                    <a:pt x="341" y="500"/>
                  </a:lnTo>
                  <a:lnTo>
                    <a:pt x="337" y="501"/>
                  </a:lnTo>
                  <a:lnTo>
                    <a:pt x="333" y="500"/>
                  </a:lnTo>
                  <a:lnTo>
                    <a:pt x="331" y="505"/>
                  </a:lnTo>
                  <a:lnTo>
                    <a:pt x="326" y="503"/>
                  </a:lnTo>
                  <a:lnTo>
                    <a:pt x="323" y="505"/>
                  </a:lnTo>
                  <a:lnTo>
                    <a:pt x="320" y="505"/>
                  </a:lnTo>
                  <a:lnTo>
                    <a:pt x="317" y="506"/>
                  </a:lnTo>
                  <a:lnTo>
                    <a:pt x="312" y="508"/>
                  </a:lnTo>
                  <a:lnTo>
                    <a:pt x="309" y="509"/>
                  </a:lnTo>
                  <a:lnTo>
                    <a:pt x="312" y="509"/>
                  </a:lnTo>
                  <a:lnTo>
                    <a:pt x="309" y="513"/>
                  </a:lnTo>
                  <a:lnTo>
                    <a:pt x="307" y="516"/>
                  </a:lnTo>
                  <a:lnTo>
                    <a:pt x="303" y="516"/>
                  </a:lnTo>
                  <a:lnTo>
                    <a:pt x="299" y="519"/>
                  </a:lnTo>
                  <a:lnTo>
                    <a:pt x="296" y="519"/>
                  </a:lnTo>
                  <a:lnTo>
                    <a:pt x="293" y="520"/>
                  </a:lnTo>
                  <a:lnTo>
                    <a:pt x="290" y="522"/>
                  </a:lnTo>
                  <a:lnTo>
                    <a:pt x="285" y="524"/>
                  </a:lnTo>
                  <a:lnTo>
                    <a:pt x="282" y="522"/>
                  </a:lnTo>
                  <a:lnTo>
                    <a:pt x="276" y="527"/>
                  </a:lnTo>
                  <a:lnTo>
                    <a:pt x="271" y="527"/>
                  </a:lnTo>
                  <a:lnTo>
                    <a:pt x="271" y="527"/>
                  </a:lnTo>
                  <a:lnTo>
                    <a:pt x="266" y="530"/>
                  </a:lnTo>
                  <a:lnTo>
                    <a:pt x="264" y="527"/>
                  </a:lnTo>
                  <a:lnTo>
                    <a:pt x="261" y="527"/>
                  </a:lnTo>
                  <a:lnTo>
                    <a:pt x="258" y="530"/>
                  </a:lnTo>
                  <a:lnTo>
                    <a:pt x="253" y="532"/>
                  </a:lnTo>
                  <a:lnTo>
                    <a:pt x="253" y="535"/>
                  </a:lnTo>
                  <a:lnTo>
                    <a:pt x="245" y="536"/>
                  </a:lnTo>
                  <a:lnTo>
                    <a:pt x="242" y="535"/>
                  </a:lnTo>
                  <a:lnTo>
                    <a:pt x="234" y="536"/>
                  </a:lnTo>
                  <a:lnTo>
                    <a:pt x="231" y="538"/>
                  </a:lnTo>
                  <a:lnTo>
                    <a:pt x="234" y="538"/>
                  </a:lnTo>
                  <a:lnTo>
                    <a:pt x="234" y="541"/>
                  </a:lnTo>
                  <a:lnTo>
                    <a:pt x="230" y="539"/>
                  </a:lnTo>
                  <a:lnTo>
                    <a:pt x="226" y="539"/>
                  </a:lnTo>
                  <a:lnTo>
                    <a:pt x="223" y="543"/>
                  </a:lnTo>
                  <a:lnTo>
                    <a:pt x="220" y="541"/>
                  </a:lnTo>
                  <a:lnTo>
                    <a:pt x="211" y="544"/>
                  </a:lnTo>
                  <a:lnTo>
                    <a:pt x="201" y="549"/>
                  </a:lnTo>
                  <a:lnTo>
                    <a:pt x="206" y="547"/>
                  </a:lnTo>
                  <a:lnTo>
                    <a:pt x="209" y="546"/>
                  </a:lnTo>
                  <a:lnTo>
                    <a:pt x="212" y="547"/>
                  </a:lnTo>
                  <a:lnTo>
                    <a:pt x="209" y="551"/>
                  </a:lnTo>
                  <a:lnTo>
                    <a:pt x="212" y="551"/>
                  </a:lnTo>
                  <a:lnTo>
                    <a:pt x="209" y="552"/>
                  </a:lnTo>
                  <a:lnTo>
                    <a:pt x="206" y="554"/>
                  </a:lnTo>
                  <a:lnTo>
                    <a:pt x="203" y="554"/>
                  </a:lnTo>
                  <a:lnTo>
                    <a:pt x="198" y="555"/>
                  </a:lnTo>
                  <a:lnTo>
                    <a:pt x="196" y="559"/>
                  </a:lnTo>
                  <a:lnTo>
                    <a:pt x="193" y="560"/>
                  </a:lnTo>
                  <a:lnTo>
                    <a:pt x="196" y="557"/>
                  </a:lnTo>
                  <a:lnTo>
                    <a:pt x="199" y="554"/>
                  </a:lnTo>
                  <a:lnTo>
                    <a:pt x="203" y="552"/>
                  </a:lnTo>
                  <a:lnTo>
                    <a:pt x="199" y="552"/>
                  </a:lnTo>
                  <a:lnTo>
                    <a:pt x="195" y="555"/>
                  </a:lnTo>
                  <a:lnTo>
                    <a:pt x="188" y="560"/>
                  </a:lnTo>
                  <a:lnTo>
                    <a:pt x="185" y="562"/>
                  </a:lnTo>
                  <a:lnTo>
                    <a:pt x="182" y="560"/>
                  </a:lnTo>
                  <a:lnTo>
                    <a:pt x="177" y="562"/>
                  </a:lnTo>
                  <a:lnTo>
                    <a:pt x="174" y="563"/>
                  </a:lnTo>
                  <a:lnTo>
                    <a:pt x="171" y="563"/>
                  </a:lnTo>
                  <a:lnTo>
                    <a:pt x="168" y="563"/>
                  </a:lnTo>
                  <a:lnTo>
                    <a:pt x="165" y="563"/>
                  </a:lnTo>
                  <a:lnTo>
                    <a:pt x="160" y="566"/>
                  </a:lnTo>
                  <a:lnTo>
                    <a:pt x="157" y="566"/>
                  </a:lnTo>
                  <a:lnTo>
                    <a:pt x="153" y="568"/>
                  </a:lnTo>
                  <a:lnTo>
                    <a:pt x="149" y="571"/>
                  </a:lnTo>
                  <a:lnTo>
                    <a:pt x="146" y="573"/>
                  </a:lnTo>
                  <a:lnTo>
                    <a:pt x="142" y="576"/>
                  </a:lnTo>
                  <a:lnTo>
                    <a:pt x="139" y="576"/>
                  </a:lnTo>
                  <a:lnTo>
                    <a:pt x="142" y="574"/>
                  </a:lnTo>
                  <a:lnTo>
                    <a:pt x="146" y="571"/>
                  </a:lnTo>
                  <a:lnTo>
                    <a:pt x="150" y="568"/>
                  </a:lnTo>
                  <a:lnTo>
                    <a:pt x="146" y="566"/>
                  </a:lnTo>
                  <a:lnTo>
                    <a:pt x="142" y="568"/>
                  </a:lnTo>
                  <a:lnTo>
                    <a:pt x="141" y="568"/>
                  </a:lnTo>
                  <a:lnTo>
                    <a:pt x="136" y="570"/>
                  </a:lnTo>
                  <a:lnTo>
                    <a:pt x="133" y="570"/>
                  </a:lnTo>
                  <a:lnTo>
                    <a:pt x="130" y="573"/>
                  </a:lnTo>
                  <a:lnTo>
                    <a:pt x="126" y="573"/>
                  </a:lnTo>
                  <a:lnTo>
                    <a:pt x="122" y="573"/>
                  </a:lnTo>
                  <a:lnTo>
                    <a:pt x="119" y="576"/>
                  </a:lnTo>
                  <a:lnTo>
                    <a:pt x="115" y="578"/>
                  </a:lnTo>
                  <a:lnTo>
                    <a:pt x="112" y="579"/>
                  </a:lnTo>
                  <a:lnTo>
                    <a:pt x="114" y="576"/>
                  </a:lnTo>
                  <a:lnTo>
                    <a:pt x="109" y="576"/>
                  </a:lnTo>
                  <a:lnTo>
                    <a:pt x="106" y="579"/>
                  </a:lnTo>
                  <a:lnTo>
                    <a:pt x="103" y="581"/>
                  </a:lnTo>
                  <a:lnTo>
                    <a:pt x="100" y="579"/>
                  </a:lnTo>
                  <a:lnTo>
                    <a:pt x="95" y="581"/>
                  </a:lnTo>
                  <a:lnTo>
                    <a:pt x="92" y="582"/>
                  </a:lnTo>
                  <a:lnTo>
                    <a:pt x="88" y="582"/>
                  </a:lnTo>
                  <a:lnTo>
                    <a:pt x="85" y="584"/>
                  </a:lnTo>
                  <a:lnTo>
                    <a:pt x="81" y="582"/>
                  </a:lnTo>
                  <a:lnTo>
                    <a:pt x="77" y="584"/>
                  </a:lnTo>
                  <a:lnTo>
                    <a:pt x="84" y="579"/>
                  </a:lnTo>
                  <a:lnTo>
                    <a:pt x="87" y="576"/>
                  </a:lnTo>
                  <a:lnTo>
                    <a:pt x="90" y="576"/>
                  </a:lnTo>
                  <a:lnTo>
                    <a:pt x="95" y="578"/>
                  </a:lnTo>
                  <a:lnTo>
                    <a:pt x="92" y="574"/>
                  </a:lnTo>
                  <a:lnTo>
                    <a:pt x="88" y="573"/>
                  </a:lnTo>
                  <a:lnTo>
                    <a:pt x="85" y="574"/>
                  </a:lnTo>
                  <a:lnTo>
                    <a:pt x="81" y="576"/>
                  </a:lnTo>
                  <a:lnTo>
                    <a:pt x="77" y="578"/>
                  </a:lnTo>
                  <a:lnTo>
                    <a:pt x="74" y="581"/>
                  </a:lnTo>
                  <a:lnTo>
                    <a:pt x="71" y="582"/>
                  </a:lnTo>
                  <a:lnTo>
                    <a:pt x="63" y="587"/>
                  </a:lnTo>
                  <a:lnTo>
                    <a:pt x="60" y="589"/>
                  </a:lnTo>
                  <a:lnTo>
                    <a:pt x="57" y="589"/>
                  </a:lnTo>
                  <a:lnTo>
                    <a:pt x="54" y="590"/>
                  </a:lnTo>
                  <a:lnTo>
                    <a:pt x="49" y="595"/>
                  </a:lnTo>
                  <a:lnTo>
                    <a:pt x="46" y="592"/>
                  </a:lnTo>
                  <a:lnTo>
                    <a:pt x="42" y="597"/>
                  </a:lnTo>
                  <a:lnTo>
                    <a:pt x="39" y="597"/>
                  </a:lnTo>
                  <a:lnTo>
                    <a:pt x="35" y="597"/>
                  </a:lnTo>
                  <a:lnTo>
                    <a:pt x="39" y="593"/>
                  </a:lnTo>
                  <a:lnTo>
                    <a:pt x="39" y="590"/>
                  </a:lnTo>
                  <a:lnTo>
                    <a:pt x="41" y="587"/>
                  </a:lnTo>
                  <a:lnTo>
                    <a:pt x="36" y="587"/>
                  </a:lnTo>
                  <a:lnTo>
                    <a:pt x="35" y="590"/>
                  </a:lnTo>
                  <a:lnTo>
                    <a:pt x="31" y="593"/>
                  </a:lnTo>
                  <a:lnTo>
                    <a:pt x="30" y="597"/>
                  </a:lnTo>
                  <a:lnTo>
                    <a:pt x="25" y="597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53" name="Freeform 630"/>
            <p:cNvSpPr>
              <a:spLocks/>
            </p:cNvSpPr>
            <p:nvPr/>
          </p:nvSpPr>
          <p:spPr bwMode="auto">
            <a:xfrm>
              <a:off x="1931684" y="2671088"/>
              <a:ext cx="30878" cy="16924"/>
            </a:xfrm>
            <a:custGeom>
              <a:avLst/>
              <a:gdLst>
                <a:gd name="T0" fmla="*/ 0 w 43"/>
                <a:gd name="T1" fmla="*/ 13 h 20"/>
                <a:gd name="T2" fmla="*/ 18 w 43"/>
                <a:gd name="T3" fmla="*/ 0 h 20"/>
                <a:gd name="T4" fmla="*/ 21 w 43"/>
                <a:gd name="T5" fmla="*/ 1 h 20"/>
                <a:gd name="T6" fmla="*/ 24 w 43"/>
                <a:gd name="T7" fmla="*/ 3 h 20"/>
                <a:gd name="T8" fmla="*/ 29 w 43"/>
                <a:gd name="T9" fmla="*/ 5 h 20"/>
                <a:gd name="T10" fmla="*/ 32 w 43"/>
                <a:gd name="T11" fmla="*/ 8 h 20"/>
                <a:gd name="T12" fmla="*/ 35 w 43"/>
                <a:gd name="T13" fmla="*/ 6 h 20"/>
                <a:gd name="T14" fmla="*/ 39 w 43"/>
                <a:gd name="T15" fmla="*/ 6 h 20"/>
                <a:gd name="T16" fmla="*/ 43 w 43"/>
                <a:gd name="T17" fmla="*/ 6 h 20"/>
                <a:gd name="T18" fmla="*/ 35 w 43"/>
                <a:gd name="T19" fmla="*/ 13 h 20"/>
                <a:gd name="T20" fmla="*/ 32 w 43"/>
                <a:gd name="T21" fmla="*/ 13 h 20"/>
                <a:gd name="T22" fmla="*/ 27 w 43"/>
                <a:gd name="T23" fmla="*/ 11 h 20"/>
                <a:gd name="T24" fmla="*/ 21 w 43"/>
                <a:gd name="T25" fmla="*/ 13 h 20"/>
                <a:gd name="T26" fmla="*/ 26 w 43"/>
                <a:gd name="T27" fmla="*/ 11 h 20"/>
                <a:gd name="T28" fmla="*/ 13 w 43"/>
                <a:gd name="T29" fmla="*/ 14 h 20"/>
                <a:gd name="T30" fmla="*/ 0 w 43"/>
                <a:gd name="T31" fmla="*/ 20 h 20"/>
                <a:gd name="T32" fmla="*/ 4 w 43"/>
                <a:gd name="T33" fmla="*/ 17 h 20"/>
                <a:gd name="T34" fmla="*/ 4 w 43"/>
                <a:gd name="T35" fmla="*/ 13 h 20"/>
                <a:gd name="T36" fmla="*/ 0 w 43"/>
                <a:gd name="T37" fmla="*/ 17 h 20"/>
                <a:gd name="T38" fmla="*/ 2 w 43"/>
                <a:gd name="T39" fmla="*/ 13 h 20"/>
                <a:gd name="T40" fmla="*/ 0 w 43"/>
                <a:gd name="T41" fmla="*/ 13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3" h="20">
                  <a:moveTo>
                    <a:pt x="0" y="13"/>
                  </a:moveTo>
                  <a:lnTo>
                    <a:pt x="18" y="0"/>
                  </a:lnTo>
                  <a:lnTo>
                    <a:pt x="21" y="1"/>
                  </a:lnTo>
                  <a:lnTo>
                    <a:pt x="24" y="3"/>
                  </a:lnTo>
                  <a:lnTo>
                    <a:pt x="29" y="5"/>
                  </a:lnTo>
                  <a:lnTo>
                    <a:pt x="32" y="8"/>
                  </a:lnTo>
                  <a:lnTo>
                    <a:pt x="35" y="6"/>
                  </a:lnTo>
                  <a:lnTo>
                    <a:pt x="39" y="6"/>
                  </a:lnTo>
                  <a:lnTo>
                    <a:pt x="43" y="6"/>
                  </a:lnTo>
                  <a:lnTo>
                    <a:pt x="35" y="13"/>
                  </a:lnTo>
                  <a:lnTo>
                    <a:pt x="32" y="13"/>
                  </a:lnTo>
                  <a:lnTo>
                    <a:pt x="27" y="11"/>
                  </a:lnTo>
                  <a:lnTo>
                    <a:pt x="21" y="13"/>
                  </a:lnTo>
                  <a:lnTo>
                    <a:pt x="26" y="11"/>
                  </a:lnTo>
                  <a:lnTo>
                    <a:pt x="13" y="14"/>
                  </a:lnTo>
                  <a:lnTo>
                    <a:pt x="0" y="20"/>
                  </a:lnTo>
                  <a:lnTo>
                    <a:pt x="4" y="17"/>
                  </a:lnTo>
                  <a:lnTo>
                    <a:pt x="4" y="13"/>
                  </a:lnTo>
                  <a:lnTo>
                    <a:pt x="0" y="17"/>
                  </a:lnTo>
                  <a:lnTo>
                    <a:pt x="2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54" name="Rectangle 631"/>
            <p:cNvSpPr>
              <a:spLocks noChangeArrowheads="1"/>
            </p:cNvSpPr>
            <p:nvPr/>
          </p:nvSpPr>
          <p:spPr bwMode="auto">
            <a:xfrm>
              <a:off x="2519829" y="2833559"/>
              <a:ext cx="1471" cy="1692"/>
            </a:xfrm>
            <a:prstGeom prst="rect">
              <a:avLst/>
            </a:prstGeom>
            <a:solidFill>
              <a:srgbClr val="A6A6A6"/>
            </a:solidFill>
            <a:ln w="1270" algn="ctr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55" name="Freeform 632"/>
            <p:cNvSpPr>
              <a:spLocks/>
            </p:cNvSpPr>
            <p:nvPr/>
          </p:nvSpPr>
          <p:spPr bwMode="auto">
            <a:xfrm>
              <a:off x="2515417" y="2833559"/>
              <a:ext cx="5882" cy="3385"/>
            </a:xfrm>
            <a:custGeom>
              <a:avLst/>
              <a:gdLst>
                <a:gd name="T0" fmla="*/ 6 w 8"/>
                <a:gd name="T1" fmla="*/ 0 h 4"/>
                <a:gd name="T2" fmla="*/ 6 w 8"/>
                <a:gd name="T3" fmla="*/ 0 h 4"/>
                <a:gd name="T4" fmla="*/ 8 w 8"/>
                <a:gd name="T5" fmla="*/ 3 h 4"/>
                <a:gd name="T6" fmla="*/ 5 w 8"/>
                <a:gd name="T7" fmla="*/ 4 h 4"/>
                <a:gd name="T8" fmla="*/ 2 w 8"/>
                <a:gd name="T9" fmla="*/ 4 h 4"/>
                <a:gd name="T10" fmla="*/ 0 w 8"/>
                <a:gd name="T11" fmla="*/ 1 h 4"/>
                <a:gd name="T12" fmla="*/ 5 w 8"/>
                <a:gd name="T13" fmla="*/ 0 h 4"/>
                <a:gd name="T14" fmla="*/ 6 w 8"/>
                <a:gd name="T1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4">
                  <a:moveTo>
                    <a:pt x="6" y="0"/>
                  </a:moveTo>
                  <a:lnTo>
                    <a:pt x="6" y="0"/>
                  </a:lnTo>
                  <a:lnTo>
                    <a:pt x="8" y="3"/>
                  </a:lnTo>
                  <a:lnTo>
                    <a:pt x="5" y="4"/>
                  </a:lnTo>
                  <a:lnTo>
                    <a:pt x="2" y="4"/>
                  </a:lnTo>
                  <a:lnTo>
                    <a:pt x="0" y="1"/>
                  </a:lnTo>
                  <a:lnTo>
                    <a:pt x="5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56" name="Freeform 633"/>
            <p:cNvSpPr>
              <a:spLocks/>
            </p:cNvSpPr>
            <p:nvPr/>
          </p:nvSpPr>
          <p:spPr bwMode="auto">
            <a:xfrm>
              <a:off x="2456603" y="2860639"/>
              <a:ext cx="27937" cy="42311"/>
            </a:xfrm>
            <a:custGeom>
              <a:avLst/>
              <a:gdLst>
                <a:gd name="T0" fmla="*/ 3 w 38"/>
                <a:gd name="T1" fmla="*/ 35 h 51"/>
                <a:gd name="T2" fmla="*/ 8 w 38"/>
                <a:gd name="T3" fmla="*/ 34 h 51"/>
                <a:gd name="T4" fmla="*/ 11 w 38"/>
                <a:gd name="T5" fmla="*/ 31 h 51"/>
                <a:gd name="T6" fmla="*/ 14 w 38"/>
                <a:gd name="T7" fmla="*/ 32 h 51"/>
                <a:gd name="T8" fmla="*/ 8 w 38"/>
                <a:gd name="T9" fmla="*/ 35 h 51"/>
                <a:gd name="T10" fmla="*/ 3 w 38"/>
                <a:gd name="T11" fmla="*/ 37 h 51"/>
                <a:gd name="T12" fmla="*/ 2 w 38"/>
                <a:gd name="T13" fmla="*/ 42 h 51"/>
                <a:gd name="T14" fmla="*/ 0 w 38"/>
                <a:gd name="T15" fmla="*/ 51 h 51"/>
                <a:gd name="T16" fmla="*/ 3 w 38"/>
                <a:gd name="T17" fmla="*/ 50 h 51"/>
                <a:gd name="T18" fmla="*/ 11 w 38"/>
                <a:gd name="T19" fmla="*/ 43 h 51"/>
                <a:gd name="T20" fmla="*/ 14 w 38"/>
                <a:gd name="T21" fmla="*/ 38 h 51"/>
                <a:gd name="T22" fmla="*/ 16 w 38"/>
                <a:gd name="T23" fmla="*/ 35 h 51"/>
                <a:gd name="T24" fmla="*/ 21 w 38"/>
                <a:gd name="T25" fmla="*/ 34 h 51"/>
                <a:gd name="T26" fmla="*/ 24 w 38"/>
                <a:gd name="T27" fmla="*/ 29 h 51"/>
                <a:gd name="T28" fmla="*/ 26 w 38"/>
                <a:gd name="T29" fmla="*/ 26 h 51"/>
                <a:gd name="T30" fmla="*/ 27 w 38"/>
                <a:gd name="T31" fmla="*/ 23 h 51"/>
                <a:gd name="T32" fmla="*/ 30 w 38"/>
                <a:gd name="T33" fmla="*/ 19 h 51"/>
                <a:gd name="T34" fmla="*/ 33 w 38"/>
                <a:gd name="T35" fmla="*/ 16 h 51"/>
                <a:gd name="T36" fmla="*/ 35 w 38"/>
                <a:gd name="T37" fmla="*/ 12 h 51"/>
                <a:gd name="T38" fmla="*/ 35 w 38"/>
                <a:gd name="T39" fmla="*/ 8 h 51"/>
                <a:gd name="T40" fmla="*/ 38 w 38"/>
                <a:gd name="T41" fmla="*/ 5 h 51"/>
                <a:gd name="T42" fmla="*/ 33 w 38"/>
                <a:gd name="T43" fmla="*/ 4 h 51"/>
                <a:gd name="T44" fmla="*/ 30 w 38"/>
                <a:gd name="T45" fmla="*/ 2 h 51"/>
                <a:gd name="T46" fmla="*/ 27 w 38"/>
                <a:gd name="T47" fmla="*/ 4 h 51"/>
                <a:gd name="T48" fmla="*/ 30 w 38"/>
                <a:gd name="T49" fmla="*/ 2 h 51"/>
                <a:gd name="T50" fmla="*/ 27 w 38"/>
                <a:gd name="T51" fmla="*/ 0 h 51"/>
                <a:gd name="T52" fmla="*/ 24 w 38"/>
                <a:gd name="T53" fmla="*/ 2 h 51"/>
                <a:gd name="T54" fmla="*/ 19 w 38"/>
                <a:gd name="T55" fmla="*/ 5 h 51"/>
                <a:gd name="T56" fmla="*/ 16 w 38"/>
                <a:gd name="T57" fmla="*/ 5 h 51"/>
                <a:gd name="T58" fmla="*/ 16 w 38"/>
                <a:gd name="T59" fmla="*/ 10 h 51"/>
                <a:gd name="T60" fmla="*/ 19 w 38"/>
                <a:gd name="T61" fmla="*/ 10 h 51"/>
                <a:gd name="T62" fmla="*/ 18 w 38"/>
                <a:gd name="T63" fmla="*/ 12 h 51"/>
                <a:gd name="T64" fmla="*/ 16 w 38"/>
                <a:gd name="T65" fmla="*/ 15 h 51"/>
                <a:gd name="T66" fmla="*/ 19 w 38"/>
                <a:gd name="T67" fmla="*/ 13 h 51"/>
                <a:gd name="T68" fmla="*/ 16 w 38"/>
                <a:gd name="T69" fmla="*/ 15 h 51"/>
                <a:gd name="T70" fmla="*/ 16 w 38"/>
                <a:gd name="T71" fmla="*/ 18 h 51"/>
                <a:gd name="T72" fmla="*/ 11 w 38"/>
                <a:gd name="T73" fmla="*/ 21 h 51"/>
                <a:gd name="T74" fmla="*/ 10 w 38"/>
                <a:gd name="T75" fmla="*/ 24 h 51"/>
                <a:gd name="T76" fmla="*/ 5 w 38"/>
                <a:gd name="T77" fmla="*/ 26 h 51"/>
                <a:gd name="T78" fmla="*/ 10 w 38"/>
                <a:gd name="T79" fmla="*/ 27 h 51"/>
                <a:gd name="T80" fmla="*/ 10 w 38"/>
                <a:gd name="T81" fmla="*/ 27 h 51"/>
                <a:gd name="T82" fmla="*/ 8 w 38"/>
                <a:gd name="T83" fmla="*/ 27 h 51"/>
                <a:gd name="T84" fmla="*/ 6 w 38"/>
                <a:gd name="T85" fmla="*/ 31 h 51"/>
                <a:gd name="T86" fmla="*/ 10 w 38"/>
                <a:gd name="T87" fmla="*/ 31 h 51"/>
                <a:gd name="T88" fmla="*/ 6 w 38"/>
                <a:gd name="T89" fmla="*/ 32 h 51"/>
                <a:gd name="T90" fmla="*/ 3 w 38"/>
                <a:gd name="T91" fmla="*/ 3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8" h="51">
                  <a:moveTo>
                    <a:pt x="3" y="35"/>
                  </a:moveTo>
                  <a:lnTo>
                    <a:pt x="8" y="34"/>
                  </a:lnTo>
                  <a:lnTo>
                    <a:pt x="11" y="31"/>
                  </a:lnTo>
                  <a:lnTo>
                    <a:pt x="14" y="32"/>
                  </a:lnTo>
                  <a:lnTo>
                    <a:pt x="8" y="35"/>
                  </a:lnTo>
                  <a:lnTo>
                    <a:pt x="3" y="37"/>
                  </a:lnTo>
                  <a:lnTo>
                    <a:pt x="2" y="42"/>
                  </a:lnTo>
                  <a:lnTo>
                    <a:pt x="0" y="51"/>
                  </a:lnTo>
                  <a:lnTo>
                    <a:pt x="3" y="50"/>
                  </a:lnTo>
                  <a:lnTo>
                    <a:pt x="11" y="43"/>
                  </a:lnTo>
                  <a:lnTo>
                    <a:pt x="14" y="38"/>
                  </a:lnTo>
                  <a:lnTo>
                    <a:pt x="16" y="35"/>
                  </a:lnTo>
                  <a:lnTo>
                    <a:pt x="21" y="34"/>
                  </a:lnTo>
                  <a:lnTo>
                    <a:pt x="24" y="29"/>
                  </a:lnTo>
                  <a:lnTo>
                    <a:pt x="26" y="26"/>
                  </a:lnTo>
                  <a:lnTo>
                    <a:pt x="27" y="23"/>
                  </a:lnTo>
                  <a:lnTo>
                    <a:pt x="30" y="19"/>
                  </a:lnTo>
                  <a:lnTo>
                    <a:pt x="33" y="16"/>
                  </a:lnTo>
                  <a:lnTo>
                    <a:pt x="35" y="12"/>
                  </a:lnTo>
                  <a:lnTo>
                    <a:pt x="35" y="8"/>
                  </a:lnTo>
                  <a:lnTo>
                    <a:pt x="38" y="5"/>
                  </a:lnTo>
                  <a:lnTo>
                    <a:pt x="33" y="4"/>
                  </a:lnTo>
                  <a:lnTo>
                    <a:pt x="30" y="2"/>
                  </a:lnTo>
                  <a:lnTo>
                    <a:pt x="27" y="4"/>
                  </a:lnTo>
                  <a:lnTo>
                    <a:pt x="30" y="2"/>
                  </a:lnTo>
                  <a:lnTo>
                    <a:pt x="27" y="0"/>
                  </a:lnTo>
                  <a:lnTo>
                    <a:pt x="24" y="2"/>
                  </a:lnTo>
                  <a:lnTo>
                    <a:pt x="19" y="5"/>
                  </a:lnTo>
                  <a:lnTo>
                    <a:pt x="16" y="5"/>
                  </a:lnTo>
                  <a:lnTo>
                    <a:pt x="16" y="10"/>
                  </a:lnTo>
                  <a:lnTo>
                    <a:pt x="19" y="10"/>
                  </a:lnTo>
                  <a:lnTo>
                    <a:pt x="18" y="12"/>
                  </a:lnTo>
                  <a:lnTo>
                    <a:pt x="16" y="15"/>
                  </a:lnTo>
                  <a:lnTo>
                    <a:pt x="19" y="13"/>
                  </a:lnTo>
                  <a:lnTo>
                    <a:pt x="16" y="15"/>
                  </a:lnTo>
                  <a:lnTo>
                    <a:pt x="16" y="18"/>
                  </a:lnTo>
                  <a:lnTo>
                    <a:pt x="11" y="21"/>
                  </a:lnTo>
                  <a:lnTo>
                    <a:pt x="10" y="24"/>
                  </a:lnTo>
                  <a:lnTo>
                    <a:pt x="5" y="26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8" y="27"/>
                  </a:lnTo>
                  <a:lnTo>
                    <a:pt x="6" y="31"/>
                  </a:lnTo>
                  <a:lnTo>
                    <a:pt x="10" y="31"/>
                  </a:lnTo>
                  <a:lnTo>
                    <a:pt x="6" y="32"/>
                  </a:lnTo>
                  <a:lnTo>
                    <a:pt x="3" y="3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57" name="Freeform 634"/>
            <p:cNvSpPr>
              <a:spLocks/>
            </p:cNvSpPr>
            <p:nvPr/>
          </p:nvSpPr>
          <p:spPr bwMode="auto">
            <a:xfrm>
              <a:off x="2463954" y="2879255"/>
              <a:ext cx="27937" cy="28772"/>
            </a:xfrm>
            <a:custGeom>
              <a:avLst/>
              <a:gdLst>
                <a:gd name="T0" fmla="*/ 0 w 38"/>
                <a:gd name="T1" fmla="*/ 35 h 35"/>
                <a:gd name="T2" fmla="*/ 3 w 38"/>
                <a:gd name="T3" fmla="*/ 33 h 35"/>
                <a:gd name="T4" fmla="*/ 5 w 38"/>
                <a:gd name="T5" fmla="*/ 28 h 35"/>
                <a:gd name="T6" fmla="*/ 8 w 38"/>
                <a:gd name="T7" fmla="*/ 28 h 35"/>
                <a:gd name="T8" fmla="*/ 11 w 38"/>
                <a:gd name="T9" fmla="*/ 25 h 35"/>
                <a:gd name="T10" fmla="*/ 10 w 38"/>
                <a:gd name="T11" fmla="*/ 28 h 35"/>
                <a:gd name="T12" fmla="*/ 13 w 38"/>
                <a:gd name="T13" fmla="*/ 27 h 35"/>
                <a:gd name="T14" fmla="*/ 16 w 38"/>
                <a:gd name="T15" fmla="*/ 23 h 35"/>
                <a:gd name="T16" fmla="*/ 19 w 38"/>
                <a:gd name="T17" fmla="*/ 23 h 35"/>
                <a:gd name="T18" fmla="*/ 21 w 38"/>
                <a:gd name="T19" fmla="*/ 20 h 35"/>
                <a:gd name="T20" fmla="*/ 24 w 38"/>
                <a:gd name="T21" fmla="*/ 19 h 35"/>
                <a:gd name="T22" fmla="*/ 26 w 38"/>
                <a:gd name="T23" fmla="*/ 15 h 35"/>
                <a:gd name="T24" fmla="*/ 29 w 38"/>
                <a:gd name="T25" fmla="*/ 11 h 35"/>
                <a:gd name="T26" fmla="*/ 32 w 38"/>
                <a:gd name="T27" fmla="*/ 14 h 35"/>
                <a:gd name="T28" fmla="*/ 35 w 38"/>
                <a:gd name="T29" fmla="*/ 11 h 35"/>
                <a:gd name="T30" fmla="*/ 38 w 38"/>
                <a:gd name="T31" fmla="*/ 8 h 35"/>
                <a:gd name="T32" fmla="*/ 34 w 38"/>
                <a:gd name="T33" fmla="*/ 8 h 35"/>
                <a:gd name="T34" fmla="*/ 30 w 38"/>
                <a:gd name="T35" fmla="*/ 9 h 35"/>
                <a:gd name="T36" fmla="*/ 27 w 38"/>
                <a:gd name="T37" fmla="*/ 11 h 35"/>
                <a:gd name="T38" fmla="*/ 30 w 38"/>
                <a:gd name="T39" fmla="*/ 9 h 35"/>
                <a:gd name="T40" fmla="*/ 34 w 38"/>
                <a:gd name="T41" fmla="*/ 6 h 35"/>
                <a:gd name="T42" fmla="*/ 35 w 38"/>
                <a:gd name="T43" fmla="*/ 3 h 35"/>
                <a:gd name="T44" fmla="*/ 32 w 38"/>
                <a:gd name="T45" fmla="*/ 0 h 35"/>
                <a:gd name="T46" fmla="*/ 32 w 38"/>
                <a:gd name="T47" fmla="*/ 3 h 35"/>
                <a:gd name="T48" fmla="*/ 29 w 38"/>
                <a:gd name="T49" fmla="*/ 1 h 35"/>
                <a:gd name="T50" fmla="*/ 26 w 38"/>
                <a:gd name="T51" fmla="*/ 4 h 35"/>
                <a:gd name="T52" fmla="*/ 24 w 38"/>
                <a:gd name="T53" fmla="*/ 3 h 35"/>
                <a:gd name="T54" fmla="*/ 21 w 38"/>
                <a:gd name="T55" fmla="*/ 4 h 35"/>
                <a:gd name="T56" fmla="*/ 18 w 38"/>
                <a:gd name="T57" fmla="*/ 8 h 35"/>
                <a:gd name="T58" fmla="*/ 18 w 38"/>
                <a:gd name="T59" fmla="*/ 9 h 35"/>
                <a:gd name="T60" fmla="*/ 22 w 38"/>
                <a:gd name="T61" fmla="*/ 9 h 35"/>
                <a:gd name="T62" fmla="*/ 19 w 38"/>
                <a:gd name="T63" fmla="*/ 12 h 35"/>
                <a:gd name="T64" fmla="*/ 15 w 38"/>
                <a:gd name="T65" fmla="*/ 14 h 35"/>
                <a:gd name="T66" fmla="*/ 19 w 38"/>
                <a:gd name="T67" fmla="*/ 15 h 35"/>
                <a:gd name="T68" fmla="*/ 18 w 38"/>
                <a:gd name="T69" fmla="*/ 19 h 35"/>
                <a:gd name="T70" fmla="*/ 15 w 38"/>
                <a:gd name="T71" fmla="*/ 20 h 35"/>
                <a:gd name="T72" fmla="*/ 10 w 38"/>
                <a:gd name="T73" fmla="*/ 20 h 35"/>
                <a:gd name="T74" fmla="*/ 7 w 38"/>
                <a:gd name="T75" fmla="*/ 23 h 35"/>
                <a:gd name="T76" fmla="*/ 10 w 38"/>
                <a:gd name="T77" fmla="*/ 23 h 35"/>
                <a:gd name="T78" fmla="*/ 7 w 38"/>
                <a:gd name="T79" fmla="*/ 25 h 35"/>
                <a:gd name="T80" fmla="*/ 3 w 38"/>
                <a:gd name="T81" fmla="*/ 27 h 35"/>
                <a:gd name="T82" fmla="*/ 0 w 38"/>
                <a:gd name="T83" fmla="*/ 31 h 35"/>
                <a:gd name="T84" fmla="*/ 0 w 38"/>
                <a:gd name="T85" fmla="*/ 35 h 35"/>
                <a:gd name="T86" fmla="*/ 0 w 38"/>
                <a:gd name="T8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8" h="35">
                  <a:moveTo>
                    <a:pt x="0" y="35"/>
                  </a:moveTo>
                  <a:lnTo>
                    <a:pt x="3" y="33"/>
                  </a:lnTo>
                  <a:lnTo>
                    <a:pt x="5" y="28"/>
                  </a:lnTo>
                  <a:lnTo>
                    <a:pt x="8" y="28"/>
                  </a:lnTo>
                  <a:lnTo>
                    <a:pt x="11" y="25"/>
                  </a:lnTo>
                  <a:lnTo>
                    <a:pt x="10" y="28"/>
                  </a:lnTo>
                  <a:lnTo>
                    <a:pt x="13" y="27"/>
                  </a:lnTo>
                  <a:lnTo>
                    <a:pt x="16" y="23"/>
                  </a:lnTo>
                  <a:lnTo>
                    <a:pt x="19" y="23"/>
                  </a:lnTo>
                  <a:lnTo>
                    <a:pt x="21" y="20"/>
                  </a:lnTo>
                  <a:lnTo>
                    <a:pt x="24" y="19"/>
                  </a:lnTo>
                  <a:lnTo>
                    <a:pt x="26" y="15"/>
                  </a:lnTo>
                  <a:lnTo>
                    <a:pt x="29" y="11"/>
                  </a:lnTo>
                  <a:lnTo>
                    <a:pt x="32" y="14"/>
                  </a:lnTo>
                  <a:lnTo>
                    <a:pt x="35" y="11"/>
                  </a:lnTo>
                  <a:lnTo>
                    <a:pt x="38" y="8"/>
                  </a:lnTo>
                  <a:lnTo>
                    <a:pt x="34" y="8"/>
                  </a:lnTo>
                  <a:lnTo>
                    <a:pt x="30" y="9"/>
                  </a:lnTo>
                  <a:lnTo>
                    <a:pt x="27" y="11"/>
                  </a:lnTo>
                  <a:lnTo>
                    <a:pt x="30" y="9"/>
                  </a:lnTo>
                  <a:lnTo>
                    <a:pt x="34" y="6"/>
                  </a:lnTo>
                  <a:lnTo>
                    <a:pt x="35" y="3"/>
                  </a:lnTo>
                  <a:lnTo>
                    <a:pt x="32" y="0"/>
                  </a:lnTo>
                  <a:lnTo>
                    <a:pt x="32" y="3"/>
                  </a:lnTo>
                  <a:lnTo>
                    <a:pt x="29" y="1"/>
                  </a:lnTo>
                  <a:lnTo>
                    <a:pt x="26" y="4"/>
                  </a:lnTo>
                  <a:lnTo>
                    <a:pt x="24" y="3"/>
                  </a:lnTo>
                  <a:lnTo>
                    <a:pt x="21" y="4"/>
                  </a:lnTo>
                  <a:lnTo>
                    <a:pt x="18" y="8"/>
                  </a:lnTo>
                  <a:lnTo>
                    <a:pt x="18" y="9"/>
                  </a:lnTo>
                  <a:lnTo>
                    <a:pt x="22" y="9"/>
                  </a:lnTo>
                  <a:lnTo>
                    <a:pt x="19" y="12"/>
                  </a:lnTo>
                  <a:lnTo>
                    <a:pt x="15" y="14"/>
                  </a:lnTo>
                  <a:lnTo>
                    <a:pt x="19" y="15"/>
                  </a:lnTo>
                  <a:lnTo>
                    <a:pt x="18" y="19"/>
                  </a:lnTo>
                  <a:lnTo>
                    <a:pt x="15" y="20"/>
                  </a:lnTo>
                  <a:lnTo>
                    <a:pt x="10" y="20"/>
                  </a:lnTo>
                  <a:lnTo>
                    <a:pt x="7" y="23"/>
                  </a:lnTo>
                  <a:lnTo>
                    <a:pt x="10" y="23"/>
                  </a:lnTo>
                  <a:lnTo>
                    <a:pt x="7" y="25"/>
                  </a:lnTo>
                  <a:lnTo>
                    <a:pt x="3" y="27"/>
                  </a:lnTo>
                  <a:lnTo>
                    <a:pt x="0" y="31"/>
                  </a:lnTo>
                  <a:lnTo>
                    <a:pt x="0" y="35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58" name="Freeform 635"/>
            <p:cNvSpPr>
              <a:spLocks/>
            </p:cNvSpPr>
            <p:nvPr/>
          </p:nvSpPr>
          <p:spPr bwMode="auto">
            <a:xfrm>
              <a:off x="2465426" y="2835253"/>
              <a:ext cx="36759" cy="28772"/>
            </a:xfrm>
            <a:custGeom>
              <a:avLst/>
              <a:gdLst>
                <a:gd name="T0" fmla="*/ 1 w 49"/>
                <a:gd name="T1" fmla="*/ 17 h 33"/>
                <a:gd name="T2" fmla="*/ 5 w 49"/>
                <a:gd name="T3" fmla="*/ 25 h 33"/>
                <a:gd name="T4" fmla="*/ 1 w 49"/>
                <a:gd name="T5" fmla="*/ 28 h 33"/>
                <a:gd name="T6" fmla="*/ 0 w 49"/>
                <a:gd name="T7" fmla="*/ 28 h 33"/>
                <a:gd name="T8" fmla="*/ 3 w 49"/>
                <a:gd name="T9" fmla="*/ 33 h 33"/>
                <a:gd name="T10" fmla="*/ 9 w 49"/>
                <a:gd name="T11" fmla="*/ 30 h 33"/>
                <a:gd name="T12" fmla="*/ 13 w 49"/>
                <a:gd name="T13" fmla="*/ 24 h 33"/>
                <a:gd name="T14" fmla="*/ 13 w 49"/>
                <a:gd name="T15" fmla="*/ 22 h 33"/>
                <a:gd name="T16" fmla="*/ 20 w 49"/>
                <a:gd name="T17" fmla="*/ 24 h 33"/>
                <a:gd name="T18" fmla="*/ 28 w 49"/>
                <a:gd name="T19" fmla="*/ 30 h 33"/>
                <a:gd name="T20" fmla="*/ 35 w 49"/>
                <a:gd name="T21" fmla="*/ 27 h 33"/>
                <a:gd name="T22" fmla="*/ 36 w 49"/>
                <a:gd name="T23" fmla="*/ 19 h 33"/>
                <a:gd name="T24" fmla="*/ 28 w 49"/>
                <a:gd name="T25" fmla="*/ 20 h 33"/>
                <a:gd name="T26" fmla="*/ 24 w 49"/>
                <a:gd name="T27" fmla="*/ 13 h 33"/>
                <a:gd name="T28" fmla="*/ 30 w 49"/>
                <a:gd name="T29" fmla="*/ 16 h 33"/>
                <a:gd name="T30" fmla="*/ 38 w 49"/>
                <a:gd name="T31" fmla="*/ 19 h 33"/>
                <a:gd name="T32" fmla="*/ 39 w 49"/>
                <a:gd name="T33" fmla="*/ 14 h 33"/>
                <a:gd name="T34" fmla="*/ 46 w 49"/>
                <a:gd name="T35" fmla="*/ 13 h 33"/>
                <a:gd name="T36" fmla="*/ 47 w 49"/>
                <a:gd name="T37" fmla="*/ 6 h 33"/>
                <a:gd name="T38" fmla="*/ 39 w 49"/>
                <a:gd name="T39" fmla="*/ 5 h 33"/>
                <a:gd name="T40" fmla="*/ 33 w 49"/>
                <a:gd name="T41" fmla="*/ 8 h 33"/>
                <a:gd name="T42" fmla="*/ 25 w 49"/>
                <a:gd name="T43" fmla="*/ 11 h 33"/>
                <a:gd name="T44" fmla="*/ 32 w 49"/>
                <a:gd name="T45" fmla="*/ 8 h 33"/>
                <a:gd name="T46" fmla="*/ 38 w 49"/>
                <a:gd name="T47" fmla="*/ 3 h 33"/>
                <a:gd name="T48" fmla="*/ 32 w 49"/>
                <a:gd name="T49" fmla="*/ 0 h 33"/>
                <a:gd name="T50" fmla="*/ 25 w 49"/>
                <a:gd name="T51" fmla="*/ 3 h 33"/>
                <a:gd name="T52" fmla="*/ 17 w 49"/>
                <a:gd name="T53" fmla="*/ 6 h 33"/>
                <a:gd name="T54" fmla="*/ 14 w 49"/>
                <a:gd name="T55" fmla="*/ 5 h 33"/>
                <a:gd name="T56" fmla="*/ 9 w 49"/>
                <a:gd name="T57" fmla="*/ 8 h 33"/>
                <a:gd name="T58" fmla="*/ 11 w 49"/>
                <a:gd name="T59" fmla="*/ 16 h 33"/>
                <a:gd name="T60" fmla="*/ 5 w 49"/>
                <a:gd name="T61" fmla="*/ 11 h 33"/>
                <a:gd name="T62" fmla="*/ 8 w 49"/>
                <a:gd name="T63" fmla="*/ 6 h 33"/>
                <a:gd name="T64" fmla="*/ 0 w 49"/>
                <a:gd name="T65" fmla="*/ 13 h 33"/>
                <a:gd name="T66" fmla="*/ 1 w 49"/>
                <a:gd name="T67" fmla="*/ 1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9" h="33">
                  <a:moveTo>
                    <a:pt x="1" y="14"/>
                  </a:moveTo>
                  <a:lnTo>
                    <a:pt x="1" y="17"/>
                  </a:lnTo>
                  <a:lnTo>
                    <a:pt x="3" y="20"/>
                  </a:lnTo>
                  <a:lnTo>
                    <a:pt x="5" y="25"/>
                  </a:lnTo>
                  <a:lnTo>
                    <a:pt x="1" y="25"/>
                  </a:lnTo>
                  <a:lnTo>
                    <a:pt x="1" y="28"/>
                  </a:lnTo>
                  <a:lnTo>
                    <a:pt x="3" y="32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3" y="33"/>
                  </a:lnTo>
                  <a:lnTo>
                    <a:pt x="6" y="32"/>
                  </a:lnTo>
                  <a:lnTo>
                    <a:pt x="9" y="30"/>
                  </a:lnTo>
                  <a:lnTo>
                    <a:pt x="13" y="27"/>
                  </a:lnTo>
                  <a:lnTo>
                    <a:pt x="13" y="24"/>
                  </a:lnTo>
                  <a:lnTo>
                    <a:pt x="9" y="24"/>
                  </a:lnTo>
                  <a:lnTo>
                    <a:pt x="13" y="22"/>
                  </a:lnTo>
                  <a:lnTo>
                    <a:pt x="14" y="19"/>
                  </a:lnTo>
                  <a:lnTo>
                    <a:pt x="20" y="24"/>
                  </a:lnTo>
                  <a:lnTo>
                    <a:pt x="25" y="30"/>
                  </a:lnTo>
                  <a:lnTo>
                    <a:pt x="28" y="30"/>
                  </a:lnTo>
                  <a:lnTo>
                    <a:pt x="32" y="30"/>
                  </a:lnTo>
                  <a:lnTo>
                    <a:pt x="35" y="27"/>
                  </a:lnTo>
                  <a:lnTo>
                    <a:pt x="39" y="20"/>
                  </a:lnTo>
                  <a:lnTo>
                    <a:pt x="36" y="19"/>
                  </a:lnTo>
                  <a:lnTo>
                    <a:pt x="32" y="20"/>
                  </a:lnTo>
                  <a:lnTo>
                    <a:pt x="28" y="20"/>
                  </a:lnTo>
                  <a:lnTo>
                    <a:pt x="27" y="16"/>
                  </a:lnTo>
                  <a:lnTo>
                    <a:pt x="24" y="13"/>
                  </a:lnTo>
                  <a:lnTo>
                    <a:pt x="27" y="14"/>
                  </a:lnTo>
                  <a:lnTo>
                    <a:pt x="30" y="16"/>
                  </a:lnTo>
                  <a:lnTo>
                    <a:pt x="35" y="19"/>
                  </a:lnTo>
                  <a:lnTo>
                    <a:pt x="38" y="19"/>
                  </a:lnTo>
                  <a:lnTo>
                    <a:pt x="41" y="17"/>
                  </a:lnTo>
                  <a:lnTo>
                    <a:pt x="39" y="14"/>
                  </a:lnTo>
                  <a:lnTo>
                    <a:pt x="43" y="14"/>
                  </a:lnTo>
                  <a:lnTo>
                    <a:pt x="46" y="13"/>
                  </a:lnTo>
                  <a:lnTo>
                    <a:pt x="49" y="11"/>
                  </a:lnTo>
                  <a:lnTo>
                    <a:pt x="47" y="6"/>
                  </a:lnTo>
                  <a:lnTo>
                    <a:pt x="44" y="6"/>
                  </a:lnTo>
                  <a:lnTo>
                    <a:pt x="39" y="5"/>
                  </a:lnTo>
                  <a:lnTo>
                    <a:pt x="36" y="6"/>
                  </a:lnTo>
                  <a:lnTo>
                    <a:pt x="33" y="8"/>
                  </a:lnTo>
                  <a:lnTo>
                    <a:pt x="30" y="11"/>
                  </a:lnTo>
                  <a:lnTo>
                    <a:pt x="25" y="11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6"/>
                  </a:lnTo>
                  <a:lnTo>
                    <a:pt x="38" y="3"/>
                  </a:lnTo>
                  <a:lnTo>
                    <a:pt x="35" y="1"/>
                  </a:lnTo>
                  <a:lnTo>
                    <a:pt x="32" y="0"/>
                  </a:lnTo>
                  <a:lnTo>
                    <a:pt x="28" y="1"/>
                  </a:lnTo>
                  <a:lnTo>
                    <a:pt x="25" y="3"/>
                  </a:lnTo>
                  <a:lnTo>
                    <a:pt x="20" y="3"/>
                  </a:lnTo>
                  <a:lnTo>
                    <a:pt x="17" y="6"/>
                  </a:lnTo>
                  <a:lnTo>
                    <a:pt x="17" y="1"/>
                  </a:lnTo>
                  <a:lnTo>
                    <a:pt x="14" y="5"/>
                  </a:lnTo>
                  <a:lnTo>
                    <a:pt x="11" y="5"/>
                  </a:lnTo>
                  <a:lnTo>
                    <a:pt x="9" y="8"/>
                  </a:lnTo>
                  <a:lnTo>
                    <a:pt x="9" y="11"/>
                  </a:lnTo>
                  <a:lnTo>
                    <a:pt x="11" y="16"/>
                  </a:lnTo>
                  <a:lnTo>
                    <a:pt x="9" y="11"/>
                  </a:lnTo>
                  <a:lnTo>
                    <a:pt x="5" y="11"/>
                  </a:lnTo>
                  <a:lnTo>
                    <a:pt x="6" y="9"/>
                  </a:lnTo>
                  <a:lnTo>
                    <a:pt x="8" y="6"/>
                  </a:lnTo>
                  <a:lnTo>
                    <a:pt x="6" y="6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1" y="14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59" name="Freeform 636"/>
            <p:cNvSpPr>
              <a:spLocks/>
            </p:cNvSpPr>
            <p:nvPr/>
          </p:nvSpPr>
          <p:spPr bwMode="auto">
            <a:xfrm>
              <a:off x="2484540" y="2862330"/>
              <a:ext cx="2941" cy="5077"/>
            </a:xfrm>
            <a:custGeom>
              <a:avLst/>
              <a:gdLst>
                <a:gd name="T0" fmla="*/ 5 w 5"/>
                <a:gd name="T1" fmla="*/ 1 h 4"/>
                <a:gd name="T2" fmla="*/ 3 w 5"/>
                <a:gd name="T3" fmla="*/ 0 h 4"/>
                <a:gd name="T4" fmla="*/ 0 w 5"/>
                <a:gd name="T5" fmla="*/ 1 h 4"/>
                <a:gd name="T6" fmla="*/ 2 w 5"/>
                <a:gd name="T7" fmla="*/ 4 h 4"/>
                <a:gd name="T8" fmla="*/ 5 w 5"/>
                <a:gd name="T9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5" y="1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2" y="4"/>
                  </a:lnTo>
                  <a:lnTo>
                    <a:pt x="5" y="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60" name="Freeform 637"/>
            <p:cNvSpPr>
              <a:spLocks/>
            </p:cNvSpPr>
            <p:nvPr/>
          </p:nvSpPr>
          <p:spPr bwMode="auto">
            <a:xfrm>
              <a:off x="2487481" y="2874177"/>
              <a:ext cx="26467" cy="20309"/>
            </a:xfrm>
            <a:custGeom>
              <a:avLst/>
              <a:gdLst>
                <a:gd name="T0" fmla="*/ 0 w 36"/>
                <a:gd name="T1" fmla="*/ 26 h 26"/>
                <a:gd name="T2" fmla="*/ 3 w 36"/>
                <a:gd name="T3" fmla="*/ 26 h 26"/>
                <a:gd name="T4" fmla="*/ 8 w 36"/>
                <a:gd name="T5" fmla="*/ 22 h 26"/>
                <a:gd name="T6" fmla="*/ 11 w 36"/>
                <a:gd name="T7" fmla="*/ 24 h 26"/>
                <a:gd name="T8" fmla="*/ 14 w 36"/>
                <a:gd name="T9" fmla="*/ 24 h 26"/>
                <a:gd name="T10" fmla="*/ 17 w 36"/>
                <a:gd name="T11" fmla="*/ 22 h 26"/>
                <a:gd name="T12" fmla="*/ 21 w 36"/>
                <a:gd name="T13" fmla="*/ 18 h 26"/>
                <a:gd name="T14" fmla="*/ 17 w 36"/>
                <a:gd name="T15" fmla="*/ 18 h 26"/>
                <a:gd name="T16" fmla="*/ 21 w 36"/>
                <a:gd name="T17" fmla="*/ 15 h 26"/>
                <a:gd name="T18" fmla="*/ 21 w 36"/>
                <a:gd name="T19" fmla="*/ 11 h 26"/>
                <a:gd name="T20" fmla="*/ 22 w 36"/>
                <a:gd name="T21" fmla="*/ 15 h 26"/>
                <a:gd name="T22" fmla="*/ 24 w 36"/>
                <a:gd name="T23" fmla="*/ 18 h 26"/>
                <a:gd name="T24" fmla="*/ 27 w 36"/>
                <a:gd name="T25" fmla="*/ 18 h 26"/>
                <a:gd name="T26" fmla="*/ 30 w 36"/>
                <a:gd name="T27" fmla="*/ 15 h 26"/>
                <a:gd name="T28" fmla="*/ 32 w 36"/>
                <a:gd name="T29" fmla="*/ 11 h 26"/>
                <a:gd name="T30" fmla="*/ 35 w 36"/>
                <a:gd name="T31" fmla="*/ 10 h 26"/>
                <a:gd name="T32" fmla="*/ 36 w 36"/>
                <a:gd name="T33" fmla="*/ 5 h 26"/>
                <a:gd name="T34" fmla="*/ 33 w 36"/>
                <a:gd name="T35" fmla="*/ 3 h 26"/>
                <a:gd name="T36" fmla="*/ 29 w 36"/>
                <a:gd name="T37" fmla="*/ 5 h 26"/>
                <a:gd name="T38" fmla="*/ 25 w 36"/>
                <a:gd name="T39" fmla="*/ 3 h 26"/>
                <a:gd name="T40" fmla="*/ 22 w 36"/>
                <a:gd name="T41" fmla="*/ 2 h 26"/>
                <a:gd name="T42" fmla="*/ 19 w 36"/>
                <a:gd name="T43" fmla="*/ 0 h 26"/>
                <a:gd name="T44" fmla="*/ 14 w 36"/>
                <a:gd name="T45" fmla="*/ 0 h 26"/>
                <a:gd name="T46" fmla="*/ 11 w 36"/>
                <a:gd name="T47" fmla="*/ 2 h 26"/>
                <a:gd name="T48" fmla="*/ 9 w 36"/>
                <a:gd name="T49" fmla="*/ 5 h 26"/>
                <a:gd name="T50" fmla="*/ 11 w 36"/>
                <a:gd name="T51" fmla="*/ 8 h 26"/>
                <a:gd name="T52" fmla="*/ 8 w 36"/>
                <a:gd name="T53" fmla="*/ 8 h 26"/>
                <a:gd name="T54" fmla="*/ 8 w 36"/>
                <a:gd name="T55" fmla="*/ 11 h 26"/>
                <a:gd name="T56" fmla="*/ 11 w 36"/>
                <a:gd name="T57" fmla="*/ 10 h 26"/>
                <a:gd name="T58" fmla="*/ 8 w 36"/>
                <a:gd name="T59" fmla="*/ 13 h 26"/>
                <a:gd name="T60" fmla="*/ 5 w 36"/>
                <a:gd name="T61" fmla="*/ 16 h 26"/>
                <a:gd name="T62" fmla="*/ 2 w 36"/>
                <a:gd name="T63" fmla="*/ 21 h 26"/>
                <a:gd name="T64" fmla="*/ 0 w 36"/>
                <a:gd name="T65" fmla="*/ 24 h 26"/>
                <a:gd name="T66" fmla="*/ 0 w 36"/>
                <a:gd name="T67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" h="26">
                  <a:moveTo>
                    <a:pt x="0" y="26"/>
                  </a:moveTo>
                  <a:lnTo>
                    <a:pt x="3" y="26"/>
                  </a:lnTo>
                  <a:lnTo>
                    <a:pt x="8" y="22"/>
                  </a:lnTo>
                  <a:lnTo>
                    <a:pt x="11" y="24"/>
                  </a:lnTo>
                  <a:lnTo>
                    <a:pt x="14" y="24"/>
                  </a:lnTo>
                  <a:lnTo>
                    <a:pt x="17" y="22"/>
                  </a:lnTo>
                  <a:lnTo>
                    <a:pt x="21" y="18"/>
                  </a:lnTo>
                  <a:lnTo>
                    <a:pt x="17" y="18"/>
                  </a:lnTo>
                  <a:lnTo>
                    <a:pt x="21" y="15"/>
                  </a:lnTo>
                  <a:lnTo>
                    <a:pt x="21" y="11"/>
                  </a:lnTo>
                  <a:lnTo>
                    <a:pt x="22" y="15"/>
                  </a:lnTo>
                  <a:lnTo>
                    <a:pt x="24" y="18"/>
                  </a:lnTo>
                  <a:lnTo>
                    <a:pt x="27" y="18"/>
                  </a:lnTo>
                  <a:lnTo>
                    <a:pt x="30" y="15"/>
                  </a:lnTo>
                  <a:lnTo>
                    <a:pt x="32" y="11"/>
                  </a:lnTo>
                  <a:lnTo>
                    <a:pt x="35" y="10"/>
                  </a:lnTo>
                  <a:lnTo>
                    <a:pt x="36" y="5"/>
                  </a:lnTo>
                  <a:lnTo>
                    <a:pt x="33" y="3"/>
                  </a:lnTo>
                  <a:lnTo>
                    <a:pt x="29" y="5"/>
                  </a:lnTo>
                  <a:lnTo>
                    <a:pt x="25" y="3"/>
                  </a:lnTo>
                  <a:lnTo>
                    <a:pt x="22" y="2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11" y="2"/>
                  </a:lnTo>
                  <a:lnTo>
                    <a:pt x="9" y="5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11"/>
                  </a:lnTo>
                  <a:lnTo>
                    <a:pt x="11" y="10"/>
                  </a:lnTo>
                  <a:lnTo>
                    <a:pt x="8" y="13"/>
                  </a:lnTo>
                  <a:lnTo>
                    <a:pt x="5" y="16"/>
                  </a:lnTo>
                  <a:lnTo>
                    <a:pt x="2" y="21"/>
                  </a:lnTo>
                  <a:lnTo>
                    <a:pt x="0" y="24"/>
                  </a:lnTo>
                  <a:lnTo>
                    <a:pt x="0" y="26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61" name="Freeform 638"/>
            <p:cNvSpPr>
              <a:spLocks/>
            </p:cNvSpPr>
            <p:nvPr/>
          </p:nvSpPr>
          <p:spPr bwMode="auto">
            <a:xfrm>
              <a:off x="2505125" y="2882638"/>
              <a:ext cx="8823" cy="10155"/>
            </a:xfrm>
            <a:custGeom>
              <a:avLst/>
              <a:gdLst>
                <a:gd name="T0" fmla="*/ 12 w 12"/>
                <a:gd name="T1" fmla="*/ 0 h 11"/>
                <a:gd name="T2" fmla="*/ 9 w 12"/>
                <a:gd name="T3" fmla="*/ 0 h 11"/>
                <a:gd name="T4" fmla="*/ 6 w 12"/>
                <a:gd name="T5" fmla="*/ 4 h 11"/>
                <a:gd name="T6" fmla="*/ 5 w 12"/>
                <a:gd name="T7" fmla="*/ 7 h 11"/>
                <a:gd name="T8" fmla="*/ 0 w 12"/>
                <a:gd name="T9" fmla="*/ 8 h 11"/>
                <a:gd name="T10" fmla="*/ 1 w 12"/>
                <a:gd name="T11" fmla="*/ 11 h 11"/>
                <a:gd name="T12" fmla="*/ 5 w 12"/>
                <a:gd name="T13" fmla="*/ 10 h 11"/>
                <a:gd name="T14" fmla="*/ 9 w 12"/>
                <a:gd name="T15" fmla="*/ 10 h 11"/>
                <a:gd name="T16" fmla="*/ 12 w 12"/>
                <a:gd name="T17" fmla="*/ 8 h 11"/>
                <a:gd name="T18" fmla="*/ 12 w 12"/>
                <a:gd name="T19" fmla="*/ 4 h 11"/>
                <a:gd name="T20" fmla="*/ 12 w 12"/>
                <a:gd name="T2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11">
                  <a:moveTo>
                    <a:pt x="12" y="0"/>
                  </a:moveTo>
                  <a:lnTo>
                    <a:pt x="9" y="0"/>
                  </a:lnTo>
                  <a:lnTo>
                    <a:pt x="6" y="4"/>
                  </a:lnTo>
                  <a:lnTo>
                    <a:pt x="5" y="7"/>
                  </a:lnTo>
                  <a:lnTo>
                    <a:pt x="0" y="8"/>
                  </a:lnTo>
                  <a:lnTo>
                    <a:pt x="1" y="11"/>
                  </a:lnTo>
                  <a:lnTo>
                    <a:pt x="5" y="10"/>
                  </a:lnTo>
                  <a:lnTo>
                    <a:pt x="9" y="10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62" name="Freeform 639"/>
            <p:cNvSpPr>
              <a:spLocks/>
            </p:cNvSpPr>
            <p:nvPr/>
          </p:nvSpPr>
          <p:spPr bwMode="auto">
            <a:xfrm>
              <a:off x="2453662" y="2865717"/>
              <a:ext cx="13234" cy="11847"/>
            </a:xfrm>
            <a:custGeom>
              <a:avLst/>
              <a:gdLst>
                <a:gd name="T0" fmla="*/ 16 w 17"/>
                <a:gd name="T1" fmla="*/ 0 h 14"/>
                <a:gd name="T2" fmla="*/ 16 w 17"/>
                <a:gd name="T3" fmla="*/ 0 h 14"/>
                <a:gd name="T4" fmla="*/ 13 w 17"/>
                <a:gd name="T5" fmla="*/ 1 h 14"/>
                <a:gd name="T6" fmla="*/ 8 w 17"/>
                <a:gd name="T7" fmla="*/ 5 h 14"/>
                <a:gd name="T8" fmla="*/ 6 w 17"/>
                <a:gd name="T9" fmla="*/ 9 h 14"/>
                <a:gd name="T10" fmla="*/ 3 w 17"/>
                <a:gd name="T11" fmla="*/ 9 h 14"/>
                <a:gd name="T12" fmla="*/ 0 w 17"/>
                <a:gd name="T13" fmla="*/ 14 h 14"/>
                <a:gd name="T14" fmla="*/ 8 w 17"/>
                <a:gd name="T15" fmla="*/ 12 h 14"/>
                <a:gd name="T16" fmla="*/ 11 w 17"/>
                <a:gd name="T17" fmla="*/ 9 h 14"/>
                <a:gd name="T18" fmla="*/ 13 w 17"/>
                <a:gd name="T19" fmla="*/ 6 h 14"/>
                <a:gd name="T20" fmla="*/ 17 w 17"/>
                <a:gd name="T21" fmla="*/ 5 h 14"/>
                <a:gd name="T22" fmla="*/ 16 w 17"/>
                <a:gd name="T2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14">
                  <a:moveTo>
                    <a:pt x="16" y="0"/>
                  </a:moveTo>
                  <a:lnTo>
                    <a:pt x="16" y="0"/>
                  </a:lnTo>
                  <a:lnTo>
                    <a:pt x="13" y="1"/>
                  </a:lnTo>
                  <a:lnTo>
                    <a:pt x="8" y="5"/>
                  </a:lnTo>
                  <a:lnTo>
                    <a:pt x="6" y="9"/>
                  </a:lnTo>
                  <a:lnTo>
                    <a:pt x="3" y="9"/>
                  </a:lnTo>
                  <a:lnTo>
                    <a:pt x="0" y="14"/>
                  </a:lnTo>
                  <a:lnTo>
                    <a:pt x="8" y="12"/>
                  </a:lnTo>
                  <a:lnTo>
                    <a:pt x="11" y="9"/>
                  </a:lnTo>
                  <a:lnTo>
                    <a:pt x="13" y="6"/>
                  </a:lnTo>
                  <a:lnTo>
                    <a:pt x="17" y="5"/>
                  </a:lnTo>
                  <a:lnTo>
                    <a:pt x="16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63" name="Freeform 640"/>
            <p:cNvSpPr>
              <a:spLocks/>
            </p:cNvSpPr>
            <p:nvPr/>
          </p:nvSpPr>
          <p:spPr bwMode="auto">
            <a:xfrm>
              <a:off x="2456603" y="2933413"/>
              <a:ext cx="10293" cy="18617"/>
            </a:xfrm>
            <a:custGeom>
              <a:avLst/>
              <a:gdLst>
                <a:gd name="T0" fmla="*/ 12 w 12"/>
                <a:gd name="T1" fmla="*/ 2 h 22"/>
                <a:gd name="T2" fmla="*/ 11 w 12"/>
                <a:gd name="T3" fmla="*/ 0 h 22"/>
                <a:gd name="T4" fmla="*/ 8 w 12"/>
                <a:gd name="T5" fmla="*/ 3 h 22"/>
                <a:gd name="T6" fmla="*/ 6 w 12"/>
                <a:gd name="T7" fmla="*/ 6 h 22"/>
                <a:gd name="T8" fmla="*/ 3 w 12"/>
                <a:gd name="T9" fmla="*/ 8 h 22"/>
                <a:gd name="T10" fmla="*/ 1 w 12"/>
                <a:gd name="T11" fmla="*/ 11 h 22"/>
                <a:gd name="T12" fmla="*/ 1 w 12"/>
                <a:gd name="T13" fmla="*/ 14 h 22"/>
                <a:gd name="T14" fmla="*/ 0 w 12"/>
                <a:gd name="T15" fmla="*/ 19 h 22"/>
                <a:gd name="T16" fmla="*/ 1 w 12"/>
                <a:gd name="T17" fmla="*/ 22 h 22"/>
                <a:gd name="T18" fmla="*/ 4 w 12"/>
                <a:gd name="T19" fmla="*/ 22 h 22"/>
                <a:gd name="T20" fmla="*/ 6 w 12"/>
                <a:gd name="T21" fmla="*/ 19 h 22"/>
                <a:gd name="T22" fmla="*/ 8 w 12"/>
                <a:gd name="T23" fmla="*/ 16 h 22"/>
                <a:gd name="T24" fmla="*/ 6 w 12"/>
                <a:gd name="T25" fmla="*/ 13 h 22"/>
                <a:gd name="T26" fmla="*/ 6 w 12"/>
                <a:gd name="T27" fmla="*/ 10 h 22"/>
                <a:gd name="T28" fmla="*/ 9 w 12"/>
                <a:gd name="T29" fmla="*/ 8 h 22"/>
                <a:gd name="T30" fmla="*/ 9 w 12"/>
                <a:gd name="T31" fmla="*/ 5 h 22"/>
                <a:gd name="T32" fmla="*/ 12 w 12"/>
                <a:gd name="T33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" h="22">
                  <a:moveTo>
                    <a:pt x="12" y="2"/>
                  </a:moveTo>
                  <a:lnTo>
                    <a:pt x="11" y="0"/>
                  </a:lnTo>
                  <a:lnTo>
                    <a:pt x="8" y="3"/>
                  </a:lnTo>
                  <a:lnTo>
                    <a:pt x="6" y="6"/>
                  </a:lnTo>
                  <a:lnTo>
                    <a:pt x="3" y="8"/>
                  </a:lnTo>
                  <a:lnTo>
                    <a:pt x="1" y="11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1" y="22"/>
                  </a:lnTo>
                  <a:lnTo>
                    <a:pt x="4" y="22"/>
                  </a:lnTo>
                  <a:lnTo>
                    <a:pt x="6" y="19"/>
                  </a:lnTo>
                  <a:lnTo>
                    <a:pt x="8" y="16"/>
                  </a:lnTo>
                  <a:lnTo>
                    <a:pt x="6" y="13"/>
                  </a:lnTo>
                  <a:lnTo>
                    <a:pt x="6" y="10"/>
                  </a:lnTo>
                  <a:lnTo>
                    <a:pt x="9" y="8"/>
                  </a:lnTo>
                  <a:lnTo>
                    <a:pt x="9" y="5"/>
                  </a:lnTo>
                  <a:lnTo>
                    <a:pt x="12" y="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64" name="Freeform 641"/>
            <p:cNvSpPr>
              <a:spLocks/>
            </p:cNvSpPr>
            <p:nvPr/>
          </p:nvSpPr>
          <p:spPr bwMode="auto">
            <a:xfrm>
              <a:off x="2463954" y="2943566"/>
              <a:ext cx="4411" cy="5077"/>
            </a:xfrm>
            <a:custGeom>
              <a:avLst/>
              <a:gdLst>
                <a:gd name="T0" fmla="*/ 5 w 5"/>
                <a:gd name="T1" fmla="*/ 1 h 6"/>
                <a:gd name="T2" fmla="*/ 2 w 5"/>
                <a:gd name="T3" fmla="*/ 0 h 6"/>
                <a:gd name="T4" fmla="*/ 0 w 5"/>
                <a:gd name="T5" fmla="*/ 3 h 6"/>
                <a:gd name="T6" fmla="*/ 0 w 5"/>
                <a:gd name="T7" fmla="*/ 6 h 6"/>
                <a:gd name="T8" fmla="*/ 2 w 5"/>
                <a:gd name="T9" fmla="*/ 3 h 6"/>
                <a:gd name="T10" fmla="*/ 5 w 5"/>
                <a:gd name="T11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5" y="1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" y="3"/>
                  </a:lnTo>
                  <a:lnTo>
                    <a:pt x="5" y="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65" name="Freeform 642"/>
            <p:cNvSpPr>
              <a:spLocks/>
            </p:cNvSpPr>
            <p:nvPr/>
          </p:nvSpPr>
          <p:spPr bwMode="auto">
            <a:xfrm>
              <a:off x="2463954" y="2897870"/>
              <a:ext cx="30878" cy="54157"/>
            </a:xfrm>
            <a:custGeom>
              <a:avLst/>
              <a:gdLst>
                <a:gd name="T0" fmla="*/ 10 w 41"/>
                <a:gd name="T1" fmla="*/ 52 h 63"/>
                <a:gd name="T2" fmla="*/ 13 w 41"/>
                <a:gd name="T3" fmla="*/ 55 h 63"/>
                <a:gd name="T4" fmla="*/ 13 w 41"/>
                <a:gd name="T5" fmla="*/ 58 h 63"/>
                <a:gd name="T6" fmla="*/ 13 w 41"/>
                <a:gd name="T7" fmla="*/ 63 h 63"/>
                <a:gd name="T8" fmla="*/ 19 w 41"/>
                <a:gd name="T9" fmla="*/ 60 h 63"/>
                <a:gd name="T10" fmla="*/ 26 w 41"/>
                <a:gd name="T11" fmla="*/ 54 h 63"/>
                <a:gd name="T12" fmla="*/ 26 w 41"/>
                <a:gd name="T13" fmla="*/ 52 h 63"/>
                <a:gd name="T14" fmla="*/ 26 w 41"/>
                <a:gd name="T15" fmla="*/ 51 h 63"/>
                <a:gd name="T16" fmla="*/ 32 w 41"/>
                <a:gd name="T17" fmla="*/ 46 h 63"/>
                <a:gd name="T18" fmla="*/ 32 w 41"/>
                <a:gd name="T19" fmla="*/ 44 h 63"/>
                <a:gd name="T20" fmla="*/ 32 w 41"/>
                <a:gd name="T21" fmla="*/ 43 h 63"/>
                <a:gd name="T22" fmla="*/ 32 w 41"/>
                <a:gd name="T23" fmla="*/ 36 h 63"/>
                <a:gd name="T24" fmla="*/ 32 w 41"/>
                <a:gd name="T25" fmla="*/ 35 h 63"/>
                <a:gd name="T26" fmla="*/ 32 w 41"/>
                <a:gd name="T27" fmla="*/ 32 h 63"/>
                <a:gd name="T28" fmla="*/ 24 w 41"/>
                <a:gd name="T29" fmla="*/ 35 h 63"/>
                <a:gd name="T30" fmla="*/ 32 w 41"/>
                <a:gd name="T31" fmla="*/ 30 h 63"/>
                <a:gd name="T32" fmla="*/ 38 w 41"/>
                <a:gd name="T33" fmla="*/ 35 h 63"/>
                <a:gd name="T34" fmla="*/ 40 w 41"/>
                <a:gd name="T35" fmla="*/ 24 h 63"/>
                <a:gd name="T36" fmla="*/ 41 w 41"/>
                <a:gd name="T37" fmla="*/ 17 h 63"/>
                <a:gd name="T38" fmla="*/ 38 w 41"/>
                <a:gd name="T39" fmla="*/ 13 h 63"/>
                <a:gd name="T40" fmla="*/ 37 w 41"/>
                <a:gd name="T41" fmla="*/ 8 h 63"/>
                <a:gd name="T42" fmla="*/ 40 w 41"/>
                <a:gd name="T43" fmla="*/ 1 h 63"/>
                <a:gd name="T44" fmla="*/ 32 w 41"/>
                <a:gd name="T45" fmla="*/ 0 h 63"/>
                <a:gd name="T46" fmla="*/ 22 w 41"/>
                <a:gd name="T47" fmla="*/ 5 h 63"/>
                <a:gd name="T48" fmla="*/ 30 w 41"/>
                <a:gd name="T49" fmla="*/ 6 h 63"/>
                <a:gd name="T50" fmla="*/ 27 w 41"/>
                <a:gd name="T51" fmla="*/ 8 h 63"/>
                <a:gd name="T52" fmla="*/ 21 w 41"/>
                <a:gd name="T53" fmla="*/ 11 h 63"/>
                <a:gd name="T54" fmla="*/ 10 w 41"/>
                <a:gd name="T55" fmla="*/ 14 h 63"/>
                <a:gd name="T56" fmla="*/ 13 w 41"/>
                <a:gd name="T57" fmla="*/ 16 h 63"/>
                <a:gd name="T58" fmla="*/ 19 w 41"/>
                <a:gd name="T59" fmla="*/ 13 h 63"/>
                <a:gd name="T60" fmla="*/ 26 w 41"/>
                <a:gd name="T61" fmla="*/ 11 h 63"/>
                <a:gd name="T62" fmla="*/ 27 w 41"/>
                <a:gd name="T63" fmla="*/ 11 h 63"/>
                <a:gd name="T64" fmla="*/ 22 w 41"/>
                <a:gd name="T65" fmla="*/ 17 h 63"/>
                <a:gd name="T66" fmla="*/ 19 w 41"/>
                <a:gd name="T67" fmla="*/ 17 h 63"/>
                <a:gd name="T68" fmla="*/ 22 w 41"/>
                <a:gd name="T69" fmla="*/ 19 h 63"/>
                <a:gd name="T70" fmla="*/ 18 w 41"/>
                <a:gd name="T71" fmla="*/ 22 h 63"/>
                <a:gd name="T72" fmla="*/ 10 w 41"/>
                <a:gd name="T73" fmla="*/ 25 h 63"/>
                <a:gd name="T74" fmla="*/ 13 w 41"/>
                <a:gd name="T75" fmla="*/ 28 h 63"/>
                <a:gd name="T76" fmla="*/ 21 w 41"/>
                <a:gd name="T77" fmla="*/ 27 h 63"/>
                <a:gd name="T78" fmla="*/ 13 w 41"/>
                <a:gd name="T79" fmla="*/ 35 h 63"/>
                <a:gd name="T80" fmla="*/ 11 w 41"/>
                <a:gd name="T81" fmla="*/ 38 h 63"/>
                <a:gd name="T82" fmla="*/ 3 w 41"/>
                <a:gd name="T83" fmla="*/ 38 h 63"/>
                <a:gd name="T84" fmla="*/ 5 w 41"/>
                <a:gd name="T85" fmla="*/ 41 h 63"/>
                <a:gd name="T86" fmla="*/ 5 w 41"/>
                <a:gd name="T87" fmla="*/ 43 h 63"/>
                <a:gd name="T88" fmla="*/ 11 w 41"/>
                <a:gd name="T89" fmla="*/ 41 h 63"/>
                <a:gd name="T90" fmla="*/ 15 w 41"/>
                <a:gd name="T91" fmla="*/ 46 h 63"/>
                <a:gd name="T92" fmla="*/ 15 w 41"/>
                <a:gd name="T93" fmla="*/ 46 h 63"/>
                <a:gd name="T94" fmla="*/ 16 w 41"/>
                <a:gd name="T95" fmla="*/ 4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" h="63">
                  <a:moveTo>
                    <a:pt x="15" y="51"/>
                  </a:moveTo>
                  <a:lnTo>
                    <a:pt x="10" y="52"/>
                  </a:lnTo>
                  <a:lnTo>
                    <a:pt x="15" y="52"/>
                  </a:lnTo>
                  <a:lnTo>
                    <a:pt x="13" y="55"/>
                  </a:lnTo>
                  <a:lnTo>
                    <a:pt x="10" y="58"/>
                  </a:lnTo>
                  <a:lnTo>
                    <a:pt x="13" y="58"/>
                  </a:lnTo>
                  <a:lnTo>
                    <a:pt x="10" y="62"/>
                  </a:lnTo>
                  <a:lnTo>
                    <a:pt x="13" y="63"/>
                  </a:lnTo>
                  <a:lnTo>
                    <a:pt x="16" y="63"/>
                  </a:lnTo>
                  <a:lnTo>
                    <a:pt x="19" y="60"/>
                  </a:lnTo>
                  <a:lnTo>
                    <a:pt x="22" y="57"/>
                  </a:lnTo>
                  <a:lnTo>
                    <a:pt x="26" y="54"/>
                  </a:lnTo>
                  <a:lnTo>
                    <a:pt x="29" y="51"/>
                  </a:lnTo>
                  <a:lnTo>
                    <a:pt x="26" y="52"/>
                  </a:lnTo>
                  <a:lnTo>
                    <a:pt x="21" y="52"/>
                  </a:lnTo>
                  <a:lnTo>
                    <a:pt x="26" y="51"/>
                  </a:lnTo>
                  <a:lnTo>
                    <a:pt x="29" y="49"/>
                  </a:lnTo>
                  <a:lnTo>
                    <a:pt x="32" y="46"/>
                  </a:lnTo>
                  <a:lnTo>
                    <a:pt x="35" y="44"/>
                  </a:lnTo>
                  <a:lnTo>
                    <a:pt x="32" y="44"/>
                  </a:lnTo>
                  <a:lnTo>
                    <a:pt x="29" y="43"/>
                  </a:lnTo>
                  <a:lnTo>
                    <a:pt x="32" y="43"/>
                  </a:lnTo>
                  <a:lnTo>
                    <a:pt x="35" y="39"/>
                  </a:lnTo>
                  <a:lnTo>
                    <a:pt x="32" y="36"/>
                  </a:lnTo>
                  <a:lnTo>
                    <a:pt x="27" y="36"/>
                  </a:lnTo>
                  <a:lnTo>
                    <a:pt x="32" y="35"/>
                  </a:lnTo>
                  <a:lnTo>
                    <a:pt x="35" y="35"/>
                  </a:lnTo>
                  <a:lnTo>
                    <a:pt x="32" y="32"/>
                  </a:lnTo>
                  <a:lnTo>
                    <a:pt x="27" y="33"/>
                  </a:lnTo>
                  <a:lnTo>
                    <a:pt x="24" y="35"/>
                  </a:lnTo>
                  <a:lnTo>
                    <a:pt x="27" y="33"/>
                  </a:lnTo>
                  <a:lnTo>
                    <a:pt x="32" y="30"/>
                  </a:lnTo>
                  <a:lnTo>
                    <a:pt x="35" y="32"/>
                  </a:lnTo>
                  <a:lnTo>
                    <a:pt x="38" y="35"/>
                  </a:lnTo>
                  <a:lnTo>
                    <a:pt x="40" y="32"/>
                  </a:lnTo>
                  <a:lnTo>
                    <a:pt x="40" y="24"/>
                  </a:lnTo>
                  <a:lnTo>
                    <a:pt x="41" y="20"/>
                  </a:lnTo>
                  <a:lnTo>
                    <a:pt x="41" y="17"/>
                  </a:lnTo>
                  <a:lnTo>
                    <a:pt x="41" y="14"/>
                  </a:lnTo>
                  <a:lnTo>
                    <a:pt x="38" y="13"/>
                  </a:lnTo>
                  <a:lnTo>
                    <a:pt x="34" y="11"/>
                  </a:lnTo>
                  <a:lnTo>
                    <a:pt x="37" y="8"/>
                  </a:lnTo>
                  <a:lnTo>
                    <a:pt x="40" y="5"/>
                  </a:lnTo>
                  <a:lnTo>
                    <a:pt x="40" y="1"/>
                  </a:lnTo>
                  <a:lnTo>
                    <a:pt x="34" y="1"/>
                  </a:lnTo>
                  <a:lnTo>
                    <a:pt x="32" y="0"/>
                  </a:lnTo>
                  <a:lnTo>
                    <a:pt x="29" y="0"/>
                  </a:lnTo>
                  <a:lnTo>
                    <a:pt x="22" y="5"/>
                  </a:lnTo>
                  <a:lnTo>
                    <a:pt x="27" y="6"/>
                  </a:lnTo>
                  <a:lnTo>
                    <a:pt x="30" y="6"/>
                  </a:lnTo>
                  <a:lnTo>
                    <a:pt x="29" y="8"/>
                  </a:lnTo>
                  <a:lnTo>
                    <a:pt x="27" y="8"/>
                  </a:lnTo>
                  <a:lnTo>
                    <a:pt x="24" y="8"/>
                  </a:lnTo>
                  <a:lnTo>
                    <a:pt x="21" y="11"/>
                  </a:lnTo>
                  <a:lnTo>
                    <a:pt x="18" y="11"/>
                  </a:lnTo>
                  <a:lnTo>
                    <a:pt x="10" y="14"/>
                  </a:lnTo>
                  <a:lnTo>
                    <a:pt x="8" y="17"/>
                  </a:lnTo>
                  <a:lnTo>
                    <a:pt x="13" y="16"/>
                  </a:lnTo>
                  <a:lnTo>
                    <a:pt x="16" y="14"/>
                  </a:lnTo>
                  <a:lnTo>
                    <a:pt x="19" y="13"/>
                  </a:lnTo>
                  <a:lnTo>
                    <a:pt x="22" y="13"/>
                  </a:lnTo>
                  <a:lnTo>
                    <a:pt x="26" y="11"/>
                  </a:lnTo>
                  <a:lnTo>
                    <a:pt x="29" y="9"/>
                  </a:lnTo>
                  <a:lnTo>
                    <a:pt x="27" y="11"/>
                  </a:lnTo>
                  <a:lnTo>
                    <a:pt x="26" y="14"/>
                  </a:lnTo>
                  <a:lnTo>
                    <a:pt x="22" y="17"/>
                  </a:lnTo>
                  <a:lnTo>
                    <a:pt x="22" y="19"/>
                  </a:lnTo>
                  <a:lnTo>
                    <a:pt x="19" y="17"/>
                  </a:lnTo>
                  <a:lnTo>
                    <a:pt x="18" y="22"/>
                  </a:lnTo>
                  <a:lnTo>
                    <a:pt x="22" y="19"/>
                  </a:lnTo>
                  <a:lnTo>
                    <a:pt x="21" y="20"/>
                  </a:lnTo>
                  <a:lnTo>
                    <a:pt x="18" y="22"/>
                  </a:lnTo>
                  <a:lnTo>
                    <a:pt x="15" y="24"/>
                  </a:lnTo>
                  <a:lnTo>
                    <a:pt x="10" y="25"/>
                  </a:lnTo>
                  <a:lnTo>
                    <a:pt x="10" y="30"/>
                  </a:lnTo>
                  <a:lnTo>
                    <a:pt x="13" y="28"/>
                  </a:lnTo>
                  <a:lnTo>
                    <a:pt x="18" y="27"/>
                  </a:lnTo>
                  <a:lnTo>
                    <a:pt x="21" y="27"/>
                  </a:lnTo>
                  <a:lnTo>
                    <a:pt x="15" y="32"/>
                  </a:lnTo>
                  <a:lnTo>
                    <a:pt x="13" y="35"/>
                  </a:lnTo>
                  <a:lnTo>
                    <a:pt x="15" y="38"/>
                  </a:lnTo>
                  <a:lnTo>
                    <a:pt x="11" y="38"/>
                  </a:lnTo>
                  <a:lnTo>
                    <a:pt x="7" y="36"/>
                  </a:lnTo>
                  <a:lnTo>
                    <a:pt x="3" y="38"/>
                  </a:lnTo>
                  <a:lnTo>
                    <a:pt x="0" y="41"/>
                  </a:lnTo>
                  <a:lnTo>
                    <a:pt x="5" y="41"/>
                  </a:lnTo>
                  <a:lnTo>
                    <a:pt x="8" y="41"/>
                  </a:lnTo>
                  <a:lnTo>
                    <a:pt x="5" y="43"/>
                  </a:lnTo>
                  <a:lnTo>
                    <a:pt x="8" y="43"/>
                  </a:lnTo>
                  <a:lnTo>
                    <a:pt x="11" y="41"/>
                  </a:lnTo>
                  <a:lnTo>
                    <a:pt x="10" y="44"/>
                  </a:lnTo>
                  <a:lnTo>
                    <a:pt x="15" y="46"/>
                  </a:lnTo>
                  <a:lnTo>
                    <a:pt x="16" y="43"/>
                  </a:lnTo>
                  <a:lnTo>
                    <a:pt x="15" y="46"/>
                  </a:lnTo>
                  <a:lnTo>
                    <a:pt x="11" y="49"/>
                  </a:lnTo>
                  <a:lnTo>
                    <a:pt x="16" y="47"/>
                  </a:lnTo>
                  <a:lnTo>
                    <a:pt x="15" y="5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66" name="Freeform 643"/>
            <p:cNvSpPr>
              <a:spLocks/>
            </p:cNvSpPr>
            <p:nvPr/>
          </p:nvSpPr>
          <p:spPr bwMode="auto">
            <a:xfrm>
              <a:off x="2494832" y="2928334"/>
              <a:ext cx="5882" cy="6771"/>
            </a:xfrm>
            <a:custGeom>
              <a:avLst/>
              <a:gdLst>
                <a:gd name="T0" fmla="*/ 7 w 8"/>
                <a:gd name="T1" fmla="*/ 0 h 8"/>
                <a:gd name="T2" fmla="*/ 4 w 8"/>
                <a:gd name="T3" fmla="*/ 2 h 8"/>
                <a:gd name="T4" fmla="*/ 0 w 8"/>
                <a:gd name="T5" fmla="*/ 5 h 8"/>
                <a:gd name="T6" fmla="*/ 0 w 8"/>
                <a:gd name="T7" fmla="*/ 8 h 8"/>
                <a:gd name="T8" fmla="*/ 5 w 8"/>
                <a:gd name="T9" fmla="*/ 7 h 8"/>
                <a:gd name="T10" fmla="*/ 8 w 8"/>
                <a:gd name="T11" fmla="*/ 3 h 8"/>
                <a:gd name="T12" fmla="*/ 7 w 8"/>
                <a:gd name="T13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8">
                  <a:moveTo>
                    <a:pt x="7" y="0"/>
                  </a:moveTo>
                  <a:lnTo>
                    <a:pt x="4" y="2"/>
                  </a:lnTo>
                  <a:lnTo>
                    <a:pt x="0" y="5"/>
                  </a:lnTo>
                  <a:lnTo>
                    <a:pt x="0" y="8"/>
                  </a:lnTo>
                  <a:lnTo>
                    <a:pt x="5" y="7"/>
                  </a:lnTo>
                  <a:lnTo>
                    <a:pt x="8" y="3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67" name="Freeform 644"/>
            <p:cNvSpPr>
              <a:spLocks/>
            </p:cNvSpPr>
            <p:nvPr/>
          </p:nvSpPr>
          <p:spPr bwMode="auto">
            <a:xfrm>
              <a:off x="2497773" y="2972338"/>
              <a:ext cx="4411" cy="1692"/>
            </a:xfrm>
            <a:custGeom>
              <a:avLst/>
              <a:gdLst>
                <a:gd name="T0" fmla="*/ 5 w 5"/>
                <a:gd name="T1" fmla="*/ 0 h 3"/>
                <a:gd name="T2" fmla="*/ 3 w 5"/>
                <a:gd name="T3" fmla="*/ 0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68" name="Freeform 645"/>
            <p:cNvSpPr>
              <a:spLocks/>
            </p:cNvSpPr>
            <p:nvPr/>
          </p:nvSpPr>
          <p:spPr bwMode="auto">
            <a:xfrm>
              <a:off x="2046372" y="2843713"/>
              <a:ext cx="72047" cy="40619"/>
            </a:xfrm>
            <a:custGeom>
              <a:avLst/>
              <a:gdLst>
                <a:gd name="T0" fmla="*/ 10 w 99"/>
                <a:gd name="T1" fmla="*/ 43 h 48"/>
                <a:gd name="T2" fmla="*/ 4 w 99"/>
                <a:gd name="T3" fmla="*/ 46 h 48"/>
                <a:gd name="T4" fmla="*/ 12 w 99"/>
                <a:gd name="T5" fmla="*/ 46 h 48"/>
                <a:gd name="T6" fmla="*/ 18 w 99"/>
                <a:gd name="T7" fmla="*/ 45 h 48"/>
                <a:gd name="T8" fmla="*/ 24 w 99"/>
                <a:gd name="T9" fmla="*/ 42 h 48"/>
                <a:gd name="T10" fmla="*/ 24 w 99"/>
                <a:gd name="T11" fmla="*/ 37 h 48"/>
                <a:gd name="T12" fmla="*/ 32 w 99"/>
                <a:gd name="T13" fmla="*/ 35 h 48"/>
                <a:gd name="T14" fmla="*/ 39 w 99"/>
                <a:gd name="T15" fmla="*/ 34 h 48"/>
                <a:gd name="T16" fmla="*/ 45 w 99"/>
                <a:gd name="T17" fmla="*/ 32 h 48"/>
                <a:gd name="T18" fmla="*/ 51 w 99"/>
                <a:gd name="T19" fmla="*/ 31 h 48"/>
                <a:gd name="T20" fmla="*/ 54 w 99"/>
                <a:gd name="T21" fmla="*/ 26 h 48"/>
                <a:gd name="T22" fmla="*/ 65 w 99"/>
                <a:gd name="T23" fmla="*/ 27 h 48"/>
                <a:gd name="T24" fmla="*/ 72 w 99"/>
                <a:gd name="T25" fmla="*/ 26 h 48"/>
                <a:gd name="T26" fmla="*/ 69 w 99"/>
                <a:gd name="T27" fmla="*/ 21 h 48"/>
                <a:gd name="T28" fmla="*/ 69 w 99"/>
                <a:gd name="T29" fmla="*/ 21 h 48"/>
                <a:gd name="T30" fmla="*/ 75 w 99"/>
                <a:gd name="T31" fmla="*/ 21 h 48"/>
                <a:gd name="T32" fmla="*/ 83 w 99"/>
                <a:gd name="T33" fmla="*/ 23 h 48"/>
                <a:gd name="T34" fmla="*/ 89 w 99"/>
                <a:gd name="T35" fmla="*/ 19 h 48"/>
                <a:gd name="T36" fmla="*/ 97 w 99"/>
                <a:gd name="T37" fmla="*/ 15 h 48"/>
                <a:gd name="T38" fmla="*/ 89 w 99"/>
                <a:gd name="T39" fmla="*/ 15 h 48"/>
                <a:gd name="T40" fmla="*/ 96 w 99"/>
                <a:gd name="T41" fmla="*/ 10 h 48"/>
                <a:gd name="T42" fmla="*/ 99 w 99"/>
                <a:gd name="T43" fmla="*/ 5 h 48"/>
                <a:gd name="T44" fmla="*/ 92 w 99"/>
                <a:gd name="T45" fmla="*/ 5 h 48"/>
                <a:gd name="T46" fmla="*/ 85 w 99"/>
                <a:gd name="T47" fmla="*/ 7 h 48"/>
                <a:gd name="T48" fmla="*/ 83 w 99"/>
                <a:gd name="T49" fmla="*/ 7 h 48"/>
                <a:gd name="T50" fmla="*/ 83 w 99"/>
                <a:gd name="T51" fmla="*/ 4 h 48"/>
                <a:gd name="T52" fmla="*/ 80 w 99"/>
                <a:gd name="T53" fmla="*/ 4 h 48"/>
                <a:gd name="T54" fmla="*/ 73 w 99"/>
                <a:gd name="T55" fmla="*/ 10 h 48"/>
                <a:gd name="T56" fmla="*/ 65 w 99"/>
                <a:gd name="T57" fmla="*/ 8 h 48"/>
                <a:gd name="T58" fmla="*/ 62 w 99"/>
                <a:gd name="T59" fmla="*/ 10 h 48"/>
                <a:gd name="T60" fmla="*/ 62 w 99"/>
                <a:gd name="T61" fmla="*/ 8 h 48"/>
                <a:gd name="T62" fmla="*/ 61 w 99"/>
                <a:gd name="T63" fmla="*/ 5 h 48"/>
                <a:gd name="T64" fmla="*/ 54 w 99"/>
                <a:gd name="T65" fmla="*/ 7 h 48"/>
                <a:gd name="T66" fmla="*/ 54 w 99"/>
                <a:gd name="T67" fmla="*/ 13 h 48"/>
                <a:gd name="T68" fmla="*/ 46 w 99"/>
                <a:gd name="T69" fmla="*/ 15 h 48"/>
                <a:gd name="T70" fmla="*/ 45 w 99"/>
                <a:gd name="T71" fmla="*/ 16 h 48"/>
                <a:gd name="T72" fmla="*/ 39 w 99"/>
                <a:gd name="T73" fmla="*/ 24 h 48"/>
                <a:gd name="T74" fmla="*/ 37 w 99"/>
                <a:gd name="T75" fmla="*/ 24 h 48"/>
                <a:gd name="T76" fmla="*/ 40 w 99"/>
                <a:gd name="T77" fmla="*/ 16 h 48"/>
                <a:gd name="T78" fmla="*/ 29 w 99"/>
                <a:gd name="T79" fmla="*/ 16 h 48"/>
                <a:gd name="T80" fmla="*/ 13 w 99"/>
                <a:gd name="T81" fmla="*/ 23 h 48"/>
                <a:gd name="T82" fmla="*/ 8 w 99"/>
                <a:gd name="T83" fmla="*/ 31 h 48"/>
                <a:gd name="T84" fmla="*/ 0 w 99"/>
                <a:gd name="T85" fmla="*/ 38 h 48"/>
                <a:gd name="T86" fmla="*/ 7 w 99"/>
                <a:gd name="T87" fmla="*/ 42 h 48"/>
                <a:gd name="T88" fmla="*/ 13 w 99"/>
                <a:gd name="T89" fmla="*/ 37 h 48"/>
                <a:gd name="T90" fmla="*/ 13 w 99"/>
                <a:gd name="T91" fmla="*/ 34 h 48"/>
                <a:gd name="T92" fmla="*/ 7 w 99"/>
                <a:gd name="T93" fmla="*/ 37 h 48"/>
                <a:gd name="T94" fmla="*/ 13 w 99"/>
                <a:gd name="T95" fmla="*/ 34 h 48"/>
                <a:gd name="T96" fmla="*/ 21 w 99"/>
                <a:gd name="T97" fmla="*/ 34 h 48"/>
                <a:gd name="T98" fmla="*/ 13 w 99"/>
                <a:gd name="T99" fmla="*/ 38 h 48"/>
                <a:gd name="T100" fmla="*/ 21 w 99"/>
                <a:gd name="T101" fmla="*/ 35 h 48"/>
                <a:gd name="T102" fmla="*/ 27 w 99"/>
                <a:gd name="T103" fmla="*/ 34 h 48"/>
                <a:gd name="T104" fmla="*/ 21 w 99"/>
                <a:gd name="T105" fmla="*/ 37 h 48"/>
                <a:gd name="T106" fmla="*/ 21 w 99"/>
                <a:gd name="T107" fmla="*/ 38 h 48"/>
                <a:gd name="T108" fmla="*/ 13 w 99"/>
                <a:gd name="T109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9" h="48">
                  <a:moveTo>
                    <a:pt x="13" y="42"/>
                  </a:moveTo>
                  <a:lnTo>
                    <a:pt x="10" y="43"/>
                  </a:lnTo>
                  <a:lnTo>
                    <a:pt x="7" y="45"/>
                  </a:lnTo>
                  <a:lnTo>
                    <a:pt x="4" y="46"/>
                  </a:lnTo>
                  <a:lnTo>
                    <a:pt x="7" y="48"/>
                  </a:lnTo>
                  <a:lnTo>
                    <a:pt x="12" y="46"/>
                  </a:lnTo>
                  <a:lnTo>
                    <a:pt x="15" y="45"/>
                  </a:lnTo>
                  <a:lnTo>
                    <a:pt x="18" y="45"/>
                  </a:lnTo>
                  <a:lnTo>
                    <a:pt x="21" y="42"/>
                  </a:lnTo>
                  <a:lnTo>
                    <a:pt x="24" y="42"/>
                  </a:lnTo>
                  <a:lnTo>
                    <a:pt x="27" y="40"/>
                  </a:lnTo>
                  <a:lnTo>
                    <a:pt x="24" y="37"/>
                  </a:lnTo>
                  <a:lnTo>
                    <a:pt x="27" y="37"/>
                  </a:lnTo>
                  <a:lnTo>
                    <a:pt x="32" y="35"/>
                  </a:lnTo>
                  <a:lnTo>
                    <a:pt x="35" y="34"/>
                  </a:lnTo>
                  <a:lnTo>
                    <a:pt x="39" y="34"/>
                  </a:lnTo>
                  <a:lnTo>
                    <a:pt x="40" y="32"/>
                  </a:lnTo>
                  <a:lnTo>
                    <a:pt x="45" y="32"/>
                  </a:lnTo>
                  <a:lnTo>
                    <a:pt x="48" y="31"/>
                  </a:lnTo>
                  <a:lnTo>
                    <a:pt x="51" y="31"/>
                  </a:lnTo>
                  <a:lnTo>
                    <a:pt x="54" y="31"/>
                  </a:lnTo>
                  <a:lnTo>
                    <a:pt x="54" y="26"/>
                  </a:lnTo>
                  <a:lnTo>
                    <a:pt x="61" y="26"/>
                  </a:lnTo>
                  <a:lnTo>
                    <a:pt x="65" y="27"/>
                  </a:lnTo>
                  <a:lnTo>
                    <a:pt x="69" y="27"/>
                  </a:lnTo>
                  <a:lnTo>
                    <a:pt x="72" y="26"/>
                  </a:lnTo>
                  <a:lnTo>
                    <a:pt x="72" y="21"/>
                  </a:lnTo>
                  <a:lnTo>
                    <a:pt x="69" y="21"/>
                  </a:lnTo>
                  <a:lnTo>
                    <a:pt x="64" y="21"/>
                  </a:lnTo>
                  <a:lnTo>
                    <a:pt x="69" y="21"/>
                  </a:lnTo>
                  <a:lnTo>
                    <a:pt x="72" y="19"/>
                  </a:lnTo>
                  <a:lnTo>
                    <a:pt x="75" y="21"/>
                  </a:lnTo>
                  <a:lnTo>
                    <a:pt x="78" y="21"/>
                  </a:lnTo>
                  <a:lnTo>
                    <a:pt x="83" y="23"/>
                  </a:lnTo>
                  <a:lnTo>
                    <a:pt x="86" y="21"/>
                  </a:lnTo>
                  <a:lnTo>
                    <a:pt x="89" y="19"/>
                  </a:lnTo>
                  <a:lnTo>
                    <a:pt x="92" y="16"/>
                  </a:lnTo>
                  <a:lnTo>
                    <a:pt x="97" y="15"/>
                  </a:lnTo>
                  <a:lnTo>
                    <a:pt x="92" y="15"/>
                  </a:lnTo>
                  <a:lnTo>
                    <a:pt x="89" y="15"/>
                  </a:lnTo>
                  <a:lnTo>
                    <a:pt x="91" y="11"/>
                  </a:lnTo>
                  <a:lnTo>
                    <a:pt x="96" y="10"/>
                  </a:lnTo>
                  <a:lnTo>
                    <a:pt x="99" y="8"/>
                  </a:lnTo>
                  <a:lnTo>
                    <a:pt x="99" y="5"/>
                  </a:lnTo>
                  <a:lnTo>
                    <a:pt x="96" y="4"/>
                  </a:lnTo>
                  <a:lnTo>
                    <a:pt x="92" y="5"/>
                  </a:lnTo>
                  <a:lnTo>
                    <a:pt x="88" y="7"/>
                  </a:lnTo>
                  <a:lnTo>
                    <a:pt x="85" y="7"/>
                  </a:lnTo>
                  <a:lnTo>
                    <a:pt x="81" y="10"/>
                  </a:lnTo>
                  <a:lnTo>
                    <a:pt x="83" y="7"/>
                  </a:lnTo>
                  <a:lnTo>
                    <a:pt x="88" y="5"/>
                  </a:lnTo>
                  <a:lnTo>
                    <a:pt x="83" y="4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77" y="5"/>
                  </a:lnTo>
                  <a:lnTo>
                    <a:pt x="73" y="10"/>
                  </a:lnTo>
                  <a:lnTo>
                    <a:pt x="69" y="7"/>
                  </a:lnTo>
                  <a:lnTo>
                    <a:pt x="65" y="8"/>
                  </a:lnTo>
                  <a:lnTo>
                    <a:pt x="65" y="11"/>
                  </a:lnTo>
                  <a:lnTo>
                    <a:pt x="62" y="10"/>
                  </a:lnTo>
                  <a:lnTo>
                    <a:pt x="59" y="13"/>
                  </a:lnTo>
                  <a:lnTo>
                    <a:pt x="62" y="8"/>
                  </a:lnTo>
                  <a:lnTo>
                    <a:pt x="64" y="5"/>
                  </a:lnTo>
                  <a:lnTo>
                    <a:pt x="61" y="5"/>
                  </a:lnTo>
                  <a:lnTo>
                    <a:pt x="58" y="5"/>
                  </a:lnTo>
                  <a:lnTo>
                    <a:pt x="54" y="7"/>
                  </a:lnTo>
                  <a:lnTo>
                    <a:pt x="50" y="10"/>
                  </a:lnTo>
                  <a:lnTo>
                    <a:pt x="54" y="13"/>
                  </a:lnTo>
                  <a:lnTo>
                    <a:pt x="50" y="15"/>
                  </a:lnTo>
                  <a:lnTo>
                    <a:pt x="46" y="15"/>
                  </a:lnTo>
                  <a:lnTo>
                    <a:pt x="48" y="18"/>
                  </a:lnTo>
                  <a:lnTo>
                    <a:pt x="45" y="16"/>
                  </a:lnTo>
                  <a:lnTo>
                    <a:pt x="42" y="21"/>
                  </a:lnTo>
                  <a:lnTo>
                    <a:pt x="39" y="24"/>
                  </a:lnTo>
                  <a:lnTo>
                    <a:pt x="37" y="27"/>
                  </a:lnTo>
                  <a:lnTo>
                    <a:pt x="37" y="24"/>
                  </a:lnTo>
                  <a:lnTo>
                    <a:pt x="39" y="21"/>
                  </a:lnTo>
                  <a:lnTo>
                    <a:pt x="40" y="16"/>
                  </a:lnTo>
                  <a:lnTo>
                    <a:pt x="39" y="13"/>
                  </a:lnTo>
                  <a:lnTo>
                    <a:pt x="29" y="16"/>
                  </a:lnTo>
                  <a:lnTo>
                    <a:pt x="21" y="18"/>
                  </a:lnTo>
                  <a:lnTo>
                    <a:pt x="13" y="23"/>
                  </a:lnTo>
                  <a:lnTo>
                    <a:pt x="5" y="27"/>
                  </a:lnTo>
                  <a:lnTo>
                    <a:pt x="8" y="31"/>
                  </a:lnTo>
                  <a:lnTo>
                    <a:pt x="5" y="34"/>
                  </a:lnTo>
                  <a:lnTo>
                    <a:pt x="0" y="38"/>
                  </a:lnTo>
                  <a:lnTo>
                    <a:pt x="2" y="42"/>
                  </a:lnTo>
                  <a:lnTo>
                    <a:pt x="7" y="42"/>
                  </a:lnTo>
                  <a:lnTo>
                    <a:pt x="10" y="40"/>
                  </a:lnTo>
                  <a:lnTo>
                    <a:pt x="13" y="37"/>
                  </a:lnTo>
                  <a:lnTo>
                    <a:pt x="16" y="35"/>
                  </a:lnTo>
                  <a:lnTo>
                    <a:pt x="13" y="34"/>
                  </a:lnTo>
                  <a:lnTo>
                    <a:pt x="10" y="35"/>
                  </a:lnTo>
                  <a:lnTo>
                    <a:pt x="7" y="37"/>
                  </a:lnTo>
                  <a:lnTo>
                    <a:pt x="10" y="34"/>
                  </a:lnTo>
                  <a:lnTo>
                    <a:pt x="13" y="34"/>
                  </a:lnTo>
                  <a:lnTo>
                    <a:pt x="16" y="34"/>
                  </a:lnTo>
                  <a:lnTo>
                    <a:pt x="21" y="34"/>
                  </a:lnTo>
                  <a:lnTo>
                    <a:pt x="16" y="35"/>
                  </a:lnTo>
                  <a:lnTo>
                    <a:pt x="13" y="38"/>
                  </a:lnTo>
                  <a:lnTo>
                    <a:pt x="16" y="37"/>
                  </a:lnTo>
                  <a:lnTo>
                    <a:pt x="21" y="35"/>
                  </a:lnTo>
                  <a:lnTo>
                    <a:pt x="24" y="34"/>
                  </a:lnTo>
                  <a:lnTo>
                    <a:pt x="27" y="34"/>
                  </a:lnTo>
                  <a:lnTo>
                    <a:pt x="24" y="35"/>
                  </a:lnTo>
                  <a:lnTo>
                    <a:pt x="21" y="37"/>
                  </a:lnTo>
                  <a:lnTo>
                    <a:pt x="18" y="38"/>
                  </a:lnTo>
                  <a:lnTo>
                    <a:pt x="21" y="38"/>
                  </a:lnTo>
                  <a:lnTo>
                    <a:pt x="18" y="42"/>
                  </a:lnTo>
                  <a:lnTo>
                    <a:pt x="13" y="4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69" name="Freeform 646"/>
            <p:cNvSpPr>
              <a:spLocks/>
            </p:cNvSpPr>
            <p:nvPr/>
          </p:nvSpPr>
          <p:spPr bwMode="auto">
            <a:xfrm>
              <a:off x="2111068" y="2830175"/>
              <a:ext cx="30878" cy="13540"/>
            </a:xfrm>
            <a:custGeom>
              <a:avLst/>
              <a:gdLst>
                <a:gd name="T0" fmla="*/ 4 w 43"/>
                <a:gd name="T1" fmla="*/ 15 h 15"/>
                <a:gd name="T2" fmla="*/ 14 w 43"/>
                <a:gd name="T3" fmla="*/ 12 h 15"/>
                <a:gd name="T4" fmla="*/ 22 w 43"/>
                <a:gd name="T5" fmla="*/ 7 h 15"/>
                <a:gd name="T6" fmla="*/ 19 w 43"/>
                <a:gd name="T7" fmla="*/ 11 h 15"/>
                <a:gd name="T8" fmla="*/ 22 w 43"/>
                <a:gd name="T9" fmla="*/ 11 h 15"/>
                <a:gd name="T10" fmla="*/ 25 w 43"/>
                <a:gd name="T11" fmla="*/ 11 h 15"/>
                <a:gd name="T12" fmla="*/ 28 w 43"/>
                <a:gd name="T13" fmla="*/ 9 h 15"/>
                <a:gd name="T14" fmla="*/ 33 w 43"/>
                <a:gd name="T15" fmla="*/ 6 h 15"/>
                <a:gd name="T16" fmla="*/ 33 w 43"/>
                <a:gd name="T17" fmla="*/ 9 h 15"/>
                <a:gd name="T18" fmla="*/ 36 w 43"/>
                <a:gd name="T19" fmla="*/ 9 h 15"/>
                <a:gd name="T20" fmla="*/ 39 w 43"/>
                <a:gd name="T21" fmla="*/ 7 h 15"/>
                <a:gd name="T22" fmla="*/ 43 w 43"/>
                <a:gd name="T23" fmla="*/ 4 h 15"/>
                <a:gd name="T24" fmla="*/ 39 w 43"/>
                <a:gd name="T25" fmla="*/ 4 h 15"/>
                <a:gd name="T26" fmla="*/ 36 w 43"/>
                <a:gd name="T27" fmla="*/ 7 h 15"/>
                <a:gd name="T28" fmla="*/ 39 w 43"/>
                <a:gd name="T29" fmla="*/ 4 h 15"/>
                <a:gd name="T30" fmla="*/ 43 w 43"/>
                <a:gd name="T31" fmla="*/ 3 h 15"/>
                <a:gd name="T32" fmla="*/ 39 w 43"/>
                <a:gd name="T33" fmla="*/ 3 h 15"/>
                <a:gd name="T34" fmla="*/ 36 w 43"/>
                <a:gd name="T35" fmla="*/ 1 h 15"/>
                <a:gd name="T36" fmla="*/ 31 w 43"/>
                <a:gd name="T37" fmla="*/ 3 h 15"/>
                <a:gd name="T38" fmla="*/ 31 w 43"/>
                <a:gd name="T39" fmla="*/ 0 h 15"/>
                <a:gd name="T40" fmla="*/ 28 w 43"/>
                <a:gd name="T41" fmla="*/ 0 h 15"/>
                <a:gd name="T42" fmla="*/ 25 w 43"/>
                <a:gd name="T43" fmla="*/ 0 h 15"/>
                <a:gd name="T44" fmla="*/ 22 w 43"/>
                <a:gd name="T45" fmla="*/ 1 h 15"/>
                <a:gd name="T46" fmla="*/ 20 w 43"/>
                <a:gd name="T47" fmla="*/ 4 h 15"/>
                <a:gd name="T48" fmla="*/ 17 w 43"/>
                <a:gd name="T49" fmla="*/ 4 h 15"/>
                <a:gd name="T50" fmla="*/ 14 w 43"/>
                <a:gd name="T51" fmla="*/ 4 h 15"/>
                <a:gd name="T52" fmla="*/ 9 w 43"/>
                <a:gd name="T53" fmla="*/ 6 h 15"/>
                <a:gd name="T54" fmla="*/ 9 w 43"/>
                <a:gd name="T55" fmla="*/ 9 h 15"/>
                <a:gd name="T56" fmla="*/ 3 w 43"/>
                <a:gd name="T57" fmla="*/ 7 h 15"/>
                <a:gd name="T58" fmla="*/ 0 w 43"/>
                <a:gd name="T59" fmla="*/ 11 h 15"/>
                <a:gd name="T60" fmla="*/ 3 w 43"/>
                <a:gd name="T61" fmla="*/ 15 h 15"/>
                <a:gd name="T62" fmla="*/ 4 w 43"/>
                <a:gd name="T63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3" h="15">
                  <a:moveTo>
                    <a:pt x="4" y="15"/>
                  </a:moveTo>
                  <a:lnTo>
                    <a:pt x="14" y="12"/>
                  </a:lnTo>
                  <a:lnTo>
                    <a:pt x="22" y="7"/>
                  </a:lnTo>
                  <a:lnTo>
                    <a:pt x="19" y="11"/>
                  </a:lnTo>
                  <a:lnTo>
                    <a:pt x="22" y="11"/>
                  </a:lnTo>
                  <a:lnTo>
                    <a:pt x="25" y="11"/>
                  </a:lnTo>
                  <a:lnTo>
                    <a:pt x="28" y="9"/>
                  </a:lnTo>
                  <a:lnTo>
                    <a:pt x="33" y="6"/>
                  </a:lnTo>
                  <a:lnTo>
                    <a:pt x="33" y="9"/>
                  </a:lnTo>
                  <a:lnTo>
                    <a:pt x="36" y="9"/>
                  </a:lnTo>
                  <a:lnTo>
                    <a:pt x="39" y="7"/>
                  </a:lnTo>
                  <a:lnTo>
                    <a:pt x="43" y="4"/>
                  </a:lnTo>
                  <a:lnTo>
                    <a:pt x="39" y="4"/>
                  </a:lnTo>
                  <a:lnTo>
                    <a:pt x="36" y="7"/>
                  </a:lnTo>
                  <a:lnTo>
                    <a:pt x="39" y="4"/>
                  </a:lnTo>
                  <a:lnTo>
                    <a:pt x="43" y="3"/>
                  </a:lnTo>
                  <a:lnTo>
                    <a:pt x="39" y="3"/>
                  </a:lnTo>
                  <a:lnTo>
                    <a:pt x="36" y="1"/>
                  </a:lnTo>
                  <a:lnTo>
                    <a:pt x="31" y="3"/>
                  </a:lnTo>
                  <a:lnTo>
                    <a:pt x="31" y="0"/>
                  </a:lnTo>
                  <a:lnTo>
                    <a:pt x="28" y="0"/>
                  </a:lnTo>
                  <a:lnTo>
                    <a:pt x="25" y="0"/>
                  </a:lnTo>
                  <a:lnTo>
                    <a:pt x="22" y="1"/>
                  </a:lnTo>
                  <a:lnTo>
                    <a:pt x="20" y="4"/>
                  </a:lnTo>
                  <a:lnTo>
                    <a:pt x="17" y="4"/>
                  </a:lnTo>
                  <a:lnTo>
                    <a:pt x="14" y="4"/>
                  </a:lnTo>
                  <a:lnTo>
                    <a:pt x="9" y="6"/>
                  </a:lnTo>
                  <a:lnTo>
                    <a:pt x="9" y="9"/>
                  </a:lnTo>
                  <a:lnTo>
                    <a:pt x="3" y="7"/>
                  </a:lnTo>
                  <a:lnTo>
                    <a:pt x="0" y="11"/>
                  </a:lnTo>
                  <a:lnTo>
                    <a:pt x="3" y="15"/>
                  </a:lnTo>
                  <a:lnTo>
                    <a:pt x="4" y="15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70" name="Freeform 647"/>
            <p:cNvSpPr>
              <a:spLocks/>
            </p:cNvSpPr>
            <p:nvPr/>
          </p:nvSpPr>
          <p:spPr bwMode="auto">
            <a:xfrm>
              <a:off x="2025787" y="2842021"/>
              <a:ext cx="19115" cy="13540"/>
            </a:xfrm>
            <a:custGeom>
              <a:avLst/>
              <a:gdLst>
                <a:gd name="T0" fmla="*/ 5 w 25"/>
                <a:gd name="T1" fmla="*/ 2 h 18"/>
                <a:gd name="T2" fmla="*/ 5 w 25"/>
                <a:gd name="T3" fmla="*/ 3 h 18"/>
                <a:gd name="T4" fmla="*/ 0 w 25"/>
                <a:gd name="T5" fmla="*/ 5 h 18"/>
                <a:gd name="T6" fmla="*/ 3 w 25"/>
                <a:gd name="T7" fmla="*/ 8 h 18"/>
                <a:gd name="T8" fmla="*/ 6 w 25"/>
                <a:gd name="T9" fmla="*/ 10 h 18"/>
                <a:gd name="T10" fmla="*/ 9 w 25"/>
                <a:gd name="T11" fmla="*/ 11 h 18"/>
                <a:gd name="T12" fmla="*/ 13 w 25"/>
                <a:gd name="T13" fmla="*/ 14 h 18"/>
                <a:gd name="T14" fmla="*/ 9 w 25"/>
                <a:gd name="T15" fmla="*/ 16 h 18"/>
                <a:gd name="T16" fmla="*/ 9 w 25"/>
                <a:gd name="T17" fmla="*/ 18 h 18"/>
                <a:gd name="T18" fmla="*/ 13 w 25"/>
                <a:gd name="T19" fmla="*/ 14 h 18"/>
                <a:gd name="T20" fmla="*/ 16 w 25"/>
                <a:gd name="T21" fmla="*/ 14 h 18"/>
                <a:gd name="T22" fmla="*/ 17 w 25"/>
                <a:gd name="T23" fmla="*/ 10 h 18"/>
                <a:gd name="T24" fmla="*/ 21 w 25"/>
                <a:gd name="T25" fmla="*/ 10 h 18"/>
                <a:gd name="T26" fmla="*/ 24 w 25"/>
                <a:gd name="T27" fmla="*/ 8 h 18"/>
                <a:gd name="T28" fmla="*/ 25 w 25"/>
                <a:gd name="T29" fmla="*/ 7 h 18"/>
                <a:gd name="T30" fmla="*/ 19 w 25"/>
                <a:gd name="T31" fmla="*/ 3 h 18"/>
                <a:gd name="T32" fmla="*/ 16 w 25"/>
                <a:gd name="T33" fmla="*/ 2 h 18"/>
                <a:gd name="T34" fmla="*/ 11 w 25"/>
                <a:gd name="T35" fmla="*/ 0 h 18"/>
                <a:gd name="T36" fmla="*/ 5 w 25"/>
                <a:gd name="T37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" h="18">
                  <a:moveTo>
                    <a:pt x="5" y="2"/>
                  </a:moveTo>
                  <a:lnTo>
                    <a:pt x="5" y="3"/>
                  </a:lnTo>
                  <a:lnTo>
                    <a:pt x="0" y="5"/>
                  </a:lnTo>
                  <a:lnTo>
                    <a:pt x="3" y="8"/>
                  </a:lnTo>
                  <a:lnTo>
                    <a:pt x="6" y="10"/>
                  </a:lnTo>
                  <a:lnTo>
                    <a:pt x="9" y="11"/>
                  </a:lnTo>
                  <a:lnTo>
                    <a:pt x="13" y="14"/>
                  </a:lnTo>
                  <a:lnTo>
                    <a:pt x="9" y="16"/>
                  </a:lnTo>
                  <a:lnTo>
                    <a:pt x="9" y="18"/>
                  </a:lnTo>
                  <a:lnTo>
                    <a:pt x="13" y="14"/>
                  </a:lnTo>
                  <a:lnTo>
                    <a:pt x="16" y="14"/>
                  </a:lnTo>
                  <a:lnTo>
                    <a:pt x="17" y="10"/>
                  </a:lnTo>
                  <a:lnTo>
                    <a:pt x="21" y="10"/>
                  </a:lnTo>
                  <a:lnTo>
                    <a:pt x="24" y="8"/>
                  </a:lnTo>
                  <a:lnTo>
                    <a:pt x="25" y="7"/>
                  </a:lnTo>
                  <a:lnTo>
                    <a:pt x="19" y="3"/>
                  </a:lnTo>
                  <a:lnTo>
                    <a:pt x="16" y="2"/>
                  </a:lnTo>
                  <a:lnTo>
                    <a:pt x="11" y="0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71" name="Freeform 648"/>
            <p:cNvSpPr>
              <a:spLocks/>
            </p:cNvSpPr>
            <p:nvPr/>
          </p:nvSpPr>
          <p:spPr bwMode="auto">
            <a:xfrm>
              <a:off x="2091953" y="2786172"/>
              <a:ext cx="58815" cy="16924"/>
            </a:xfrm>
            <a:custGeom>
              <a:avLst/>
              <a:gdLst>
                <a:gd name="T0" fmla="*/ 0 w 80"/>
                <a:gd name="T1" fmla="*/ 18 h 19"/>
                <a:gd name="T2" fmla="*/ 3 w 80"/>
                <a:gd name="T3" fmla="*/ 19 h 19"/>
                <a:gd name="T4" fmla="*/ 11 w 80"/>
                <a:gd name="T5" fmla="*/ 18 h 19"/>
                <a:gd name="T6" fmla="*/ 15 w 80"/>
                <a:gd name="T7" fmla="*/ 18 h 19"/>
                <a:gd name="T8" fmla="*/ 18 w 80"/>
                <a:gd name="T9" fmla="*/ 16 h 19"/>
                <a:gd name="T10" fmla="*/ 23 w 80"/>
                <a:gd name="T11" fmla="*/ 14 h 19"/>
                <a:gd name="T12" fmla="*/ 26 w 80"/>
                <a:gd name="T13" fmla="*/ 14 h 19"/>
                <a:gd name="T14" fmla="*/ 29 w 80"/>
                <a:gd name="T15" fmla="*/ 14 h 19"/>
                <a:gd name="T16" fmla="*/ 32 w 80"/>
                <a:gd name="T17" fmla="*/ 14 h 19"/>
                <a:gd name="T18" fmla="*/ 37 w 80"/>
                <a:gd name="T19" fmla="*/ 14 h 19"/>
                <a:gd name="T20" fmla="*/ 40 w 80"/>
                <a:gd name="T21" fmla="*/ 14 h 19"/>
                <a:gd name="T22" fmla="*/ 43 w 80"/>
                <a:gd name="T23" fmla="*/ 14 h 19"/>
                <a:gd name="T24" fmla="*/ 46 w 80"/>
                <a:gd name="T25" fmla="*/ 13 h 19"/>
                <a:gd name="T26" fmla="*/ 43 w 80"/>
                <a:gd name="T27" fmla="*/ 13 h 19"/>
                <a:gd name="T28" fmla="*/ 53 w 80"/>
                <a:gd name="T29" fmla="*/ 8 h 19"/>
                <a:gd name="T30" fmla="*/ 62 w 80"/>
                <a:gd name="T31" fmla="*/ 5 h 19"/>
                <a:gd name="T32" fmla="*/ 70 w 80"/>
                <a:gd name="T33" fmla="*/ 5 h 19"/>
                <a:gd name="T34" fmla="*/ 80 w 80"/>
                <a:gd name="T35" fmla="*/ 2 h 19"/>
                <a:gd name="T36" fmla="*/ 70 w 80"/>
                <a:gd name="T37" fmla="*/ 0 h 19"/>
                <a:gd name="T38" fmla="*/ 61 w 80"/>
                <a:gd name="T39" fmla="*/ 2 h 19"/>
                <a:gd name="T40" fmla="*/ 48 w 80"/>
                <a:gd name="T41" fmla="*/ 3 h 19"/>
                <a:gd name="T42" fmla="*/ 40 w 80"/>
                <a:gd name="T43" fmla="*/ 7 h 19"/>
                <a:gd name="T44" fmla="*/ 29 w 80"/>
                <a:gd name="T45" fmla="*/ 7 h 19"/>
                <a:gd name="T46" fmla="*/ 18 w 80"/>
                <a:gd name="T47" fmla="*/ 8 h 19"/>
                <a:gd name="T48" fmla="*/ 13 w 80"/>
                <a:gd name="T49" fmla="*/ 10 h 19"/>
                <a:gd name="T50" fmla="*/ 8 w 80"/>
                <a:gd name="T51" fmla="*/ 11 h 19"/>
                <a:gd name="T52" fmla="*/ 5 w 80"/>
                <a:gd name="T53" fmla="*/ 14 h 19"/>
                <a:gd name="T54" fmla="*/ 0 w 80"/>
                <a:gd name="T55" fmla="*/ 18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" h="19">
                  <a:moveTo>
                    <a:pt x="0" y="18"/>
                  </a:moveTo>
                  <a:lnTo>
                    <a:pt x="3" y="19"/>
                  </a:lnTo>
                  <a:lnTo>
                    <a:pt x="11" y="18"/>
                  </a:lnTo>
                  <a:lnTo>
                    <a:pt x="15" y="18"/>
                  </a:lnTo>
                  <a:lnTo>
                    <a:pt x="18" y="16"/>
                  </a:lnTo>
                  <a:lnTo>
                    <a:pt x="23" y="14"/>
                  </a:lnTo>
                  <a:lnTo>
                    <a:pt x="26" y="14"/>
                  </a:lnTo>
                  <a:lnTo>
                    <a:pt x="29" y="14"/>
                  </a:lnTo>
                  <a:lnTo>
                    <a:pt x="32" y="14"/>
                  </a:lnTo>
                  <a:lnTo>
                    <a:pt x="37" y="14"/>
                  </a:lnTo>
                  <a:lnTo>
                    <a:pt x="40" y="14"/>
                  </a:lnTo>
                  <a:lnTo>
                    <a:pt x="43" y="14"/>
                  </a:lnTo>
                  <a:lnTo>
                    <a:pt x="46" y="13"/>
                  </a:lnTo>
                  <a:lnTo>
                    <a:pt x="43" y="13"/>
                  </a:lnTo>
                  <a:lnTo>
                    <a:pt x="53" y="8"/>
                  </a:lnTo>
                  <a:lnTo>
                    <a:pt x="62" y="5"/>
                  </a:lnTo>
                  <a:lnTo>
                    <a:pt x="70" y="5"/>
                  </a:lnTo>
                  <a:lnTo>
                    <a:pt x="80" y="2"/>
                  </a:lnTo>
                  <a:lnTo>
                    <a:pt x="70" y="0"/>
                  </a:lnTo>
                  <a:lnTo>
                    <a:pt x="61" y="2"/>
                  </a:lnTo>
                  <a:lnTo>
                    <a:pt x="48" y="3"/>
                  </a:lnTo>
                  <a:lnTo>
                    <a:pt x="40" y="7"/>
                  </a:lnTo>
                  <a:lnTo>
                    <a:pt x="29" y="7"/>
                  </a:lnTo>
                  <a:lnTo>
                    <a:pt x="18" y="8"/>
                  </a:lnTo>
                  <a:lnTo>
                    <a:pt x="13" y="10"/>
                  </a:lnTo>
                  <a:lnTo>
                    <a:pt x="8" y="11"/>
                  </a:lnTo>
                  <a:lnTo>
                    <a:pt x="5" y="14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grpSp>
          <p:nvGrpSpPr>
            <p:cNvPr id="372" name="Group 649"/>
            <p:cNvGrpSpPr>
              <a:grpSpLocks/>
            </p:cNvGrpSpPr>
            <p:nvPr/>
          </p:nvGrpSpPr>
          <p:grpSpPr bwMode="auto">
            <a:xfrm>
              <a:off x="2422788" y="2143053"/>
              <a:ext cx="2080573" cy="1237166"/>
              <a:chOff x="596" y="902"/>
              <a:chExt cx="1415" cy="731"/>
            </a:xfrm>
            <a:solidFill>
              <a:srgbClr val="A6A6A6"/>
            </a:solidFill>
          </p:grpSpPr>
          <p:sp>
            <p:nvSpPr>
              <p:cNvPr id="547" name="Freeform 650"/>
              <p:cNvSpPr>
                <a:spLocks/>
              </p:cNvSpPr>
              <p:nvPr/>
            </p:nvSpPr>
            <p:spPr bwMode="auto">
              <a:xfrm>
                <a:off x="1233" y="988"/>
                <a:ext cx="160" cy="38"/>
              </a:xfrm>
              <a:custGeom>
                <a:avLst/>
                <a:gdLst>
                  <a:gd name="T0" fmla="*/ 29 w 321"/>
                  <a:gd name="T1" fmla="*/ 57 h 76"/>
                  <a:gd name="T2" fmla="*/ 46 w 321"/>
                  <a:gd name="T3" fmla="*/ 54 h 76"/>
                  <a:gd name="T4" fmla="*/ 62 w 321"/>
                  <a:gd name="T5" fmla="*/ 57 h 76"/>
                  <a:gd name="T6" fmla="*/ 78 w 321"/>
                  <a:gd name="T7" fmla="*/ 49 h 76"/>
                  <a:gd name="T8" fmla="*/ 89 w 321"/>
                  <a:gd name="T9" fmla="*/ 47 h 76"/>
                  <a:gd name="T10" fmla="*/ 107 w 321"/>
                  <a:gd name="T11" fmla="*/ 44 h 76"/>
                  <a:gd name="T12" fmla="*/ 88 w 321"/>
                  <a:gd name="T13" fmla="*/ 52 h 76"/>
                  <a:gd name="T14" fmla="*/ 99 w 321"/>
                  <a:gd name="T15" fmla="*/ 54 h 76"/>
                  <a:gd name="T16" fmla="*/ 118 w 321"/>
                  <a:gd name="T17" fmla="*/ 51 h 76"/>
                  <a:gd name="T18" fmla="*/ 129 w 321"/>
                  <a:gd name="T19" fmla="*/ 52 h 76"/>
                  <a:gd name="T20" fmla="*/ 162 w 321"/>
                  <a:gd name="T21" fmla="*/ 49 h 76"/>
                  <a:gd name="T22" fmla="*/ 143 w 321"/>
                  <a:gd name="T23" fmla="*/ 55 h 76"/>
                  <a:gd name="T24" fmla="*/ 94 w 321"/>
                  <a:gd name="T25" fmla="*/ 60 h 76"/>
                  <a:gd name="T26" fmla="*/ 59 w 321"/>
                  <a:gd name="T27" fmla="*/ 73 h 76"/>
                  <a:gd name="T28" fmla="*/ 111 w 321"/>
                  <a:gd name="T29" fmla="*/ 73 h 76"/>
                  <a:gd name="T30" fmla="*/ 149 w 321"/>
                  <a:gd name="T31" fmla="*/ 63 h 76"/>
                  <a:gd name="T32" fmla="*/ 191 w 321"/>
                  <a:gd name="T33" fmla="*/ 59 h 76"/>
                  <a:gd name="T34" fmla="*/ 208 w 321"/>
                  <a:gd name="T35" fmla="*/ 55 h 76"/>
                  <a:gd name="T36" fmla="*/ 219 w 321"/>
                  <a:gd name="T37" fmla="*/ 59 h 76"/>
                  <a:gd name="T38" fmla="*/ 230 w 321"/>
                  <a:gd name="T39" fmla="*/ 57 h 76"/>
                  <a:gd name="T40" fmla="*/ 262 w 321"/>
                  <a:gd name="T41" fmla="*/ 57 h 76"/>
                  <a:gd name="T42" fmla="*/ 289 w 321"/>
                  <a:gd name="T43" fmla="*/ 47 h 76"/>
                  <a:gd name="T44" fmla="*/ 306 w 321"/>
                  <a:gd name="T45" fmla="*/ 40 h 76"/>
                  <a:gd name="T46" fmla="*/ 314 w 321"/>
                  <a:gd name="T47" fmla="*/ 25 h 76"/>
                  <a:gd name="T48" fmla="*/ 295 w 321"/>
                  <a:gd name="T49" fmla="*/ 25 h 76"/>
                  <a:gd name="T50" fmla="*/ 283 w 321"/>
                  <a:gd name="T51" fmla="*/ 33 h 76"/>
                  <a:gd name="T52" fmla="*/ 270 w 321"/>
                  <a:gd name="T53" fmla="*/ 28 h 76"/>
                  <a:gd name="T54" fmla="*/ 272 w 321"/>
                  <a:gd name="T55" fmla="*/ 27 h 76"/>
                  <a:gd name="T56" fmla="*/ 275 w 321"/>
                  <a:gd name="T57" fmla="*/ 17 h 76"/>
                  <a:gd name="T58" fmla="*/ 279 w 321"/>
                  <a:gd name="T59" fmla="*/ 6 h 76"/>
                  <a:gd name="T60" fmla="*/ 260 w 321"/>
                  <a:gd name="T61" fmla="*/ 3 h 76"/>
                  <a:gd name="T62" fmla="*/ 238 w 321"/>
                  <a:gd name="T63" fmla="*/ 11 h 76"/>
                  <a:gd name="T64" fmla="*/ 227 w 321"/>
                  <a:gd name="T65" fmla="*/ 19 h 76"/>
                  <a:gd name="T66" fmla="*/ 235 w 321"/>
                  <a:gd name="T67" fmla="*/ 24 h 76"/>
                  <a:gd name="T68" fmla="*/ 218 w 321"/>
                  <a:gd name="T69" fmla="*/ 28 h 76"/>
                  <a:gd name="T70" fmla="*/ 222 w 321"/>
                  <a:gd name="T71" fmla="*/ 32 h 76"/>
                  <a:gd name="T72" fmla="*/ 219 w 321"/>
                  <a:gd name="T73" fmla="*/ 41 h 76"/>
                  <a:gd name="T74" fmla="*/ 186 w 321"/>
                  <a:gd name="T75" fmla="*/ 40 h 76"/>
                  <a:gd name="T76" fmla="*/ 172 w 321"/>
                  <a:gd name="T77" fmla="*/ 32 h 76"/>
                  <a:gd name="T78" fmla="*/ 164 w 321"/>
                  <a:gd name="T79" fmla="*/ 28 h 76"/>
                  <a:gd name="T80" fmla="*/ 164 w 321"/>
                  <a:gd name="T81" fmla="*/ 22 h 76"/>
                  <a:gd name="T82" fmla="*/ 140 w 321"/>
                  <a:gd name="T83" fmla="*/ 19 h 76"/>
                  <a:gd name="T84" fmla="*/ 126 w 321"/>
                  <a:gd name="T85" fmla="*/ 11 h 76"/>
                  <a:gd name="T86" fmla="*/ 89 w 321"/>
                  <a:gd name="T87" fmla="*/ 17 h 76"/>
                  <a:gd name="T88" fmla="*/ 111 w 321"/>
                  <a:gd name="T89" fmla="*/ 20 h 76"/>
                  <a:gd name="T90" fmla="*/ 72 w 321"/>
                  <a:gd name="T91" fmla="*/ 20 h 76"/>
                  <a:gd name="T92" fmla="*/ 53 w 321"/>
                  <a:gd name="T93" fmla="*/ 28 h 76"/>
                  <a:gd name="T94" fmla="*/ 70 w 321"/>
                  <a:gd name="T95" fmla="*/ 28 h 76"/>
                  <a:gd name="T96" fmla="*/ 62 w 321"/>
                  <a:gd name="T97" fmla="*/ 32 h 76"/>
                  <a:gd name="T98" fmla="*/ 29 w 321"/>
                  <a:gd name="T99" fmla="*/ 40 h 76"/>
                  <a:gd name="T100" fmla="*/ 51 w 321"/>
                  <a:gd name="T101" fmla="*/ 40 h 76"/>
                  <a:gd name="T102" fmla="*/ 53 w 321"/>
                  <a:gd name="T103" fmla="*/ 41 h 76"/>
                  <a:gd name="T104" fmla="*/ 0 w 321"/>
                  <a:gd name="T105" fmla="*/ 49 h 76"/>
                  <a:gd name="T106" fmla="*/ 26 w 321"/>
                  <a:gd name="T107" fmla="*/ 5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21" h="76">
                    <a:moveTo>
                      <a:pt x="29" y="54"/>
                    </a:moveTo>
                    <a:lnTo>
                      <a:pt x="32" y="52"/>
                    </a:lnTo>
                    <a:lnTo>
                      <a:pt x="29" y="54"/>
                    </a:lnTo>
                    <a:lnTo>
                      <a:pt x="26" y="55"/>
                    </a:lnTo>
                    <a:lnTo>
                      <a:pt x="29" y="57"/>
                    </a:lnTo>
                    <a:lnTo>
                      <a:pt x="34" y="59"/>
                    </a:lnTo>
                    <a:lnTo>
                      <a:pt x="37" y="57"/>
                    </a:lnTo>
                    <a:lnTo>
                      <a:pt x="42" y="55"/>
                    </a:lnTo>
                    <a:lnTo>
                      <a:pt x="43" y="52"/>
                    </a:lnTo>
                    <a:lnTo>
                      <a:pt x="46" y="54"/>
                    </a:lnTo>
                    <a:lnTo>
                      <a:pt x="49" y="54"/>
                    </a:lnTo>
                    <a:lnTo>
                      <a:pt x="54" y="52"/>
                    </a:lnTo>
                    <a:lnTo>
                      <a:pt x="49" y="55"/>
                    </a:lnTo>
                    <a:lnTo>
                      <a:pt x="54" y="59"/>
                    </a:lnTo>
                    <a:lnTo>
                      <a:pt x="62" y="57"/>
                    </a:lnTo>
                    <a:lnTo>
                      <a:pt x="65" y="55"/>
                    </a:lnTo>
                    <a:lnTo>
                      <a:pt x="68" y="55"/>
                    </a:lnTo>
                    <a:lnTo>
                      <a:pt x="72" y="54"/>
                    </a:lnTo>
                    <a:lnTo>
                      <a:pt x="76" y="52"/>
                    </a:lnTo>
                    <a:lnTo>
                      <a:pt x="78" y="49"/>
                    </a:lnTo>
                    <a:lnTo>
                      <a:pt x="75" y="49"/>
                    </a:lnTo>
                    <a:lnTo>
                      <a:pt x="78" y="47"/>
                    </a:lnTo>
                    <a:lnTo>
                      <a:pt x="81" y="49"/>
                    </a:lnTo>
                    <a:lnTo>
                      <a:pt x="84" y="49"/>
                    </a:lnTo>
                    <a:lnTo>
                      <a:pt x="89" y="47"/>
                    </a:lnTo>
                    <a:lnTo>
                      <a:pt x="92" y="46"/>
                    </a:lnTo>
                    <a:lnTo>
                      <a:pt x="95" y="43"/>
                    </a:lnTo>
                    <a:lnTo>
                      <a:pt x="99" y="44"/>
                    </a:lnTo>
                    <a:lnTo>
                      <a:pt x="103" y="44"/>
                    </a:lnTo>
                    <a:lnTo>
                      <a:pt x="107" y="44"/>
                    </a:lnTo>
                    <a:lnTo>
                      <a:pt x="111" y="44"/>
                    </a:lnTo>
                    <a:lnTo>
                      <a:pt x="100" y="46"/>
                    </a:lnTo>
                    <a:lnTo>
                      <a:pt x="89" y="51"/>
                    </a:lnTo>
                    <a:lnTo>
                      <a:pt x="92" y="51"/>
                    </a:lnTo>
                    <a:lnTo>
                      <a:pt x="88" y="52"/>
                    </a:lnTo>
                    <a:lnTo>
                      <a:pt x="84" y="52"/>
                    </a:lnTo>
                    <a:lnTo>
                      <a:pt x="88" y="55"/>
                    </a:lnTo>
                    <a:lnTo>
                      <a:pt x="92" y="55"/>
                    </a:lnTo>
                    <a:lnTo>
                      <a:pt x="95" y="55"/>
                    </a:lnTo>
                    <a:lnTo>
                      <a:pt x="99" y="54"/>
                    </a:lnTo>
                    <a:lnTo>
                      <a:pt x="103" y="54"/>
                    </a:lnTo>
                    <a:lnTo>
                      <a:pt x="107" y="54"/>
                    </a:lnTo>
                    <a:lnTo>
                      <a:pt x="111" y="54"/>
                    </a:lnTo>
                    <a:lnTo>
                      <a:pt x="114" y="52"/>
                    </a:lnTo>
                    <a:lnTo>
                      <a:pt x="118" y="51"/>
                    </a:lnTo>
                    <a:lnTo>
                      <a:pt x="121" y="49"/>
                    </a:lnTo>
                    <a:lnTo>
                      <a:pt x="126" y="49"/>
                    </a:lnTo>
                    <a:lnTo>
                      <a:pt x="121" y="52"/>
                    </a:lnTo>
                    <a:lnTo>
                      <a:pt x="126" y="52"/>
                    </a:lnTo>
                    <a:lnTo>
                      <a:pt x="129" y="52"/>
                    </a:lnTo>
                    <a:lnTo>
                      <a:pt x="134" y="52"/>
                    </a:lnTo>
                    <a:lnTo>
                      <a:pt x="137" y="52"/>
                    </a:lnTo>
                    <a:lnTo>
                      <a:pt x="140" y="51"/>
                    </a:lnTo>
                    <a:lnTo>
                      <a:pt x="151" y="51"/>
                    </a:lnTo>
                    <a:lnTo>
                      <a:pt x="162" y="49"/>
                    </a:lnTo>
                    <a:lnTo>
                      <a:pt x="157" y="51"/>
                    </a:lnTo>
                    <a:lnTo>
                      <a:pt x="154" y="52"/>
                    </a:lnTo>
                    <a:lnTo>
                      <a:pt x="151" y="52"/>
                    </a:lnTo>
                    <a:lnTo>
                      <a:pt x="148" y="54"/>
                    </a:lnTo>
                    <a:lnTo>
                      <a:pt x="143" y="55"/>
                    </a:lnTo>
                    <a:lnTo>
                      <a:pt x="140" y="55"/>
                    </a:lnTo>
                    <a:lnTo>
                      <a:pt x="137" y="57"/>
                    </a:lnTo>
                    <a:lnTo>
                      <a:pt x="122" y="57"/>
                    </a:lnTo>
                    <a:lnTo>
                      <a:pt x="107" y="57"/>
                    </a:lnTo>
                    <a:lnTo>
                      <a:pt x="94" y="60"/>
                    </a:lnTo>
                    <a:lnTo>
                      <a:pt x="83" y="62"/>
                    </a:lnTo>
                    <a:lnTo>
                      <a:pt x="67" y="63"/>
                    </a:lnTo>
                    <a:lnTo>
                      <a:pt x="53" y="68"/>
                    </a:lnTo>
                    <a:lnTo>
                      <a:pt x="56" y="71"/>
                    </a:lnTo>
                    <a:lnTo>
                      <a:pt x="59" y="73"/>
                    </a:lnTo>
                    <a:lnTo>
                      <a:pt x="64" y="74"/>
                    </a:lnTo>
                    <a:lnTo>
                      <a:pt x="68" y="76"/>
                    </a:lnTo>
                    <a:lnTo>
                      <a:pt x="80" y="76"/>
                    </a:lnTo>
                    <a:lnTo>
                      <a:pt x="91" y="76"/>
                    </a:lnTo>
                    <a:lnTo>
                      <a:pt x="111" y="73"/>
                    </a:lnTo>
                    <a:lnTo>
                      <a:pt x="132" y="70"/>
                    </a:lnTo>
                    <a:lnTo>
                      <a:pt x="138" y="68"/>
                    </a:lnTo>
                    <a:lnTo>
                      <a:pt x="141" y="68"/>
                    </a:lnTo>
                    <a:lnTo>
                      <a:pt x="146" y="66"/>
                    </a:lnTo>
                    <a:lnTo>
                      <a:pt x="149" y="63"/>
                    </a:lnTo>
                    <a:lnTo>
                      <a:pt x="157" y="63"/>
                    </a:lnTo>
                    <a:lnTo>
                      <a:pt x="168" y="62"/>
                    </a:lnTo>
                    <a:lnTo>
                      <a:pt x="176" y="62"/>
                    </a:lnTo>
                    <a:lnTo>
                      <a:pt x="186" y="60"/>
                    </a:lnTo>
                    <a:lnTo>
                      <a:pt x="191" y="59"/>
                    </a:lnTo>
                    <a:lnTo>
                      <a:pt x="194" y="59"/>
                    </a:lnTo>
                    <a:lnTo>
                      <a:pt x="197" y="57"/>
                    </a:lnTo>
                    <a:lnTo>
                      <a:pt x="200" y="57"/>
                    </a:lnTo>
                    <a:lnTo>
                      <a:pt x="205" y="55"/>
                    </a:lnTo>
                    <a:lnTo>
                      <a:pt x="208" y="55"/>
                    </a:lnTo>
                    <a:lnTo>
                      <a:pt x="205" y="57"/>
                    </a:lnTo>
                    <a:lnTo>
                      <a:pt x="208" y="59"/>
                    </a:lnTo>
                    <a:lnTo>
                      <a:pt x="211" y="60"/>
                    </a:lnTo>
                    <a:lnTo>
                      <a:pt x="216" y="60"/>
                    </a:lnTo>
                    <a:lnTo>
                      <a:pt x="219" y="59"/>
                    </a:lnTo>
                    <a:lnTo>
                      <a:pt x="222" y="59"/>
                    </a:lnTo>
                    <a:lnTo>
                      <a:pt x="227" y="57"/>
                    </a:lnTo>
                    <a:lnTo>
                      <a:pt x="230" y="55"/>
                    </a:lnTo>
                    <a:lnTo>
                      <a:pt x="233" y="54"/>
                    </a:lnTo>
                    <a:lnTo>
                      <a:pt x="230" y="57"/>
                    </a:lnTo>
                    <a:lnTo>
                      <a:pt x="235" y="59"/>
                    </a:lnTo>
                    <a:lnTo>
                      <a:pt x="241" y="60"/>
                    </a:lnTo>
                    <a:lnTo>
                      <a:pt x="246" y="59"/>
                    </a:lnTo>
                    <a:lnTo>
                      <a:pt x="251" y="59"/>
                    </a:lnTo>
                    <a:lnTo>
                      <a:pt x="262" y="57"/>
                    </a:lnTo>
                    <a:lnTo>
                      <a:pt x="273" y="55"/>
                    </a:lnTo>
                    <a:lnTo>
                      <a:pt x="278" y="52"/>
                    </a:lnTo>
                    <a:lnTo>
                      <a:pt x="281" y="52"/>
                    </a:lnTo>
                    <a:lnTo>
                      <a:pt x="284" y="49"/>
                    </a:lnTo>
                    <a:lnTo>
                      <a:pt x="289" y="47"/>
                    </a:lnTo>
                    <a:lnTo>
                      <a:pt x="292" y="47"/>
                    </a:lnTo>
                    <a:lnTo>
                      <a:pt x="295" y="46"/>
                    </a:lnTo>
                    <a:lnTo>
                      <a:pt x="298" y="43"/>
                    </a:lnTo>
                    <a:lnTo>
                      <a:pt x="303" y="40"/>
                    </a:lnTo>
                    <a:lnTo>
                      <a:pt x="306" y="40"/>
                    </a:lnTo>
                    <a:lnTo>
                      <a:pt x="310" y="38"/>
                    </a:lnTo>
                    <a:lnTo>
                      <a:pt x="313" y="36"/>
                    </a:lnTo>
                    <a:lnTo>
                      <a:pt x="321" y="30"/>
                    </a:lnTo>
                    <a:lnTo>
                      <a:pt x="319" y="27"/>
                    </a:lnTo>
                    <a:lnTo>
                      <a:pt x="314" y="25"/>
                    </a:lnTo>
                    <a:lnTo>
                      <a:pt x="314" y="25"/>
                    </a:lnTo>
                    <a:lnTo>
                      <a:pt x="311" y="24"/>
                    </a:lnTo>
                    <a:lnTo>
                      <a:pt x="308" y="24"/>
                    </a:lnTo>
                    <a:lnTo>
                      <a:pt x="302" y="24"/>
                    </a:lnTo>
                    <a:lnTo>
                      <a:pt x="295" y="25"/>
                    </a:lnTo>
                    <a:lnTo>
                      <a:pt x="291" y="27"/>
                    </a:lnTo>
                    <a:lnTo>
                      <a:pt x="286" y="30"/>
                    </a:lnTo>
                    <a:lnTo>
                      <a:pt x="289" y="32"/>
                    </a:lnTo>
                    <a:lnTo>
                      <a:pt x="286" y="32"/>
                    </a:lnTo>
                    <a:lnTo>
                      <a:pt x="283" y="33"/>
                    </a:lnTo>
                    <a:lnTo>
                      <a:pt x="279" y="35"/>
                    </a:lnTo>
                    <a:lnTo>
                      <a:pt x="279" y="32"/>
                    </a:lnTo>
                    <a:lnTo>
                      <a:pt x="284" y="28"/>
                    </a:lnTo>
                    <a:lnTo>
                      <a:pt x="278" y="28"/>
                    </a:lnTo>
                    <a:lnTo>
                      <a:pt x="270" y="28"/>
                    </a:lnTo>
                    <a:lnTo>
                      <a:pt x="264" y="30"/>
                    </a:lnTo>
                    <a:lnTo>
                      <a:pt x="257" y="32"/>
                    </a:lnTo>
                    <a:lnTo>
                      <a:pt x="262" y="30"/>
                    </a:lnTo>
                    <a:lnTo>
                      <a:pt x="265" y="28"/>
                    </a:lnTo>
                    <a:lnTo>
                      <a:pt x="272" y="27"/>
                    </a:lnTo>
                    <a:lnTo>
                      <a:pt x="268" y="24"/>
                    </a:lnTo>
                    <a:lnTo>
                      <a:pt x="265" y="24"/>
                    </a:lnTo>
                    <a:lnTo>
                      <a:pt x="257" y="24"/>
                    </a:lnTo>
                    <a:lnTo>
                      <a:pt x="268" y="19"/>
                    </a:lnTo>
                    <a:lnTo>
                      <a:pt x="275" y="17"/>
                    </a:lnTo>
                    <a:lnTo>
                      <a:pt x="275" y="14"/>
                    </a:lnTo>
                    <a:lnTo>
                      <a:pt x="272" y="13"/>
                    </a:lnTo>
                    <a:lnTo>
                      <a:pt x="273" y="11"/>
                    </a:lnTo>
                    <a:lnTo>
                      <a:pt x="276" y="8"/>
                    </a:lnTo>
                    <a:lnTo>
                      <a:pt x="279" y="6"/>
                    </a:lnTo>
                    <a:lnTo>
                      <a:pt x="283" y="5"/>
                    </a:lnTo>
                    <a:lnTo>
                      <a:pt x="284" y="1"/>
                    </a:lnTo>
                    <a:lnTo>
                      <a:pt x="276" y="0"/>
                    </a:lnTo>
                    <a:lnTo>
                      <a:pt x="268" y="1"/>
                    </a:lnTo>
                    <a:lnTo>
                      <a:pt x="260" y="3"/>
                    </a:lnTo>
                    <a:lnTo>
                      <a:pt x="254" y="6"/>
                    </a:lnTo>
                    <a:lnTo>
                      <a:pt x="248" y="8"/>
                    </a:lnTo>
                    <a:lnTo>
                      <a:pt x="243" y="11"/>
                    </a:lnTo>
                    <a:lnTo>
                      <a:pt x="240" y="11"/>
                    </a:lnTo>
                    <a:lnTo>
                      <a:pt x="238" y="11"/>
                    </a:lnTo>
                    <a:lnTo>
                      <a:pt x="235" y="11"/>
                    </a:lnTo>
                    <a:lnTo>
                      <a:pt x="230" y="13"/>
                    </a:lnTo>
                    <a:lnTo>
                      <a:pt x="227" y="13"/>
                    </a:lnTo>
                    <a:lnTo>
                      <a:pt x="224" y="14"/>
                    </a:lnTo>
                    <a:lnTo>
                      <a:pt x="227" y="19"/>
                    </a:lnTo>
                    <a:lnTo>
                      <a:pt x="227" y="19"/>
                    </a:lnTo>
                    <a:lnTo>
                      <a:pt x="232" y="19"/>
                    </a:lnTo>
                    <a:lnTo>
                      <a:pt x="235" y="19"/>
                    </a:lnTo>
                    <a:lnTo>
                      <a:pt x="238" y="22"/>
                    </a:lnTo>
                    <a:lnTo>
                      <a:pt x="235" y="24"/>
                    </a:lnTo>
                    <a:lnTo>
                      <a:pt x="232" y="25"/>
                    </a:lnTo>
                    <a:lnTo>
                      <a:pt x="227" y="27"/>
                    </a:lnTo>
                    <a:lnTo>
                      <a:pt x="224" y="27"/>
                    </a:lnTo>
                    <a:lnTo>
                      <a:pt x="221" y="27"/>
                    </a:lnTo>
                    <a:lnTo>
                      <a:pt x="218" y="28"/>
                    </a:lnTo>
                    <a:lnTo>
                      <a:pt x="213" y="28"/>
                    </a:lnTo>
                    <a:lnTo>
                      <a:pt x="213" y="30"/>
                    </a:lnTo>
                    <a:lnTo>
                      <a:pt x="216" y="30"/>
                    </a:lnTo>
                    <a:lnTo>
                      <a:pt x="219" y="30"/>
                    </a:lnTo>
                    <a:lnTo>
                      <a:pt x="222" y="32"/>
                    </a:lnTo>
                    <a:lnTo>
                      <a:pt x="227" y="33"/>
                    </a:lnTo>
                    <a:lnTo>
                      <a:pt x="230" y="35"/>
                    </a:lnTo>
                    <a:lnTo>
                      <a:pt x="227" y="38"/>
                    </a:lnTo>
                    <a:lnTo>
                      <a:pt x="224" y="40"/>
                    </a:lnTo>
                    <a:lnTo>
                      <a:pt x="219" y="41"/>
                    </a:lnTo>
                    <a:lnTo>
                      <a:pt x="216" y="41"/>
                    </a:lnTo>
                    <a:lnTo>
                      <a:pt x="206" y="40"/>
                    </a:lnTo>
                    <a:lnTo>
                      <a:pt x="199" y="40"/>
                    </a:lnTo>
                    <a:lnTo>
                      <a:pt x="191" y="40"/>
                    </a:lnTo>
                    <a:lnTo>
                      <a:pt x="186" y="40"/>
                    </a:lnTo>
                    <a:lnTo>
                      <a:pt x="176" y="40"/>
                    </a:lnTo>
                    <a:lnTo>
                      <a:pt x="168" y="41"/>
                    </a:lnTo>
                    <a:lnTo>
                      <a:pt x="168" y="36"/>
                    </a:lnTo>
                    <a:lnTo>
                      <a:pt x="172" y="35"/>
                    </a:lnTo>
                    <a:lnTo>
                      <a:pt x="172" y="32"/>
                    </a:lnTo>
                    <a:lnTo>
                      <a:pt x="175" y="32"/>
                    </a:lnTo>
                    <a:lnTo>
                      <a:pt x="165" y="32"/>
                    </a:lnTo>
                    <a:lnTo>
                      <a:pt x="157" y="32"/>
                    </a:lnTo>
                    <a:lnTo>
                      <a:pt x="160" y="30"/>
                    </a:lnTo>
                    <a:lnTo>
                      <a:pt x="164" y="28"/>
                    </a:lnTo>
                    <a:lnTo>
                      <a:pt x="167" y="28"/>
                    </a:lnTo>
                    <a:lnTo>
                      <a:pt x="172" y="28"/>
                    </a:lnTo>
                    <a:lnTo>
                      <a:pt x="168" y="25"/>
                    </a:lnTo>
                    <a:lnTo>
                      <a:pt x="164" y="25"/>
                    </a:lnTo>
                    <a:lnTo>
                      <a:pt x="164" y="22"/>
                    </a:lnTo>
                    <a:lnTo>
                      <a:pt x="160" y="19"/>
                    </a:lnTo>
                    <a:lnTo>
                      <a:pt x="156" y="17"/>
                    </a:lnTo>
                    <a:lnTo>
                      <a:pt x="153" y="17"/>
                    </a:lnTo>
                    <a:lnTo>
                      <a:pt x="149" y="17"/>
                    </a:lnTo>
                    <a:lnTo>
                      <a:pt x="140" y="19"/>
                    </a:lnTo>
                    <a:lnTo>
                      <a:pt x="130" y="19"/>
                    </a:lnTo>
                    <a:lnTo>
                      <a:pt x="132" y="16"/>
                    </a:lnTo>
                    <a:lnTo>
                      <a:pt x="137" y="14"/>
                    </a:lnTo>
                    <a:lnTo>
                      <a:pt x="134" y="11"/>
                    </a:lnTo>
                    <a:lnTo>
                      <a:pt x="126" y="11"/>
                    </a:lnTo>
                    <a:lnTo>
                      <a:pt x="122" y="9"/>
                    </a:lnTo>
                    <a:lnTo>
                      <a:pt x="119" y="11"/>
                    </a:lnTo>
                    <a:lnTo>
                      <a:pt x="114" y="11"/>
                    </a:lnTo>
                    <a:lnTo>
                      <a:pt x="102" y="13"/>
                    </a:lnTo>
                    <a:lnTo>
                      <a:pt x="89" y="17"/>
                    </a:lnTo>
                    <a:lnTo>
                      <a:pt x="92" y="19"/>
                    </a:lnTo>
                    <a:lnTo>
                      <a:pt x="100" y="19"/>
                    </a:lnTo>
                    <a:lnTo>
                      <a:pt x="103" y="19"/>
                    </a:lnTo>
                    <a:lnTo>
                      <a:pt x="108" y="20"/>
                    </a:lnTo>
                    <a:lnTo>
                      <a:pt x="111" y="20"/>
                    </a:lnTo>
                    <a:lnTo>
                      <a:pt x="99" y="20"/>
                    </a:lnTo>
                    <a:lnTo>
                      <a:pt x="83" y="19"/>
                    </a:lnTo>
                    <a:lnTo>
                      <a:pt x="80" y="19"/>
                    </a:lnTo>
                    <a:lnTo>
                      <a:pt x="75" y="19"/>
                    </a:lnTo>
                    <a:lnTo>
                      <a:pt x="72" y="20"/>
                    </a:lnTo>
                    <a:lnTo>
                      <a:pt x="67" y="20"/>
                    </a:lnTo>
                    <a:lnTo>
                      <a:pt x="64" y="22"/>
                    </a:lnTo>
                    <a:lnTo>
                      <a:pt x="61" y="24"/>
                    </a:lnTo>
                    <a:lnTo>
                      <a:pt x="56" y="27"/>
                    </a:lnTo>
                    <a:lnTo>
                      <a:pt x="53" y="28"/>
                    </a:lnTo>
                    <a:lnTo>
                      <a:pt x="56" y="30"/>
                    </a:lnTo>
                    <a:lnTo>
                      <a:pt x="59" y="30"/>
                    </a:lnTo>
                    <a:lnTo>
                      <a:pt x="64" y="30"/>
                    </a:lnTo>
                    <a:lnTo>
                      <a:pt x="67" y="30"/>
                    </a:lnTo>
                    <a:lnTo>
                      <a:pt x="70" y="28"/>
                    </a:lnTo>
                    <a:lnTo>
                      <a:pt x="75" y="28"/>
                    </a:lnTo>
                    <a:lnTo>
                      <a:pt x="86" y="28"/>
                    </a:lnTo>
                    <a:lnTo>
                      <a:pt x="97" y="28"/>
                    </a:lnTo>
                    <a:lnTo>
                      <a:pt x="80" y="30"/>
                    </a:lnTo>
                    <a:lnTo>
                      <a:pt x="62" y="32"/>
                    </a:lnTo>
                    <a:lnTo>
                      <a:pt x="53" y="32"/>
                    </a:lnTo>
                    <a:lnTo>
                      <a:pt x="45" y="32"/>
                    </a:lnTo>
                    <a:lnTo>
                      <a:pt x="37" y="33"/>
                    </a:lnTo>
                    <a:lnTo>
                      <a:pt x="26" y="38"/>
                    </a:lnTo>
                    <a:lnTo>
                      <a:pt x="29" y="40"/>
                    </a:lnTo>
                    <a:lnTo>
                      <a:pt x="37" y="40"/>
                    </a:lnTo>
                    <a:lnTo>
                      <a:pt x="40" y="40"/>
                    </a:lnTo>
                    <a:lnTo>
                      <a:pt x="45" y="40"/>
                    </a:lnTo>
                    <a:lnTo>
                      <a:pt x="48" y="40"/>
                    </a:lnTo>
                    <a:lnTo>
                      <a:pt x="51" y="40"/>
                    </a:lnTo>
                    <a:lnTo>
                      <a:pt x="67" y="36"/>
                    </a:lnTo>
                    <a:lnTo>
                      <a:pt x="81" y="35"/>
                    </a:lnTo>
                    <a:lnTo>
                      <a:pt x="73" y="38"/>
                    </a:lnTo>
                    <a:lnTo>
                      <a:pt x="62" y="38"/>
                    </a:lnTo>
                    <a:lnTo>
                      <a:pt x="53" y="41"/>
                    </a:lnTo>
                    <a:lnTo>
                      <a:pt x="42" y="41"/>
                    </a:lnTo>
                    <a:lnTo>
                      <a:pt x="29" y="41"/>
                    </a:lnTo>
                    <a:lnTo>
                      <a:pt x="21" y="43"/>
                    </a:lnTo>
                    <a:lnTo>
                      <a:pt x="11" y="44"/>
                    </a:lnTo>
                    <a:lnTo>
                      <a:pt x="0" y="49"/>
                    </a:lnTo>
                    <a:lnTo>
                      <a:pt x="7" y="52"/>
                    </a:lnTo>
                    <a:lnTo>
                      <a:pt x="15" y="52"/>
                    </a:lnTo>
                    <a:lnTo>
                      <a:pt x="23" y="52"/>
                    </a:lnTo>
                    <a:lnTo>
                      <a:pt x="29" y="51"/>
                    </a:lnTo>
                    <a:lnTo>
                      <a:pt x="26" y="54"/>
                    </a:lnTo>
                    <a:lnTo>
                      <a:pt x="29" y="5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48" name="Freeform 651"/>
              <p:cNvSpPr>
                <a:spLocks/>
              </p:cNvSpPr>
              <p:nvPr/>
            </p:nvSpPr>
            <p:spPr bwMode="auto">
              <a:xfrm>
                <a:off x="1454" y="950"/>
                <a:ext cx="65" cy="23"/>
              </a:xfrm>
              <a:custGeom>
                <a:avLst/>
                <a:gdLst>
                  <a:gd name="T0" fmla="*/ 0 w 128"/>
                  <a:gd name="T1" fmla="*/ 30 h 46"/>
                  <a:gd name="T2" fmla="*/ 11 w 128"/>
                  <a:gd name="T3" fmla="*/ 33 h 46"/>
                  <a:gd name="T4" fmla="*/ 19 w 128"/>
                  <a:gd name="T5" fmla="*/ 31 h 46"/>
                  <a:gd name="T6" fmla="*/ 49 w 128"/>
                  <a:gd name="T7" fmla="*/ 30 h 46"/>
                  <a:gd name="T8" fmla="*/ 49 w 128"/>
                  <a:gd name="T9" fmla="*/ 33 h 46"/>
                  <a:gd name="T10" fmla="*/ 57 w 128"/>
                  <a:gd name="T11" fmla="*/ 33 h 46"/>
                  <a:gd name="T12" fmla="*/ 63 w 128"/>
                  <a:gd name="T13" fmla="*/ 33 h 46"/>
                  <a:gd name="T14" fmla="*/ 74 w 128"/>
                  <a:gd name="T15" fmla="*/ 35 h 46"/>
                  <a:gd name="T16" fmla="*/ 81 w 128"/>
                  <a:gd name="T17" fmla="*/ 38 h 46"/>
                  <a:gd name="T18" fmla="*/ 78 w 128"/>
                  <a:gd name="T19" fmla="*/ 43 h 46"/>
                  <a:gd name="T20" fmla="*/ 87 w 128"/>
                  <a:gd name="T21" fmla="*/ 46 h 46"/>
                  <a:gd name="T22" fmla="*/ 98 w 128"/>
                  <a:gd name="T23" fmla="*/ 46 h 46"/>
                  <a:gd name="T24" fmla="*/ 111 w 128"/>
                  <a:gd name="T25" fmla="*/ 44 h 46"/>
                  <a:gd name="T26" fmla="*/ 120 w 128"/>
                  <a:gd name="T27" fmla="*/ 39 h 46"/>
                  <a:gd name="T28" fmla="*/ 119 w 128"/>
                  <a:gd name="T29" fmla="*/ 33 h 46"/>
                  <a:gd name="T30" fmla="*/ 117 w 128"/>
                  <a:gd name="T31" fmla="*/ 28 h 46"/>
                  <a:gd name="T32" fmla="*/ 128 w 128"/>
                  <a:gd name="T33" fmla="*/ 24 h 46"/>
                  <a:gd name="T34" fmla="*/ 122 w 128"/>
                  <a:gd name="T35" fmla="*/ 22 h 46"/>
                  <a:gd name="T36" fmla="*/ 127 w 128"/>
                  <a:gd name="T37" fmla="*/ 20 h 46"/>
                  <a:gd name="T38" fmla="*/ 124 w 128"/>
                  <a:gd name="T39" fmla="*/ 19 h 46"/>
                  <a:gd name="T40" fmla="*/ 116 w 128"/>
                  <a:gd name="T41" fmla="*/ 17 h 46"/>
                  <a:gd name="T42" fmla="*/ 108 w 128"/>
                  <a:gd name="T43" fmla="*/ 17 h 46"/>
                  <a:gd name="T44" fmla="*/ 108 w 128"/>
                  <a:gd name="T45" fmla="*/ 14 h 46"/>
                  <a:gd name="T46" fmla="*/ 108 w 128"/>
                  <a:gd name="T47" fmla="*/ 12 h 46"/>
                  <a:gd name="T48" fmla="*/ 101 w 128"/>
                  <a:gd name="T49" fmla="*/ 8 h 46"/>
                  <a:gd name="T50" fmla="*/ 90 w 128"/>
                  <a:gd name="T51" fmla="*/ 9 h 46"/>
                  <a:gd name="T52" fmla="*/ 84 w 128"/>
                  <a:gd name="T53" fmla="*/ 11 h 46"/>
                  <a:gd name="T54" fmla="*/ 78 w 128"/>
                  <a:gd name="T55" fmla="*/ 14 h 46"/>
                  <a:gd name="T56" fmla="*/ 76 w 128"/>
                  <a:gd name="T57" fmla="*/ 11 h 46"/>
                  <a:gd name="T58" fmla="*/ 79 w 128"/>
                  <a:gd name="T59" fmla="*/ 6 h 46"/>
                  <a:gd name="T60" fmla="*/ 70 w 128"/>
                  <a:gd name="T61" fmla="*/ 1 h 46"/>
                  <a:gd name="T62" fmla="*/ 57 w 128"/>
                  <a:gd name="T63" fmla="*/ 0 h 46"/>
                  <a:gd name="T64" fmla="*/ 44 w 128"/>
                  <a:gd name="T65" fmla="*/ 1 h 46"/>
                  <a:gd name="T66" fmla="*/ 36 w 128"/>
                  <a:gd name="T67" fmla="*/ 1 h 46"/>
                  <a:gd name="T68" fmla="*/ 28 w 128"/>
                  <a:gd name="T69" fmla="*/ 1 h 46"/>
                  <a:gd name="T70" fmla="*/ 19 w 128"/>
                  <a:gd name="T71" fmla="*/ 5 h 46"/>
                  <a:gd name="T72" fmla="*/ 19 w 128"/>
                  <a:gd name="T73" fmla="*/ 11 h 46"/>
                  <a:gd name="T74" fmla="*/ 25 w 128"/>
                  <a:gd name="T75" fmla="*/ 9 h 46"/>
                  <a:gd name="T76" fmla="*/ 25 w 128"/>
                  <a:gd name="T77" fmla="*/ 12 h 46"/>
                  <a:gd name="T78" fmla="*/ 19 w 128"/>
                  <a:gd name="T79" fmla="*/ 16 h 46"/>
                  <a:gd name="T80" fmla="*/ 30 w 128"/>
                  <a:gd name="T81" fmla="*/ 14 h 46"/>
                  <a:gd name="T82" fmla="*/ 41 w 128"/>
                  <a:gd name="T83" fmla="*/ 16 h 46"/>
                  <a:gd name="T84" fmla="*/ 33 w 128"/>
                  <a:gd name="T85" fmla="*/ 17 h 46"/>
                  <a:gd name="T86" fmla="*/ 38 w 128"/>
                  <a:gd name="T87" fmla="*/ 17 h 46"/>
                  <a:gd name="T88" fmla="*/ 46 w 128"/>
                  <a:gd name="T89" fmla="*/ 17 h 46"/>
                  <a:gd name="T90" fmla="*/ 39 w 128"/>
                  <a:gd name="T91" fmla="*/ 20 h 46"/>
                  <a:gd name="T92" fmla="*/ 35 w 128"/>
                  <a:gd name="T93" fmla="*/ 22 h 46"/>
                  <a:gd name="T94" fmla="*/ 38 w 128"/>
                  <a:gd name="T95" fmla="*/ 25 h 46"/>
                  <a:gd name="T96" fmla="*/ 32 w 128"/>
                  <a:gd name="T97" fmla="*/ 25 h 46"/>
                  <a:gd name="T98" fmla="*/ 24 w 128"/>
                  <a:gd name="T99" fmla="*/ 25 h 46"/>
                  <a:gd name="T100" fmla="*/ 16 w 128"/>
                  <a:gd name="T101" fmla="*/ 24 h 46"/>
                  <a:gd name="T102" fmla="*/ 5 w 128"/>
                  <a:gd name="T103" fmla="*/ 24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28" h="46">
                    <a:moveTo>
                      <a:pt x="0" y="25"/>
                    </a:moveTo>
                    <a:lnTo>
                      <a:pt x="0" y="30"/>
                    </a:lnTo>
                    <a:lnTo>
                      <a:pt x="3" y="33"/>
                    </a:lnTo>
                    <a:lnTo>
                      <a:pt x="11" y="33"/>
                    </a:lnTo>
                    <a:lnTo>
                      <a:pt x="16" y="33"/>
                    </a:lnTo>
                    <a:lnTo>
                      <a:pt x="19" y="31"/>
                    </a:lnTo>
                    <a:lnTo>
                      <a:pt x="35" y="30"/>
                    </a:lnTo>
                    <a:lnTo>
                      <a:pt x="49" y="30"/>
                    </a:lnTo>
                    <a:lnTo>
                      <a:pt x="46" y="31"/>
                    </a:lnTo>
                    <a:lnTo>
                      <a:pt x="49" y="33"/>
                    </a:lnTo>
                    <a:lnTo>
                      <a:pt x="52" y="33"/>
                    </a:lnTo>
                    <a:lnTo>
                      <a:pt x="57" y="33"/>
                    </a:lnTo>
                    <a:lnTo>
                      <a:pt x="60" y="33"/>
                    </a:lnTo>
                    <a:lnTo>
                      <a:pt x="63" y="33"/>
                    </a:lnTo>
                    <a:lnTo>
                      <a:pt x="71" y="33"/>
                    </a:lnTo>
                    <a:lnTo>
                      <a:pt x="74" y="35"/>
                    </a:lnTo>
                    <a:lnTo>
                      <a:pt x="79" y="35"/>
                    </a:lnTo>
                    <a:lnTo>
                      <a:pt x="81" y="38"/>
                    </a:lnTo>
                    <a:lnTo>
                      <a:pt x="78" y="39"/>
                    </a:lnTo>
                    <a:lnTo>
                      <a:pt x="78" y="43"/>
                    </a:lnTo>
                    <a:lnTo>
                      <a:pt x="81" y="46"/>
                    </a:lnTo>
                    <a:lnTo>
                      <a:pt x="87" y="46"/>
                    </a:lnTo>
                    <a:lnTo>
                      <a:pt x="93" y="46"/>
                    </a:lnTo>
                    <a:lnTo>
                      <a:pt x="98" y="46"/>
                    </a:lnTo>
                    <a:lnTo>
                      <a:pt x="106" y="46"/>
                    </a:lnTo>
                    <a:lnTo>
                      <a:pt x="111" y="44"/>
                    </a:lnTo>
                    <a:lnTo>
                      <a:pt x="116" y="43"/>
                    </a:lnTo>
                    <a:lnTo>
                      <a:pt x="120" y="39"/>
                    </a:lnTo>
                    <a:lnTo>
                      <a:pt x="120" y="36"/>
                    </a:lnTo>
                    <a:lnTo>
                      <a:pt x="119" y="33"/>
                    </a:lnTo>
                    <a:lnTo>
                      <a:pt x="114" y="31"/>
                    </a:lnTo>
                    <a:lnTo>
                      <a:pt x="117" y="28"/>
                    </a:lnTo>
                    <a:lnTo>
                      <a:pt x="122" y="27"/>
                    </a:lnTo>
                    <a:lnTo>
                      <a:pt x="128" y="24"/>
                    </a:lnTo>
                    <a:lnTo>
                      <a:pt x="125" y="22"/>
                    </a:lnTo>
                    <a:lnTo>
                      <a:pt x="122" y="22"/>
                    </a:lnTo>
                    <a:lnTo>
                      <a:pt x="124" y="20"/>
                    </a:lnTo>
                    <a:lnTo>
                      <a:pt x="127" y="20"/>
                    </a:lnTo>
                    <a:lnTo>
                      <a:pt x="127" y="19"/>
                    </a:lnTo>
                    <a:lnTo>
                      <a:pt x="124" y="19"/>
                    </a:lnTo>
                    <a:lnTo>
                      <a:pt x="119" y="16"/>
                    </a:lnTo>
                    <a:lnTo>
                      <a:pt x="116" y="17"/>
                    </a:lnTo>
                    <a:lnTo>
                      <a:pt x="111" y="17"/>
                    </a:lnTo>
                    <a:lnTo>
                      <a:pt x="108" y="17"/>
                    </a:lnTo>
                    <a:lnTo>
                      <a:pt x="104" y="17"/>
                    </a:lnTo>
                    <a:lnTo>
                      <a:pt x="108" y="14"/>
                    </a:lnTo>
                    <a:lnTo>
                      <a:pt x="111" y="14"/>
                    </a:lnTo>
                    <a:lnTo>
                      <a:pt x="108" y="12"/>
                    </a:lnTo>
                    <a:lnTo>
                      <a:pt x="104" y="9"/>
                    </a:lnTo>
                    <a:lnTo>
                      <a:pt x="101" y="8"/>
                    </a:lnTo>
                    <a:lnTo>
                      <a:pt x="93" y="9"/>
                    </a:lnTo>
                    <a:lnTo>
                      <a:pt x="90" y="9"/>
                    </a:lnTo>
                    <a:lnTo>
                      <a:pt x="87" y="9"/>
                    </a:lnTo>
                    <a:lnTo>
                      <a:pt x="84" y="11"/>
                    </a:lnTo>
                    <a:lnTo>
                      <a:pt x="81" y="12"/>
                    </a:lnTo>
                    <a:lnTo>
                      <a:pt x="78" y="14"/>
                    </a:lnTo>
                    <a:lnTo>
                      <a:pt x="73" y="14"/>
                    </a:lnTo>
                    <a:lnTo>
                      <a:pt x="76" y="11"/>
                    </a:lnTo>
                    <a:lnTo>
                      <a:pt x="81" y="9"/>
                    </a:lnTo>
                    <a:lnTo>
                      <a:pt x="79" y="6"/>
                    </a:lnTo>
                    <a:lnTo>
                      <a:pt x="78" y="3"/>
                    </a:lnTo>
                    <a:lnTo>
                      <a:pt x="70" y="1"/>
                    </a:lnTo>
                    <a:lnTo>
                      <a:pt x="63" y="0"/>
                    </a:lnTo>
                    <a:lnTo>
                      <a:pt x="57" y="0"/>
                    </a:lnTo>
                    <a:lnTo>
                      <a:pt x="47" y="1"/>
                    </a:lnTo>
                    <a:lnTo>
                      <a:pt x="44" y="1"/>
                    </a:lnTo>
                    <a:lnTo>
                      <a:pt x="41" y="1"/>
                    </a:lnTo>
                    <a:lnTo>
                      <a:pt x="36" y="1"/>
                    </a:lnTo>
                    <a:lnTo>
                      <a:pt x="33" y="1"/>
                    </a:lnTo>
                    <a:lnTo>
                      <a:pt x="28" y="1"/>
                    </a:lnTo>
                    <a:lnTo>
                      <a:pt x="24" y="3"/>
                    </a:lnTo>
                    <a:lnTo>
                      <a:pt x="19" y="5"/>
                    </a:lnTo>
                    <a:lnTo>
                      <a:pt x="14" y="8"/>
                    </a:lnTo>
                    <a:lnTo>
                      <a:pt x="19" y="11"/>
                    </a:lnTo>
                    <a:lnTo>
                      <a:pt x="22" y="11"/>
                    </a:lnTo>
                    <a:lnTo>
                      <a:pt x="25" y="9"/>
                    </a:lnTo>
                    <a:lnTo>
                      <a:pt x="30" y="9"/>
                    </a:lnTo>
                    <a:lnTo>
                      <a:pt x="25" y="12"/>
                    </a:lnTo>
                    <a:lnTo>
                      <a:pt x="22" y="14"/>
                    </a:lnTo>
                    <a:lnTo>
                      <a:pt x="19" y="16"/>
                    </a:lnTo>
                    <a:lnTo>
                      <a:pt x="14" y="16"/>
                    </a:lnTo>
                    <a:lnTo>
                      <a:pt x="30" y="14"/>
                    </a:lnTo>
                    <a:lnTo>
                      <a:pt x="44" y="11"/>
                    </a:lnTo>
                    <a:lnTo>
                      <a:pt x="41" y="16"/>
                    </a:lnTo>
                    <a:lnTo>
                      <a:pt x="36" y="16"/>
                    </a:lnTo>
                    <a:lnTo>
                      <a:pt x="33" y="17"/>
                    </a:lnTo>
                    <a:lnTo>
                      <a:pt x="33" y="19"/>
                    </a:lnTo>
                    <a:lnTo>
                      <a:pt x="38" y="17"/>
                    </a:lnTo>
                    <a:lnTo>
                      <a:pt x="41" y="17"/>
                    </a:lnTo>
                    <a:lnTo>
                      <a:pt x="46" y="17"/>
                    </a:lnTo>
                    <a:lnTo>
                      <a:pt x="49" y="17"/>
                    </a:lnTo>
                    <a:lnTo>
                      <a:pt x="39" y="20"/>
                    </a:lnTo>
                    <a:lnTo>
                      <a:pt x="32" y="22"/>
                    </a:lnTo>
                    <a:lnTo>
                      <a:pt x="35" y="22"/>
                    </a:lnTo>
                    <a:lnTo>
                      <a:pt x="41" y="22"/>
                    </a:lnTo>
                    <a:lnTo>
                      <a:pt x="38" y="25"/>
                    </a:lnTo>
                    <a:lnTo>
                      <a:pt x="35" y="25"/>
                    </a:lnTo>
                    <a:lnTo>
                      <a:pt x="32" y="25"/>
                    </a:lnTo>
                    <a:lnTo>
                      <a:pt x="27" y="25"/>
                    </a:lnTo>
                    <a:lnTo>
                      <a:pt x="24" y="25"/>
                    </a:lnTo>
                    <a:lnTo>
                      <a:pt x="20" y="24"/>
                    </a:lnTo>
                    <a:lnTo>
                      <a:pt x="16" y="24"/>
                    </a:lnTo>
                    <a:lnTo>
                      <a:pt x="11" y="24"/>
                    </a:lnTo>
                    <a:lnTo>
                      <a:pt x="5" y="24"/>
                    </a:lnTo>
                    <a:lnTo>
                      <a:pt x="0" y="2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49" name="Freeform 652"/>
              <p:cNvSpPr>
                <a:spLocks/>
              </p:cNvSpPr>
              <p:nvPr/>
            </p:nvSpPr>
            <p:spPr bwMode="auto">
              <a:xfrm>
                <a:off x="1503" y="1036"/>
                <a:ext cx="315" cy="208"/>
              </a:xfrm>
              <a:custGeom>
                <a:avLst/>
                <a:gdLst>
                  <a:gd name="T0" fmla="*/ 11 w 631"/>
                  <a:gd name="T1" fmla="*/ 92 h 417"/>
                  <a:gd name="T2" fmla="*/ 63 w 631"/>
                  <a:gd name="T3" fmla="*/ 111 h 417"/>
                  <a:gd name="T4" fmla="*/ 152 w 631"/>
                  <a:gd name="T5" fmla="*/ 132 h 417"/>
                  <a:gd name="T6" fmla="*/ 190 w 631"/>
                  <a:gd name="T7" fmla="*/ 124 h 417"/>
                  <a:gd name="T8" fmla="*/ 260 w 631"/>
                  <a:gd name="T9" fmla="*/ 108 h 417"/>
                  <a:gd name="T10" fmla="*/ 282 w 631"/>
                  <a:gd name="T11" fmla="*/ 138 h 417"/>
                  <a:gd name="T12" fmla="*/ 274 w 631"/>
                  <a:gd name="T13" fmla="*/ 173 h 417"/>
                  <a:gd name="T14" fmla="*/ 329 w 631"/>
                  <a:gd name="T15" fmla="*/ 178 h 417"/>
                  <a:gd name="T16" fmla="*/ 350 w 631"/>
                  <a:gd name="T17" fmla="*/ 216 h 417"/>
                  <a:gd name="T18" fmla="*/ 401 w 631"/>
                  <a:gd name="T19" fmla="*/ 244 h 417"/>
                  <a:gd name="T20" fmla="*/ 360 w 631"/>
                  <a:gd name="T21" fmla="*/ 263 h 417"/>
                  <a:gd name="T22" fmla="*/ 266 w 631"/>
                  <a:gd name="T23" fmla="*/ 260 h 417"/>
                  <a:gd name="T24" fmla="*/ 210 w 631"/>
                  <a:gd name="T25" fmla="*/ 303 h 417"/>
                  <a:gd name="T26" fmla="*/ 142 w 631"/>
                  <a:gd name="T27" fmla="*/ 301 h 417"/>
                  <a:gd name="T28" fmla="*/ 204 w 631"/>
                  <a:gd name="T29" fmla="*/ 320 h 417"/>
                  <a:gd name="T30" fmla="*/ 252 w 631"/>
                  <a:gd name="T31" fmla="*/ 317 h 417"/>
                  <a:gd name="T32" fmla="*/ 282 w 631"/>
                  <a:gd name="T33" fmla="*/ 349 h 417"/>
                  <a:gd name="T34" fmla="*/ 304 w 631"/>
                  <a:gd name="T35" fmla="*/ 384 h 417"/>
                  <a:gd name="T36" fmla="*/ 407 w 631"/>
                  <a:gd name="T37" fmla="*/ 406 h 417"/>
                  <a:gd name="T38" fmla="*/ 361 w 631"/>
                  <a:gd name="T39" fmla="*/ 349 h 417"/>
                  <a:gd name="T40" fmla="*/ 412 w 631"/>
                  <a:gd name="T41" fmla="*/ 368 h 417"/>
                  <a:gd name="T42" fmla="*/ 458 w 631"/>
                  <a:gd name="T43" fmla="*/ 379 h 417"/>
                  <a:gd name="T44" fmla="*/ 480 w 631"/>
                  <a:gd name="T45" fmla="*/ 347 h 417"/>
                  <a:gd name="T46" fmla="*/ 466 w 631"/>
                  <a:gd name="T47" fmla="*/ 317 h 417"/>
                  <a:gd name="T48" fmla="*/ 444 w 631"/>
                  <a:gd name="T49" fmla="*/ 292 h 417"/>
                  <a:gd name="T50" fmla="*/ 425 w 631"/>
                  <a:gd name="T51" fmla="*/ 260 h 417"/>
                  <a:gd name="T52" fmla="*/ 466 w 631"/>
                  <a:gd name="T53" fmla="*/ 247 h 417"/>
                  <a:gd name="T54" fmla="*/ 491 w 631"/>
                  <a:gd name="T55" fmla="*/ 265 h 417"/>
                  <a:gd name="T56" fmla="*/ 510 w 631"/>
                  <a:gd name="T57" fmla="*/ 278 h 417"/>
                  <a:gd name="T58" fmla="*/ 520 w 631"/>
                  <a:gd name="T59" fmla="*/ 301 h 417"/>
                  <a:gd name="T60" fmla="*/ 567 w 631"/>
                  <a:gd name="T61" fmla="*/ 279 h 417"/>
                  <a:gd name="T62" fmla="*/ 597 w 631"/>
                  <a:gd name="T63" fmla="*/ 252 h 417"/>
                  <a:gd name="T64" fmla="*/ 607 w 631"/>
                  <a:gd name="T65" fmla="*/ 235 h 417"/>
                  <a:gd name="T66" fmla="*/ 599 w 631"/>
                  <a:gd name="T67" fmla="*/ 222 h 417"/>
                  <a:gd name="T68" fmla="*/ 556 w 631"/>
                  <a:gd name="T69" fmla="*/ 224 h 417"/>
                  <a:gd name="T70" fmla="*/ 559 w 631"/>
                  <a:gd name="T71" fmla="*/ 203 h 417"/>
                  <a:gd name="T72" fmla="*/ 537 w 631"/>
                  <a:gd name="T73" fmla="*/ 193 h 417"/>
                  <a:gd name="T74" fmla="*/ 512 w 631"/>
                  <a:gd name="T75" fmla="*/ 186 h 417"/>
                  <a:gd name="T76" fmla="*/ 486 w 631"/>
                  <a:gd name="T77" fmla="*/ 176 h 417"/>
                  <a:gd name="T78" fmla="*/ 494 w 631"/>
                  <a:gd name="T79" fmla="*/ 165 h 417"/>
                  <a:gd name="T80" fmla="*/ 485 w 631"/>
                  <a:gd name="T81" fmla="*/ 151 h 417"/>
                  <a:gd name="T82" fmla="*/ 485 w 631"/>
                  <a:gd name="T83" fmla="*/ 144 h 417"/>
                  <a:gd name="T84" fmla="*/ 523 w 631"/>
                  <a:gd name="T85" fmla="*/ 122 h 417"/>
                  <a:gd name="T86" fmla="*/ 488 w 631"/>
                  <a:gd name="T87" fmla="*/ 122 h 417"/>
                  <a:gd name="T88" fmla="*/ 525 w 631"/>
                  <a:gd name="T89" fmla="*/ 105 h 417"/>
                  <a:gd name="T90" fmla="*/ 450 w 631"/>
                  <a:gd name="T91" fmla="*/ 117 h 417"/>
                  <a:gd name="T92" fmla="*/ 461 w 631"/>
                  <a:gd name="T93" fmla="*/ 97 h 417"/>
                  <a:gd name="T94" fmla="*/ 466 w 631"/>
                  <a:gd name="T95" fmla="*/ 75 h 417"/>
                  <a:gd name="T96" fmla="*/ 418 w 631"/>
                  <a:gd name="T97" fmla="*/ 81 h 417"/>
                  <a:gd name="T98" fmla="*/ 383 w 631"/>
                  <a:gd name="T99" fmla="*/ 86 h 417"/>
                  <a:gd name="T100" fmla="*/ 420 w 631"/>
                  <a:gd name="T101" fmla="*/ 57 h 417"/>
                  <a:gd name="T102" fmla="*/ 407 w 631"/>
                  <a:gd name="T103" fmla="*/ 52 h 417"/>
                  <a:gd name="T104" fmla="*/ 344 w 631"/>
                  <a:gd name="T105" fmla="*/ 54 h 417"/>
                  <a:gd name="T106" fmla="*/ 302 w 631"/>
                  <a:gd name="T107" fmla="*/ 59 h 417"/>
                  <a:gd name="T108" fmla="*/ 263 w 631"/>
                  <a:gd name="T109" fmla="*/ 59 h 417"/>
                  <a:gd name="T110" fmla="*/ 285 w 631"/>
                  <a:gd name="T111" fmla="*/ 19 h 417"/>
                  <a:gd name="T112" fmla="*/ 196 w 631"/>
                  <a:gd name="T113" fmla="*/ 24 h 417"/>
                  <a:gd name="T114" fmla="*/ 161 w 631"/>
                  <a:gd name="T115" fmla="*/ 46 h 417"/>
                  <a:gd name="T116" fmla="*/ 141 w 631"/>
                  <a:gd name="T117" fmla="*/ 71 h 417"/>
                  <a:gd name="T118" fmla="*/ 109 w 631"/>
                  <a:gd name="T119" fmla="*/ 87 h 417"/>
                  <a:gd name="T120" fmla="*/ 168 w 631"/>
                  <a:gd name="T121" fmla="*/ 0 h 417"/>
                  <a:gd name="T122" fmla="*/ 11 w 631"/>
                  <a:gd name="T123" fmla="*/ 71 h 4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31" h="417">
                    <a:moveTo>
                      <a:pt x="3" y="78"/>
                    </a:moveTo>
                    <a:lnTo>
                      <a:pt x="3" y="81"/>
                    </a:lnTo>
                    <a:lnTo>
                      <a:pt x="15" y="84"/>
                    </a:lnTo>
                    <a:lnTo>
                      <a:pt x="27" y="84"/>
                    </a:lnTo>
                    <a:lnTo>
                      <a:pt x="31" y="86"/>
                    </a:lnTo>
                    <a:lnTo>
                      <a:pt x="34" y="86"/>
                    </a:lnTo>
                    <a:lnTo>
                      <a:pt x="38" y="86"/>
                    </a:lnTo>
                    <a:lnTo>
                      <a:pt x="42" y="86"/>
                    </a:lnTo>
                    <a:lnTo>
                      <a:pt x="46" y="86"/>
                    </a:lnTo>
                    <a:lnTo>
                      <a:pt x="49" y="84"/>
                    </a:lnTo>
                    <a:lnTo>
                      <a:pt x="52" y="84"/>
                    </a:lnTo>
                    <a:lnTo>
                      <a:pt x="50" y="87"/>
                    </a:lnTo>
                    <a:lnTo>
                      <a:pt x="53" y="90"/>
                    </a:lnTo>
                    <a:lnTo>
                      <a:pt x="57" y="92"/>
                    </a:lnTo>
                    <a:lnTo>
                      <a:pt x="61" y="92"/>
                    </a:lnTo>
                    <a:lnTo>
                      <a:pt x="65" y="94"/>
                    </a:lnTo>
                    <a:lnTo>
                      <a:pt x="61" y="94"/>
                    </a:lnTo>
                    <a:lnTo>
                      <a:pt x="57" y="94"/>
                    </a:lnTo>
                    <a:lnTo>
                      <a:pt x="53" y="95"/>
                    </a:lnTo>
                    <a:lnTo>
                      <a:pt x="50" y="95"/>
                    </a:lnTo>
                    <a:lnTo>
                      <a:pt x="47" y="95"/>
                    </a:lnTo>
                    <a:lnTo>
                      <a:pt x="42" y="95"/>
                    </a:lnTo>
                    <a:lnTo>
                      <a:pt x="39" y="95"/>
                    </a:lnTo>
                    <a:lnTo>
                      <a:pt x="36" y="95"/>
                    </a:lnTo>
                    <a:lnTo>
                      <a:pt x="33" y="95"/>
                    </a:lnTo>
                    <a:lnTo>
                      <a:pt x="28" y="92"/>
                    </a:lnTo>
                    <a:lnTo>
                      <a:pt x="25" y="92"/>
                    </a:lnTo>
                    <a:lnTo>
                      <a:pt x="22" y="92"/>
                    </a:lnTo>
                    <a:lnTo>
                      <a:pt x="19" y="92"/>
                    </a:lnTo>
                    <a:lnTo>
                      <a:pt x="14" y="92"/>
                    </a:lnTo>
                    <a:lnTo>
                      <a:pt x="11" y="92"/>
                    </a:lnTo>
                    <a:lnTo>
                      <a:pt x="7" y="90"/>
                    </a:lnTo>
                    <a:lnTo>
                      <a:pt x="4" y="90"/>
                    </a:lnTo>
                    <a:lnTo>
                      <a:pt x="6" y="94"/>
                    </a:lnTo>
                    <a:lnTo>
                      <a:pt x="3" y="95"/>
                    </a:lnTo>
                    <a:lnTo>
                      <a:pt x="0" y="98"/>
                    </a:lnTo>
                    <a:lnTo>
                      <a:pt x="1" y="102"/>
                    </a:lnTo>
                    <a:lnTo>
                      <a:pt x="3" y="106"/>
                    </a:lnTo>
                    <a:lnTo>
                      <a:pt x="3" y="109"/>
                    </a:lnTo>
                    <a:lnTo>
                      <a:pt x="6" y="111"/>
                    </a:lnTo>
                    <a:lnTo>
                      <a:pt x="9" y="113"/>
                    </a:lnTo>
                    <a:lnTo>
                      <a:pt x="14" y="113"/>
                    </a:lnTo>
                    <a:lnTo>
                      <a:pt x="17" y="114"/>
                    </a:lnTo>
                    <a:lnTo>
                      <a:pt x="20" y="116"/>
                    </a:lnTo>
                    <a:lnTo>
                      <a:pt x="17" y="116"/>
                    </a:lnTo>
                    <a:lnTo>
                      <a:pt x="14" y="116"/>
                    </a:lnTo>
                    <a:lnTo>
                      <a:pt x="17" y="117"/>
                    </a:lnTo>
                    <a:lnTo>
                      <a:pt x="20" y="119"/>
                    </a:lnTo>
                    <a:lnTo>
                      <a:pt x="23" y="119"/>
                    </a:lnTo>
                    <a:lnTo>
                      <a:pt x="28" y="117"/>
                    </a:lnTo>
                    <a:lnTo>
                      <a:pt x="23" y="117"/>
                    </a:lnTo>
                    <a:lnTo>
                      <a:pt x="34" y="116"/>
                    </a:lnTo>
                    <a:lnTo>
                      <a:pt x="46" y="116"/>
                    </a:lnTo>
                    <a:lnTo>
                      <a:pt x="42" y="114"/>
                    </a:lnTo>
                    <a:lnTo>
                      <a:pt x="46" y="113"/>
                    </a:lnTo>
                    <a:lnTo>
                      <a:pt x="49" y="111"/>
                    </a:lnTo>
                    <a:lnTo>
                      <a:pt x="52" y="114"/>
                    </a:lnTo>
                    <a:lnTo>
                      <a:pt x="49" y="114"/>
                    </a:lnTo>
                    <a:lnTo>
                      <a:pt x="52" y="116"/>
                    </a:lnTo>
                    <a:lnTo>
                      <a:pt x="57" y="114"/>
                    </a:lnTo>
                    <a:lnTo>
                      <a:pt x="60" y="113"/>
                    </a:lnTo>
                    <a:lnTo>
                      <a:pt x="63" y="111"/>
                    </a:lnTo>
                    <a:lnTo>
                      <a:pt x="66" y="111"/>
                    </a:lnTo>
                    <a:lnTo>
                      <a:pt x="63" y="113"/>
                    </a:lnTo>
                    <a:lnTo>
                      <a:pt x="60" y="113"/>
                    </a:lnTo>
                    <a:lnTo>
                      <a:pt x="55" y="116"/>
                    </a:lnTo>
                    <a:lnTo>
                      <a:pt x="55" y="121"/>
                    </a:lnTo>
                    <a:lnTo>
                      <a:pt x="57" y="124"/>
                    </a:lnTo>
                    <a:lnTo>
                      <a:pt x="61" y="125"/>
                    </a:lnTo>
                    <a:lnTo>
                      <a:pt x="65" y="127"/>
                    </a:lnTo>
                    <a:lnTo>
                      <a:pt x="66" y="127"/>
                    </a:lnTo>
                    <a:lnTo>
                      <a:pt x="69" y="127"/>
                    </a:lnTo>
                    <a:lnTo>
                      <a:pt x="74" y="127"/>
                    </a:lnTo>
                    <a:lnTo>
                      <a:pt x="76" y="127"/>
                    </a:lnTo>
                    <a:lnTo>
                      <a:pt x="79" y="127"/>
                    </a:lnTo>
                    <a:lnTo>
                      <a:pt x="80" y="127"/>
                    </a:lnTo>
                    <a:lnTo>
                      <a:pt x="77" y="125"/>
                    </a:lnTo>
                    <a:lnTo>
                      <a:pt x="72" y="125"/>
                    </a:lnTo>
                    <a:lnTo>
                      <a:pt x="69" y="125"/>
                    </a:lnTo>
                    <a:lnTo>
                      <a:pt x="72" y="124"/>
                    </a:lnTo>
                    <a:lnTo>
                      <a:pt x="80" y="124"/>
                    </a:lnTo>
                    <a:lnTo>
                      <a:pt x="84" y="124"/>
                    </a:lnTo>
                    <a:lnTo>
                      <a:pt x="90" y="125"/>
                    </a:lnTo>
                    <a:lnTo>
                      <a:pt x="95" y="124"/>
                    </a:lnTo>
                    <a:lnTo>
                      <a:pt x="95" y="127"/>
                    </a:lnTo>
                    <a:lnTo>
                      <a:pt x="112" y="128"/>
                    </a:lnTo>
                    <a:lnTo>
                      <a:pt x="126" y="128"/>
                    </a:lnTo>
                    <a:lnTo>
                      <a:pt x="131" y="127"/>
                    </a:lnTo>
                    <a:lnTo>
                      <a:pt x="138" y="127"/>
                    </a:lnTo>
                    <a:lnTo>
                      <a:pt x="141" y="128"/>
                    </a:lnTo>
                    <a:lnTo>
                      <a:pt x="145" y="130"/>
                    </a:lnTo>
                    <a:lnTo>
                      <a:pt x="149" y="133"/>
                    </a:lnTo>
                    <a:lnTo>
                      <a:pt x="152" y="132"/>
                    </a:lnTo>
                    <a:lnTo>
                      <a:pt x="155" y="135"/>
                    </a:lnTo>
                    <a:lnTo>
                      <a:pt x="158" y="132"/>
                    </a:lnTo>
                    <a:lnTo>
                      <a:pt x="163" y="132"/>
                    </a:lnTo>
                    <a:lnTo>
                      <a:pt x="166" y="132"/>
                    </a:lnTo>
                    <a:lnTo>
                      <a:pt x="169" y="130"/>
                    </a:lnTo>
                    <a:lnTo>
                      <a:pt x="166" y="128"/>
                    </a:lnTo>
                    <a:lnTo>
                      <a:pt x="166" y="127"/>
                    </a:lnTo>
                    <a:lnTo>
                      <a:pt x="161" y="124"/>
                    </a:lnTo>
                    <a:lnTo>
                      <a:pt x="158" y="122"/>
                    </a:lnTo>
                    <a:lnTo>
                      <a:pt x="155" y="121"/>
                    </a:lnTo>
                    <a:lnTo>
                      <a:pt x="152" y="121"/>
                    </a:lnTo>
                    <a:lnTo>
                      <a:pt x="149" y="117"/>
                    </a:lnTo>
                    <a:lnTo>
                      <a:pt x="157" y="121"/>
                    </a:lnTo>
                    <a:lnTo>
                      <a:pt x="166" y="124"/>
                    </a:lnTo>
                    <a:lnTo>
                      <a:pt x="169" y="127"/>
                    </a:lnTo>
                    <a:lnTo>
                      <a:pt x="172" y="128"/>
                    </a:lnTo>
                    <a:lnTo>
                      <a:pt x="177" y="130"/>
                    </a:lnTo>
                    <a:lnTo>
                      <a:pt x="180" y="133"/>
                    </a:lnTo>
                    <a:lnTo>
                      <a:pt x="184" y="136"/>
                    </a:lnTo>
                    <a:lnTo>
                      <a:pt x="187" y="136"/>
                    </a:lnTo>
                    <a:lnTo>
                      <a:pt x="188" y="133"/>
                    </a:lnTo>
                    <a:lnTo>
                      <a:pt x="185" y="130"/>
                    </a:lnTo>
                    <a:lnTo>
                      <a:pt x="185" y="127"/>
                    </a:lnTo>
                    <a:lnTo>
                      <a:pt x="182" y="127"/>
                    </a:lnTo>
                    <a:lnTo>
                      <a:pt x="179" y="127"/>
                    </a:lnTo>
                    <a:lnTo>
                      <a:pt x="179" y="127"/>
                    </a:lnTo>
                    <a:lnTo>
                      <a:pt x="176" y="125"/>
                    </a:lnTo>
                    <a:lnTo>
                      <a:pt x="179" y="124"/>
                    </a:lnTo>
                    <a:lnTo>
                      <a:pt x="182" y="124"/>
                    </a:lnTo>
                    <a:lnTo>
                      <a:pt x="187" y="124"/>
                    </a:lnTo>
                    <a:lnTo>
                      <a:pt x="190" y="124"/>
                    </a:lnTo>
                    <a:lnTo>
                      <a:pt x="193" y="125"/>
                    </a:lnTo>
                    <a:lnTo>
                      <a:pt x="198" y="125"/>
                    </a:lnTo>
                    <a:lnTo>
                      <a:pt x="201" y="125"/>
                    </a:lnTo>
                    <a:lnTo>
                      <a:pt x="204" y="125"/>
                    </a:lnTo>
                    <a:lnTo>
                      <a:pt x="206" y="127"/>
                    </a:lnTo>
                    <a:lnTo>
                      <a:pt x="214" y="127"/>
                    </a:lnTo>
                    <a:lnTo>
                      <a:pt x="215" y="128"/>
                    </a:lnTo>
                    <a:lnTo>
                      <a:pt x="218" y="128"/>
                    </a:lnTo>
                    <a:lnTo>
                      <a:pt x="220" y="132"/>
                    </a:lnTo>
                    <a:lnTo>
                      <a:pt x="223" y="132"/>
                    </a:lnTo>
                    <a:lnTo>
                      <a:pt x="226" y="132"/>
                    </a:lnTo>
                    <a:lnTo>
                      <a:pt x="237" y="132"/>
                    </a:lnTo>
                    <a:lnTo>
                      <a:pt x="241" y="132"/>
                    </a:lnTo>
                    <a:lnTo>
                      <a:pt x="244" y="132"/>
                    </a:lnTo>
                    <a:lnTo>
                      <a:pt x="249" y="130"/>
                    </a:lnTo>
                    <a:lnTo>
                      <a:pt x="252" y="127"/>
                    </a:lnTo>
                    <a:lnTo>
                      <a:pt x="252" y="124"/>
                    </a:lnTo>
                    <a:lnTo>
                      <a:pt x="253" y="121"/>
                    </a:lnTo>
                    <a:lnTo>
                      <a:pt x="253" y="116"/>
                    </a:lnTo>
                    <a:lnTo>
                      <a:pt x="249" y="116"/>
                    </a:lnTo>
                    <a:lnTo>
                      <a:pt x="245" y="116"/>
                    </a:lnTo>
                    <a:lnTo>
                      <a:pt x="242" y="114"/>
                    </a:lnTo>
                    <a:lnTo>
                      <a:pt x="239" y="114"/>
                    </a:lnTo>
                    <a:lnTo>
                      <a:pt x="242" y="111"/>
                    </a:lnTo>
                    <a:lnTo>
                      <a:pt x="245" y="111"/>
                    </a:lnTo>
                    <a:lnTo>
                      <a:pt x="250" y="113"/>
                    </a:lnTo>
                    <a:lnTo>
                      <a:pt x="253" y="109"/>
                    </a:lnTo>
                    <a:lnTo>
                      <a:pt x="256" y="108"/>
                    </a:lnTo>
                    <a:lnTo>
                      <a:pt x="260" y="105"/>
                    </a:lnTo>
                    <a:lnTo>
                      <a:pt x="263" y="106"/>
                    </a:lnTo>
                    <a:lnTo>
                      <a:pt x="260" y="108"/>
                    </a:lnTo>
                    <a:lnTo>
                      <a:pt x="256" y="109"/>
                    </a:lnTo>
                    <a:lnTo>
                      <a:pt x="256" y="113"/>
                    </a:lnTo>
                    <a:lnTo>
                      <a:pt x="261" y="113"/>
                    </a:lnTo>
                    <a:lnTo>
                      <a:pt x="261" y="116"/>
                    </a:lnTo>
                    <a:lnTo>
                      <a:pt x="264" y="114"/>
                    </a:lnTo>
                    <a:lnTo>
                      <a:pt x="264" y="119"/>
                    </a:lnTo>
                    <a:lnTo>
                      <a:pt x="268" y="119"/>
                    </a:lnTo>
                    <a:lnTo>
                      <a:pt x="272" y="119"/>
                    </a:lnTo>
                    <a:lnTo>
                      <a:pt x="276" y="119"/>
                    </a:lnTo>
                    <a:lnTo>
                      <a:pt x="279" y="119"/>
                    </a:lnTo>
                    <a:lnTo>
                      <a:pt x="280" y="122"/>
                    </a:lnTo>
                    <a:lnTo>
                      <a:pt x="279" y="125"/>
                    </a:lnTo>
                    <a:lnTo>
                      <a:pt x="277" y="127"/>
                    </a:lnTo>
                    <a:lnTo>
                      <a:pt x="274" y="132"/>
                    </a:lnTo>
                    <a:lnTo>
                      <a:pt x="272" y="135"/>
                    </a:lnTo>
                    <a:lnTo>
                      <a:pt x="276" y="135"/>
                    </a:lnTo>
                    <a:lnTo>
                      <a:pt x="279" y="132"/>
                    </a:lnTo>
                    <a:lnTo>
                      <a:pt x="282" y="132"/>
                    </a:lnTo>
                    <a:lnTo>
                      <a:pt x="287" y="130"/>
                    </a:lnTo>
                    <a:lnTo>
                      <a:pt x="290" y="130"/>
                    </a:lnTo>
                    <a:lnTo>
                      <a:pt x="293" y="128"/>
                    </a:lnTo>
                    <a:lnTo>
                      <a:pt x="290" y="130"/>
                    </a:lnTo>
                    <a:lnTo>
                      <a:pt x="287" y="132"/>
                    </a:lnTo>
                    <a:lnTo>
                      <a:pt x="282" y="132"/>
                    </a:lnTo>
                    <a:lnTo>
                      <a:pt x="287" y="133"/>
                    </a:lnTo>
                    <a:lnTo>
                      <a:pt x="290" y="132"/>
                    </a:lnTo>
                    <a:lnTo>
                      <a:pt x="293" y="133"/>
                    </a:lnTo>
                    <a:lnTo>
                      <a:pt x="293" y="136"/>
                    </a:lnTo>
                    <a:lnTo>
                      <a:pt x="288" y="138"/>
                    </a:lnTo>
                    <a:lnTo>
                      <a:pt x="285" y="138"/>
                    </a:lnTo>
                    <a:lnTo>
                      <a:pt x="282" y="138"/>
                    </a:lnTo>
                    <a:lnTo>
                      <a:pt x="285" y="141"/>
                    </a:lnTo>
                    <a:lnTo>
                      <a:pt x="288" y="140"/>
                    </a:lnTo>
                    <a:lnTo>
                      <a:pt x="293" y="141"/>
                    </a:lnTo>
                    <a:lnTo>
                      <a:pt x="296" y="140"/>
                    </a:lnTo>
                    <a:lnTo>
                      <a:pt x="299" y="138"/>
                    </a:lnTo>
                    <a:lnTo>
                      <a:pt x="302" y="138"/>
                    </a:lnTo>
                    <a:lnTo>
                      <a:pt x="307" y="138"/>
                    </a:lnTo>
                    <a:lnTo>
                      <a:pt x="302" y="140"/>
                    </a:lnTo>
                    <a:lnTo>
                      <a:pt x="299" y="140"/>
                    </a:lnTo>
                    <a:lnTo>
                      <a:pt x="296" y="141"/>
                    </a:lnTo>
                    <a:lnTo>
                      <a:pt x="293" y="143"/>
                    </a:lnTo>
                    <a:lnTo>
                      <a:pt x="295" y="146"/>
                    </a:lnTo>
                    <a:lnTo>
                      <a:pt x="298" y="148"/>
                    </a:lnTo>
                    <a:lnTo>
                      <a:pt x="302" y="148"/>
                    </a:lnTo>
                    <a:lnTo>
                      <a:pt x="306" y="149"/>
                    </a:lnTo>
                    <a:lnTo>
                      <a:pt x="309" y="151"/>
                    </a:lnTo>
                    <a:lnTo>
                      <a:pt x="310" y="155"/>
                    </a:lnTo>
                    <a:lnTo>
                      <a:pt x="307" y="159"/>
                    </a:lnTo>
                    <a:lnTo>
                      <a:pt x="304" y="159"/>
                    </a:lnTo>
                    <a:lnTo>
                      <a:pt x="301" y="160"/>
                    </a:lnTo>
                    <a:lnTo>
                      <a:pt x="296" y="160"/>
                    </a:lnTo>
                    <a:lnTo>
                      <a:pt x="293" y="162"/>
                    </a:lnTo>
                    <a:lnTo>
                      <a:pt x="290" y="160"/>
                    </a:lnTo>
                    <a:lnTo>
                      <a:pt x="285" y="160"/>
                    </a:lnTo>
                    <a:lnTo>
                      <a:pt x="282" y="160"/>
                    </a:lnTo>
                    <a:lnTo>
                      <a:pt x="279" y="160"/>
                    </a:lnTo>
                    <a:lnTo>
                      <a:pt x="276" y="163"/>
                    </a:lnTo>
                    <a:lnTo>
                      <a:pt x="276" y="168"/>
                    </a:lnTo>
                    <a:lnTo>
                      <a:pt x="272" y="170"/>
                    </a:lnTo>
                    <a:lnTo>
                      <a:pt x="271" y="173"/>
                    </a:lnTo>
                    <a:lnTo>
                      <a:pt x="274" y="173"/>
                    </a:lnTo>
                    <a:lnTo>
                      <a:pt x="277" y="171"/>
                    </a:lnTo>
                    <a:lnTo>
                      <a:pt x="282" y="171"/>
                    </a:lnTo>
                    <a:lnTo>
                      <a:pt x="285" y="170"/>
                    </a:lnTo>
                    <a:lnTo>
                      <a:pt x="288" y="170"/>
                    </a:lnTo>
                    <a:lnTo>
                      <a:pt x="291" y="168"/>
                    </a:lnTo>
                    <a:lnTo>
                      <a:pt x="296" y="167"/>
                    </a:lnTo>
                    <a:lnTo>
                      <a:pt x="299" y="167"/>
                    </a:lnTo>
                    <a:lnTo>
                      <a:pt x="302" y="165"/>
                    </a:lnTo>
                    <a:lnTo>
                      <a:pt x="306" y="162"/>
                    </a:lnTo>
                    <a:lnTo>
                      <a:pt x="309" y="160"/>
                    </a:lnTo>
                    <a:lnTo>
                      <a:pt x="312" y="165"/>
                    </a:lnTo>
                    <a:lnTo>
                      <a:pt x="315" y="165"/>
                    </a:lnTo>
                    <a:lnTo>
                      <a:pt x="318" y="162"/>
                    </a:lnTo>
                    <a:lnTo>
                      <a:pt x="321" y="160"/>
                    </a:lnTo>
                    <a:lnTo>
                      <a:pt x="326" y="159"/>
                    </a:lnTo>
                    <a:lnTo>
                      <a:pt x="329" y="160"/>
                    </a:lnTo>
                    <a:lnTo>
                      <a:pt x="326" y="162"/>
                    </a:lnTo>
                    <a:lnTo>
                      <a:pt x="321" y="162"/>
                    </a:lnTo>
                    <a:lnTo>
                      <a:pt x="318" y="163"/>
                    </a:lnTo>
                    <a:lnTo>
                      <a:pt x="321" y="163"/>
                    </a:lnTo>
                    <a:lnTo>
                      <a:pt x="318" y="165"/>
                    </a:lnTo>
                    <a:lnTo>
                      <a:pt x="321" y="165"/>
                    </a:lnTo>
                    <a:lnTo>
                      <a:pt x="326" y="163"/>
                    </a:lnTo>
                    <a:lnTo>
                      <a:pt x="321" y="167"/>
                    </a:lnTo>
                    <a:lnTo>
                      <a:pt x="318" y="168"/>
                    </a:lnTo>
                    <a:lnTo>
                      <a:pt x="321" y="170"/>
                    </a:lnTo>
                    <a:lnTo>
                      <a:pt x="326" y="167"/>
                    </a:lnTo>
                    <a:lnTo>
                      <a:pt x="321" y="170"/>
                    </a:lnTo>
                    <a:lnTo>
                      <a:pt x="325" y="173"/>
                    </a:lnTo>
                    <a:lnTo>
                      <a:pt x="325" y="176"/>
                    </a:lnTo>
                    <a:lnTo>
                      <a:pt x="329" y="178"/>
                    </a:lnTo>
                    <a:lnTo>
                      <a:pt x="333" y="178"/>
                    </a:lnTo>
                    <a:lnTo>
                      <a:pt x="336" y="179"/>
                    </a:lnTo>
                    <a:lnTo>
                      <a:pt x="337" y="174"/>
                    </a:lnTo>
                    <a:lnTo>
                      <a:pt x="336" y="171"/>
                    </a:lnTo>
                    <a:lnTo>
                      <a:pt x="339" y="171"/>
                    </a:lnTo>
                    <a:lnTo>
                      <a:pt x="342" y="171"/>
                    </a:lnTo>
                    <a:lnTo>
                      <a:pt x="345" y="173"/>
                    </a:lnTo>
                    <a:lnTo>
                      <a:pt x="342" y="174"/>
                    </a:lnTo>
                    <a:lnTo>
                      <a:pt x="342" y="178"/>
                    </a:lnTo>
                    <a:lnTo>
                      <a:pt x="339" y="179"/>
                    </a:lnTo>
                    <a:lnTo>
                      <a:pt x="336" y="181"/>
                    </a:lnTo>
                    <a:lnTo>
                      <a:pt x="336" y="184"/>
                    </a:lnTo>
                    <a:lnTo>
                      <a:pt x="339" y="186"/>
                    </a:lnTo>
                    <a:lnTo>
                      <a:pt x="339" y="187"/>
                    </a:lnTo>
                    <a:lnTo>
                      <a:pt x="339" y="187"/>
                    </a:lnTo>
                    <a:lnTo>
                      <a:pt x="342" y="186"/>
                    </a:lnTo>
                    <a:lnTo>
                      <a:pt x="347" y="186"/>
                    </a:lnTo>
                    <a:lnTo>
                      <a:pt x="350" y="184"/>
                    </a:lnTo>
                    <a:lnTo>
                      <a:pt x="347" y="186"/>
                    </a:lnTo>
                    <a:lnTo>
                      <a:pt x="344" y="187"/>
                    </a:lnTo>
                    <a:lnTo>
                      <a:pt x="347" y="186"/>
                    </a:lnTo>
                    <a:lnTo>
                      <a:pt x="350" y="189"/>
                    </a:lnTo>
                    <a:lnTo>
                      <a:pt x="355" y="189"/>
                    </a:lnTo>
                    <a:lnTo>
                      <a:pt x="352" y="192"/>
                    </a:lnTo>
                    <a:lnTo>
                      <a:pt x="352" y="195"/>
                    </a:lnTo>
                    <a:lnTo>
                      <a:pt x="348" y="198"/>
                    </a:lnTo>
                    <a:lnTo>
                      <a:pt x="352" y="201"/>
                    </a:lnTo>
                    <a:lnTo>
                      <a:pt x="353" y="205"/>
                    </a:lnTo>
                    <a:lnTo>
                      <a:pt x="350" y="208"/>
                    </a:lnTo>
                    <a:lnTo>
                      <a:pt x="352" y="211"/>
                    </a:lnTo>
                    <a:lnTo>
                      <a:pt x="350" y="216"/>
                    </a:lnTo>
                    <a:lnTo>
                      <a:pt x="350" y="219"/>
                    </a:lnTo>
                    <a:lnTo>
                      <a:pt x="352" y="222"/>
                    </a:lnTo>
                    <a:lnTo>
                      <a:pt x="348" y="224"/>
                    </a:lnTo>
                    <a:lnTo>
                      <a:pt x="345" y="227"/>
                    </a:lnTo>
                    <a:lnTo>
                      <a:pt x="341" y="228"/>
                    </a:lnTo>
                    <a:lnTo>
                      <a:pt x="337" y="228"/>
                    </a:lnTo>
                    <a:lnTo>
                      <a:pt x="333" y="228"/>
                    </a:lnTo>
                    <a:lnTo>
                      <a:pt x="328" y="232"/>
                    </a:lnTo>
                    <a:lnTo>
                      <a:pt x="325" y="235"/>
                    </a:lnTo>
                    <a:lnTo>
                      <a:pt x="320" y="238"/>
                    </a:lnTo>
                    <a:lnTo>
                      <a:pt x="321" y="241"/>
                    </a:lnTo>
                    <a:lnTo>
                      <a:pt x="333" y="241"/>
                    </a:lnTo>
                    <a:lnTo>
                      <a:pt x="345" y="243"/>
                    </a:lnTo>
                    <a:lnTo>
                      <a:pt x="348" y="244"/>
                    </a:lnTo>
                    <a:lnTo>
                      <a:pt x="353" y="244"/>
                    </a:lnTo>
                    <a:lnTo>
                      <a:pt x="356" y="246"/>
                    </a:lnTo>
                    <a:lnTo>
                      <a:pt x="360" y="243"/>
                    </a:lnTo>
                    <a:lnTo>
                      <a:pt x="371" y="235"/>
                    </a:lnTo>
                    <a:lnTo>
                      <a:pt x="371" y="232"/>
                    </a:lnTo>
                    <a:lnTo>
                      <a:pt x="374" y="230"/>
                    </a:lnTo>
                    <a:lnTo>
                      <a:pt x="377" y="230"/>
                    </a:lnTo>
                    <a:lnTo>
                      <a:pt x="382" y="232"/>
                    </a:lnTo>
                    <a:lnTo>
                      <a:pt x="385" y="232"/>
                    </a:lnTo>
                    <a:lnTo>
                      <a:pt x="382" y="233"/>
                    </a:lnTo>
                    <a:lnTo>
                      <a:pt x="385" y="235"/>
                    </a:lnTo>
                    <a:lnTo>
                      <a:pt x="383" y="239"/>
                    </a:lnTo>
                    <a:lnTo>
                      <a:pt x="387" y="241"/>
                    </a:lnTo>
                    <a:lnTo>
                      <a:pt x="391" y="241"/>
                    </a:lnTo>
                    <a:lnTo>
                      <a:pt x="394" y="241"/>
                    </a:lnTo>
                    <a:lnTo>
                      <a:pt x="398" y="241"/>
                    </a:lnTo>
                    <a:lnTo>
                      <a:pt x="401" y="244"/>
                    </a:lnTo>
                    <a:lnTo>
                      <a:pt x="404" y="246"/>
                    </a:lnTo>
                    <a:lnTo>
                      <a:pt x="409" y="247"/>
                    </a:lnTo>
                    <a:lnTo>
                      <a:pt x="406" y="249"/>
                    </a:lnTo>
                    <a:lnTo>
                      <a:pt x="409" y="249"/>
                    </a:lnTo>
                    <a:lnTo>
                      <a:pt x="412" y="247"/>
                    </a:lnTo>
                    <a:lnTo>
                      <a:pt x="409" y="249"/>
                    </a:lnTo>
                    <a:lnTo>
                      <a:pt x="404" y="249"/>
                    </a:lnTo>
                    <a:lnTo>
                      <a:pt x="401" y="251"/>
                    </a:lnTo>
                    <a:lnTo>
                      <a:pt x="406" y="252"/>
                    </a:lnTo>
                    <a:lnTo>
                      <a:pt x="409" y="251"/>
                    </a:lnTo>
                    <a:lnTo>
                      <a:pt x="410" y="252"/>
                    </a:lnTo>
                    <a:lnTo>
                      <a:pt x="407" y="252"/>
                    </a:lnTo>
                    <a:lnTo>
                      <a:pt x="404" y="252"/>
                    </a:lnTo>
                    <a:lnTo>
                      <a:pt x="407" y="254"/>
                    </a:lnTo>
                    <a:lnTo>
                      <a:pt x="410" y="252"/>
                    </a:lnTo>
                    <a:lnTo>
                      <a:pt x="412" y="254"/>
                    </a:lnTo>
                    <a:lnTo>
                      <a:pt x="409" y="254"/>
                    </a:lnTo>
                    <a:lnTo>
                      <a:pt x="404" y="255"/>
                    </a:lnTo>
                    <a:lnTo>
                      <a:pt x="401" y="257"/>
                    </a:lnTo>
                    <a:lnTo>
                      <a:pt x="398" y="260"/>
                    </a:lnTo>
                    <a:lnTo>
                      <a:pt x="393" y="259"/>
                    </a:lnTo>
                    <a:lnTo>
                      <a:pt x="390" y="257"/>
                    </a:lnTo>
                    <a:lnTo>
                      <a:pt x="387" y="259"/>
                    </a:lnTo>
                    <a:lnTo>
                      <a:pt x="383" y="259"/>
                    </a:lnTo>
                    <a:lnTo>
                      <a:pt x="380" y="260"/>
                    </a:lnTo>
                    <a:lnTo>
                      <a:pt x="377" y="260"/>
                    </a:lnTo>
                    <a:lnTo>
                      <a:pt x="372" y="257"/>
                    </a:lnTo>
                    <a:lnTo>
                      <a:pt x="369" y="257"/>
                    </a:lnTo>
                    <a:lnTo>
                      <a:pt x="366" y="260"/>
                    </a:lnTo>
                    <a:lnTo>
                      <a:pt x="363" y="260"/>
                    </a:lnTo>
                    <a:lnTo>
                      <a:pt x="360" y="263"/>
                    </a:lnTo>
                    <a:lnTo>
                      <a:pt x="355" y="263"/>
                    </a:lnTo>
                    <a:lnTo>
                      <a:pt x="352" y="266"/>
                    </a:lnTo>
                    <a:lnTo>
                      <a:pt x="348" y="268"/>
                    </a:lnTo>
                    <a:lnTo>
                      <a:pt x="345" y="268"/>
                    </a:lnTo>
                    <a:lnTo>
                      <a:pt x="347" y="266"/>
                    </a:lnTo>
                    <a:lnTo>
                      <a:pt x="350" y="266"/>
                    </a:lnTo>
                    <a:lnTo>
                      <a:pt x="353" y="263"/>
                    </a:lnTo>
                    <a:lnTo>
                      <a:pt x="350" y="263"/>
                    </a:lnTo>
                    <a:lnTo>
                      <a:pt x="353" y="260"/>
                    </a:lnTo>
                    <a:lnTo>
                      <a:pt x="355" y="257"/>
                    </a:lnTo>
                    <a:lnTo>
                      <a:pt x="356" y="254"/>
                    </a:lnTo>
                    <a:lnTo>
                      <a:pt x="356" y="251"/>
                    </a:lnTo>
                    <a:lnTo>
                      <a:pt x="355" y="246"/>
                    </a:lnTo>
                    <a:lnTo>
                      <a:pt x="352" y="246"/>
                    </a:lnTo>
                    <a:lnTo>
                      <a:pt x="347" y="246"/>
                    </a:lnTo>
                    <a:lnTo>
                      <a:pt x="334" y="243"/>
                    </a:lnTo>
                    <a:lnTo>
                      <a:pt x="318" y="241"/>
                    </a:lnTo>
                    <a:lnTo>
                      <a:pt x="315" y="241"/>
                    </a:lnTo>
                    <a:lnTo>
                      <a:pt x="312" y="241"/>
                    </a:lnTo>
                    <a:lnTo>
                      <a:pt x="309" y="243"/>
                    </a:lnTo>
                    <a:lnTo>
                      <a:pt x="306" y="244"/>
                    </a:lnTo>
                    <a:lnTo>
                      <a:pt x="301" y="247"/>
                    </a:lnTo>
                    <a:lnTo>
                      <a:pt x="298" y="249"/>
                    </a:lnTo>
                    <a:lnTo>
                      <a:pt x="295" y="249"/>
                    </a:lnTo>
                    <a:lnTo>
                      <a:pt x="291" y="251"/>
                    </a:lnTo>
                    <a:lnTo>
                      <a:pt x="287" y="252"/>
                    </a:lnTo>
                    <a:lnTo>
                      <a:pt x="283" y="254"/>
                    </a:lnTo>
                    <a:lnTo>
                      <a:pt x="280" y="255"/>
                    </a:lnTo>
                    <a:lnTo>
                      <a:pt x="277" y="257"/>
                    </a:lnTo>
                    <a:lnTo>
                      <a:pt x="269" y="259"/>
                    </a:lnTo>
                    <a:lnTo>
                      <a:pt x="266" y="260"/>
                    </a:lnTo>
                    <a:lnTo>
                      <a:pt x="263" y="263"/>
                    </a:lnTo>
                    <a:lnTo>
                      <a:pt x="264" y="266"/>
                    </a:lnTo>
                    <a:lnTo>
                      <a:pt x="268" y="270"/>
                    </a:lnTo>
                    <a:lnTo>
                      <a:pt x="271" y="273"/>
                    </a:lnTo>
                    <a:lnTo>
                      <a:pt x="274" y="276"/>
                    </a:lnTo>
                    <a:lnTo>
                      <a:pt x="274" y="279"/>
                    </a:lnTo>
                    <a:lnTo>
                      <a:pt x="272" y="282"/>
                    </a:lnTo>
                    <a:lnTo>
                      <a:pt x="272" y="287"/>
                    </a:lnTo>
                    <a:lnTo>
                      <a:pt x="269" y="285"/>
                    </a:lnTo>
                    <a:lnTo>
                      <a:pt x="266" y="284"/>
                    </a:lnTo>
                    <a:lnTo>
                      <a:pt x="261" y="284"/>
                    </a:lnTo>
                    <a:lnTo>
                      <a:pt x="258" y="284"/>
                    </a:lnTo>
                    <a:lnTo>
                      <a:pt x="255" y="285"/>
                    </a:lnTo>
                    <a:lnTo>
                      <a:pt x="252" y="285"/>
                    </a:lnTo>
                    <a:lnTo>
                      <a:pt x="247" y="289"/>
                    </a:lnTo>
                    <a:lnTo>
                      <a:pt x="244" y="290"/>
                    </a:lnTo>
                    <a:lnTo>
                      <a:pt x="241" y="290"/>
                    </a:lnTo>
                    <a:lnTo>
                      <a:pt x="237" y="289"/>
                    </a:lnTo>
                    <a:lnTo>
                      <a:pt x="233" y="289"/>
                    </a:lnTo>
                    <a:lnTo>
                      <a:pt x="230" y="289"/>
                    </a:lnTo>
                    <a:lnTo>
                      <a:pt x="226" y="289"/>
                    </a:lnTo>
                    <a:lnTo>
                      <a:pt x="225" y="293"/>
                    </a:lnTo>
                    <a:lnTo>
                      <a:pt x="222" y="293"/>
                    </a:lnTo>
                    <a:lnTo>
                      <a:pt x="217" y="293"/>
                    </a:lnTo>
                    <a:lnTo>
                      <a:pt x="214" y="293"/>
                    </a:lnTo>
                    <a:lnTo>
                      <a:pt x="210" y="292"/>
                    </a:lnTo>
                    <a:lnTo>
                      <a:pt x="206" y="292"/>
                    </a:lnTo>
                    <a:lnTo>
                      <a:pt x="203" y="293"/>
                    </a:lnTo>
                    <a:lnTo>
                      <a:pt x="206" y="295"/>
                    </a:lnTo>
                    <a:lnTo>
                      <a:pt x="210" y="298"/>
                    </a:lnTo>
                    <a:lnTo>
                      <a:pt x="210" y="303"/>
                    </a:lnTo>
                    <a:lnTo>
                      <a:pt x="215" y="301"/>
                    </a:lnTo>
                    <a:lnTo>
                      <a:pt x="210" y="304"/>
                    </a:lnTo>
                    <a:lnTo>
                      <a:pt x="207" y="304"/>
                    </a:lnTo>
                    <a:lnTo>
                      <a:pt x="204" y="308"/>
                    </a:lnTo>
                    <a:lnTo>
                      <a:pt x="206" y="309"/>
                    </a:lnTo>
                    <a:lnTo>
                      <a:pt x="206" y="312"/>
                    </a:lnTo>
                    <a:lnTo>
                      <a:pt x="203" y="311"/>
                    </a:lnTo>
                    <a:lnTo>
                      <a:pt x="201" y="308"/>
                    </a:lnTo>
                    <a:lnTo>
                      <a:pt x="203" y="304"/>
                    </a:lnTo>
                    <a:lnTo>
                      <a:pt x="206" y="304"/>
                    </a:lnTo>
                    <a:lnTo>
                      <a:pt x="209" y="301"/>
                    </a:lnTo>
                    <a:lnTo>
                      <a:pt x="207" y="298"/>
                    </a:lnTo>
                    <a:lnTo>
                      <a:pt x="204" y="295"/>
                    </a:lnTo>
                    <a:lnTo>
                      <a:pt x="201" y="293"/>
                    </a:lnTo>
                    <a:lnTo>
                      <a:pt x="198" y="292"/>
                    </a:lnTo>
                    <a:lnTo>
                      <a:pt x="195" y="292"/>
                    </a:lnTo>
                    <a:lnTo>
                      <a:pt x="191" y="290"/>
                    </a:lnTo>
                    <a:lnTo>
                      <a:pt x="187" y="289"/>
                    </a:lnTo>
                    <a:lnTo>
                      <a:pt x="184" y="287"/>
                    </a:lnTo>
                    <a:lnTo>
                      <a:pt x="180" y="287"/>
                    </a:lnTo>
                    <a:lnTo>
                      <a:pt x="177" y="289"/>
                    </a:lnTo>
                    <a:lnTo>
                      <a:pt x="172" y="287"/>
                    </a:lnTo>
                    <a:lnTo>
                      <a:pt x="172" y="287"/>
                    </a:lnTo>
                    <a:lnTo>
                      <a:pt x="169" y="285"/>
                    </a:lnTo>
                    <a:lnTo>
                      <a:pt x="164" y="287"/>
                    </a:lnTo>
                    <a:lnTo>
                      <a:pt x="164" y="290"/>
                    </a:lnTo>
                    <a:lnTo>
                      <a:pt x="161" y="290"/>
                    </a:lnTo>
                    <a:lnTo>
                      <a:pt x="160" y="293"/>
                    </a:lnTo>
                    <a:lnTo>
                      <a:pt x="160" y="297"/>
                    </a:lnTo>
                    <a:lnTo>
                      <a:pt x="152" y="298"/>
                    </a:lnTo>
                    <a:lnTo>
                      <a:pt x="142" y="301"/>
                    </a:lnTo>
                    <a:lnTo>
                      <a:pt x="131" y="308"/>
                    </a:lnTo>
                    <a:lnTo>
                      <a:pt x="122" y="314"/>
                    </a:lnTo>
                    <a:lnTo>
                      <a:pt x="126" y="314"/>
                    </a:lnTo>
                    <a:lnTo>
                      <a:pt x="123" y="317"/>
                    </a:lnTo>
                    <a:lnTo>
                      <a:pt x="123" y="319"/>
                    </a:lnTo>
                    <a:lnTo>
                      <a:pt x="125" y="322"/>
                    </a:lnTo>
                    <a:lnTo>
                      <a:pt x="126" y="325"/>
                    </a:lnTo>
                    <a:lnTo>
                      <a:pt x="130" y="327"/>
                    </a:lnTo>
                    <a:lnTo>
                      <a:pt x="133" y="328"/>
                    </a:lnTo>
                    <a:lnTo>
                      <a:pt x="138" y="330"/>
                    </a:lnTo>
                    <a:lnTo>
                      <a:pt x="141" y="328"/>
                    </a:lnTo>
                    <a:lnTo>
                      <a:pt x="144" y="328"/>
                    </a:lnTo>
                    <a:lnTo>
                      <a:pt x="149" y="330"/>
                    </a:lnTo>
                    <a:lnTo>
                      <a:pt x="152" y="331"/>
                    </a:lnTo>
                    <a:lnTo>
                      <a:pt x="155" y="331"/>
                    </a:lnTo>
                    <a:lnTo>
                      <a:pt x="155" y="328"/>
                    </a:lnTo>
                    <a:lnTo>
                      <a:pt x="158" y="328"/>
                    </a:lnTo>
                    <a:lnTo>
                      <a:pt x="163" y="328"/>
                    </a:lnTo>
                    <a:lnTo>
                      <a:pt x="166" y="328"/>
                    </a:lnTo>
                    <a:lnTo>
                      <a:pt x="169" y="328"/>
                    </a:lnTo>
                    <a:lnTo>
                      <a:pt x="172" y="325"/>
                    </a:lnTo>
                    <a:lnTo>
                      <a:pt x="177" y="325"/>
                    </a:lnTo>
                    <a:lnTo>
                      <a:pt x="180" y="325"/>
                    </a:lnTo>
                    <a:lnTo>
                      <a:pt x="184" y="325"/>
                    </a:lnTo>
                    <a:lnTo>
                      <a:pt x="184" y="322"/>
                    </a:lnTo>
                    <a:lnTo>
                      <a:pt x="187" y="324"/>
                    </a:lnTo>
                    <a:lnTo>
                      <a:pt x="187" y="319"/>
                    </a:lnTo>
                    <a:lnTo>
                      <a:pt x="190" y="317"/>
                    </a:lnTo>
                    <a:lnTo>
                      <a:pt x="196" y="320"/>
                    </a:lnTo>
                    <a:lnTo>
                      <a:pt x="201" y="322"/>
                    </a:lnTo>
                    <a:lnTo>
                      <a:pt x="204" y="320"/>
                    </a:lnTo>
                    <a:lnTo>
                      <a:pt x="207" y="324"/>
                    </a:lnTo>
                    <a:lnTo>
                      <a:pt x="212" y="325"/>
                    </a:lnTo>
                    <a:lnTo>
                      <a:pt x="217" y="324"/>
                    </a:lnTo>
                    <a:lnTo>
                      <a:pt x="220" y="320"/>
                    </a:lnTo>
                    <a:lnTo>
                      <a:pt x="223" y="316"/>
                    </a:lnTo>
                    <a:lnTo>
                      <a:pt x="218" y="314"/>
                    </a:lnTo>
                    <a:lnTo>
                      <a:pt x="215" y="311"/>
                    </a:lnTo>
                    <a:lnTo>
                      <a:pt x="223" y="311"/>
                    </a:lnTo>
                    <a:lnTo>
                      <a:pt x="226" y="308"/>
                    </a:lnTo>
                    <a:lnTo>
                      <a:pt x="230" y="306"/>
                    </a:lnTo>
                    <a:lnTo>
                      <a:pt x="226" y="309"/>
                    </a:lnTo>
                    <a:lnTo>
                      <a:pt x="223" y="311"/>
                    </a:lnTo>
                    <a:lnTo>
                      <a:pt x="225" y="316"/>
                    </a:lnTo>
                    <a:lnTo>
                      <a:pt x="228" y="317"/>
                    </a:lnTo>
                    <a:lnTo>
                      <a:pt x="231" y="314"/>
                    </a:lnTo>
                    <a:lnTo>
                      <a:pt x="234" y="314"/>
                    </a:lnTo>
                    <a:lnTo>
                      <a:pt x="237" y="312"/>
                    </a:lnTo>
                    <a:lnTo>
                      <a:pt x="237" y="316"/>
                    </a:lnTo>
                    <a:lnTo>
                      <a:pt x="233" y="317"/>
                    </a:lnTo>
                    <a:lnTo>
                      <a:pt x="237" y="319"/>
                    </a:lnTo>
                    <a:lnTo>
                      <a:pt x="233" y="319"/>
                    </a:lnTo>
                    <a:lnTo>
                      <a:pt x="233" y="324"/>
                    </a:lnTo>
                    <a:lnTo>
                      <a:pt x="230" y="325"/>
                    </a:lnTo>
                    <a:lnTo>
                      <a:pt x="233" y="325"/>
                    </a:lnTo>
                    <a:lnTo>
                      <a:pt x="236" y="322"/>
                    </a:lnTo>
                    <a:lnTo>
                      <a:pt x="239" y="320"/>
                    </a:lnTo>
                    <a:lnTo>
                      <a:pt x="239" y="317"/>
                    </a:lnTo>
                    <a:lnTo>
                      <a:pt x="244" y="319"/>
                    </a:lnTo>
                    <a:lnTo>
                      <a:pt x="247" y="319"/>
                    </a:lnTo>
                    <a:lnTo>
                      <a:pt x="249" y="316"/>
                    </a:lnTo>
                    <a:lnTo>
                      <a:pt x="252" y="317"/>
                    </a:lnTo>
                    <a:lnTo>
                      <a:pt x="250" y="320"/>
                    </a:lnTo>
                    <a:lnTo>
                      <a:pt x="253" y="320"/>
                    </a:lnTo>
                    <a:lnTo>
                      <a:pt x="256" y="316"/>
                    </a:lnTo>
                    <a:lnTo>
                      <a:pt x="261" y="317"/>
                    </a:lnTo>
                    <a:lnTo>
                      <a:pt x="256" y="319"/>
                    </a:lnTo>
                    <a:lnTo>
                      <a:pt x="253" y="320"/>
                    </a:lnTo>
                    <a:lnTo>
                      <a:pt x="250" y="324"/>
                    </a:lnTo>
                    <a:lnTo>
                      <a:pt x="250" y="327"/>
                    </a:lnTo>
                    <a:lnTo>
                      <a:pt x="253" y="328"/>
                    </a:lnTo>
                    <a:lnTo>
                      <a:pt x="253" y="331"/>
                    </a:lnTo>
                    <a:lnTo>
                      <a:pt x="256" y="331"/>
                    </a:lnTo>
                    <a:lnTo>
                      <a:pt x="256" y="336"/>
                    </a:lnTo>
                    <a:lnTo>
                      <a:pt x="258" y="339"/>
                    </a:lnTo>
                    <a:lnTo>
                      <a:pt x="261" y="336"/>
                    </a:lnTo>
                    <a:lnTo>
                      <a:pt x="261" y="339"/>
                    </a:lnTo>
                    <a:lnTo>
                      <a:pt x="258" y="343"/>
                    </a:lnTo>
                    <a:lnTo>
                      <a:pt x="261" y="346"/>
                    </a:lnTo>
                    <a:lnTo>
                      <a:pt x="266" y="344"/>
                    </a:lnTo>
                    <a:lnTo>
                      <a:pt x="269" y="343"/>
                    </a:lnTo>
                    <a:lnTo>
                      <a:pt x="272" y="343"/>
                    </a:lnTo>
                    <a:lnTo>
                      <a:pt x="269" y="344"/>
                    </a:lnTo>
                    <a:lnTo>
                      <a:pt x="266" y="347"/>
                    </a:lnTo>
                    <a:lnTo>
                      <a:pt x="263" y="350"/>
                    </a:lnTo>
                    <a:lnTo>
                      <a:pt x="266" y="349"/>
                    </a:lnTo>
                    <a:lnTo>
                      <a:pt x="269" y="349"/>
                    </a:lnTo>
                    <a:lnTo>
                      <a:pt x="272" y="349"/>
                    </a:lnTo>
                    <a:lnTo>
                      <a:pt x="277" y="349"/>
                    </a:lnTo>
                    <a:lnTo>
                      <a:pt x="272" y="347"/>
                    </a:lnTo>
                    <a:lnTo>
                      <a:pt x="277" y="346"/>
                    </a:lnTo>
                    <a:lnTo>
                      <a:pt x="279" y="349"/>
                    </a:lnTo>
                    <a:lnTo>
                      <a:pt x="282" y="349"/>
                    </a:lnTo>
                    <a:lnTo>
                      <a:pt x="283" y="352"/>
                    </a:lnTo>
                    <a:lnTo>
                      <a:pt x="287" y="352"/>
                    </a:lnTo>
                    <a:lnTo>
                      <a:pt x="291" y="354"/>
                    </a:lnTo>
                    <a:lnTo>
                      <a:pt x="287" y="355"/>
                    </a:lnTo>
                    <a:lnTo>
                      <a:pt x="283" y="357"/>
                    </a:lnTo>
                    <a:lnTo>
                      <a:pt x="280" y="358"/>
                    </a:lnTo>
                    <a:lnTo>
                      <a:pt x="277" y="360"/>
                    </a:lnTo>
                    <a:lnTo>
                      <a:pt x="272" y="360"/>
                    </a:lnTo>
                    <a:lnTo>
                      <a:pt x="269" y="358"/>
                    </a:lnTo>
                    <a:lnTo>
                      <a:pt x="266" y="358"/>
                    </a:lnTo>
                    <a:lnTo>
                      <a:pt x="263" y="358"/>
                    </a:lnTo>
                    <a:lnTo>
                      <a:pt x="266" y="360"/>
                    </a:lnTo>
                    <a:lnTo>
                      <a:pt x="269" y="362"/>
                    </a:lnTo>
                    <a:lnTo>
                      <a:pt x="269" y="365"/>
                    </a:lnTo>
                    <a:lnTo>
                      <a:pt x="269" y="368"/>
                    </a:lnTo>
                    <a:lnTo>
                      <a:pt x="272" y="371"/>
                    </a:lnTo>
                    <a:lnTo>
                      <a:pt x="276" y="373"/>
                    </a:lnTo>
                    <a:lnTo>
                      <a:pt x="279" y="373"/>
                    </a:lnTo>
                    <a:lnTo>
                      <a:pt x="282" y="373"/>
                    </a:lnTo>
                    <a:lnTo>
                      <a:pt x="287" y="371"/>
                    </a:lnTo>
                    <a:lnTo>
                      <a:pt x="290" y="370"/>
                    </a:lnTo>
                    <a:lnTo>
                      <a:pt x="287" y="373"/>
                    </a:lnTo>
                    <a:lnTo>
                      <a:pt x="283" y="374"/>
                    </a:lnTo>
                    <a:lnTo>
                      <a:pt x="280" y="374"/>
                    </a:lnTo>
                    <a:lnTo>
                      <a:pt x="283" y="376"/>
                    </a:lnTo>
                    <a:lnTo>
                      <a:pt x="287" y="377"/>
                    </a:lnTo>
                    <a:lnTo>
                      <a:pt x="290" y="379"/>
                    </a:lnTo>
                    <a:lnTo>
                      <a:pt x="295" y="381"/>
                    </a:lnTo>
                    <a:lnTo>
                      <a:pt x="298" y="384"/>
                    </a:lnTo>
                    <a:lnTo>
                      <a:pt x="301" y="384"/>
                    </a:lnTo>
                    <a:lnTo>
                      <a:pt x="304" y="384"/>
                    </a:lnTo>
                    <a:lnTo>
                      <a:pt x="306" y="384"/>
                    </a:lnTo>
                    <a:lnTo>
                      <a:pt x="309" y="384"/>
                    </a:lnTo>
                    <a:lnTo>
                      <a:pt x="314" y="382"/>
                    </a:lnTo>
                    <a:lnTo>
                      <a:pt x="317" y="384"/>
                    </a:lnTo>
                    <a:lnTo>
                      <a:pt x="320" y="384"/>
                    </a:lnTo>
                    <a:lnTo>
                      <a:pt x="323" y="384"/>
                    </a:lnTo>
                    <a:lnTo>
                      <a:pt x="320" y="385"/>
                    </a:lnTo>
                    <a:lnTo>
                      <a:pt x="317" y="387"/>
                    </a:lnTo>
                    <a:lnTo>
                      <a:pt x="317" y="390"/>
                    </a:lnTo>
                    <a:lnTo>
                      <a:pt x="320" y="390"/>
                    </a:lnTo>
                    <a:lnTo>
                      <a:pt x="320" y="395"/>
                    </a:lnTo>
                    <a:lnTo>
                      <a:pt x="323" y="398"/>
                    </a:lnTo>
                    <a:lnTo>
                      <a:pt x="331" y="398"/>
                    </a:lnTo>
                    <a:lnTo>
                      <a:pt x="334" y="403"/>
                    </a:lnTo>
                    <a:lnTo>
                      <a:pt x="337" y="403"/>
                    </a:lnTo>
                    <a:lnTo>
                      <a:pt x="348" y="404"/>
                    </a:lnTo>
                    <a:lnTo>
                      <a:pt x="360" y="406"/>
                    </a:lnTo>
                    <a:lnTo>
                      <a:pt x="363" y="406"/>
                    </a:lnTo>
                    <a:lnTo>
                      <a:pt x="366" y="406"/>
                    </a:lnTo>
                    <a:lnTo>
                      <a:pt x="369" y="409"/>
                    </a:lnTo>
                    <a:lnTo>
                      <a:pt x="372" y="411"/>
                    </a:lnTo>
                    <a:lnTo>
                      <a:pt x="377" y="411"/>
                    </a:lnTo>
                    <a:lnTo>
                      <a:pt x="380" y="411"/>
                    </a:lnTo>
                    <a:lnTo>
                      <a:pt x="385" y="414"/>
                    </a:lnTo>
                    <a:lnTo>
                      <a:pt x="388" y="417"/>
                    </a:lnTo>
                    <a:lnTo>
                      <a:pt x="393" y="417"/>
                    </a:lnTo>
                    <a:lnTo>
                      <a:pt x="401" y="415"/>
                    </a:lnTo>
                    <a:lnTo>
                      <a:pt x="401" y="412"/>
                    </a:lnTo>
                    <a:lnTo>
                      <a:pt x="399" y="409"/>
                    </a:lnTo>
                    <a:lnTo>
                      <a:pt x="404" y="409"/>
                    </a:lnTo>
                    <a:lnTo>
                      <a:pt x="407" y="406"/>
                    </a:lnTo>
                    <a:lnTo>
                      <a:pt x="402" y="403"/>
                    </a:lnTo>
                    <a:lnTo>
                      <a:pt x="404" y="400"/>
                    </a:lnTo>
                    <a:lnTo>
                      <a:pt x="401" y="400"/>
                    </a:lnTo>
                    <a:lnTo>
                      <a:pt x="396" y="400"/>
                    </a:lnTo>
                    <a:lnTo>
                      <a:pt x="401" y="398"/>
                    </a:lnTo>
                    <a:lnTo>
                      <a:pt x="398" y="396"/>
                    </a:lnTo>
                    <a:lnTo>
                      <a:pt x="399" y="393"/>
                    </a:lnTo>
                    <a:lnTo>
                      <a:pt x="398" y="390"/>
                    </a:lnTo>
                    <a:lnTo>
                      <a:pt x="394" y="389"/>
                    </a:lnTo>
                    <a:lnTo>
                      <a:pt x="391" y="387"/>
                    </a:lnTo>
                    <a:lnTo>
                      <a:pt x="388" y="387"/>
                    </a:lnTo>
                    <a:lnTo>
                      <a:pt x="388" y="384"/>
                    </a:lnTo>
                    <a:lnTo>
                      <a:pt x="385" y="382"/>
                    </a:lnTo>
                    <a:lnTo>
                      <a:pt x="385" y="379"/>
                    </a:lnTo>
                    <a:lnTo>
                      <a:pt x="382" y="376"/>
                    </a:lnTo>
                    <a:lnTo>
                      <a:pt x="379" y="377"/>
                    </a:lnTo>
                    <a:lnTo>
                      <a:pt x="382" y="376"/>
                    </a:lnTo>
                    <a:lnTo>
                      <a:pt x="377" y="374"/>
                    </a:lnTo>
                    <a:lnTo>
                      <a:pt x="374" y="377"/>
                    </a:lnTo>
                    <a:lnTo>
                      <a:pt x="377" y="374"/>
                    </a:lnTo>
                    <a:lnTo>
                      <a:pt x="380" y="373"/>
                    </a:lnTo>
                    <a:lnTo>
                      <a:pt x="377" y="373"/>
                    </a:lnTo>
                    <a:lnTo>
                      <a:pt x="372" y="371"/>
                    </a:lnTo>
                    <a:lnTo>
                      <a:pt x="369" y="370"/>
                    </a:lnTo>
                    <a:lnTo>
                      <a:pt x="366" y="368"/>
                    </a:lnTo>
                    <a:lnTo>
                      <a:pt x="366" y="365"/>
                    </a:lnTo>
                    <a:lnTo>
                      <a:pt x="364" y="362"/>
                    </a:lnTo>
                    <a:lnTo>
                      <a:pt x="361" y="357"/>
                    </a:lnTo>
                    <a:lnTo>
                      <a:pt x="360" y="354"/>
                    </a:lnTo>
                    <a:lnTo>
                      <a:pt x="358" y="350"/>
                    </a:lnTo>
                    <a:lnTo>
                      <a:pt x="361" y="349"/>
                    </a:lnTo>
                    <a:lnTo>
                      <a:pt x="366" y="347"/>
                    </a:lnTo>
                    <a:lnTo>
                      <a:pt x="369" y="349"/>
                    </a:lnTo>
                    <a:lnTo>
                      <a:pt x="372" y="352"/>
                    </a:lnTo>
                    <a:lnTo>
                      <a:pt x="375" y="350"/>
                    </a:lnTo>
                    <a:lnTo>
                      <a:pt x="375" y="354"/>
                    </a:lnTo>
                    <a:lnTo>
                      <a:pt x="379" y="355"/>
                    </a:lnTo>
                    <a:lnTo>
                      <a:pt x="382" y="360"/>
                    </a:lnTo>
                    <a:lnTo>
                      <a:pt x="385" y="362"/>
                    </a:lnTo>
                    <a:lnTo>
                      <a:pt x="387" y="358"/>
                    </a:lnTo>
                    <a:lnTo>
                      <a:pt x="385" y="354"/>
                    </a:lnTo>
                    <a:lnTo>
                      <a:pt x="387" y="350"/>
                    </a:lnTo>
                    <a:lnTo>
                      <a:pt x="387" y="347"/>
                    </a:lnTo>
                    <a:lnTo>
                      <a:pt x="388" y="350"/>
                    </a:lnTo>
                    <a:lnTo>
                      <a:pt x="391" y="355"/>
                    </a:lnTo>
                    <a:lnTo>
                      <a:pt x="391" y="358"/>
                    </a:lnTo>
                    <a:lnTo>
                      <a:pt x="394" y="362"/>
                    </a:lnTo>
                    <a:lnTo>
                      <a:pt x="396" y="365"/>
                    </a:lnTo>
                    <a:lnTo>
                      <a:pt x="401" y="365"/>
                    </a:lnTo>
                    <a:lnTo>
                      <a:pt x="402" y="362"/>
                    </a:lnTo>
                    <a:lnTo>
                      <a:pt x="402" y="365"/>
                    </a:lnTo>
                    <a:lnTo>
                      <a:pt x="402" y="368"/>
                    </a:lnTo>
                    <a:lnTo>
                      <a:pt x="402" y="370"/>
                    </a:lnTo>
                    <a:lnTo>
                      <a:pt x="406" y="366"/>
                    </a:lnTo>
                    <a:lnTo>
                      <a:pt x="406" y="370"/>
                    </a:lnTo>
                    <a:lnTo>
                      <a:pt x="404" y="373"/>
                    </a:lnTo>
                    <a:lnTo>
                      <a:pt x="407" y="376"/>
                    </a:lnTo>
                    <a:lnTo>
                      <a:pt x="407" y="373"/>
                    </a:lnTo>
                    <a:lnTo>
                      <a:pt x="410" y="371"/>
                    </a:lnTo>
                    <a:lnTo>
                      <a:pt x="412" y="368"/>
                    </a:lnTo>
                    <a:lnTo>
                      <a:pt x="410" y="365"/>
                    </a:lnTo>
                    <a:lnTo>
                      <a:pt x="412" y="368"/>
                    </a:lnTo>
                    <a:lnTo>
                      <a:pt x="412" y="373"/>
                    </a:lnTo>
                    <a:lnTo>
                      <a:pt x="413" y="376"/>
                    </a:lnTo>
                    <a:lnTo>
                      <a:pt x="417" y="376"/>
                    </a:lnTo>
                    <a:lnTo>
                      <a:pt x="418" y="377"/>
                    </a:lnTo>
                    <a:lnTo>
                      <a:pt x="418" y="374"/>
                    </a:lnTo>
                    <a:lnTo>
                      <a:pt x="418" y="371"/>
                    </a:lnTo>
                    <a:lnTo>
                      <a:pt x="421" y="374"/>
                    </a:lnTo>
                    <a:lnTo>
                      <a:pt x="425" y="376"/>
                    </a:lnTo>
                    <a:lnTo>
                      <a:pt x="428" y="374"/>
                    </a:lnTo>
                    <a:lnTo>
                      <a:pt x="425" y="377"/>
                    </a:lnTo>
                    <a:lnTo>
                      <a:pt x="428" y="377"/>
                    </a:lnTo>
                    <a:lnTo>
                      <a:pt x="431" y="374"/>
                    </a:lnTo>
                    <a:lnTo>
                      <a:pt x="429" y="377"/>
                    </a:lnTo>
                    <a:lnTo>
                      <a:pt x="431" y="381"/>
                    </a:lnTo>
                    <a:lnTo>
                      <a:pt x="434" y="382"/>
                    </a:lnTo>
                    <a:lnTo>
                      <a:pt x="437" y="381"/>
                    </a:lnTo>
                    <a:lnTo>
                      <a:pt x="440" y="377"/>
                    </a:lnTo>
                    <a:lnTo>
                      <a:pt x="440" y="381"/>
                    </a:lnTo>
                    <a:lnTo>
                      <a:pt x="437" y="382"/>
                    </a:lnTo>
                    <a:lnTo>
                      <a:pt x="436" y="385"/>
                    </a:lnTo>
                    <a:lnTo>
                      <a:pt x="436" y="389"/>
                    </a:lnTo>
                    <a:lnTo>
                      <a:pt x="440" y="390"/>
                    </a:lnTo>
                    <a:lnTo>
                      <a:pt x="444" y="390"/>
                    </a:lnTo>
                    <a:lnTo>
                      <a:pt x="447" y="385"/>
                    </a:lnTo>
                    <a:lnTo>
                      <a:pt x="445" y="382"/>
                    </a:lnTo>
                    <a:lnTo>
                      <a:pt x="444" y="379"/>
                    </a:lnTo>
                    <a:lnTo>
                      <a:pt x="444" y="376"/>
                    </a:lnTo>
                    <a:lnTo>
                      <a:pt x="447" y="376"/>
                    </a:lnTo>
                    <a:lnTo>
                      <a:pt x="452" y="379"/>
                    </a:lnTo>
                    <a:lnTo>
                      <a:pt x="455" y="381"/>
                    </a:lnTo>
                    <a:lnTo>
                      <a:pt x="458" y="379"/>
                    </a:lnTo>
                    <a:lnTo>
                      <a:pt x="458" y="376"/>
                    </a:lnTo>
                    <a:lnTo>
                      <a:pt x="458" y="373"/>
                    </a:lnTo>
                    <a:lnTo>
                      <a:pt x="458" y="368"/>
                    </a:lnTo>
                    <a:lnTo>
                      <a:pt x="455" y="370"/>
                    </a:lnTo>
                    <a:lnTo>
                      <a:pt x="453" y="366"/>
                    </a:lnTo>
                    <a:lnTo>
                      <a:pt x="458" y="366"/>
                    </a:lnTo>
                    <a:lnTo>
                      <a:pt x="461" y="363"/>
                    </a:lnTo>
                    <a:lnTo>
                      <a:pt x="456" y="360"/>
                    </a:lnTo>
                    <a:lnTo>
                      <a:pt x="461" y="358"/>
                    </a:lnTo>
                    <a:lnTo>
                      <a:pt x="461" y="355"/>
                    </a:lnTo>
                    <a:lnTo>
                      <a:pt x="464" y="354"/>
                    </a:lnTo>
                    <a:lnTo>
                      <a:pt x="463" y="350"/>
                    </a:lnTo>
                    <a:lnTo>
                      <a:pt x="461" y="347"/>
                    </a:lnTo>
                    <a:lnTo>
                      <a:pt x="464" y="350"/>
                    </a:lnTo>
                    <a:lnTo>
                      <a:pt x="466" y="355"/>
                    </a:lnTo>
                    <a:lnTo>
                      <a:pt x="466" y="360"/>
                    </a:lnTo>
                    <a:lnTo>
                      <a:pt x="466" y="365"/>
                    </a:lnTo>
                    <a:lnTo>
                      <a:pt x="471" y="366"/>
                    </a:lnTo>
                    <a:lnTo>
                      <a:pt x="472" y="365"/>
                    </a:lnTo>
                    <a:lnTo>
                      <a:pt x="471" y="360"/>
                    </a:lnTo>
                    <a:lnTo>
                      <a:pt x="474" y="360"/>
                    </a:lnTo>
                    <a:lnTo>
                      <a:pt x="475" y="357"/>
                    </a:lnTo>
                    <a:lnTo>
                      <a:pt x="475" y="354"/>
                    </a:lnTo>
                    <a:lnTo>
                      <a:pt x="479" y="349"/>
                    </a:lnTo>
                    <a:lnTo>
                      <a:pt x="475" y="347"/>
                    </a:lnTo>
                    <a:lnTo>
                      <a:pt x="472" y="347"/>
                    </a:lnTo>
                    <a:lnTo>
                      <a:pt x="472" y="344"/>
                    </a:lnTo>
                    <a:lnTo>
                      <a:pt x="475" y="347"/>
                    </a:lnTo>
                    <a:lnTo>
                      <a:pt x="480" y="349"/>
                    </a:lnTo>
                    <a:lnTo>
                      <a:pt x="483" y="350"/>
                    </a:lnTo>
                    <a:lnTo>
                      <a:pt x="480" y="347"/>
                    </a:lnTo>
                    <a:lnTo>
                      <a:pt x="483" y="344"/>
                    </a:lnTo>
                    <a:lnTo>
                      <a:pt x="483" y="343"/>
                    </a:lnTo>
                    <a:lnTo>
                      <a:pt x="480" y="343"/>
                    </a:lnTo>
                    <a:lnTo>
                      <a:pt x="477" y="344"/>
                    </a:lnTo>
                    <a:lnTo>
                      <a:pt x="472" y="344"/>
                    </a:lnTo>
                    <a:lnTo>
                      <a:pt x="474" y="344"/>
                    </a:lnTo>
                    <a:lnTo>
                      <a:pt x="477" y="341"/>
                    </a:lnTo>
                    <a:lnTo>
                      <a:pt x="480" y="339"/>
                    </a:lnTo>
                    <a:lnTo>
                      <a:pt x="477" y="338"/>
                    </a:lnTo>
                    <a:lnTo>
                      <a:pt x="474" y="338"/>
                    </a:lnTo>
                    <a:lnTo>
                      <a:pt x="469" y="338"/>
                    </a:lnTo>
                    <a:lnTo>
                      <a:pt x="472" y="336"/>
                    </a:lnTo>
                    <a:lnTo>
                      <a:pt x="469" y="336"/>
                    </a:lnTo>
                    <a:lnTo>
                      <a:pt x="471" y="333"/>
                    </a:lnTo>
                    <a:lnTo>
                      <a:pt x="466" y="333"/>
                    </a:lnTo>
                    <a:lnTo>
                      <a:pt x="471" y="331"/>
                    </a:lnTo>
                    <a:lnTo>
                      <a:pt x="467" y="330"/>
                    </a:lnTo>
                    <a:lnTo>
                      <a:pt x="464" y="330"/>
                    </a:lnTo>
                    <a:lnTo>
                      <a:pt x="467" y="327"/>
                    </a:lnTo>
                    <a:lnTo>
                      <a:pt x="472" y="328"/>
                    </a:lnTo>
                    <a:lnTo>
                      <a:pt x="475" y="327"/>
                    </a:lnTo>
                    <a:lnTo>
                      <a:pt x="479" y="324"/>
                    </a:lnTo>
                    <a:lnTo>
                      <a:pt x="482" y="320"/>
                    </a:lnTo>
                    <a:lnTo>
                      <a:pt x="477" y="320"/>
                    </a:lnTo>
                    <a:lnTo>
                      <a:pt x="474" y="322"/>
                    </a:lnTo>
                    <a:lnTo>
                      <a:pt x="472" y="324"/>
                    </a:lnTo>
                    <a:lnTo>
                      <a:pt x="475" y="320"/>
                    </a:lnTo>
                    <a:lnTo>
                      <a:pt x="472" y="320"/>
                    </a:lnTo>
                    <a:lnTo>
                      <a:pt x="467" y="320"/>
                    </a:lnTo>
                    <a:lnTo>
                      <a:pt x="464" y="320"/>
                    </a:lnTo>
                    <a:lnTo>
                      <a:pt x="466" y="317"/>
                    </a:lnTo>
                    <a:lnTo>
                      <a:pt x="469" y="316"/>
                    </a:lnTo>
                    <a:lnTo>
                      <a:pt x="472" y="314"/>
                    </a:lnTo>
                    <a:lnTo>
                      <a:pt x="469" y="314"/>
                    </a:lnTo>
                    <a:lnTo>
                      <a:pt x="472" y="309"/>
                    </a:lnTo>
                    <a:lnTo>
                      <a:pt x="469" y="308"/>
                    </a:lnTo>
                    <a:lnTo>
                      <a:pt x="466" y="309"/>
                    </a:lnTo>
                    <a:lnTo>
                      <a:pt x="464" y="312"/>
                    </a:lnTo>
                    <a:lnTo>
                      <a:pt x="461" y="314"/>
                    </a:lnTo>
                    <a:lnTo>
                      <a:pt x="463" y="309"/>
                    </a:lnTo>
                    <a:lnTo>
                      <a:pt x="459" y="311"/>
                    </a:lnTo>
                    <a:lnTo>
                      <a:pt x="456" y="314"/>
                    </a:lnTo>
                    <a:lnTo>
                      <a:pt x="455" y="314"/>
                    </a:lnTo>
                    <a:lnTo>
                      <a:pt x="458" y="311"/>
                    </a:lnTo>
                    <a:lnTo>
                      <a:pt x="459" y="308"/>
                    </a:lnTo>
                    <a:lnTo>
                      <a:pt x="456" y="308"/>
                    </a:lnTo>
                    <a:lnTo>
                      <a:pt x="453" y="304"/>
                    </a:lnTo>
                    <a:lnTo>
                      <a:pt x="452" y="301"/>
                    </a:lnTo>
                    <a:lnTo>
                      <a:pt x="448" y="304"/>
                    </a:lnTo>
                    <a:lnTo>
                      <a:pt x="445" y="309"/>
                    </a:lnTo>
                    <a:lnTo>
                      <a:pt x="445" y="304"/>
                    </a:lnTo>
                    <a:lnTo>
                      <a:pt x="447" y="301"/>
                    </a:lnTo>
                    <a:lnTo>
                      <a:pt x="444" y="301"/>
                    </a:lnTo>
                    <a:lnTo>
                      <a:pt x="447" y="300"/>
                    </a:lnTo>
                    <a:lnTo>
                      <a:pt x="450" y="297"/>
                    </a:lnTo>
                    <a:lnTo>
                      <a:pt x="447" y="298"/>
                    </a:lnTo>
                    <a:lnTo>
                      <a:pt x="444" y="300"/>
                    </a:lnTo>
                    <a:lnTo>
                      <a:pt x="439" y="300"/>
                    </a:lnTo>
                    <a:lnTo>
                      <a:pt x="444" y="298"/>
                    </a:lnTo>
                    <a:lnTo>
                      <a:pt x="447" y="295"/>
                    </a:lnTo>
                    <a:lnTo>
                      <a:pt x="442" y="295"/>
                    </a:lnTo>
                    <a:lnTo>
                      <a:pt x="444" y="292"/>
                    </a:lnTo>
                    <a:lnTo>
                      <a:pt x="440" y="290"/>
                    </a:lnTo>
                    <a:lnTo>
                      <a:pt x="436" y="290"/>
                    </a:lnTo>
                    <a:lnTo>
                      <a:pt x="440" y="290"/>
                    </a:lnTo>
                    <a:lnTo>
                      <a:pt x="444" y="290"/>
                    </a:lnTo>
                    <a:lnTo>
                      <a:pt x="447" y="287"/>
                    </a:lnTo>
                    <a:lnTo>
                      <a:pt x="448" y="285"/>
                    </a:lnTo>
                    <a:lnTo>
                      <a:pt x="445" y="285"/>
                    </a:lnTo>
                    <a:lnTo>
                      <a:pt x="440" y="287"/>
                    </a:lnTo>
                    <a:lnTo>
                      <a:pt x="442" y="282"/>
                    </a:lnTo>
                    <a:lnTo>
                      <a:pt x="445" y="281"/>
                    </a:lnTo>
                    <a:lnTo>
                      <a:pt x="442" y="279"/>
                    </a:lnTo>
                    <a:lnTo>
                      <a:pt x="439" y="279"/>
                    </a:lnTo>
                    <a:lnTo>
                      <a:pt x="434" y="279"/>
                    </a:lnTo>
                    <a:lnTo>
                      <a:pt x="431" y="281"/>
                    </a:lnTo>
                    <a:lnTo>
                      <a:pt x="428" y="282"/>
                    </a:lnTo>
                    <a:lnTo>
                      <a:pt x="425" y="284"/>
                    </a:lnTo>
                    <a:lnTo>
                      <a:pt x="428" y="281"/>
                    </a:lnTo>
                    <a:lnTo>
                      <a:pt x="431" y="278"/>
                    </a:lnTo>
                    <a:lnTo>
                      <a:pt x="434" y="274"/>
                    </a:lnTo>
                    <a:lnTo>
                      <a:pt x="431" y="274"/>
                    </a:lnTo>
                    <a:lnTo>
                      <a:pt x="428" y="274"/>
                    </a:lnTo>
                    <a:lnTo>
                      <a:pt x="429" y="271"/>
                    </a:lnTo>
                    <a:lnTo>
                      <a:pt x="425" y="270"/>
                    </a:lnTo>
                    <a:lnTo>
                      <a:pt x="429" y="268"/>
                    </a:lnTo>
                    <a:lnTo>
                      <a:pt x="426" y="265"/>
                    </a:lnTo>
                    <a:lnTo>
                      <a:pt x="431" y="268"/>
                    </a:lnTo>
                    <a:lnTo>
                      <a:pt x="434" y="266"/>
                    </a:lnTo>
                    <a:lnTo>
                      <a:pt x="434" y="263"/>
                    </a:lnTo>
                    <a:lnTo>
                      <a:pt x="431" y="263"/>
                    </a:lnTo>
                    <a:lnTo>
                      <a:pt x="428" y="260"/>
                    </a:lnTo>
                    <a:lnTo>
                      <a:pt x="425" y="260"/>
                    </a:lnTo>
                    <a:lnTo>
                      <a:pt x="420" y="260"/>
                    </a:lnTo>
                    <a:lnTo>
                      <a:pt x="417" y="260"/>
                    </a:lnTo>
                    <a:lnTo>
                      <a:pt x="420" y="260"/>
                    </a:lnTo>
                    <a:lnTo>
                      <a:pt x="423" y="260"/>
                    </a:lnTo>
                    <a:lnTo>
                      <a:pt x="428" y="259"/>
                    </a:lnTo>
                    <a:lnTo>
                      <a:pt x="431" y="259"/>
                    </a:lnTo>
                    <a:lnTo>
                      <a:pt x="434" y="262"/>
                    </a:lnTo>
                    <a:lnTo>
                      <a:pt x="437" y="263"/>
                    </a:lnTo>
                    <a:lnTo>
                      <a:pt x="434" y="266"/>
                    </a:lnTo>
                    <a:lnTo>
                      <a:pt x="434" y="270"/>
                    </a:lnTo>
                    <a:lnTo>
                      <a:pt x="439" y="271"/>
                    </a:lnTo>
                    <a:lnTo>
                      <a:pt x="442" y="270"/>
                    </a:lnTo>
                    <a:lnTo>
                      <a:pt x="445" y="270"/>
                    </a:lnTo>
                    <a:lnTo>
                      <a:pt x="448" y="270"/>
                    </a:lnTo>
                    <a:lnTo>
                      <a:pt x="453" y="270"/>
                    </a:lnTo>
                    <a:lnTo>
                      <a:pt x="456" y="270"/>
                    </a:lnTo>
                    <a:lnTo>
                      <a:pt x="458" y="266"/>
                    </a:lnTo>
                    <a:lnTo>
                      <a:pt x="455" y="263"/>
                    </a:lnTo>
                    <a:lnTo>
                      <a:pt x="448" y="259"/>
                    </a:lnTo>
                    <a:lnTo>
                      <a:pt x="450" y="255"/>
                    </a:lnTo>
                    <a:lnTo>
                      <a:pt x="448" y="251"/>
                    </a:lnTo>
                    <a:lnTo>
                      <a:pt x="452" y="251"/>
                    </a:lnTo>
                    <a:lnTo>
                      <a:pt x="456" y="252"/>
                    </a:lnTo>
                    <a:lnTo>
                      <a:pt x="456" y="252"/>
                    </a:lnTo>
                    <a:lnTo>
                      <a:pt x="458" y="255"/>
                    </a:lnTo>
                    <a:lnTo>
                      <a:pt x="461" y="257"/>
                    </a:lnTo>
                    <a:lnTo>
                      <a:pt x="464" y="255"/>
                    </a:lnTo>
                    <a:lnTo>
                      <a:pt x="461" y="252"/>
                    </a:lnTo>
                    <a:lnTo>
                      <a:pt x="464" y="252"/>
                    </a:lnTo>
                    <a:lnTo>
                      <a:pt x="467" y="251"/>
                    </a:lnTo>
                    <a:lnTo>
                      <a:pt x="466" y="247"/>
                    </a:lnTo>
                    <a:lnTo>
                      <a:pt x="461" y="247"/>
                    </a:lnTo>
                    <a:lnTo>
                      <a:pt x="458" y="247"/>
                    </a:lnTo>
                    <a:lnTo>
                      <a:pt x="461" y="246"/>
                    </a:lnTo>
                    <a:lnTo>
                      <a:pt x="466" y="246"/>
                    </a:lnTo>
                    <a:lnTo>
                      <a:pt x="469" y="247"/>
                    </a:lnTo>
                    <a:lnTo>
                      <a:pt x="472" y="247"/>
                    </a:lnTo>
                    <a:lnTo>
                      <a:pt x="475" y="247"/>
                    </a:lnTo>
                    <a:lnTo>
                      <a:pt x="475" y="244"/>
                    </a:lnTo>
                    <a:lnTo>
                      <a:pt x="479" y="246"/>
                    </a:lnTo>
                    <a:lnTo>
                      <a:pt x="479" y="246"/>
                    </a:lnTo>
                    <a:lnTo>
                      <a:pt x="482" y="246"/>
                    </a:lnTo>
                    <a:lnTo>
                      <a:pt x="479" y="247"/>
                    </a:lnTo>
                    <a:lnTo>
                      <a:pt x="477" y="251"/>
                    </a:lnTo>
                    <a:lnTo>
                      <a:pt x="482" y="254"/>
                    </a:lnTo>
                    <a:lnTo>
                      <a:pt x="485" y="252"/>
                    </a:lnTo>
                    <a:lnTo>
                      <a:pt x="483" y="255"/>
                    </a:lnTo>
                    <a:lnTo>
                      <a:pt x="480" y="259"/>
                    </a:lnTo>
                    <a:lnTo>
                      <a:pt x="483" y="260"/>
                    </a:lnTo>
                    <a:lnTo>
                      <a:pt x="486" y="259"/>
                    </a:lnTo>
                    <a:lnTo>
                      <a:pt x="491" y="257"/>
                    </a:lnTo>
                    <a:lnTo>
                      <a:pt x="488" y="259"/>
                    </a:lnTo>
                    <a:lnTo>
                      <a:pt x="490" y="263"/>
                    </a:lnTo>
                    <a:lnTo>
                      <a:pt x="493" y="263"/>
                    </a:lnTo>
                    <a:lnTo>
                      <a:pt x="496" y="262"/>
                    </a:lnTo>
                    <a:lnTo>
                      <a:pt x="501" y="260"/>
                    </a:lnTo>
                    <a:lnTo>
                      <a:pt x="504" y="259"/>
                    </a:lnTo>
                    <a:lnTo>
                      <a:pt x="507" y="257"/>
                    </a:lnTo>
                    <a:lnTo>
                      <a:pt x="510" y="254"/>
                    </a:lnTo>
                    <a:lnTo>
                      <a:pt x="512" y="254"/>
                    </a:lnTo>
                    <a:lnTo>
                      <a:pt x="501" y="262"/>
                    </a:lnTo>
                    <a:lnTo>
                      <a:pt x="491" y="265"/>
                    </a:lnTo>
                    <a:lnTo>
                      <a:pt x="491" y="268"/>
                    </a:lnTo>
                    <a:lnTo>
                      <a:pt x="494" y="268"/>
                    </a:lnTo>
                    <a:lnTo>
                      <a:pt x="502" y="268"/>
                    </a:lnTo>
                    <a:lnTo>
                      <a:pt x="505" y="268"/>
                    </a:lnTo>
                    <a:lnTo>
                      <a:pt x="509" y="265"/>
                    </a:lnTo>
                    <a:lnTo>
                      <a:pt x="513" y="265"/>
                    </a:lnTo>
                    <a:lnTo>
                      <a:pt x="517" y="265"/>
                    </a:lnTo>
                    <a:lnTo>
                      <a:pt x="520" y="263"/>
                    </a:lnTo>
                    <a:lnTo>
                      <a:pt x="523" y="262"/>
                    </a:lnTo>
                    <a:lnTo>
                      <a:pt x="528" y="259"/>
                    </a:lnTo>
                    <a:lnTo>
                      <a:pt x="531" y="257"/>
                    </a:lnTo>
                    <a:lnTo>
                      <a:pt x="534" y="255"/>
                    </a:lnTo>
                    <a:lnTo>
                      <a:pt x="537" y="255"/>
                    </a:lnTo>
                    <a:lnTo>
                      <a:pt x="542" y="254"/>
                    </a:lnTo>
                    <a:lnTo>
                      <a:pt x="537" y="255"/>
                    </a:lnTo>
                    <a:lnTo>
                      <a:pt x="534" y="257"/>
                    </a:lnTo>
                    <a:lnTo>
                      <a:pt x="531" y="259"/>
                    </a:lnTo>
                    <a:lnTo>
                      <a:pt x="528" y="260"/>
                    </a:lnTo>
                    <a:lnTo>
                      <a:pt x="523" y="265"/>
                    </a:lnTo>
                    <a:lnTo>
                      <a:pt x="523" y="268"/>
                    </a:lnTo>
                    <a:lnTo>
                      <a:pt x="520" y="268"/>
                    </a:lnTo>
                    <a:lnTo>
                      <a:pt x="517" y="268"/>
                    </a:lnTo>
                    <a:lnTo>
                      <a:pt x="513" y="268"/>
                    </a:lnTo>
                    <a:lnTo>
                      <a:pt x="509" y="270"/>
                    </a:lnTo>
                    <a:lnTo>
                      <a:pt x="505" y="270"/>
                    </a:lnTo>
                    <a:lnTo>
                      <a:pt x="502" y="271"/>
                    </a:lnTo>
                    <a:lnTo>
                      <a:pt x="499" y="274"/>
                    </a:lnTo>
                    <a:lnTo>
                      <a:pt x="498" y="278"/>
                    </a:lnTo>
                    <a:lnTo>
                      <a:pt x="507" y="278"/>
                    </a:lnTo>
                    <a:lnTo>
                      <a:pt x="515" y="276"/>
                    </a:lnTo>
                    <a:lnTo>
                      <a:pt x="510" y="278"/>
                    </a:lnTo>
                    <a:lnTo>
                      <a:pt x="507" y="278"/>
                    </a:lnTo>
                    <a:lnTo>
                      <a:pt x="504" y="279"/>
                    </a:lnTo>
                    <a:lnTo>
                      <a:pt x="501" y="279"/>
                    </a:lnTo>
                    <a:lnTo>
                      <a:pt x="504" y="282"/>
                    </a:lnTo>
                    <a:lnTo>
                      <a:pt x="507" y="282"/>
                    </a:lnTo>
                    <a:lnTo>
                      <a:pt x="510" y="281"/>
                    </a:lnTo>
                    <a:lnTo>
                      <a:pt x="515" y="279"/>
                    </a:lnTo>
                    <a:lnTo>
                      <a:pt x="510" y="282"/>
                    </a:lnTo>
                    <a:lnTo>
                      <a:pt x="507" y="284"/>
                    </a:lnTo>
                    <a:lnTo>
                      <a:pt x="504" y="284"/>
                    </a:lnTo>
                    <a:lnTo>
                      <a:pt x="501" y="287"/>
                    </a:lnTo>
                    <a:lnTo>
                      <a:pt x="501" y="289"/>
                    </a:lnTo>
                    <a:lnTo>
                      <a:pt x="510" y="287"/>
                    </a:lnTo>
                    <a:lnTo>
                      <a:pt x="518" y="287"/>
                    </a:lnTo>
                    <a:lnTo>
                      <a:pt x="515" y="287"/>
                    </a:lnTo>
                    <a:lnTo>
                      <a:pt x="512" y="289"/>
                    </a:lnTo>
                    <a:lnTo>
                      <a:pt x="509" y="290"/>
                    </a:lnTo>
                    <a:lnTo>
                      <a:pt x="504" y="292"/>
                    </a:lnTo>
                    <a:lnTo>
                      <a:pt x="509" y="293"/>
                    </a:lnTo>
                    <a:lnTo>
                      <a:pt x="505" y="297"/>
                    </a:lnTo>
                    <a:lnTo>
                      <a:pt x="510" y="300"/>
                    </a:lnTo>
                    <a:lnTo>
                      <a:pt x="513" y="297"/>
                    </a:lnTo>
                    <a:lnTo>
                      <a:pt x="515" y="292"/>
                    </a:lnTo>
                    <a:lnTo>
                      <a:pt x="518" y="290"/>
                    </a:lnTo>
                    <a:lnTo>
                      <a:pt x="523" y="289"/>
                    </a:lnTo>
                    <a:lnTo>
                      <a:pt x="518" y="292"/>
                    </a:lnTo>
                    <a:lnTo>
                      <a:pt x="517" y="295"/>
                    </a:lnTo>
                    <a:lnTo>
                      <a:pt x="520" y="297"/>
                    </a:lnTo>
                    <a:lnTo>
                      <a:pt x="523" y="295"/>
                    </a:lnTo>
                    <a:lnTo>
                      <a:pt x="520" y="297"/>
                    </a:lnTo>
                    <a:lnTo>
                      <a:pt x="520" y="301"/>
                    </a:lnTo>
                    <a:lnTo>
                      <a:pt x="523" y="298"/>
                    </a:lnTo>
                    <a:lnTo>
                      <a:pt x="526" y="298"/>
                    </a:lnTo>
                    <a:lnTo>
                      <a:pt x="529" y="297"/>
                    </a:lnTo>
                    <a:lnTo>
                      <a:pt x="528" y="300"/>
                    </a:lnTo>
                    <a:lnTo>
                      <a:pt x="531" y="301"/>
                    </a:lnTo>
                    <a:lnTo>
                      <a:pt x="528" y="301"/>
                    </a:lnTo>
                    <a:lnTo>
                      <a:pt x="531" y="303"/>
                    </a:lnTo>
                    <a:lnTo>
                      <a:pt x="532" y="306"/>
                    </a:lnTo>
                    <a:lnTo>
                      <a:pt x="536" y="303"/>
                    </a:lnTo>
                    <a:lnTo>
                      <a:pt x="539" y="301"/>
                    </a:lnTo>
                    <a:lnTo>
                      <a:pt x="542" y="298"/>
                    </a:lnTo>
                    <a:lnTo>
                      <a:pt x="545" y="295"/>
                    </a:lnTo>
                    <a:lnTo>
                      <a:pt x="547" y="292"/>
                    </a:lnTo>
                    <a:lnTo>
                      <a:pt x="545" y="287"/>
                    </a:lnTo>
                    <a:lnTo>
                      <a:pt x="548" y="287"/>
                    </a:lnTo>
                    <a:lnTo>
                      <a:pt x="545" y="284"/>
                    </a:lnTo>
                    <a:lnTo>
                      <a:pt x="548" y="284"/>
                    </a:lnTo>
                    <a:lnTo>
                      <a:pt x="551" y="282"/>
                    </a:lnTo>
                    <a:lnTo>
                      <a:pt x="548" y="279"/>
                    </a:lnTo>
                    <a:lnTo>
                      <a:pt x="545" y="279"/>
                    </a:lnTo>
                    <a:lnTo>
                      <a:pt x="548" y="278"/>
                    </a:lnTo>
                    <a:lnTo>
                      <a:pt x="553" y="278"/>
                    </a:lnTo>
                    <a:lnTo>
                      <a:pt x="555" y="274"/>
                    </a:lnTo>
                    <a:lnTo>
                      <a:pt x="555" y="271"/>
                    </a:lnTo>
                    <a:lnTo>
                      <a:pt x="556" y="274"/>
                    </a:lnTo>
                    <a:lnTo>
                      <a:pt x="558" y="278"/>
                    </a:lnTo>
                    <a:lnTo>
                      <a:pt x="561" y="279"/>
                    </a:lnTo>
                    <a:lnTo>
                      <a:pt x="563" y="282"/>
                    </a:lnTo>
                    <a:lnTo>
                      <a:pt x="566" y="279"/>
                    </a:lnTo>
                    <a:lnTo>
                      <a:pt x="567" y="276"/>
                    </a:lnTo>
                    <a:lnTo>
                      <a:pt x="567" y="279"/>
                    </a:lnTo>
                    <a:lnTo>
                      <a:pt x="571" y="281"/>
                    </a:lnTo>
                    <a:lnTo>
                      <a:pt x="574" y="279"/>
                    </a:lnTo>
                    <a:lnTo>
                      <a:pt x="571" y="278"/>
                    </a:lnTo>
                    <a:lnTo>
                      <a:pt x="574" y="276"/>
                    </a:lnTo>
                    <a:lnTo>
                      <a:pt x="574" y="273"/>
                    </a:lnTo>
                    <a:lnTo>
                      <a:pt x="577" y="274"/>
                    </a:lnTo>
                    <a:lnTo>
                      <a:pt x="580" y="274"/>
                    </a:lnTo>
                    <a:lnTo>
                      <a:pt x="583" y="273"/>
                    </a:lnTo>
                    <a:lnTo>
                      <a:pt x="586" y="270"/>
                    </a:lnTo>
                    <a:lnTo>
                      <a:pt x="583" y="266"/>
                    </a:lnTo>
                    <a:lnTo>
                      <a:pt x="575" y="266"/>
                    </a:lnTo>
                    <a:lnTo>
                      <a:pt x="575" y="263"/>
                    </a:lnTo>
                    <a:lnTo>
                      <a:pt x="578" y="265"/>
                    </a:lnTo>
                    <a:lnTo>
                      <a:pt x="586" y="266"/>
                    </a:lnTo>
                    <a:lnTo>
                      <a:pt x="590" y="268"/>
                    </a:lnTo>
                    <a:lnTo>
                      <a:pt x="593" y="266"/>
                    </a:lnTo>
                    <a:lnTo>
                      <a:pt x="597" y="266"/>
                    </a:lnTo>
                    <a:lnTo>
                      <a:pt x="596" y="263"/>
                    </a:lnTo>
                    <a:lnTo>
                      <a:pt x="593" y="262"/>
                    </a:lnTo>
                    <a:lnTo>
                      <a:pt x="590" y="260"/>
                    </a:lnTo>
                    <a:lnTo>
                      <a:pt x="585" y="260"/>
                    </a:lnTo>
                    <a:lnTo>
                      <a:pt x="582" y="259"/>
                    </a:lnTo>
                    <a:lnTo>
                      <a:pt x="580" y="255"/>
                    </a:lnTo>
                    <a:lnTo>
                      <a:pt x="585" y="259"/>
                    </a:lnTo>
                    <a:lnTo>
                      <a:pt x="588" y="259"/>
                    </a:lnTo>
                    <a:lnTo>
                      <a:pt x="591" y="257"/>
                    </a:lnTo>
                    <a:lnTo>
                      <a:pt x="594" y="257"/>
                    </a:lnTo>
                    <a:lnTo>
                      <a:pt x="593" y="252"/>
                    </a:lnTo>
                    <a:lnTo>
                      <a:pt x="590" y="254"/>
                    </a:lnTo>
                    <a:lnTo>
                      <a:pt x="594" y="252"/>
                    </a:lnTo>
                    <a:lnTo>
                      <a:pt x="597" y="252"/>
                    </a:lnTo>
                    <a:lnTo>
                      <a:pt x="597" y="252"/>
                    </a:lnTo>
                    <a:lnTo>
                      <a:pt x="601" y="255"/>
                    </a:lnTo>
                    <a:lnTo>
                      <a:pt x="610" y="255"/>
                    </a:lnTo>
                    <a:lnTo>
                      <a:pt x="620" y="254"/>
                    </a:lnTo>
                    <a:lnTo>
                      <a:pt x="615" y="252"/>
                    </a:lnTo>
                    <a:lnTo>
                      <a:pt x="612" y="252"/>
                    </a:lnTo>
                    <a:lnTo>
                      <a:pt x="609" y="252"/>
                    </a:lnTo>
                    <a:lnTo>
                      <a:pt x="612" y="251"/>
                    </a:lnTo>
                    <a:lnTo>
                      <a:pt x="615" y="251"/>
                    </a:lnTo>
                    <a:lnTo>
                      <a:pt x="620" y="251"/>
                    </a:lnTo>
                    <a:lnTo>
                      <a:pt x="618" y="246"/>
                    </a:lnTo>
                    <a:lnTo>
                      <a:pt x="613" y="244"/>
                    </a:lnTo>
                    <a:lnTo>
                      <a:pt x="610" y="244"/>
                    </a:lnTo>
                    <a:lnTo>
                      <a:pt x="607" y="246"/>
                    </a:lnTo>
                    <a:lnTo>
                      <a:pt x="618" y="246"/>
                    </a:lnTo>
                    <a:lnTo>
                      <a:pt x="631" y="244"/>
                    </a:lnTo>
                    <a:lnTo>
                      <a:pt x="631" y="241"/>
                    </a:lnTo>
                    <a:lnTo>
                      <a:pt x="626" y="238"/>
                    </a:lnTo>
                    <a:lnTo>
                      <a:pt x="623" y="238"/>
                    </a:lnTo>
                    <a:lnTo>
                      <a:pt x="626" y="236"/>
                    </a:lnTo>
                    <a:lnTo>
                      <a:pt x="623" y="236"/>
                    </a:lnTo>
                    <a:lnTo>
                      <a:pt x="620" y="235"/>
                    </a:lnTo>
                    <a:lnTo>
                      <a:pt x="616" y="236"/>
                    </a:lnTo>
                    <a:lnTo>
                      <a:pt x="620" y="235"/>
                    </a:lnTo>
                    <a:lnTo>
                      <a:pt x="623" y="235"/>
                    </a:lnTo>
                    <a:lnTo>
                      <a:pt x="620" y="233"/>
                    </a:lnTo>
                    <a:lnTo>
                      <a:pt x="616" y="235"/>
                    </a:lnTo>
                    <a:lnTo>
                      <a:pt x="618" y="232"/>
                    </a:lnTo>
                    <a:lnTo>
                      <a:pt x="615" y="230"/>
                    </a:lnTo>
                    <a:lnTo>
                      <a:pt x="612" y="233"/>
                    </a:lnTo>
                    <a:lnTo>
                      <a:pt x="607" y="235"/>
                    </a:lnTo>
                    <a:lnTo>
                      <a:pt x="605" y="238"/>
                    </a:lnTo>
                    <a:lnTo>
                      <a:pt x="605" y="241"/>
                    </a:lnTo>
                    <a:lnTo>
                      <a:pt x="604" y="238"/>
                    </a:lnTo>
                    <a:lnTo>
                      <a:pt x="602" y="235"/>
                    </a:lnTo>
                    <a:lnTo>
                      <a:pt x="599" y="233"/>
                    </a:lnTo>
                    <a:lnTo>
                      <a:pt x="596" y="236"/>
                    </a:lnTo>
                    <a:lnTo>
                      <a:pt x="593" y="239"/>
                    </a:lnTo>
                    <a:lnTo>
                      <a:pt x="590" y="243"/>
                    </a:lnTo>
                    <a:lnTo>
                      <a:pt x="588" y="243"/>
                    </a:lnTo>
                    <a:lnTo>
                      <a:pt x="591" y="239"/>
                    </a:lnTo>
                    <a:lnTo>
                      <a:pt x="594" y="236"/>
                    </a:lnTo>
                    <a:lnTo>
                      <a:pt x="596" y="233"/>
                    </a:lnTo>
                    <a:lnTo>
                      <a:pt x="593" y="233"/>
                    </a:lnTo>
                    <a:lnTo>
                      <a:pt x="585" y="235"/>
                    </a:lnTo>
                    <a:lnTo>
                      <a:pt x="582" y="235"/>
                    </a:lnTo>
                    <a:lnTo>
                      <a:pt x="578" y="238"/>
                    </a:lnTo>
                    <a:lnTo>
                      <a:pt x="575" y="241"/>
                    </a:lnTo>
                    <a:lnTo>
                      <a:pt x="577" y="238"/>
                    </a:lnTo>
                    <a:lnTo>
                      <a:pt x="574" y="238"/>
                    </a:lnTo>
                    <a:lnTo>
                      <a:pt x="571" y="238"/>
                    </a:lnTo>
                    <a:lnTo>
                      <a:pt x="567" y="238"/>
                    </a:lnTo>
                    <a:lnTo>
                      <a:pt x="571" y="238"/>
                    </a:lnTo>
                    <a:lnTo>
                      <a:pt x="574" y="236"/>
                    </a:lnTo>
                    <a:lnTo>
                      <a:pt x="575" y="235"/>
                    </a:lnTo>
                    <a:lnTo>
                      <a:pt x="580" y="235"/>
                    </a:lnTo>
                    <a:lnTo>
                      <a:pt x="583" y="233"/>
                    </a:lnTo>
                    <a:lnTo>
                      <a:pt x="586" y="230"/>
                    </a:lnTo>
                    <a:lnTo>
                      <a:pt x="588" y="227"/>
                    </a:lnTo>
                    <a:lnTo>
                      <a:pt x="591" y="227"/>
                    </a:lnTo>
                    <a:lnTo>
                      <a:pt x="594" y="225"/>
                    </a:lnTo>
                    <a:lnTo>
                      <a:pt x="599" y="222"/>
                    </a:lnTo>
                    <a:lnTo>
                      <a:pt x="594" y="220"/>
                    </a:lnTo>
                    <a:lnTo>
                      <a:pt x="591" y="222"/>
                    </a:lnTo>
                    <a:lnTo>
                      <a:pt x="588" y="224"/>
                    </a:lnTo>
                    <a:lnTo>
                      <a:pt x="585" y="227"/>
                    </a:lnTo>
                    <a:lnTo>
                      <a:pt x="580" y="228"/>
                    </a:lnTo>
                    <a:lnTo>
                      <a:pt x="574" y="230"/>
                    </a:lnTo>
                    <a:lnTo>
                      <a:pt x="577" y="228"/>
                    </a:lnTo>
                    <a:lnTo>
                      <a:pt x="580" y="227"/>
                    </a:lnTo>
                    <a:lnTo>
                      <a:pt x="585" y="225"/>
                    </a:lnTo>
                    <a:lnTo>
                      <a:pt x="580" y="224"/>
                    </a:lnTo>
                    <a:lnTo>
                      <a:pt x="577" y="224"/>
                    </a:lnTo>
                    <a:lnTo>
                      <a:pt x="574" y="224"/>
                    </a:lnTo>
                    <a:lnTo>
                      <a:pt x="571" y="225"/>
                    </a:lnTo>
                    <a:lnTo>
                      <a:pt x="566" y="225"/>
                    </a:lnTo>
                    <a:lnTo>
                      <a:pt x="563" y="225"/>
                    </a:lnTo>
                    <a:lnTo>
                      <a:pt x="559" y="227"/>
                    </a:lnTo>
                    <a:lnTo>
                      <a:pt x="556" y="227"/>
                    </a:lnTo>
                    <a:lnTo>
                      <a:pt x="551" y="228"/>
                    </a:lnTo>
                    <a:lnTo>
                      <a:pt x="548" y="232"/>
                    </a:lnTo>
                    <a:lnTo>
                      <a:pt x="547" y="232"/>
                    </a:lnTo>
                    <a:lnTo>
                      <a:pt x="550" y="228"/>
                    </a:lnTo>
                    <a:lnTo>
                      <a:pt x="553" y="227"/>
                    </a:lnTo>
                    <a:lnTo>
                      <a:pt x="556" y="225"/>
                    </a:lnTo>
                    <a:lnTo>
                      <a:pt x="561" y="225"/>
                    </a:lnTo>
                    <a:lnTo>
                      <a:pt x="564" y="225"/>
                    </a:lnTo>
                    <a:lnTo>
                      <a:pt x="567" y="224"/>
                    </a:lnTo>
                    <a:lnTo>
                      <a:pt x="571" y="224"/>
                    </a:lnTo>
                    <a:lnTo>
                      <a:pt x="567" y="222"/>
                    </a:lnTo>
                    <a:lnTo>
                      <a:pt x="564" y="224"/>
                    </a:lnTo>
                    <a:lnTo>
                      <a:pt x="559" y="224"/>
                    </a:lnTo>
                    <a:lnTo>
                      <a:pt x="556" y="224"/>
                    </a:lnTo>
                    <a:lnTo>
                      <a:pt x="553" y="224"/>
                    </a:lnTo>
                    <a:lnTo>
                      <a:pt x="550" y="225"/>
                    </a:lnTo>
                    <a:lnTo>
                      <a:pt x="553" y="224"/>
                    </a:lnTo>
                    <a:lnTo>
                      <a:pt x="556" y="222"/>
                    </a:lnTo>
                    <a:lnTo>
                      <a:pt x="559" y="222"/>
                    </a:lnTo>
                    <a:lnTo>
                      <a:pt x="564" y="222"/>
                    </a:lnTo>
                    <a:lnTo>
                      <a:pt x="561" y="220"/>
                    </a:lnTo>
                    <a:lnTo>
                      <a:pt x="556" y="220"/>
                    </a:lnTo>
                    <a:lnTo>
                      <a:pt x="553" y="220"/>
                    </a:lnTo>
                    <a:lnTo>
                      <a:pt x="556" y="219"/>
                    </a:lnTo>
                    <a:lnTo>
                      <a:pt x="567" y="220"/>
                    </a:lnTo>
                    <a:lnTo>
                      <a:pt x="572" y="220"/>
                    </a:lnTo>
                    <a:lnTo>
                      <a:pt x="575" y="219"/>
                    </a:lnTo>
                    <a:lnTo>
                      <a:pt x="575" y="216"/>
                    </a:lnTo>
                    <a:lnTo>
                      <a:pt x="571" y="216"/>
                    </a:lnTo>
                    <a:lnTo>
                      <a:pt x="567" y="216"/>
                    </a:lnTo>
                    <a:lnTo>
                      <a:pt x="571" y="214"/>
                    </a:lnTo>
                    <a:lnTo>
                      <a:pt x="575" y="213"/>
                    </a:lnTo>
                    <a:lnTo>
                      <a:pt x="577" y="211"/>
                    </a:lnTo>
                    <a:lnTo>
                      <a:pt x="574" y="211"/>
                    </a:lnTo>
                    <a:lnTo>
                      <a:pt x="574" y="206"/>
                    </a:lnTo>
                    <a:lnTo>
                      <a:pt x="571" y="206"/>
                    </a:lnTo>
                    <a:lnTo>
                      <a:pt x="567" y="208"/>
                    </a:lnTo>
                    <a:lnTo>
                      <a:pt x="563" y="208"/>
                    </a:lnTo>
                    <a:lnTo>
                      <a:pt x="567" y="206"/>
                    </a:lnTo>
                    <a:lnTo>
                      <a:pt x="571" y="206"/>
                    </a:lnTo>
                    <a:lnTo>
                      <a:pt x="569" y="203"/>
                    </a:lnTo>
                    <a:lnTo>
                      <a:pt x="566" y="203"/>
                    </a:lnTo>
                    <a:lnTo>
                      <a:pt x="563" y="203"/>
                    </a:lnTo>
                    <a:lnTo>
                      <a:pt x="559" y="208"/>
                    </a:lnTo>
                    <a:lnTo>
                      <a:pt x="559" y="203"/>
                    </a:lnTo>
                    <a:lnTo>
                      <a:pt x="556" y="205"/>
                    </a:lnTo>
                    <a:lnTo>
                      <a:pt x="551" y="206"/>
                    </a:lnTo>
                    <a:lnTo>
                      <a:pt x="548" y="209"/>
                    </a:lnTo>
                    <a:lnTo>
                      <a:pt x="551" y="205"/>
                    </a:lnTo>
                    <a:lnTo>
                      <a:pt x="555" y="205"/>
                    </a:lnTo>
                    <a:lnTo>
                      <a:pt x="558" y="200"/>
                    </a:lnTo>
                    <a:lnTo>
                      <a:pt x="561" y="198"/>
                    </a:lnTo>
                    <a:lnTo>
                      <a:pt x="566" y="198"/>
                    </a:lnTo>
                    <a:lnTo>
                      <a:pt x="563" y="195"/>
                    </a:lnTo>
                    <a:lnTo>
                      <a:pt x="559" y="195"/>
                    </a:lnTo>
                    <a:lnTo>
                      <a:pt x="555" y="198"/>
                    </a:lnTo>
                    <a:lnTo>
                      <a:pt x="551" y="198"/>
                    </a:lnTo>
                    <a:lnTo>
                      <a:pt x="547" y="200"/>
                    </a:lnTo>
                    <a:lnTo>
                      <a:pt x="544" y="203"/>
                    </a:lnTo>
                    <a:lnTo>
                      <a:pt x="544" y="206"/>
                    </a:lnTo>
                    <a:lnTo>
                      <a:pt x="544" y="209"/>
                    </a:lnTo>
                    <a:lnTo>
                      <a:pt x="542" y="206"/>
                    </a:lnTo>
                    <a:lnTo>
                      <a:pt x="542" y="203"/>
                    </a:lnTo>
                    <a:lnTo>
                      <a:pt x="547" y="200"/>
                    </a:lnTo>
                    <a:lnTo>
                      <a:pt x="542" y="197"/>
                    </a:lnTo>
                    <a:lnTo>
                      <a:pt x="539" y="197"/>
                    </a:lnTo>
                    <a:lnTo>
                      <a:pt x="537" y="201"/>
                    </a:lnTo>
                    <a:lnTo>
                      <a:pt x="532" y="201"/>
                    </a:lnTo>
                    <a:lnTo>
                      <a:pt x="526" y="209"/>
                    </a:lnTo>
                    <a:lnTo>
                      <a:pt x="528" y="205"/>
                    </a:lnTo>
                    <a:lnTo>
                      <a:pt x="531" y="201"/>
                    </a:lnTo>
                    <a:lnTo>
                      <a:pt x="532" y="198"/>
                    </a:lnTo>
                    <a:lnTo>
                      <a:pt x="532" y="198"/>
                    </a:lnTo>
                    <a:lnTo>
                      <a:pt x="539" y="193"/>
                    </a:lnTo>
                    <a:lnTo>
                      <a:pt x="540" y="190"/>
                    </a:lnTo>
                    <a:lnTo>
                      <a:pt x="537" y="193"/>
                    </a:lnTo>
                    <a:lnTo>
                      <a:pt x="534" y="195"/>
                    </a:lnTo>
                    <a:lnTo>
                      <a:pt x="531" y="197"/>
                    </a:lnTo>
                    <a:lnTo>
                      <a:pt x="526" y="198"/>
                    </a:lnTo>
                    <a:lnTo>
                      <a:pt x="523" y="200"/>
                    </a:lnTo>
                    <a:lnTo>
                      <a:pt x="520" y="203"/>
                    </a:lnTo>
                    <a:lnTo>
                      <a:pt x="517" y="203"/>
                    </a:lnTo>
                    <a:lnTo>
                      <a:pt x="513" y="201"/>
                    </a:lnTo>
                    <a:lnTo>
                      <a:pt x="517" y="201"/>
                    </a:lnTo>
                    <a:lnTo>
                      <a:pt x="520" y="201"/>
                    </a:lnTo>
                    <a:lnTo>
                      <a:pt x="525" y="198"/>
                    </a:lnTo>
                    <a:lnTo>
                      <a:pt x="528" y="197"/>
                    </a:lnTo>
                    <a:lnTo>
                      <a:pt x="525" y="193"/>
                    </a:lnTo>
                    <a:lnTo>
                      <a:pt x="528" y="193"/>
                    </a:lnTo>
                    <a:lnTo>
                      <a:pt x="525" y="190"/>
                    </a:lnTo>
                    <a:lnTo>
                      <a:pt x="520" y="192"/>
                    </a:lnTo>
                    <a:lnTo>
                      <a:pt x="518" y="195"/>
                    </a:lnTo>
                    <a:lnTo>
                      <a:pt x="520" y="192"/>
                    </a:lnTo>
                    <a:lnTo>
                      <a:pt x="515" y="193"/>
                    </a:lnTo>
                    <a:lnTo>
                      <a:pt x="512" y="193"/>
                    </a:lnTo>
                    <a:lnTo>
                      <a:pt x="515" y="190"/>
                    </a:lnTo>
                    <a:lnTo>
                      <a:pt x="520" y="189"/>
                    </a:lnTo>
                    <a:lnTo>
                      <a:pt x="515" y="187"/>
                    </a:lnTo>
                    <a:lnTo>
                      <a:pt x="512" y="186"/>
                    </a:lnTo>
                    <a:lnTo>
                      <a:pt x="509" y="187"/>
                    </a:lnTo>
                    <a:lnTo>
                      <a:pt x="505" y="189"/>
                    </a:lnTo>
                    <a:lnTo>
                      <a:pt x="501" y="192"/>
                    </a:lnTo>
                    <a:lnTo>
                      <a:pt x="498" y="192"/>
                    </a:lnTo>
                    <a:lnTo>
                      <a:pt x="501" y="190"/>
                    </a:lnTo>
                    <a:lnTo>
                      <a:pt x="505" y="187"/>
                    </a:lnTo>
                    <a:lnTo>
                      <a:pt x="509" y="186"/>
                    </a:lnTo>
                    <a:lnTo>
                      <a:pt x="512" y="186"/>
                    </a:lnTo>
                    <a:lnTo>
                      <a:pt x="509" y="184"/>
                    </a:lnTo>
                    <a:lnTo>
                      <a:pt x="505" y="184"/>
                    </a:lnTo>
                    <a:lnTo>
                      <a:pt x="501" y="186"/>
                    </a:lnTo>
                    <a:lnTo>
                      <a:pt x="498" y="187"/>
                    </a:lnTo>
                    <a:lnTo>
                      <a:pt x="501" y="186"/>
                    </a:lnTo>
                    <a:lnTo>
                      <a:pt x="498" y="186"/>
                    </a:lnTo>
                    <a:lnTo>
                      <a:pt x="494" y="186"/>
                    </a:lnTo>
                    <a:lnTo>
                      <a:pt x="498" y="184"/>
                    </a:lnTo>
                    <a:lnTo>
                      <a:pt x="501" y="184"/>
                    </a:lnTo>
                    <a:lnTo>
                      <a:pt x="504" y="184"/>
                    </a:lnTo>
                    <a:lnTo>
                      <a:pt x="509" y="182"/>
                    </a:lnTo>
                    <a:lnTo>
                      <a:pt x="512" y="182"/>
                    </a:lnTo>
                    <a:lnTo>
                      <a:pt x="515" y="184"/>
                    </a:lnTo>
                    <a:lnTo>
                      <a:pt x="518" y="182"/>
                    </a:lnTo>
                    <a:lnTo>
                      <a:pt x="526" y="181"/>
                    </a:lnTo>
                    <a:lnTo>
                      <a:pt x="521" y="181"/>
                    </a:lnTo>
                    <a:lnTo>
                      <a:pt x="518" y="181"/>
                    </a:lnTo>
                    <a:lnTo>
                      <a:pt x="515" y="181"/>
                    </a:lnTo>
                    <a:lnTo>
                      <a:pt x="512" y="182"/>
                    </a:lnTo>
                    <a:lnTo>
                      <a:pt x="509" y="179"/>
                    </a:lnTo>
                    <a:lnTo>
                      <a:pt x="504" y="179"/>
                    </a:lnTo>
                    <a:lnTo>
                      <a:pt x="501" y="182"/>
                    </a:lnTo>
                    <a:lnTo>
                      <a:pt x="502" y="179"/>
                    </a:lnTo>
                    <a:lnTo>
                      <a:pt x="505" y="179"/>
                    </a:lnTo>
                    <a:lnTo>
                      <a:pt x="502" y="178"/>
                    </a:lnTo>
                    <a:lnTo>
                      <a:pt x="499" y="178"/>
                    </a:lnTo>
                    <a:lnTo>
                      <a:pt x="494" y="181"/>
                    </a:lnTo>
                    <a:lnTo>
                      <a:pt x="491" y="182"/>
                    </a:lnTo>
                    <a:lnTo>
                      <a:pt x="494" y="179"/>
                    </a:lnTo>
                    <a:lnTo>
                      <a:pt x="490" y="176"/>
                    </a:lnTo>
                    <a:lnTo>
                      <a:pt x="486" y="176"/>
                    </a:lnTo>
                    <a:lnTo>
                      <a:pt x="483" y="176"/>
                    </a:lnTo>
                    <a:lnTo>
                      <a:pt x="477" y="176"/>
                    </a:lnTo>
                    <a:lnTo>
                      <a:pt x="480" y="176"/>
                    </a:lnTo>
                    <a:lnTo>
                      <a:pt x="477" y="174"/>
                    </a:lnTo>
                    <a:lnTo>
                      <a:pt x="474" y="176"/>
                    </a:lnTo>
                    <a:lnTo>
                      <a:pt x="477" y="174"/>
                    </a:lnTo>
                    <a:lnTo>
                      <a:pt x="480" y="173"/>
                    </a:lnTo>
                    <a:lnTo>
                      <a:pt x="485" y="174"/>
                    </a:lnTo>
                    <a:lnTo>
                      <a:pt x="488" y="174"/>
                    </a:lnTo>
                    <a:lnTo>
                      <a:pt x="491" y="173"/>
                    </a:lnTo>
                    <a:lnTo>
                      <a:pt x="494" y="173"/>
                    </a:lnTo>
                    <a:lnTo>
                      <a:pt x="491" y="171"/>
                    </a:lnTo>
                    <a:lnTo>
                      <a:pt x="488" y="171"/>
                    </a:lnTo>
                    <a:lnTo>
                      <a:pt x="483" y="170"/>
                    </a:lnTo>
                    <a:lnTo>
                      <a:pt x="480" y="171"/>
                    </a:lnTo>
                    <a:lnTo>
                      <a:pt x="477" y="170"/>
                    </a:lnTo>
                    <a:lnTo>
                      <a:pt x="474" y="171"/>
                    </a:lnTo>
                    <a:lnTo>
                      <a:pt x="471" y="168"/>
                    </a:lnTo>
                    <a:lnTo>
                      <a:pt x="466" y="168"/>
                    </a:lnTo>
                    <a:lnTo>
                      <a:pt x="471" y="168"/>
                    </a:lnTo>
                    <a:lnTo>
                      <a:pt x="466" y="167"/>
                    </a:lnTo>
                    <a:lnTo>
                      <a:pt x="474" y="167"/>
                    </a:lnTo>
                    <a:lnTo>
                      <a:pt x="485" y="168"/>
                    </a:lnTo>
                    <a:lnTo>
                      <a:pt x="488" y="167"/>
                    </a:lnTo>
                    <a:lnTo>
                      <a:pt x="494" y="168"/>
                    </a:lnTo>
                    <a:lnTo>
                      <a:pt x="499" y="168"/>
                    </a:lnTo>
                    <a:lnTo>
                      <a:pt x="502" y="170"/>
                    </a:lnTo>
                    <a:lnTo>
                      <a:pt x="499" y="168"/>
                    </a:lnTo>
                    <a:lnTo>
                      <a:pt x="496" y="167"/>
                    </a:lnTo>
                    <a:lnTo>
                      <a:pt x="491" y="165"/>
                    </a:lnTo>
                    <a:lnTo>
                      <a:pt x="494" y="165"/>
                    </a:lnTo>
                    <a:lnTo>
                      <a:pt x="499" y="167"/>
                    </a:lnTo>
                    <a:lnTo>
                      <a:pt x="502" y="167"/>
                    </a:lnTo>
                    <a:lnTo>
                      <a:pt x="499" y="163"/>
                    </a:lnTo>
                    <a:lnTo>
                      <a:pt x="494" y="162"/>
                    </a:lnTo>
                    <a:lnTo>
                      <a:pt x="491" y="162"/>
                    </a:lnTo>
                    <a:lnTo>
                      <a:pt x="494" y="162"/>
                    </a:lnTo>
                    <a:lnTo>
                      <a:pt x="499" y="162"/>
                    </a:lnTo>
                    <a:lnTo>
                      <a:pt x="502" y="162"/>
                    </a:lnTo>
                    <a:lnTo>
                      <a:pt x="505" y="162"/>
                    </a:lnTo>
                    <a:lnTo>
                      <a:pt x="509" y="162"/>
                    </a:lnTo>
                    <a:lnTo>
                      <a:pt x="513" y="162"/>
                    </a:lnTo>
                    <a:lnTo>
                      <a:pt x="505" y="157"/>
                    </a:lnTo>
                    <a:lnTo>
                      <a:pt x="496" y="155"/>
                    </a:lnTo>
                    <a:lnTo>
                      <a:pt x="488" y="157"/>
                    </a:lnTo>
                    <a:lnTo>
                      <a:pt x="480" y="162"/>
                    </a:lnTo>
                    <a:lnTo>
                      <a:pt x="482" y="159"/>
                    </a:lnTo>
                    <a:lnTo>
                      <a:pt x="479" y="159"/>
                    </a:lnTo>
                    <a:lnTo>
                      <a:pt x="483" y="157"/>
                    </a:lnTo>
                    <a:lnTo>
                      <a:pt x="486" y="157"/>
                    </a:lnTo>
                    <a:lnTo>
                      <a:pt x="490" y="157"/>
                    </a:lnTo>
                    <a:lnTo>
                      <a:pt x="494" y="155"/>
                    </a:lnTo>
                    <a:lnTo>
                      <a:pt x="490" y="154"/>
                    </a:lnTo>
                    <a:lnTo>
                      <a:pt x="488" y="154"/>
                    </a:lnTo>
                    <a:lnTo>
                      <a:pt x="498" y="154"/>
                    </a:lnTo>
                    <a:lnTo>
                      <a:pt x="505" y="155"/>
                    </a:lnTo>
                    <a:lnTo>
                      <a:pt x="502" y="152"/>
                    </a:lnTo>
                    <a:lnTo>
                      <a:pt x="499" y="152"/>
                    </a:lnTo>
                    <a:lnTo>
                      <a:pt x="496" y="151"/>
                    </a:lnTo>
                    <a:lnTo>
                      <a:pt x="491" y="151"/>
                    </a:lnTo>
                    <a:lnTo>
                      <a:pt x="488" y="151"/>
                    </a:lnTo>
                    <a:lnTo>
                      <a:pt x="485" y="151"/>
                    </a:lnTo>
                    <a:lnTo>
                      <a:pt x="482" y="152"/>
                    </a:lnTo>
                    <a:lnTo>
                      <a:pt x="485" y="151"/>
                    </a:lnTo>
                    <a:lnTo>
                      <a:pt x="488" y="149"/>
                    </a:lnTo>
                    <a:lnTo>
                      <a:pt x="491" y="151"/>
                    </a:lnTo>
                    <a:lnTo>
                      <a:pt x="496" y="151"/>
                    </a:lnTo>
                    <a:lnTo>
                      <a:pt x="499" y="151"/>
                    </a:lnTo>
                    <a:lnTo>
                      <a:pt x="502" y="151"/>
                    </a:lnTo>
                    <a:lnTo>
                      <a:pt x="505" y="151"/>
                    </a:lnTo>
                    <a:lnTo>
                      <a:pt x="510" y="152"/>
                    </a:lnTo>
                    <a:lnTo>
                      <a:pt x="513" y="154"/>
                    </a:lnTo>
                    <a:lnTo>
                      <a:pt x="517" y="155"/>
                    </a:lnTo>
                    <a:lnTo>
                      <a:pt x="520" y="155"/>
                    </a:lnTo>
                    <a:lnTo>
                      <a:pt x="523" y="155"/>
                    </a:lnTo>
                    <a:lnTo>
                      <a:pt x="528" y="155"/>
                    </a:lnTo>
                    <a:lnTo>
                      <a:pt x="531" y="155"/>
                    </a:lnTo>
                    <a:lnTo>
                      <a:pt x="534" y="155"/>
                    </a:lnTo>
                    <a:lnTo>
                      <a:pt x="537" y="157"/>
                    </a:lnTo>
                    <a:lnTo>
                      <a:pt x="542" y="157"/>
                    </a:lnTo>
                    <a:lnTo>
                      <a:pt x="545" y="154"/>
                    </a:lnTo>
                    <a:lnTo>
                      <a:pt x="545" y="151"/>
                    </a:lnTo>
                    <a:lnTo>
                      <a:pt x="544" y="149"/>
                    </a:lnTo>
                    <a:lnTo>
                      <a:pt x="540" y="148"/>
                    </a:lnTo>
                    <a:lnTo>
                      <a:pt x="539" y="146"/>
                    </a:lnTo>
                    <a:lnTo>
                      <a:pt x="532" y="146"/>
                    </a:lnTo>
                    <a:lnTo>
                      <a:pt x="526" y="146"/>
                    </a:lnTo>
                    <a:lnTo>
                      <a:pt x="520" y="146"/>
                    </a:lnTo>
                    <a:lnTo>
                      <a:pt x="518" y="146"/>
                    </a:lnTo>
                    <a:lnTo>
                      <a:pt x="513" y="146"/>
                    </a:lnTo>
                    <a:lnTo>
                      <a:pt x="505" y="143"/>
                    </a:lnTo>
                    <a:lnTo>
                      <a:pt x="494" y="141"/>
                    </a:lnTo>
                    <a:lnTo>
                      <a:pt x="485" y="144"/>
                    </a:lnTo>
                    <a:lnTo>
                      <a:pt x="480" y="144"/>
                    </a:lnTo>
                    <a:lnTo>
                      <a:pt x="477" y="143"/>
                    </a:lnTo>
                    <a:lnTo>
                      <a:pt x="474" y="143"/>
                    </a:lnTo>
                    <a:lnTo>
                      <a:pt x="471" y="143"/>
                    </a:lnTo>
                    <a:lnTo>
                      <a:pt x="466" y="144"/>
                    </a:lnTo>
                    <a:lnTo>
                      <a:pt x="464" y="144"/>
                    </a:lnTo>
                    <a:lnTo>
                      <a:pt x="466" y="143"/>
                    </a:lnTo>
                    <a:lnTo>
                      <a:pt x="474" y="143"/>
                    </a:lnTo>
                    <a:lnTo>
                      <a:pt x="483" y="143"/>
                    </a:lnTo>
                    <a:lnTo>
                      <a:pt x="486" y="143"/>
                    </a:lnTo>
                    <a:lnTo>
                      <a:pt x="490" y="143"/>
                    </a:lnTo>
                    <a:lnTo>
                      <a:pt x="494" y="141"/>
                    </a:lnTo>
                    <a:lnTo>
                      <a:pt x="498" y="140"/>
                    </a:lnTo>
                    <a:lnTo>
                      <a:pt x="502" y="140"/>
                    </a:lnTo>
                    <a:lnTo>
                      <a:pt x="505" y="140"/>
                    </a:lnTo>
                    <a:lnTo>
                      <a:pt x="517" y="136"/>
                    </a:lnTo>
                    <a:lnTo>
                      <a:pt x="528" y="135"/>
                    </a:lnTo>
                    <a:lnTo>
                      <a:pt x="534" y="136"/>
                    </a:lnTo>
                    <a:lnTo>
                      <a:pt x="539" y="136"/>
                    </a:lnTo>
                    <a:lnTo>
                      <a:pt x="542" y="136"/>
                    </a:lnTo>
                    <a:lnTo>
                      <a:pt x="544" y="136"/>
                    </a:lnTo>
                    <a:lnTo>
                      <a:pt x="545" y="133"/>
                    </a:lnTo>
                    <a:lnTo>
                      <a:pt x="547" y="130"/>
                    </a:lnTo>
                    <a:lnTo>
                      <a:pt x="545" y="127"/>
                    </a:lnTo>
                    <a:lnTo>
                      <a:pt x="545" y="124"/>
                    </a:lnTo>
                    <a:lnTo>
                      <a:pt x="540" y="121"/>
                    </a:lnTo>
                    <a:lnTo>
                      <a:pt x="537" y="117"/>
                    </a:lnTo>
                    <a:lnTo>
                      <a:pt x="534" y="116"/>
                    </a:lnTo>
                    <a:lnTo>
                      <a:pt x="531" y="117"/>
                    </a:lnTo>
                    <a:lnTo>
                      <a:pt x="526" y="119"/>
                    </a:lnTo>
                    <a:lnTo>
                      <a:pt x="523" y="122"/>
                    </a:lnTo>
                    <a:lnTo>
                      <a:pt x="520" y="125"/>
                    </a:lnTo>
                    <a:lnTo>
                      <a:pt x="515" y="125"/>
                    </a:lnTo>
                    <a:lnTo>
                      <a:pt x="513" y="127"/>
                    </a:lnTo>
                    <a:lnTo>
                      <a:pt x="509" y="128"/>
                    </a:lnTo>
                    <a:lnTo>
                      <a:pt x="504" y="128"/>
                    </a:lnTo>
                    <a:lnTo>
                      <a:pt x="498" y="130"/>
                    </a:lnTo>
                    <a:lnTo>
                      <a:pt x="493" y="132"/>
                    </a:lnTo>
                    <a:lnTo>
                      <a:pt x="488" y="135"/>
                    </a:lnTo>
                    <a:lnTo>
                      <a:pt x="483" y="135"/>
                    </a:lnTo>
                    <a:lnTo>
                      <a:pt x="480" y="133"/>
                    </a:lnTo>
                    <a:lnTo>
                      <a:pt x="477" y="135"/>
                    </a:lnTo>
                    <a:lnTo>
                      <a:pt x="472" y="136"/>
                    </a:lnTo>
                    <a:lnTo>
                      <a:pt x="469" y="138"/>
                    </a:lnTo>
                    <a:lnTo>
                      <a:pt x="467" y="140"/>
                    </a:lnTo>
                    <a:lnTo>
                      <a:pt x="467" y="140"/>
                    </a:lnTo>
                    <a:lnTo>
                      <a:pt x="467" y="140"/>
                    </a:lnTo>
                    <a:lnTo>
                      <a:pt x="467" y="138"/>
                    </a:lnTo>
                    <a:lnTo>
                      <a:pt x="472" y="136"/>
                    </a:lnTo>
                    <a:lnTo>
                      <a:pt x="475" y="133"/>
                    </a:lnTo>
                    <a:lnTo>
                      <a:pt x="479" y="133"/>
                    </a:lnTo>
                    <a:lnTo>
                      <a:pt x="483" y="133"/>
                    </a:lnTo>
                    <a:lnTo>
                      <a:pt x="486" y="133"/>
                    </a:lnTo>
                    <a:lnTo>
                      <a:pt x="501" y="128"/>
                    </a:lnTo>
                    <a:lnTo>
                      <a:pt x="513" y="122"/>
                    </a:lnTo>
                    <a:lnTo>
                      <a:pt x="510" y="121"/>
                    </a:lnTo>
                    <a:lnTo>
                      <a:pt x="505" y="121"/>
                    </a:lnTo>
                    <a:lnTo>
                      <a:pt x="502" y="121"/>
                    </a:lnTo>
                    <a:lnTo>
                      <a:pt x="499" y="121"/>
                    </a:lnTo>
                    <a:lnTo>
                      <a:pt x="494" y="121"/>
                    </a:lnTo>
                    <a:lnTo>
                      <a:pt x="491" y="122"/>
                    </a:lnTo>
                    <a:lnTo>
                      <a:pt x="488" y="122"/>
                    </a:lnTo>
                    <a:lnTo>
                      <a:pt x="485" y="124"/>
                    </a:lnTo>
                    <a:lnTo>
                      <a:pt x="483" y="127"/>
                    </a:lnTo>
                    <a:lnTo>
                      <a:pt x="480" y="128"/>
                    </a:lnTo>
                    <a:lnTo>
                      <a:pt x="475" y="128"/>
                    </a:lnTo>
                    <a:lnTo>
                      <a:pt x="475" y="128"/>
                    </a:lnTo>
                    <a:lnTo>
                      <a:pt x="472" y="128"/>
                    </a:lnTo>
                    <a:lnTo>
                      <a:pt x="469" y="130"/>
                    </a:lnTo>
                    <a:lnTo>
                      <a:pt x="464" y="132"/>
                    </a:lnTo>
                    <a:lnTo>
                      <a:pt x="461" y="133"/>
                    </a:lnTo>
                    <a:lnTo>
                      <a:pt x="464" y="132"/>
                    </a:lnTo>
                    <a:lnTo>
                      <a:pt x="467" y="130"/>
                    </a:lnTo>
                    <a:lnTo>
                      <a:pt x="472" y="128"/>
                    </a:lnTo>
                    <a:lnTo>
                      <a:pt x="475" y="127"/>
                    </a:lnTo>
                    <a:lnTo>
                      <a:pt x="475" y="127"/>
                    </a:lnTo>
                    <a:lnTo>
                      <a:pt x="480" y="128"/>
                    </a:lnTo>
                    <a:lnTo>
                      <a:pt x="482" y="127"/>
                    </a:lnTo>
                    <a:lnTo>
                      <a:pt x="477" y="125"/>
                    </a:lnTo>
                    <a:lnTo>
                      <a:pt x="474" y="127"/>
                    </a:lnTo>
                    <a:lnTo>
                      <a:pt x="486" y="122"/>
                    </a:lnTo>
                    <a:lnTo>
                      <a:pt x="499" y="119"/>
                    </a:lnTo>
                    <a:lnTo>
                      <a:pt x="504" y="117"/>
                    </a:lnTo>
                    <a:lnTo>
                      <a:pt x="507" y="117"/>
                    </a:lnTo>
                    <a:lnTo>
                      <a:pt x="510" y="117"/>
                    </a:lnTo>
                    <a:lnTo>
                      <a:pt x="515" y="116"/>
                    </a:lnTo>
                    <a:lnTo>
                      <a:pt x="518" y="116"/>
                    </a:lnTo>
                    <a:lnTo>
                      <a:pt x="521" y="113"/>
                    </a:lnTo>
                    <a:lnTo>
                      <a:pt x="525" y="111"/>
                    </a:lnTo>
                    <a:lnTo>
                      <a:pt x="529" y="113"/>
                    </a:lnTo>
                    <a:lnTo>
                      <a:pt x="532" y="111"/>
                    </a:lnTo>
                    <a:lnTo>
                      <a:pt x="532" y="106"/>
                    </a:lnTo>
                    <a:lnTo>
                      <a:pt x="525" y="105"/>
                    </a:lnTo>
                    <a:lnTo>
                      <a:pt x="521" y="105"/>
                    </a:lnTo>
                    <a:lnTo>
                      <a:pt x="518" y="103"/>
                    </a:lnTo>
                    <a:lnTo>
                      <a:pt x="513" y="100"/>
                    </a:lnTo>
                    <a:lnTo>
                      <a:pt x="510" y="100"/>
                    </a:lnTo>
                    <a:lnTo>
                      <a:pt x="505" y="102"/>
                    </a:lnTo>
                    <a:lnTo>
                      <a:pt x="502" y="103"/>
                    </a:lnTo>
                    <a:lnTo>
                      <a:pt x="499" y="103"/>
                    </a:lnTo>
                    <a:lnTo>
                      <a:pt x="496" y="105"/>
                    </a:lnTo>
                    <a:lnTo>
                      <a:pt x="493" y="106"/>
                    </a:lnTo>
                    <a:lnTo>
                      <a:pt x="488" y="106"/>
                    </a:lnTo>
                    <a:lnTo>
                      <a:pt x="485" y="106"/>
                    </a:lnTo>
                    <a:lnTo>
                      <a:pt x="480" y="106"/>
                    </a:lnTo>
                    <a:lnTo>
                      <a:pt x="480" y="109"/>
                    </a:lnTo>
                    <a:lnTo>
                      <a:pt x="477" y="111"/>
                    </a:lnTo>
                    <a:lnTo>
                      <a:pt x="479" y="108"/>
                    </a:lnTo>
                    <a:lnTo>
                      <a:pt x="483" y="105"/>
                    </a:lnTo>
                    <a:lnTo>
                      <a:pt x="486" y="105"/>
                    </a:lnTo>
                    <a:lnTo>
                      <a:pt x="490" y="105"/>
                    </a:lnTo>
                    <a:lnTo>
                      <a:pt x="494" y="103"/>
                    </a:lnTo>
                    <a:lnTo>
                      <a:pt x="494" y="103"/>
                    </a:lnTo>
                    <a:lnTo>
                      <a:pt x="498" y="102"/>
                    </a:lnTo>
                    <a:lnTo>
                      <a:pt x="501" y="100"/>
                    </a:lnTo>
                    <a:lnTo>
                      <a:pt x="498" y="98"/>
                    </a:lnTo>
                    <a:lnTo>
                      <a:pt x="498" y="98"/>
                    </a:lnTo>
                    <a:lnTo>
                      <a:pt x="494" y="100"/>
                    </a:lnTo>
                    <a:lnTo>
                      <a:pt x="491" y="100"/>
                    </a:lnTo>
                    <a:lnTo>
                      <a:pt x="482" y="102"/>
                    </a:lnTo>
                    <a:lnTo>
                      <a:pt x="472" y="105"/>
                    </a:lnTo>
                    <a:lnTo>
                      <a:pt x="455" y="114"/>
                    </a:lnTo>
                    <a:lnTo>
                      <a:pt x="439" y="125"/>
                    </a:lnTo>
                    <a:lnTo>
                      <a:pt x="450" y="117"/>
                    </a:lnTo>
                    <a:lnTo>
                      <a:pt x="459" y="109"/>
                    </a:lnTo>
                    <a:lnTo>
                      <a:pt x="456" y="108"/>
                    </a:lnTo>
                    <a:lnTo>
                      <a:pt x="452" y="108"/>
                    </a:lnTo>
                    <a:lnTo>
                      <a:pt x="448" y="109"/>
                    </a:lnTo>
                    <a:lnTo>
                      <a:pt x="445" y="113"/>
                    </a:lnTo>
                    <a:lnTo>
                      <a:pt x="440" y="116"/>
                    </a:lnTo>
                    <a:lnTo>
                      <a:pt x="437" y="117"/>
                    </a:lnTo>
                    <a:lnTo>
                      <a:pt x="436" y="117"/>
                    </a:lnTo>
                    <a:lnTo>
                      <a:pt x="439" y="116"/>
                    </a:lnTo>
                    <a:lnTo>
                      <a:pt x="436" y="113"/>
                    </a:lnTo>
                    <a:lnTo>
                      <a:pt x="440" y="113"/>
                    </a:lnTo>
                    <a:lnTo>
                      <a:pt x="447" y="109"/>
                    </a:lnTo>
                    <a:lnTo>
                      <a:pt x="450" y="106"/>
                    </a:lnTo>
                    <a:lnTo>
                      <a:pt x="453" y="106"/>
                    </a:lnTo>
                    <a:lnTo>
                      <a:pt x="458" y="108"/>
                    </a:lnTo>
                    <a:lnTo>
                      <a:pt x="461" y="106"/>
                    </a:lnTo>
                    <a:lnTo>
                      <a:pt x="464" y="105"/>
                    </a:lnTo>
                    <a:lnTo>
                      <a:pt x="469" y="105"/>
                    </a:lnTo>
                    <a:lnTo>
                      <a:pt x="472" y="103"/>
                    </a:lnTo>
                    <a:lnTo>
                      <a:pt x="475" y="102"/>
                    </a:lnTo>
                    <a:lnTo>
                      <a:pt x="480" y="98"/>
                    </a:lnTo>
                    <a:lnTo>
                      <a:pt x="483" y="97"/>
                    </a:lnTo>
                    <a:lnTo>
                      <a:pt x="486" y="95"/>
                    </a:lnTo>
                    <a:lnTo>
                      <a:pt x="486" y="92"/>
                    </a:lnTo>
                    <a:lnTo>
                      <a:pt x="483" y="89"/>
                    </a:lnTo>
                    <a:lnTo>
                      <a:pt x="480" y="90"/>
                    </a:lnTo>
                    <a:lnTo>
                      <a:pt x="475" y="92"/>
                    </a:lnTo>
                    <a:lnTo>
                      <a:pt x="472" y="92"/>
                    </a:lnTo>
                    <a:lnTo>
                      <a:pt x="469" y="95"/>
                    </a:lnTo>
                    <a:lnTo>
                      <a:pt x="466" y="97"/>
                    </a:lnTo>
                    <a:lnTo>
                      <a:pt x="461" y="97"/>
                    </a:lnTo>
                    <a:lnTo>
                      <a:pt x="458" y="97"/>
                    </a:lnTo>
                    <a:lnTo>
                      <a:pt x="453" y="98"/>
                    </a:lnTo>
                    <a:lnTo>
                      <a:pt x="450" y="100"/>
                    </a:lnTo>
                    <a:lnTo>
                      <a:pt x="447" y="100"/>
                    </a:lnTo>
                    <a:lnTo>
                      <a:pt x="442" y="100"/>
                    </a:lnTo>
                    <a:lnTo>
                      <a:pt x="439" y="102"/>
                    </a:lnTo>
                    <a:lnTo>
                      <a:pt x="436" y="103"/>
                    </a:lnTo>
                    <a:lnTo>
                      <a:pt x="431" y="105"/>
                    </a:lnTo>
                    <a:lnTo>
                      <a:pt x="428" y="106"/>
                    </a:lnTo>
                    <a:lnTo>
                      <a:pt x="425" y="106"/>
                    </a:lnTo>
                    <a:lnTo>
                      <a:pt x="428" y="105"/>
                    </a:lnTo>
                    <a:lnTo>
                      <a:pt x="433" y="105"/>
                    </a:lnTo>
                    <a:lnTo>
                      <a:pt x="436" y="102"/>
                    </a:lnTo>
                    <a:lnTo>
                      <a:pt x="439" y="100"/>
                    </a:lnTo>
                    <a:lnTo>
                      <a:pt x="436" y="98"/>
                    </a:lnTo>
                    <a:lnTo>
                      <a:pt x="433" y="100"/>
                    </a:lnTo>
                    <a:lnTo>
                      <a:pt x="428" y="100"/>
                    </a:lnTo>
                    <a:lnTo>
                      <a:pt x="442" y="95"/>
                    </a:lnTo>
                    <a:lnTo>
                      <a:pt x="453" y="90"/>
                    </a:lnTo>
                    <a:lnTo>
                      <a:pt x="456" y="90"/>
                    </a:lnTo>
                    <a:lnTo>
                      <a:pt x="461" y="90"/>
                    </a:lnTo>
                    <a:lnTo>
                      <a:pt x="464" y="90"/>
                    </a:lnTo>
                    <a:lnTo>
                      <a:pt x="467" y="90"/>
                    </a:lnTo>
                    <a:lnTo>
                      <a:pt x="471" y="87"/>
                    </a:lnTo>
                    <a:lnTo>
                      <a:pt x="475" y="86"/>
                    </a:lnTo>
                    <a:lnTo>
                      <a:pt x="479" y="86"/>
                    </a:lnTo>
                    <a:lnTo>
                      <a:pt x="479" y="81"/>
                    </a:lnTo>
                    <a:lnTo>
                      <a:pt x="477" y="78"/>
                    </a:lnTo>
                    <a:lnTo>
                      <a:pt x="474" y="76"/>
                    </a:lnTo>
                    <a:lnTo>
                      <a:pt x="469" y="76"/>
                    </a:lnTo>
                    <a:lnTo>
                      <a:pt x="466" y="75"/>
                    </a:lnTo>
                    <a:lnTo>
                      <a:pt x="463" y="73"/>
                    </a:lnTo>
                    <a:lnTo>
                      <a:pt x="458" y="73"/>
                    </a:lnTo>
                    <a:lnTo>
                      <a:pt x="455" y="71"/>
                    </a:lnTo>
                    <a:lnTo>
                      <a:pt x="452" y="73"/>
                    </a:lnTo>
                    <a:lnTo>
                      <a:pt x="448" y="75"/>
                    </a:lnTo>
                    <a:lnTo>
                      <a:pt x="445" y="76"/>
                    </a:lnTo>
                    <a:lnTo>
                      <a:pt x="440" y="79"/>
                    </a:lnTo>
                    <a:lnTo>
                      <a:pt x="437" y="79"/>
                    </a:lnTo>
                    <a:lnTo>
                      <a:pt x="434" y="82"/>
                    </a:lnTo>
                    <a:lnTo>
                      <a:pt x="431" y="86"/>
                    </a:lnTo>
                    <a:lnTo>
                      <a:pt x="426" y="86"/>
                    </a:lnTo>
                    <a:lnTo>
                      <a:pt x="423" y="89"/>
                    </a:lnTo>
                    <a:lnTo>
                      <a:pt x="420" y="90"/>
                    </a:lnTo>
                    <a:lnTo>
                      <a:pt x="415" y="92"/>
                    </a:lnTo>
                    <a:lnTo>
                      <a:pt x="420" y="90"/>
                    </a:lnTo>
                    <a:lnTo>
                      <a:pt x="423" y="87"/>
                    </a:lnTo>
                    <a:lnTo>
                      <a:pt x="426" y="86"/>
                    </a:lnTo>
                    <a:lnTo>
                      <a:pt x="429" y="84"/>
                    </a:lnTo>
                    <a:lnTo>
                      <a:pt x="426" y="82"/>
                    </a:lnTo>
                    <a:lnTo>
                      <a:pt x="423" y="82"/>
                    </a:lnTo>
                    <a:lnTo>
                      <a:pt x="418" y="84"/>
                    </a:lnTo>
                    <a:lnTo>
                      <a:pt x="415" y="86"/>
                    </a:lnTo>
                    <a:lnTo>
                      <a:pt x="412" y="87"/>
                    </a:lnTo>
                    <a:lnTo>
                      <a:pt x="409" y="90"/>
                    </a:lnTo>
                    <a:lnTo>
                      <a:pt x="406" y="90"/>
                    </a:lnTo>
                    <a:lnTo>
                      <a:pt x="409" y="90"/>
                    </a:lnTo>
                    <a:lnTo>
                      <a:pt x="412" y="87"/>
                    </a:lnTo>
                    <a:lnTo>
                      <a:pt x="415" y="84"/>
                    </a:lnTo>
                    <a:lnTo>
                      <a:pt x="420" y="82"/>
                    </a:lnTo>
                    <a:lnTo>
                      <a:pt x="423" y="81"/>
                    </a:lnTo>
                    <a:lnTo>
                      <a:pt x="418" y="81"/>
                    </a:lnTo>
                    <a:lnTo>
                      <a:pt x="421" y="78"/>
                    </a:lnTo>
                    <a:lnTo>
                      <a:pt x="425" y="75"/>
                    </a:lnTo>
                    <a:lnTo>
                      <a:pt x="420" y="73"/>
                    </a:lnTo>
                    <a:lnTo>
                      <a:pt x="417" y="76"/>
                    </a:lnTo>
                    <a:lnTo>
                      <a:pt x="413" y="78"/>
                    </a:lnTo>
                    <a:lnTo>
                      <a:pt x="410" y="81"/>
                    </a:lnTo>
                    <a:lnTo>
                      <a:pt x="406" y="82"/>
                    </a:lnTo>
                    <a:lnTo>
                      <a:pt x="402" y="86"/>
                    </a:lnTo>
                    <a:lnTo>
                      <a:pt x="399" y="87"/>
                    </a:lnTo>
                    <a:lnTo>
                      <a:pt x="402" y="84"/>
                    </a:lnTo>
                    <a:lnTo>
                      <a:pt x="406" y="82"/>
                    </a:lnTo>
                    <a:lnTo>
                      <a:pt x="410" y="79"/>
                    </a:lnTo>
                    <a:lnTo>
                      <a:pt x="406" y="79"/>
                    </a:lnTo>
                    <a:lnTo>
                      <a:pt x="402" y="79"/>
                    </a:lnTo>
                    <a:lnTo>
                      <a:pt x="415" y="75"/>
                    </a:lnTo>
                    <a:lnTo>
                      <a:pt x="428" y="70"/>
                    </a:lnTo>
                    <a:lnTo>
                      <a:pt x="423" y="68"/>
                    </a:lnTo>
                    <a:lnTo>
                      <a:pt x="420" y="68"/>
                    </a:lnTo>
                    <a:lnTo>
                      <a:pt x="417" y="70"/>
                    </a:lnTo>
                    <a:lnTo>
                      <a:pt x="412" y="71"/>
                    </a:lnTo>
                    <a:lnTo>
                      <a:pt x="410" y="76"/>
                    </a:lnTo>
                    <a:lnTo>
                      <a:pt x="410" y="71"/>
                    </a:lnTo>
                    <a:lnTo>
                      <a:pt x="413" y="71"/>
                    </a:lnTo>
                    <a:lnTo>
                      <a:pt x="409" y="70"/>
                    </a:lnTo>
                    <a:lnTo>
                      <a:pt x="404" y="71"/>
                    </a:lnTo>
                    <a:lnTo>
                      <a:pt x="399" y="73"/>
                    </a:lnTo>
                    <a:lnTo>
                      <a:pt x="396" y="75"/>
                    </a:lnTo>
                    <a:lnTo>
                      <a:pt x="394" y="78"/>
                    </a:lnTo>
                    <a:lnTo>
                      <a:pt x="390" y="81"/>
                    </a:lnTo>
                    <a:lnTo>
                      <a:pt x="387" y="82"/>
                    </a:lnTo>
                    <a:lnTo>
                      <a:pt x="383" y="86"/>
                    </a:lnTo>
                    <a:lnTo>
                      <a:pt x="379" y="86"/>
                    </a:lnTo>
                    <a:lnTo>
                      <a:pt x="383" y="84"/>
                    </a:lnTo>
                    <a:lnTo>
                      <a:pt x="390" y="81"/>
                    </a:lnTo>
                    <a:lnTo>
                      <a:pt x="390" y="78"/>
                    </a:lnTo>
                    <a:lnTo>
                      <a:pt x="388" y="76"/>
                    </a:lnTo>
                    <a:lnTo>
                      <a:pt x="383" y="78"/>
                    </a:lnTo>
                    <a:lnTo>
                      <a:pt x="388" y="76"/>
                    </a:lnTo>
                    <a:lnTo>
                      <a:pt x="391" y="75"/>
                    </a:lnTo>
                    <a:lnTo>
                      <a:pt x="396" y="75"/>
                    </a:lnTo>
                    <a:lnTo>
                      <a:pt x="399" y="73"/>
                    </a:lnTo>
                    <a:lnTo>
                      <a:pt x="396" y="71"/>
                    </a:lnTo>
                    <a:lnTo>
                      <a:pt x="391" y="73"/>
                    </a:lnTo>
                    <a:lnTo>
                      <a:pt x="388" y="73"/>
                    </a:lnTo>
                    <a:lnTo>
                      <a:pt x="385" y="75"/>
                    </a:lnTo>
                    <a:lnTo>
                      <a:pt x="382" y="75"/>
                    </a:lnTo>
                    <a:lnTo>
                      <a:pt x="377" y="76"/>
                    </a:lnTo>
                    <a:lnTo>
                      <a:pt x="382" y="75"/>
                    </a:lnTo>
                    <a:lnTo>
                      <a:pt x="385" y="73"/>
                    </a:lnTo>
                    <a:lnTo>
                      <a:pt x="393" y="71"/>
                    </a:lnTo>
                    <a:lnTo>
                      <a:pt x="388" y="70"/>
                    </a:lnTo>
                    <a:lnTo>
                      <a:pt x="385" y="70"/>
                    </a:lnTo>
                    <a:lnTo>
                      <a:pt x="382" y="71"/>
                    </a:lnTo>
                    <a:lnTo>
                      <a:pt x="391" y="70"/>
                    </a:lnTo>
                    <a:lnTo>
                      <a:pt x="401" y="68"/>
                    </a:lnTo>
                    <a:lnTo>
                      <a:pt x="404" y="67"/>
                    </a:lnTo>
                    <a:lnTo>
                      <a:pt x="407" y="65"/>
                    </a:lnTo>
                    <a:lnTo>
                      <a:pt x="412" y="67"/>
                    </a:lnTo>
                    <a:lnTo>
                      <a:pt x="415" y="67"/>
                    </a:lnTo>
                    <a:lnTo>
                      <a:pt x="418" y="62"/>
                    </a:lnTo>
                    <a:lnTo>
                      <a:pt x="423" y="60"/>
                    </a:lnTo>
                    <a:lnTo>
                      <a:pt x="420" y="57"/>
                    </a:lnTo>
                    <a:lnTo>
                      <a:pt x="415" y="57"/>
                    </a:lnTo>
                    <a:lnTo>
                      <a:pt x="412" y="57"/>
                    </a:lnTo>
                    <a:lnTo>
                      <a:pt x="409" y="57"/>
                    </a:lnTo>
                    <a:lnTo>
                      <a:pt x="404" y="56"/>
                    </a:lnTo>
                    <a:lnTo>
                      <a:pt x="404" y="56"/>
                    </a:lnTo>
                    <a:lnTo>
                      <a:pt x="402" y="56"/>
                    </a:lnTo>
                    <a:lnTo>
                      <a:pt x="399" y="57"/>
                    </a:lnTo>
                    <a:lnTo>
                      <a:pt x="396" y="59"/>
                    </a:lnTo>
                    <a:lnTo>
                      <a:pt x="391" y="60"/>
                    </a:lnTo>
                    <a:lnTo>
                      <a:pt x="388" y="60"/>
                    </a:lnTo>
                    <a:lnTo>
                      <a:pt x="383" y="62"/>
                    </a:lnTo>
                    <a:lnTo>
                      <a:pt x="375" y="67"/>
                    </a:lnTo>
                    <a:lnTo>
                      <a:pt x="366" y="70"/>
                    </a:lnTo>
                    <a:lnTo>
                      <a:pt x="371" y="70"/>
                    </a:lnTo>
                    <a:lnTo>
                      <a:pt x="374" y="68"/>
                    </a:lnTo>
                    <a:lnTo>
                      <a:pt x="377" y="67"/>
                    </a:lnTo>
                    <a:lnTo>
                      <a:pt x="382" y="63"/>
                    </a:lnTo>
                    <a:lnTo>
                      <a:pt x="385" y="60"/>
                    </a:lnTo>
                    <a:lnTo>
                      <a:pt x="388" y="59"/>
                    </a:lnTo>
                    <a:lnTo>
                      <a:pt x="391" y="59"/>
                    </a:lnTo>
                    <a:lnTo>
                      <a:pt x="396" y="57"/>
                    </a:lnTo>
                    <a:lnTo>
                      <a:pt x="387" y="56"/>
                    </a:lnTo>
                    <a:lnTo>
                      <a:pt x="379" y="57"/>
                    </a:lnTo>
                    <a:lnTo>
                      <a:pt x="371" y="60"/>
                    </a:lnTo>
                    <a:lnTo>
                      <a:pt x="363" y="63"/>
                    </a:lnTo>
                    <a:lnTo>
                      <a:pt x="375" y="59"/>
                    </a:lnTo>
                    <a:lnTo>
                      <a:pt x="388" y="56"/>
                    </a:lnTo>
                    <a:lnTo>
                      <a:pt x="394" y="56"/>
                    </a:lnTo>
                    <a:lnTo>
                      <a:pt x="402" y="54"/>
                    </a:lnTo>
                    <a:lnTo>
                      <a:pt x="406" y="54"/>
                    </a:lnTo>
                    <a:lnTo>
                      <a:pt x="407" y="52"/>
                    </a:lnTo>
                    <a:lnTo>
                      <a:pt x="409" y="49"/>
                    </a:lnTo>
                    <a:lnTo>
                      <a:pt x="409" y="44"/>
                    </a:lnTo>
                    <a:lnTo>
                      <a:pt x="406" y="43"/>
                    </a:lnTo>
                    <a:lnTo>
                      <a:pt x="401" y="41"/>
                    </a:lnTo>
                    <a:lnTo>
                      <a:pt x="398" y="41"/>
                    </a:lnTo>
                    <a:lnTo>
                      <a:pt x="394" y="40"/>
                    </a:lnTo>
                    <a:lnTo>
                      <a:pt x="390" y="41"/>
                    </a:lnTo>
                    <a:lnTo>
                      <a:pt x="387" y="44"/>
                    </a:lnTo>
                    <a:lnTo>
                      <a:pt x="388" y="41"/>
                    </a:lnTo>
                    <a:lnTo>
                      <a:pt x="377" y="38"/>
                    </a:lnTo>
                    <a:lnTo>
                      <a:pt x="374" y="36"/>
                    </a:lnTo>
                    <a:lnTo>
                      <a:pt x="369" y="35"/>
                    </a:lnTo>
                    <a:lnTo>
                      <a:pt x="355" y="35"/>
                    </a:lnTo>
                    <a:lnTo>
                      <a:pt x="352" y="36"/>
                    </a:lnTo>
                    <a:lnTo>
                      <a:pt x="347" y="36"/>
                    </a:lnTo>
                    <a:lnTo>
                      <a:pt x="344" y="38"/>
                    </a:lnTo>
                    <a:lnTo>
                      <a:pt x="341" y="38"/>
                    </a:lnTo>
                    <a:lnTo>
                      <a:pt x="336" y="40"/>
                    </a:lnTo>
                    <a:lnTo>
                      <a:pt x="333" y="40"/>
                    </a:lnTo>
                    <a:lnTo>
                      <a:pt x="329" y="41"/>
                    </a:lnTo>
                    <a:lnTo>
                      <a:pt x="325" y="43"/>
                    </a:lnTo>
                    <a:lnTo>
                      <a:pt x="323" y="46"/>
                    </a:lnTo>
                    <a:lnTo>
                      <a:pt x="328" y="48"/>
                    </a:lnTo>
                    <a:lnTo>
                      <a:pt x="331" y="49"/>
                    </a:lnTo>
                    <a:lnTo>
                      <a:pt x="334" y="49"/>
                    </a:lnTo>
                    <a:lnTo>
                      <a:pt x="337" y="51"/>
                    </a:lnTo>
                    <a:lnTo>
                      <a:pt x="342" y="54"/>
                    </a:lnTo>
                    <a:lnTo>
                      <a:pt x="348" y="54"/>
                    </a:lnTo>
                    <a:lnTo>
                      <a:pt x="352" y="54"/>
                    </a:lnTo>
                    <a:lnTo>
                      <a:pt x="347" y="54"/>
                    </a:lnTo>
                    <a:lnTo>
                      <a:pt x="344" y="54"/>
                    </a:lnTo>
                    <a:lnTo>
                      <a:pt x="341" y="54"/>
                    </a:lnTo>
                    <a:lnTo>
                      <a:pt x="336" y="57"/>
                    </a:lnTo>
                    <a:lnTo>
                      <a:pt x="339" y="54"/>
                    </a:lnTo>
                    <a:lnTo>
                      <a:pt x="336" y="51"/>
                    </a:lnTo>
                    <a:lnTo>
                      <a:pt x="331" y="52"/>
                    </a:lnTo>
                    <a:lnTo>
                      <a:pt x="328" y="51"/>
                    </a:lnTo>
                    <a:lnTo>
                      <a:pt x="325" y="49"/>
                    </a:lnTo>
                    <a:lnTo>
                      <a:pt x="321" y="51"/>
                    </a:lnTo>
                    <a:lnTo>
                      <a:pt x="318" y="54"/>
                    </a:lnTo>
                    <a:lnTo>
                      <a:pt x="320" y="51"/>
                    </a:lnTo>
                    <a:lnTo>
                      <a:pt x="315" y="49"/>
                    </a:lnTo>
                    <a:lnTo>
                      <a:pt x="312" y="51"/>
                    </a:lnTo>
                    <a:lnTo>
                      <a:pt x="314" y="54"/>
                    </a:lnTo>
                    <a:lnTo>
                      <a:pt x="317" y="56"/>
                    </a:lnTo>
                    <a:lnTo>
                      <a:pt x="317" y="59"/>
                    </a:lnTo>
                    <a:lnTo>
                      <a:pt x="320" y="60"/>
                    </a:lnTo>
                    <a:lnTo>
                      <a:pt x="323" y="63"/>
                    </a:lnTo>
                    <a:lnTo>
                      <a:pt x="326" y="67"/>
                    </a:lnTo>
                    <a:lnTo>
                      <a:pt x="323" y="67"/>
                    </a:lnTo>
                    <a:lnTo>
                      <a:pt x="320" y="62"/>
                    </a:lnTo>
                    <a:lnTo>
                      <a:pt x="317" y="62"/>
                    </a:lnTo>
                    <a:lnTo>
                      <a:pt x="315" y="65"/>
                    </a:lnTo>
                    <a:lnTo>
                      <a:pt x="320" y="67"/>
                    </a:lnTo>
                    <a:lnTo>
                      <a:pt x="317" y="67"/>
                    </a:lnTo>
                    <a:lnTo>
                      <a:pt x="315" y="67"/>
                    </a:lnTo>
                    <a:lnTo>
                      <a:pt x="314" y="63"/>
                    </a:lnTo>
                    <a:lnTo>
                      <a:pt x="315" y="59"/>
                    </a:lnTo>
                    <a:lnTo>
                      <a:pt x="312" y="56"/>
                    </a:lnTo>
                    <a:lnTo>
                      <a:pt x="309" y="54"/>
                    </a:lnTo>
                    <a:lnTo>
                      <a:pt x="306" y="57"/>
                    </a:lnTo>
                    <a:lnTo>
                      <a:pt x="302" y="59"/>
                    </a:lnTo>
                    <a:lnTo>
                      <a:pt x="306" y="62"/>
                    </a:lnTo>
                    <a:lnTo>
                      <a:pt x="302" y="62"/>
                    </a:lnTo>
                    <a:lnTo>
                      <a:pt x="298" y="60"/>
                    </a:lnTo>
                    <a:lnTo>
                      <a:pt x="295" y="62"/>
                    </a:lnTo>
                    <a:lnTo>
                      <a:pt x="298" y="59"/>
                    </a:lnTo>
                    <a:lnTo>
                      <a:pt x="302" y="57"/>
                    </a:lnTo>
                    <a:lnTo>
                      <a:pt x="306" y="54"/>
                    </a:lnTo>
                    <a:lnTo>
                      <a:pt x="309" y="51"/>
                    </a:lnTo>
                    <a:lnTo>
                      <a:pt x="306" y="48"/>
                    </a:lnTo>
                    <a:lnTo>
                      <a:pt x="302" y="48"/>
                    </a:lnTo>
                    <a:lnTo>
                      <a:pt x="298" y="49"/>
                    </a:lnTo>
                    <a:lnTo>
                      <a:pt x="295" y="51"/>
                    </a:lnTo>
                    <a:lnTo>
                      <a:pt x="291" y="51"/>
                    </a:lnTo>
                    <a:lnTo>
                      <a:pt x="287" y="52"/>
                    </a:lnTo>
                    <a:lnTo>
                      <a:pt x="291" y="51"/>
                    </a:lnTo>
                    <a:lnTo>
                      <a:pt x="293" y="48"/>
                    </a:lnTo>
                    <a:lnTo>
                      <a:pt x="295" y="43"/>
                    </a:lnTo>
                    <a:lnTo>
                      <a:pt x="291" y="44"/>
                    </a:lnTo>
                    <a:lnTo>
                      <a:pt x="287" y="46"/>
                    </a:lnTo>
                    <a:lnTo>
                      <a:pt x="285" y="46"/>
                    </a:lnTo>
                    <a:lnTo>
                      <a:pt x="282" y="48"/>
                    </a:lnTo>
                    <a:lnTo>
                      <a:pt x="280" y="51"/>
                    </a:lnTo>
                    <a:lnTo>
                      <a:pt x="280" y="52"/>
                    </a:lnTo>
                    <a:lnTo>
                      <a:pt x="285" y="54"/>
                    </a:lnTo>
                    <a:lnTo>
                      <a:pt x="280" y="54"/>
                    </a:lnTo>
                    <a:lnTo>
                      <a:pt x="279" y="54"/>
                    </a:lnTo>
                    <a:lnTo>
                      <a:pt x="277" y="51"/>
                    </a:lnTo>
                    <a:lnTo>
                      <a:pt x="274" y="51"/>
                    </a:lnTo>
                    <a:lnTo>
                      <a:pt x="271" y="54"/>
                    </a:lnTo>
                    <a:lnTo>
                      <a:pt x="268" y="57"/>
                    </a:lnTo>
                    <a:lnTo>
                      <a:pt x="263" y="59"/>
                    </a:lnTo>
                    <a:lnTo>
                      <a:pt x="260" y="60"/>
                    </a:lnTo>
                    <a:lnTo>
                      <a:pt x="255" y="60"/>
                    </a:lnTo>
                    <a:lnTo>
                      <a:pt x="252" y="62"/>
                    </a:lnTo>
                    <a:lnTo>
                      <a:pt x="249" y="63"/>
                    </a:lnTo>
                    <a:lnTo>
                      <a:pt x="252" y="62"/>
                    </a:lnTo>
                    <a:lnTo>
                      <a:pt x="249" y="59"/>
                    </a:lnTo>
                    <a:lnTo>
                      <a:pt x="252" y="57"/>
                    </a:lnTo>
                    <a:lnTo>
                      <a:pt x="255" y="57"/>
                    </a:lnTo>
                    <a:lnTo>
                      <a:pt x="258" y="57"/>
                    </a:lnTo>
                    <a:lnTo>
                      <a:pt x="263" y="57"/>
                    </a:lnTo>
                    <a:lnTo>
                      <a:pt x="258" y="56"/>
                    </a:lnTo>
                    <a:lnTo>
                      <a:pt x="260" y="52"/>
                    </a:lnTo>
                    <a:lnTo>
                      <a:pt x="263" y="49"/>
                    </a:lnTo>
                    <a:lnTo>
                      <a:pt x="268" y="48"/>
                    </a:lnTo>
                    <a:lnTo>
                      <a:pt x="271" y="48"/>
                    </a:lnTo>
                    <a:lnTo>
                      <a:pt x="274" y="44"/>
                    </a:lnTo>
                    <a:lnTo>
                      <a:pt x="271" y="44"/>
                    </a:lnTo>
                    <a:lnTo>
                      <a:pt x="268" y="44"/>
                    </a:lnTo>
                    <a:lnTo>
                      <a:pt x="263" y="46"/>
                    </a:lnTo>
                    <a:lnTo>
                      <a:pt x="260" y="48"/>
                    </a:lnTo>
                    <a:lnTo>
                      <a:pt x="256" y="49"/>
                    </a:lnTo>
                    <a:lnTo>
                      <a:pt x="253" y="51"/>
                    </a:lnTo>
                    <a:lnTo>
                      <a:pt x="249" y="52"/>
                    </a:lnTo>
                    <a:lnTo>
                      <a:pt x="269" y="43"/>
                    </a:lnTo>
                    <a:lnTo>
                      <a:pt x="290" y="35"/>
                    </a:lnTo>
                    <a:lnTo>
                      <a:pt x="287" y="32"/>
                    </a:lnTo>
                    <a:lnTo>
                      <a:pt x="287" y="29"/>
                    </a:lnTo>
                    <a:lnTo>
                      <a:pt x="290" y="27"/>
                    </a:lnTo>
                    <a:lnTo>
                      <a:pt x="293" y="24"/>
                    </a:lnTo>
                    <a:lnTo>
                      <a:pt x="290" y="21"/>
                    </a:lnTo>
                    <a:lnTo>
                      <a:pt x="285" y="19"/>
                    </a:lnTo>
                    <a:lnTo>
                      <a:pt x="282" y="19"/>
                    </a:lnTo>
                    <a:lnTo>
                      <a:pt x="285" y="16"/>
                    </a:lnTo>
                    <a:lnTo>
                      <a:pt x="288" y="11"/>
                    </a:lnTo>
                    <a:lnTo>
                      <a:pt x="290" y="8"/>
                    </a:lnTo>
                    <a:lnTo>
                      <a:pt x="288" y="5"/>
                    </a:lnTo>
                    <a:lnTo>
                      <a:pt x="272" y="3"/>
                    </a:lnTo>
                    <a:lnTo>
                      <a:pt x="255" y="3"/>
                    </a:lnTo>
                    <a:lnTo>
                      <a:pt x="252" y="5"/>
                    </a:lnTo>
                    <a:lnTo>
                      <a:pt x="247" y="6"/>
                    </a:lnTo>
                    <a:lnTo>
                      <a:pt x="244" y="5"/>
                    </a:lnTo>
                    <a:lnTo>
                      <a:pt x="239" y="6"/>
                    </a:lnTo>
                    <a:lnTo>
                      <a:pt x="231" y="8"/>
                    </a:lnTo>
                    <a:lnTo>
                      <a:pt x="222" y="10"/>
                    </a:lnTo>
                    <a:lnTo>
                      <a:pt x="225" y="11"/>
                    </a:lnTo>
                    <a:lnTo>
                      <a:pt x="223" y="16"/>
                    </a:lnTo>
                    <a:lnTo>
                      <a:pt x="220" y="13"/>
                    </a:lnTo>
                    <a:lnTo>
                      <a:pt x="217" y="11"/>
                    </a:lnTo>
                    <a:lnTo>
                      <a:pt x="212" y="11"/>
                    </a:lnTo>
                    <a:lnTo>
                      <a:pt x="209" y="13"/>
                    </a:lnTo>
                    <a:lnTo>
                      <a:pt x="206" y="13"/>
                    </a:lnTo>
                    <a:lnTo>
                      <a:pt x="201" y="13"/>
                    </a:lnTo>
                    <a:lnTo>
                      <a:pt x="201" y="17"/>
                    </a:lnTo>
                    <a:lnTo>
                      <a:pt x="198" y="17"/>
                    </a:lnTo>
                    <a:lnTo>
                      <a:pt x="193" y="14"/>
                    </a:lnTo>
                    <a:lnTo>
                      <a:pt x="190" y="16"/>
                    </a:lnTo>
                    <a:lnTo>
                      <a:pt x="187" y="16"/>
                    </a:lnTo>
                    <a:lnTo>
                      <a:pt x="182" y="19"/>
                    </a:lnTo>
                    <a:lnTo>
                      <a:pt x="187" y="21"/>
                    </a:lnTo>
                    <a:lnTo>
                      <a:pt x="190" y="22"/>
                    </a:lnTo>
                    <a:lnTo>
                      <a:pt x="193" y="22"/>
                    </a:lnTo>
                    <a:lnTo>
                      <a:pt x="196" y="24"/>
                    </a:lnTo>
                    <a:lnTo>
                      <a:pt x="199" y="24"/>
                    </a:lnTo>
                    <a:lnTo>
                      <a:pt x="203" y="25"/>
                    </a:lnTo>
                    <a:lnTo>
                      <a:pt x="207" y="25"/>
                    </a:lnTo>
                    <a:lnTo>
                      <a:pt x="210" y="25"/>
                    </a:lnTo>
                    <a:lnTo>
                      <a:pt x="203" y="25"/>
                    </a:lnTo>
                    <a:lnTo>
                      <a:pt x="193" y="25"/>
                    </a:lnTo>
                    <a:lnTo>
                      <a:pt x="188" y="24"/>
                    </a:lnTo>
                    <a:lnTo>
                      <a:pt x="185" y="24"/>
                    </a:lnTo>
                    <a:lnTo>
                      <a:pt x="182" y="22"/>
                    </a:lnTo>
                    <a:lnTo>
                      <a:pt x="179" y="22"/>
                    </a:lnTo>
                    <a:lnTo>
                      <a:pt x="174" y="25"/>
                    </a:lnTo>
                    <a:lnTo>
                      <a:pt x="171" y="22"/>
                    </a:lnTo>
                    <a:lnTo>
                      <a:pt x="168" y="25"/>
                    </a:lnTo>
                    <a:lnTo>
                      <a:pt x="182" y="29"/>
                    </a:lnTo>
                    <a:lnTo>
                      <a:pt x="196" y="35"/>
                    </a:lnTo>
                    <a:lnTo>
                      <a:pt x="193" y="35"/>
                    </a:lnTo>
                    <a:lnTo>
                      <a:pt x="188" y="33"/>
                    </a:lnTo>
                    <a:lnTo>
                      <a:pt x="185" y="32"/>
                    </a:lnTo>
                    <a:lnTo>
                      <a:pt x="182" y="32"/>
                    </a:lnTo>
                    <a:lnTo>
                      <a:pt x="179" y="30"/>
                    </a:lnTo>
                    <a:lnTo>
                      <a:pt x="174" y="29"/>
                    </a:lnTo>
                    <a:lnTo>
                      <a:pt x="166" y="27"/>
                    </a:lnTo>
                    <a:lnTo>
                      <a:pt x="161" y="29"/>
                    </a:lnTo>
                    <a:lnTo>
                      <a:pt x="155" y="33"/>
                    </a:lnTo>
                    <a:lnTo>
                      <a:pt x="150" y="38"/>
                    </a:lnTo>
                    <a:lnTo>
                      <a:pt x="153" y="41"/>
                    </a:lnTo>
                    <a:lnTo>
                      <a:pt x="150" y="41"/>
                    </a:lnTo>
                    <a:lnTo>
                      <a:pt x="149" y="44"/>
                    </a:lnTo>
                    <a:lnTo>
                      <a:pt x="155" y="46"/>
                    </a:lnTo>
                    <a:lnTo>
                      <a:pt x="158" y="48"/>
                    </a:lnTo>
                    <a:lnTo>
                      <a:pt x="161" y="46"/>
                    </a:lnTo>
                    <a:lnTo>
                      <a:pt x="168" y="44"/>
                    </a:lnTo>
                    <a:lnTo>
                      <a:pt x="163" y="46"/>
                    </a:lnTo>
                    <a:lnTo>
                      <a:pt x="168" y="48"/>
                    </a:lnTo>
                    <a:lnTo>
                      <a:pt x="171" y="48"/>
                    </a:lnTo>
                    <a:lnTo>
                      <a:pt x="168" y="48"/>
                    </a:lnTo>
                    <a:lnTo>
                      <a:pt x="164" y="48"/>
                    </a:lnTo>
                    <a:lnTo>
                      <a:pt x="160" y="49"/>
                    </a:lnTo>
                    <a:lnTo>
                      <a:pt x="161" y="52"/>
                    </a:lnTo>
                    <a:lnTo>
                      <a:pt x="164" y="56"/>
                    </a:lnTo>
                    <a:lnTo>
                      <a:pt x="168" y="59"/>
                    </a:lnTo>
                    <a:lnTo>
                      <a:pt x="166" y="62"/>
                    </a:lnTo>
                    <a:lnTo>
                      <a:pt x="166" y="59"/>
                    </a:lnTo>
                    <a:lnTo>
                      <a:pt x="163" y="56"/>
                    </a:lnTo>
                    <a:lnTo>
                      <a:pt x="158" y="54"/>
                    </a:lnTo>
                    <a:lnTo>
                      <a:pt x="155" y="52"/>
                    </a:lnTo>
                    <a:lnTo>
                      <a:pt x="152" y="51"/>
                    </a:lnTo>
                    <a:lnTo>
                      <a:pt x="144" y="51"/>
                    </a:lnTo>
                    <a:lnTo>
                      <a:pt x="141" y="54"/>
                    </a:lnTo>
                    <a:lnTo>
                      <a:pt x="138" y="57"/>
                    </a:lnTo>
                    <a:lnTo>
                      <a:pt x="134" y="59"/>
                    </a:lnTo>
                    <a:lnTo>
                      <a:pt x="130" y="59"/>
                    </a:lnTo>
                    <a:lnTo>
                      <a:pt x="126" y="59"/>
                    </a:lnTo>
                    <a:lnTo>
                      <a:pt x="123" y="59"/>
                    </a:lnTo>
                    <a:lnTo>
                      <a:pt x="126" y="62"/>
                    </a:lnTo>
                    <a:lnTo>
                      <a:pt x="130" y="63"/>
                    </a:lnTo>
                    <a:lnTo>
                      <a:pt x="130" y="67"/>
                    </a:lnTo>
                    <a:lnTo>
                      <a:pt x="126" y="67"/>
                    </a:lnTo>
                    <a:lnTo>
                      <a:pt x="130" y="70"/>
                    </a:lnTo>
                    <a:lnTo>
                      <a:pt x="133" y="71"/>
                    </a:lnTo>
                    <a:lnTo>
                      <a:pt x="136" y="71"/>
                    </a:lnTo>
                    <a:lnTo>
                      <a:pt x="141" y="71"/>
                    </a:lnTo>
                    <a:lnTo>
                      <a:pt x="144" y="71"/>
                    </a:lnTo>
                    <a:lnTo>
                      <a:pt x="144" y="75"/>
                    </a:lnTo>
                    <a:lnTo>
                      <a:pt x="142" y="78"/>
                    </a:lnTo>
                    <a:lnTo>
                      <a:pt x="139" y="79"/>
                    </a:lnTo>
                    <a:lnTo>
                      <a:pt x="136" y="79"/>
                    </a:lnTo>
                    <a:lnTo>
                      <a:pt x="133" y="82"/>
                    </a:lnTo>
                    <a:lnTo>
                      <a:pt x="133" y="86"/>
                    </a:lnTo>
                    <a:lnTo>
                      <a:pt x="123" y="92"/>
                    </a:lnTo>
                    <a:lnTo>
                      <a:pt x="115" y="97"/>
                    </a:lnTo>
                    <a:lnTo>
                      <a:pt x="118" y="92"/>
                    </a:lnTo>
                    <a:lnTo>
                      <a:pt x="117" y="90"/>
                    </a:lnTo>
                    <a:lnTo>
                      <a:pt x="123" y="90"/>
                    </a:lnTo>
                    <a:lnTo>
                      <a:pt x="120" y="87"/>
                    </a:lnTo>
                    <a:lnTo>
                      <a:pt x="117" y="89"/>
                    </a:lnTo>
                    <a:lnTo>
                      <a:pt x="112" y="87"/>
                    </a:lnTo>
                    <a:lnTo>
                      <a:pt x="109" y="87"/>
                    </a:lnTo>
                    <a:lnTo>
                      <a:pt x="106" y="89"/>
                    </a:lnTo>
                    <a:lnTo>
                      <a:pt x="101" y="89"/>
                    </a:lnTo>
                    <a:lnTo>
                      <a:pt x="98" y="89"/>
                    </a:lnTo>
                    <a:lnTo>
                      <a:pt x="85" y="92"/>
                    </a:lnTo>
                    <a:lnTo>
                      <a:pt x="72" y="94"/>
                    </a:lnTo>
                    <a:lnTo>
                      <a:pt x="76" y="92"/>
                    </a:lnTo>
                    <a:lnTo>
                      <a:pt x="80" y="92"/>
                    </a:lnTo>
                    <a:lnTo>
                      <a:pt x="84" y="92"/>
                    </a:lnTo>
                    <a:lnTo>
                      <a:pt x="87" y="90"/>
                    </a:lnTo>
                    <a:lnTo>
                      <a:pt x="90" y="90"/>
                    </a:lnTo>
                    <a:lnTo>
                      <a:pt x="95" y="89"/>
                    </a:lnTo>
                    <a:lnTo>
                      <a:pt x="98" y="87"/>
                    </a:lnTo>
                    <a:lnTo>
                      <a:pt x="101" y="87"/>
                    </a:lnTo>
                    <a:lnTo>
                      <a:pt x="104" y="86"/>
                    </a:lnTo>
                    <a:lnTo>
                      <a:pt x="109" y="87"/>
                    </a:lnTo>
                    <a:lnTo>
                      <a:pt x="112" y="87"/>
                    </a:lnTo>
                    <a:lnTo>
                      <a:pt x="115" y="86"/>
                    </a:lnTo>
                    <a:lnTo>
                      <a:pt x="118" y="84"/>
                    </a:lnTo>
                    <a:lnTo>
                      <a:pt x="123" y="84"/>
                    </a:lnTo>
                    <a:lnTo>
                      <a:pt x="126" y="84"/>
                    </a:lnTo>
                    <a:lnTo>
                      <a:pt x="130" y="84"/>
                    </a:lnTo>
                    <a:lnTo>
                      <a:pt x="131" y="81"/>
                    </a:lnTo>
                    <a:lnTo>
                      <a:pt x="131" y="81"/>
                    </a:lnTo>
                    <a:lnTo>
                      <a:pt x="125" y="78"/>
                    </a:lnTo>
                    <a:lnTo>
                      <a:pt x="120" y="76"/>
                    </a:lnTo>
                    <a:lnTo>
                      <a:pt x="117" y="73"/>
                    </a:lnTo>
                    <a:lnTo>
                      <a:pt x="112" y="65"/>
                    </a:lnTo>
                    <a:lnTo>
                      <a:pt x="112" y="62"/>
                    </a:lnTo>
                    <a:lnTo>
                      <a:pt x="114" y="57"/>
                    </a:lnTo>
                    <a:lnTo>
                      <a:pt x="115" y="54"/>
                    </a:lnTo>
                    <a:lnTo>
                      <a:pt x="118" y="52"/>
                    </a:lnTo>
                    <a:lnTo>
                      <a:pt x="125" y="49"/>
                    </a:lnTo>
                    <a:lnTo>
                      <a:pt x="130" y="44"/>
                    </a:lnTo>
                    <a:lnTo>
                      <a:pt x="128" y="41"/>
                    </a:lnTo>
                    <a:lnTo>
                      <a:pt x="125" y="38"/>
                    </a:lnTo>
                    <a:lnTo>
                      <a:pt x="128" y="35"/>
                    </a:lnTo>
                    <a:lnTo>
                      <a:pt x="133" y="32"/>
                    </a:lnTo>
                    <a:lnTo>
                      <a:pt x="138" y="30"/>
                    </a:lnTo>
                    <a:lnTo>
                      <a:pt x="142" y="27"/>
                    </a:lnTo>
                    <a:lnTo>
                      <a:pt x="152" y="22"/>
                    </a:lnTo>
                    <a:lnTo>
                      <a:pt x="163" y="16"/>
                    </a:lnTo>
                    <a:lnTo>
                      <a:pt x="184" y="10"/>
                    </a:lnTo>
                    <a:lnTo>
                      <a:pt x="203" y="5"/>
                    </a:lnTo>
                    <a:lnTo>
                      <a:pt x="203" y="2"/>
                    </a:lnTo>
                    <a:lnTo>
                      <a:pt x="185" y="0"/>
                    </a:lnTo>
                    <a:lnTo>
                      <a:pt x="168" y="0"/>
                    </a:lnTo>
                    <a:lnTo>
                      <a:pt x="149" y="2"/>
                    </a:lnTo>
                    <a:lnTo>
                      <a:pt x="131" y="3"/>
                    </a:lnTo>
                    <a:lnTo>
                      <a:pt x="114" y="8"/>
                    </a:lnTo>
                    <a:lnTo>
                      <a:pt x="98" y="14"/>
                    </a:lnTo>
                    <a:lnTo>
                      <a:pt x="88" y="17"/>
                    </a:lnTo>
                    <a:lnTo>
                      <a:pt x="79" y="21"/>
                    </a:lnTo>
                    <a:lnTo>
                      <a:pt x="76" y="24"/>
                    </a:lnTo>
                    <a:lnTo>
                      <a:pt x="71" y="27"/>
                    </a:lnTo>
                    <a:lnTo>
                      <a:pt x="66" y="30"/>
                    </a:lnTo>
                    <a:lnTo>
                      <a:pt x="65" y="35"/>
                    </a:lnTo>
                    <a:lnTo>
                      <a:pt x="60" y="35"/>
                    </a:lnTo>
                    <a:lnTo>
                      <a:pt x="57" y="35"/>
                    </a:lnTo>
                    <a:lnTo>
                      <a:pt x="53" y="38"/>
                    </a:lnTo>
                    <a:lnTo>
                      <a:pt x="49" y="40"/>
                    </a:lnTo>
                    <a:lnTo>
                      <a:pt x="46" y="41"/>
                    </a:lnTo>
                    <a:lnTo>
                      <a:pt x="42" y="44"/>
                    </a:lnTo>
                    <a:lnTo>
                      <a:pt x="38" y="46"/>
                    </a:lnTo>
                    <a:lnTo>
                      <a:pt x="33" y="49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0" y="56"/>
                    </a:lnTo>
                    <a:lnTo>
                      <a:pt x="27" y="57"/>
                    </a:lnTo>
                    <a:lnTo>
                      <a:pt x="23" y="57"/>
                    </a:lnTo>
                    <a:lnTo>
                      <a:pt x="23" y="59"/>
                    </a:lnTo>
                    <a:lnTo>
                      <a:pt x="22" y="59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17" y="62"/>
                    </a:lnTo>
                    <a:lnTo>
                      <a:pt x="17" y="63"/>
                    </a:lnTo>
                    <a:lnTo>
                      <a:pt x="17" y="68"/>
                    </a:lnTo>
                    <a:lnTo>
                      <a:pt x="11" y="71"/>
                    </a:lnTo>
                    <a:lnTo>
                      <a:pt x="3" y="7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50" name="Freeform 653"/>
              <p:cNvSpPr>
                <a:spLocks/>
              </p:cNvSpPr>
              <p:nvPr/>
            </p:nvSpPr>
            <p:spPr bwMode="auto">
              <a:xfrm>
                <a:off x="1530" y="958"/>
                <a:ext cx="39" cy="16"/>
              </a:xfrm>
              <a:custGeom>
                <a:avLst/>
                <a:gdLst>
                  <a:gd name="T0" fmla="*/ 10 w 80"/>
                  <a:gd name="T1" fmla="*/ 31 h 31"/>
                  <a:gd name="T2" fmla="*/ 13 w 80"/>
                  <a:gd name="T3" fmla="*/ 30 h 31"/>
                  <a:gd name="T4" fmla="*/ 16 w 80"/>
                  <a:gd name="T5" fmla="*/ 30 h 31"/>
                  <a:gd name="T6" fmla="*/ 21 w 80"/>
                  <a:gd name="T7" fmla="*/ 30 h 31"/>
                  <a:gd name="T8" fmla="*/ 16 w 80"/>
                  <a:gd name="T9" fmla="*/ 28 h 31"/>
                  <a:gd name="T10" fmla="*/ 23 w 80"/>
                  <a:gd name="T11" fmla="*/ 28 h 31"/>
                  <a:gd name="T12" fmla="*/ 27 w 80"/>
                  <a:gd name="T13" fmla="*/ 28 h 31"/>
                  <a:gd name="T14" fmla="*/ 31 w 80"/>
                  <a:gd name="T15" fmla="*/ 28 h 31"/>
                  <a:gd name="T16" fmla="*/ 34 w 80"/>
                  <a:gd name="T17" fmla="*/ 28 h 31"/>
                  <a:gd name="T18" fmla="*/ 39 w 80"/>
                  <a:gd name="T19" fmla="*/ 28 h 31"/>
                  <a:gd name="T20" fmla="*/ 42 w 80"/>
                  <a:gd name="T21" fmla="*/ 27 h 31"/>
                  <a:gd name="T22" fmla="*/ 56 w 80"/>
                  <a:gd name="T23" fmla="*/ 25 h 31"/>
                  <a:gd name="T24" fmla="*/ 69 w 80"/>
                  <a:gd name="T25" fmla="*/ 22 h 31"/>
                  <a:gd name="T26" fmla="*/ 65 w 80"/>
                  <a:gd name="T27" fmla="*/ 19 h 31"/>
                  <a:gd name="T28" fmla="*/ 61 w 80"/>
                  <a:gd name="T29" fmla="*/ 19 h 31"/>
                  <a:gd name="T30" fmla="*/ 70 w 80"/>
                  <a:gd name="T31" fmla="*/ 15 h 31"/>
                  <a:gd name="T32" fmla="*/ 80 w 80"/>
                  <a:gd name="T33" fmla="*/ 14 h 31"/>
                  <a:gd name="T34" fmla="*/ 77 w 80"/>
                  <a:gd name="T35" fmla="*/ 11 h 31"/>
                  <a:gd name="T36" fmla="*/ 72 w 80"/>
                  <a:gd name="T37" fmla="*/ 9 h 31"/>
                  <a:gd name="T38" fmla="*/ 69 w 80"/>
                  <a:gd name="T39" fmla="*/ 9 h 31"/>
                  <a:gd name="T40" fmla="*/ 65 w 80"/>
                  <a:gd name="T41" fmla="*/ 9 h 31"/>
                  <a:gd name="T42" fmla="*/ 61 w 80"/>
                  <a:gd name="T43" fmla="*/ 9 h 31"/>
                  <a:gd name="T44" fmla="*/ 54 w 80"/>
                  <a:gd name="T45" fmla="*/ 9 h 31"/>
                  <a:gd name="T46" fmla="*/ 58 w 80"/>
                  <a:gd name="T47" fmla="*/ 8 h 31"/>
                  <a:gd name="T48" fmla="*/ 54 w 80"/>
                  <a:gd name="T49" fmla="*/ 4 h 31"/>
                  <a:gd name="T50" fmla="*/ 51 w 80"/>
                  <a:gd name="T51" fmla="*/ 4 h 31"/>
                  <a:gd name="T52" fmla="*/ 46 w 80"/>
                  <a:gd name="T53" fmla="*/ 4 h 31"/>
                  <a:gd name="T54" fmla="*/ 43 w 80"/>
                  <a:gd name="T55" fmla="*/ 3 h 31"/>
                  <a:gd name="T56" fmla="*/ 40 w 80"/>
                  <a:gd name="T57" fmla="*/ 1 h 31"/>
                  <a:gd name="T58" fmla="*/ 35 w 80"/>
                  <a:gd name="T59" fmla="*/ 1 h 31"/>
                  <a:gd name="T60" fmla="*/ 29 w 80"/>
                  <a:gd name="T61" fmla="*/ 0 h 31"/>
                  <a:gd name="T62" fmla="*/ 23 w 80"/>
                  <a:gd name="T63" fmla="*/ 0 h 31"/>
                  <a:gd name="T64" fmla="*/ 16 w 80"/>
                  <a:gd name="T65" fmla="*/ 1 h 31"/>
                  <a:gd name="T66" fmla="*/ 12 w 80"/>
                  <a:gd name="T67" fmla="*/ 4 h 31"/>
                  <a:gd name="T68" fmla="*/ 13 w 80"/>
                  <a:gd name="T69" fmla="*/ 9 h 31"/>
                  <a:gd name="T70" fmla="*/ 10 w 80"/>
                  <a:gd name="T71" fmla="*/ 9 h 31"/>
                  <a:gd name="T72" fmla="*/ 7 w 80"/>
                  <a:gd name="T73" fmla="*/ 9 h 31"/>
                  <a:gd name="T74" fmla="*/ 2 w 80"/>
                  <a:gd name="T75" fmla="*/ 11 h 31"/>
                  <a:gd name="T76" fmla="*/ 7 w 80"/>
                  <a:gd name="T77" fmla="*/ 12 h 31"/>
                  <a:gd name="T78" fmla="*/ 4 w 80"/>
                  <a:gd name="T79" fmla="*/ 15 h 31"/>
                  <a:gd name="T80" fmla="*/ 7 w 80"/>
                  <a:gd name="T81" fmla="*/ 17 h 31"/>
                  <a:gd name="T82" fmla="*/ 4 w 80"/>
                  <a:gd name="T83" fmla="*/ 17 h 31"/>
                  <a:gd name="T84" fmla="*/ 13 w 80"/>
                  <a:gd name="T85" fmla="*/ 19 h 31"/>
                  <a:gd name="T86" fmla="*/ 21 w 80"/>
                  <a:gd name="T87" fmla="*/ 20 h 31"/>
                  <a:gd name="T88" fmla="*/ 18 w 80"/>
                  <a:gd name="T89" fmla="*/ 22 h 31"/>
                  <a:gd name="T90" fmla="*/ 15 w 80"/>
                  <a:gd name="T91" fmla="*/ 22 h 31"/>
                  <a:gd name="T92" fmla="*/ 7 w 80"/>
                  <a:gd name="T93" fmla="*/ 22 h 31"/>
                  <a:gd name="T94" fmla="*/ 4 w 80"/>
                  <a:gd name="T95" fmla="*/ 22 h 31"/>
                  <a:gd name="T96" fmla="*/ 0 w 80"/>
                  <a:gd name="T97" fmla="*/ 23 h 31"/>
                  <a:gd name="T98" fmla="*/ 4 w 80"/>
                  <a:gd name="T99" fmla="*/ 25 h 31"/>
                  <a:gd name="T100" fmla="*/ 7 w 80"/>
                  <a:gd name="T101" fmla="*/ 27 h 31"/>
                  <a:gd name="T102" fmla="*/ 10 w 80"/>
                  <a:gd name="T103" fmla="*/ 27 h 31"/>
                  <a:gd name="T104" fmla="*/ 7 w 80"/>
                  <a:gd name="T105" fmla="*/ 28 h 31"/>
                  <a:gd name="T106" fmla="*/ 10 w 80"/>
                  <a:gd name="T107" fmla="*/ 31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80" h="31">
                    <a:moveTo>
                      <a:pt x="10" y="31"/>
                    </a:moveTo>
                    <a:lnTo>
                      <a:pt x="13" y="30"/>
                    </a:lnTo>
                    <a:lnTo>
                      <a:pt x="16" y="30"/>
                    </a:lnTo>
                    <a:lnTo>
                      <a:pt x="21" y="30"/>
                    </a:lnTo>
                    <a:lnTo>
                      <a:pt x="16" y="28"/>
                    </a:lnTo>
                    <a:lnTo>
                      <a:pt x="23" y="28"/>
                    </a:lnTo>
                    <a:lnTo>
                      <a:pt x="27" y="28"/>
                    </a:lnTo>
                    <a:lnTo>
                      <a:pt x="31" y="28"/>
                    </a:lnTo>
                    <a:lnTo>
                      <a:pt x="34" y="28"/>
                    </a:lnTo>
                    <a:lnTo>
                      <a:pt x="39" y="28"/>
                    </a:lnTo>
                    <a:lnTo>
                      <a:pt x="42" y="27"/>
                    </a:lnTo>
                    <a:lnTo>
                      <a:pt x="56" y="25"/>
                    </a:lnTo>
                    <a:lnTo>
                      <a:pt x="69" y="22"/>
                    </a:lnTo>
                    <a:lnTo>
                      <a:pt x="65" y="19"/>
                    </a:lnTo>
                    <a:lnTo>
                      <a:pt x="61" y="19"/>
                    </a:lnTo>
                    <a:lnTo>
                      <a:pt x="70" y="15"/>
                    </a:lnTo>
                    <a:lnTo>
                      <a:pt x="80" y="14"/>
                    </a:lnTo>
                    <a:lnTo>
                      <a:pt x="77" y="11"/>
                    </a:lnTo>
                    <a:lnTo>
                      <a:pt x="72" y="9"/>
                    </a:lnTo>
                    <a:lnTo>
                      <a:pt x="69" y="9"/>
                    </a:lnTo>
                    <a:lnTo>
                      <a:pt x="65" y="9"/>
                    </a:lnTo>
                    <a:lnTo>
                      <a:pt x="61" y="9"/>
                    </a:lnTo>
                    <a:lnTo>
                      <a:pt x="54" y="9"/>
                    </a:lnTo>
                    <a:lnTo>
                      <a:pt x="58" y="8"/>
                    </a:lnTo>
                    <a:lnTo>
                      <a:pt x="54" y="4"/>
                    </a:lnTo>
                    <a:lnTo>
                      <a:pt x="51" y="4"/>
                    </a:lnTo>
                    <a:lnTo>
                      <a:pt x="46" y="4"/>
                    </a:lnTo>
                    <a:lnTo>
                      <a:pt x="43" y="3"/>
                    </a:lnTo>
                    <a:lnTo>
                      <a:pt x="40" y="1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3" y="0"/>
                    </a:lnTo>
                    <a:lnTo>
                      <a:pt x="16" y="1"/>
                    </a:lnTo>
                    <a:lnTo>
                      <a:pt x="12" y="4"/>
                    </a:lnTo>
                    <a:lnTo>
                      <a:pt x="13" y="9"/>
                    </a:lnTo>
                    <a:lnTo>
                      <a:pt x="10" y="9"/>
                    </a:lnTo>
                    <a:lnTo>
                      <a:pt x="7" y="9"/>
                    </a:lnTo>
                    <a:lnTo>
                      <a:pt x="2" y="11"/>
                    </a:lnTo>
                    <a:lnTo>
                      <a:pt x="7" y="12"/>
                    </a:lnTo>
                    <a:lnTo>
                      <a:pt x="4" y="15"/>
                    </a:lnTo>
                    <a:lnTo>
                      <a:pt x="7" y="17"/>
                    </a:lnTo>
                    <a:lnTo>
                      <a:pt x="4" y="17"/>
                    </a:lnTo>
                    <a:lnTo>
                      <a:pt x="13" y="19"/>
                    </a:lnTo>
                    <a:lnTo>
                      <a:pt x="21" y="20"/>
                    </a:lnTo>
                    <a:lnTo>
                      <a:pt x="18" y="22"/>
                    </a:lnTo>
                    <a:lnTo>
                      <a:pt x="15" y="22"/>
                    </a:lnTo>
                    <a:lnTo>
                      <a:pt x="7" y="22"/>
                    </a:lnTo>
                    <a:lnTo>
                      <a:pt x="4" y="22"/>
                    </a:lnTo>
                    <a:lnTo>
                      <a:pt x="0" y="23"/>
                    </a:lnTo>
                    <a:lnTo>
                      <a:pt x="4" y="25"/>
                    </a:lnTo>
                    <a:lnTo>
                      <a:pt x="7" y="27"/>
                    </a:lnTo>
                    <a:lnTo>
                      <a:pt x="10" y="27"/>
                    </a:lnTo>
                    <a:lnTo>
                      <a:pt x="7" y="28"/>
                    </a:lnTo>
                    <a:lnTo>
                      <a:pt x="10" y="3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51" name="Freeform 654"/>
              <p:cNvSpPr>
                <a:spLocks/>
              </p:cNvSpPr>
              <p:nvPr/>
            </p:nvSpPr>
            <p:spPr bwMode="auto">
              <a:xfrm>
                <a:off x="1596" y="902"/>
                <a:ext cx="415" cy="97"/>
              </a:xfrm>
              <a:custGeom>
                <a:avLst/>
                <a:gdLst>
                  <a:gd name="T0" fmla="*/ 38 w 829"/>
                  <a:gd name="T1" fmla="*/ 187 h 195"/>
                  <a:gd name="T2" fmla="*/ 115 w 829"/>
                  <a:gd name="T3" fmla="*/ 189 h 195"/>
                  <a:gd name="T4" fmla="*/ 147 w 829"/>
                  <a:gd name="T5" fmla="*/ 184 h 195"/>
                  <a:gd name="T6" fmla="*/ 188 w 829"/>
                  <a:gd name="T7" fmla="*/ 178 h 195"/>
                  <a:gd name="T8" fmla="*/ 226 w 829"/>
                  <a:gd name="T9" fmla="*/ 190 h 195"/>
                  <a:gd name="T10" fmla="*/ 277 w 829"/>
                  <a:gd name="T11" fmla="*/ 170 h 195"/>
                  <a:gd name="T12" fmla="*/ 246 w 829"/>
                  <a:gd name="T13" fmla="*/ 162 h 195"/>
                  <a:gd name="T14" fmla="*/ 242 w 829"/>
                  <a:gd name="T15" fmla="*/ 159 h 195"/>
                  <a:gd name="T16" fmla="*/ 314 w 829"/>
                  <a:gd name="T17" fmla="*/ 141 h 195"/>
                  <a:gd name="T18" fmla="*/ 368 w 829"/>
                  <a:gd name="T19" fmla="*/ 133 h 195"/>
                  <a:gd name="T20" fmla="*/ 379 w 829"/>
                  <a:gd name="T21" fmla="*/ 122 h 195"/>
                  <a:gd name="T22" fmla="*/ 406 w 829"/>
                  <a:gd name="T23" fmla="*/ 108 h 195"/>
                  <a:gd name="T24" fmla="*/ 396 w 829"/>
                  <a:gd name="T25" fmla="*/ 106 h 195"/>
                  <a:gd name="T26" fmla="*/ 436 w 829"/>
                  <a:gd name="T27" fmla="*/ 103 h 195"/>
                  <a:gd name="T28" fmla="*/ 404 w 829"/>
                  <a:gd name="T29" fmla="*/ 98 h 195"/>
                  <a:gd name="T30" fmla="*/ 444 w 829"/>
                  <a:gd name="T31" fmla="*/ 94 h 195"/>
                  <a:gd name="T32" fmla="*/ 469 w 829"/>
                  <a:gd name="T33" fmla="*/ 82 h 195"/>
                  <a:gd name="T34" fmla="*/ 555 w 829"/>
                  <a:gd name="T35" fmla="*/ 75 h 195"/>
                  <a:gd name="T36" fmla="*/ 545 w 829"/>
                  <a:gd name="T37" fmla="*/ 75 h 195"/>
                  <a:gd name="T38" fmla="*/ 599 w 829"/>
                  <a:gd name="T39" fmla="*/ 67 h 195"/>
                  <a:gd name="T40" fmla="*/ 713 w 829"/>
                  <a:gd name="T41" fmla="*/ 40 h 195"/>
                  <a:gd name="T42" fmla="*/ 688 w 829"/>
                  <a:gd name="T43" fmla="*/ 40 h 195"/>
                  <a:gd name="T44" fmla="*/ 715 w 829"/>
                  <a:gd name="T45" fmla="*/ 35 h 195"/>
                  <a:gd name="T46" fmla="*/ 820 w 829"/>
                  <a:gd name="T47" fmla="*/ 14 h 195"/>
                  <a:gd name="T48" fmla="*/ 772 w 829"/>
                  <a:gd name="T49" fmla="*/ 8 h 195"/>
                  <a:gd name="T50" fmla="*/ 713 w 829"/>
                  <a:gd name="T51" fmla="*/ 8 h 195"/>
                  <a:gd name="T52" fmla="*/ 648 w 829"/>
                  <a:gd name="T53" fmla="*/ 0 h 195"/>
                  <a:gd name="T54" fmla="*/ 585 w 829"/>
                  <a:gd name="T55" fmla="*/ 8 h 195"/>
                  <a:gd name="T56" fmla="*/ 499 w 829"/>
                  <a:gd name="T57" fmla="*/ 2 h 195"/>
                  <a:gd name="T58" fmla="*/ 487 w 829"/>
                  <a:gd name="T59" fmla="*/ 5 h 195"/>
                  <a:gd name="T60" fmla="*/ 437 w 829"/>
                  <a:gd name="T61" fmla="*/ 6 h 195"/>
                  <a:gd name="T62" fmla="*/ 415 w 829"/>
                  <a:gd name="T63" fmla="*/ 6 h 195"/>
                  <a:gd name="T64" fmla="*/ 388 w 829"/>
                  <a:gd name="T65" fmla="*/ 14 h 195"/>
                  <a:gd name="T66" fmla="*/ 384 w 829"/>
                  <a:gd name="T67" fmla="*/ 24 h 195"/>
                  <a:gd name="T68" fmla="*/ 342 w 829"/>
                  <a:gd name="T69" fmla="*/ 19 h 195"/>
                  <a:gd name="T70" fmla="*/ 274 w 829"/>
                  <a:gd name="T71" fmla="*/ 24 h 195"/>
                  <a:gd name="T72" fmla="*/ 257 w 829"/>
                  <a:gd name="T73" fmla="*/ 29 h 195"/>
                  <a:gd name="T74" fmla="*/ 204 w 829"/>
                  <a:gd name="T75" fmla="*/ 30 h 195"/>
                  <a:gd name="T76" fmla="*/ 139 w 829"/>
                  <a:gd name="T77" fmla="*/ 37 h 195"/>
                  <a:gd name="T78" fmla="*/ 165 w 829"/>
                  <a:gd name="T79" fmla="*/ 43 h 195"/>
                  <a:gd name="T80" fmla="*/ 182 w 829"/>
                  <a:gd name="T81" fmla="*/ 46 h 195"/>
                  <a:gd name="T82" fmla="*/ 266 w 829"/>
                  <a:gd name="T83" fmla="*/ 44 h 195"/>
                  <a:gd name="T84" fmla="*/ 287 w 829"/>
                  <a:gd name="T85" fmla="*/ 49 h 195"/>
                  <a:gd name="T86" fmla="*/ 231 w 829"/>
                  <a:gd name="T87" fmla="*/ 63 h 195"/>
                  <a:gd name="T88" fmla="*/ 312 w 829"/>
                  <a:gd name="T89" fmla="*/ 59 h 195"/>
                  <a:gd name="T90" fmla="*/ 349 w 829"/>
                  <a:gd name="T91" fmla="*/ 60 h 195"/>
                  <a:gd name="T92" fmla="*/ 428 w 829"/>
                  <a:gd name="T93" fmla="*/ 46 h 195"/>
                  <a:gd name="T94" fmla="*/ 390 w 829"/>
                  <a:gd name="T95" fmla="*/ 62 h 195"/>
                  <a:gd name="T96" fmla="*/ 311 w 829"/>
                  <a:gd name="T97" fmla="*/ 87 h 195"/>
                  <a:gd name="T98" fmla="*/ 282 w 829"/>
                  <a:gd name="T99" fmla="*/ 78 h 195"/>
                  <a:gd name="T100" fmla="*/ 222 w 829"/>
                  <a:gd name="T101" fmla="*/ 82 h 195"/>
                  <a:gd name="T102" fmla="*/ 220 w 829"/>
                  <a:gd name="T103" fmla="*/ 98 h 195"/>
                  <a:gd name="T104" fmla="*/ 247 w 829"/>
                  <a:gd name="T105" fmla="*/ 111 h 195"/>
                  <a:gd name="T106" fmla="*/ 244 w 829"/>
                  <a:gd name="T107" fmla="*/ 121 h 195"/>
                  <a:gd name="T108" fmla="*/ 154 w 829"/>
                  <a:gd name="T109" fmla="*/ 114 h 195"/>
                  <a:gd name="T110" fmla="*/ 128 w 829"/>
                  <a:gd name="T111" fmla="*/ 133 h 195"/>
                  <a:gd name="T112" fmla="*/ 185 w 829"/>
                  <a:gd name="T113" fmla="*/ 133 h 195"/>
                  <a:gd name="T114" fmla="*/ 157 w 829"/>
                  <a:gd name="T115" fmla="*/ 141 h 195"/>
                  <a:gd name="T116" fmla="*/ 158 w 829"/>
                  <a:gd name="T117" fmla="*/ 152 h 195"/>
                  <a:gd name="T118" fmla="*/ 173 w 829"/>
                  <a:gd name="T119" fmla="*/ 157 h 195"/>
                  <a:gd name="T120" fmla="*/ 125 w 829"/>
                  <a:gd name="T121" fmla="*/ 146 h 195"/>
                  <a:gd name="T122" fmla="*/ 85 w 829"/>
                  <a:gd name="T123" fmla="*/ 157 h 195"/>
                  <a:gd name="T124" fmla="*/ 8 w 829"/>
                  <a:gd name="T125" fmla="*/ 178 h 1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29" h="195">
                    <a:moveTo>
                      <a:pt x="22" y="181"/>
                    </a:moveTo>
                    <a:lnTo>
                      <a:pt x="20" y="184"/>
                    </a:lnTo>
                    <a:lnTo>
                      <a:pt x="16" y="186"/>
                    </a:lnTo>
                    <a:lnTo>
                      <a:pt x="19" y="184"/>
                    </a:lnTo>
                    <a:lnTo>
                      <a:pt x="23" y="184"/>
                    </a:lnTo>
                    <a:lnTo>
                      <a:pt x="23" y="181"/>
                    </a:lnTo>
                    <a:lnTo>
                      <a:pt x="27" y="176"/>
                    </a:lnTo>
                    <a:lnTo>
                      <a:pt x="30" y="176"/>
                    </a:lnTo>
                    <a:lnTo>
                      <a:pt x="33" y="174"/>
                    </a:lnTo>
                    <a:lnTo>
                      <a:pt x="30" y="176"/>
                    </a:lnTo>
                    <a:lnTo>
                      <a:pt x="28" y="181"/>
                    </a:lnTo>
                    <a:lnTo>
                      <a:pt x="27" y="184"/>
                    </a:lnTo>
                    <a:lnTo>
                      <a:pt x="22" y="187"/>
                    </a:lnTo>
                    <a:lnTo>
                      <a:pt x="27" y="187"/>
                    </a:lnTo>
                    <a:lnTo>
                      <a:pt x="30" y="187"/>
                    </a:lnTo>
                    <a:lnTo>
                      <a:pt x="33" y="187"/>
                    </a:lnTo>
                    <a:lnTo>
                      <a:pt x="38" y="187"/>
                    </a:lnTo>
                    <a:lnTo>
                      <a:pt x="41" y="187"/>
                    </a:lnTo>
                    <a:lnTo>
                      <a:pt x="44" y="186"/>
                    </a:lnTo>
                    <a:lnTo>
                      <a:pt x="47" y="182"/>
                    </a:lnTo>
                    <a:lnTo>
                      <a:pt x="50" y="181"/>
                    </a:lnTo>
                    <a:lnTo>
                      <a:pt x="50" y="184"/>
                    </a:lnTo>
                    <a:lnTo>
                      <a:pt x="54" y="187"/>
                    </a:lnTo>
                    <a:lnTo>
                      <a:pt x="57" y="187"/>
                    </a:lnTo>
                    <a:lnTo>
                      <a:pt x="62" y="187"/>
                    </a:lnTo>
                    <a:lnTo>
                      <a:pt x="65" y="186"/>
                    </a:lnTo>
                    <a:lnTo>
                      <a:pt x="68" y="184"/>
                    </a:lnTo>
                    <a:lnTo>
                      <a:pt x="73" y="182"/>
                    </a:lnTo>
                    <a:lnTo>
                      <a:pt x="76" y="179"/>
                    </a:lnTo>
                    <a:lnTo>
                      <a:pt x="79" y="182"/>
                    </a:lnTo>
                    <a:lnTo>
                      <a:pt x="74" y="184"/>
                    </a:lnTo>
                    <a:lnTo>
                      <a:pt x="71" y="187"/>
                    </a:lnTo>
                    <a:lnTo>
                      <a:pt x="93" y="189"/>
                    </a:lnTo>
                    <a:lnTo>
                      <a:pt x="115" y="189"/>
                    </a:lnTo>
                    <a:lnTo>
                      <a:pt x="112" y="187"/>
                    </a:lnTo>
                    <a:lnTo>
                      <a:pt x="109" y="186"/>
                    </a:lnTo>
                    <a:lnTo>
                      <a:pt x="104" y="186"/>
                    </a:lnTo>
                    <a:lnTo>
                      <a:pt x="108" y="182"/>
                    </a:lnTo>
                    <a:lnTo>
                      <a:pt x="111" y="181"/>
                    </a:lnTo>
                    <a:lnTo>
                      <a:pt x="112" y="184"/>
                    </a:lnTo>
                    <a:lnTo>
                      <a:pt x="115" y="186"/>
                    </a:lnTo>
                    <a:lnTo>
                      <a:pt x="119" y="186"/>
                    </a:lnTo>
                    <a:lnTo>
                      <a:pt x="122" y="186"/>
                    </a:lnTo>
                    <a:lnTo>
                      <a:pt x="127" y="182"/>
                    </a:lnTo>
                    <a:lnTo>
                      <a:pt x="128" y="178"/>
                    </a:lnTo>
                    <a:lnTo>
                      <a:pt x="133" y="179"/>
                    </a:lnTo>
                    <a:lnTo>
                      <a:pt x="133" y="184"/>
                    </a:lnTo>
                    <a:lnTo>
                      <a:pt x="136" y="186"/>
                    </a:lnTo>
                    <a:lnTo>
                      <a:pt x="139" y="186"/>
                    </a:lnTo>
                    <a:lnTo>
                      <a:pt x="144" y="186"/>
                    </a:lnTo>
                    <a:lnTo>
                      <a:pt x="147" y="184"/>
                    </a:lnTo>
                    <a:lnTo>
                      <a:pt x="150" y="181"/>
                    </a:lnTo>
                    <a:lnTo>
                      <a:pt x="150" y="178"/>
                    </a:lnTo>
                    <a:lnTo>
                      <a:pt x="154" y="181"/>
                    </a:lnTo>
                    <a:lnTo>
                      <a:pt x="152" y="186"/>
                    </a:lnTo>
                    <a:lnTo>
                      <a:pt x="155" y="186"/>
                    </a:lnTo>
                    <a:lnTo>
                      <a:pt x="158" y="187"/>
                    </a:lnTo>
                    <a:lnTo>
                      <a:pt x="161" y="186"/>
                    </a:lnTo>
                    <a:lnTo>
                      <a:pt x="166" y="186"/>
                    </a:lnTo>
                    <a:lnTo>
                      <a:pt x="169" y="186"/>
                    </a:lnTo>
                    <a:lnTo>
                      <a:pt x="173" y="184"/>
                    </a:lnTo>
                    <a:lnTo>
                      <a:pt x="176" y="181"/>
                    </a:lnTo>
                    <a:lnTo>
                      <a:pt x="173" y="179"/>
                    </a:lnTo>
                    <a:lnTo>
                      <a:pt x="174" y="176"/>
                    </a:lnTo>
                    <a:lnTo>
                      <a:pt x="176" y="179"/>
                    </a:lnTo>
                    <a:lnTo>
                      <a:pt x="180" y="179"/>
                    </a:lnTo>
                    <a:lnTo>
                      <a:pt x="184" y="178"/>
                    </a:lnTo>
                    <a:lnTo>
                      <a:pt x="188" y="178"/>
                    </a:lnTo>
                    <a:lnTo>
                      <a:pt x="180" y="179"/>
                    </a:lnTo>
                    <a:lnTo>
                      <a:pt x="179" y="182"/>
                    </a:lnTo>
                    <a:lnTo>
                      <a:pt x="192" y="184"/>
                    </a:lnTo>
                    <a:lnTo>
                      <a:pt x="201" y="184"/>
                    </a:lnTo>
                    <a:lnTo>
                      <a:pt x="203" y="187"/>
                    </a:lnTo>
                    <a:lnTo>
                      <a:pt x="200" y="189"/>
                    </a:lnTo>
                    <a:lnTo>
                      <a:pt x="196" y="190"/>
                    </a:lnTo>
                    <a:lnTo>
                      <a:pt x="192" y="193"/>
                    </a:lnTo>
                    <a:lnTo>
                      <a:pt x="188" y="195"/>
                    </a:lnTo>
                    <a:lnTo>
                      <a:pt x="198" y="193"/>
                    </a:lnTo>
                    <a:lnTo>
                      <a:pt x="206" y="192"/>
                    </a:lnTo>
                    <a:lnTo>
                      <a:pt x="211" y="192"/>
                    </a:lnTo>
                    <a:lnTo>
                      <a:pt x="214" y="192"/>
                    </a:lnTo>
                    <a:lnTo>
                      <a:pt x="217" y="190"/>
                    </a:lnTo>
                    <a:lnTo>
                      <a:pt x="219" y="190"/>
                    </a:lnTo>
                    <a:lnTo>
                      <a:pt x="222" y="190"/>
                    </a:lnTo>
                    <a:lnTo>
                      <a:pt x="226" y="190"/>
                    </a:lnTo>
                    <a:lnTo>
                      <a:pt x="230" y="189"/>
                    </a:lnTo>
                    <a:lnTo>
                      <a:pt x="233" y="189"/>
                    </a:lnTo>
                    <a:lnTo>
                      <a:pt x="236" y="189"/>
                    </a:lnTo>
                    <a:lnTo>
                      <a:pt x="241" y="187"/>
                    </a:lnTo>
                    <a:lnTo>
                      <a:pt x="250" y="184"/>
                    </a:lnTo>
                    <a:lnTo>
                      <a:pt x="258" y="181"/>
                    </a:lnTo>
                    <a:lnTo>
                      <a:pt x="260" y="184"/>
                    </a:lnTo>
                    <a:lnTo>
                      <a:pt x="269" y="182"/>
                    </a:lnTo>
                    <a:lnTo>
                      <a:pt x="277" y="179"/>
                    </a:lnTo>
                    <a:lnTo>
                      <a:pt x="280" y="179"/>
                    </a:lnTo>
                    <a:lnTo>
                      <a:pt x="284" y="178"/>
                    </a:lnTo>
                    <a:lnTo>
                      <a:pt x="288" y="174"/>
                    </a:lnTo>
                    <a:lnTo>
                      <a:pt x="290" y="171"/>
                    </a:lnTo>
                    <a:lnTo>
                      <a:pt x="288" y="168"/>
                    </a:lnTo>
                    <a:lnTo>
                      <a:pt x="285" y="167"/>
                    </a:lnTo>
                    <a:lnTo>
                      <a:pt x="280" y="168"/>
                    </a:lnTo>
                    <a:lnTo>
                      <a:pt x="277" y="170"/>
                    </a:lnTo>
                    <a:lnTo>
                      <a:pt x="274" y="171"/>
                    </a:lnTo>
                    <a:lnTo>
                      <a:pt x="269" y="171"/>
                    </a:lnTo>
                    <a:lnTo>
                      <a:pt x="266" y="173"/>
                    </a:lnTo>
                    <a:lnTo>
                      <a:pt x="263" y="173"/>
                    </a:lnTo>
                    <a:lnTo>
                      <a:pt x="266" y="170"/>
                    </a:lnTo>
                    <a:lnTo>
                      <a:pt x="260" y="170"/>
                    </a:lnTo>
                    <a:lnTo>
                      <a:pt x="255" y="170"/>
                    </a:lnTo>
                    <a:lnTo>
                      <a:pt x="260" y="168"/>
                    </a:lnTo>
                    <a:lnTo>
                      <a:pt x="263" y="167"/>
                    </a:lnTo>
                    <a:lnTo>
                      <a:pt x="266" y="165"/>
                    </a:lnTo>
                    <a:lnTo>
                      <a:pt x="269" y="163"/>
                    </a:lnTo>
                    <a:lnTo>
                      <a:pt x="261" y="160"/>
                    </a:lnTo>
                    <a:lnTo>
                      <a:pt x="253" y="160"/>
                    </a:lnTo>
                    <a:lnTo>
                      <a:pt x="246" y="163"/>
                    </a:lnTo>
                    <a:lnTo>
                      <a:pt x="238" y="165"/>
                    </a:lnTo>
                    <a:lnTo>
                      <a:pt x="241" y="163"/>
                    </a:lnTo>
                    <a:lnTo>
                      <a:pt x="246" y="162"/>
                    </a:lnTo>
                    <a:lnTo>
                      <a:pt x="234" y="160"/>
                    </a:lnTo>
                    <a:lnTo>
                      <a:pt x="223" y="160"/>
                    </a:lnTo>
                    <a:lnTo>
                      <a:pt x="214" y="162"/>
                    </a:lnTo>
                    <a:lnTo>
                      <a:pt x="211" y="162"/>
                    </a:lnTo>
                    <a:lnTo>
                      <a:pt x="207" y="162"/>
                    </a:lnTo>
                    <a:lnTo>
                      <a:pt x="201" y="159"/>
                    </a:lnTo>
                    <a:lnTo>
                      <a:pt x="212" y="159"/>
                    </a:lnTo>
                    <a:lnTo>
                      <a:pt x="223" y="157"/>
                    </a:lnTo>
                    <a:lnTo>
                      <a:pt x="220" y="157"/>
                    </a:lnTo>
                    <a:lnTo>
                      <a:pt x="217" y="154"/>
                    </a:lnTo>
                    <a:lnTo>
                      <a:pt x="220" y="151"/>
                    </a:lnTo>
                    <a:lnTo>
                      <a:pt x="220" y="148"/>
                    </a:lnTo>
                    <a:lnTo>
                      <a:pt x="223" y="149"/>
                    </a:lnTo>
                    <a:lnTo>
                      <a:pt x="225" y="154"/>
                    </a:lnTo>
                    <a:lnTo>
                      <a:pt x="230" y="155"/>
                    </a:lnTo>
                    <a:lnTo>
                      <a:pt x="233" y="157"/>
                    </a:lnTo>
                    <a:lnTo>
                      <a:pt x="242" y="159"/>
                    </a:lnTo>
                    <a:lnTo>
                      <a:pt x="252" y="160"/>
                    </a:lnTo>
                    <a:lnTo>
                      <a:pt x="253" y="159"/>
                    </a:lnTo>
                    <a:lnTo>
                      <a:pt x="258" y="159"/>
                    </a:lnTo>
                    <a:lnTo>
                      <a:pt x="261" y="159"/>
                    </a:lnTo>
                    <a:lnTo>
                      <a:pt x="266" y="159"/>
                    </a:lnTo>
                    <a:lnTo>
                      <a:pt x="276" y="159"/>
                    </a:lnTo>
                    <a:lnTo>
                      <a:pt x="284" y="157"/>
                    </a:lnTo>
                    <a:lnTo>
                      <a:pt x="280" y="159"/>
                    </a:lnTo>
                    <a:lnTo>
                      <a:pt x="284" y="159"/>
                    </a:lnTo>
                    <a:lnTo>
                      <a:pt x="288" y="157"/>
                    </a:lnTo>
                    <a:lnTo>
                      <a:pt x="292" y="157"/>
                    </a:lnTo>
                    <a:lnTo>
                      <a:pt x="295" y="157"/>
                    </a:lnTo>
                    <a:lnTo>
                      <a:pt x="304" y="154"/>
                    </a:lnTo>
                    <a:lnTo>
                      <a:pt x="314" y="148"/>
                    </a:lnTo>
                    <a:lnTo>
                      <a:pt x="311" y="148"/>
                    </a:lnTo>
                    <a:lnTo>
                      <a:pt x="314" y="146"/>
                    </a:lnTo>
                    <a:lnTo>
                      <a:pt x="314" y="141"/>
                    </a:lnTo>
                    <a:lnTo>
                      <a:pt x="311" y="140"/>
                    </a:lnTo>
                    <a:lnTo>
                      <a:pt x="314" y="140"/>
                    </a:lnTo>
                    <a:lnTo>
                      <a:pt x="317" y="138"/>
                    </a:lnTo>
                    <a:lnTo>
                      <a:pt x="320" y="140"/>
                    </a:lnTo>
                    <a:lnTo>
                      <a:pt x="325" y="140"/>
                    </a:lnTo>
                    <a:lnTo>
                      <a:pt x="339" y="140"/>
                    </a:lnTo>
                    <a:lnTo>
                      <a:pt x="344" y="141"/>
                    </a:lnTo>
                    <a:lnTo>
                      <a:pt x="353" y="140"/>
                    </a:lnTo>
                    <a:lnTo>
                      <a:pt x="363" y="136"/>
                    </a:lnTo>
                    <a:lnTo>
                      <a:pt x="366" y="138"/>
                    </a:lnTo>
                    <a:lnTo>
                      <a:pt x="369" y="140"/>
                    </a:lnTo>
                    <a:lnTo>
                      <a:pt x="372" y="138"/>
                    </a:lnTo>
                    <a:lnTo>
                      <a:pt x="377" y="136"/>
                    </a:lnTo>
                    <a:lnTo>
                      <a:pt x="380" y="133"/>
                    </a:lnTo>
                    <a:lnTo>
                      <a:pt x="376" y="133"/>
                    </a:lnTo>
                    <a:lnTo>
                      <a:pt x="372" y="133"/>
                    </a:lnTo>
                    <a:lnTo>
                      <a:pt x="368" y="133"/>
                    </a:lnTo>
                    <a:lnTo>
                      <a:pt x="364" y="133"/>
                    </a:lnTo>
                    <a:lnTo>
                      <a:pt x="360" y="133"/>
                    </a:lnTo>
                    <a:lnTo>
                      <a:pt x="357" y="130"/>
                    </a:lnTo>
                    <a:lnTo>
                      <a:pt x="368" y="130"/>
                    </a:lnTo>
                    <a:lnTo>
                      <a:pt x="379" y="132"/>
                    </a:lnTo>
                    <a:lnTo>
                      <a:pt x="384" y="132"/>
                    </a:lnTo>
                    <a:lnTo>
                      <a:pt x="387" y="132"/>
                    </a:lnTo>
                    <a:lnTo>
                      <a:pt x="390" y="130"/>
                    </a:lnTo>
                    <a:lnTo>
                      <a:pt x="393" y="128"/>
                    </a:lnTo>
                    <a:lnTo>
                      <a:pt x="398" y="128"/>
                    </a:lnTo>
                    <a:lnTo>
                      <a:pt x="401" y="127"/>
                    </a:lnTo>
                    <a:lnTo>
                      <a:pt x="398" y="125"/>
                    </a:lnTo>
                    <a:lnTo>
                      <a:pt x="393" y="125"/>
                    </a:lnTo>
                    <a:lnTo>
                      <a:pt x="390" y="124"/>
                    </a:lnTo>
                    <a:lnTo>
                      <a:pt x="387" y="124"/>
                    </a:lnTo>
                    <a:lnTo>
                      <a:pt x="384" y="124"/>
                    </a:lnTo>
                    <a:lnTo>
                      <a:pt x="379" y="122"/>
                    </a:lnTo>
                    <a:lnTo>
                      <a:pt x="376" y="122"/>
                    </a:lnTo>
                    <a:lnTo>
                      <a:pt x="371" y="122"/>
                    </a:lnTo>
                    <a:lnTo>
                      <a:pt x="385" y="122"/>
                    </a:lnTo>
                    <a:lnTo>
                      <a:pt x="398" y="122"/>
                    </a:lnTo>
                    <a:lnTo>
                      <a:pt x="403" y="122"/>
                    </a:lnTo>
                    <a:lnTo>
                      <a:pt x="406" y="122"/>
                    </a:lnTo>
                    <a:lnTo>
                      <a:pt x="409" y="122"/>
                    </a:lnTo>
                    <a:lnTo>
                      <a:pt x="414" y="121"/>
                    </a:lnTo>
                    <a:lnTo>
                      <a:pt x="417" y="117"/>
                    </a:lnTo>
                    <a:lnTo>
                      <a:pt x="420" y="114"/>
                    </a:lnTo>
                    <a:lnTo>
                      <a:pt x="425" y="113"/>
                    </a:lnTo>
                    <a:lnTo>
                      <a:pt x="407" y="111"/>
                    </a:lnTo>
                    <a:lnTo>
                      <a:pt x="390" y="111"/>
                    </a:lnTo>
                    <a:lnTo>
                      <a:pt x="393" y="111"/>
                    </a:lnTo>
                    <a:lnTo>
                      <a:pt x="396" y="111"/>
                    </a:lnTo>
                    <a:lnTo>
                      <a:pt x="401" y="111"/>
                    </a:lnTo>
                    <a:lnTo>
                      <a:pt x="406" y="108"/>
                    </a:lnTo>
                    <a:lnTo>
                      <a:pt x="390" y="108"/>
                    </a:lnTo>
                    <a:lnTo>
                      <a:pt x="376" y="108"/>
                    </a:lnTo>
                    <a:lnTo>
                      <a:pt x="360" y="109"/>
                    </a:lnTo>
                    <a:lnTo>
                      <a:pt x="345" y="113"/>
                    </a:lnTo>
                    <a:lnTo>
                      <a:pt x="353" y="109"/>
                    </a:lnTo>
                    <a:lnTo>
                      <a:pt x="363" y="108"/>
                    </a:lnTo>
                    <a:lnTo>
                      <a:pt x="352" y="106"/>
                    </a:lnTo>
                    <a:lnTo>
                      <a:pt x="341" y="106"/>
                    </a:lnTo>
                    <a:lnTo>
                      <a:pt x="355" y="106"/>
                    </a:lnTo>
                    <a:lnTo>
                      <a:pt x="369" y="108"/>
                    </a:lnTo>
                    <a:lnTo>
                      <a:pt x="372" y="106"/>
                    </a:lnTo>
                    <a:lnTo>
                      <a:pt x="376" y="106"/>
                    </a:lnTo>
                    <a:lnTo>
                      <a:pt x="380" y="106"/>
                    </a:lnTo>
                    <a:lnTo>
                      <a:pt x="384" y="106"/>
                    </a:lnTo>
                    <a:lnTo>
                      <a:pt x="388" y="106"/>
                    </a:lnTo>
                    <a:lnTo>
                      <a:pt x="391" y="105"/>
                    </a:lnTo>
                    <a:lnTo>
                      <a:pt x="396" y="106"/>
                    </a:lnTo>
                    <a:lnTo>
                      <a:pt x="399" y="106"/>
                    </a:lnTo>
                    <a:lnTo>
                      <a:pt x="403" y="105"/>
                    </a:lnTo>
                    <a:lnTo>
                      <a:pt x="382" y="103"/>
                    </a:lnTo>
                    <a:lnTo>
                      <a:pt x="358" y="103"/>
                    </a:lnTo>
                    <a:lnTo>
                      <a:pt x="379" y="102"/>
                    </a:lnTo>
                    <a:lnTo>
                      <a:pt x="401" y="102"/>
                    </a:lnTo>
                    <a:lnTo>
                      <a:pt x="404" y="102"/>
                    </a:lnTo>
                    <a:lnTo>
                      <a:pt x="407" y="103"/>
                    </a:lnTo>
                    <a:lnTo>
                      <a:pt x="410" y="106"/>
                    </a:lnTo>
                    <a:lnTo>
                      <a:pt x="415" y="106"/>
                    </a:lnTo>
                    <a:lnTo>
                      <a:pt x="418" y="106"/>
                    </a:lnTo>
                    <a:lnTo>
                      <a:pt x="422" y="106"/>
                    </a:lnTo>
                    <a:lnTo>
                      <a:pt x="426" y="106"/>
                    </a:lnTo>
                    <a:lnTo>
                      <a:pt x="429" y="108"/>
                    </a:lnTo>
                    <a:lnTo>
                      <a:pt x="436" y="108"/>
                    </a:lnTo>
                    <a:lnTo>
                      <a:pt x="439" y="106"/>
                    </a:lnTo>
                    <a:lnTo>
                      <a:pt x="436" y="103"/>
                    </a:lnTo>
                    <a:lnTo>
                      <a:pt x="441" y="102"/>
                    </a:lnTo>
                    <a:lnTo>
                      <a:pt x="444" y="102"/>
                    </a:lnTo>
                    <a:lnTo>
                      <a:pt x="426" y="102"/>
                    </a:lnTo>
                    <a:lnTo>
                      <a:pt x="410" y="102"/>
                    </a:lnTo>
                    <a:lnTo>
                      <a:pt x="393" y="100"/>
                    </a:lnTo>
                    <a:lnTo>
                      <a:pt x="376" y="102"/>
                    </a:lnTo>
                    <a:lnTo>
                      <a:pt x="380" y="100"/>
                    </a:lnTo>
                    <a:lnTo>
                      <a:pt x="376" y="98"/>
                    </a:lnTo>
                    <a:lnTo>
                      <a:pt x="372" y="98"/>
                    </a:lnTo>
                    <a:lnTo>
                      <a:pt x="369" y="97"/>
                    </a:lnTo>
                    <a:lnTo>
                      <a:pt x="379" y="98"/>
                    </a:lnTo>
                    <a:lnTo>
                      <a:pt x="387" y="98"/>
                    </a:lnTo>
                    <a:lnTo>
                      <a:pt x="387" y="95"/>
                    </a:lnTo>
                    <a:lnTo>
                      <a:pt x="390" y="95"/>
                    </a:lnTo>
                    <a:lnTo>
                      <a:pt x="393" y="98"/>
                    </a:lnTo>
                    <a:lnTo>
                      <a:pt x="401" y="98"/>
                    </a:lnTo>
                    <a:lnTo>
                      <a:pt x="404" y="98"/>
                    </a:lnTo>
                    <a:lnTo>
                      <a:pt x="409" y="98"/>
                    </a:lnTo>
                    <a:lnTo>
                      <a:pt x="412" y="98"/>
                    </a:lnTo>
                    <a:lnTo>
                      <a:pt x="415" y="97"/>
                    </a:lnTo>
                    <a:lnTo>
                      <a:pt x="412" y="94"/>
                    </a:lnTo>
                    <a:lnTo>
                      <a:pt x="407" y="94"/>
                    </a:lnTo>
                    <a:lnTo>
                      <a:pt x="404" y="94"/>
                    </a:lnTo>
                    <a:lnTo>
                      <a:pt x="401" y="94"/>
                    </a:lnTo>
                    <a:lnTo>
                      <a:pt x="396" y="94"/>
                    </a:lnTo>
                    <a:lnTo>
                      <a:pt x="393" y="92"/>
                    </a:lnTo>
                    <a:lnTo>
                      <a:pt x="403" y="94"/>
                    </a:lnTo>
                    <a:lnTo>
                      <a:pt x="412" y="94"/>
                    </a:lnTo>
                    <a:lnTo>
                      <a:pt x="420" y="95"/>
                    </a:lnTo>
                    <a:lnTo>
                      <a:pt x="429" y="97"/>
                    </a:lnTo>
                    <a:lnTo>
                      <a:pt x="433" y="97"/>
                    </a:lnTo>
                    <a:lnTo>
                      <a:pt x="437" y="97"/>
                    </a:lnTo>
                    <a:lnTo>
                      <a:pt x="441" y="97"/>
                    </a:lnTo>
                    <a:lnTo>
                      <a:pt x="444" y="94"/>
                    </a:lnTo>
                    <a:lnTo>
                      <a:pt x="449" y="95"/>
                    </a:lnTo>
                    <a:lnTo>
                      <a:pt x="460" y="95"/>
                    </a:lnTo>
                    <a:lnTo>
                      <a:pt x="464" y="94"/>
                    </a:lnTo>
                    <a:lnTo>
                      <a:pt x="468" y="92"/>
                    </a:lnTo>
                    <a:lnTo>
                      <a:pt x="471" y="94"/>
                    </a:lnTo>
                    <a:lnTo>
                      <a:pt x="479" y="94"/>
                    </a:lnTo>
                    <a:lnTo>
                      <a:pt x="482" y="92"/>
                    </a:lnTo>
                    <a:lnTo>
                      <a:pt x="487" y="92"/>
                    </a:lnTo>
                    <a:lnTo>
                      <a:pt x="487" y="87"/>
                    </a:lnTo>
                    <a:lnTo>
                      <a:pt x="483" y="86"/>
                    </a:lnTo>
                    <a:lnTo>
                      <a:pt x="479" y="86"/>
                    </a:lnTo>
                    <a:lnTo>
                      <a:pt x="475" y="86"/>
                    </a:lnTo>
                    <a:lnTo>
                      <a:pt x="472" y="84"/>
                    </a:lnTo>
                    <a:lnTo>
                      <a:pt x="469" y="84"/>
                    </a:lnTo>
                    <a:lnTo>
                      <a:pt x="466" y="84"/>
                    </a:lnTo>
                    <a:lnTo>
                      <a:pt x="458" y="84"/>
                    </a:lnTo>
                    <a:lnTo>
                      <a:pt x="469" y="82"/>
                    </a:lnTo>
                    <a:lnTo>
                      <a:pt x="477" y="82"/>
                    </a:lnTo>
                    <a:lnTo>
                      <a:pt x="487" y="84"/>
                    </a:lnTo>
                    <a:lnTo>
                      <a:pt x="496" y="84"/>
                    </a:lnTo>
                    <a:lnTo>
                      <a:pt x="495" y="87"/>
                    </a:lnTo>
                    <a:lnTo>
                      <a:pt x="507" y="89"/>
                    </a:lnTo>
                    <a:lnTo>
                      <a:pt x="520" y="87"/>
                    </a:lnTo>
                    <a:lnTo>
                      <a:pt x="531" y="86"/>
                    </a:lnTo>
                    <a:lnTo>
                      <a:pt x="544" y="84"/>
                    </a:lnTo>
                    <a:lnTo>
                      <a:pt x="539" y="82"/>
                    </a:lnTo>
                    <a:lnTo>
                      <a:pt x="536" y="82"/>
                    </a:lnTo>
                    <a:lnTo>
                      <a:pt x="539" y="81"/>
                    </a:lnTo>
                    <a:lnTo>
                      <a:pt x="544" y="79"/>
                    </a:lnTo>
                    <a:lnTo>
                      <a:pt x="550" y="79"/>
                    </a:lnTo>
                    <a:lnTo>
                      <a:pt x="555" y="79"/>
                    </a:lnTo>
                    <a:lnTo>
                      <a:pt x="555" y="79"/>
                    </a:lnTo>
                    <a:lnTo>
                      <a:pt x="558" y="78"/>
                    </a:lnTo>
                    <a:lnTo>
                      <a:pt x="555" y="75"/>
                    </a:lnTo>
                    <a:lnTo>
                      <a:pt x="550" y="76"/>
                    </a:lnTo>
                    <a:lnTo>
                      <a:pt x="547" y="76"/>
                    </a:lnTo>
                    <a:lnTo>
                      <a:pt x="542" y="76"/>
                    </a:lnTo>
                    <a:lnTo>
                      <a:pt x="537" y="78"/>
                    </a:lnTo>
                    <a:lnTo>
                      <a:pt x="528" y="78"/>
                    </a:lnTo>
                    <a:lnTo>
                      <a:pt x="518" y="78"/>
                    </a:lnTo>
                    <a:lnTo>
                      <a:pt x="521" y="76"/>
                    </a:lnTo>
                    <a:lnTo>
                      <a:pt x="526" y="76"/>
                    </a:lnTo>
                    <a:lnTo>
                      <a:pt x="529" y="76"/>
                    </a:lnTo>
                    <a:lnTo>
                      <a:pt x="526" y="75"/>
                    </a:lnTo>
                    <a:lnTo>
                      <a:pt x="523" y="73"/>
                    </a:lnTo>
                    <a:lnTo>
                      <a:pt x="526" y="75"/>
                    </a:lnTo>
                    <a:lnTo>
                      <a:pt x="531" y="75"/>
                    </a:lnTo>
                    <a:lnTo>
                      <a:pt x="534" y="76"/>
                    </a:lnTo>
                    <a:lnTo>
                      <a:pt x="537" y="76"/>
                    </a:lnTo>
                    <a:lnTo>
                      <a:pt x="541" y="76"/>
                    </a:lnTo>
                    <a:lnTo>
                      <a:pt x="545" y="75"/>
                    </a:lnTo>
                    <a:lnTo>
                      <a:pt x="548" y="75"/>
                    </a:lnTo>
                    <a:lnTo>
                      <a:pt x="552" y="75"/>
                    </a:lnTo>
                    <a:lnTo>
                      <a:pt x="556" y="73"/>
                    </a:lnTo>
                    <a:lnTo>
                      <a:pt x="560" y="73"/>
                    </a:lnTo>
                    <a:lnTo>
                      <a:pt x="563" y="73"/>
                    </a:lnTo>
                    <a:lnTo>
                      <a:pt x="567" y="75"/>
                    </a:lnTo>
                    <a:lnTo>
                      <a:pt x="571" y="75"/>
                    </a:lnTo>
                    <a:lnTo>
                      <a:pt x="575" y="73"/>
                    </a:lnTo>
                    <a:lnTo>
                      <a:pt x="571" y="70"/>
                    </a:lnTo>
                    <a:lnTo>
                      <a:pt x="572" y="67"/>
                    </a:lnTo>
                    <a:lnTo>
                      <a:pt x="569" y="65"/>
                    </a:lnTo>
                    <a:lnTo>
                      <a:pt x="572" y="65"/>
                    </a:lnTo>
                    <a:lnTo>
                      <a:pt x="577" y="67"/>
                    </a:lnTo>
                    <a:lnTo>
                      <a:pt x="580" y="70"/>
                    </a:lnTo>
                    <a:lnTo>
                      <a:pt x="583" y="70"/>
                    </a:lnTo>
                    <a:lnTo>
                      <a:pt x="588" y="70"/>
                    </a:lnTo>
                    <a:lnTo>
                      <a:pt x="599" y="67"/>
                    </a:lnTo>
                    <a:lnTo>
                      <a:pt x="610" y="63"/>
                    </a:lnTo>
                    <a:lnTo>
                      <a:pt x="629" y="59"/>
                    </a:lnTo>
                    <a:lnTo>
                      <a:pt x="650" y="56"/>
                    </a:lnTo>
                    <a:lnTo>
                      <a:pt x="653" y="54"/>
                    </a:lnTo>
                    <a:lnTo>
                      <a:pt x="658" y="54"/>
                    </a:lnTo>
                    <a:lnTo>
                      <a:pt x="661" y="54"/>
                    </a:lnTo>
                    <a:lnTo>
                      <a:pt x="666" y="52"/>
                    </a:lnTo>
                    <a:lnTo>
                      <a:pt x="669" y="52"/>
                    </a:lnTo>
                    <a:lnTo>
                      <a:pt x="680" y="49"/>
                    </a:lnTo>
                    <a:lnTo>
                      <a:pt x="691" y="48"/>
                    </a:lnTo>
                    <a:lnTo>
                      <a:pt x="713" y="44"/>
                    </a:lnTo>
                    <a:lnTo>
                      <a:pt x="732" y="41"/>
                    </a:lnTo>
                    <a:lnTo>
                      <a:pt x="729" y="38"/>
                    </a:lnTo>
                    <a:lnTo>
                      <a:pt x="726" y="38"/>
                    </a:lnTo>
                    <a:lnTo>
                      <a:pt x="721" y="38"/>
                    </a:lnTo>
                    <a:lnTo>
                      <a:pt x="718" y="38"/>
                    </a:lnTo>
                    <a:lnTo>
                      <a:pt x="713" y="40"/>
                    </a:lnTo>
                    <a:lnTo>
                      <a:pt x="710" y="40"/>
                    </a:lnTo>
                    <a:lnTo>
                      <a:pt x="705" y="40"/>
                    </a:lnTo>
                    <a:lnTo>
                      <a:pt x="702" y="40"/>
                    </a:lnTo>
                    <a:lnTo>
                      <a:pt x="686" y="41"/>
                    </a:lnTo>
                    <a:lnTo>
                      <a:pt x="669" y="43"/>
                    </a:lnTo>
                    <a:lnTo>
                      <a:pt x="653" y="44"/>
                    </a:lnTo>
                    <a:lnTo>
                      <a:pt x="636" y="46"/>
                    </a:lnTo>
                    <a:lnTo>
                      <a:pt x="618" y="48"/>
                    </a:lnTo>
                    <a:lnTo>
                      <a:pt x="602" y="49"/>
                    </a:lnTo>
                    <a:lnTo>
                      <a:pt x="606" y="49"/>
                    </a:lnTo>
                    <a:lnTo>
                      <a:pt x="609" y="48"/>
                    </a:lnTo>
                    <a:lnTo>
                      <a:pt x="604" y="48"/>
                    </a:lnTo>
                    <a:lnTo>
                      <a:pt x="601" y="48"/>
                    </a:lnTo>
                    <a:lnTo>
                      <a:pt x="623" y="46"/>
                    </a:lnTo>
                    <a:lnTo>
                      <a:pt x="645" y="44"/>
                    </a:lnTo>
                    <a:lnTo>
                      <a:pt x="666" y="41"/>
                    </a:lnTo>
                    <a:lnTo>
                      <a:pt x="688" y="40"/>
                    </a:lnTo>
                    <a:lnTo>
                      <a:pt x="666" y="38"/>
                    </a:lnTo>
                    <a:lnTo>
                      <a:pt x="640" y="38"/>
                    </a:lnTo>
                    <a:lnTo>
                      <a:pt x="650" y="38"/>
                    </a:lnTo>
                    <a:lnTo>
                      <a:pt x="645" y="37"/>
                    </a:lnTo>
                    <a:lnTo>
                      <a:pt x="642" y="37"/>
                    </a:lnTo>
                    <a:lnTo>
                      <a:pt x="639" y="35"/>
                    </a:lnTo>
                    <a:lnTo>
                      <a:pt x="634" y="33"/>
                    </a:lnTo>
                    <a:lnTo>
                      <a:pt x="639" y="33"/>
                    </a:lnTo>
                    <a:lnTo>
                      <a:pt x="642" y="35"/>
                    </a:lnTo>
                    <a:lnTo>
                      <a:pt x="645" y="37"/>
                    </a:lnTo>
                    <a:lnTo>
                      <a:pt x="648" y="37"/>
                    </a:lnTo>
                    <a:lnTo>
                      <a:pt x="653" y="38"/>
                    </a:lnTo>
                    <a:lnTo>
                      <a:pt x="664" y="37"/>
                    </a:lnTo>
                    <a:lnTo>
                      <a:pt x="675" y="37"/>
                    </a:lnTo>
                    <a:lnTo>
                      <a:pt x="698" y="37"/>
                    </a:lnTo>
                    <a:lnTo>
                      <a:pt x="718" y="35"/>
                    </a:lnTo>
                    <a:lnTo>
                      <a:pt x="715" y="35"/>
                    </a:lnTo>
                    <a:lnTo>
                      <a:pt x="707" y="35"/>
                    </a:lnTo>
                    <a:lnTo>
                      <a:pt x="712" y="35"/>
                    </a:lnTo>
                    <a:lnTo>
                      <a:pt x="720" y="33"/>
                    </a:lnTo>
                    <a:lnTo>
                      <a:pt x="723" y="33"/>
                    </a:lnTo>
                    <a:lnTo>
                      <a:pt x="728" y="33"/>
                    </a:lnTo>
                    <a:lnTo>
                      <a:pt x="731" y="33"/>
                    </a:lnTo>
                    <a:lnTo>
                      <a:pt x="734" y="33"/>
                    </a:lnTo>
                    <a:lnTo>
                      <a:pt x="739" y="33"/>
                    </a:lnTo>
                    <a:lnTo>
                      <a:pt x="753" y="32"/>
                    </a:lnTo>
                    <a:lnTo>
                      <a:pt x="769" y="30"/>
                    </a:lnTo>
                    <a:lnTo>
                      <a:pt x="783" y="29"/>
                    </a:lnTo>
                    <a:lnTo>
                      <a:pt x="799" y="27"/>
                    </a:lnTo>
                    <a:lnTo>
                      <a:pt x="815" y="22"/>
                    </a:lnTo>
                    <a:lnTo>
                      <a:pt x="829" y="19"/>
                    </a:lnTo>
                    <a:lnTo>
                      <a:pt x="828" y="16"/>
                    </a:lnTo>
                    <a:lnTo>
                      <a:pt x="824" y="14"/>
                    </a:lnTo>
                    <a:lnTo>
                      <a:pt x="820" y="14"/>
                    </a:lnTo>
                    <a:lnTo>
                      <a:pt x="815" y="14"/>
                    </a:lnTo>
                    <a:lnTo>
                      <a:pt x="812" y="14"/>
                    </a:lnTo>
                    <a:lnTo>
                      <a:pt x="807" y="14"/>
                    </a:lnTo>
                    <a:lnTo>
                      <a:pt x="810" y="14"/>
                    </a:lnTo>
                    <a:lnTo>
                      <a:pt x="797" y="14"/>
                    </a:lnTo>
                    <a:lnTo>
                      <a:pt x="783" y="16"/>
                    </a:lnTo>
                    <a:lnTo>
                      <a:pt x="788" y="16"/>
                    </a:lnTo>
                    <a:lnTo>
                      <a:pt x="791" y="14"/>
                    </a:lnTo>
                    <a:lnTo>
                      <a:pt x="794" y="13"/>
                    </a:lnTo>
                    <a:lnTo>
                      <a:pt x="791" y="13"/>
                    </a:lnTo>
                    <a:lnTo>
                      <a:pt x="788" y="10"/>
                    </a:lnTo>
                    <a:lnTo>
                      <a:pt x="783" y="10"/>
                    </a:lnTo>
                    <a:lnTo>
                      <a:pt x="791" y="8"/>
                    </a:lnTo>
                    <a:lnTo>
                      <a:pt x="788" y="6"/>
                    </a:lnTo>
                    <a:lnTo>
                      <a:pt x="780" y="6"/>
                    </a:lnTo>
                    <a:lnTo>
                      <a:pt x="775" y="6"/>
                    </a:lnTo>
                    <a:lnTo>
                      <a:pt x="772" y="8"/>
                    </a:lnTo>
                    <a:lnTo>
                      <a:pt x="769" y="8"/>
                    </a:lnTo>
                    <a:lnTo>
                      <a:pt x="764" y="8"/>
                    </a:lnTo>
                    <a:lnTo>
                      <a:pt x="761" y="5"/>
                    </a:lnTo>
                    <a:lnTo>
                      <a:pt x="758" y="5"/>
                    </a:lnTo>
                    <a:lnTo>
                      <a:pt x="755" y="5"/>
                    </a:lnTo>
                    <a:lnTo>
                      <a:pt x="750" y="8"/>
                    </a:lnTo>
                    <a:lnTo>
                      <a:pt x="747" y="8"/>
                    </a:lnTo>
                    <a:lnTo>
                      <a:pt x="742" y="6"/>
                    </a:lnTo>
                    <a:lnTo>
                      <a:pt x="739" y="6"/>
                    </a:lnTo>
                    <a:lnTo>
                      <a:pt x="736" y="6"/>
                    </a:lnTo>
                    <a:lnTo>
                      <a:pt x="720" y="10"/>
                    </a:lnTo>
                    <a:lnTo>
                      <a:pt x="705" y="10"/>
                    </a:lnTo>
                    <a:lnTo>
                      <a:pt x="691" y="11"/>
                    </a:lnTo>
                    <a:lnTo>
                      <a:pt x="675" y="11"/>
                    </a:lnTo>
                    <a:lnTo>
                      <a:pt x="690" y="10"/>
                    </a:lnTo>
                    <a:lnTo>
                      <a:pt x="704" y="8"/>
                    </a:lnTo>
                    <a:lnTo>
                      <a:pt x="713" y="8"/>
                    </a:lnTo>
                    <a:lnTo>
                      <a:pt x="718" y="8"/>
                    </a:lnTo>
                    <a:lnTo>
                      <a:pt x="723" y="6"/>
                    </a:lnTo>
                    <a:lnTo>
                      <a:pt x="726" y="6"/>
                    </a:lnTo>
                    <a:lnTo>
                      <a:pt x="731" y="5"/>
                    </a:lnTo>
                    <a:lnTo>
                      <a:pt x="731" y="5"/>
                    </a:lnTo>
                    <a:lnTo>
                      <a:pt x="717" y="3"/>
                    </a:lnTo>
                    <a:lnTo>
                      <a:pt x="701" y="3"/>
                    </a:lnTo>
                    <a:lnTo>
                      <a:pt x="696" y="3"/>
                    </a:lnTo>
                    <a:lnTo>
                      <a:pt x="693" y="3"/>
                    </a:lnTo>
                    <a:lnTo>
                      <a:pt x="690" y="3"/>
                    </a:lnTo>
                    <a:lnTo>
                      <a:pt x="685" y="3"/>
                    </a:lnTo>
                    <a:lnTo>
                      <a:pt x="675" y="3"/>
                    </a:lnTo>
                    <a:lnTo>
                      <a:pt x="666" y="3"/>
                    </a:lnTo>
                    <a:lnTo>
                      <a:pt x="669" y="2"/>
                    </a:lnTo>
                    <a:lnTo>
                      <a:pt x="666" y="2"/>
                    </a:lnTo>
                    <a:lnTo>
                      <a:pt x="661" y="0"/>
                    </a:lnTo>
                    <a:lnTo>
                      <a:pt x="648" y="0"/>
                    </a:lnTo>
                    <a:lnTo>
                      <a:pt x="645" y="0"/>
                    </a:lnTo>
                    <a:lnTo>
                      <a:pt x="634" y="0"/>
                    </a:lnTo>
                    <a:lnTo>
                      <a:pt x="625" y="3"/>
                    </a:lnTo>
                    <a:lnTo>
                      <a:pt x="628" y="3"/>
                    </a:lnTo>
                    <a:lnTo>
                      <a:pt x="631" y="5"/>
                    </a:lnTo>
                    <a:lnTo>
                      <a:pt x="634" y="5"/>
                    </a:lnTo>
                    <a:lnTo>
                      <a:pt x="631" y="5"/>
                    </a:lnTo>
                    <a:lnTo>
                      <a:pt x="623" y="5"/>
                    </a:lnTo>
                    <a:lnTo>
                      <a:pt x="620" y="3"/>
                    </a:lnTo>
                    <a:lnTo>
                      <a:pt x="623" y="0"/>
                    </a:lnTo>
                    <a:lnTo>
                      <a:pt x="610" y="0"/>
                    </a:lnTo>
                    <a:lnTo>
                      <a:pt x="599" y="0"/>
                    </a:lnTo>
                    <a:lnTo>
                      <a:pt x="587" y="2"/>
                    </a:lnTo>
                    <a:lnTo>
                      <a:pt x="574" y="5"/>
                    </a:lnTo>
                    <a:lnTo>
                      <a:pt x="579" y="5"/>
                    </a:lnTo>
                    <a:lnTo>
                      <a:pt x="582" y="8"/>
                    </a:lnTo>
                    <a:lnTo>
                      <a:pt x="585" y="8"/>
                    </a:lnTo>
                    <a:lnTo>
                      <a:pt x="590" y="8"/>
                    </a:lnTo>
                    <a:lnTo>
                      <a:pt x="593" y="10"/>
                    </a:lnTo>
                    <a:lnTo>
                      <a:pt x="590" y="10"/>
                    </a:lnTo>
                    <a:lnTo>
                      <a:pt x="587" y="10"/>
                    </a:lnTo>
                    <a:lnTo>
                      <a:pt x="582" y="8"/>
                    </a:lnTo>
                    <a:lnTo>
                      <a:pt x="577" y="8"/>
                    </a:lnTo>
                    <a:lnTo>
                      <a:pt x="571" y="6"/>
                    </a:lnTo>
                    <a:lnTo>
                      <a:pt x="566" y="3"/>
                    </a:lnTo>
                    <a:lnTo>
                      <a:pt x="560" y="2"/>
                    </a:lnTo>
                    <a:lnTo>
                      <a:pt x="553" y="2"/>
                    </a:lnTo>
                    <a:lnTo>
                      <a:pt x="547" y="2"/>
                    </a:lnTo>
                    <a:lnTo>
                      <a:pt x="536" y="2"/>
                    </a:lnTo>
                    <a:lnTo>
                      <a:pt x="523" y="2"/>
                    </a:lnTo>
                    <a:lnTo>
                      <a:pt x="518" y="2"/>
                    </a:lnTo>
                    <a:lnTo>
                      <a:pt x="515" y="3"/>
                    </a:lnTo>
                    <a:lnTo>
                      <a:pt x="502" y="3"/>
                    </a:lnTo>
                    <a:lnTo>
                      <a:pt x="499" y="2"/>
                    </a:lnTo>
                    <a:lnTo>
                      <a:pt x="496" y="3"/>
                    </a:lnTo>
                    <a:lnTo>
                      <a:pt x="507" y="6"/>
                    </a:lnTo>
                    <a:lnTo>
                      <a:pt x="518" y="8"/>
                    </a:lnTo>
                    <a:lnTo>
                      <a:pt x="515" y="8"/>
                    </a:lnTo>
                    <a:lnTo>
                      <a:pt x="510" y="10"/>
                    </a:lnTo>
                    <a:lnTo>
                      <a:pt x="515" y="10"/>
                    </a:lnTo>
                    <a:lnTo>
                      <a:pt x="518" y="11"/>
                    </a:lnTo>
                    <a:lnTo>
                      <a:pt x="523" y="11"/>
                    </a:lnTo>
                    <a:lnTo>
                      <a:pt x="526" y="13"/>
                    </a:lnTo>
                    <a:lnTo>
                      <a:pt x="515" y="14"/>
                    </a:lnTo>
                    <a:lnTo>
                      <a:pt x="504" y="14"/>
                    </a:lnTo>
                    <a:lnTo>
                      <a:pt x="507" y="14"/>
                    </a:lnTo>
                    <a:lnTo>
                      <a:pt x="512" y="13"/>
                    </a:lnTo>
                    <a:lnTo>
                      <a:pt x="502" y="10"/>
                    </a:lnTo>
                    <a:lnTo>
                      <a:pt x="495" y="6"/>
                    </a:lnTo>
                    <a:lnTo>
                      <a:pt x="491" y="6"/>
                    </a:lnTo>
                    <a:lnTo>
                      <a:pt x="487" y="5"/>
                    </a:lnTo>
                    <a:lnTo>
                      <a:pt x="482" y="5"/>
                    </a:lnTo>
                    <a:lnTo>
                      <a:pt x="479" y="6"/>
                    </a:lnTo>
                    <a:lnTo>
                      <a:pt x="475" y="6"/>
                    </a:lnTo>
                    <a:lnTo>
                      <a:pt x="474" y="5"/>
                    </a:lnTo>
                    <a:lnTo>
                      <a:pt x="477" y="5"/>
                    </a:lnTo>
                    <a:lnTo>
                      <a:pt x="482" y="3"/>
                    </a:lnTo>
                    <a:lnTo>
                      <a:pt x="477" y="3"/>
                    </a:lnTo>
                    <a:lnTo>
                      <a:pt x="474" y="5"/>
                    </a:lnTo>
                    <a:lnTo>
                      <a:pt x="472" y="5"/>
                    </a:lnTo>
                    <a:lnTo>
                      <a:pt x="469" y="3"/>
                    </a:lnTo>
                    <a:lnTo>
                      <a:pt x="464" y="5"/>
                    </a:lnTo>
                    <a:lnTo>
                      <a:pt x="461" y="5"/>
                    </a:lnTo>
                    <a:lnTo>
                      <a:pt x="458" y="3"/>
                    </a:lnTo>
                    <a:lnTo>
                      <a:pt x="444" y="3"/>
                    </a:lnTo>
                    <a:lnTo>
                      <a:pt x="429" y="5"/>
                    </a:lnTo>
                    <a:lnTo>
                      <a:pt x="434" y="6"/>
                    </a:lnTo>
                    <a:lnTo>
                      <a:pt x="437" y="6"/>
                    </a:lnTo>
                    <a:lnTo>
                      <a:pt x="442" y="6"/>
                    </a:lnTo>
                    <a:lnTo>
                      <a:pt x="437" y="8"/>
                    </a:lnTo>
                    <a:lnTo>
                      <a:pt x="452" y="10"/>
                    </a:lnTo>
                    <a:lnTo>
                      <a:pt x="464" y="10"/>
                    </a:lnTo>
                    <a:lnTo>
                      <a:pt x="461" y="11"/>
                    </a:lnTo>
                    <a:lnTo>
                      <a:pt x="456" y="11"/>
                    </a:lnTo>
                    <a:lnTo>
                      <a:pt x="453" y="10"/>
                    </a:lnTo>
                    <a:lnTo>
                      <a:pt x="449" y="11"/>
                    </a:lnTo>
                    <a:lnTo>
                      <a:pt x="445" y="10"/>
                    </a:lnTo>
                    <a:lnTo>
                      <a:pt x="442" y="10"/>
                    </a:lnTo>
                    <a:lnTo>
                      <a:pt x="437" y="10"/>
                    </a:lnTo>
                    <a:lnTo>
                      <a:pt x="434" y="11"/>
                    </a:lnTo>
                    <a:lnTo>
                      <a:pt x="429" y="10"/>
                    </a:lnTo>
                    <a:lnTo>
                      <a:pt x="426" y="8"/>
                    </a:lnTo>
                    <a:lnTo>
                      <a:pt x="423" y="8"/>
                    </a:lnTo>
                    <a:lnTo>
                      <a:pt x="418" y="8"/>
                    </a:lnTo>
                    <a:lnTo>
                      <a:pt x="415" y="6"/>
                    </a:lnTo>
                    <a:lnTo>
                      <a:pt x="409" y="6"/>
                    </a:lnTo>
                    <a:lnTo>
                      <a:pt x="404" y="8"/>
                    </a:lnTo>
                    <a:lnTo>
                      <a:pt x="407" y="10"/>
                    </a:lnTo>
                    <a:lnTo>
                      <a:pt x="410" y="11"/>
                    </a:lnTo>
                    <a:lnTo>
                      <a:pt x="415" y="14"/>
                    </a:lnTo>
                    <a:lnTo>
                      <a:pt x="407" y="14"/>
                    </a:lnTo>
                    <a:lnTo>
                      <a:pt x="404" y="13"/>
                    </a:lnTo>
                    <a:lnTo>
                      <a:pt x="401" y="11"/>
                    </a:lnTo>
                    <a:lnTo>
                      <a:pt x="396" y="11"/>
                    </a:lnTo>
                    <a:lnTo>
                      <a:pt x="393" y="11"/>
                    </a:lnTo>
                    <a:lnTo>
                      <a:pt x="388" y="11"/>
                    </a:lnTo>
                    <a:lnTo>
                      <a:pt x="385" y="11"/>
                    </a:lnTo>
                    <a:lnTo>
                      <a:pt x="382" y="13"/>
                    </a:lnTo>
                    <a:lnTo>
                      <a:pt x="385" y="14"/>
                    </a:lnTo>
                    <a:lnTo>
                      <a:pt x="388" y="14"/>
                    </a:lnTo>
                    <a:lnTo>
                      <a:pt x="393" y="14"/>
                    </a:lnTo>
                    <a:lnTo>
                      <a:pt x="388" y="14"/>
                    </a:lnTo>
                    <a:lnTo>
                      <a:pt x="385" y="14"/>
                    </a:lnTo>
                    <a:lnTo>
                      <a:pt x="380" y="14"/>
                    </a:lnTo>
                    <a:lnTo>
                      <a:pt x="377" y="14"/>
                    </a:lnTo>
                    <a:lnTo>
                      <a:pt x="374" y="14"/>
                    </a:lnTo>
                    <a:lnTo>
                      <a:pt x="369" y="16"/>
                    </a:lnTo>
                    <a:lnTo>
                      <a:pt x="366" y="17"/>
                    </a:lnTo>
                    <a:lnTo>
                      <a:pt x="379" y="21"/>
                    </a:lnTo>
                    <a:lnTo>
                      <a:pt x="391" y="22"/>
                    </a:lnTo>
                    <a:lnTo>
                      <a:pt x="406" y="25"/>
                    </a:lnTo>
                    <a:lnTo>
                      <a:pt x="422" y="32"/>
                    </a:lnTo>
                    <a:lnTo>
                      <a:pt x="418" y="32"/>
                    </a:lnTo>
                    <a:lnTo>
                      <a:pt x="414" y="30"/>
                    </a:lnTo>
                    <a:lnTo>
                      <a:pt x="410" y="29"/>
                    </a:lnTo>
                    <a:lnTo>
                      <a:pt x="407" y="27"/>
                    </a:lnTo>
                    <a:lnTo>
                      <a:pt x="398" y="27"/>
                    </a:lnTo>
                    <a:lnTo>
                      <a:pt x="388" y="25"/>
                    </a:lnTo>
                    <a:lnTo>
                      <a:pt x="384" y="24"/>
                    </a:lnTo>
                    <a:lnTo>
                      <a:pt x="380" y="24"/>
                    </a:lnTo>
                    <a:lnTo>
                      <a:pt x="377" y="24"/>
                    </a:lnTo>
                    <a:lnTo>
                      <a:pt x="372" y="22"/>
                    </a:lnTo>
                    <a:lnTo>
                      <a:pt x="369" y="22"/>
                    </a:lnTo>
                    <a:lnTo>
                      <a:pt x="366" y="21"/>
                    </a:lnTo>
                    <a:lnTo>
                      <a:pt x="361" y="19"/>
                    </a:lnTo>
                    <a:lnTo>
                      <a:pt x="358" y="19"/>
                    </a:lnTo>
                    <a:lnTo>
                      <a:pt x="355" y="22"/>
                    </a:lnTo>
                    <a:lnTo>
                      <a:pt x="358" y="24"/>
                    </a:lnTo>
                    <a:lnTo>
                      <a:pt x="361" y="24"/>
                    </a:lnTo>
                    <a:lnTo>
                      <a:pt x="364" y="25"/>
                    </a:lnTo>
                    <a:lnTo>
                      <a:pt x="369" y="25"/>
                    </a:lnTo>
                    <a:lnTo>
                      <a:pt x="358" y="25"/>
                    </a:lnTo>
                    <a:lnTo>
                      <a:pt x="347" y="25"/>
                    </a:lnTo>
                    <a:lnTo>
                      <a:pt x="350" y="22"/>
                    </a:lnTo>
                    <a:lnTo>
                      <a:pt x="345" y="19"/>
                    </a:lnTo>
                    <a:lnTo>
                      <a:pt x="342" y="19"/>
                    </a:lnTo>
                    <a:lnTo>
                      <a:pt x="339" y="17"/>
                    </a:lnTo>
                    <a:lnTo>
                      <a:pt x="331" y="17"/>
                    </a:lnTo>
                    <a:lnTo>
                      <a:pt x="328" y="17"/>
                    </a:lnTo>
                    <a:lnTo>
                      <a:pt x="323" y="17"/>
                    </a:lnTo>
                    <a:lnTo>
                      <a:pt x="320" y="16"/>
                    </a:lnTo>
                    <a:lnTo>
                      <a:pt x="325" y="16"/>
                    </a:lnTo>
                    <a:lnTo>
                      <a:pt x="323" y="16"/>
                    </a:lnTo>
                    <a:lnTo>
                      <a:pt x="311" y="16"/>
                    </a:lnTo>
                    <a:lnTo>
                      <a:pt x="298" y="16"/>
                    </a:lnTo>
                    <a:lnTo>
                      <a:pt x="301" y="17"/>
                    </a:lnTo>
                    <a:lnTo>
                      <a:pt x="304" y="19"/>
                    </a:lnTo>
                    <a:lnTo>
                      <a:pt x="301" y="21"/>
                    </a:lnTo>
                    <a:lnTo>
                      <a:pt x="298" y="21"/>
                    </a:lnTo>
                    <a:lnTo>
                      <a:pt x="293" y="21"/>
                    </a:lnTo>
                    <a:lnTo>
                      <a:pt x="274" y="21"/>
                    </a:lnTo>
                    <a:lnTo>
                      <a:pt x="271" y="24"/>
                    </a:lnTo>
                    <a:lnTo>
                      <a:pt x="274" y="24"/>
                    </a:lnTo>
                    <a:lnTo>
                      <a:pt x="279" y="24"/>
                    </a:lnTo>
                    <a:lnTo>
                      <a:pt x="282" y="24"/>
                    </a:lnTo>
                    <a:lnTo>
                      <a:pt x="285" y="25"/>
                    </a:lnTo>
                    <a:lnTo>
                      <a:pt x="290" y="25"/>
                    </a:lnTo>
                    <a:lnTo>
                      <a:pt x="293" y="25"/>
                    </a:lnTo>
                    <a:lnTo>
                      <a:pt x="298" y="25"/>
                    </a:lnTo>
                    <a:lnTo>
                      <a:pt x="301" y="25"/>
                    </a:lnTo>
                    <a:lnTo>
                      <a:pt x="306" y="27"/>
                    </a:lnTo>
                    <a:lnTo>
                      <a:pt x="303" y="30"/>
                    </a:lnTo>
                    <a:lnTo>
                      <a:pt x="298" y="27"/>
                    </a:lnTo>
                    <a:lnTo>
                      <a:pt x="295" y="27"/>
                    </a:lnTo>
                    <a:lnTo>
                      <a:pt x="287" y="27"/>
                    </a:lnTo>
                    <a:lnTo>
                      <a:pt x="290" y="30"/>
                    </a:lnTo>
                    <a:lnTo>
                      <a:pt x="282" y="27"/>
                    </a:lnTo>
                    <a:lnTo>
                      <a:pt x="272" y="25"/>
                    </a:lnTo>
                    <a:lnTo>
                      <a:pt x="265" y="25"/>
                    </a:lnTo>
                    <a:lnTo>
                      <a:pt x="257" y="29"/>
                    </a:lnTo>
                    <a:lnTo>
                      <a:pt x="260" y="30"/>
                    </a:lnTo>
                    <a:lnTo>
                      <a:pt x="255" y="29"/>
                    </a:lnTo>
                    <a:lnTo>
                      <a:pt x="253" y="25"/>
                    </a:lnTo>
                    <a:lnTo>
                      <a:pt x="249" y="24"/>
                    </a:lnTo>
                    <a:lnTo>
                      <a:pt x="246" y="25"/>
                    </a:lnTo>
                    <a:lnTo>
                      <a:pt x="242" y="24"/>
                    </a:lnTo>
                    <a:lnTo>
                      <a:pt x="238" y="24"/>
                    </a:lnTo>
                    <a:lnTo>
                      <a:pt x="234" y="25"/>
                    </a:lnTo>
                    <a:lnTo>
                      <a:pt x="230" y="25"/>
                    </a:lnTo>
                    <a:lnTo>
                      <a:pt x="223" y="25"/>
                    </a:lnTo>
                    <a:lnTo>
                      <a:pt x="220" y="27"/>
                    </a:lnTo>
                    <a:lnTo>
                      <a:pt x="215" y="27"/>
                    </a:lnTo>
                    <a:lnTo>
                      <a:pt x="212" y="29"/>
                    </a:lnTo>
                    <a:lnTo>
                      <a:pt x="207" y="29"/>
                    </a:lnTo>
                    <a:lnTo>
                      <a:pt x="204" y="29"/>
                    </a:lnTo>
                    <a:lnTo>
                      <a:pt x="209" y="30"/>
                    </a:lnTo>
                    <a:lnTo>
                      <a:pt x="204" y="30"/>
                    </a:lnTo>
                    <a:lnTo>
                      <a:pt x="201" y="32"/>
                    </a:lnTo>
                    <a:lnTo>
                      <a:pt x="198" y="29"/>
                    </a:lnTo>
                    <a:lnTo>
                      <a:pt x="195" y="29"/>
                    </a:lnTo>
                    <a:lnTo>
                      <a:pt x="190" y="29"/>
                    </a:lnTo>
                    <a:lnTo>
                      <a:pt x="190" y="30"/>
                    </a:lnTo>
                    <a:lnTo>
                      <a:pt x="187" y="29"/>
                    </a:lnTo>
                    <a:lnTo>
                      <a:pt x="184" y="29"/>
                    </a:lnTo>
                    <a:lnTo>
                      <a:pt x="180" y="30"/>
                    </a:lnTo>
                    <a:lnTo>
                      <a:pt x="176" y="30"/>
                    </a:lnTo>
                    <a:lnTo>
                      <a:pt x="173" y="30"/>
                    </a:lnTo>
                    <a:lnTo>
                      <a:pt x="169" y="32"/>
                    </a:lnTo>
                    <a:lnTo>
                      <a:pt x="165" y="32"/>
                    </a:lnTo>
                    <a:lnTo>
                      <a:pt x="160" y="33"/>
                    </a:lnTo>
                    <a:lnTo>
                      <a:pt x="157" y="33"/>
                    </a:lnTo>
                    <a:lnTo>
                      <a:pt x="147" y="33"/>
                    </a:lnTo>
                    <a:lnTo>
                      <a:pt x="138" y="37"/>
                    </a:lnTo>
                    <a:lnTo>
                      <a:pt x="139" y="37"/>
                    </a:lnTo>
                    <a:lnTo>
                      <a:pt x="142" y="37"/>
                    </a:lnTo>
                    <a:lnTo>
                      <a:pt x="146" y="38"/>
                    </a:lnTo>
                    <a:lnTo>
                      <a:pt x="150" y="38"/>
                    </a:lnTo>
                    <a:lnTo>
                      <a:pt x="154" y="38"/>
                    </a:lnTo>
                    <a:lnTo>
                      <a:pt x="158" y="37"/>
                    </a:lnTo>
                    <a:lnTo>
                      <a:pt x="161" y="37"/>
                    </a:lnTo>
                    <a:lnTo>
                      <a:pt x="165" y="35"/>
                    </a:lnTo>
                    <a:lnTo>
                      <a:pt x="173" y="35"/>
                    </a:lnTo>
                    <a:lnTo>
                      <a:pt x="177" y="35"/>
                    </a:lnTo>
                    <a:lnTo>
                      <a:pt x="180" y="37"/>
                    </a:lnTo>
                    <a:lnTo>
                      <a:pt x="180" y="37"/>
                    </a:lnTo>
                    <a:lnTo>
                      <a:pt x="185" y="37"/>
                    </a:lnTo>
                    <a:lnTo>
                      <a:pt x="190" y="37"/>
                    </a:lnTo>
                    <a:lnTo>
                      <a:pt x="173" y="38"/>
                    </a:lnTo>
                    <a:lnTo>
                      <a:pt x="157" y="41"/>
                    </a:lnTo>
                    <a:lnTo>
                      <a:pt x="161" y="43"/>
                    </a:lnTo>
                    <a:lnTo>
                      <a:pt x="165" y="43"/>
                    </a:lnTo>
                    <a:lnTo>
                      <a:pt x="168" y="41"/>
                    </a:lnTo>
                    <a:lnTo>
                      <a:pt x="173" y="41"/>
                    </a:lnTo>
                    <a:lnTo>
                      <a:pt x="174" y="41"/>
                    </a:lnTo>
                    <a:lnTo>
                      <a:pt x="184" y="40"/>
                    </a:lnTo>
                    <a:lnTo>
                      <a:pt x="193" y="40"/>
                    </a:lnTo>
                    <a:lnTo>
                      <a:pt x="203" y="38"/>
                    </a:lnTo>
                    <a:lnTo>
                      <a:pt x="214" y="38"/>
                    </a:lnTo>
                    <a:lnTo>
                      <a:pt x="223" y="38"/>
                    </a:lnTo>
                    <a:lnTo>
                      <a:pt x="233" y="40"/>
                    </a:lnTo>
                    <a:lnTo>
                      <a:pt x="217" y="38"/>
                    </a:lnTo>
                    <a:lnTo>
                      <a:pt x="203" y="40"/>
                    </a:lnTo>
                    <a:lnTo>
                      <a:pt x="187" y="41"/>
                    </a:lnTo>
                    <a:lnTo>
                      <a:pt x="171" y="44"/>
                    </a:lnTo>
                    <a:lnTo>
                      <a:pt x="179" y="46"/>
                    </a:lnTo>
                    <a:lnTo>
                      <a:pt x="188" y="46"/>
                    </a:lnTo>
                    <a:lnTo>
                      <a:pt x="185" y="46"/>
                    </a:lnTo>
                    <a:lnTo>
                      <a:pt x="182" y="46"/>
                    </a:lnTo>
                    <a:lnTo>
                      <a:pt x="177" y="48"/>
                    </a:lnTo>
                    <a:lnTo>
                      <a:pt x="174" y="46"/>
                    </a:lnTo>
                    <a:lnTo>
                      <a:pt x="165" y="46"/>
                    </a:lnTo>
                    <a:lnTo>
                      <a:pt x="157" y="48"/>
                    </a:lnTo>
                    <a:lnTo>
                      <a:pt x="158" y="51"/>
                    </a:lnTo>
                    <a:lnTo>
                      <a:pt x="160" y="51"/>
                    </a:lnTo>
                    <a:lnTo>
                      <a:pt x="163" y="52"/>
                    </a:lnTo>
                    <a:lnTo>
                      <a:pt x="166" y="52"/>
                    </a:lnTo>
                    <a:lnTo>
                      <a:pt x="169" y="52"/>
                    </a:lnTo>
                    <a:lnTo>
                      <a:pt x="174" y="52"/>
                    </a:lnTo>
                    <a:lnTo>
                      <a:pt x="179" y="51"/>
                    </a:lnTo>
                    <a:lnTo>
                      <a:pt x="182" y="51"/>
                    </a:lnTo>
                    <a:lnTo>
                      <a:pt x="200" y="51"/>
                    </a:lnTo>
                    <a:lnTo>
                      <a:pt x="217" y="51"/>
                    </a:lnTo>
                    <a:lnTo>
                      <a:pt x="234" y="49"/>
                    </a:lnTo>
                    <a:lnTo>
                      <a:pt x="250" y="48"/>
                    </a:lnTo>
                    <a:lnTo>
                      <a:pt x="266" y="44"/>
                    </a:lnTo>
                    <a:lnTo>
                      <a:pt x="284" y="44"/>
                    </a:lnTo>
                    <a:lnTo>
                      <a:pt x="268" y="46"/>
                    </a:lnTo>
                    <a:lnTo>
                      <a:pt x="253" y="49"/>
                    </a:lnTo>
                    <a:lnTo>
                      <a:pt x="239" y="51"/>
                    </a:lnTo>
                    <a:lnTo>
                      <a:pt x="225" y="52"/>
                    </a:lnTo>
                    <a:lnTo>
                      <a:pt x="211" y="52"/>
                    </a:lnTo>
                    <a:lnTo>
                      <a:pt x="196" y="52"/>
                    </a:lnTo>
                    <a:lnTo>
                      <a:pt x="182" y="52"/>
                    </a:lnTo>
                    <a:lnTo>
                      <a:pt x="166" y="56"/>
                    </a:lnTo>
                    <a:lnTo>
                      <a:pt x="179" y="59"/>
                    </a:lnTo>
                    <a:lnTo>
                      <a:pt x="190" y="60"/>
                    </a:lnTo>
                    <a:lnTo>
                      <a:pt x="198" y="62"/>
                    </a:lnTo>
                    <a:lnTo>
                      <a:pt x="206" y="62"/>
                    </a:lnTo>
                    <a:lnTo>
                      <a:pt x="222" y="57"/>
                    </a:lnTo>
                    <a:lnTo>
                      <a:pt x="244" y="52"/>
                    </a:lnTo>
                    <a:lnTo>
                      <a:pt x="266" y="51"/>
                    </a:lnTo>
                    <a:lnTo>
                      <a:pt x="287" y="49"/>
                    </a:lnTo>
                    <a:lnTo>
                      <a:pt x="309" y="49"/>
                    </a:lnTo>
                    <a:lnTo>
                      <a:pt x="330" y="48"/>
                    </a:lnTo>
                    <a:lnTo>
                      <a:pt x="315" y="49"/>
                    </a:lnTo>
                    <a:lnTo>
                      <a:pt x="303" y="49"/>
                    </a:lnTo>
                    <a:lnTo>
                      <a:pt x="288" y="51"/>
                    </a:lnTo>
                    <a:lnTo>
                      <a:pt x="274" y="51"/>
                    </a:lnTo>
                    <a:lnTo>
                      <a:pt x="261" y="52"/>
                    </a:lnTo>
                    <a:lnTo>
                      <a:pt x="249" y="54"/>
                    </a:lnTo>
                    <a:lnTo>
                      <a:pt x="244" y="56"/>
                    </a:lnTo>
                    <a:lnTo>
                      <a:pt x="241" y="56"/>
                    </a:lnTo>
                    <a:lnTo>
                      <a:pt x="238" y="57"/>
                    </a:lnTo>
                    <a:lnTo>
                      <a:pt x="233" y="57"/>
                    </a:lnTo>
                    <a:lnTo>
                      <a:pt x="230" y="59"/>
                    </a:lnTo>
                    <a:lnTo>
                      <a:pt x="226" y="59"/>
                    </a:lnTo>
                    <a:lnTo>
                      <a:pt x="222" y="60"/>
                    </a:lnTo>
                    <a:lnTo>
                      <a:pt x="219" y="63"/>
                    </a:lnTo>
                    <a:lnTo>
                      <a:pt x="231" y="63"/>
                    </a:lnTo>
                    <a:lnTo>
                      <a:pt x="241" y="62"/>
                    </a:lnTo>
                    <a:lnTo>
                      <a:pt x="236" y="65"/>
                    </a:lnTo>
                    <a:lnTo>
                      <a:pt x="253" y="65"/>
                    </a:lnTo>
                    <a:lnTo>
                      <a:pt x="271" y="65"/>
                    </a:lnTo>
                    <a:lnTo>
                      <a:pt x="276" y="65"/>
                    </a:lnTo>
                    <a:lnTo>
                      <a:pt x="279" y="63"/>
                    </a:lnTo>
                    <a:lnTo>
                      <a:pt x="282" y="63"/>
                    </a:lnTo>
                    <a:lnTo>
                      <a:pt x="285" y="59"/>
                    </a:lnTo>
                    <a:lnTo>
                      <a:pt x="288" y="59"/>
                    </a:lnTo>
                    <a:lnTo>
                      <a:pt x="296" y="57"/>
                    </a:lnTo>
                    <a:lnTo>
                      <a:pt x="299" y="57"/>
                    </a:lnTo>
                    <a:lnTo>
                      <a:pt x="303" y="57"/>
                    </a:lnTo>
                    <a:lnTo>
                      <a:pt x="299" y="57"/>
                    </a:lnTo>
                    <a:lnTo>
                      <a:pt x="296" y="59"/>
                    </a:lnTo>
                    <a:lnTo>
                      <a:pt x="293" y="60"/>
                    </a:lnTo>
                    <a:lnTo>
                      <a:pt x="303" y="60"/>
                    </a:lnTo>
                    <a:lnTo>
                      <a:pt x="312" y="59"/>
                    </a:lnTo>
                    <a:lnTo>
                      <a:pt x="315" y="59"/>
                    </a:lnTo>
                    <a:lnTo>
                      <a:pt x="318" y="57"/>
                    </a:lnTo>
                    <a:lnTo>
                      <a:pt x="323" y="57"/>
                    </a:lnTo>
                    <a:lnTo>
                      <a:pt x="326" y="57"/>
                    </a:lnTo>
                    <a:lnTo>
                      <a:pt x="330" y="57"/>
                    </a:lnTo>
                    <a:lnTo>
                      <a:pt x="333" y="57"/>
                    </a:lnTo>
                    <a:lnTo>
                      <a:pt x="323" y="59"/>
                    </a:lnTo>
                    <a:lnTo>
                      <a:pt x="314" y="60"/>
                    </a:lnTo>
                    <a:lnTo>
                      <a:pt x="311" y="60"/>
                    </a:lnTo>
                    <a:lnTo>
                      <a:pt x="306" y="60"/>
                    </a:lnTo>
                    <a:lnTo>
                      <a:pt x="303" y="62"/>
                    </a:lnTo>
                    <a:lnTo>
                      <a:pt x="298" y="62"/>
                    </a:lnTo>
                    <a:lnTo>
                      <a:pt x="295" y="65"/>
                    </a:lnTo>
                    <a:lnTo>
                      <a:pt x="307" y="63"/>
                    </a:lnTo>
                    <a:lnTo>
                      <a:pt x="322" y="63"/>
                    </a:lnTo>
                    <a:lnTo>
                      <a:pt x="336" y="62"/>
                    </a:lnTo>
                    <a:lnTo>
                      <a:pt x="349" y="60"/>
                    </a:lnTo>
                    <a:lnTo>
                      <a:pt x="363" y="59"/>
                    </a:lnTo>
                    <a:lnTo>
                      <a:pt x="376" y="57"/>
                    </a:lnTo>
                    <a:lnTo>
                      <a:pt x="390" y="54"/>
                    </a:lnTo>
                    <a:lnTo>
                      <a:pt x="403" y="49"/>
                    </a:lnTo>
                    <a:lnTo>
                      <a:pt x="401" y="49"/>
                    </a:lnTo>
                    <a:lnTo>
                      <a:pt x="398" y="48"/>
                    </a:lnTo>
                    <a:lnTo>
                      <a:pt x="404" y="49"/>
                    </a:lnTo>
                    <a:lnTo>
                      <a:pt x="407" y="49"/>
                    </a:lnTo>
                    <a:lnTo>
                      <a:pt x="410" y="48"/>
                    </a:lnTo>
                    <a:lnTo>
                      <a:pt x="417" y="48"/>
                    </a:lnTo>
                    <a:lnTo>
                      <a:pt x="426" y="44"/>
                    </a:lnTo>
                    <a:lnTo>
                      <a:pt x="434" y="43"/>
                    </a:lnTo>
                    <a:lnTo>
                      <a:pt x="429" y="43"/>
                    </a:lnTo>
                    <a:lnTo>
                      <a:pt x="444" y="43"/>
                    </a:lnTo>
                    <a:lnTo>
                      <a:pt x="456" y="41"/>
                    </a:lnTo>
                    <a:lnTo>
                      <a:pt x="442" y="43"/>
                    </a:lnTo>
                    <a:lnTo>
                      <a:pt x="428" y="46"/>
                    </a:lnTo>
                    <a:lnTo>
                      <a:pt x="433" y="46"/>
                    </a:lnTo>
                    <a:lnTo>
                      <a:pt x="428" y="46"/>
                    </a:lnTo>
                    <a:lnTo>
                      <a:pt x="425" y="48"/>
                    </a:lnTo>
                    <a:lnTo>
                      <a:pt x="422" y="48"/>
                    </a:lnTo>
                    <a:lnTo>
                      <a:pt x="417" y="49"/>
                    </a:lnTo>
                    <a:lnTo>
                      <a:pt x="414" y="51"/>
                    </a:lnTo>
                    <a:lnTo>
                      <a:pt x="409" y="51"/>
                    </a:lnTo>
                    <a:lnTo>
                      <a:pt x="406" y="52"/>
                    </a:lnTo>
                    <a:lnTo>
                      <a:pt x="403" y="52"/>
                    </a:lnTo>
                    <a:lnTo>
                      <a:pt x="399" y="56"/>
                    </a:lnTo>
                    <a:lnTo>
                      <a:pt x="422" y="56"/>
                    </a:lnTo>
                    <a:lnTo>
                      <a:pt x="445" y="57"/>
                    </a:lnTo>
                    <a:lnTo>
                      <a:pt x="426" y="57"/>
                    </a:lnTo>
                    <a:lnTo>
                      <a:pt x="407" y="57"/>
                    </a:lnTo>
                    <a:lnTo>
                      <a:pt x="388" y="60"/>
                    </a:lnTo>
                    <a:lnTo>
                      <a:pt x="369" y="62"/>
                    </a:lnTo>
                    <a:lnTo>
                      <a:pt x="390" y="62"/>
                    </a:lnTo>
                    <a:lnTo>
                      <a:pt x="409" y="63"/>
                    </a:lnTo>
                    <a:lnTo>
                      <a:pt x="396" y="63"/>
                    </a:lnTo>
                    <a:lnTo>
                      <a:pt x="382" y="63"/>
                    </a:lnTo>
                    <a:lnTo>
                      <a:pt x="366" y="65"/>
                    </a:lnTo>
                    <a:lnTo>
                      <a:pt x="352" y="67"/>
                    </a:lnTo>
                    <a:lnTo>
                      <a:pt x="334" y="67"/>
                    </a:lnTo>
                    <a:lnTo>
                      <a:pt x="318" y="68"/>
                    </a:lnTo>
                    <a:lnTo>
                      <a:pt x="303" y="68"/>
                    </a:lnTo>
                    <a:lnTo>
                      <a:pt x="285" y="71"/>
                    </a:lnTo>
                    <a:lnTo>
                      <a:pt x="293" y="75"/>
                    </a:lnTo>
                    <a:lnTo>
                      <a:pt x="298" y="78"/>
                    </a:lnTo>
                    <a:lnTo>
                      <a:pt x="304" y="79"/>
                    </a:lnTo>
                    <a:lnTo>
                      <a:pt x="312" y="81"/>
                    </a:lnTo>
                    <a:lnTo>
                      <a:pt x="307" y="81"/>
                    </a:lnTo>
                    <a:lnTo>
                      <a:pt x="304" y="84"/>
                    </a:lnTo>
                    <a:lnTo>
                      <a:pt x="301" y="86"/>
                    </a:lnTo>
                    <a:lnTo>
                      <a:pt x="311" y="87"/>
                    </a:lnTo>
                    <a:lnTo>
                      <a:pt x="320" y="89"/>
                    </a:lnTo>
                    <a:lnTo>
                      <a:pt x="330" y="87"/>
                    </a:lnTo>
                    <a:lnTo>
                      <a:pt x="341" y="87"/>
                    </a:lnTo>
                    <a:lnTo>
                      <a:pt x="330" y="89"/>
                    </a:lnTo>
                    <a:lnTo>
                      <a:pt x="318" y="90"/>
                    </a:lnTo>
                    <a:lnTo>
                      <a:pt x="315" y="92"/>
                    </a:lnTo>
                    <a:lnTo>
                      <a:pt x="311" y="90"/>
                    </a:lnTo>
                    <a:lnTo>
                      <a:pt x="307" y="90"/>
                    </a:lnTo>
                    <a:lnTo>
                      <a:pt x="304" y="89"/>
                    </a:lnTo>
                    <a:lnTo>
                      <a:pt x="299" y="89"/>
                    </a:lnTo>
                    <a:lnTo>
                      <a:pt x="296" y="90"/>
                    </a:lnTo>
                    <a:lnTo>
                      <a:pt x="293" y="90"/>
                    </a:lnTo>
                    <a:lnTo>
                      <a:pt x="296" y="87"/>
                    </a:lnTo>
                    <a:lnTo>
                      <a:pt x="293" y="86"/>
                    </a:lnTo>
                    <a:lnTo>
                      <a:pt x="292" y="82"/>
                    </a:lnTo>
                    <a:lnTo>
                      <a:pt x="287" y="81"/>
                    </a:lnTo>
                    <a:lnTo>
                      <a:pt x="282" y="78"/>
                    </a:lnTo>
                    <a:lnTo>
                      <a:pt x="279" y="78"/>
                    </a:lnTo>
                    <a:lnTo>
                      <a:pt x="271" y="73"/>
                    </a:lnTo>
                    <a:lnTo>
                      <a:pt x="266" y="71"/>
                    </a:lnTo>
                    <a:lnTo>
                      <a:pt x="261" y="71"/>
                    </a:lnTo>
                    <a:lnTo>
                      <a:pt x="252" y="71"/>
                    </a:lnTo>
                    <a:lnTo>
                      <a:pt x="239" y="71"/>
                    </a:lnTo>
                    <a:lnTo>
                      <a:pt x="226" y="70"/>
                    </a:lnTo>
                    <a:lnTo>
                      <a:pt x="219" y="70"/>
                    </a:lnTo>
                    <a:lnTo>
                      <a:pt x="214" y="70"/>
                    </a:lnTo>
                    <a:lnTo>
                      <a:pt x="209" y="71"/>
                    </a:lnTo>
                    <a:lnTo>
                      <a:pt x="201" y="75"/>
                    </a:lnTo>
                    <a:lnTo>
                      <a:pt x="201" y="79"/>
                    </a:lnTo>
                    <a:lnTo>
                      <a:pt x="207" y="79"/>
                    </a:lnTo>
                    <a:lnTo>
                      <a:pt x="211" y="79"/>
                    </a:lnTo>
                    <a:lnTo>
                      <a:pt x="215" y="79"/>
                    </a:lnTo>
                    <a:lnTo>
                      <a:pt x="219" y="79"/>
                    </a:lnTo>
                    <a:lnTo>
                      <a:pt x="222" y="82"/>
                    </a:lnTo>
                    <a:lnTo>
                      <a:pt x="219" y="81"/>
                    </a:lnTo>
                    <a:lnTo>
                      <a:pt x="215" y="81"/>
                    </a:lnTo>
                    <a:lnTo>
                      <a:pt x="211" y="81"/>
                    </a:lnTo>
                    <a:lnTo>
                      <a:pt x="207" y="79"/>
                    </a:lnTo>
                    <a:lnTo>
                      <a:pt x="204" y="79"/>
                    </a:lnTo>
                    <a:lnTo>
                      <a:pt x="200" y="81"/>
                    </a:lnTo>
                    <a:lnTo>
                      <a:pt x="196" y="82"/>
                    </a:lnTo>
                    <a:lnTo>
                      <a:pt x="195" y="86"/>
                    </a:lnTo>
                    <a:lnTo>
                      <a:pt x="198" y="87"/>
                    </a:lnTo>
                    <a:lnTo>
                      <a:pt x="201" y="87"/>
                    </a:lnTo>
                    <a:lnTo>
                      <a:pt x="206" y="87"/>
                    </a:lnTo>
                    <a:lnTo>
                      <a:pt x="209" y="87"/>
                    </a:lnTo>
                    <a:lnTo>
                      <a:pt x="214" y="87"/>
                    </a:lnTo>
                    <a:lnTo>
                      <a:pt x="217" y="90"/>
                    </a:lnTo>
                    <a:lnTo>
                      <a:pt x="219" y="94"/>
                    </a:lnTo>
                    <a:lnTo>
                      <a:pt x="222" y="95"/>
                    </a:lnTo>
                    <a:lnTo>
                      <a:pt x="220" y="98"/>
                    </a:lnTo>
                    <a:lnTo>
                      <a:pt x="219" y="103"/>
                    </a:lnTo>
                    <a:lnTo>
                      <a:pt x="222" y="103"/>
                    </a:lnTo>
                    <a:lnTo>
                      <a:pt x="226" y="105"/>
                    </a:lnTo>
                    <a:lnTo>
                      <a:pt x="230" y="106"/>
                    </a:lnTo>
                    <a:lnTo>
                      <a:pt x="233" y="106"/>
                    </a:lnTo>
                    <a:lnTo>
                      <a:pt x="230" y="108"/>
                    </a:lnTo>
                    <a:lnTo>
                      <a:pt x="225" y="106"/>
                    </a:lnTo>
                    <a:lnTo>
                      <a:pt x="223" y="106"/>
                    </a:lnTo>
                    <a:lnTo>
                      <a:pt x="222" y="105"/>
                    </a:lnTo>
                    <a:lnTo>
                      <a:pt x="219" y="105"/>
                    </a:lnTo>
                    <a:lnTo>
                      <a:pt x="215" y="103"/>
                    </a:lnTo>
                    <a:lnTo>
                      <a:pt x="211" y="105"/>
                    </a:lnTo>
                    <a:lnTo>
                      <a:pt x="207" y="105"/>
                    </a:lnTo>
                    <a:lnTo>
                      <a:pt x="204" y="108"/>
                    </a:lnTo>
                    <a:lnTo>
                      <a:pt x="220" y="109"/>
                    </a:lnTo>
                    <a:lnTo>
                      <a:pt x="238" y="109"/>
                    </a:lnTo>
                    <a:lnTo>
                      <a:pt x="247" y="111"/>
                    </a:lnTo>
                    <a:lnTo>
                      <a:pt x="257" y="111"/>
                    </a:lnTo>
                    <a:lnTo>
                      <a:pt x="266" y="108"/>
                    </a:lnTo>
                    <a:lnTo>
                      <a:pt x="277" y="108"/>
                    </a:lnTo>
                    <a:lnTo>
                      <a:pt x="272" y="108"/>
                    </a:lnTo>
                    <a:lnTo>
                      <a:pt x="269" y="111"/>
                    </a:lnTo>
                    <a:lnTo>
                      <a:pt x="266" y="113"/>
                    </a:lnTo>
                    <a:lnTo>
                      <a:pt x="257" y="113"/>
                    </a:lnTo>
                    <a:lnTo>
                      <a:pt x="253" y="113"/>
                    </a:lnTo>
                    <a:lnTo>
                      <a:pt x="246" y="113"/>
                    </a:lnTo>
                    <a:lnTo>
                      <a:pt x="242" y="113"/>
                    </a:lnTo>
                    <a:lnTo>
                      <a:pt x="234" y="113"/>
                    </a:lnTo>
                    <a:lnTo>
                      <a:pt x="230" y="114"/>
                    </a:lnTo>
                    <a:lnTo>
                      <a:pt x="241" y="116"/>
                    </a:lnTo>
                    <a:lnTo>
                      <a:pt x="249" y="116"/>
                    </a:lnTo>
                    <a:lnTo>
                      <a:pt x="244" y="116"/>
                    </a:lnTo>
                    <a:lnTo>
                      <a:pt x="241" y="117"/>
                    </a:lnTo>
                    <a:lnTo>
                      <a:pt x="244" y="121"/>
                    </a:lnTo>
                    <a:lnTo>
                      <a:pt x="241" y="121"/>
                    </a:lnTo>
                    <a:lnTo>
                      <a:pt x="238" y="117"/>
                    </a:lnTo>
                    <a:lnTo>
                      <a:pt x="233" y="117"/>
                    </a:lnTo>
                    <a:lnTo>
                      <a:pt x="230" y="116"/>
                    </a:lnTo>
                    <a:lnTo>
                      <a:pt x="226" y="114"/>
                    </a:lnTo>
                    <a:lnTo>
                      <a:pt x="223" y="114"/>
                    </a:lnTo>
                    <a:lnTo>
                      <a:pt x="219" y="113"/>
                    </a:lnTo>
                    <a:lnTo>
                      <a:pt x="215" y="113"/>
                    </a:lnTo>
                    <a:lnTo>
                      <a:pt x="211" y="113"/>
                    </a:lnTo>
                    <a:lnTo>
                      <a:pt x="207" y="113"/>
                    </a:lnTo>
                    <a:lnTo>
                      <a:pt x="200" y="113"/>
                    </a:lnTo>
                    <a:lnTo>
                      <a:pt x="196" y="111"/>
                    </a:lnTo>
                    <a:lnTo>
                      <a:pt x="193" y="111"/>
                    </a:lnTo>
                    <a:lnTo>
                      <a:pt x="188" y="111"/>
                    </a:lnTo>
                    <a:lnTo>
                      <a:pt x="174" y="113"/>
                    </a:lnTo>
                    <a:lnTo>
                      <a:pt x="160" y="113"/>
                    </a:lnTo>
                    <a:lnTo>
                      <a:pt x="154" y="114"/>
                    </a:lnTo>
                    <a:lnTo>
                      <a:pt x="146" y="116"/>
                    </a:lnTo>
                    <a:lnTo>
                      <a:pt x="139" y="117"/>
                    </a:lnTo>
                    <a:lnTo>
                      <a:pt x="133" y="121"/>
                    </a:lnTo>
                    <a:lnTo>
                      <a:pt x="136" y="121"/>
                    </a:lnTo>
                    <a:lnTo>
                      <a:pt x="133" y="121"/>
                    </a:lnTo>
                    <a:lnTo>
                      <a:pt x="130" y="122"/>
                    </a:lnTo>
                    <a:lnTo>
                      <a:pt x="125" y="122"/>
                    </a:lnTo>
                    <a:lnTo>
                      <a:pt x="122" y="124"/>
                    </a:lnTo>
                    <a:lnTo>
                      <a:pt x="117" y="125"/>
                    </a:lnTo>
                    <a:lnTo>
                      <a:pt x="114" y="127"/>
                    </a:lnTo>
                    <a:lnTo>
                      <a:pt x="112" y="132"/>
                    </a:lnTo>
                    <a:lnTo>
                      <a:pt x="117" y="132"/>
                    </a:lnTo>
                    <a:lnTo>
                      <a:pt x="114" y="132"/>
                    </a:lnTo>
                    <a:lnTo>
                      <a:pt x="111" y="132"/>
                    </a:lnTo>
                    <a:lnTo>
                      <a:pt x="106" y="133"/>
                    </a:lnTo>
                    <a:lnTo>
                      <a:pt x="117" y="135"/>
                    </a:lnTo>
                    <a:lnTo>
                      <a:pt x="128" y="133"/>
                    </a:lnTo>
                    <a:lnTo>
                      <a:pt x="141" y="130"/>
                    </a:lnTo>
                    <a:lnTo>
                      <a:pt x="154" y="127"/>
                    </a:lnTo>
                    <a:lnTo>
                      <a:pt x="144" y="132"/>
                    </a:lnTo>
                    <a:lnTo>
                      <a:pt x="136" y="136"/>
                    </a:lnTo>
                    <a:lnTo>
                      <a:pt x="149" y="135"/>
                    </a:lnTo>
                    <a:lnTo>
                      <a:pt x="163" y="132"/>
                    </a:lnTo>
                    <a:lnTo>
                      <a:pt x="176" y="125"/>
                    </a:lnTo>
                    <a:lnTo>
                      <a:pt x="188" y="121"/>
                    </a:lnTo>
                    <a:lnTo>
                      <a:pt x="185" y="122"/>
                    </a:lnTo>
                    <a:lnTo>
                      <a:pt x="180" y="124"/>
                    </a:lnTo>
                    <a:lnTo>
                      <a:pt x="179" y="127"/>
                    </a:lnTo>
                    <a:lnTo>
                      <a:pt x="182" y="127"/>
                    </a:lnTo>
                    <a:lnTo>
                      <a:pt x="174" y="128"/>
                    </a:lnTo>
                    <a:lnTo>
                      <a:pt x="171" y="132"/>
                    </a:lnTo>
                    <a:lnTo>
                      <a:pt x="180" y="132"/>
                    </a:lnTo>
                    <a:lnTo>
                      <a:pt x="188" y="132"/>
                    </a:lnTo>
                    <a:lnTo>
                      <a:pt x="185" y="133"/>
                    </a:lnTo>
                    <a:lnTo>
                      <a:pt x="182" y="132"/>
                    </a:lnTo>
                    <a:lnTo>
                      <a:pt x="177" y="132"/>
                    </a:lnTo>
                    <a:lnTo>
                      <a:pt x="174" y="132"/>
                    </a:lnTo>
                    <a:lnTo>
                      <a:pt x="171" y="132"/>
                    </a:lnTo>
                    <a:lnTo>
                      <a:pt x="166" y="132"/>
                    </a:lnTo>
                    <a:lnTo>
                      <a:pt x="163" y="135"/>
                    </a:lnTo>
                    <a:lnTo>
                      <a:pt x="166" y="136"/>
                    </a:lnTo>
                    <a:lnTo>
                      <a:pt x="171" y="135"/>
                    </a:lnTo>
                    <a:lnTo>
                      <a:pt x="174" y="135"/>
                    </a:lnTo>
                    <a:lnTo>
                      <a:pt x="179" y="135"/>
                    </a:lnTo>
                    <a:lnTo>
                      <a:pt x="169" y="136"/>
                    </a:lnTo>
                    <a:lnTo>
                      <a:pt x="160" y="136"/>
                    </a:lnTo>
                    <a:lnTo>
                      <a:pt x="150" y="138"/>
                    </a:lnTo>
                    <a:lnTo>
                      <a:pt x="142" y="140"/>
                    </a:lnTo>
                    <a:lnTo>
                      <a:pt x="146" y="141"/>
                    </a:lnTo>
                    <a:lnTo>
                      <a:pt x="149" y="141"/>
                    </a:lnTo>
                    <a:lnTo>
                      <a:pt x="157" y="141"/>
                    </a:lnTo>
                    <a:lnTo>
                      <a:pt x="161" y="140"/>
                    </a:lnTo>
                    <a:lnTo>
                      <a:pt x="165" y="140"/>
                    </a:lnTo>
                    <a:lnTo>
                      <a:pt x="168" y="140"/>
                    </a:lnTo>
                    <a:lnTo>
                      <a:pt x="171" y="141"/>
                    </a:lnTo>
                    <a:lnTo>
                      <a:pt x="158" y="141"/>
                    </a:lnTo>
                    <a:lnTo>
                      <a:pt x="146" y="144"/>
                    </a:lnTo>
                    <a:lnTo>
                      <a:pt x="149" y="143"/>
                    </a:lnTo>
                    <a:lnTo>
                      <a:pt x="154" y="143"/>
                    </a:lnTo>
                    <a:lnTo>
                      <a:pt x="149" y="144"/>
                    </a:lnTo>
                    <a:lnTo>
                      <a:pt x="146" y="144"/>
                    </a:lnTo>
                    <a:lnTo>
                      <a:pt x="141" y="148"/>
                    </a:lnTo>
                    <a:lnTo>
                      <a:pt x="150" y="149"/>
                    </a:lnTo>
                    <a:lnTo>
                      <a:pt x="160" y="148"/>
                    </a:lnTo>
                    <a:lnTo>
                      <a:pt x="157" y="148"/>
                    </a:lnTo>
                    <a:lnTo>
                      <a:pt x="154" y="149"/>
                    </a:lnTo>
                    <a:lnTo>
                      <a:pt x="149" y="152"/>
                    </a:lnTo>
                    <a:lnTo>
                      <a:pt x="158" y="152"/>
                    </a:lnTo>
                    <a:lnTo>
                      <a:pt x="168" y="152"/>
                    </a:lnTo>
                    <a:lnTo>
                      <a:pt x="177" y="151"/>
                    </a:lnTo>
                    <a:lnTo>
                      <a:pt x="187" y="148"/>
                    </a:lnTo>
                    <a:lnTo>
                      <a:pt x="196" y="144"/>
                    </a:lnTo>
                    <a:lnTo>
                      <a:pt x="206" y="141"/>
                    </a:lnTo>
                    <a:lnTo>
                      <a:pt x="212" y="138"/>
                    </a:lnTo>
                    <a:lnTo>
                      <a:pt x="223" y="136"/>
                    </a:lnTo>
                    <a:lnTo>
                      <a:pt x="220" y="136"/>
                    </a:lnTo>
                    <a:lnTo>
                      <a:pt x="217" y="136"/>
                    </a:lnTo>
                    <a:lnTo>
                      <a:pt x="214" y="140"/>
                    </a:lnTo>
                    <a:lnTo>
                      <a:pt x="209" y="141"/>
                    </a:lnTo>
                    <a:lnTo>
                      <a:pt x="206" y="143"/>
                    </a:lnTo>
                    <a:lnTo>
                      <a:pt x="201" y="144"/>
                    </a:lnTo>
                    <a:lnTo>
                      <a:pt x="198" y="146"/>
                    </a:lnTo>
                    <a:lnTo>
                      <a:pt x="184" y="151"/>
                    </a:lnTo>
                    <a:lnTo>
                      <a:pt x="168" y="155"/>
                    </a:lnTo>
                    <a:lnTo>
                      <a:pt x="173" y="157"/>
                    </a:lnTo>
                    <a:lnTo>
                      <a:pt x="168" y="157"/>
                    </a:lnTo>
                    <a:lnTo>
                      <a:pt x="165" y="157"/>
                    </a:lnTo>
                    <a:lnTo>
                      <a:pt x="161" y="155"/>
                    </a:lnTo>
                    <a:lnTo>
                      <a:pt x="158" y="155"/>
                    </a:lnTo>
                    <a:lnTo>
                      <a:pt x="154" y="157"/>
                    </a:lnTo>
                    <a:lnTo>
                      <a:pt x="150" y="155"/>
                    </a:lnTo>
                    <a:lnTo>
                      <a:pt x="146" y="159"/>
                    </a:lnTo>
                    <a:lnTo>
                      <a:pt x="142" y="159"/>
                    </a:lnTo>
                    <a:lnTo>
                      <a:pt x="139" y="157"/>
                    </a:lnTo>
                    <a:lnTo>
                      <a:pt x="136" y="157"/>
                    </a:lnTo>
                    <a:lnTo>
                      <a:pt x="131" y="155"/>
                    </a:lnTo>
                    <a:lnTo>
                      <a:pt x="128" y="154"/>
                    </a:lnTo>
                    <a:lnTo>
                      <a:pt x="125" y="154"/>
                    </a:lnTo>
                    <a:lnTo>
                      <a:pt x="120" y="155"/>
                    </a:lnTo>
                    <a:lnTo>
                      <a:pt x="125" y="151"/>
                    </a:lnTo>
                    <a:lnTo>
                      <a:pt x="127" y="148"/>
                    </a:lnTo>
                    <a:lnTo>
                      <a:pt x="125" y="146"/>
                    </a:lnTo>
                    <a:lnTo>
                      <a:pt x="123" y="143"/>
                    </a:lnTo>
                    <a:lnTo>
                      <a:pt x="114" y="141"/>
                    </a:lnTo>
                    <a:lnTo>
                      <a:pt x="106" y="141"/>
                    </a:lnTo>
                    <a:lnTo>
                      <a:pt x="103" y="141"/>
                    </a:lnTo>
                    <a:lnTo>
                      <a:pt x="98" y="141"/>
                    </a:lnTo>
                    <a:lnTo>
                      <a:pt x="92" y="141"/>
                    </a:lnTo>
                    <a:lnTo>
                      <a:pt x="85" y="143"/>
                    </a:lnTo>
                    <a:lnTo>
                      <a:pt x="82" y="143"/>
                    </a:lnTo>
                    <a:lnTo>
                      <a:pt x="77" y="144"/>
                    </a:lnTo>
                    <a:lnTo>
                      <a:pt x="73" y="149"/>
                    </a:lnTo>
                    <a:lnTo>
                      <a:pt x="76" y="151"/>
                    </a:lnTo>
                    <a:lnTo>
                      <a:pt x="79" y="154"/>
                    </a:lnTo>
                    <a:lnTo>
                      <a:pt x="74" y="157"/>
                    </a:lnTo>
                    <a:lnTo>
                      <a:pt x="84" y="157"/>
                    </a:lnTo>
                    <a:lnTo>
                      <a:pt x="93" y="157"/>
                    </a:lnTo>
                    <a:lnTo>
                      <a:pt x="90" y="157"/>
                    </a:lnTo>
                    <a:lnTo>
                      <a:pt x="85" y="157"/>
                    </a:lnTo>
                    <a:lnTo>
                      <a:pt x="82" y="159"/>
                    </a:lnTo>
                    <a:lnTo>
                      <a:pt x="85" y="160"/>
                    </a:lnTo>
                    <a:lnTo>
                      <a:pt x="82" y="162"/>
                    </a:lnTo>
                    <a:lnTo>
                      <a:pt x="90" y="162"/>
                    </a:lnTo>
                    <a:lnTo>
                      <a:pt x="85" y="163"/>
                    </a:lnTo>
                    <a:lnTo>
                      <a:pt x="82" y="162"/>
                    </a:lnTo>
                    <a:lnTo>
                      <a:pt x="77" y="162"/>
                    </a:lnTo>
                    <a:lnTo>
                      <a:pt x="74" y="163"/>
                    </a:lnTo>
                    <a:lnTo>
                      <a:pt x="71" y="165"/>
                    </a:lnTo>
                    <a:lnTo>
                      <a:pt x="62" y="163"/>
                    </a:lnTo>
                    <a:lnTo>
                      <a:pt x="52" y="163"/>
                    </a:lnTo>
                    <a:lnTo>
                      <a:pt x="44" y="167"/>
                    </a:lnTo>
                    <a:lnTo>
                      <a:pt x="33" y="168"/>
                    </a:lnTo>
                    <a:lnTo>
                      <a:pt x="22" y="170"/>
                    </a:lnTo>
                    <a:lnTo>
                      <a:pt x="11" y="173"/>
                    </a:lnTo>
                    <a:lnTo>
                      <a:pt x="11" y="176"/>
                    </a:lnTo>
                    <a:lnTo>
                      <a:pt x="8" y="178"/>
                    </a:lnTo>
                    <a:lnTo>
                      <a:pt x="3" y="179"/>
                    </a:lnTo>
                    <a:lnTo>
                      <a:pt x="0" y="182"/>
                    </a:lnTo>
                    <a:lnTo>
                      <a:pt x="3" y="182"/>
                    </a:lnTo>
                    <a:lnTo>
                      <a:pt x="4" y="186"/>
                    </a:lnTo>
                    <a:lnTo>
                      <a:pt x="8" y="186"/>
                    </a:lnTo>
                    <a:lnTo>
                      <a:pt x="11" y="186"/>
                    </a:lnTo>
                    <a:lnTo>
                      <a:pt x="14" y="184"/>
                    </a:lnTo>
                    <a:lnTo>
                      <a:pt x="19" y="181"/>
                    </a:lnTo>
                    <a:lnTo>
                      <a:pt x="22" y="18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52" name="Freeform 655"/>
              <p:cNvSpPr>
                <a:spLocks noEditPoints="1"/>
              </p:cNvSpPr>
              <p:nvPr/>
            </p:nvSpPr>
            <p:spPr bwMode="auto">
              <a:xfrm>
                <a:off x="608" y="1066"/>
                <a:ext cx="1165" cy="567"/>
              </a:xfrm>
              <a:custGeom>
                <a:avLst/>
                <a:gdLst>
                  <a:gd name="T0" fmla="*/ 542 w 2329"/>
                  <a:gd name="T1" fmla="*/ 110 h 1134"/>
                  <a:gd name="T2" fmla="*/ 659 w 2329"/>
                  <a:gd name="T3" fmla="*/ 84 h 1134"/>
                  <a:gd name="T4" fmla="*/ 826 w 2329"/>
                  <a:gd name="T5" fmla="*/ 73 h 1134"/>
                  <a:gd name="T6" fmla="*/ 1018 w 2329"/>
                  <a:gd name="T7" fmla="*/ 105 h 1134"/>
                  <a:gd name="T8" fmla="*/ 1135 w 2329"/>
                  <a:gd name="T9" fmla="*/ 140 h 1134"/>
                  <a:gd name="T10" fmla="*/ 1199 w 2329"/>
                  <a:gd name="T11" fmla="*/ 149 h 1134"/>
                  <a:gd name="T12" fmla="*/ 1297 w 2329"/>
                  <a:gd name="T13" fmla="*/ 113 h 1134"/>
                  <a:gd name="T14" fmla="*/ 1489 w 2329"/>
                  <a:gd name="T15" fmla="*/ 140 h 1134"/>
                  <a:gd name="T16" fmla="*/ 1513 w 2329"/>
                  <a:gd name="T17" fmla="*/ 172 h 1134"/>
                  <a:gd name="T18" fmla="*/ 1620 w 2329"/>
                  <a:gd name="T19" fmla="*/ 89 h 1134"/>
                  <a:gd name="T20" fmla="*/ 1687 w 2329"/>
                  <a:gd name="T21" fmla="*/ 3 h 1134"/>
                  <a:gd name="T22" fmla="*/ 1700 w 2329"/>
                  <a:gd name="T23" fmla="*/ 78 h 1134"/>
                  <a:gd name="T24" fmla="*/ 1744 w 2329"/>
                  <a:gd name="T25" fmla="*/ 124 h 1134"/>
                  <a:gd name="T26" fmla="*/ 1877 w 2329"/>
                  <a:gd name="T27" fmla="*/ 73 h 1134"/>
                  <a:gd name="T28" fmla="*/ 1898 w 2329"/>
                  <a:gd name="T29" fmla="*/ 159 h 1134"/>
                  <a:gd name="T30" fmla="*/ 1787 w 2329"/>
                  <a:gd name="T31" fmla="*/ 197 h 1134"/>
                  <a:gd name="T32" fmla="*/ 1605 w 2329"/>
                  <a:gd name="T33" fmla="*/ 211 h 1134"/>
                  <a:gd name="T34" fmla="*/ 1535 w 2329"/>
                  <a:gd name="T35" fmla="*/ 294 h 1134"/>
                  <a:gd name="T36" fmla="*/ 1470 w 2329"/>
                  <a:gd name="T37" fmla="*/ 321 h 1134"/>
                  <a:gd name="T38" fmla="*/ 1308 w 2329"/>
                  <a:gd name="T39" fmla="*/ 441 h 1134"/>
                  <a:gd name="T40" fmla="*/ 1421 w 2329"/>
                  <a:gd name="T41" fmla="*/ 560 h 1134"/>
                  <a:gd name="T42" fmla="*/ 1532 w 2329"/>
                  <a:gd name="T43" fmla="*/ 668 h 1134"/>
                  <a:gd name="T44" fmla="*/ 1579 w 2329"/>
                  <a:gd name="T45" fmla="*/ 763 h 1134"/>
                  <a:gd name="T46" fmla="*/ 1717 w 2329"/>
                  <a:gd name="T47" fmla="*/ 597 h 1134"/>
                  <a:gd name="T48" fmla="*/ 1823 w 2329"/>
                  <a:gd name="T49" fmla="*/ 395 h 1134"/>
                  <a:gd name="T50" fmla="*/ 2011 w 2329"/>
                  <a:gd name="T51" fmla="*/ 360 h 1134"/>
                  <a:gd name="T52" fmla="*/ 2041 w 2329"/>
                  <a:gd name="T53" fmla="*/ 435 h 1134"/>
                  <a:gd name="T54" fmla="*/ 2057 w 2329"/>
                  <a:gd name="T55" fmla="*/ 505 h 1134"/>
                  <a:gd name="T56" fmla="*/ 2195 w 2329"/>
                  <a:gd name="T57" fmla="*/ 416 h 1134"/>
                  <a:gd name="T58" fmla="*/ 2191 w 2329"/>
                  <a:gd name="T59" fmla="*/ 487 h 1134"/>
                  <a:gd name="T60" fmla="*/ 2201 w 2329"/>
                  <a:gd name="T61" fmla="*/ 552 h 1134"/>
                  <a:gd name="T62" fmla="*/ 2217 w 2329"/>
                  <a:gd name="T63" fmla="*/ 609 h 1134"/>
                  <a:gd name="T64" fmla="*/ 2298 w 2329"/>
                  <a:gd name="T65" fmla="*/ 638 h 1134"/>
                  <a:gd name="T66" fmla="*/ 2255 w 2329"/>
                  <a:gd name="T67" fmla="*/ 657 h 1134"/>
                  <a:gd name="T68" fmla="*/ 2304 w 2329"/>
                  <a:gd name="T69" fmla="*/ 712 h 1134"/>
                  <a:gd name="T70" fmla="*/ 2098 w 2329"/>
                  <a:gd name="T71" fmla="*/ 807 h 1134"/>
                  <a:gd name="T72" fmla="*/ 1865 w 2329"/>
                  <a:gd name="T73" fmla="*/ 849 h 1134"/>
                  <a:gd name="T74" fmla="*/ 1792 w 2329"/>
                  <a:gd name="T75" fmla="*/ 912 h 1134"/>
                  <a:gd name="T76" fmla="*/ 1911 w 2329"/>
                  <a:gd name="T77" fmla="*/ 890 h 1134"/>
                  <a:gd name="T78" fmla="*/ 2028 w 2329"/>
                  <a:gd name="T79" fmla="*/ 987 h 1134"/>
                  <a:gd name="T80" fmla="*/ 1882 w 2329"/>
                  <a:gd name="T81" fmla="*/ 1069 h 1134"/>
                  <a:gd name="T82" fmla="*/ 1949 w 2329"/>
                  <a:gd name="T83" fmla="*/ 979 h 1134"/>
                  <a:gd name="T84" fmla="*/ 1793 w 2329"/>
                  <a:gd name="T85" fmla="*/ 931 h 1134"/>
                  <a:gd name="T86" fmla="*/ 1505 w 2329"/>
                  <a:gd name="T87" fmla="*/ 1056 h 1134"/>
                  <a:gd name="T88" fmla="*/ 1283 w 2329"/>
                  <a:gd name="T89" fmla="*/ 1133 h 1134"/>
                  <a:gd name="T90" fmla="*/ 1422 w 2329"/>
                  <a:gd name="T91" fmla="*/ 1022 h 1134"/>
                  <a:gd name="T92" fmla="*/ 1314 w 2329"/>
                  <a:gd name="T93" fmla="*/ 945 h 1134"/>
                  <a:gd name="T94" fmla="*/ 1211 w 2329"/>
                  <a:gd name="T95" fmla="*/ 872 h 1134"/>
                  <a:gd name="T96" fmla="*/ 1034 w 2329"/>
                  <a:gd name="T97" fmla="*/ 838 h 1134"/>
                  <a:gd name="T98" fmla="*/ 130 w 2329"/>
                  <a:gd name="T99" fmla="*/ 820 h 1134"/>
                  <a:gd name="T100" fmla="*/ 103 w 2329"/>
                  <a:gd name="T101" fmla="*/ 784 h 1134"/>
                  <a:gd name="T102" fmla="*/ 80 w 2329"/>
                  <a:gd name="T103" fmla="*/ 746 h 1134"/>
                  <a:gd name="T104" fmla="*/ 96 w 2329"/>
                  <a:gd name="T105" fmla="*/ 692 h 1134"/>
                  <a:gd name="T106" fmla="*/ 87 w 2329"/>
                  <a:gd name="T107" fmla="*/ 638 h 1134"/>
                  <a:gd name="T108" fmla="*/ 141 w 2329"/>
                  <a:gd name="T109" fmla="*/ 563 h 1134"/>
                  <a:gd name="T110" fmla="*/ 47 w 2329"/>
                  <a:gd name="T111" fmla="*/ 413 h 1134"/>
                  <a:gd name="T112" fmla="*/ 723 w 2329"/>
                  <a:gd name="T113" fmla="*/ 222 h 1134"/>
                  <a:gd name="T114" fmla="*/ 858 w 2329"/>
                  <a:gd name="T115" fmla="*/ 170 h 1134"/>
                  <a:gd name="T116" fmla="*/ 856 w 2329"/>
                  <a:gd name="T117" fmla="*/ 218 h 1134"/>
                  <a:gd name="T118" fmla="*/ 810 w 2329"/>
                  <a:gd name="T119" fmla="*/ 340 h 1134"/>
                  <a:gd name="T120" fmla="*/ 927 w 2329"/>
                  <a:gd name="T121" fmla="*/ 333 h 1134"/>
                  <a:gd name="T122" fmla="*/ 805 w 2329"/>
                  <a:gd name="T123" fmla="*/ 390 h 1134"/>
                  <a:gd name="T124" fmla="*/ 1015 w 2329"/>
                  <a:gd name="T125" fmla="*/ 754 h 1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329" h="1134">
                    <a:moveTo>
                      <a:pt x="22" y="419"/>
                    </a:moveTo>
                    <a:lnTo>
                      <a:pt x="14" y="414"/>
                    </a:lnTo>
                    <a:lnTo>
                      <a:pt x="11" y="417"/>
                    </a:lnTo>
                    <a:lnTo>
                      <a:pt x="7" y="417"/>
                    </a:lnTo>
                    <a:lnTo>
                      <a:pt x="4" y="417"/>
                    </a:lnTo>
                    <a:lnTo>
                      <a:pt x="0" y="416"/>
                    </a:lnTo>
                    <a:lnTo>
                      <a:pt x="3" y="411"/>
                    </a:lnTo>
                    <a:lnTo>
                      <a:pt x="14" y="400"/>
                    </a:lnTo>
                    <a:lnTo>
                      <a:pt x="19" y="397"/>
                    </a:lnTo>
                    <a:lnTo>
                      <a:pt x="23" y="394"/>
                    </a:lnTo>
                    <a:lnTo>
                      <a:pt x="38" y="379"/>
                    </a:lnTo>
                    <a:lnTo>
                      <a:pt x="52" y="367"/>
                    </a:lnTo>
                    <a:lnTo>
                      <a:pt x="66" y="354"/>
                    </a:lnTo>
                    <a:lnTo>
                      <a:pt x="80" y="343"/>
                    </a:lnTo>
                    <a:lnTo>
                      <a:pt x="95" y="330"/>
                    </a:lnTo>
                    <a:lnTo>
                      <a:pt x="109" y="317"/>
                    </a:lnTo>
                    <a:lnTo>
                      <a:pt x="138" y="294"/>
                    </a:lnTo>
                    <a:lnTo>
                      <a:pt x="166" y="268"/>
                    </a:lnTo>
                    <a:lnTo>
                      <a:pt x="195" y="244"/>
                    </a:lnTo>
                    <a:lnTo>
                      <a:pt x="223" y="221"/>
                    </a:lnTo>
                    <a:lnTo>
                      <a:pt x="253" y="199"/>
                    </a:lnTo>
                    <a:lnTo>
                      <a:pt x="282" y="175"/>
                    </a:lnTo>
                    <a:lnTo>
                      <a:pt x="310" y="153"/>
                    </a:lnTo>
                    <a:lnTo>
                      <a:pt x="339" y="130"/>
                    </a:lnTo>
                    <a:lnTo>
                      <a:pt x="355" y="118"/>
                    </a:lnTo>
                    <a:lnTo>
                      <a:pt x="369" y="107"/>
                    </a:lnTo>
                    <a:lnTo>
                      <a:pt x="383" y="95"/>
                    </a:lnTo>
                    <a:lnTo>
                      <a:pt x="399" y="84"/>
                    </a:lnTo>
                    <a:lnTo>
                      <a:pt x="404" y="81"/>
                    </a:lnTo>
                    <a:lnTo>
                      <a:pt x="406" y="80"/>
                    </a:lnTo>
                    <a:lnTo>
                      <a:pt x="409" y="80"/>
                    </a:lnTo>
                    <a:lnTo>
                      <a:pt x="417" y="81"/>
                    </a:lnTo>
                    <a:lnTo>
                      <a:pt x="420" y="81"/>
                    </a:lnTo>
                    <a:lnTo>
                      <a:pt x="423" y="81"/>
                    </a:lnTo>
                    <a:lnTo>
                      <a:pt x="428" y="81"/>
                    </a:lnTo>
                    <a:lnTo>
                      <a:pt x="434" y="81"/>
                    </a:lnTo>
                    <a:lnTo>
                      <a:pt x="437" y="81"/>
                    </a:lnTo>
                    <a:lnTo>
                      <a:pt x="440" y="83"/>
                    </a:lnTo>
                    <a:lnTo>
                      <a:pt x="445" y="84"/>
                    </a:lnTo>
                    <a:lnTo>
                      <a:pt x="448" y="84"/>
                    </a:lnTo>
                    <a:lnTo>
                      <a:pt x="448" y="88"/>
                    </a:lnTo>
                    <a:lnTo>
                      <a:pt x="450" y="91"/>
                    </a:lnTo>
                    <a:lnTo>
                      <a:pt x="453" y="94"/>
                    </a:lnTo>
                    <a:lnTo>
                      <a:pt x="456" y="92"/>
                    </a:lnTo>
                    <a:lnTo>
                      <a:pt x="456" y="95"/>
                    </a:lnTo>
                    <a:lnTo>
                      <a:pt x="461" y="97"/>
                    </a:lnTo>
                    <a:lnTo>
                      <a:pt x="464" y="99"/>
                    </a:lnTo>
                    <a:lnTo>
                      <a:pt x="467" y="100"/>
                    </a:lnTo>
                    <a:lnTo>
                      <a:pt x="471" y="102"/>
                    </a:lnTo>
                    <a:lnTo>
                      <a:pt x="474" y="103"/>
                    </a:lnTo>
                    <a:lnTo>
                      <a:pt x="479" y="103"/>
                    </a:lnTo>
                    <a:lnTo>
                      <a:pt x="482" y="105"/>
                    </a:lnTo>
                    <a:lnTo>
                      <a:pt x="485" y="107"/>
                    </a:lnTo>
                    <a:lnTo>
                      <a:pt x="488" y="105"/>
                    </a:lnTo>
                    <a:lnTo>
                      <a:pt x="507" y="108"/>
                    </a:lnTo>
                    <a:lnTo>
                      <a:pt x="515" y="113"/>
                    </a:lnTo>
                    <a:lnTo>
                      <a:pt x="515" y="110"/>
                    </a:lnTo>
                    <a:lnTo>
                      <a:pt x="518" y="107"/>
                    </a:lnTo>
                    <a:lnTo>
                      <a:pt x="513" y="107"/>
                    </a:lnTo>
                    <a:lnTo>
                      <a:pt x="518" y="105"/>
                    </a:lnTo>
                    <a:lnTo>
                      <a:pt x="521" y="105"/>
                    </a:lnTo>
                    <a:lnTo>
                      <a:pt x="525" y="105"/>
                    </a:lnTo>
                    <a:lnTo>
                      <a:pt x="529" y="105"/>
                    </a:lnTo>
                    <a:lnTo>
                      <a:pt x="532" y="105"/>
                    </a:lnTo>
                    <a:lnTo>
                      <a:pt x="536" y="105"/>
                    </a:lnTo>
                    <a:lnTo>
                      <a:pt x="536" y="108"/>
                    </a:lnTo>
                    <a:lnTo>
                      <a:pt x="536" y="111"/>
                    </a:lnTo>
                    <a:lnTo>
                      <a:pt x="539" y="113"/>
                    </a:lnTo>
                    <a:lnTo>
                      <a:pt x="540" y="113"/>
                    </a:lnTo>
                    <a:lnTo>
                      <a:pt x="540" y="113"/>
                    </a:lnTo>
                    <a:lnTo>
                      <a:pt x="540" y="111"/>
                    </a:lnTo>
                    <a:lnTo>
                      <a:pt x="542" y="110"/>
                    </a:lnTo>
                    <a:lnTo>
                      <a:pt x="542" y="107"/>
                    </a:lnTo>
                    <a:lnTo>
                      <a:pt x="544" y="103"/>
                    </a:lnTo>
                    <a:lnTo>
                      <a:pt x="547" y="100"/>
                    </a:lnTo>
                    <a:lnTo>
                      <a:pt x="550" y="99"/>
                    </a:lnTo>
                    <a:lnTo>
                      <a:pt x="555" y="99"/>
                    </a:lnTo>
                    <a:lnTo>
                      <a:pt x="558" y="97"/>
                    </a:lnTo>
                    <a:lnTo>
                      <a:pt x="561" y="95"/>
                    </a:lnTo>
                    <a:lnTo>
                      <a:pt x="564" y="94"/>
                    </a:lnTo>
                    <a:lnTo>
                      <a:pt x="569" y="92"/>
                    </a:lnTo>
                    <a:lnTo>
                      <a:pt x="570" y="92"/>
                    </a:lnTo>
                    <a:lnTo>
                      <a:pt x="574" y="92"/>
                    </a:lnTo>
                    <a:lnTo>
                      <a:pt x="575" y="92"/>
                    </a:lnTo>
                    <a:lnTo>
                      <a:pt x="580" y="91"/>
                    </a:lnTo>
                    <a:lnTo>
                      <a:pt x="583" y="91"/>
                    </a:lnTo>
                    <a:lnTo>
                      <a:pt x="586" y="88"/>
                    </a:lnTo>
                    <a:lnTo>
                      <a:pt x="590" y="88"/>
                    </a:lnTo>
                    <a:lnTo>
                      <a:pt x="594" y="88"/>
                    </a:lnTo>
                    <a:lnTo>
                      <a:pt x="597" y="88"/>
                    </a:lnTo>
                    <a:lnTo>
                      <a:pt x="601" y="88"/>
                    </a:lnTo>
                    <a:lnTo>
                      <a:pt x="605" y="86"/>
                    </a:lnTo>
                    <a:lnTo>
                      <a:pt x="609" y="84"/>
                    </a:lnTo>
                    <a:lnTo>
                      <a:pt x="612" y="83"/>
                    </a:lnTo>
                    <a:lnTo>
                      <a:pt x="615" y="80"/>
                    </a:lnTo>
                    <a:lnTo>
                      <a:pt x="618" y="78"/>
                    </a:lnTo>
                    <a:lnTo>
                      <a:pt x="623" y="80"/>
                    </a:lnTo>
                    <a:lnTo>
                      <a:pt x="626" y="80"/>
                    </a:lnTo>
                    <a:lnTo>
                      <a:pt x="629" y="80"/>
                    </a:lnTo>
                    <a:lnTo>
                      <a:pt x="626" y="78"/>
                    </a:lnTo>
                    <a:lnTo>
                      <a:pt x="629" y="76"/>
                    </a:lnTo>
                    <a:lnTo>
                      <a:pt x="634" y="76"/>
                    </a:lnTo>
                    <a:lnTo>
                      <a:pt x="637" y="75"/>
                    </a:lnTo>
                    <a:lnTo>
                      <a:pt x="634" y="76"/>
                    </a:lnTo>
                    <a:lnTo>
                      <a:pt x="637" y="78"/>
                    </a:lnTo>
                    <a:lnTo>
                      <a:pt x="640" y="76"/>
                    </a:lnTo>
                    <a:lnTo>
                      <a:pt x="645" y="76"/>
                    </a:lnTo>
                    <a:lnTo>
                      <a:pt x="648" y="75"/>
                    </a:lnTo>
                    <a:lnTo>
                      <a:pt x="651" y="75"/>
                    </a:lnTo>
                    <a:lnTo>
                      <a:pt x="655" y="73"/>
                    </a:lnTo>
                    <a:lnTo>
                      <a:pt x="662" y="72"/>
                    </a:lnTo>
                    <a:lnTo>
                      <a:pt x="666" y="70"/>
                    </a:lnTo>
                    <a:lnTo>
                      <a:pt x="670" y="68"/>
                    </a:lnTo>
                    <a:lnTo>
                      <a:pt x="669" y="72"/>
                    </a:lnTo>
                    <a:lnTo>
                      <a:pt x="678" y="68"/>
                    </a:lnTo>
                    <a:lnTo>
                      <a:pt x="685" y="67"/>
                    </a:lnTo>
                    <a:lnTo>
                      <a:pt x="688" y="64"/>
                    </a:lnTo>
                    <a:lnTo>
                      <a:pt x="693" y="64"/>
                    </a:lnTo>
                    <a:lnTo>
                      <a:pt x="696" y="64"/>
                    </a:lnTo>
                    <a:lnTo>
                      <a:pt x="699" y="62"/>
                    </a:lnTo>
                    <a:lnTo>
                      <a:pt x="702" y="61"/>
                    </a:lnTo>
                    <a:lnTo>
                      <a:pt x="699" y="62"/>
                    </a:lnTo>
                    <a:lnTo>
                      <a:pt x="704" y="62"/>
                    </a:lnTo>
                    <a:lnTo>
                      <a:pt x="707" y="64"/>
                    </a:lnTo>
                    <a:lnTo>
                      <a:pt x="710" y="64"/>
                    </a:lnTo>
                    <a:lnTo>
                      <a:pt x="713" y="64"/>
                    </a:lnTo>
                    <a:lnTo>
                      <a:pt x="716" y="62"/>
                    </a:lnTo>
                    <a:lnTo>
                      <a:pt x="721" y="61"/>
                    </a:lnTo>
                    <a:lnTo>
                      <a:pt x="724" y="59"/>
                    </a:lnTo>
                    <a:lnTo>
                      <a:pt x="728" y="57"/>
                    </a:lnTo>
                    <a:lnTo>
                      <a:pt x="724" y="62"/>
                    </a:lnTo>
                    <a:lnTo>
                      <a:pt x="728" y="62"/>
                    </a:lnTo>
                    <a:lnTo>
                      <a:pt x="724" y="65"/>
                    </a:lnTo>
                    <a:lnTo>
                      <a:pt x="721" y="65"/>
                    </a:lnTo>
                    <a:lnTo>
                      <a:pt x="718" y="67"/>
                    </a:lnTo>
                    <a:lnTo>
                      <a:pt x="715" y="68"/>
                    </a:lnTo>
                    <a:lnTo>
                      <a:pt x="712" y="68"/>
                    </a:lnTo>
                    <a:lnTo>
                      <a:pt x="704" y="70"/>
                    </a:lnTo>
                    <a:lnTo>
                      <a:pt x="696" y="72"/>
                    </a:lnTo>
                    <a:lnTo>
                      <a:pt x="686" y="75"/>
                    </a:lnTo>
                    <a:lnTo>
                      <a:pt x="678" y="78"/>
                    </a:lnTo>
                    <a:lnTo>
                      <a:pt x="670" y="80"/>
                    </a:lnTo>
                    <a:lnTo>
                      <a:pt x="662" y="81"/>
                    </a:lnTo>
                    <a:lnTo>
                      <a:pt x="659" y="84"/>
                    </a:lnTo>
                    <a:lnTo>
                      <a:pt x="656" y="88"/>
                    </a:lnTo>
                    <a:lnTo>
                      <a:pt x="653" y="89"/>
                    </a:lnTo>
                    <a:lnTo>
                      <a:pt x="656" y="88"/>
                    </a:lnTo>
                    <a:lnTo>
                      <a:pt x="659" y="86"/>
                    </a:lnTo>
                    <a:lnTo>
                      <a:pt x="656" y="88"/>
                    </a:lnTo>
                    <a:lnTo>
                      <a:pt x="653" y="89"/>
                    </a:lnTo>
                    <a:lnTo>
                      <a:pt x="656" y="89"/>
                    </a:lnTo>
                    <a:lnTo>
                      <a:pt x="653" y="91"/>
                    </a:lnTo>
                    <a:lnTo>
                      <a:pt x="650" y="94"/>
                    </a:lnTo>
                    <a:lnTo>
                      <a:pt x="645" y="95"/>
                    </a:lnTo>
                    <a:lnTo>
                      <a:pt x="656" y="91"/>
                    </a:lnTo>
                    <a:lnTo>
                      <a:pt x="667" y="86"/>
                    </a:lnTo>
                    <a:lnTo>
                      <a:pt x="678" y="81"/>
                    </a:lnTo>
                    <a:lnTo>
                      <a:pt x="689" y="78"/>
                    </a:lnTo>
                    <a:lnTo>
                      <a:pt x="699" y="76"/>
                    </a:lnTo>
                    <a:lnTo>
                      <a:pt x="707" y="73"/>
                    </a:lnTo>
                    <a:lnTo>
                      <a:pt x="721" y="72"/>
                    </a:lnTo>
                    <a:lnTo>
                      <a:pt x="734" y="68"/>
                    </a:lnTo>
                    <a:lnTo>
                      <a:pt x="731" y="72"/>
                    </a:lnTo>
                    <a:lnTo>
                      <a:pt x="726" y="72"/>
                    </a:lnTo>
                    <a:lnTo>
                      <a:pt x="723" y="73"/>
                    </a:lnTo>
                    <a:lnTo>
                      <a:pt x="718" y="76"/>
                    </a:lnTo>
                    <a:lnTo>
                      <a:pt x="723" y="78"/>
                    </a:lnTo>
                    <a:lnTo>
                      <a:pt x="737" y="73"/>
                    </a:lnTo>
                    <a:lnTo>
                      <a:pt x="751" y="67"/>
                    </a:lnTo>
                    <a:lnTo>
                      <a:pt x="751" y="67"/>
                    </a:lnTo>
                    <a:lnTo>
                      <a:pt x="754" y="64"/>
                    </a:lnTo>
                    <a:lnTo>
                      <a:pt x="762" y="62"/>
                    </a:lnTo>
                    <a:lnTo>
                      <a:pt x="770" y="61"/>
                    </a:lnTo>
                    <a:lnTo>
                      <a:pt x="780" y="59"/>
                    </a:lnTo>
                    <a:lnTo>
                      <a:pt x="777" y="59"/>
                    </a:lnTo>
                    <a:lnTo>
                      <a:pt x="774" y="57"/>
                    </a:lnTo>
                    <a:lnTo>
                      <a:pt x="777" y="54"/>
                    </a:lnTo>
                    <a:lnTo>
                      <a:pt x="772" y="54"/>
                    </a:lnTo>
                    <a:lnTo>
                      <a:pt x="777" y="51"/>
                    </a:lnTo>
                    <a:lnTo>
                      <a:pt x="780" y="49"/>
                    </a:lnTo>
                    <a:lnTo>
                      <a:pt x="783" y="48"/>
                    </a:lnTo>
                    <a:lnTo>
                      <a:pt x="786" y="48"/>
                    </a:lnTo>
                    <a:lnTo>
                      <a:pt x="791" y="54"/>
                    </a:lnTo>
                    <a:lnTo>
                      <a:pt x="793" y="56"/>
                    </a:lnTo>
                    <a:lnTo>
                      <a:pt x="793" y="61"/>
                    </a:lnTo>
                    <a:lnTo>
                      <a:pt x="789" y="65"/>
                    </a:lnTo>
                    <a:lnTo>
                      <a:pt x="788" y="67"/>
                    </a:lnTo>
                    <a:lnTo>
                      <a:pt x="788" y="68"/>
                    </a:lnTo>
                    <a:lnTo>
                      <a:pt x="785" y="73"/>
                    </a:lnTo>
                    <a:lnTo>
                      <a:pt x="783" y="76"/>
                    </a:lnTo>
                    <a:lnTo>
                      <a:pt x="785" y="80"/>
                    </a:lnTo>
                    <a:lnTo>
                      <a:pt x="786" y="83"/>
                    </a:lnTo>
                    <a:lnTo>
                      <a:pt x="788" y="86"/>
                    </a:lnTo>
                    <a:lnTo>
                      <a:pt x="791" y="89"/>
                    </a:lnTo>
                    <a:lnTo>
                      <a:pt x="796" y="89"/>
                    </a:lnTo>
                    <a:lnTo>
                      <a:pt x="799" y="91"/>
                    </a:lnTo>
                    <a:lnTo>
                      <a:pt x="802" y="88"/>
                    </a:lnTo>
                    <a:lnTo>
                      <a:pt x="805" y="88"/>
                    </a:lnTo>
                    <a:lnTo>
                      <a:pt x="810" y="88"/>
                    </a:lnTo>
                    <a:lnTo>
                      <a:pt x="805" y="86"/>
                    </a:lnTo>
                    <a:lnTo>
                      <a:pt x="802" y="86"/>
                    </a:lnTo>
                    <a:lnTo>
                      <a:pt x="799" y="88"/>
                    </a:lnTo>
                    <a:lnTo>
                      <a:pt x="802" y="86"/>
                    </a:lnTo>
                    <a:lnTo>
                      <a:pt x="805" y="84"/>
                    </a:lnTo>
                    <a:lnTo>
                      <a:pt x="810" y="83"/>
                    </a:lnTo>
                    <a:lnTo>
                      <a:pt x="813" y="84"/>
                    </a:lnTo>
                    <a:lnTo>
                      <a:pt x="815" y="81"/>
                    </a:lnTo>
                    <a:lnTo>
                      <a:pt x="812" y="81"/>
                    </a:lnTo>
                    <a:lnTo>
                      <a:pt x="815" y="78"/>
                    </a:lnTo>
                    <a:lnTo>
                      <a:pt x="818" y="78"/>
                    </a:lnTo>
                    <a:lnTo>
                      <a:pt x="823" y="76"/>
                    </a:lnTo>
                    <a:lnTo>
                      <a:pt x="826" y="76"/>
                    </a:lnTo>
                    <a:lnTo>
                      <a:pt x="829" y="76"/>
                    </a:lnTo>
                    <a:lnTo>
                      <a:pt x="826" y="75"/>
                    </a:lnTo>
                    <a:lnTo>
                      <a:pt x="821" y="75"/>
                    </a:lnTo>
                    <a:lnTo>
                      <a:pt x="826" y="73"/>
                    </a:lnTo>
                    <a:lnTo>
                      <a:pt x="829" y="73"/>
                    </a:lnTo>
                    <a:lnTo>
                      <a:pt x="835" y="70"/>
                    </a:lnTo>
                    <a:lnTo>
                      <a:pt x="840" y="68"/>
                    </a:lnTo>
                    <a:lnTo>
                      <a:pt x="843" y="68"/>
                    </a:lnTo>
                    <a:lnTo>
                      <a:pt x="846" y="67"/>
                    </a:lnTo>
                    <a:lnTo>
                      <a:pt x="845" y="67"/>
                    </a:lnTo>
                    <a:lnTo>
                      <a:pt x="842" y="68"/>
                    </a:lnTo>
                    <a:lnTo>
                      <a:pt x="842" y="67"/>
                    </a:lnTo>
                    <a:lnTo>
                      <a:pt x="837" y="67"/>
                    </a:lnTo>
                    <a:lnTo>
                      <a:pt x="829" y="70"/>
                    </a:lnTo>
                    <a:lnTo>
                      <a:pt x="832" y="67"/>
                    </a:lnTo>
                    <a:lnTo>
                      <a:pt x="840" y="65"/>
                    </a:lnTo>
                    <a:lnTo>
                      <a:pt x="843" y="65"/>
                    </a:lnTo>
                    <a:lnTo>
                      <a:pt x="846" y="65"/>
                    </a:lnTo>
                    <a:lnTo>
                      <a:pt x="850" y="67"/>
                    </a:lnTo>
                    <a:lnTo>
                      <a:pt x="854" y="65"/>
                    </a:lnTo>
                    <a:lnTo>
                      <a:pt x="853" y="67"/>
                    </a:lnTo>
                    <a:lnTo>
                      <a:pt x="853" y="67"/>
                    </a:lnTo>
                    <a:lnTo>
                      <a:pt x="851" y="67"/>
                    </a:lnTo>
                    <a:lnTo>
                      <a:pt x="850" y="67"/>
                    </a:lnTo>
                    <a:lnTo>
                      <a:pt x="846" y="72"/>
                    </a:lnTo>
                    <a:lnTo>
                      <a:pt x="843" y="73"/>
                    </a:lnTo>
                    <a:lnTo>
                      <a:pt x="840" y="76"/>
                    </a:lnTo>
                    <a:lnTo>
                      <a:pt x="845" y="78"/>
                    </a:lnTo>
                    <a:lnTo>
                      <a:pt x="848" y="78"/>
                    </a:lnTo>
                    <a:lnTo>
                      <a:pt x="845" y="80"/>
                    </a:lnTo>
                    <a:lnTo>
                      <a:pt x="837" y="83"/>
                    </a:lnTo>
                    <a:lnTo>
                      <a:pt x="834" y="84"/>
                    </a:lnTo>
                    <a:lnTo>
                      <a:pt x="829" y="86"/>
                    </a:lnTo>
                    <a:lnTo>
                      <a:pt x="826" y="89"/>
                    </a:lnTo>
                    <a:lnTo>
                      <a:pt x="831" y="89"/>
                    </a:lnTo>
                    <a:lnTo>
                      <a:pt x="837" y="89"/>
                    </a:lnTo>
                    <a:lnTo>
                      <a:pt x="840" y="89"/>
                    </a:lnTo>
                    <a:lnTo>
                      <a:pt x="842" y="89"/>
                    </a:lnTo>
                    <a:lnTo>
                      <a:pt x="845" y="89"/>
                    </a:lnTo>
                    <a:lnTo>
                      <a:pt x="850" y="89"/>
                    </a:lnTo>
                    <a:lnTo>
                      <a:pt x="853" y="88"/>
                    </a:lnTo>
                    <a:lnTo>
                      <a:pt x="856" y="86"/>
                    </a:lnTo>
                    <a:lnTo>
                      <a:pt x="861" y="84"/>
                    </a:lnTo>
                    <a:lnTo>
                      <a:pt x="864" y="84"/>
                    </a:lnTo>
                    <a:lnTo>
                      <a:pt x="867" y="83"/>
                    </a:lnTo>
                    <a:lnTo>
                      <a:pt x="870" y="80"/>
                    </a:lnTo>
                    <a:lnTo>
                      <a:pt x="875" y="78"/>
                    </a:lnTo>
                    <a:lnTo>
                      <a:pt x="878" y="75"/>
                    </a:lnTo>
                    <a:lnTo>
                      <a:pt x="881" y="73"/>
                    </a:lnTo>
                    <a:lnTo>
                      <a:pt x="885" y="73"/>
                    </a:lnTo>
                    <a:lnTo>
                      <a:pt x="892" y="73"/>
                    </a:lnTo>
                    <a:lnTo>
                      <a:pt x="896" y="73"/>
                    </a:lnTo>
                    <a:lnTo>
                      <a:pt x="899" y="73"/>
                    </a:lnTo>
                    <a:lnTo>
                      <a:pt x="902" y="75"/>
                    </a:lnTo>
                    <a:lnTo>
                      <a:pt x="907" y="73"/>
                    </a:lnTo>
                    <a:lnTo>
                      <a:pt x="910" y="73"/>
                    </a:lnTo>
                    <a:lnTo>
                      <a:pt x="913" y="73"/>
                    </a:lnTo>
                    <a:lnTo>
                      <a:pt x="918" y="75"/>
                    </a:lnTo>
                    <a:lnTo>
                      <a:pt x="921" y="75"/>
                    </a:lnTo>
                    <a:lnTo>
                      <a:pt x="924" y="76"/>
                    </a:lnTo>
                    <a:lnTo>
                      <a:pt x="931" y="81"/>
                    </a:lnTo>
                    <a:lnTo>
                      <a:pt x="935" y="86"/>
                    </a:lnTo>
                    <a:lnTo>
                      <a:pt x="938" y="89"/>
                    </a:lnTo>
                    <a:lnTo>
                      <a:pt x="946" y="91"/>
                    </a:lnTo>
                    <a:lnTo>
                      <a:pt x="959" y="91"/>
                    </a:lnTo>
                    <a:lnTo>
                      <a:pt x="972" y="95"/>
                    </a:lnTo>
                    <a:lnTo>
                      <a:pt x="977" y="99"/>
                    </a:lnTo>
                    <a:lnTo>
                      <a:pt x="983" y="102"/>
                    </a:lnTo>
                    <a:lnTo>
                      <a:pt x="989" y="102"/>
                    </a:lnTo>
                    <a:lnTo>
                      <a:pt x="996" y="105"/>
                    </a:lnTo>
                    <a:lnTo>
                      <a:pt x="1000" y="105"/>
                    </a:lnTo>
                    <a:lnTo>
                      <a:pt x="1003" y="105"/>
                    </a:lnTo>
                    <a:lnTo>
                      <a:pt x="1007" y="105"/>
                    </a:lnTo>
                    <a:lnTo>
                      <a:pt x="1010" y="107"/>
                    </a:lnTo>
                    <a:lnTo>
                      <a:pt x="1015" y="107"/>
                    </a:lnTo>
                    <a:lnTo>
                      <a:pt x="1018" y="105"/>
                    </a:lnTo>
                    <a:lnTo>
                      <a:pt x="1021" y="108"/>
                    </a:lnTo>
                    <a:lnTo>
                      <a:pt x="1024" y="107"/>
                    </a:lnTo>
                    <a:lnTo>
                      <a:pt x="1023" y="103"/>
                    </a:lnTo>
                    <a:lnTo>
                      <a:pt x="1026" y="102"/>
                    </a:lnTo>
                    <a:lnTo>
                      <a:pt x="1034" y="105"/>
                    </a:lnTo>
                    <a:lnTo>
                      <a:pt x="1037" y="102"/>
                    </a:lnTo>
                    <a:lnTo>
                      <a:pt x="1040" y="103"/>
                    </a:lnTo>
                    <a:lnTo>
                      <a:pt x="1045" y="103"/>
                    </a:lnTo>
                    <a:lnTo>
                      <a:pt x="1048" y="105"/>
                    </a:lnTo>
                    <a:lnTo>
                      <a:pt x="1051" y="107"/>
                    </a:lnTo>
                    <a:lnTo>
                      <a:pt x="1054" y="107"/>
                    </a:lnTo>
                    <a:lnTo>
                      <a:pt x="1057" y="111"/>
                    </a:lnTo>
                    <a:lnTo>
                      <a:pt x="1061" y="111"/>
                    </a:lnTo>
                    <a:lnTo>
                      <a:pt x="1061" y="114"/>
                    </a:lnTo>
                    <a:lnTo>
                      <a:pt x="1064" y="116"/>
                    </a:lnTo>
                    <a:lnTo>
                      <a:pt x="1064" y="119"/>
                    </a:lnTo>
                    <a:lnTo>
                      <a:pt x="1062" y="124"/>
                    </a:lnTo>
                    <a:lnTo>
                      <a:pt x="1059" y="126"/>
                    </a:lnTo>
                    <a:lnTo>
                      <a:pt x="1056" y="129"/>
                    </a:lnTo>
                    <a:lnTo>
                      <a:pt x="1053" y="127"/>
                    </a:lnTo>
                    <a:lnTo>
                      <a:pt x="1048" y="129"/>
                    </a:lnTo>
                    <a:lnTo>
                      <a:pt x="1045" y="127"/>
                    </a:lnTo>
                    <a:lnTo>
                      <a:pt x="1042" y="127"/>
                    </a:lnTo>
                    <a:lnTo>
                      <a:pt x="1038" y="127"/>
                    </a:lnTo>
                    <a:lnTo>
                      <a:pt x="1034" y="129"/>
                    </a:lnTo>
                    <a:lnTo>
                      <a:pt x="1034" y="130"/>
                    </a:lnTo>
                    <a:lnTo>
                      <a:pt x="1030" y="130"/>
                    </a:lnTo>
                    <a:lnTo>
                      <a:pt x="1027" y="130"/>
                    </a:lnTo>
                    <a:lnTo>
                      <a:pt x="1024" y="130"/>
                    </a:lnTo>
                    <a:lnTo>
                      <a:pt x="1019" y="133"/>
                    </a:lnTo>
                    <a:lnTo>
                      <a:pt x="1018" y="137"/>
                    </a:lnTo>
                    <a:lnTo>
                      <a:pt x="1015" y="137"/>
                    </a:lnTo>
                    <a:lnTo>
                      <a:pt x="1011" y="138"/>
                    </a:lnTo>
                    <a:lnTo>
                      <a:pt x="1008" y="138"/>
                    </a:lnTo>
                    <a:lnTo>
                      <a:pt x="1003" y="140"/>
                    </a:lnTo>
                    <a:lnTo>
                      <a:pt x="1007" y="140"/>
                    </a:lnTo>
                    <a:lnTo>
                      <a:pt x="1011" y="143"/>
                    </a:lnTo>
                    <a:lnTo>
                      <a:pt x="1013" y="143"/>
                    </a:lnTo>
                    <a:lnTo>
                      <a:pt x="1016" y="143"/>
                    </a:lnTo>
                    <a:lnTo>
                      <a:pt x="1021" y="143"/>
                    </a:lnTo>
                    <a:lnTo>
                      <a:pt x="1024" y="145"/>
                    </a:lnTo>
                    <a:lnTo>
                      <a:pt x="1027" y="145"/>
                    </a:lnTo>
                    <a:lnTo>
                      <a:pt x="1030" y="146"/>
                    </a:lnTo>
                    <a:lnTo>
                      <a:pt x="1035" y="146"/>
                    </a:lnTo>
                    <a:lnTo>
                      <a:pt x="1038" y="146"/>
                    </a:lnTo>
                    <a:lnTo>
                      <a:pt x="1042" y="148"/>
                    </a:lnTo>
                    <a:lnTo>
                      <a:pt x="1046" y="148"/>
                    </a:lnTo>
                    <a:lnTo>
                      <a:pt x="1049" y="146"/>
                    </a:lnTo>
                    <a:lnTo>
                      <a:pt x="1057" y="146"/>
                    </a:lnTo>
                    <a:lnTo>
                      <a:pt x="1061" y="148"/>
                    </a:lnTo>
                    <a:lnTo>
                      <a:pt x="1064" y="148"/>
                    </a:lnTo>
                    <a:lnTo>
                      <a:pt x="1067" y="148"/>
                    </a:lnTo>
                    <a:lnTo>
                      <a:pt x="1072" y="148"/>
                    </a:lnTo>
                    <a:lnTo>
                      <a:pt x="1075" y="148"/>
                    </a:lnTo>
                    <a:lnTo>
                      <a:pt x="1078" y="148"/>
                    </a:lnTo>
                    <a:lnTo>
                      <a:pt x="1081" y="146"/>
                    </a:lnTo>
                    <a:lnTo>
                      <a:pt x="1089" y="146"/>
                    </a:lnTo>
                    <a:lnTo>
                      <a:pt x="1092" y="148"/>
                    </a:lnTo>
                    <a:lnTo>
                      <a:pt x="1092" y="148"/>
                    </a:lnTo>
                    <a:lnTo>
                      <a:pt x="1095" y="145"/>
                    </a:lnTo>
                    <a:lnTo>
                      <a:pt x="1100" y="146"/>
                    </a:lnTo>
                    <a:lnTo>
                      <a:pt x="1103" y="145"/>
                    </a:lnTo>
                    <a:lnTo>
                      <a:pt x="1107" y="146"/>
                    </a:lnTo>
                    <a:lnTo>
                      <a:pt x="1110" y="143"/>
                    </a:lnTo>
                    <a:lnTo>
                      <a:pt x="1114" y="143"/>
                    </a:lnTo>
                    <a:lnTo>
                      <a:pt x="1118" y="141"/>
                    </a:lnTo>
                    <a:lnTo>
                      <a:pt x="1114" y="145"/>
                    </a:lnTo>
                    <a:lnTo>
                      <a:pt x="1118" y="143"/>
                    </a:lnTo>
                    <a:lnTo>
                      <a:pt x="1121" y="145"/>
                    </a:lnTo>
                    <a:lnTo>
                      <a:pt x="1126" y="143"/>
                    </a:lnTo>
                    <a:lnTo>
                      <a:pt x="1129" y="141"/>
                    </a:lnTo>
                    <a:lnTo>
                      <a:pt x="1135" y="140"/>
                    </a:lnTo>
                    <a:lnTo>
                      <a:pt x="1140" y="138"/>
                    </a:lnTo>
                    <a:lnTo>
                      <a:pt x="1143" y="138"/>
                    </a:lnTo>
                    <a:lnTo>
                      <a:pt x="1146" y="140"/>
                    </a:lnTo>
                    <a:lnTo>
                      <a:pt x="1149" y="137"/>
                    </a:lnTo>
                    <a:lnTo>
                      <a:pt x="1154" y="137"/>
                    </a:lnTo>
                    <a:lnTo>
                      <a:pt x="1154" y="138"/>
                    </a:lnTo>
                    <a:lnTo>
                      <a:pt x="1149" y="140"/>
                    </a:lnTo>
                    <a:lnTo>
                      <a:pt x="1149" y="141"/>
                    </a:lnTo>
                    <a:lnTo>
                      <a:pt x="1151" y="140"/>
                    </a:lnTo>
                    <a:lnTo>
                      <a:pt x="1154" y="143"/>
                    </a:lnTo>
                    <a:lnTo>
                      <a:pt x="1154" y="146"/>
                    </a:lnTo>
                    <a:lnTo>
                      <a:pt x="1157" y="146"/>
                    </a:lnTo>
                    <a:lnTo>
                      <a:pt x="1160" y="145"/>
                    </a:lnTo>
                    <a:lnTo>
                      <a:pt x="1165" y="146"/>
                    </a:lnTo>
                    <a:lnTo>
                      <a:pt x="1168" y="146"/>
                    </a:lnTo>
                    <a:lnTo>
                      <a:pt x="1168" y="149"/>
                    </a:lnTo>
                    <a:lnTo>
                      <a:pt x="1165" y="153"/>
                    </a:lnTo>
                    <a:lnTo>
                      <a:pt x="1162" y="154"/>
                    </a:lnTo>
                    <a:lnTo>
                      <a:pt x="1160" y="156"/>
                    </a:lnTo>
                    <a:lnTo>
                      <a:pt x="1162" y="159"/>
                    </a:lnTo>
                    <a:lnTo>
                      <a:pt x="1165" y="157"/>
                    </a:lnTo>
                    <a:lnTo>
                      <a:pt x="1170" y="154"/>
                    </a:lnTo>
                    <a:lnTo>
                      <a:pt x="1173" y="151"/>
                    </a:lnTo>
                    <a:lnTo>
                      <a:pt x="1176" y="153"/>
                    </a:lnTo>
                    <a:lnTo>
                      <a:pt x="1172" y="159"/>
                    </a:lnTo>
                    <a:lnTo>
                      <a:pt x="1175" y="157"/>
                    </a:lnTo>
                    <a:lnTo>
                      <a:pt x="1178" y="157"/>
                    </a:lnTo>
                    <a:lnTo>
                      <a:pt x="1183" y="162"/>
                    </a:lnTo>
                    <a:lnTo>
                      <a:pt x="1181" y="165"/>
                    </a:lnTo>
                    <a:lnTo>
                      <a:pt x="1178" y="168"/>
                    </a:lnTo>
                    <a:lnTo>
                      <a:pt x="1175" y="168"/>
                    </a:lnTo>
                    <a:lnTo>
                      <a:pt x="1172" y="168"/>
                    </a:lnTo>
                    <a:lnTo>
                      <a:pt x="1168" y="170"/>
                    </a:lnTo>
                    <a:lnTo>
                      <a:pt x="1165" y="170"/>
                    </a:lnTo>
                    <a:lnTo>
                      <a:pt x="1160" y="167"/>
                    </a:lnTo>
                    <a:lnTo>
                      <a:pt x="1160" y="170"/>
                    </a:lnTo>
                    <a:lnTo>
                      <a:pt x="1164" y="172"/>
                    </a:lnTo>
                    <a:lnTo>
                      <a:pt x="1167" y="173"/>
                    </a:lnTo>
                    <a:lnTo>
                      <a:pt x="1165" y="176"/>
                    </a:lnTo>
                    <a:lnTo>
                      <a:pt x="1160" y="176"/>
                    </a:lnTo>
                    <a:lnTo>
                      <a:pt x="1162" y="178"/>
                    </a:lnTo>
                    <a:lnTo>
                      <a:pt x="1165" y="179"/>
                    </a:lnTo>
                    <a:lnTo>
                      <a:pt x="1165" y="183"/>
                    </a:lnTo>
                    <a:lnTo>
                      <a:pt x="1168" y="181"/>
                    </a:lnTo>
                    <a:lnTo>
                      <a:pt x="1168" y="184"/>
                    </a:lnTo>
                    <a:lnTo>
                      <a:pt x="1170" y="187"/>
                    </a:lnTo>
                    <a:lnTo>
                      <a:pt x="1168" y="191"/>
                    </a:lnTo>
                    <a:lnTo>
                      <a:pt x="1173" y="194"/>
                    </a:lnTo>
                    <a:lnTo>
                      <a:pt x="1172" y="191"/>
                    </a:lnTo>
                    <a:lnTo>
                      <a:pt x="1170" y="186"/>
                    </a:lnTo>
                    <a:lnTo>
                      <a:pt x="1170" y="183"/>
                    </a:lnTo>
                    <a:lnTo>
                      <a:pt x="1170" y="179"/>
                    </a:lnTo>
                    <a:lnTo>
                      <a:pt x="1173" y="179"/>
                    </a:lnTo>
                    <a:lnTo>
                      <a:pt x="1176" y="175"/>
                    </a:lnTo>
                    <a:lnTo>
                      <a:pt x="1180" y="172"/>
                    </a:lnTo>
                    <a:lnTo>
                      <a:pt x="1183" y="172"/>
                    </a:lnTo>
                    <a:lnTo>
                      <a:pt x="1186" y="172"/>
                    </a:lnTo>
                    <a:lnTo>
                      <a:pt x="1183" y="175"/>
                    </a:lnTo>
                    <a:lnTo>
                      <a:pt x="1180" y="175"/>
                    </a:lnTo>
                    <a:lnTo>
                      <a:pt x="1181" y="178"/>
                    </a:lnTo>
                    <a:lnTo>
                      <a:pt x="1184" y="176"/>
                    </a:lnTo>
                    <a:lnTo>
                      <a:pt x="1187" y="173"/>
                    </a:lnTo>
                    <a:lnTo>
                      <a:pt x="1191" y="176"/>
                    </a:lnTo>
                    <a:lnTo>
                      <a:pt x="1192" y="173"/>
                    </a:lnTo>
                    <a:lnTo>
                      <a:pt x="1192" y="170"/>
                    </a:lnTo>
                    <a:lnTo>
                      <a:pt x="1194" y="167"/>
                    </a:lnTo>
                    <a:lnTo>
                      <a:pt x="1195" y="167"/>
                    </a:lnTo>
                    <a:lnTo>
                      <a:pt x="1192" y="164"/>
                    </a:lnTo>
                    <a:lnTo>
                      <a:pt x="1194" y="159"/>
                    </a:lnTo>
                    <a:lnTo>
                      <a:pt x="1197" y="156"/>
                    </a:lnTo>
                    <a:lnTo>
                      <a:pt x="1200" y="153"/>
                    </a:lnTo>
                    <a:lnTo>
                      <a:pt x="1199" y="149"/>
                    </a:lnTo>
                    <a:lnTo>
                      <a:pt x="1197" y="146"/>
                    </a:lnTo>
                    <a:lnTo>
                      <a:pt x="1206" y="141"/>
                    </a:lnTo>
                    <a:lnTo>
                      <a:pt x="1214" y="138"/>
                    </a:lnTo>
                    <a:lnTo>
                      <a:pt x="1211" y="138"/>
                    </a:lnTo>
                    <a:lnTo>
                      <a:pt x="1213" y="135"/>
                    </a:lnTo>
                    <a:lnTo>
                      <a:pt x="1216" y="135"/>
                    </a:lnTo>
                    <a:lnTo>
                      <a:pt x="1213" y="137"/>
                    </a:lnTo>
                    <a:lnTo>
                      <a:pt x="1222" y="135"/>
                    </a:lnTo>
                    <a:lnTo>
                      <a:pt x="1230" y="133"/>
                    </a:lnTo>
                    <a:lnTo>
                      <a:pt x="1233" y="132"/>
                    </a:lnTo>
                    <a:lnTo>
                      <a:pt x="1237" y="133"/>
                    </a:lnTo>
                    <a:lnTo>
                      <a:pt x="1240" y="132"/>
                    </a:lnTo>
                    <a:lnTo>
                      <a:pt x="1245" y="133"/>
                    </a:lnTo>
                    <a:lnTo>
                      <a:pt x="1246" y="132"/>
                    </a:lnTo>
                    <a:lnTo>
                      <a:pt x="1249" y="130"/>
                    </a:lnTo>
                    <a:lnTo>
                      <a:pt x="1252" y="127"/>
                    </a:lnTo>
                    <a:lnTo>
                      <a:pt x="1257" y="127"/>
                    </a:lnTo>
                    <a:lnTo>
                      <a:pt x="1260" y="124"/>
                    </a:lnTo>
                    <a:lnTo>
                      <a:pt x="1264" y="124"/>
                    </a:lnTo>
                    <a:lnTo>
                      <a:pt x="1267" y="122"/>
                    </a:lnTo>
                    <a:lnTo>
                      <a:pt x="1272" y="124"/>
                    </a:lnTo>
                    <a:lnTo>
                      <a:pt x="1275" y="122"/>
                    </a:lnTo>
                    <a:lnTo>
                      <a:pt x="1278" y="122"/>
                    </a:lnTo>
                    <a:lnTo>
                      <a:pt x="1281" y="122"/>
                    </a:lnTo>
                    <a:lnTo>
                      <a:pt x="1286" y="119"/>
                    </a:lnTo>
                    <a:lnTo>
                      <a:pt x="1287" y="116"/>
                    </a:lnTo>
                    <a:lnTo>
                      <a:pt x="1292" y="114"/>
                    </a:lnTo>
                    <a:lnTo>
                      <a:pt x="1289" y="114"/>
                    </a:lnTo>
                    <a:lnTo>
                      <a:pt x="1284" y="114"/>
                    </a:lnTo>
                    <a:lnTo>
                      <a:pt x="1281" y="114"/>
                    </a:lnTo>
                    <a:lnTo>
                      <a:pt x="1278" y="116"/>
                    </a:lnTo>
                    <a:lnTo>
                      <a:pt x="1267" y="119"/>
                    </a:lnTo>
                    <a:lnTo>
                      <a:pt x="1260" y="121"/>
                    </a:lnTo>
                    <a:lnTo>
                      <a:pt x="1259" y="124"/>
                    </a:lnTo>
                    <a:lnTo>
                      <a:pt x="1256" y="124"/>
                    </a:lnTo>
                    <a:lnTo>
                      <a:pt x="1252" y="124"/>
                    </a:lnTo>
                    <a:lnTo>
                      <a:pt x="1249" y="124"/>
                    </a:lnTo>
                    <a:lnTo>
                      <a:pt x="1245" y="124"/>
                    </a:lnTo>
                    <a:lnTo>
                      <a:pt x="1241" y="126"/>
                    </a:lnTo>
                    <a:lnTo>
                      <a:pt x="1238" y="127"/>
                    </a:lnTo>
                    <a:lnTo>
                      <a:pt x="1235" y="126"/>
                    </a:lnTo>
                    <a:lnTo>
                      <a:pt x="1230" y="124"/>
                    </a:lnTo>
                    <a:lnTo>
                      <a:pt x="1227" y="124"/>
                    </a:lnTo>
                    <a:lnTo>
                      <a:pt x="1224" y="124"/>
                    </a:lnTo>
                    <a:lnTo>
                      <a:pt x="1219" y="127"/>
                    </a:lnTo>
                    <a:lnTo>
                      <a:pt x="1224" y="130"/>
                    </a:lnTo>
                    <a:lnTo>
                      <a:pt x="1219" y="130"/>
                    </a:lnTo>
                    <a:lnTo>
                      <a:pt x="1216" y="130"/>
                    </a:lnTo>
                    <a:lnTo>
                      <a:pt x="1213" y="130"/>
                    </a:lnTo>
                    <a:lnTo>
                      <a:pt x="1210" y="130"/>
                    </a:lnTo>
                    <a:lnTo>
                      <a:pt x="1205" y="132"/>
                    </a:lnTo>
                    <a:lnTo>
                      <a:pt x="1202" y="130"/>
                    </a:lnTo>
                    <a:lnTo>
                      <a:pt x="1205" y="129"/>
                    </a:lnTo>
                    <a:lnTo>
                      <a:pt x="1202" y="130"/>
                    </a:lnTo>
                    <a:lnTo>
                      <a:pt x="1203" y="126"/>
                    </a:lnTo>
                    <a:lnTo>
                      <a:pt x="1200" y="127"/>
                    </a:lnTo>
                    <a:lnTo>
                      <a:pt x="1197" y="126"/>
                    </a:lnTo>
                    <a:lnTo>
                      <a:pt x="1210" y="121"/>
                    </a:lnTo>
                    <a:lnTo>
                      <a:pt x="1222" y="114"/>
                    </a:lnTo>
                    <a:lnTo>
                      <a:pt x="1235" y="114"/>
                    </a:lnTo>
                    <a:lnTo>
                      <a:pt x="1248" y="113"/>
                    </a:lnTo>
                    <a:lnTo>
                      <a:pt x="1259" y="110"/>
                    </a:lnTo>
                    <a:lnTo>
                      <a:pt x="1272" y="108"/>
                    </a:lnTo>
                    <a:lnTo>
                      <a:pt x="1275" y="107"/>
                    </a:lnTo>
                    <a:lnTo>
                      <a:pt x="1278" y="107"/>
                    </a:lnTo>
                    <a:lnTo>
                      <a:pt x="1283" y="105"/>
                    </a:lnTo>
                    <a:lnTo>
                      <a:pt x="1286" y="105"/>
                    </a:lnTo>
                    <a:lnTo>
                      <a:pt x="1289" y="103"/>
                    </a:lnTo>
                    <a:lnTo>
                      <a:pt x="1294" y="105"/>
                    </a:lnTo>
                    <a:lnTo>
                      <a:pt x="1297" y="105"/>
                    </a:lnTo>
                    <a:lnTo>
                      <a:pt x="1298" y="110"/>
                    </a:lnTo>
                    <a:lnTo>
                      <a:pt x="1297" y="113"/>
                    </a:lnTo>
                    <a:lnTo>
                      <a:pt x="1295" y="116"/>
                    </a:lnTo>
                    <a:lnTo>
                      <a:pt x="1295" y="119"/>
                    </a:lnTo>
                    <a:lnTo>
                      <a:pt x="1292" y="119"/>
                    </a:lnTo>
                    <a:lnTo>
                      <a:pt x="1287" y="122"/>
                    </a:lnTo>
                    <a:lnTo>
                      <a:pt x="1292" y="126"/>
                    </a:lnTo>
                    <a:lnTo>
                      <a:pt x="1295" y="127"/>
                    </a:lnTo>
                    <a:lnTo>
                      <a:pt x="1298" y="126"/>
                    </a:lnTo>
                    <a:lnTo>
                      <a:pt x="1302" y="126"/>
                    </a:lnTo>
                    <a:lnTo>
                      <a:pt x="1298" y="129"/>
                    </a:lnTo>
                    <a:lnTo>
                      <a:pt x="1302" y="127"/>
                    </a:lnTo>
                    <a:lnTo>
                      <a:pt x="1306" y="129"/>
                    </a:lnTo>
                    <a:lnTo>
                      <a:pt x="1303" y="132"/>
                    </a:lnTo>
                    <a:lnTo>
                      <a:pt x="1303" y="135"/>
                    </a:lnTo>
                    <a:lnTo>
                      <a:pt x="1306" y="135"/>
                    </a:lnTo>
                    <a:lnTo>
                      <a:pt x="1310" y="135"/>
                    </a:lnTo>
                    <a:lnTo>
                      <a:pt x="1313" y="135"/>
                    </a:lnTo>
                    <a:lnTo>
                      <a:pt x="1316" y="135"/>
                    </a:lnTo>
                    <a:lnTo>
                      <a:pt x="1317" y="135"/>
                    </a:lnTo>
                    <a:lnTo>
                      <a:pt x="1321" y="135"/>
                    </a:lnTo>
                    <a:lnTo>
                      <a:pt x="1324" y="133"/>
                    </a:lnTo>
                    <a:lnTo>
                      <a:pt x="1329" y="133"/>
                    </a:lnTo>
                    <a:lnTo>
                      <a:pt x="1332" y="132"/>
                    </a:lnTo>
                    <a:lnTo>
                      <a:pt x="1335" y="132"/>
                    </a:lnTo>
                    <a:lnTo>
                      <a:pt x="1332" y="137"/>
                    </a:lnTo>
                    <a:lnTo>
                      <a:pt x="1335" y="138"/>
                    </a:lnTo>
                    <a:lnTo>
                      <a:pt x="1340" y="140"/>
                    </a:lnTo>
                    <a:lnTo>
                      <a:pt x="1340" y="143"/>
                    </a:lnTo>
                    <a:lnTo>
                      <a:pt x="1343" y="143"/>
                    </a:lnTo>
                    <a:lnTo>
                      <a:pt x="1348" y="143"/>
                    </a:lnTo>
                    <a:lnTo>
                      <a:pt x="1351" y="148"/>
                    </a:lnTo>
                    <a:lnTo>
                      <a:pt x="1354" y="145"/>
                    </a:lnTo>
                    <a:lnTo>
                      <a:pt x="1357" y="145"/>
                    </a:lnTo>
                    <a:lnTo>
                      <a:pt x="1362" y="145"/>
                    </a:lnTo>
                    <a:lnTo>
                      <a:pt x="1365" y="148"/>
                    </a:lnTo>
                    <a:lnTo>
                      <a:pt x="1368" y="148"/>
                    </a:lnTo>
                    <a:lnTo>
                      <a:pt x="1373" y="146"/>
                    </a:lnTo>
                    <a:lnTo>
                      <a:pt x="1376" y="146"/>
                    </a:lnTo>
                    <a:lnTo>
                      <a:pt x="1379" y="145"/>
                    </a:lnTo>
                    <a:lnTo>
                      <a:pt x="1384" y="145"/>
                    </a:lnTo>
                    <a:lnTo>
                      <a:pt x="1387" y="145"/>
                    </a:lnTo>
                    <a:lnTo>
                      <a:pt x="1390" y="143"/>
                    </a:lnTo>
                    <a:lnTo>
                      <a:pt x="1394" y="143"/>
                    </a:lnTo>
                    <a:lnTo>
                      <a:pt x="1397" y="143"/>
                    </a:lnTo>
                    <a:lnTo>
                      <a:pt x="1400" y="143"/>
                    </a:lnTo>
                    <a:lnTo>
                      <a:pt x="1403" y="141"/>
                    </a:lnTo>
                    <a:lnTo>
                      <a:pt x="1416" y="143"/>
                    </a:lnTo>
                    <a:lnTo>
                      <a:pt x="1429" y="143"/>
                    </a:lnTo>
                    <a:lnTo>
                      <a:pt x="1432" y="146"/>
                    </a:lnTo>
                    <a:lnTo>
                      <a:pt x="1435" y="146"/>
                    </a:lnTo>
                    <a:lnTo>
                      <a:pt x="1438" y="148"/>
                    </a:lnTo>
                    <a:lnTo>
                      <a:pt x="1443" y="145"/>
                    </a:lnTo>
                    <a:lnTo>
                      <a:pt x="1446" y="145"/>
                    </a:lnTo>
                    <a:lnTo>
                      <a:pt x="1449" y="145"/>
                    </a:lnTo>
                    <a:lnTo>
                      <a:pt x="1454" y="143"/>
                    </a:lnTo>
                    <a:lnTo>
                      <a:pt x="1457" y="143"/>
                    </a:lnTo>
                    <a:lnTo>
                      <a:pt x="1454" y="140"/>
                    </a:lnTo>
                    <a:lnTo>
                      <a:pt x="1454" y="137"/>
                    </a:lnTo>
                    <a:lnTo>
                      <a:pt x="1457" y="133"/>
                    </a:lnTo>
                    <a:lnTo>
                      <a:pt x="1460" y="133"/>
                    </a:lnTo>
                    <a:lnTo>
                      <a:pt x="1463" y="138"/>
                    </a:lnTo>
                    <a:lnTo>
                      <a:pt x="1463" y="141"/>
                    </a:lnTo>
                    <a:lnTo>
                      <a:pt x="1465" y="145"/>
                    </a:lnTo>
                    <a:lnTo>
                      <a:pt x="1468" y="148"/>
                    </a:lnTo>
                    <a:lnTo>
                      <a:pt x="1471" y="151"/>
                    </a:lnTo>
                    <a:lnTo>
                      <a:pt x="1475" y="151"/>
                    </a:lnTo>
                    <a:lnTo>
                      <a:pt x="1478" y="149"/>
                    </a:lnTo>
                    <a:lnTo>
                      <a:pt x="1482" y="149"/>
                    </a:lnTo>
                    <a:lnTo>
                      <a:pt x="1484" y="148"/>
                    </a:lnTo>
                    <a:lnTo>
                      <a:pt x="1487" y="148"/>
                    </a:lnTo>
                    <a:lnTo>
                      <a:pt x="1486" y="145"/>
                    </a:lnTo>
                    <a:lnTo>
                      <a:pt x="1490" y="143"/>
                    </a:lnTo>
                    <a:lnTo>
                      <a:pt x="1489" y="140"/>
                    </a:lnTo>
                    <a:lnTo>
                      <a:pt x="1486" y="140"/>
                    </a:lnTo>
                    <a:lnTo>
                      <a:pt x="1482" y="135"/>
                    </a:lnTo>
                    <a:lnTo>
                      <a:pt x="1475" y="138"/>
                    </a:lnTo>
                    <a:lnTo>
                      <a:pt x="1465" y="141"/>
                    </a:lnTo>
                    <a:lnTo>
                      <a:pt x="1465" y="138"/>
                    </a:lnTo>
                    <a:lnTo>
                      <a:pt x="1463" y="135"/>
                    </a:lnTo>
                    <a:lnTo>
                      <a:pt x="1463" y="132"/>
                    </a:lnTo>
                    <a:lnTo>
                      <a:pt x="1467" y="130"/>
                    </a:lnTo>
                    <a:lnTo>
                      <a:pt x="1467" y="133"/>
                    </a:lnTo>
                    <a:lnTo>
                      <a:pt x="1470" y="130"/>
                    </a:lnTo>
                    <a:lnTo>
                      <a:pt x="1467" y="127"/>
                    </a:lnTo>
                    <a:lnTo>
                      <a:pt x="1467" y="124"/>
                    </a:lnTo>
                    <a:lnTo>
                      <a:pt x="1471" y="124"/>
                    </a:lnTo>
                    <a:lnTo>
                      <a:pt x="1475" y="124"/>
                    </a:lnTo>
                    <a:lnTo>
                      <a:pt x="1478" y="126"/>
                    </a:lnTo>
                    <a:lnTo>
                      <a:pt x="1481" y="126"/>
                    </a:lnTo>
                    <a:lnTo>
                      <a:pt x="1486" y="124"/>
                    </a:lnTo>
                    <a:lnTo>
                      <a:pt x="1489" y="122"/>
                    </a:lnTo>
                    <a:lnTo>
                      <a:pt x="1490" y="121"/>
                    </a:lnTo>
                    <a:lnTo>
                      <a:pt x="1492" y="118"/>
                    </a:lnTo>
                    <a:lnTo>
                      <a:pt x="1495" y="118"/>
                    </a:lnTo>
                    <a:lnTo>
                      <a:pt x="1498" y="119"/>
                    </a:lnTo>
                    <a:lnTo>
                      <a:pt x="1501" y="119"/>
                    </a:lnTo>
                    <a:lnTo>
                      <a:pt x="1506" y="119"/>
                    </a:lnTo>
                    <a:lnTo>
                      <a:pt x="1509" y="122"/>
                    </a:lnTo>
                    <a:lnTo>
                      <a:pt x="1509" y="126"/>
                    </a:lnTo>
                    <a:lnTo>
                      <a:pt x="1506" y="127"/>
                    </a:lnTo>
                    <a:lnTo>
                      <a:pt x="1509" y="129"/>
                    </a:lnTo>
                    <a:lnTo>
                      <a:pt x="1513" y="127"/>
                    </a:lnTo>
                    <a:lnTo>
                      <a:pt x="1516" y="129"/>
                    </a:lnTo>
                    <a:lnTo>
                      <a:pt x="1521" y="127"/>
                    </a:lnTo>
                    <a:lnTo>
                      <a:pt x="1524" y="126"/>
                    </a:lnTo>
                    <a:lnTo>
                      <a:pt x="1519" y="129"/>
                    </a:lnTo>
                    <a:lnTo>
                      <a:pt x="1516" y="130"/>
                    </a:lnTo>
                    <a:lnTo>
                      <a:pt x="1513" y="132"/>
                    </a:lnTo>
                    <a:lnTo>
                      <a:pt x="1509" y="135"/>
                    </a:lnTo>
                    <a:lnTo>
                      <a:pt x="1513" y="135"/>
                    </a:lnTo>
                    <a:lnTo>
                      <a:pt x="1516" y="132"/>
                    </a:lnTo>
                    <a:lnTo>
                      <a:pt x="1519" y="130"/>
                    </a:lnTo>
                    <a:lnTo>
                      <a:pt x="1524" y="130"/>
                    </a:lnTo>
                    <a:lnTo>
                      <a:pt x="1527" y="129"/>
                    </a:lnTo>
                    <a:lnTo>
                      <a:pt x="1533" y="127"/>
                    </a:lnTo>
                    <a:lnTo>
                      <a:pt x="1538" y="127"/>
                    </a:lnTo>
                    <a:lnTo>
                      <a:pt x="1533" y="129"/>
                    </a:lnTo>
                    <a:lnTo>
                      <a:pt x="1533" y="129"/>
                    </a:lnTo>
                    <a:lnTo>
                      <a:pt x="1528" y="132"/>
                    </a:lnTo>
                    <a:lnTo>
                      <a:pt x="1525" y="135"/>
                    </a:lnTo>
                    <a:lnTo>
                      <a:pt x="1519" y="140"/>
                    </a:lnTo>
                    <a:lnTo>
                      <a:pt x="1514" y="143"/>
                    </a:lnTo>
                    <a:lnTo>
                      <a:pt x="1513" y="146"/>
                    </a:lnTo>
                    <a:lnTo>
                      <a:pt x="1509" y="149"/>
                    </a:lnTo>
                    <a:lnTo>
                      <a:pt x="1506" y="149"/>
                    </a:lnTo>
                    <a:lnTo>
                      <a:pt x="1503" y="151"/>
                    </a:lnTo>
                    <a:lnTo>
                      <a:pt x="1498" y="154"/>
                    </a:lnTo>
                    <a:lnTo>
                      <a:pt x="1501" y="157"/>
                    </a:lnTo>
                    <a:lnTo>
                      <a:pt x="1506" y="157"/>
                    </a:lnTo>
                    <a:lnTo>
                      <a:pt x="1503" y="159"/>
                    </a:lnTo>
                    <a:lnTo>
                      <a:pt x="1500" y="160"/>
                    </a:lnTo>
                    <a:lnTo>
                      <a:pt x="1498" y="164"/>
                    </a:lnTo>
                    <a:lnTo>
                      <a:pt x="1501" y="164"/>
                    </a:lnTo>
                    <a:lnTo>
                      <a:pt x="1505" y="162"/>
                    </a:lnTo>
                    <a:lnTo>
                      <a:pt x="1509" y="160"/>
                    </a:lnTo>
                    <a:lnTo>
                      <a:pt x="1513" y="159"/>
                    </a:lnTo>
                    <a:lnTo>
                      <a:pt x="1516" y="160"/>
                    </a:lnTo>
                    <a:lnTo>
                      <a:pt x="1513" y="162"/>
                    </a:lnTo>
                    <a:lnTo>
                      <a:pt x="1509" y="164"/>
                    </a:lnTo>
                    <a:lnTo>
                      <a:pt x="1505" y="165"/>
                    </a:lnTo>
                    <a:lnTo>
                      <a:pt x="1509" y="165"/>
                    </a:lnTo>
                    <a:lnTo>
                      <a:pt x="1513" y="164"/>
                    </a:lnTo>
                    <a:lnTo>
                      <a:pt x="1516" y="165"/>
                    </a:lnTo>
                    <a:lnTo>
                      <a:pt x="1514" y="168"/>
                    </a:lnTo>
                    <a:lnTo>
                      <a:pt x="1513" y="172"/>
                    </a:lnTo>
                    <a:lnTo>
                      <a:pt x="1511" y="173"/>
                    </a:lnTo>
                    <a:lnTo>
                      <a:pt x="1508" y="173"/>
                    </a:lnTo>
                    <a:lnTo>
                      <a:pt x="1503" y="173"/>
                    </a:lnTo>
                    <a:lnTo>
                      <a:pt x="1495" y="173"/>
                    </a:lnTo>
                    <a:lnTo>
                      <a:pt x="1497" y="170"/>
                    </a:lnTo>
                    <a:lnTo>
                      <a:pt x="1494" y="172"/>
                    </a:lnTo>
                    <a:lnTo>
                      <a:pt x="1490" y="173"/>
                    </a:lnTo>
                    <a:lnTo>
                      <a:pt x="1487" y="170"/>
                    </a:lnTo>
                    <a:lnTo>
                      <a:pt x="1484" y="172"/>
                    </a:lnTo>
                    <a:lnTo>
                      <a:pt x="1486" y="175"/>
                    </a:lnTo>
                    <a:lnTo>
                      <a:pt x="1487" y="178"/>
                    </a:lnTo>
                    <a:lnTo>
                      <a:pt x="1490" y="179"/>
                    </a:lnTo>
                    <a:lnTo>
                      <a:pt x="1490" y="183"/>
                    </a:lnTo>
                    <a:lnTo>
                      <a:pt x="1487" y="186"/>
                    </a:lnTo>
                    <a:lnTo>
                      <a:pt x="1492" y="184"/>
                    </a:lnTo>
                    <a:lnTo>
                      <a:pt x="1495" y="181"/>
                    </a:lnTo>
                    <a:lnTo>
                      <a:pt x="1492" y="181"/>
                    </a:lnTo>
                    <a:lnTo>
                      <a:pt x="1490" y="176"/>
                    </a:lnTo>
                    <a:lnTo>
                      <a:pt x="1492" y="173"/>
                    </a:lnTo>
                    <a:lnTo>
                      <a:pt x="1501" y="175"/>
                    </a:lnTo>
                    <a:lnTo>
                      <a:pt x="1508" y="175"/>
                    </a:lnTo>
                    <a:lnTo>
                      <a:pt x="1513" y="175"/>
                    </a:lnTo>
                    <a:lnTo>
                      <a:pt x="1514" y="173"/>
                    </a:lnTo>
                    <a:lnTo>
                      <a:pt x="1514" y="170"/>
                    </a:lnTo>
                    <a:lnTo>
                      <a:pt x="1516" y="168"/>
                    </a:lnTo>
                    <a:lnTo>
                      <a:pt x="1519" y="165"/>
                    </a:lnTo>
                    <a:lnTo>
                      <a:pt x="1525" y="162"/>
                    </a:lnTo>
                    <a:lnTo>
                      <a:pt x="1524" y="157"/>
                    </a:lnTo>
                    <a:lnTo>
                      <a:pt x="1527" y="154"/>
                    </a:lnTo>
                    <a:lnTo>
                      <a:pt x="1530" y="153"/>
                    </a:lnTo>
                    <a:lnTo>
                      <a:pt x="1527" y="148"/>
                    </a:lnTo>
                    <a:lnTo>
                      <a:pt x="1527" y="145"/>
                    </a:lnTo>
                    <a:lnTo>
                      <a:pt x="1530" y="143"/>
                    </a:lnTo>
                    <a:lnTo>
                      <a:pt x="1533" y="141"/>
                    </a:lnTo>
                    <a:lnTo>
                      <a:pt x="1536" y="138"/>
                    </a:lnTo>
                    <a:lnTo>
                      <a:pt x="1541" y="137"/>
                    </a:lnTo>
                    <a:lnTo>
                      <a:pt x="1544" y="133"/>
                    </a:lnTo>
                    <a:lnTo>
                      <a:pt x="1547" y="135"/>
                    </a:lnTo>
                    <a:lnTo>
                      <a:pt x="1551" y="133"/>
                    </a:lnTo>
                    <a:lnTo>
                      <a:pt x="1559" y="135"/>
                    </a:lnTo>
                    <a:lnTo>
                      <a:pt x="1562" y="133"/>
                    </a:lnTo>
                    <a:lnTo>
                      <a:pt x="1571" y="130"/>
                    </a:lnTo>
                    <a:lnTo>
                      <a:pt x="1581" y="127"/>
                    </a:lnTo>
                    <a:lnTo>
                      <a:pt x="1589" y="122"/>
                    </a:lnTo>
                    <a:lnTo>
                      <a:pt x="1598" y="119"/>
                    </a:lnTo>
                    <a:lnTo>
                      <a:pt x="1606" y="118"/>
                    </a:lnTo>
                    <a:lnTo>
                      <a:pt x="1614" y="114"/>
                    </a:lnTo>
                    <a:lnTo>
                      <a:pt x="1611" y="114"/>
                    </a:lnTo>
                    <a:lnTo>
                      <a:pt x="1606" y="114"/>
                    </a:lnTo>
                    <a:lnTo>
                      <a:pt x="1611" y="111"/>
                    </a:lnTo>
                    <a:lnTo>
                      <a:pt x="1614" y="108"/>
                    </a:lnTo>
                    <a:lnTo>
                      <a:pt x="1617" y="107"/>
                    </a:lnTo>
                    <a:lnTo>
                      <a:pt x="1619" y="103"/>
                    </a:lnTo>
                    <a:lnTo>
                      <a:pt x="1616" y="100"/>
                    </a:lnTo>
                    <a:lnTo>
                      <a:pt x="1612" y="102"/>
                    </a:lnTo>
                    <a:lnTo>
                      <a:pt x="1608" y="103"/>
                    </a:lnTo>
                    <a:lnTo>
                      <a:pt x="1605" y="107"/>
                    </a:lnTo>
                    <a:lnTo>
                      <a:pt x="1609" y="107"/>
                    </a:lnTo>
                    <a:lnTo>
                      <a:pt x="1612" y="105"/>
                    </a:lnTo>
                    <a:lnTo>
                      <a:pt x="1601" y="110"/>
                    </a:lnTo>
                    <a:lnTo>
                      <a:pt x="1590" y="111"/>
                    </a:lnTo>
                    <a:lnTo>
                      <a:pt x="1589" y="108"/>
                    </a:lnTo>
                    <a:lnTo>
                      <a:pt x="1592" y="107"/>
                    </a:lnTo>
                    <a:lnTo>
                      <a:pt x="1595" y="102"/>
                    </a:lnTo>
                    <a:lnTo>
                      <a:pt x="1598" y="103"/>
                    </a:lnTo>
                    <a:lnTo>
                      <a:pt x="1603" y="100"/>
                    </a:lnTo>
                    <a:lnTo>
                      <a:pt x="1606" y="100"/>
                    </a:lnTo>
                    <a:lnTo>
                      <a:pt x="1609" y="97"/>
                    </a:lnTo>
                    <a:lnTo>
                      <a:pt x="1614" y="97"/>
                    </a:lnTo>
                    <a:lnTo>
                      <a:pt x="1609" y="94"/>
                    </a:lnTo>
                    <a:lnTo>
                      <a:pt x="1612" y="91"/>
                    </a:lnTo>
                    <a:lnTo>
                      <a:pt x="1620" y="89"/>
                    </a:lnTo>
                    <a:lnTo>
                      <a:pt x="1624" y="89"/>
                    </a:lnTo>
                    <a:lnTo>
                      <a:pt x="1627" y="89"/>
                    </a:lnTo>
                    <a:lnTo>
                      <a:pt x="1632" y="88"/>
                    </a:lnTo>
                    <a:lnTo>
                      <a:pt x="1635" y="88"/>
                    </a:lnTo>
                    <a:lnTo>
                      <a:pt x="1632" y="89"/>
                    </a:lnTo>
                    <a:lnTo>
                      <a:pt x="1627" y="91"/>
                    </a:lnTo>
                    <a:lnTo>
                      <a:pt x="1624" y="92"/>
                    </a:lnTo>
                    <a:lnTo>
                      <a:pt x="1622" y="95"/>
                    </a:lnTo>
                    <a:lnTo>
                      <a:pt x="1630" y="92"/>
                    </a:lnTo>
                    <a:lnTo>
                      <a:pt x="1639" y="89"/>
                    </a:lnTo>
                    <a:lnTo>
                      <a:pt x="1636" y="89"/>
                    </a:lnTo>
                    <a:lnTo>
                      <a:pt x="1633" y="89"/>
                    </a:lnTo>
                    <a:lnTo>
                      <a:pt x="1636" y="88"/>
                    </a:lnTo>
                    <a:lnTo>
                      <a:pt x="1638" y="83"/>
                    </a:lnTo>
                    <a:lnTo>
                      <a:pt x="1632" y="84"/>
                    </a:lnTo>
                    <a:lnTo>
                      <a:pt x="1628" y="86"/>
                    </a:lnTo>
                    <a:lnTo>
                      <a:pt x="1624" y="86"/>
                    </a:lnTo>
                    <a:lnTo>
                      <a:pt x="1616" y="86"/>
                    </a:lnTo>
                    <a:lnTo>
                      <a:pt x="1616" y="81"/>
                    </a:lnTo>
                    <a:lnTo>
                      <a:pt x="1612" y="78"/>
                    </a:lnTo>
                    <a:lnTo>
                      <a:pt x="1609" y="81"/>
                    </a:lnTo>
                    <a:lnTo>
                      <a:pt x="1606" y="81"/>
                    </a:lnTo>
                    <a:lnTo>
                      <a:pt x="1603" y="81"/>
                    </a:lnTo>
                    <a:lnTo>
                      <a:pt x="1598" y="80"/>
                    </a:lnTo>
                    <a:lnTo>
                      <a:pt x="1595" y="78"/>
                    </a:lnTo>
                    <a:lnTo>
                      <a:pt x="1592" y="75"/>
                    </a:lnTo>
                    <a:lnTo>
                      <a:pt x="1586" y="75"/>
                    </a:lnTo>
                    <a:lnTo>
                      <a:pt x="1582" y="72"/>
                    </a:lnTo>
                    <a:lnTo>
                      <a:pt x="1586" y="68"/>
                    </a:lnTo>
                    <a:lnTo>
                      <a:pt x="1582" y="67"/>
                    </a:lnTo>
                    <a:lnTo>
                      <a:pt x="1581" y="65"/>
                    </a:lnTo>
                    <a:lnTo>
                      <a:pt x="1581" y="62"/>
                    </a:lnTo>
                    <a:lnTo>
                      <a:pt x="1584" y="59"/>
                    </a:lnTo>
                    <a:lnTo>
                      <a:pt x="1589" y="56"/>
                    </a:lnTo>
                    <a:lnTo>
                      <a:pt x="1592" y="54"/>
                    </a:lnTo>
                    <a:lnTo>
                      <a:pt x="1597" y="53"/>
                    </a:lnTo>
                    <a:lnTo>
                      <a:pt x="1600" y="49"/>
                    </a:lnTo>
                    <a:lnTo>
                      <a:pt x="1603" y="48"/>
                    </a:lnTo>
                    <a:lnTo>
                      <a:pt x="1612" y="48"/>
                    </a:lnTo>
                    <a:lnTo>
                      <a:pt x="1609" y="46"/>
                    </a:lnTo>
                    <a:lnTo>
                      <a:pt x="1612" y="45"/>
                    </a:lnTo>
                    <a:lnTo>
                      <a:pt x="1616" y="43"/>
                    </a:lnTo>
                    <a:lnTo>
                      <a:pt x="1612" y="45"/>
                    </a:lnTo>
                    <a:lnTo>
                      <a:pt x="1609" y="45"/>
                    </a:lnTo>
                    <a:lnTo>
                      <a:pt x="1606" y="46"/>
                    </a:lnTo>
                    <a:lnTo>
                      <a:pt x="1603" y="42"/>
                    </a:lnTo>
                    <a:lnTo>
                      <a:pt x="1603" y="38"/>
                    </a:lnTo>
                    <a:lnTo>
                      <a:pt x="1606" y="37"/>
                    </a:lnTo>
                    <a:lnTo>
                      <a:pt x="1609" y="34"/>
                    </a:lnTo>
                    <a:lnTo>
                      <a:pt x="1612" y="32"/>
                    </a:lnTo>
                    <a:lnTo>
                      <a:pt x="1616" y="29"/>
                    </a:lnTo>
                    <a:lnTo>
                      <a:pt x="1619" y="27"/>
                    </a:lnTo>
                    <a:lnTo>
                      <a:pt x="1620" y="24"/>
                    </a:lnTo>
                    <a:lnTo>
                      <a:pt x="1630" y="21"/>
                    </a:lnTo>
                    <a:lnTo>
                      <a:pt x="1638" y="19"/>
                    </a:lnTo>
                    <a:lnTo>
                      <a:pt x="1639" y="19"/>
                    </a:lnTo>
                    <a:lnTo>
                      <a:pt x="1641" y="22"/>
                    </a:lnTo>
                    <a:lnTo>
                      <a:pt x="1644" y="24"/>
                    </a:lnTo>
                    <a:lnTo>
                      <a:pt x="1649" y="21"/>
                    </a:lnTo>
                    <a:lnTo>
                      <a:pt x="1652" y="18"/>
                    </a:lnTo>
                    <a:lnTo>
                      <a:pt x="1655" y="16"/>
                    </a:lnTo>
                    <a:lnTo>
                      <a:pt x="1652" y="16"/>
                    </a:lnTo>
                    <a:lnTo>
                      <a:pt x="1649" y="16"/>
                    </a:lnTo>
                    <a:lnTo>
                      <a:pt x="1644" y="15"/>
                    </a:lnTo>
                    <a:lnTo>
                      <a:pt x="1655" y="11"/>
                    </a:lnTo>
                    <a:lnTo>
                      <a:pt x="1666" y="10"/>
                    </a:lnTo>
                    <a:lnTo>
                      <a:pt x="1670" y="7"/>
                    </a:lnTo>
                    <a:lnTo>
                      <a:pt x="1673" y="5"/>
                    </a:lnTo>
                    <a:lnTo>
                      <a:pt x="1676" y="5"/>
                    </a:lnTo>
                    <a:lnTo>
                      <a:pt x="1681" y="5"/>
                    </a:lnTo>
                    <a:lnTo>
                      <a:pt x="1684" y="5"/>
                    </a:lnTo>
                    <a:lnTo>
                      <a:pt x="1687" y="3"/>
                    </a:lnTo>
                    <a:lnTo>
                      <a:pt x="1684" y="5"/>
                    </a:lnTo>
                    <a:lnTo>
                      <a:pt x="1681" y="5"/>
                    </a:lnTo>
                    <a:lnTo>
                      <a:pt x="1678" y="5"/>
                    </a:lnTo>
                    <a:lnTo>
                      <a:pt x="1673" y="3"/>
                    </a:lnTo>
                    <a:lnTo>
                      <a:pt x="1676" y="2"/>
                    </a:lnTo>
                    <a:lnTo>
                      <a:pt x="1681" y="2"/>
                    </a:lnTo>
                    <a:lnTo>
                      <a:pt x="1684" y="0"/>
                    </a:lnTo>
                    <a:lnTo>
                      <a:pt x="1687" y="0"/>
                    </a:lnTo>
                    <a:lnTo>
                      <a:pt x="1690" y="0"/>
                    </a:lnTo>
                    <a:lnTo>
                      <a:pt x="1692" y="0"/>
                    </a:lnTo>
                    <a:lnTo>
                      <a:pt x="1695" y="3"/>
                    </a:lnTo>
                    <a:lnTo>
                      <a:pt x="1690" y="5"/>
                    </a:lnTo>
                    <a:lnTo>
                      <a:pt x="1687" y="7"/>
                    </a:lnTo>
                    <a:lnTo>
                      <a:pt x="1692" y="7"/>
                    </a:lnTo>
                    <a:lnTo>
                      <a:pt x="1689" y="11"/>
                    </a:lnTo>
                    <a:lnTo>
                      <a:pt x="1693" y="8"/>
                    </a:lnTo>
                    <a:lnTo>
                      <a:pt x="1697" y="7"/>
                    </a:lnTo>
                    <a:lnTo>
                      <a:pt x="1700" y="7"/>
                    </a:lnTo>
                    <a:lnTo>
                      <a:pt x="1706" y="10"/>
                    </a:lnTo>
                    <a:lnTo>
                      <a:pt x="1703" y="13"/>
                    </a:lnTo>
                    <a:lnTo>
                      <a:pt x="1706" y="15"/>
                    </a:lnTo>
                    <a:lnTo>
                      <a:pt x="1711" y="18"/>
                    </a:lnTo>
                    <a:lnTo>
                      <a:pt x="1712" y="22"/>
                    </a:lnTo>
                    <a:lnTo>
                      <a:pt x="1711" y="26"/>
                    </a:lnTo>
                    <a:lnTo>
                      <a:pt x="1709" y="29"/>
                    </a:lnTo>
                    <a:lnTo>
                      <a:pt x="1706" y="32"/>
                    </a:lnTo>
                    <a:lnTo>
                      <a:pt x="1701" y="35"/>
                    </a:lnTo>
                    <a:lnTo>
                      <a:pt x="1700" y="38"/>
                    </a:lnTo>
                    <a:lnTo>
                      <a:pt x="1695" y="40"/>
                    </a:lnTo>
                    <a:lnTo>
                      <a:pt x="1700" y="40"/>
                    </a:lnTo>
                    <a:lnTo>
                      <a:pt x="1701" y="40"/>
                    </a:lnTo>
                    <a:lnTo>
                      <a:pt x="1700" y="45"/>
                    </a:lnTo>
                    <a:lnTo>
                      <a:pt x="1703" y="45"/>
                    </a:lnTo>
                    <a:lnTo>
                      <a:pt x="1706" y="48"/>
                    </a:lnTo>
                    <a:lnTo>
                      <a:pt x="1703" y="51"/>
                    </a:lnTo>
                    <a:lnTo>
                      <a:pt x="1706" y="51"/>
                    </a:lnTo>
                    <a:lnTo>
                      <a:pt x="1706" y="56"/>
                    </a:lnTo>
                    <a:lnTo>
                      <a:pt x="1701" y="57"/>
                    </a:lnTo>
                    <a:lnTo>
                      <a:pt x="1706" y="57"/>
                    </a:lnTo>
                    <a:lnTo>
                      <a:pt x="1709" y="54"/>
                    </a:lnTo>
                    <a:lnTo>
                      <a:pt x="1712" y="56"/>
                    </a:lnTo>
                    <a:lnTo>
                      <a:pt x="1711" y="59"/>
                    </a:lnTo>
                    <a:lnTo>
                      <a:pt x="1711" y="62"/>
                    </a:lnTo>
                    <a:lnTo>
                      <a:pt x="1701" y="62"/>
                    </a:lnTo>
                    <a:lnTo>
                      <a:pt x="1695" y="61"/>
                    </a:lnTo>
                    <a:lnTo>
                      <a:pt x="1693" y="61"/>
                    </a:lnTo>
                    <a:lnTo>
                      <a:pt x="1690" y="61"/>
                    </a:lnTo>
                    <a:lnTo>
                      <a:pt x="1687" y="62"/>
                    </a:lnTo>
                    <a:lnTo>
                      <a:pt x="1682" y="65"/>
                    </a:lnTo>
                    <a:lnTo>
                      <a:pt x="1687" y="64"/>
                    </a:lnTo>
                    <a:lnTo>
                      <a:pt x="1690" y="64"/>
                    </a:lnTo>
                    <a:lnTo>
                      <a:pt x="1695" y="67"/>
                    </a:lnTo>
                    <a:lnTo>
                      <a:pt x="1692" y="67"/>
                    </a:lnTo>
                    <a:lnTo>
                      <a:pt x="1689" y="68"/>
                    </a:lnTo>
                    <a:lnTo>
                      <a:pt x="1685" y="70"/>
                    </a:lnTo>
                    <a:lnTo>
                      <a:pt x="1681" y="72"/>
                    </a:lnTo>
                    <a:lnTo>
                      <a:pt x="1673" y="73"/>
                    </a:lnTo>
                    <a:lnTo>
                      <a:pt x="1663" y="78"/>
                    </a:lnTo>
                    <a:lnTo>
                      <a:pt x="1666" y="76"/>
                    </a:lnTo>
                    <a:lnTo>
                      <a:pt x="1670" y="78"/>
                    </a:lnTo>
                    <a:lnTo>
                      <a:pt x="1666" y="78"/>
                    </a:lnTo>
                    <a:lnTo>
                      <a:pt x="1663" y="78"/>
                    </a:lnTo>
                    <a:lnTo>
                      <a:pt x="1666" y="78"/>
                    </a:lnTo>
                    <a:lnTo>
                      <a:pt x="1670" y="78"/>
                    </a:lnTo>
                    <a:lnTo>
                      <a:pt x="1674" y="78"/>
                    </a:lnTo>
                    <a:lnTo>
                      <a:pt x="1678" y="80"/>
                    </a:lnTo>
                    <a:lnTo>
                      <a:pt x="1678" y="83"/>
                    </a:lnTo>
                    <a:lnTo>
                      <a:pt x="1682" y="84"/>
                    </a:lnTo>
                    <a:lnTo>
                      <a:pt x="1685" y="83"/>
                    </a:lnTo>
                    <a:lnTo>
                      <a:pt x="1692" y="81"/>
                    </a:lnTo>
                    <a:lnTo>
                      <a:pt x="1697" y="80"/>
                    </a:lnTo>
                    <a:lnTo>
                      <a:pt x="1700" y="78"/>
                    </a:lnTo>
                    <a:lnTo>
                      <a:pt x="1703" y="81"/>
                    </a:lnTo>
                    <a:lnTo>
                      <a:pt x="1700" y="81"/>
                    </a:lnTo>
                    <a:lnTo>
                      <a:pt x="1697" y="83"/>
                    </a:lnTo>
                    <a:lnTo>
                      <a:pt x="1692" y="83"/>
                    </a:lnTo>
                    <a:lnTo>
                      <a:pt x="1697" y="83"/>
                    </a:lnTo>
                    <a:lnTo>
                      <a:pt x="1700" y="83"/>
                    </a:lnTo>
                    <a:lnTo>
                      <a:pt x="1703" y="84"/>
                    </a:lnTo>
                    <a:lnTo>
                      <a:pt x="1708" y="83"/>
                    </a:lnTo>
                    <a:lnTo>
                      <a:pt x="1711" y="84"/>
                    </a:lnTo>
                    <a:lnTo>
                      <a:pt x="1714" y="83"/>
                    </a:lnTo>
                    <a:lnTo>
                      <a:pt x="1717" y="84"/>
                    </a:lnTo>
                    <a:lnTo>
                      <a:pt x="1720" y="86"/>
                    </a:lnTo>
                    <a:lnTo>
                      <a:pt x="1717" y="86"/>
                    </a:lnTo>
                    <a:lnTo>
                      <a:pt x="1714" y="88"/>
                    </a:lnTo>
                    <a:lnTo>
                      <a:pt x="1711" y="88"/>
                    </a:lnTo>
                    <a:lnTo>
                      <a:pt x="1706" y="89"/>
                    </a:lnTo>
                    <a:lnTo>
                      <a:pt x="1703" y="92"/>
                    </a:lnTo>
                    <a:lnTo>
                      <a:pt x="1700" y="91"/>
                    </a:lnTo>
                    <a:lnTo>
                      <a:pt x="1697" y="92"/>
                    </a:lnTo>
                    <a:lnTo>
                      <a:pt x="1698" y="91"/>
                    </a:lnTo>
                    <a:lnTo>
                      <a:pt x="1695" y="91"/>
                    </a:lnTo>
                    <a:lnTo>
                      <a:pt x="1692" y="92"/>
                    </a:lnTo>
                    <a:lnTo>
                      <a:pt x="1695" y="94"/>
                    </a:lnTo>
                    <a:lnTo>
                      <a:pt x="1698" y="97"/>
                    </a:lnTo>
                    <a:lnTo>
                      <a:pt x="1698" y="100"/>
                    </a:lnTo>
                    <a:lnTo>
                      <a:pt x="1698" y="103"/>
                    </a:lnTo>
                    <a:lnTo>
                      <a:pt x="1697" y="107"/>
                    </a:lnTo>
                    <a:lnTo>
                      <a:pt x="1695" y="108"/>
                    </a:lnTo>
                    <a:lnTo>
                      <a:pt x="1698" y="108"/>
                    </a:lnTo>
                    <a:lnTo>
                      <a:pt x="1695" y="111"/>
                    </a:lnTo>
                    <a:lnTo>
                      <a:pt x="1690" y="116"/>
                    </a:lnTo>
                    <a:lnTo>
                      <a:pt x="1687" y="119"/>
                    </a:lnTo>
                    <a:lnTo>
                      <a:pt x="1684" y="122"/>
                    </a:lnTo>
                    <a:lnTo>
                      <a:pt x="1687" y="124"/>
                    </a:lnTo>
                    <a:lnTo>
                      <a:pt x="1684" y="124"/>
                    </a:lnTo>
                    <a:lnTo>
                      <a:pt x="1687" y="124"/>
                    </a:lnTo>
                    <a:lnTo>
                      <a:pt x="1685" y="129"/>
                    </a:lnTo>
                    <a:lnTo>
                      <a:pt x="1690" y="127"/>
                    </a:lnTo>
                    <a:lnTo>
                      <a:pt x="1693" y="124"/>
                    </a:lnTo>
                    <a:lnTo>
                      <a:pt x="1697" y="124"/>
                    </a:lnTo>
                    <a:lnTo>
                      <a:pt x="1698" y="122"/>
                    </a:lnTo>
                    <a:lnTo>
                      <a:pt x="1698" y="122"/>
                    </a:lnTo>
                    <a:lnTo>
                      <a:pt x="1698" y="121"/>
                    </a:lnTo>
                    <a:lnTo>
                      <a:pt x="1700" y="121"/>
                    </a:lnTo>
                    <a:lnTo>
                      <a:pt x="1703" y="119"/>
                    </a:lnTo>
                    <a:lnTo>
                      <a:pt x="1708" y="118"/>
                    </a:lnTo>
                    <a:lnTo>
                      <a:pt x="1706" y="114"/>
                    </a:lnTo>
                    <a:lnTo>
                      <a:pt x="1709" y="113"/>
                    </a:lnTo>
                    <a:lnTo>
                      <a:pt x="1712" y="114"/>
                    </a:lnTo>
                    <a:lnTo>
                      <a:pt x="1719" y="108"/>
                    </a:lnTo>
                    <a:lnTo>
                      <a:pt x="1720" y="103"/>
                    </a:lnTo>
                    <a:lnTo>
                      <a:pt x="1724" y="102"/>
                    </a:lnTo>
                    <a:lnTo>
                      <a:pt x="1731" y="99"/>
                    </a:lnTo>
                    <a:lnTo>
                      <a:pt x="1736" y="95"/>
                    </a:lnTo>
                    <a:lnTo>
                      <a:pt x="1743" y="92"/>
                    </a:lnTo>
                    <a:lnTo>
                      <a:pt x="1746" y="92"/>
                    </a:lnTo>
                    <a:lnTo>
                      <a:pt x="1747" y="92"/>
                    </a:lnTo>
                    <a:lnTo>
                      <a:pt x="1750" y="94"/>
                    </a:lnTo>
                    <a:lnTo>
                      <a:pt x="1750" y="99"/>
                    </a:lnTo>
                    <a:lnTo>
                      <a:pt x="1757" y="102"/>
                    </a:lnTo>
                    <a:lnTo>
                      <a:pt x="1762" y="107"/>
                    </a:lnTo>
                    <a:lnTo>
                      <a:pt x="1762" y="108"/>
                    </a:lnTo>
                    <a:lnTo>
                      <a:pt x="1762" y="111"/>
                    </a:lnTo>
                    <a:lnTo>
                      <a:pt x="1760" y="113"/>
                    </a:lnTo>
                    <a:lnTo>
                      <a:pt x="1757" y="116"/>
                    </a:lnTo>
                    <a:lnTo>
                      <a:pt x="1757" y="121"/>
                    </a:lnTo>
                    <a:lnTo>
                      <a:pt x="1754" y="124"/>
                    </a:lnTo>
                    <a:lnTo>
                      <a:pt x="1750" y="127"/>
                    </a:lnTo>
                    <a:lnTo>
                      <a:pt x="1749" y="129"/>
                    </a:lnTo>
                    <a:lnTo>
                      <a:pt x="1744" y="129"/>
                    </a:lnTo>
                    <a:lnTo>
                      <a:pt x="1741" y="127"/>
                    </a:lnTo>
                    <a:lnTo>
                      <a:pt x="1744" y="124"/>
                    </a:lnTo>
                    <a:lnTo>
                      <a:pt x="1739" y="126"/>
                    </a:lnTo>
                    <a:lnTo>
                      <a:pt x="1736" y="126"/>
                    </a:lnTo>
                    <a:lnTo>
                      <a:pt x="1731" y="133"/>
                    </a:lnTo>
                    <a:lnTo>
                      <a:pt x="1725" y="143"/>
                    </a:lnTo>
                    <a:lnTo>
                      <a:pt x="1725" y="146"/>
                    </a:lnTo>
                    <a:lnTo>
                      <a:pt x="1728" y="149"/>
                    </a:lnTo>
                    <a:lnTo>
                      <a:pt x="1731" y="157"/>
                    </a:lnTo>
                    <a:lnTo>
                      <a:pt x="1733" y="160"/>
                    </a:lnTo>
                    <a:lnTo>
                      <a:pt x="1731" y="164"/>
                    </a:lnTo>
                    <a:lnTo>
                      <a:pt x="1728" y="167"/>
                    </a:lnTo>
                    <a:lnTo>
                      <a:pt x="1731" y="168"/>
                    </a:lnTo>
                    <a:lnTo>
                      <a:pt x="1733" y="167"/>
                    </a:lnTo>
                    <a:lnTo>
                      <a:pt x="1736" y="164"/>
                    </a:lnTo>
                    <a:lnTo>
                      <a:pt x="1741" y="164"/>
                    </a:lnTo>
                    <a:lnTo>
                      <a:pt x="1744" y="162"/>
                    </a:lnTo>
                    <a:lnTo>
                      <a:pt x="1747" y="159"/>
                    </a:lnTo>
                    <a:lnTo>
                      <a:pt x="1750" y="157"/>
                    </a:lnTo>
                    <a:lnTo>
                      <a:pt x="1754" y="157"/>
                    </a:lnTo>
                    <a:lnTo>
                      <a:pt x="1758" y="159"/>
                    </a:lnTo>
                    <a:lnTo>
                      <a:pt x="1762" y="156"/>
                    </a:lnTo>
                    <a:lnTo>
                      <a:pt x="1765" y="154"/>
                    </a:lnTo>
                    <a:lnTo>
                      <a:pt x="1768" y="151"/>
                    </a:lnTo>
                    <a:lnTo>
                      <a:pt x="1770" y="146"/>
                    </a:lnTo>
                    <a:lnTo>
                      <a:pt x="1774" y="145"/>
                    </a:lnTo>
                    <a:lnTo>
                      <a:pt x="1782" y="140"/>
                    </a:lnTo>
                    <a:lnTo>
                      <a:pt x="1790" y="137"/>
                    </a:lnTo>
                    <a:lnTo>
                      <a:pt x="1793" y="135"/>
                    </a:lnTo>
                    <a:lnTo>
                      <a:pt x="1796" y="133"/>
                    </a:lnTo>
                    <a:lnTo>
                      <a:pt x="1800" y="130"/>
                    </a:lnTo>
                    <a:lnTo>
                      <a:pt x="1804" y="127"/>
                    </a:lnTo>
                    <a:lnTo>
                      <a:pt x="1808" y="124"/>
                    </a:lnTo>
                    <a:lnTo>
                      <a:pt x="1814" y="119"/>
                    </a:lnTo>
                    <a:lnTo>
                      <a:pt x="1816" y="116"/>
                    </a:lnTo>
                    <a:lnTo>
                      <a:pt x="1819" y="113"/>
                    </a:lnTo>
                    <a:lnTo>
                      <a:pt x="1827" y="110"/>
                    </a:lnTo>
                    <a:lnTo>
                      <a:pt x="1831" y="111"/>
                    </a:lnTo>
                    <a:lnTo>
                      <a:pt x="1835" y="110"/>
                    </a:lnTo>
                    <a:lnTo>
                      <a:pt x="1838" y="110"/>
                    </a:lnTo>
                    <a:lnTo>
                      <a:pt x="1842" y="110"/>
                    </a:lnTo>
                    <a:lnTo>
                      <a:pt x="1846" y="108"/>
                    </a:lnTo>
                    <a:lnTo>
                      <a:pt x="1842" y="108"/>
                    </a:lnTo>
                    <a:lnTo>
                      <a:pt x="1838" y="107"/>
                    </a:lnTo>
                    <a:lnTo>
                      <a:pt x="1842" y="107"/>
                    </a:lnTo>
                    <a:lnTo>
                      <a:pt x="1844" y="103"/>
                    </a:lnTo>
                    <a:lnTo>
                      <a:pt x="1847" y="103"/>
                    </a:lnTo>
                    <a:lnTo>
                      <a:pt x="1850" y="103"/>
                    </a:lnTo>
                    <a:lnTo>
                      <a:pt x="1847" y="102"/>
                    </a:lnTo>
                    <a:lnTo>
                      <a:pt x="1850" y="102"/>
                    </a:lnTo>
                    <a:lnTo>
                      <a:pt x="1854" y="100"/>
                    </a:lnTo>
                    <a:lnTo>
                      <a:pt x="1857" y="100"/>
                    </a:lnTo>
                    <a:lnTo>
                      <a:pt x="1850" y="97"/>
                    </a:lnTo>
                    <a:lnTo>
                      <a:pt x="1847" y="97"/>
                    </a:lnTo>
                    <a:lnTo>
                      <a:pt x="1850" y="95"/>
                    </a:lnTo>
                    <a:lnTo>
                      <a:pt x="1847" y="95"/>
                    </a:lnTo>
                    <a:lnTo>
                      <a:pt x="1844" y="94"/>
                    </a:lnTo>
                    <a:lnTo>
                      <a:pt x="1844" y="91"/>
                    </a:lnTo>
                    <a:lnTo>
                      <a:pt x="1847" y="91"/>
                    </a:lnTo>
                    <a:lnTo>
                      <a:pt x="1846" y="88"/>
                    </a:lnTo>
                    <a:lnTo>
                      <a:pt x="1850" y="86"/>
                    </a:lnTo>
                    <a:lnTo>
                      <a:pt x="1847" y="86"/>
                    </a:lnTo>
                    <a:lnTo>
                      <a:pt x="1850" y="83"/>
                    </a:lnTo>
                    <a:lnTo>
                      <a:pt x="1854" y="83"/>
                    </a:lnTo>
                    <a:lnTo>
                      <a:pt x="1852" y="78"/>
                    </a:lnTo>
                    <a:lnTo>
                      <a:pt x="1855" y="75"/>
                    </a:lnTo>
                    <a:lnTo>
                      <a:pt x="1858" y="73"/>
                    </a:lnTo>
                    <a:lnTo>
                      <a:pt x="1855" y="73"/>
                    </a:lnTo>
                    <a:lnTo>
                      <a:pt x="1860" y="72"/>
                    </a:lnTo>
                    <a:lnTo>
                      <a:pt x="1863" y="73"/>
                    </a:lnTo>
                    <a:lnTo>
                      <a:pt x="1866" y="75"/>
                    </a:lnTo>
                    <a:lnTo>
                      <a:pt x="1869" y="73"/>
                    </a:lnTo>
                    <a:lnTo>
                      <a:pt x="1874" y="73"/>
                    </a:lnTo>
                    <a:lnTo>
                      <a:pt x="1877" y="73"/>
                    </a:lnTo>
                    <a:lnTo>
                      <a:pt x="1881" y="72"/>
                    </a:lnTo>
                    <a:lnTo>
                      <a:pt x="1884" y="72"/>
                    </a:lnTo>
                    <a:lnTo>
                      <a:pt x="1888" y="72"/>
                    </a:lnTo>
                    <a:lnTo>
                      <a:pt x="1892" y="73"/>
                    </a:lnTo>
                    <a:lnTo>
                      <a:pt x="1895" y="76"/>
                    </a:lnTo>
                    <a:lnTo>
                      <a:pt x="1898" y="76"/>
                    </a:lnTo>
                    <a:lnTo>
                      <a:pt x="1903" y="78"/>
                    </a:lnTo>
                    <a:lnTo>
                      <a:pt x="1906" y="78"/>
                    </a:lnTo>
                    <a:lnTo>
                      <a:pt x="1909" y="78"/>
                    </a:lnTo>
                    <a:lnTo>
                      <a:pt x="1912" y="78"/>
                    </a:lnTo>
                    <a:lnTo>
                      <a:pt x="1923" y="78"/>
                    </a:lnTo>
                    <a:lnTo>
                      <a:pt x="1934" y="80"/>
                    </a:lnTo>
                    <a:lnTo>
                      <a:pt x="1925" y="83"/>
                    </a:lnTo>
                    <a:lnTo>
                      <a:pt x="1909" y="83"/>
                    </a:lnTo>
                    <a:lnTo>
                      <a:pt x="1912" y="84"/>
                    </a:lnTo>
                    <a:lnTo>
                      <a:pt x="1917" y="84"/>
                    </a:lnTo>
                    <a:lnTo>
                      <a:pt x="1920" y="84"/>
                    </a:lnTo>
                    <a:lnTo>
                      <a:pt x="1923" y="86"/>
                    </a:lnTo>
                    <a:lnTo>
                      <a:pt x="1923" y="86"/>
                    </a:lnTo>
                    <a:lnTo>
                      <a:pt x="1928" y="86"/>
                    </a:lnTo>
                    <a:lnTo>
                      <a:pt x="1931" y="88"/>
                    </a:lnTo>
                    <a:lnTo>
                      <a:pt x="1928" y="88"/>
                    </a:lnTo>
                    <a:lnTo>
                      <a:pt x="1930" y="92"/>
                    </a:lnTo>
                    <a:lnTo>
                      <a:pt x="1927" y="94"/>
                    </a:lnTo>
                    <a:lnTo>
                      <a:pt x="1930" y="94"/>
                    </a:lnTo>
                    <a:lnTo>
                      <a:pt x="1934" y="92"/>
                    </a:lnTo>
                    <a:lnTo>
                      <a:pt x="1938" y="92"/>
                    </a:lnTo>
                    <a:lnTo>
                      <a:pt x="1941" y="92"/>
                    </a:lnTo>
                    <a:lnTo>
                      <a:pt x="1944" y="95"/>
                    </a:lnTo>
                    <a:lnTo>
                      <a:pt x="1949" y="95"/>
                    </a:lnTo>
                    <a:lnTo>
                      <a:pt x="1947" y="99"/>
                    </a:lnTo>
                    <a:lnTo>
                      <a:pt x="1942" y="99"/>
                    </a:lnTo>
                    <a:lnTo>
                      <a:pt x="1939" y="100"/>
                    </a:lnTo>
                    <a:lnTo>
                      <a:pt x="1936" y="102"/>
                    </a:lnTo>
                    <a:lnTo>
                      <a:pt x="1931" y="103"/>
                    </a:lnTo>
                    <a:lnTo>
                      <a:pt x="1928" y="105"/>
                    </a:lnTo>
                    <a:lnTo>
                      <a:pt x="1925" y="105"/>
                    </a:lnTo>
                    <a:lnTo>
                      <a:pt x="1920" y="107"/>
                    </a:lnTo>
                    <a:lnTo>
                      <a:pt x="1928" y="105"/>
                    </a:lnTo>
                    <a:lnTo>
                      <a:pt x="1931" y="105"/>
                    </a:lnTo>
                    <a:lnTo>
                      <a:pt x="1933" y="105"/>
                    </a:lnTo>
                    <a:lnTo>
                      <a:pt x="1939" y="107"/>
                    </a:lnTo>
                    <a:lnTo>
                      <a:pt x="1938" y="110"/>
                    </a:lnTo>
                    <a:lnTo>
                      <a:pt x="1936" y="114"/>
                    </a:lnTo>
                    <a:lnTo>
                      <a:pt x="1933" y="114"/>
                    </a:lnTo>
                    <a:lnTo>
                      <a:pt x="1928" y="116"/>
                    </a:lnTo>
                    <a:lnTo>
                      <a:pt x="1925" y="118"/>
                    </a:lnTo>
                    <a:lnTo>
                      <a:pt x="1922" y="119"/>
                    </a:lnTo>
                    <a:lnTo>
                      <a:pt x="1917" y="118"/>
                    </a:lnTo>
                    <a:lnTo>
                      <a:pt x="1914" y="121"/>
                    </a:lnTo>
                    <a:lnTo>
                      <a:pt x="1911" y="121"/>
                    </a:lnTo>
                    <a:lnTo>
                      <a:pt x="1907" y="118"/>
                    </a:lnTo>
                    <a:lnTo>
                      <a:pt x="1904" y="121"/>
                    </a:lnTo>
                    <a:lnTo>
                      <a:pt x="1901" y="119"/>
                    </a:lnTo>
                    <a:lnTo>
                      <a:pt x="1898" y="121"/>
                    </a:lnTo>
                    <a:lnTo>
                      <a:pt x="1893" y="122"/>
                    </a:lnTo>
                    <a:lnTo>
                      <a:pt x="1898" y="126"/>
                    </a:lnTo>
                    <a:lnTo>
                      <a:pt x="1893" y="126"/>
                    </a:lnTo>
                    <a:lnTo>
                      <a:pt x="1898" y="129"/>
                    </a:lnTo>
                    <a:lnTo>
                      <a:pt x="1893" y="130"/>
                    </a:lnTo>
                    <a:lnTo>
                      <a:pt x="1898" y="132"/>
                    </a:lnTo>
                    <a:lnTo>
                      <a:pt x="1901" y="132"/>
                    </a:lnTo>
                    <a:lnTo>
                      <a:pt x="1898" y="133"/>
                    </a:lnTo>
                    <a:lnTo>
                      <a:pt x="1893" y="137"/>
                    </a:lnTo>
                    <a:lnTo>
                      <a:pt x="1893" y="140"/>
                    </a:lnTo>
                    <a:lnTo>
                      <a:pt x="1896" y="145"/>
                    </a:lnTo>
                    <a:lnTo>
                      <a:pt x="1900" y="148"/>
                    </a:lnTo>
                    <a:lnTo>
                      <a:pt x="1903" y="149"/>
                    </a:lnTo>
                    <a:lnTo>
                      <a:pt x="1904" y="151"/>
                    </a:lnTo>
                    <a:lnTo>
                      <a:pt x="1904" y="154"/>
                    </a:lnTo>
                    <a:lnTo>
                      <a:pt x="1903" y="156"/>
                    </a:lnTo>
                    <a:lnTo>
                      <a:pt x="1898" y="159"/>
                    </a:lnTo>
                    <a:lnTo>
                      <a:pt x="1895" y="162"/>
                    </a:lnTo>
                    <a:lnTo>
                      <a:pt x="1888" y="168"/>
                    </a:lnTo>
                    <a:lnTo>
                      <a:pt x="1885" y="172"/>
                    </a:lnTo>
                    <a:lnTo>
                      <a:pt x="1881" y="172"/>
                    </a:lnTo>
                    <a:lnTo>
                      <a:pt x="1877" y="172"/>
                    </a:lnTo>
                    <a:lnTo>
                      <a:pt x="1874" y="172"/>
                    </a:lnTo>
                    <a:lnTo>
                      <a:pt x="1869" y="173"/>
                    </a:lnTo>
                    <a:lnTo>
                      <a:pt x="1865" y="176"/>
                    </a:lnTo>
                    <a:lnTo>
                      <a:pt x="1858" y="181"/>
                    </a:lnTo>
                    <a:lnTo>
                      <a:pt x="1857" y="181"/>
                    </a:lnTo>
                    <a:lnTo>
                      <a:pt x="1854" y="181"/>
                    </a:lnTo>
                    <a:lnTo>
                      <a:pt x="1850" y="183"/>
                    </a:lnTo>
                    <a:lnTo>
                      <a:pt x="1846" y="184"/>
                    </a:lnTo>
                    <a:lnTo>
                      <a:pt x="1842" y="187"/>
                    </a:lnTo>
                    <a:lnTo>
                      <a:pt x="1836" y="187"/>
                    </a:lnTo>
                    <a:lnTo>
                      <a:pt x="1831" y="187"/>
                    </a:lnTo>
                    <a:lnTo>
                      <a:pt x="1828" y="191"/>
                    </a:lnTo>
                    <a:lnTo>
                      <a:pt x="1825" y="191"/>
                    </a:lnTo>
                    <a:lnTo>
                      <a:pt x="1822" y="192"/>
                    </a:lnTo>
                    <a:lnTo>
                      <a:pt x="1817" y="194"/>
                    </a:lnTo>
                    <a:lnTo>
                      <a:pt x="1814" y="194"/>
                    </a:lnTo>
                    <a:lnTo>
                      <a:pt x="1811" y="194"/>
                    </a:lnTo>
                    <a:lnTo>
                      <a:pt x="1812" y="191"/>
                    </a:lnTo>
                    <a:lnTo>
                      <a:pt x="1809" y="187"/>
                    </a:lnTo>
                    <a:lnTo>
                      <a:pt x="1806" y="186"/>
                    </a:lnTo>
                    <a:lnTo>
                      <a:pt x="1808" y="183"/>
                    </a:lnTo>
                    <a:lnTo>
                      <a:pt x="1812" y="183"/>
                    </a:lnTo>
                    <a:lnTo>
                      <a:pt x="1814" y="179"/>
                    </a:lnTo>
                    <a:lnTo>
                      <a:pt x="1816" y="176"/>
                    </a:lnTo>
                    <a:lnTo>
                      <a:pt x="1812" y="178"/>
                    </a:lnTo>
                    <a:lnTo>
                      <a:pt x="1809" y="179"/>
                    </a:lnTo>
                    <a:lnTo>
                      <a:pt x="1804" y="181"/>
                    </a:lnTo>
                    <a:lnTo>
                      <a:pt x="1801" y="181"/>
                    </a:lnTo>
                    <a:lnTo>
                      <a:pt x="1801" y="179"/>
                    </a:lnTo>
                    <a:lnTo>
                      <a:pt x="1803" y="179"/>
                    </a:lnTo>
                    <a:lnTo>
                      <a:pt x="1803" y="179"/>
                    </a:lnTo>
                    <a:lnTo>
                      <a:pt x="1803" y="178"/>
                    </a:lnTo>
                    <a:lnTo>
                      <a:pt x="1806" y="178"/>
                    </a:lnTo>
                    <a:lnTo>
                      <a:pt x="1804" y="175"/>
                    </a:lnTo>
                    <a:lnTo>
                      <a:pt x="1801" y="172"/>
                    </a:lnTo>
                    <a:lnTo>
                      <a:pt x="1803" y="173"/>
                    </a:lnTo>
                    <a:lnTo>
                      <a:pt x="1806" y="172"/>
                    </a:lnTo>
                    <a:lnTo>
                      <a:pt x="1803" y="172"/>
                    </a:lnTo>
                    <a:lnTo>
                      <a:pt x="1798" y="172"/>
                    </a:lnTo>
                    <a:lnTo>
                      <a:pt x="1795" y="172"/>
                    </a:lnTo>
                    <a:lnTo>
                      <a:pt x="1798" y="172"/>
                    </a:lnTo>
                    <a:lnTo>
                      <a:pt x="1795" y="172"/>
                    </a:lnTo>
                    <a:lnTo>
                      <a:pt x="1789" y="173"/>
                    </a:lnTo>
                    <a:lnTo>
                      <a:pt x="1784" y="175"/>
                    </a:lnTo>
                    <a:lnTo>
                      <a:pt x="1781" y="176"/>
                    </a:lnTo>
                    <a:lnTo>
                      <a:pt x="1784" y="176"/>
                    </a:lnTo>
                    <a:lnTo>
                      <a:pt x="1789" y="175"/>
                    </a:lnTo>
                    <a:lnTo>
                      <a:pt x="1792" y="175"/>
                    </a:lnTo>
                    <a:lnTo>
                      <a:pt x="1795" y="173"/>
                    </a:lnTo>
                    <a:lnTo>
                      <a:pt x="1798" y="175"/>
                    </a:lnTo>
                    <a:lnTo>
                      <a:pt x="1795" y="175"/>
                    </a:lnTo>
                    <a:lnTo>
                      <a:pt x="1798" y="178"/>
                    </a:lnTo>
                    <a:lnTo>
                      <a:pt x="1795" y="178"/>
                    </a:lnTo>
                    <a:lnTo>
                      <a:pt x="1798" y="179"/>
                    </a:lnTo>
                    <a:lnTo>
                      <a:pt x="1803" y="179"/>
                    </a:lnTo>
                    <a:lnTo>
                      <a:pt x="1801" y="179"/>
                    </a:lnTo>
                    <a:lnTo>
                      <a:pt x="1800" y="183"/>
                    </a:lnTo>
                    <a:lnTo>
                      <a:pt x="1803" y="184"/>
                    </a:lnTo>
                    <a:lnTo>
                      <a:pt x="1800" y="186"/>
                    </a:lnTo>
                    <a:lnTo>
                      <a:pt x="1803" y="189"/>
                    </a:lnTo>
                    <a:lnTo>
                      <a:pt x="1804" y="192"/>
                    </a:lnTo>
                    <a:lnTo>
                      <a:pt x="1804" y="195"/>
                    </a:lnTo>
                    <a:lnTo>
                      <a:pt x="1801" y="199"/>
                    </a:lnTo>
                    <a:lnTo>
                      <a:pt x="1798" y="200"/>
                    </a:lnTo>
                    <a:lnTo>
                      <a:pt x="1795" y="199"/>
                    </a:lnTo>
                    <a:lnTo>
                      <a:pt x="1790" y="195"/>
                    </a:lnTo>
                    <a:lnTo>
                      <a:pt x="1787" y="197"/>
                    </a:lnTo>
                    <a:lnTo>
                      <a:pt x="1787" y="194"/>
                    </a:lnTo>
                    <a:lnTo>
                      <a:pt x="1784" y="194"/>
                    </a:lnTo>
                    <a:lnTo>
                      <a:pt x="1784" y="197"/>
                    </a:lnTo>
                    <a:lnTo>
                      <a:pt x="1784" y="200"/>
                    </a:lnTo>
                    <a:lnTo>
                      <a:pt x="1781" y="200"/>
                    </a:lnTo>
                    <a:lnTo>
                      <a:pt x="1777" y="199"/>
                    </a:lnTo>
                    <a:lnTo>
                      <a:pt x="1774" y="197"/>
                    </a:lnTo>
                    <a:lnTo>
                      <a:pt x="1770" y="199"/>
                    </a:lnTo>
                    <a:lnTo>
                      <a:pt x="1766" y="197"/>
                    </a:lnTo>
                    <a:lnTo>
                      <a:pt x="1763" y="197"/>
                    </a:lnTo>
                    <a:lnTo>
                      <a:pt x="1765" y="194"/>
                    </a:lnTo>
                    <a:lnTo>
                      <a:pt x="1766" y="189"/>
                    </a:lnTo>
                    <a:lnTo>
                      <a:pt x="1765" y="186"/>
                    </a:lnTo>
                    <a:lnTo>
                      <a:pt x="1757" y="187"/>
                    </a:lnTo>
                    <a:lnTo>
                      <a:pt x="1747" y="189"/>
                    </a:lnTo>
                    <a:lnTo>
                      <a:pt x="1736" y="187"/>
                    </a:lnTo>
                    <a:lnTo>
                      <a:pt x="1730" y="187"/>
                    </a:lnTo>
                    <a:lnTo>
                      <a:pt x="1730" y="191"/>
                    </a:lnTo>
                    <a:lnTo>
                      <a:pt x="1725" y="192"/>
                    </a:lnTo>
                    <a:lnTo>
                      <a:pt x="1728" y="195"/>
                    </a:lnTo>
                    <a:lnTo>
                      <a:pt x="1731" y="197"/>
                    </a:lnTo>
                    <a:lnTo>
                      <a:pt x="1735" y="197"/>
                    </a:lnTo>
                    <a:lnTo>
                      <a:pt x="1738" y="199"/>
                    </a:lnTo>
                    <a:lnTo>
                      <a:pt x="1741" y="202"/>
                    </a:lnTo>
                    <a:lnTo>
                      <a:pt x="1731" y="208"/>
                    </a:lnTo>
                    <a:lnTo>
                      <a:pt x="1720" y="210"/>
                    </a:lnTo>
                    <a:lnTo>
                      <a:pt x="1717" y="213"/>
                    </a:lnTo>
                    <a:lnTo>
                      <a:pt x="1714" y="218"/>
                    </a:lnTo>
                    <a:lnTo>
                      <a:pt x="1711" y="219"/>
                    </a:lnTo>
                    <a:lnTo>
                      <a:pt x="1706" y="219"/>
                    </a:lnTo>
                    <a:lnTo>
                      <a:pt x="1703" y="221"/>
                    </a:lnTo>
                    <a:lnTo>
                      <a:pt x="1700" y="222"/>
                    </a:lnTo>
                    <a:lnTo>
                      <a:pt x="1697" y="224"/>
                    </a:lnTo>
                    <a:lnTo>
                      <a:pt x="1690" y="227"/>
                    </a:lnTo>
                    <a:lnTo>
                      <a:pt x="1684" y="230"/>
                    </a:lnTo>
                    <a:lnTo>
                      <a:pt x="1678" y="230"/>
                    </a:lnTo>
                    <a:lnTo>
                      <a:pt x="1671" y="230"/>
                    </a:lnTo>
                    <a:lnTo>
                      <a:pt x="1663" y="230"/>
                    </a:lnTo>
                    <a:lnTo>
                      <a:pt x="1660" y="230"/>
                    </a:lnTo>
                    <a:lnTo>
                      <a:pt x="1657" y="227"/>
                    </a:lnTo>
                    <a:lnTo>
                      <a:pt x="1655" y="222"/>
                    </a:lnTo>
                    <a:lnTo>
                      <a:pt x="1652" y="221"/>
                    </a:lnTo>
                    <a:lnTo>
                      <a:pt x="1649" y="219"/>
                    </a:lnTo>
                    <a:lnTo>
                      <a:pt x="1652" y="219"/>
                    </a:lnTo>
                    <a:lnTo>
                      <a:pt x="1658" y="219"/>
                    </a:lnTo>
                    <a:lnTo>
                      <a:pt x="1657" y="219"/>
                    </a:lnTo>
                    <a:lnTo>
                      <a:pt x="1654" y="219"/>
                    </a:lnTo>
                    <a:lnTo>
                      <a:pt x="1649" y="218"/>
                    </a:lnTo>
                    <a:lnTo>
                      <a:pt x="1646" y="218"/>
                    </a:lnTo>
                    <a:lnTo>
                      <a:pt x="1643" y="214"/>
                    </a:lnTo>
                    <a:lnTo>
                      <a:pt x="1638" y="211"/>
                    </a:lnTo>
                    <a:lnTo>
                      <a:pt x="1635" y="210"/>
                    </a:lnTo>
                    <a:lnTo>
                      <a:pt x="1630" y="208"/>
                    </a:lnTo>
                    <a:lnTo>
                      <a:pt x="1625" y="208"/>
                    </a:lnTo>
                    <a:lnTo>
                      <a:pt x="1627" y="210"/>
                    </a:lnTo>
                    <a:lnTo>
                      <a:pt x="1630" y="211"/>
                    </a:lnTo>
                    <a:lnTo>
                      <a:pt x="1627" y="213"/>
                    </a:lnTo>
                    <a:lnTo>
                      <a:pt x="1622" y="211"/>
                    </a:lnTo>
                    <a:lnTo>
                      <a:pt x="1619" y="211"/>
                    </a:lnTo>
                    <a:lnTo>
                      <a:pt x="1616" y="211"/>
                    </a:lnTo>
                    <a:lnTo>
                      <a:pt x="1612" y="211"/>
                    </a:lnTo>
                    <a:lnTo>
                      <a:pt x="1616" y="210"/>
                    </a:lnTo>
                    <a:lnTo>
                      <a:pt x="1612" y="210"/>
                    </a:lnTo>
                    <a:lnTo>
                      <a:pt x="1605" y="210"/>
                    </a:lnTo>
                    <a:lnTo>
                      <a:pt x="1598" y="210"/>
                    </a:lnTo>
                    <a:lnTo>
                      <a:pt x="1593" y="208"/>
                    </a:lnTo>
                    <a:lnTo>
                      <a:pt x="1590" y="208"/>
                    </a:lnTo>
                    <a:lnTo>
                      <a:pt x="1587" y="211"/>
                    </a:lnTo>
                    <a:lnTo>
                      <a:pt x="1590" y="213"/>
                    </a:lnTo>
                    <a:lnTo>
                      <a:pt x="1593" y="213"/>
                    </a:lnTo>
                    <a:lnTo>
                      <a:pt x="1597" y="210"/>
                    </a:lnTo>
                    <a:lnTo>
                      <a:pt x="1605" y="211"/>
                    </a:lnTo>
                    <a:lnTo>
                      <a:pt x="1617" y="213"/>
                    </a:lnTo>
                    <a:lnTo>
                      <a:pt x="1622" y="214"/>
                    </a:lnTo>
                    <a:lnTo>
                      <a:pt x="1627" y="218"/>
                    </a:lnTo>
                    <a:lnTo>
                      <a:pt x="1628" y="221"/>
                    </a:lnTo>
                    <a:lnTo>
                      <a:pt x="1630" y="225"/>
                    </a:lnTo>
                    <a:lnTo>
                      <a:pt x="1633" y="227"/>
                    </a:lnTo>
                    <a:lnTo>
                      <a:pt x="1635" y="230"/>
                    </a:lnTo>
                    <a:lnTo>
                      <a:pt x="1647" y="232"/>
                    </a:lnTo>
                    <a:lnTo>
                      <a:pt x="1658" y="233"/>
                    </a:lnTo>
                    <a:lnTo>
                      <a:pt x="1663" y="232"/>
                    </a:lnTo>
                    <a:lnTo>
                      <a:pt x="1666" y="233"/>
                    </a:lnTo>
                    <a:lnTo>
                      <a:pt x="1670" y="232"/>
                    </a:lnTo>
                    <a:lnTo>
                      <a:pt x="1673" y="233"/>
                    </a:lnTo>
                    <a:lnTo>
                      <a:pt x="1678" y="233"/>
                    </a:lnTo>
                    <a:lnTo>
                      <a:pt x="1681" y="233"/>
                    </a:lnTo>
                    <a:lnTo>
                      <a:pt x="1684" y="235"/>
                    </a:lnTo>
                    <a:lnTo>
                      <a:pt x="1682" y="240"/>
                    </a:lnTo>
                    <a:lnTo>
                      <a:pt x="1679" y="241"/>
                    </a:lnTo>
                    <a:lnTo>
                      <a:pt x="1676" y="244"/>
                    </a:lnTo>
                    <a:lnTo>
                      <a:pt x="1671" y="246"/>
                    </a:lnTo>
                    <a:lnTo>
                      <a:pt x="1668" y="248"/>
                    </a:lnTo>
                    <a:lnTo>
                      <a:pt x="1665" y="251"/>
                    </a:lnTo>
                    <a:lnTo>
                      <a:pt x="1662" y="252"/>
                    </a:lnTo>
                    <a:lnTo>
                      <a:pt x="1658" y="252"/>
                    </a:lnTo>
                    <a:lnTo>
                      <a:pt x="1655" y="256"/>
                    </a:lnTo>
                    <a:lnTo>
                      <a:pt x="1654" y="257"/>
                    </a:lnTo>
                    <a:lnTo>
                      <a:pt x="1651" y="259"/>
                    </a:lnTo>
                    <a:lnTo>
                      <a:pt x="1646" y="260"/>
                    </a:lnTo>
                    <a:lnTo>
                      <a:pt x="1643" y="262"/>
                    </a:lnTo>
                    <a:lnTo>
                      <a:pt x="1639" y="264"/>
                    </a:lnTo>
                    <a:lnTo>
                      <a:pt x="1636" y="267"/>
                    </a:lnTo>
                    <a:lnTo>
                      <a:pt x="1632" y="268"/>
                    </a:lnTo>
                    <a:lnTo>
                      <a:pt x="1630" y="271"/>
                    </a:lnTo>
                    <a:lnTo>
                      <a:pt x="1627" y="273"/>
                    </a:lnTo>
                    <a:lnTo>
                      <a:pt x="1622" y="273"/>
                    </a:lnTo>
                    <a:lnTo>
                      <a:pt x="1619" y="275"/>
                    </a:lnTo>
                    <a:lnTo>
                      <a:pt x="1616" y="276"/>
                    </a:lnTo>
                    <a:lnTo>
                      <a:pt x="1609" y="278"/>
                    </a:lnTo>
                    <a:lnTo>
                      <a:pt x="1603" y="279"/>
                    </a:lnTo>
                    <a:lnTo>
                      <a:pt x="1600" y="279"/>
                    </a:lnTo>
                    <a:lnTo>
                      <a:pt x="1597" y="279"/>
                    </a:lnTo>
                    <a:lnTo>
                      <a:pt x="1595" y="276"/>
                    </a:lnTo>
                    <a:lnTo>
                      <a:pt x="1593" y="273"/>
                    </a:lnTo>
                    <a:lnTo>
                      <a:pt x="1592" y="278"/>
                    </a:lnTo>
                    <a:lnTo>
                      <a:pt x="1593" y="281"/>
                    </a:lnTo>
                    <a:lnTo>
                      <a:pt x="1589" y="279"/>
                    </a:lnTo>
                    <a:lnTo>
                      <a:pt x="1586" y="278"/>
                    </a:lnTo>
                    <a:lnTo>
                      <a:pt x="1582" y="278"/>
                    </a:lnTo>
                    <a:lnTo>
                      <a:pt x="1581" y="281"/>
                    </a:lnTo>
                    <a:lnTo>
                      <a:pt x="1581" y="278"/>
                    </a:lnTo>
                    <a:lnTo>
                      <a:pt x="1576" y="275"/>
                    </a:lnTo>
                    <a:lnTo>
                      <a:pt x="1581" y="271"/>
                    </a:lnTo>
                    <a:lnTo>
                      <a:pt x="1576" y="273"/>
                    </a:lnTo>
                    <a:lnTo>
                      <a:pt x="1573" y="273"/>
                    </a:lnTo>
                    <a:lnTo>
                      <a:pt x="1571" y="275"/>
                    </a:lnTo>
                    <a:lnTo>
                      <a:pt x="1573" y="275"/>
                    </a:lnTo>
                    <a:lnTo>
                      <a:pt x="1573" y="278"/>
                    </a:lnTo>
                    <a:lnTo>
                      <a:pt x="1571" y="281"/>
                    </a:lnTo>
                    <a:lnTo>
                      <a:pt x="1568" y="279"/>
                    </a:lnTo>
                    <a:lnTo>
                      <a:pt x="1567" y="279"/>
                    </a:lnTo>
                    <a:lnTo>
                      <a:pt x="1563" y="281"/>
                    </a:lnTo>
                    <a:lnTo>
                      <a:pt x="1565" y="284"/>
                    </a:lnTo>
                    <a:lnTo>
                      <a:pt x="1562" y="287"/>
                    </a:lnTo>
                    <a:lnTo>
                      <a:pt x="1560" y="287"/>
                    </a:lnTo>
                    <a:lnTo>
                      <a:pt x="1557" y="289"/>
                    </a:lnTo>
                    <a:lnTo>
                      <a:pt x="1552" y="292"/>
                    </a:lnTo>
                    <a:lnTo>
                      <a:pt x="1549" y="292"/>
                    </a:lnTo>
                    <a:lnTo>
                      <a:pt x="1546" y="290"/>
                    </a:lnTo>
                    <a:lnTo>
                      <a:pt x="1543" y="290"/>
                    </a:lnTo>
                    <a:lnTo>
                      <a:pt x="1541" y="294"/>
                    </a:lnTo>
                    <a:lnTo>
                      <a:pt x="1538" y="294"/>
                    </a:lnTo>
                    <a:lnTo>
                      <a:pt x="1535" y="294"/>
                    </a:lnTo>
                    <a:lnTo>
                      <a:pt x="1532" y="295"/>
                    </a:lnTo>
                    <a:lnTo>
                      <a:pt x="1527" y="294"/>
                    </a:lnTo>
                    <a:lnTo>
                      <a:pt x="1524" y="292"/>
                    </a:lnTo>
                    <a:lnTo>
                      <a:pt x="1521" y="289"/>
                    </a:lnTo>
                    <a:lnTo>
                      <a:pt x="1517" y="289"/>
                    </a:lnTo>
                    <a:lnTo>
                      <a:pt x="1514" y="287"/>
                    </a:lnTo>
                    <a:lnTo>
                      <a:pt x="1511" y="286"/>
                    </a:lnTo>
                    <a:lnTo>
                      <a:pt x="1506" y="287"/>
                    </a:lnTo>
                    <a:lnTo>
                      <a:pt x="1503" y="287"/>
                    </a:lnTo>
                    <a:lnTo>
                      <a:pt x="1500" y="287"/>
                    </a:lnTo>
                    <a:lnTo>
                      <a:pt x="1497" y="287"/>
                    </a:lnTo>
                    <a:lnTo>
                      <a:pt x="1492" y="284"/>
                    </a:lnTo>
                    <a:lnTo>
                      <a:pt x="1489" y="283"/>
                    </a:lnTo>
                    <a:lnTo>
                      <a:pt x="1486" y="283"/>
                    </a:lnTo>
                    <a:lnTo>
                      <a:pt x="1482" y="281"/>
                    </a:lnTo>
                    <a:lnTo>
                      <a:pt x="1478" y="279"/>
                    </a:lnTo>
                    <a:lnTo>
                      <a:pt x="1475" y="278"/>
                    </a:lnTo>
                    <a:lnTo>
                      <a:pt x="1471" y="275"/>
                    </a:lnTo>
                    <a:lnTo>
                      <a:pt x="1470" y="271"/>
                    </a:lnTo>
                    <a:lnTo>
                      <a:pt x="1471" y="275"/>
                    </a:lnTo>
                    <a:lnTo>
                      <a:pt x="1471" y="278"/>
                    </a:lnTo>
                    <a:lnTo>
                      <a:pt x="1468" y="279"/>
                    </a:lnTo>
                    <a:lnTo>
                      <a:pt x="1463" y="279"/>
                    </a:lnTo>
                    <a:lnTo>
                      <a:pt x="1463" y="279"/>
                    </a:lnTo>
                    <a:lnTo>
                      <a:pt x="1465" y="284"/>
                    </a:lnTo>
                    <a:lnTo>
                      <a:pt x="1468" y="284"/>
                    </a:lnTo>
                    <a:lnTo>
                      <a:pt x="1471" y="283"/>
                    </a:lnTo>
                    <a:lnTo>
                      <a:pt x="1473" y="279"/>
                    </a:lnTo>
                    <a:lnTo>
                      <a:pt x="1476" y="283"/>
                    </a:lnTo>
                    <a:lnTo>
                      <a:pt x="1478" y="283"/>
                    </a:lnTo>
                    <a:lnTo>
                      <a:pt x="1481" y="284"/>
                    </a:lnTo>
                    <a:lnTo>
                      <a:pt x="1486" y="284"/>
                    </a:lnTo>
                    <a:lnTo>
                      <a:pt x="1489" y="286"/>
                    </a:lnTo>
                    <a:lnTo>
                      <a:pt x="1492" y="286"/>
                    </a:lnTo>
                    <a:lnTo>
                      <a:pt x="1495" y="289"/>
                    </a:lnTo>
                    <a:lnTo>
                      <a:pt x="1500" y="290"/>
                    </a:lnTo>
                    <a:lnTo>
                      <a:pt x="1497" y="292"/>
                    </a:lnTo>
                    <a:lnTo>
                      <a:pt x="1492" y="292"/>
                    </a:lnTo>
                    <a:lnTo>
                      <a:pt x="1489" y="294"/>
                    </a:lnTo>
                    <a:lnTo>
                      <a:pt x="1486" y="295"/>
                    </a:lnTo>
                    <a:lnTo>
                      <a:pt x="1489" y="295"/>
                    </a:lnTo>
                    <a:lnTo>
                      <a:pt x="1492" y="295"/>
                    </a:lnTo>
                    <a:lnTo>
                      <a:pt x="1497" y="294"/>
                    </a:lnTo>
                    <a:lnTo>
                      <a:pt x="1500" y="292"/>
                    </a:lnTo>
                    <a:lnTo>
                      <a:pt x="1503" y="290"/>
                    </a:lnTo>
                    <a:lnTo>
                      <a:pt x="1509" y="289"/>
                    </a:lnTo>
                    <a:lnTo>
                      <a:pt x="1514" y="292"/>
                    </a:lnTo>
                    <a:lnTo>
                      <a:pt x="1514" y="295"/>
                    </a:lnTo>
                    <a:lnTo>
                      <a:pt x="1517" y="297"/>
                    </a:lnTo>
                    <a:lnTo>
                      <a:pt x="1522" y="297"/>
                    </a:lnTo>
                    <a:lnTo>
                      <a:pt x="1525" y="298"/>
                    </a:lnTo>
                    <a:lnTo>
                      <a:pt x="1528" y="302"/>
                    </a:lnTo>
                    <a:lnTo>
                      <a:pt x="1525" y="302"/>
                    </a:lnTo>
                    <a:lnTo>
                      <a:pt x="1528" y="305"/>
                    </a:lnTo>
                    <a:lnTo>
                      <a:pt x="1527" y="306"/>
                    </a:lnTo>
                    <a:lnTo>
                      <a:pt x="1525" y="310"/>
                    </a:lnTo>
                    <a:lnTo>
                      <a:pt x="1524" y="313"/>
                    </a:lnTo>
                    <a:lnTo>
                      <a:pt x="1521" y="316"/>
                    </a:lnTo>
                    <a:lnTo>
                      <a:pt x="1516" y="317"/>
                    </a:lnTo>
                    <a:lnTo>
                      <a:pt x="1513" y="317"/>
                    </a:lnTo>
                    <a:lnTo>
                      <a:pt x="1509" y="317"/>
                    </a:lnTo>
                    <a:lnTo>
                      <a:pt x="1506" y="319"/>
                    </a:lnTo>
                    <a:lnTo>
                      <a:pt x="1501" y="321"/>
                    </a:lnTo>
                    <a:lnTo>
                      <a:pt x="1498" y="322"/>
                    </a:lnTo>
                    <a:lnTo>
                      <a:pt x="1495" y="324"/>
                    </a:lnTo>
                    <a:lnTo>
                      <a:pt x="1490" y="322"/>
                    </a:lnTo>
                    <a:lnTo>
                      <a:pt x="1487" y="322"/>
                    </a:lnTo>
                    <a:lnTo>
                      <a:pt x="1484" y="322"/>
                    </a:lnTo>
                    <a:lnTo>
                      <a:pt x="1481" y="321"/>
                    </a:lnTo>
                    <a:lnTo>
                      <a:pt x="1476" y="321"/>
                    </a:lnTo>
                    <a:lnTo>
                      <a:pt x="1473" y="322"/>
                    </a:lnTo>
                    <a:lnTo>
                      <a:pt x="1470" y="321"/>
                    </a:lnTo>
                    <a:lnTo>
                      <a:pt x="1467" y="324"/>
                    </a:lnTo>
                    <a:lnTo>
                      <a:pt x="1470" y="329"/>
                    </a:lnTo>
                    <a:lnTo>
                      <a:pt x="1473" y="329"/>
                    </a:lnTo>
                    <a:lnTo>
                      <a:pt x="1476" y="330"/>
                    </a:lnTo>
                    <a:lnTo>
                      <a:pt x="1473" y="332"/>
                    </a:lnTo>
                    <a:lnTo>
                      <a:pt x="1470" y="333"/>
                    </a:lnTo>
                    <a:lnTo>
                      <a:pt x="1467" y="330"/>
                    </a:lnTo>
                    <a:lnTo>
                      <a:pt x="1463" y="332"/>
                    </a:lnTo>
                    <a:lnTo>
                      <a:pt x="1460" y="333"/>
                    </a:lnTo>
                    <a:lnTo>
                      <a:pt x="1455" y="330"/>
                    </a:lnTo>
                    <a:lnTo>
                      <a:pt x="1454" y="335"/>
                    </a:lnTo>
                    <a:lnTo>
                      <a:pt x="1451" y="335"/>
                    </a:lnTo>
                    <a:lnTo>
                      <a:pt x="1448" y="338"/>
                    </a:lnTo>
                    <a:lnTo>
                      <a:pt x="1443" y="340"/>
                    </a:lnTo>
                    <a:lnTo>
                      <a:pt x="1448" y="341"/>
                    </a:lnTo>
                    <a:lnTo>
                      <a:pt x="1443" y="344"/>
                    </a:lnTo>
                    <a:lnTo>
                      <a:pt x="1443" y="341"/>
                    </a:lnTo>
                    <a:lnTo>
                      <a:pt x="1440" y="340"/>
                    </a:lnTo>
                    <a:lnTo>
                      <a:pt x="1435" y="340"/>
                    </a:lnTo>
                    <a:lnTo>
                      <a:pt x="1433" y="340"/>
                    </a:lnTo>
                    <a:lnTo>
                      <a:pt x="1438" y="343"/>
                    </a:lnTo>
                    <a:lnTo>
                      <a:pt x="1436" y="346"/>
                    </a:lnTo>
                    <a:lnTo>
                      <a:pt x="1433" y="344"/>
                    </a:lnTo>
                    <a:lnTo>
                      <a:pt x="1430" y="346"/>
                    </a:lnTo>
                    <a:lnTo>
                      <a:pt x="1430" y="349"/>
                    </a:lnTo>
                    <a:lnTo>
                      <a:pt x="1427" y="351"/>
                    </a:lnTo>
                    <a:lnTo>
                      <a:pt x="1422" y="352"/>
                    </a:lnTo>
                    <a:lnTo>
                      <a:pt x="1419" y="351"/>
                    </a:lnTo>
                    <a:lnTo>
                      <a:pt x="1419" y="354"/>
                    </a:lnTo>
                    <a:lnTo>
                      <a:pt x="1416" y="357"/>
                    </a:lnTo>
                    <a:lnTo>
                      <a:pt x="1411" y="354"/>
                    </a:lnTo>
                    <a:lnTo>
                      <a:pt x="1408" y="354"/>
                    </a:lnTo>
                    <a:lnTo>
                      <a:pt x="1408" y="357"/>
                    </a:lnTo>
                    <a:lnTo>
                      <a:pt x="1411" y="359"/>
                    </a:lnTo>
                    <a:lnTo>
                      <a:pt x="1411" y="362"/>
                    </a:lnTo>
                    <a:lnTo>
                      <a:pt x="1408" y="363"/>
                    </a:lnTo>
                    <a:lnTo>
                      <a:pt x="1400" y="365"/>
                    </a:lnTo>
                    <a:lnTo>
                      <a:pt x="1397" y="367"/>
                    </a:lnTo>
                    <a:lnTo>
                      <a:pt x="1392" y="368"/>
                    </a:lnTo>
                    <a:lnTo>
                      <a:pt x="1389" y="368"/>
                    </a:lnTo>
                    <a:lnTo>
                      <a:pt x="1386" y="371"/>
                    </a:lnTo>
                    <a:lnTo>
                      <a:pt x="1383" y="375"/>
                    </a:lnTo>
                    <a:lnTo>
                      <a:pt x="1383" y="378"/>
                    </a:lnTo>
                    <a:lnTo>
                      <a:pt x="1379" y="378"/>
                    </a:lnTo>
                    <a:lnTo>
                      <a:pt x="1376" y="378"/>
                    </a:lnTo>
                    <a:lnTo>
                      <a:pt x="1376" y="378"/>
                    </a:lnTo>
                    <a:lnTo>
                      <a:pt x="1376" y="381"/>
                    </a:lnTo>
                    <a:lnTo>
                      <a:pt x="1373" y="382"/>
                    </a:lnTo>
                    <a:lnTo>
                      <a:pt x="1371" y="386"/>
                    </a:lnTo>
                    <a:lnTo>
                      <a:pt x="1368" y="387"/>
                    </a:lnTo>
                    <a:lnTo>
                      <a:pt x="1365" y="390"/>
                    </a:lnTo>
                    <a:lnTo>
                      <a:pt x="1360" y="392"/>
                    </a:lnTo>
                    <a:lnTo>
                      <a:pt x="1357" y="394"/>
                    </a:lnTo>
                    <a:lnTo>
                      <a:pt x="1354" y="395"/>
                    </a:lnTo>
                    <a:lnTo>
                      <a:pt x="1349" y="400"/>
                    </a:lnTo>
                    <a:lnTo>
                      <a:pt x="1346" y="401"/>
                    </a:lnTo>
                    <a:lnTo>
                      <a:pt x="1343" y="406"/>
                    </a:lnTo>
                    <a:lnTo>
                      <a:pt x="1340" y="406"/>
                    </a:lnTo>
                    <a:lnTo>
                      <a:pt x="1337" y="406"/>
                    </a:lnTo>
                    <a:lnTo>
                      <a:pt x="1337" y="408"/>
                    </a:lnTo>
                    <a:lnTo>
                      <a:pt x="1333" y="408"/>
                    </a:lnTo>
                    <a:lnTo>
                      <a:pt x="1335" y="411"/>
                    </a:lnTo>
                    <a:lnTo>
                      <a:pt x="1332" y="414"/>
                    </a:lnTo>
                    <a:lnTo>
                      <a:pt x="1329" y="417"/>
                    </a:lnTo>
                    <a:lnTo>
                      <a:pt x="1325" y="421"/>
                    </a:lnTo>
                    <a:lnTo>
                      <a:pt x="1322" y="424"/>
                    </a:lnTo>
                    <a:lnTo>
                      <a:pt x="1319" y="427"/>
                    </a:lnTo>
                    <a:lnTo>
                      <a:pt x="1317" y="427"/>
                    </a:lnTo>
                    <a:lnTo>
                      <a:pt x="1314" y="430"/>
                    </a:lnTo>
                    <a:lnTo>
                      <a:pt x="1313" y="433"/>
                    </a:lnTo>
                    <a:lnTo>
                      <a:pt x="1310" y="438"/>
                    </a:lnTo>
                    <a:lnTo>
                      <a:pt x="1308" y="441"/>
                    </a:lnTo>
                    <a:lnTo>
                      <a:pt x="1305" y="444"/>
                    </a:lnTo>
                    <a:lnTo>
                      <a:pt x="1303" y="447"/>
                    </a:lnTo>
                    <a:lnTo>
                      <a:pt x="1303" y="451"/>
                    </a:lnTo>
                    <a:lnTo>
                      <a:pt x="1298" y="454"/>
                    </a:lnTo>
                    <a:lnTo>
                      <a:pt x="1295" y="457"/>
                    </a:lnTo>
                    <a:lnTo>
                      <a:pt x="1294" y="460"/>
                    </a:lnTo>
                    <a:lnTo>
                      <a:pt x="1289" y="460"/>
                    </a:lnTo>
                    <a:lnTo>
                      <a:pt x="1286" y="462"/>
                    </a:lnTo>
                    <a:lnTo>
                      <a:pt x="1286" y="462"/>
                    </a:lnTo>
                    <a:lnTo>
                      <a:pt x="1291" y="463"/>
                    </a:lnTo>
                    <a:lnTo>
                      <a:pt x="1292" y="463"/>
                    </a:lnTo>
                    <a:lnTo>
                      <a:pt x="1291" y="467"/>
                    </a:lnTo>
                    <a:lnTo>
                      <a:pt x="1287" y="470"/>
                    </a:lnTo>
                    <a:lnTo>
                      <a:pt x="1291" y="468"/>
                    </a:lnTo>
                    <a:lnTo>
                      <a:pt x="1294" y="471"/>
                    </a:lnTo>
                    <a:lnTo>
                      <a:pt x="1295" y="474"/>
                    </a:lnTo>
                    <a:lnTo>
                      <a:pt x="1298" y="473"/>
                    </a:lnTo>
                    <a:lnTo>
                      <a:pt x="1291" y="484"/>
                    </a:lnTo>
                    <a:lnTo>
                      <a:pt x="1281" y="493"/>
                    </a:lnTo>
                    <a:lnTo>
                      <a:pt x="1292" y="484"/>
                    </a:lnTo>
                    <a:lnTo>
                      <a:pt x="1298" y="476"/>
                    </a:lnTo>
                    <a:lnTo>
                      <a:pt x="1303" y="473"/>
                    </a:lnTo>
                    <a:lnTo>
                      <a:pt x="1308" y="473"/>
                    </a:lnTo>
                    <a:lnTo>
                      <a:pt x="1311" y="473"/>
                    </a:lnTo>
                    <a:lnTo>
                      <a:pt x="1316" y="471"/>
                    </a:lnTo>
                    <a:lnTo>
                      <a:pt x="1319" y="473"/>
                    </a:lnTo>
                    <a:lnTo>
                      <a:pt x="1322" y="474"/>
                    </a:lnTo>
                    <a:lnTo>
                      <a:pt x="1325" y="473"/>
                    </a:lnTo>
                    <a:lnTo>
                      <a:pt x="1330" y="476"/>
                    </a:lnTo>
                    <a:lnTo>
                      <a:pt x="1325" y="484"/>
                    </a:lnTo>
                    <a:lnTo>
                      <a:pt x="1322" y="493"/>
                    </a:lnTo>
                    <a:lnTo>
                      <a:pt x="1321" y="503"/>
                    </a:lnTo>
                    <a:lnTo>
                      <a:pt x="1317" y="514"/>
                    </a:lnTo>
                    <a:lnTo>
                      <a:pt x="1316" y="519"/>
                    </a:lnTo>
                    <a:lnTo>
                      <a:pt x="1314" y="524"/>
                    </a:lnTo>
                    <a:lnTo>
                      <a:pt x="1311" y="528"/>
                    </a:lnTo>
                    <a:lnTo>
                      <a:pt x="1308" y="533"/>
                    </a:lnTo>
                    <a:lnTo>
                      <a:pt x="1298" y="539"/>
                    </a:lnTo>
                    <a:lnTo>
                      <a:pt x="1289" y="543"/>
                    </a:lnTo>
                    <a:lnTo>
                      <a:pt x="1300" y="539"/>
                    </a:lnTo>
                    <a:lnTo>
                      <a:pt x="1313" y="538"/>
                    </a:lnTo>
                    <a:lnTo>
                      <a:pt x="1310" y="539"/>
                    </a:lnTo>
                    <a:lnTo>
                      <a:pt x="1305" y="541"/>
                    </a:lnTo>
                    <a:lnTo>
                      <a:pt x="1302" y="543"/>
                    </a:lnTo>
                    <a:lnTo>
                      <a:pt x="1303" y="543"/>
                    </a:lnTo>
                    <a:lnTo>
                      <a:pt x="1306" y="541"/>
                    </a:lnTo>
                    <a:lnTo>
                      <a:pt x="1310" y="539"/>
                    </a:lnTo>
                    <a:lnTo>
                      <a:pt x="1313" y="538"/>
                    </a:lnTo>
                    <a:lnTo>
                      <a:pt x="1317" y="538"/>
                    </a:lnTo>
                    <a:lnTo>
                      <a:pt x="1324" y="536"/>
                    </a:lnTo>
                    <a:lnTo>
                      <a:pt x="1338" y="533"/>
                    </a:lnTo>
                    <a:lnTo>
                      <a:pt x="1352" y="530"/>
                    </a:lnTo>
                    <a:lnTo>
                      <a:pt x="1356" y="530"/>
                    </a:lnTo>
                    <a:lnTo>
                      <a:pt x="1359" y="530"/>
                    </a:lnTo>
                    <a:lnTo>
                      <a:pt x="1363" y="532"/>
                    </a:lnTo>
                    <a:lnTo>
                      <a:pt x="1367" y="532"/>
                    </a:lnTo>
                    <a:lnTo>
                      <a:pt x="1370" y="535"/>
                    </a:lnTo>
                    <a:lnTo>
                      <a:pt x="1373" y="536"/>
                    </a:lnTo>
                    <a:lnTo>
                      <a:pt x="1378" y="539"/>
                    </a:lnTo>
                    <a:lnTo>
                      <a:pt x="1381" y="539"/>
                    </a:lnTo>
                    <a:lnTo>
                      <a:pt x="1384" y="541"/>
                    </a:lnTo>
                    <a:lnTo>
                      <a:pt x="1387" y="543"/>
                    </a:lnTo>
                    <a:lnTo>
                      <a:pt x="1394" y="544"/>
                    </a:lnTo>
                    <a:lnTo>
                      <a:pt x="1398" y="544"/>
                    </a:lnTo>
                    <a:lnTo>
                      <a:pt x="1402" y="546"/>
                    </a:lnTo>
                    <a:lnTo>
                      <a:pt x="1403" y="546"/>
                    </a:lnTo>
                    <a:lnTo>
                      <a:pt x="1406" y="546"/>
                    </a:lnTo>
                    <a:lnTo>
                      <a:pt x="1408" y="549"/>
                    </a:lnTo>
                    <a:lnTo>
                      <a:pt x="1409" y="552"/>
                    </a:lnTo>
                    <a:lnTo>
                      <a:pt x="1413" y="555"/>
                    </a:lnTo>
                    <a:lnTo>
                      <a:pt x="1416" y="558"/>
                    </a:lnTo>
                    <a:lnTo>
                      <a:pt x="1421" y="560"/>
                    </a:lnTo>
                    <a:lnTo>
                      <a:pt x="1422" y="563"/>
                    </a:lnTo>
                    <a:lnTo>
                      <a:pt x="1424" y="566"/>
                    </a:lnTo>
                    <a:lnTo>
                      <a:pt x="1424" y="571"/>
                    </a:lnTo>
                    <a:lnTo>
                      <a:pt x="1424" y="574"/>
                    </a:lnTo>
                    <a:lnTo>
                      <a:pt x="1422" y="578"/>
                    </a:lnTo>
                    <a:lnTo>
                      <a:pt x="1422" y="578"/>
                    </a:lnTo>
                    <a:lnTo>
                      <a:pt x="1422" y="578"/>
                    </a:lnTo>
                    <a:lnTo>
                      <a:pt x="1425" y="576"/>
                    </a:lnTo>
                    <a:lnTo>
                      <a:pt x="1427" y="578"/>
                    </a:lnTo>
                    <a:lnTo>
                      <a:pt x="1430" y="578"/>
                    </a:lnTo>
                    <a:lnTo>
                      <a:pt x="1433" y="581"/>
                    </a:lnTo>
                    <a:lnTo>
                      <a:pt x="1436" y="581"/>
                    </a:lnTo>
                    <a:lnTo>
                      <a:pt x="1441" y="582"/>
                    </a:lnTo>
                    <a:lnTo>
                      <a:pt x="1444" y="582"/>
                    </a:lnTo>
                    <a:lnTo>
                      <a:pt x="1451" y="585"/>
                    </a:lnTo>
                    <a:lnTo>
                      <a:pt x="1454" y="587"/>
                    </a:lnTo>
                    <a:lnTo>
                      <a:pt x="1459" y="589"/>
                    </a:lnTo>
                    <a:lnTo>
                      <a:pt x="1462" y="590"/>
                    </a:lnTo>
                    <a:lnTo>
                      <a:pt x="1465" y="590"/>
                    </a:lnTo>
                    <a:lnTo>
                      <a:pt x="1471" y="595"/>
                    </a:lnTo>
                    <a:lnTo>
                      <a:pt x="1473" y="598"/>
                    </a:lnTo>
                    <a:lnTo>
                      <a:pt x="1476" y="601"/>
                    </a:lnTo>
                    <a:lnTo>
                      <a:pt x="1479" y="603"/>
                    </a:lnTo>
                    <a:lnTo>
                      <a:pt x="1478" y="606"/>
                    </a:lnTo>
                    <a:lnTo>
                      <a:pt x="1473" y="608"/>
                    </a:lnTo>
                    <a:lnTo>
                      <a:pt x="1467" y="614"/>
                    </a:lnTo>
                    <a:lnTo>
                      <a:pt x="1463" y="617"/>
                    </a:lnTo>
                    <a:lnTo>
                      <a:pt x="1463" y="617"/>
                    </a:lnTo>
                    <a:lnTo>
                      <a:pt x="1465" y="617"/>
                    </a:lnTo>
                    <a:lnTo>
                      <a:pt x="1468" y="614"/>
                    </a:lnTo>
                    <a:lnTo>
                      <a:pt x="1471" y="611"/>
                    </a:lnTo>
                    <a:lnTo>
                      <a:pt x="1475" y="608"/>
                    </a:lnTo>
                    <a:lnTo>
                      <a:pt x="1478" y="606"/>
                    </a:lnTo>
                    <a:lnTo>
                      <a:pt x="1482" y="606"/>
                    </a:lnTo>
                    <a:lnTo>
                      <a:pt x="1486" y="606"/>
                    </a:lnTo>
                    <a:lnTo>
                      <a:pt x="1489" y="606"/>
                    </a:lnTo>
                    <a:lnTo>
                      <a:pt x="1492" y="608"/>
                    </a:lnTo>
                    <a:lnTo>
                      <a:pt x="1495" y="608"/>
                    </a:lnTo>
                    <a:lnTo>
                      <a:pt x="1500" y="606"/>
                    </a:lnTo>
                    <a:lnTo>
                      <a:pt x="1503" y="606"/>
                    </a:lnTo>
                    <a:lnTo>
                      <a:pt x="1506" y="604"/>
                    </a:lnTo>
                    <a:lnTo>
                      <a:pt x="1509" y="606"/>
                    </a:lnTo>
                    <a:lnTo>
                      <a:pt x="1514" y="604"/>
                    </a:lnTo>
                    <a:lnTo>
                      <a:pt x="1517" y="604"/>
                    </a:lnTo>
                    <a:lnTo>
                      <a:pt x="1521" y="608"/>
                    </a:lnTo>
                    <a:lnTo>
                      <a:pt x="1524" y="609"/>
                    </a:lnTo>
                    <a:lnTo>
                      <a:pt x="1524" y="606"/>
                    </a:lnTo>
                    <a:lnTo>
                      <a:pt x="1527" y="606"/>
                    </a:lnTo>
                    <a:lnTo>
                      <a:pt x="1530" y="608"/>
                    </a:lnTo>
                    <a:lnTo>
                      <a:pt x="1533" y="608"/>
                    </a:lnTo>
                    <a:lnTo>
                      <a:pt x="1536" y="609"/>
                    </a:lnTo>
                    <a:lnTo>
                      <a:pt x="1541" y="608"/>
                    </a:lnTo>
                    <a:lnTo>
                      <a:pt x="1544" y="609"/>
                    </a:lnTo>
                    <a:lnTo>
                      <a:pt x="1541" y="612"/>
                    </a:lnTo>
                    <a:lnTo>
                      <a:pt x="1544" y="611"/>
                    </a:lnTo>
                    <a:lnTo>
                      <a:pt x="1547" y="611"/>
                    </a:lnTo>
                    <a:lnTo>
                      <a:pt x="1551" y="609"/>
                    </a:lnTo>
                    <a:lnTo>
                      <a:pt x="1554" y="611"/>
                    </a:lnTo>
                    <a:lnTo>
                      <a:pt x="1559" y="614"/>
                    </a:lnTo>
                    <a:lnTo>
                      <a:pt x="1562" y="612"/>
                    </a:lnTo>
                    <a:lnTo>
                      <a:pt x="1559" y="617"/>
                    </a:lnTo>
                    <a:lnTo>
                      <a:pt x="1559" y="619"/>
                    </a:lnTo>
                    <a:lnTo>
                      <a:pt x="1557" y="622"/>
                    </a:lnTo>
                    <a:lnTo>
                      <a:pt x="1555" y="625"/>
                    </a:lnTo>
                    <a:lnTo>
                      <a:pt x="1552" y="628"/>
                    </a:lnTo>
                    <a:lnTo>
                      <a:pt x="1541" y="639"/>
                    </a:lnTo>
                    <a:lnTo>
                      <a:pt x="1538" y="643"/>
                    </a:lnTo>
                    <a:lnTo>
                      <a:pt x="1536" y="646"/>
                    </a:lnTo>
                    <a:lnTo>
                      <a:pt x="1536" y="650"/>
                    </a:lnTo>
                    <a:lnTo>
                      <a:pt x="1538" y="654"/>
                    </a:lnTo>
                    <a:lnTo>
                      <a:pt x="1536" y="657"/>
                    </a:lnTo>
                    <a:lnTo>
                      <a:pt x="1532" y="668"/>
                    </a:lnTo>
                    <a:lnTo>
                      <a:pt x="1527" y="677"/>
                    </a:lnTo>
                    <a:lnTo>
                      <a:pt x="1525" y="681"/>
                    </a:lnTo>
                    <a:lnTo>
                      <a:pt x="1522" y="685"/>
                    </a:lnTo>
                    <a:lnTo>
                      <a:pt x="1519" y="685"/>
                    </a:lnTo>
                    <a:lnTo>
                      <a:pt x="1516" y="689"/>
                    </a:lnTo>
                    <a:lnTo>
                      <a:pt x="1514" y="692"/>
                    </a:lnTo>
                    <a:lnTo>
                      <a:pt x="1513" y="695"/>
                    </a:lnTo>
                    <a:lnTo>
                      <a:pt x="1511" y="695"/>
                    </a:lnTo>
                    <a:lnTo>
                      <a:pt x="1511" y="696"/>
                    </a:lnTo>
                    <a:lnTo>
                      <a:pt x="1513" y="698"/>
                    </a:lnTo>
                    <a:lnTo>
                      <a:pt x="1516" y="700"/>
                    </a:lnTo>
                    <a:lnTo>
                      <a:pt x="1519" y="709"/>
                    </a:lnTo>
                    <a:lnTo>
                      <a:pt x="1521" y="720"/>
                    </a:lnTo>
                    <a:lnTo>
                      <a:pt x="1517" y="722"/>
                    </a:lnTo>
                    <a:lnTo>
                      <a:pt x="1514" y="722"/>
                    </a:lnTo>
                    <a:lnTo>
                      <a:pt x="1511" y="723"/>
                    </a:lnTo>
                    <a:lnTo>
                      <a:pt x="1509" y="723"/>
                    </a:lnTo>
                    <a:lnTo>
                      <a:pt x="1506" y="727"/>
                    </a:lnTo>
                    <a:lnTo>
                      <a:pt x="1511" y="725"/>
                    </a:lnTo>
                    <a:lnTo>
                      <a:pt x="1514" y="725"/>
                    </a:lnTo>
                    <a:lnTo>
                      <a:pt x="1517" y="725"/>
                    </a:lnTo>
                    <a:lnTo>
                      <a:pt x="1521" y="728"/>
                    </a:lnTo>
                    <a:lnTo>
                      <a:pt x="1524" y="730"/>
                    </a:lnTo>
                    <a:lnTo>
                      <a:pt x="1528" y="731"/>
                    </a:lnTo>
                    <a:lnTo>
                      <a:pt x="1532" y="735"/>
                    </a:lnTo>
                    <a:lnTo>
                      <a:pt x="1533" y="739"/>
                    </a:lnTo>
                    <a:lnTo>
                      <a:pt x="1536" y="742"/>
                    </a:lnTo>
                    <a:lnTo>
                      <a:pt x="1536" y="746"/>
                    </a:lnTo>
                    <a:lnTo>
                      <a:pt x="1536" y="749"/>
                    </a:lnTo>
                    <a:lnTo>
                      <a:pt x="1536" y="754"/>
                    </a:lnTo>
                    <a:lnTo>
                      <a:pt x="1536" y="757"/>
                    </a:lnTo>
                    <a:lnTo>
                      <a:pt x="1532" y="760"/>
                    </a:lnTo>
                    <a:lnTo>
                      <a:pt x="1528" y="760"/>
                    </a:lnTo>
                    <a:lnTo>
                      <a:pt x="1527" y="761"/>
                    </a:lnTo>
                    <a:lnTo>
                      <a:pt x="1517" y="766"/>
                    </a:lnTo>
                    <a:lnTo>
                      <a:pt x="1509" y="771"/>
                    </a:lnTo>
                    <a:lnTo>
                      <a:pt x="1513" y="771"/>
                    </a:lnTo>
                    <a:lnTo>
                      <a:pt x="1516" y="768"/>
                    </a:lnTo>
                    <a:lnTo>
                      <a:pt x="1519" y="768"/>
                    </a:lnTo>
                    <a:lnTo>
                      <a:pt x="1524" y="766"/>
                    </a:lnTo>
                    <a:lnTo>
                      <a:pt x="1527" y="763"/>
                    </a:lnTo>
                    <a:lnTo>
                      <a:pt x="1532" y="761"/>
                    </a:lnTo>
                    <a:lnTo>
                      <a:pt x="1535" y="760"/>
                    </a:lnTo>
                    <a:lnTo>
                      <a:pt x="1541" y="761"/>
                    </a:lnTo>
                    <a:lnTo>
                      <a:pt x="1544" y="763"/>
                    </a:lnTo>
                    <a:lnTo>
                      <a:pt x="1546" y="763"/>
                    </a:lnTo>
                    <a:lnTo>
                      <a:pt x="1547" y="766"/>
                    </a:lnTo>
                    <a:lnTo>
                      <a:pt x="1551" y="769"/>
                    </a:lnTo>
                    <a:lnTo>
                      <a:pt x="1552" y="771"/>
                    </a:lnTo>
                    <a:lnTo>
                      <a:pt x="1554" y="774"/>
                    </a:lnTo>
                    <a:lnTo>
                      <a:pt x="1554" y="776"/>
                    </a:lnTo>
                    <a:lnTo>
                      <a:pt x="1555" y="779"/>
                    </a:lnTo>
                    <a:lnTo>
                      <a:pt x="1555" y="782"/>
                    </a:lnTo>
                    <a:lnTo>
                      <a:pt x="1555" y="784"/>
                    </a:lnTo>
                    <a:lnTo>
                      <a:pt x="1557" y="780"/>
                    </a:lnTo>
                    <a:lnTo>
                      <a:pt x="1555" y="777"/>
                    </a:lnTo>
                    <a:lnTo>
                      <a:pt x="1554" y="773"/>
                    </a:lnTo>
                    <a:lnTo>
                      <a:pt x="1551" y="769"/>
                    </a:lnTo>
                    <a:lnTo>
                      <a:pt x="1552" y="766"/>
                    </a:lnTo>
                    <a:lnTo>
                      <a:pt x="1554" y="763"/>
                    </a:lnTo>
                    <a:lnTo>
                      <a:pt x="1557" y="760"/>
                    </a:lnTo>
                    <a:lnTo>
                      <a:pt x="1560" y="757"/>
                    </a:lnTo>
                    <a:lnTo>
                      <a:pt x="1563" y="755"/>
                    </a:lnTo>
                    <a:lnTo>
                      <a:pt x="1565" y="750"/>
                    </a:lnTo>
                    <a:lnTo>
                      <a:pt x="1570" y="750"/>
                    </a:lnTo>
                    <a:lnTo>
                      <a:pt x="1573" y="747"/>
                    </a:lnTo>
                    <a:lnTo>
                      <a:pt x="1576" y="747"/>
                    </a:lnTo>
                    <a:lnTo>
                      <a:pt x="1574" y="750"/>
                    </a:lnTo>
                    <a:lnTo>
                      <a:pt x="1578" y="752"/>
                    </a:lnTo>
                    <a:lnTo>
                      <a:pt x="1581" y="755"/>
                    </a:lnTo>
                    <a:lnTo>
                      <a:pt x="1579" y="758"/>
                    </a:lnTo>
                    <a:lnTo>
                      <a:pt x="1579" y="763"/>
                    </a:lnTo>
                    <a:lnTo>
                      <a:pt x="1579" y="766"/>
                    </a:lnTo>
                    <a:lnTo>
                      <a:pt x="1579" y="766"/>
                    </a:lnTo>
                    <a:lnTo>
                      <a:pt x="1579" y="763"/>
                    </a:lnTo>
                    <a:lnTo>
                      <a:pt x="1582" y="760"/>
                    </a:lnTo>
                    <a:lnTo>
                      <a:pt x="1584" y="758"/>
                    </a:lnTo>
                    <a:lnTo>
                      <a:pt x="1586" y="755"/>
                    </a:lnTo>
                    <a:lnTo>
                      <a:pt x="1589" y="754"/>
                    </a:lnTo>
                    <a:lnTo>
                      <a:pt x="1590" y="754"/>
                    </a:lnTo>
                    <a:lnTo>
                      <a:pt x="1587" y="752"/>
                    </a:lnTo>
                    <a:lnTo>
                      <a:pt x="1590" y="749"/>
                    </a:lnTo>
                    <a:lnTo>
                      <a:pt x="1587" y="746"/>
                    </a:lnTo>
                    <a:lnTo>
                      <a:pt x="1587" y="744"/>
                    </a:lnTo>
                    <a:lnTo>
                      <a:pt x="1590" y="741"/>
                    </a:lnTo>
                    <a:lnTo>
                      <a:pt x="1593" y="739"/>
                    </a:lnTo>
                    <a:lnTo>
                      <a:pt x="1593" y="736"/>
                    </a:lnTo>
                    <a:lnTo>
                      <a:pt x="1598" y="735"/>
                    </a:lnTo>
                    <a:lnTo>
                      <a:pt x="1605" y="731"/>
                    </a:lnTo>
                    <a:lnTo>
                      <a:pt x="1608" y="728"/>
                    </a:lnTo>
                    <a:lnTo>
                      <a:pt x="1611" y="725"/>
                    </a:lnTo>
                    <a:lnTo>
                      <a:pt x="1614" y="723"/>
                    </a:lnTo>
                    <a:lnTo>
                      <a:pt x="1612" y="723"/>
                    </a:lnTo>
                    <a:lnTo>
                      <a:pt x="1616" y="720"/>
                    </a:lnTo>
                    <a:lnTo>
                      <a:pt x="1616" y="715"/>
                    </a:lnTo>
                    <a:lnTo>
                      <a:pt x="1616" y="712"/>
                    </a:lnTo>
                    <a:lnTo>
                      <a:pt x="1612" y="712"/>
                    </a:lnTo>
                    <a:lnTo>
                      <a:pt x="1614" y="709"/>
                    </a:lnTo>
                    <a:lnTo>
                      <a:pt x="1614" y="706"/>
                    </a:lnTo>
                    <a:lnTo>
                      <a:pt x="1612" y="703"/>
                    </a:lnTo>
                    <a:lnTo>
                      <a:pt x="1617" y="703"/>
                    </a:lnTo>
                    <a:lnTo>
                      <a:pt x="1619" y="700"/>
                    </a:lnTo>
                    <a:lnTo>
                      <a:pt x="1616" y="700"/>
                    </a:lnTo>
                    <a:lnTo>
                      <a:pt x="1617" y="695"/>
                    </a:lnTo>
                    <a:lnTo>
                      <a:pt x="1617" y="695"/>
                    </a:lnTo>
                    <a:lnTo>
                      <a:pt x="1614" y="693"/>
                    </a:lnTo>
                    <a:lnTo>
                      <a:pt x="1617" y="690"/>
                    </a:lnTo>
                    <a:lnTo>
                      <a:pt x="1620" y="687"/>
                    </a:lnTo>
                    <a:lnTo>
                      <a:pt x="1620" y="684"/>
                    </a:lnTo>
                    <a:lnTo>
                      <a:pt x="1624" y="681"/>
                    </a:lnTo>
                    <a:lnTo>
                      <a:pt x="1622" y="676"/>
                    </a:lnTo>
                    <a:lnTo>
                      <a:pt x="1625" y="674"/>
                    </a:lnTo>
                    <a:lnTo>
                      <a:pt x="1628" y="671"/>
                    </a:lnTo>
                    <a:lnTo>
                      <a:pt x="1624" y="671"/>
                    </a:lnTo>
                    <a:lnTo>
                      <a:pt x="1628" y="668"/>
                    </a:lnTo>
                    <a:lnTo>
                      <a:pt x="1625" y="666"/>
                    </a:lnTo>
                    <a:lnTo>
                      <a:pt x="1628" y="666"/>
                    </a:lnTo>
                    <a:lnTo>
                      <a:pt x="1630" y="662"/>
                    </a:lnTo>
                    <a:lnTo>
                      <a:pt x="1633" y="663"/>
                    </a:lnTo>
                    <a:lnTo>
                      <a:pt x="1630" y="662"/>
                    </a:lnTo>
                    <a:lnTo>
                      <a:pt x="1632" y="657"/>
                    </a:lnTo>
                    <a:lnTo>
                      <a:pt x="1635" y="655"/>
                    </a:lnTo>
                    <a:lnTo>
                      <a:pt x="1632" y="652"/>
                    </a:lnTo>
                    <a:lnTo>
                      <a:pt x="1635" y="650"/>
                    </a:lnTo>
                    <a:lnTo>
                      <a:pt x="1632" y="649"/>
                    </a:lnTo>
                    <a:lnTo>
                      <a:pt x="1628" y="647"/>
                    </a:lnTo>
                    <a:lnTo>
                      <a:pt x="1632" y="646"/>
                    </a:lnTo>
                    <a:lnTo>
                      <a:pt x="1628" y="644"/>
                    </a:lnTo>
                    <a:lnTo>
                      <a:pt x="1628" y="641"/>
                    </a:lnTo>
                    <a:lnTo>
                      <a:pt x="1630" y="636"/>
                    </a:lnTo>
                    <a:lnTo>
                      <a:pt x="1632" y="633"/>
                    </a:lnTo>
                    <a:lnTo>
                      <a:pt x="1628" y="631"/>
                    </a:lnTo>
                    <a:lnTo>
                      <a:pt x="1632" y="628"/>
                    </a:lnTo>
                    <a:lnTo>
                      <a:pt x="1635" y="627"/>
                    </a:lnTo>
                    <a:lnTo>
                      <a:pt x="1639" y="625"/>
                    </a:lnTo>
                    <a:lnTo>
                      <a:pt x="1643" y="625"/>
                    </a:lnTo>
                    <a:lnTo>
                      <a:pt x="1646" y="623"/>
                    </a:lnTo>
                    <a:lnTo>
                      <a:pt x="1657" y="622"/>
                    </a:lnTo>
                    <a:lnTo>
                      <a:pt x="1663" y="619"/>
                    </a:lnTo>
                    <a:lnTo>
                      <a:pt x="1682" y="612"/>
                    </a:lnTo>
                    <a:lnTo>
                      <a:pt x="1700" y="606"/>
                    </a:lnTo>
                    <a:lnTo>
                      <a:pt x="1700" y="606"/>
                    </a:lnTo>
                    <a:lnTo>
                      <a:pt x="1708" y="601"/>
                    </a:lnTo>
                    <a:lnTo>
                      <a:pt x="1717" y="597"/>
                    </a:lnTo>
                    <a:lnTo>
                      <a:pt x="1728" y="590"/>
                    </a:lnTo>
                    <a:lnTo>
                      <a:pt x="1735" y="585"/>
                    </a:lnTo>
                    <a:lnTo>
                      <a:pt x="1746" y="579"/>
                    </a:lnTo>
                    <a:lnTo>
                      <a:pt x="1754" y="573"/>
                    </a:lnTo>
                    <a:lnTo>
                      <a:pt x="1762" y="563"/>
                    </a:lnTo>
                    <a:lnTo>
                      <a:pt x="1768" y="554"/>
                    </a:lnTo>
                    <a:lnTo>
                      <a:pt x="1771" y="551"/>
                    </a:lnTo>
                    <a:lnTo>
                      <a:pt x="1773" y="546"/>
                    </a:lnTo>
                    <a:lnTo>
                      <a:pt x="1774" y="543"/>
                    </a:lnTo>
                    <a:lnTo>
                      <a:pt x="1776" y="539"/>
                    </a:lnTo>
                    <a:lnTo>
                      <a:pt x="1779" y="536"/>
                    </a:lnTo>
                    <a:lnTo>
                      <a:pt x="1781" y="525"/>
                    </a:lnTo>
                    <a:lnTo>
                      <a:pt x="1782" y="516"/>
                    </a:lnTo>
                    <a:lnTo>
                      <a:pt x="1782" y="511"/>
                    </a:lnTo>
                    <a:lnTo>
                      <a:pt x="1782" y="508"/>
                    </a:lnTo>
                    <a:lnTo>
                      <a:pt x="1782" y="505"/>
                    </a:lnTo>
                    <a:lnTo>
                      <a:pt x="1781" y="501"/>
                    </a:lnTo>
                    <a:lnTo>
                      <a:pt x="1777" y="498"/>
                    </a:lnTo>
                    <a:lnTo>
                      <a:pt x="1776" y="495"/>
                    </a:lnTo>
                    <a:lnTo>
                      <a:pt x="1773" y="492"/>
                    </a:lnTo>
                    <a:lnTo>
                      <a:pt x="1766" y="489"/>
                    </a:lnTo>
                    <a:lnTo>
                      <a:pt x="1765" y="486"/>
                    </a:lnTo>
                    <a:lnTo>
                      <a:pt x="1765" y="484"/>
                    </a:lnTo>
                    <a:lnTo>
                      <a:pt x="1765" y="484"/>
                    </a:lnTo>
                    <a:lnTo>
                      <a:pt x="1760" y="482"/>
                    </a:lnTo>
                    <a:lnTo>
                      <a:pt x="1760" y="479"/>
                    </a:lnTo>
                    <a:lnTo>
                      <a:pt x="1755" y="479"/>
                    </a:lnTo>
                    <a:lnTo>
                      <a:pt x="1758" y="474"/>
                    </a:lnTo>
                    <a:lnTo>
                      <a:pt x="1760" y="471"/>
                    </a:lnTo>
                    <a:lnTo>
                      <a:pt x="1762" y="468"/>
                    </a:lnTo>
                    <a:lnTo>
                      <a:pt x="1768" y="465"/>
                    </a:lnTo>
                    <a:lnTo>
                      <a:pt x="1771" y="465"/>
                    </a:lnTo>
                    <a:lnTo>
                      <a:pt x="1773" y="463"/>
                    </a:lnTo>
                    <a:lnTo>
                      <a:pt x="1779" y="460"/>
                    </a:lnTo>
                    <a:lnTo>
                      <a:pt x="1781" y="455"/>
                    </a:lnTo>
                    <a:lnTo>
                      <a:pt x="1785" y="455"/>
                    </a:lnTo>
                    <a:lnTo>
                      <a:pt x="1789" y="454"/>
                    </a:lnTo>
                    <a:lnTo>
                      <a:pt x="1792" y="452"/>
                    </a:lnTo>
                    <a:lnTo>
                      <a:pt x="1793" y="451"/>
                    </a:lnTo>
                    <a:lnTo>
                      <a:pt x="1796" y="449"/>
                    </a:lnTo>
                    <a:lnTo>
                      <a:pt x="1793" y="447"/>
                    </a:lnTo>
                    <a:lnTo>
                      <a:pt x="1795" y="444"/>
                    </a:lnTo>
                    <a:lnTo>
                      <a:pt x="1800" y="444"/>
                    </a:lnTo>
                    <a:lnTo>
                      <a:pt x="1803" y="441"/>
                    </a:lnTo>
                    <a:lnTo>
                      <a:pt x="1803" y="438"/>
                    </a:lnTo>
                    <a:lnTo>
                      <a:pt x="1806" y="438"/>
                    </a:lnTo>
                    <a:lnTo>
                      <a:pt x="1809" y="440"/>
                    </a:lnTo>
                    <a:lnTo>
                      <a:pt x="1811" y="436"/>
                    </a:lnTo>
                    <a:lnTo>
                      <a:pt x="1814" y="435"/>
                    </a:lnTo>
                    <a:lnTo>
                      <a:pt x="1817" y="435"/>
                    </a:lnTo>
                    <a:lnTo>
                      <a:pt x="1819" y="432"/>
                    </a:lnTo>
                    <a:lnTo>
                      <a:pt x="1822" y="427"/>
                    </a:lnTo>
                    <a:lnTo>
                      <a:pt x="1825" y="427"/>
                    </a:lnTo>
                    <a:lnTo>
                      <a:pt x="1822" y="424"/>
                    </a:lnTo>
                    <a:lnTo>
                      <a:pt x="1819" y="425"/>
                    </a:lnTo>
                    <a:lnTo>
                      <a:pt x="1822" y="422"/>
                    </a:lnTo>
                    <a:lnTo>
                      <a:pt x="1823" y="417"/>
                    </a:lnTo>
                    <a:lnTo>
                      <a:pt x="1822" y="414"/>
                    </a:lnTo>
                    <a:lnTo>
                      <a:pt x="1820" y="411"/>
                    </a:lnTo>
                    <a:lnTo>
                      <a:pt x="1823" y="408"/>
                    </a:lnTo>
                    <a:lnTo>
                      <a:pt x="1828" y="408"/>
                    </a:lnTo>
                    <a:lnTo>
                      <a:pt x="1831" y="406"/>
                    </a:lnTo>
                    <a:lnTo>
                      <a:pt x="1828" y="405"/>
                    </a:lnTo>
                    <a:lnTo>
                      <a:pt x="1823" y="405"/>
                    </a:lnTo>
                    <a:lnTo>
                      <a:pt x="1827" y="400"/>
                    </a:lnTo>
                    <a:lnTo>
                      <a:pt x="1830" y="398"/>
                    </a:lnTo>
                    <a:lnTo>
                      <a:pt x="1835" y="397"/>
                    </a:lnTo>
                    <a:lnTo>
                      <a:pt x="1830" y="397"/>
                    </a:lnTo>
                    <a:lnTo>
                      <a:pt x="1827" y="397"/>
                    </a:lnTo>
                    <a:lnTo>
                      <a:pt x="1823" y="397"/>
                    </a:lnTo>
                    <a:lnTo>
                      <a:pt x="1827" y="395"/>
                    </a:lnTo>
                    <a:lnTo>
                      <a:pt x="1823" y="395"/>
                    </a:lnTo>
                    <a:lnTo>
                      <a:pt x="1819" y="397"/>
                    </a:lnTo>
                    <a:lnTo>
                      <a:pt x="1822" y="394"/>
                    </a:lnTo>
                    <a:lnTo>
                      <a:pt x="1825" y="390"/>
                    </a:lnTo>
                    <a:lnTo>
                      <a:pt x="1828" y="389"/>
                    </a:lnTo>
                    <a:lnTo>
                      <a:pt x="1833" y="387"/>
                    </a:lnTo>
                    <a:lnTo>
                      <a:pt x="1836" y="384"/>
                    </a:lnTo>
                    <a:lnTo>
                      <a:pt x="1842" y="378"/>
                    </a:lnTo>
                    <a:lnTo>
                      <a:pt x="1850" y="371"/>
                    </a:lnTo>
                    <a:lnTo>
                      <a:pt x="1852" y="368"/>
                    </a:lnTo>
                    <a:lnTo>
                      <a:pt x="1855" y="368"/>
                    </a:lnTo>
                    <a:lnTo>
                      <a:pt x="1852" y="367"/>
                    </a:lnTo>
                    <a:lnTo>
                      <a:pt x="1850" y="363"/>
                    </a:lnTo>
                    <a:lnTo>
                      <a:pt x="1847" y="363"/>
                    </a:lnTo>
                    <a:lnTo>
                      <a:pt x="1846" y="360"/>
                    </a:lnTo>
                    <a:lnTo>
                      <a:pt x="1846" y="357"/>
                    </a:lnTo>
                    <a:lnTo>
                      <a:pt x="1847" y="355"/>
                    </a:lnTo>
                    <a:lnTo>
                      <a:pt x="1849" y="352"/>
                    </a:lnTo>
                    <a:lnTo>
                      <a:pt x="1850" y="349"/>
                    </a:lnTo>
                    <a:lnTo>
                      <a:pt x="1852" y="346"/>
                    </a:lnTo>
                    <a:lnTo>
                      <a:pt x="1854" y="341"/>
                    </a:lnTo>
                    <a:lnTo>
                      <a:pt x="1858" y="340"/>
                    </a:lnTo>
                    <a:lnTo>
                      <a:pt x="1861" y="338"/>
                    </a:lnTo>
                    <a:lnTo>
                      <a:pt x="1865" y="336"/>
                    </a:lnTo>
                    <a:lnTo>
                      <a:pt x="1868" y="335"/>
                    </a:lnTo>
                    <a:lnTo>
                      <a:pt x="1873" y="335"/>
                    </a:lnTo>
                    <a:lnTo>
                      <a:pt x="1876" y="333"/>
                    </a:lnTo>
                    <a:lnTo>
                      <a:pt x="1879" y="332"/>
                    </a:lnTo>
                    <a:lnTo>
                      <a:pt x="1882" y="330"/>
                    </a:lnTo>
                    <a:lnTo>
                      <a:pt x="1887" y="332"/>
                    </a:lnTo>
                    <a:lnTo>
                      <a:pt x="1890" y="333"/>
                    </a:lnTo>
                    <a:lnTo>
                      <a:pt x="1893" y="332"/>
                    </a:lnTo>
                    <a:lnTo>
                      <a:pt x="1896" y="333"/>
                    </a:lnTo>
                    <a:lnTo>
                      <a:pt x="1900" y="333"/>
                    </a:lnTo>
                    <a:lnTo>
                      <a:pt x="1904" y="335"/>
                    </a:lnTo>
                    <a:lnTo>
                      <a:pt x="1907" y="336"/>
                    </a:lnTo>
                    <a:lnTo>
                      <a:pt x="1911" y="338"/>
                    </a:lnTo>
                    <a:lnTo>
                      <a:pt x="1914" y="340"/>
                    </a:lnTo>
                    <a:lnTo>
                      <a:pt x="1917" y="340"/>
                    </a:lnTo>
                    <a:lnTo>
                      <a:pt x="1922" y="341"/>
                    </a:lnTo>
                    <a:lnTo>
                      <a:pt x="1925" y="341"/>
                    </a:lnTo>
                    <a:lnTo>
                      <a:pt x="1922" y="343"/>
                    </a:lnTo>
                    <a:lnTo>
                      <a:pt x="1919" y="344"/>
                    </a:lnTo>
                    <a:lnTo>
                      <a:pt x="1917" y="346"/>
                    </a:lnTo>
                    <a:lnTo>
                      <a:pt x="1927" y="343"/>
                    </a:lnTo>
                    <a:lnTo>
                      <a:pt x="1934" y="341"/>
                    </a:lnTo>
                    <a:lnTo>
                      <a:pt x="1938" y="341"/>
                    </a:lnTo>
                    <a:lnTo>
                      <a:pt x="1942" y="341"/>
                    </a:lnTo>
                    <a:lnTo>
                      <a:pt x="1946" y="344"/>
                    </a:lnTo>
                    <a:lnTo>
                      <a:pt x="1950" y="348"/>
                    </a:lnTo>
                    <a:lnTo>
                      <a:pt x="1949" y="344"/>
                    </a:lnTo>
                    <a:lnTo>
                      <a:pt x="1952" y="343"/>
                    </a:lnTo>
                    <a:lnTo>
                      <a:pt x="1958" y="343"/>
                    </a:lnTo>
                    <a:lnTo>
                      <a:pt x="1963" y="341"/>
                    </a:lnTo>
                    <a:lnTo>
                      <a:pt x="1966" y="340"/>
                    </a:lnTo>
                    <a:lnTo>
                      <a:pt x="1976" y="336"/>
                    </a:lnTo>
                    <a:lnTo>
                      <a:pt x="1984" y="335"/>
                    </a:lnTo>
                    <a:lnTo>
                      <a:pt x="1987" y="338"/>
                    </a:lnTo>
                    <a:lnTo>
                      <a:pt x="1990" y="338"/>
                    </a:lnTo>
                    <a:lnTo>
                      <a:pt x="1993" y="340"/>
                    </a:lnTo>
                    <a:lnTo>
                      <a:pt x="1995" y="343"/>
                    </a:lnTo>
                    <a:lnTo>
                      <a:pt x="2001" y="348"/>
                    </a:lnTo>
                    <a:lnTo>
                      <a:pt x="2006" y="348"/>
                    </a:lnTo>
                    <a:lnTo>
                      <a:pt x="2004" y="351"/>
                    </a:lnTo>
                    <a:lnTo>
                      <a:pt x="2001" y="354"/>
                    </a:lnTo>
                    <a:lnTo>
                      <a:pt x="1998" y="357"/>
                    </a:lnTo>
                    <a:lnTo>
                      <a:pt x="1995" y="359"/>
                    </a:lnTo>
                    <a:lnTo>
                      <a:pt x="1999" y="357"/>
                    </a:lnTo>
                    <a:lnTo>
                      <a:pt x="2003" y="354"/>
                    </a:lnTo>
                    <a:lnTo>
                      <a:pt x="2006" y="355"/>
                    </a:lnTo>
                    <a:lnTo>
                      <a:pt x="2009" y="357"/>
                    </a:lnTo>
                    <a:lnTo>
                      <a:pt x="2012" y="357"/>
                    </a:lnTo>
                    <a:lnTo>
                      <a:pt x="2011" y="360"/>
                    </a:lnTo>
                    <a:lnTo>
                      <a:pt x="2014" y="362"/>
                    </a:lnTo>
                    <a:lnTo>
                      <a:pt x="2014" y="365"/>
                    </a:lnTo>
                    <a:lnTo>
                      <a:pt x="2009" y="367"/>
                    </a:lnTo>
                    <a:lnTo>
                      <a:pt x="2006" y="367"/>
                    </a:lnTo>
                    <a:lnTo>
                      <a:pt x="2009" y="367"/>
                    </a:lnTo>
                    <a:lnTo>
                      <a:pt x="2012" y="367"/>
                    </a:lnTo>
                    <a:lnTo>
                      <a:pt x="2015" y="363"/>
                    </a:lnTo>
                    <a:lnTo>
                      <a:pt x="2019" y="363"/>
                    </a:lnTo>
                    <a:lnTo>
                      <a:pt x="2023" y="365"/>
                    </a:lnTo>
                    <a:lnTo>
                      <a:pt x="2025" y="368"/>
                    </a:lnTo>
                    <a:lnTo>
                      <a:pt x="2022" y="368"/>
                    </a:lnTo>
                    <a:lnTo>
                      <a:pt x="2017" y="370"/>
                    </a:lnTo>
                    <a:lnTo>
                      <a:pt x="2015" y="371"/>
                    </a:lnTo>
                    <a:lnTo>
                      <a:pt x="2012" y="373"/>
                    </a:lnTo>
                    <a:lnTo>
                      <a:pt x="2017" y="373"/>
                    </a:lnTo>
                    <a:lnTo>
                      <a:pt x="2020" y="373"/>
                    </a:lnTo>
                    <a:lnTo>
                      <a:pt x="2017" y="376"/>
                    </a:lnTo>
                    <a:lnTo>
                      <a:pt x="2012" y="375"/>
                    </a:lnTo>
                    <a:lnTo>
                      <a:pt x="2014" y="378"/>
                    </a:lnTo>
                    <a:lnTo>
                      <a:pt x="2015" y="382"/>
                    </a:lnTo>
                    <a:lnTo>
                      <a:pt x="2019" y="381"/>
                    </a:lnTo>
                    <a:lnTo>
                      <a:pt x="2019" y="384"/>
                    </a:lnTo>
                    <a:lnTo>
                      <a:pt x="2023" y="382"/>
                    </a:lnTo>
                    <a:lnTo>
                      <a:pt x="2026" y="384"/>
                    </a:lnTo>
                    <a:lnTo>
                      <a:pt x="2030" y="384"/>
                    </a:lnTo>
                    <a:lnTo>
                      <a:pt x="2033" y="386"/>
                    </a:lnTo>
                    <a:lnTo>
                      <a:pt x="2034" y="387"/>
                    </a:lnTo>
                    <a:lnTo>
                      <a:pt x="2038" y="387"/>
                    </a:lnTo>
                    <a:lnTo>
                      <a:pt x="2041" y="389"/>
                    </a:lnTo>
                    <a:lnTo>
                      <a:pt x="2044" y="387"/>
                    </a:lnTo>
                    <a:lnTo>
                      <a:pt x="2047" y="386"/>
                    </a:lnTo>
                    <a:lnTo>
                      <a:pt x="2052" y="386"/>
                    </a:lnTo>
                    <a:lnTo>
                      <a:pt x="2052" y="390"/>
                    </a:lnTo>
                    <a:lnTo>
                      <a:pt x="2049" y="394"/>
                    </a:lnTo>
                    <a:lnTo>
                      <a:pt x="2052" y="395"/>
                    </a:lnTo>
                    <a:lnTo>
                      <a:pt x="2057" y="395"/>
                    </a:lnTo>
                    <a:lnTo>
                      <a:pt x="2060" y="392"/>
                    </a:lnTo>
                    <a:lnTo>
                      <a:pt x="2063" y="394"/>
                    </a:lnTo>
                    <a:lnTo>
                      <a:pt x="2065" y="390"/>
                    </a:lnTo>
                    <a:lnTo>
                      <a:pt x="2068" y="387"/>
                    </a:lnTo>
                    <a:lnTo>
                      <a:pt x="2071" y="390"/>
                    </a:lnTo>
                    <a:lnTo>
                      <a:pt x="2071" y="394"/>
                    </a:lnTo>
                    <a:lnTo>
                      <a:pt x="2069" y="397"/>
                    </a:lnTo>
                    <a:lnTo>
                      <a:pt x="2065" y="398"/>
                    </a:lnTo>
                    <a:lnTo>
                      <a:pt x="2061" y="398"/>
                    </a:lnTo>
                    <a:lnTo>
                      <a:pt x="2058" y="400"/>
                    </a:lnTo>
                    <a:lnTo>
                      <a:pt x="2057" y="405"/>
                    </a:lnTo>
                    <a:lnTo>
                      <a:pt x="2052" y="406"/>
                    </a:lnTo>
                    <a:lnTo>
                      <a:pt x="2050" y="409"/>
                    </a:lnTo>
                    <a:lnTo>
                      <a:pt x="2050" y="414"/>
                    </a:lnTo>
                    <a:lnTo>
                      <a:pt x="2049" y="417"/>
                    </a:lnTo>
                    <a:lnTo>
                      <a:pt x="2049" y="421"/>
                    </a:lnTo>
                    <a:lnTo>
                      <a:pt x="2047" y="422"/>
                    </a:lnTo>
                    <a:lnTo>
                      <a:pt x="2045" y="424"/>
                    </a:lnTo>
                    <a:lnTo>
                      <a:pt x="2039" y="425"/>
                    </a:lnTo>
                    <a:lnTo>
                      <a:pt x="2041" y="427"/>
                    </a:lnTo>
                    <a:lnTo>
                      <a:pt x="2031" y="425"/>
                    </a:lnTo>
                    <a:lnTo>
                      <a:pt x="2022" y="427"/>
                    </a:lnTo>
                    <a:lnTo>
                      <a:pt x="2019" y="427"/>
                    </a:lnTo>
                    <a:lnTo>
                      <a:pt x="2014" y="425"/>
                    </a:lnTo>
                    <a:lnTo>
                      <a:pt x="2009" y="424"/>
                    </a:lnTo>
                    <a:lnTo>
                      <a:pt x="2006" y="424"/>
                    </a:lnTo>
                    <a:lnTo>
                      <a:pt x="2006" y="424"/>
                    </a:lnTo>
                    <a:lnTo>
                      <a:pt x="2009" y="425"/>
                    </a:lnTo>
                    <a:lnTo>
                      <a:pt x="2012" y="425"/>
                    </a:lnTo>
                    <a:lnTo>
                      <a:pt x="2014" y="427"/>
                    </a:lnTo>
                    <a:lnTo>
                      <a:pt x="2017" y="427"/>
                    </a:lnTo>
                    <a:lnTo>
                      <a:pt x="2022" y="427"/>
                    </a:lnTo>
                    <a:lnTo>
                      <a:pt x="2030" y="428"/>
                    </a:lnTo>
                    <a:lnTo>
                      <a:pt x="2041" y="427"/>
                    </a:lnTo>
                    <a:lnTo>
                      <a:pt x="2041" y="432"/>
                    </a:lnTo>
                    <a:lnTo>
                      <a:pt x="2041" y="435"/>
                    </a:lnTo>
                    <a:lnTo>
                      <a:pt x="2038" y="438"/>
                    </a:lnTo>
                    <a:lnTo>
                      <a:pt x="2038" y="441"/>
                    </a:lnTo>
                    <a:lnTo>
                      <a:pt x="2034" y="443"/>
                    </a:lnTo>
                    <a:lnTo>
                      <a:pt x="2031" y="444"/>
                    </a:lnTo>
                    <a:lnTo>
                      <a:pt x="2031" y="447"/>
                    </a:lnTo>
                    <a:lnTo>
                      <a:pt x="2028" y="451"/>
                    </a:lnTo>
                    <a:lnTo>
                      <a:pt x="2031" y="451"/>
                    </a:lnTo>
                    <a:lnTo>
                      <a:pt x="2036" y="451"/>
                    </a:lnTo>
                    <a:lnTo>
                      <a:pt x="2039" y="452"/>
                    </a:lnTo>
                    <a:lnTo>
                      <a:pt x="2039" y="455"/>
                    </a:lnTo>
                    <a:lnTo>
                      <a:pt x="2036" y="455"/>
                    </a:lnTo>
                    <a:lnTo>
                      <a:pt x="2033" y="455"/>
                    </a:lnTo>
                    <a:lnTo>
                      <a:pt x="2030" y="457"/>
                    </a:lnTo>
                    <a:lnTo>
                      <a:pt x="2033" y="460"/>
                    </a:lnTo>
                    <a:lnTo>
                      <a:pt x="2026" y="467"/>
                    </a:lnTo>
                    <a:lnTo>
                      <a:pt x="2023" y="470"/>
                    </a:lnTo>
                    <a:lnTo>
                      <a:pt x="2019" y="471"/>
                    </a:lnTo>
                    <a:lnTo>
                      <a:pt x="2019" y="468"/>
                    </a:lnTo>
                    <a:lnTo>
                      <a:pt x="2020" y="465"/>
                    </a:lnTo>
                    <a:lnTo>
                      <a:pt x="2017" y="463"/>
                    </a:lnTo>
                    <a:lnTo>
                      <a:pt x="2017" y="467"/>
                    </a:lnTo>
                    <a:lnTo>
                      <a:pt x="2015" y="470"/>
                    </a:lnTo>
                    <a:lnTo>
                      <a:pt x="2011" y="470"/>
                    </a:lnTo>
                    <a:lnTo>
                      <a:pt x="2007" y="471"/>
                    </a:lnTo>
                    <a:lnTo>
                      <a:pt x="2004" y="471"/>
                    </a:lnTo>
                    <a:lnTo>
                      <a:pt x="2001" y="471"/>
                    </a:lnTo>
                    <a:lnTo>
                      <a:pt x="2004" y="473"/>
                    </a:lnTo>
                    <a:lnTo>
                      <a:pt x="2007" y="473"/>
                    </a:lnTo>
                    <a:lnTo>
                      <a:pt x="2007" y="476"/>
                    </a:lnTo>
                    <a:lnTo>
                      <a:pt x="2011" y="474"/>
                    </a:lnTo>
                    <a:lnTo>
                      <a:pt x="2007" y="478"/>
                    </a:lnTo>
                    <a:lnTo>
                      <a:pt x="2022" y="471"/>
                    </a:lnTo>
                    <a:lnTo>
                      <a:pt x="2036" y="468"/>
                    </a:lnTo>
                    <a:lnTo>
                      <a:pt x="2039" y="468"/>
                    </a:lnTo>
                    <a:lnTo>
                      <a:pt x="2042" y="468"/>
                    </a:lnTo>
                    <a:lnTo>
                      <a:pt x="2047" y="467"/>
                    </a:lnTo>
                    <a:lnTo>
                      <a:pt x="2050" y="468"/>
                    </a:lnTo>
                    <a:lnTo>
                      <a:pt x="2053" y="471"/>
                    </a:lnTo>
                    <a:lnTo>
                      <a:pt x="2053" y="474"/>
                    </a:lnTo>
                    <a:lnTo>
                      <a:pt x="2052" y="478"/>
                    </a:lnTo>
                    <a:lnTo>
                      <a:pt x="2052" y="481"/>
                    </a:lnTo>
                    <a:lnTo>
                      <a:pt x="2053" y="484"/>
                    </a:lnTo>
                    <a:lnTo>
                      <a:pt x="2047" y="490"/>
                    </a:lnTo>
                    <a:lnTo>
                      <a:pt x="2042" y="497"/>
                    </a:lnTo>
                    <a:lnTo>
                      <a:pt x="2038" y="500"/>
                    </a:lnTo>
                    <a:lnTo>
                      <a:pt x="2030" y="501"/>
                    </a:lnTo>
                    <a:lnTo>
                      <a:pt x="2017" y="505"/>
                    </a:lnTo>
                    <a:lnTo>
                      <a:pt x="2004" y="511"/>
                    </a:lnTo>
                    <a:lnTo>
                      <a:pt x="2019" y="505"/>
                    </a:lnTo>
                    <a:lnTo>
                      <a:pt x="2033" y="501"/>
                    </a:lnTo>
                    <a:lnTo>
                      <a:pt x="2036" y="501"/>
                    </a:lnTo>
                    <a:lnTo>
                      <a:pt x="2039" y="500"/>
                    </a:lnTo>
                    <a:lnTo>
                      <a:pt x="2042" y="498"/>
                    </a:lnTo>
                    <a:lnTo>
                      <a:pt x="2045" y="493"/>
                    </a:lnTo>
                    <a:lnTo>
                      <a:pt x="2053" y="487"/>
                    </a:lnTo>
                    <a:lnTo>
                      <a:pt x="2061" y="481"/>
                    </a:lnTo>
                    <a:lnTo>
                      <a:pt x="2063" y="484"/>
                    </a:lnTo>
                    <a:lnTo>
                      <a:pt x="2060" y="487"/>
                    </a:lnTo>
                    <a:lnTo>
                      <a:pt x="2060" y="490"/>
                    </a:lnTo>
                    <a:lnTo>
                      <a:pt x="2057" y="493"/>
                    </a:lnTo>
                    <a:lnTo>
                      <a:pt x="2052" y="495"/>
                    </a:lnTo>
                    <a:lnTo>
                      <a:pt x="2049" y="497"/>
                    </a:lnTo>
                    <a:lnTo>
                      <a:pt x="2053" y="495"/>
                    </a:lnTo>
                    <a:lnTo>
                      <a:pt x="2058" y="492"/>
                    </a:lnTo>
                    <a:lnTo>
                      <a:pt x="2061" y="489"/>
                    </a:lnTo>
                    <a:lnTo>
                      <a:pt x="2065" y="484"/>
                    </a:lnTo>
                    <a:lnTo>
                      <a:pt x="2066" y="489"/>
                    </a:lnTo>
                    <a:lnTo>
                      <a:pt x="2065" y="492"/>
                    </a:lnTo>
                    <a:lnTo>
                      <a:pt x="2061" y="495"/>
                    </a:lnTo>
                    <a:lnTo>
                      <a:pt x="2061" y="498"/>
                    </a:lnTo>
                    <a:lnTo>
                      <a:pt x="2058" y="501"/>
                    </a:lnTo>
                    <a:lnTo>
                      <a:pt x="2057" y="505"/>
                    </a:lnTo>
                    <a:lnTo>
                      <a:pt x="2061" y="498"/>
                    </a:lnTo>
                    <a:lnTo>
                      <a:pt x="2066" y="495"/>
                    </a:lnTo>
                    <a:lnTo>
                      <a:pt x="2069" y="492"/>
                    </a:lnTo>
                    <a:lnTo>
                      <a:pt x="2074" y="490"/>
                    </a:lnTo>
                    <a:lnTo>
                      <a:pt x="2080" y="489"/>
                    </a:lnTo>
                    <a:lnTo>
                      <a:pt x="2090" y="484"/>
                    </a:lnTo>
                    <a:lnTo>
                      <a:pt x="2093" y="484"/>
                    </a:lnTo>
                    <a:lnTo>
                      <a:pt x="2096" y="482"/>
                    </a:lnTo>
                    <a:lnTo>
                      <a:pt x="2099" y="484"/>
                    </a:lnTo>
                    <a:lnTo>
                      <a:pt x="2103" y="479"/>
                    </a:lnTo>
                    <a:lnTo>
                      <a:pt x="2104" y="476"/>
                    </a:lnTo>
                    <a:lnTo>
                      <a:pt x="2107" y="474"/>
                    </a:lnTo>
                    <a:lnTo>
                      <a:pt x="2110" y="471"/>
                    </a:lnTo>
                    <a:lnTo>
                      <a:pt x="2115" y="470"/>
                    </a:lnTo>
                    <a:lnTo>
                      <a:pt x="2117" y="473"/>
                    </a:lnTo>
                    <a:lnTo>
                      <a:pt x="2120" y="476"/>
                    </a:lnTo>
                    <a:lnTo>
                      <a:pt x="2122" y="479"/>
                    </a:lnTo>
                    <a:lnTo>
                      <a:pt x="2118" y="482"/>
                    </a:lnTo>
                    <a:lnTo>
                      <a:pt x="2117" y="487"/>
                    </a:lnTo>
                    <a:lnTo>
                      <a:pt x="2114" y="487"/>
                    </a:lnTo>
                    <a:lnTo>
                      <a:pt x="2114" y="489"/>
                    </a:lnTo>
                    <a:lnTo>
                      <a:pt x="2117" y="487"/>
                    </a:lnTo>
                    <a:lnTo>
                      <a:pt x="2118" y="484"/>
                    </a:lnTo>
                    <a:lnTo>
                      <a:pt x="2122" y="481"/>
                    </a:lnTo>
                    <a:lnTo>
                      <a:pt x="2125" y="478"/>
                    </a:lnTo>
                    <a:lnTo>
                      <a:pt x="2122" y="474"/>
                    </a:lnTo>
                    <a:lnTo>
                      <a:pt x="2123" y="471"/>
                    </a:lnTo>
                    <a:lnTo>
                      <a:pt x="2126" y="470"/>
                    </a:lnTo>
                    <a:lnTo>
                      <a:pt x="2130" y="470"/>
                    </a:lnTo>
                    <a:lnTo>
                      <a:pt x="2131" y="470"/>
                    </a:lnTo>
                    <a:lnTo>
                      <a:pt x="2128" y="468"/>
                    </a:lnTo>
                    <a:lnTo>
                      <a:pt x="2131" y="467"/>
                    </a:lnTo>
                    <a:lnTo>
                      <a:pt x="2134" y="465"/>
                    </a:lnTo>
                    <a:lnTo>
                      <a:pt x="2139" y="462"/>
                    </a:lnTo>
                    <a:lnTo>
                      <a:pt x="2142" y="465"/>
                    </a:lnTo>
                    <a:lnTo>
                      <a:pt x="2145" y="462"/>
                    </a:lnTo>
                    <a:lnTo>
                      <a:pt x="2149" y="462"/>
                    </a:lnTo>
                    <a:lnTo>
                      <a:pt x="2145" y="460"/>
                    </a:lnTo>
                    <a:lnTo>
                      <a:pt x="2142" y="462"/>
                    </a:lnTo>
                    <a:lnTo>
                      <a:pt x="2141" y="457"/>
                    </a:lnTo>
                    <a:lnTo>
                      <a:pt x="2141" y="454"/>
                    </a:lnTo>
                    <a:lnTo>
                      <a:pt x="2145" y="457"/>
                    </a:lnTo>
                    <a:lnTo>
                      <a:pt x="2149" y="454"/>
                    </a:lnTo>
                    <a:lnTo>
                      <a:pt x="2149" y="451"/>
                    </a:lnTo>
                    <a:lnTo>
                      <a:pt x="2152" y="452"/>
                    </a:lnTo>
                    <a:lnTo>
                      <a:pt x="2153" y="449"/>
                    </a:lnTo>
                    <a:lnTo>
                      <a:pt x="2152" y="446"/>
                    </a:lnTo>
                    <a:lnTo>
                      <a:pt x="2155" y="446"/>
                    </a:lnTo>
                    <a:lnTo>
                      <a:pt x="2158" y="446"/>
                    </a:lnTo>
                    <a:lnTo>
                      <a:pt x="2161" y="447"/>
                    </a:lnTo>
                    <a:lnTo>
                      <a:pt x="2164" y="449"/>
                    </a:lnTo>
                    <a:lnTo>
                      <a:pt x="2163" y="446"/>
                    </a:lnTo>
                    <a:lnTo>
                      <a:pt x="2160" y="444"/>
                    </a:lnTo>
                    <a:lnTo>
                      <a:pt x="2156" y="441"/>
                    </a:lnTo>
                    <a:lnTo>
                      <a:pt x="2156" y="438"/>
                    </a:lnTo>
                    <a:lnTo>
                      <a:pt x="2160" y="435"/>
                    </a:lnTo>
                    <a:lnTo>
                      <a:pt x="2163" y="433"/>
                    </a:lnTo>
                    <a:lnTo>
                      <a:pt x="2166" y="433"/>
                    </a:lnTo>
                    <a:lnTo>
                      <a:pt x="2171" y="435"/>
                    </a:lnTo>
                    <a:lnTo>
                      <a:pt x="2174" y="435"/>
                    </a:lnTo>
                    <a:lnTo>
                      <a:pt x="2171" y="433"/>
                    </a:lnTo>
                    <a:lnTo>
                      <a:pt x="2169" y="430"/>
                    </a:lnTo>
                    <a:lnTo>
                      <a:pt x="2172" y="428"/>
                    </a:lnTo>
                    <a:lnTo>
                      <a:pt x="2176" y="427"/>
                    </a:lnTo>
                    <a:lnTo>
                      <a:pt x="2179" y="424"/>
                    </a:lnTo>
                    <a:lnTo>
                      <a:pt x="2182" y="421"/>
                    </a:lnTo>
                    <a:lnTo>
                      <a:pt x="2187" y="419"/>
                    </a:lnTo>
                    <a:lnTo>
                      <a:pt x="2188" y="416"/>
                    </a:lnTo>
                    <a:lnTo>
                      <a:pt x="2191" y="413"/>
                    </a:lnTo>
                    <a:lnTo>
                      <a:pt x="2195" y="413"/>
                    </a:lnTo>
                    <a:lnTo>
                      <a:pt x="2198" y="414"/>
                    </a:lnTo>
                    <a:lnTo>
                      <a:pt x="2195" y="416"/>
                    </a:lnTo>
                    <a:lnTo>
                      <a:pt x="2191" y="417"/>
                    </a:lnTo>
                    <a:lnTo>
                      <a:pt x="2195" y="416"/>
                    </a:lnTo>
                    <a:lnTo>
                      <a:pt x="2198" y="417"/>
                    </a:lnTo>
                    <a:lnTo>
                      <a:pt x="2195" y="419"/>
                    </a:lnTo>
                    <a:lnTo>
                      <a:pt x="2198" y="419"/>
                    </a:lnTo>
                    <a:lnTo>
                      <a:pt x="2195" y="422"/>
                    </a:lnTo>
                    <a:lnTo>
                      <a:pt x="2191" y="424"/>
                    </a:lnTo>
                    <a:lnTo>
                      <a:pt x="2188" y="425"/>
                    </a:lnTo>
                    <a:lnTo>
                      <a:pt x="2185" y="425"/>
                    </a:lnTo>
                    <a:lnTo>
                      <a:pt x="2183" y="427"/>
                    </a:lnTo>
                    <a:lnTo>
                      <a:pt x="2185" y="427"/>
                    </a:lnTo>
                    <a:lnTo>
                      <a:pt x="2190" y="425"/>
                    </a:lnTo>
                    <a:lnTo>
                      <a:pt x="2193" y="424"/>
                    </a:lnTo>
                    <a:lnTo>
                      <a:pt x="2196" y="424"/>
                    </a:lnTo>
                    <a:lnTo>
                      <a:pt x="2193" y="427"/>
                    </a:lnTo>
                    <a:lnTo>
                      <a:pt x="2193" y="427"/>
                    </a:lnTo>
                    <a:lnTo>
                      <a:pt x="2191" y="430"/>
                    </a:lnTo>
                    <a:lnTo>
                      <a:pt x="2195" y="428"/>
                    </a:lnTo>
                    <a:lnTo>
                      <a:pt x="2198" y="427"/>
                    </a:lnTo>
                    <a:lnTo>
                      <a:pt x="2201" y="427"/>
                    </a:lnTo>
                    <a:lnTo>
                      <a:pt x="2202" y="427"/>
                    </a:lnTo>
                    <a:lnTo>
                      <a:pt x="2199" y="428"/>
                    </a:lnTo>
                    <a:lnTo>
                      <a:pt x="2199" y="432"/>
                    </a:lnTo>
                    <a:lnTo>
                      <a:pt x="2196" y="435"/>
                    </a:lnTo>
                    <a:lnTo>
                      <a:pt x="2196" y="436"/>
                    </a:lnTo>
                    <a:lnTo>
                      <a:pt x="2196" y="436"/>
                    </a:lnTo>
                    <a:lnTo>
                      <a:pt x="2196" y="438"/>
                    </a:lnTo>
                    <a:lnTo>
                      <a:pt x="2199" y="438"/>
                    </a:lnTo>
                    <a:lnTo>
                      <a:pt x="2196" y="441"/>
                    </a:lnTo>
                    <a:lnTo>
                      <a:pt x="2201" y="441"/>
                    </a:lnTo>
                    <a:lnTo>
                      <a:pt x="2198" y="444"/>
                    </a:lnTo>
                    <a:lnTo>
                      <a:pt x="2202" y="443"/>
                    </a:lnTo>
                    <a:lnTo>
                      <a:pt x="2206" y="444"/>
                    </a:lnTo>
                    <a:lnTo>
                      <a:pt x="2202" y="447"/>
                    </a:lnTo>
                    <a:lnTo>
                      <a:pt x="2198" y="447"/>
                    </a:lnTo>
                    <a:lnTo>
                      <a:pt x="2195" y="447"/>
                    </a:lnTo>
                    <a:lnTo>
                      <a:pt x="2199" y="449"/>
                    </a:lnTo>
                    <a:lnTo>
                      <a:pt x="2199" y="451"/>
                    </a:lnTo>
                    <a:lnTo>
                      <a:pt x="2199" y="454"/>
                    </a:lnTo>
                    <a:lnTo>
                      <a:pt x="2202" y="451"/>
                    </a:lnTo>
                    <a:lnTo>
                      <a:pt x="2206" y="451"/>
                    </a:lnTo>
                    <a:lnTo>
                      <a:pt x="2206" y="454"/>
                    </a:lnTo>
                    <a:lnTo>
                      <a:pt x="2202" y="455"/>
                    </a:lnTo>
                    <a:lnTo>
                      <a:pt x="2206" y="455"/>
                    </a:lnTo>
                    <a:lnTo>
                      <a:pt x="2209" y="454"/>
                    </a:lnTo>
                    <a:lnTo>
                      <a:pt x="2204" y="459"/>
                    </a:lnTo>
                    <a:lnTo>
                      <a:pt x="2201" y="462"/>
                    </a:lnTo>
                    <a:lnTo>
                      <a:pt x="2196" y="462"/>
                    </a:lnTo>
                    <a:lnTo>
                      <a:pt x="2188" y="462"/>
                    </a:lnTo>
                    <a:lnTo>
                      <a:pt x="2190" y="465"/>
                    </a:lnTo>
                    <a:lnTo>
                      <a:pt x="2193" y="462"/>
                    </a:lnTo>
                    <a:lnTo>
                      <a:pt x="2196" y="463"/>
                    </a:lnTo>
                    <a:lnTo>
                      <a:pt x="2199" y="462"/>
                    </a:lnTo>
                    <a:lnTo>
                      <a:pt x="2202" y="462"/>
                    </a:lnTo>
                    <a:lnTo>
                      <a:pt x="2206" y="460"/>
                    </a:lnTo>
                    <a:lnTo>
                      <a:pt x="2214" y="462"/>
                    </a:lnTo>
                    <a:lnTo>
                      <a:pt x="2210" y="463"/>
                    </a:lnTo>
                    <a:lnTo>
                      <a:pt x="2206" y="467"/>
                    </a:lnTo>
                    <a:lnTo>
                      <a:pt x="2210" y="465"/>
                    </a:lnTo>
                    <a:lnTo>
                      <a:pt x="2207" y="468"/>
                    </a:lnTo>
                    <a:lnTo>
                      <a:pt x="2204" y="470"/>
                    </a:lnTo>
                    <a:lnTo>
                      <a:pt x="2207" y="470"/>
                    </a:lnTo>
                    <a:lnTo>
                      <a:pt x="2210" y="468"/>
                    </a:lnTo>
                    <a:lnTo>
                      <a:pt x="2215" y="471"/>
                    </a:lnTo>
                    <a:lnTo>
                      <a:pt x="2212" y="474"/>
                    </a:lnTo>
                    <a:lnTo>
                      <a:pt x="2212" y="478"/>
                    </a:lnTo>
                    <a:lnTo>
                      <a:pt x="2202" y="482"/>
                    </a:lnTo>
                    <a:lnTo>
                      <a:pt x="2191" y="484"/>
                    </a:lnTo>
                    <a:lnTo>
                      <a:pt x="2195" y="484"/>
                    </a:lnTo>
                    <a:lnTo>
                      <a:pt x="2191" y="487"/>
                    </a:lnTo>
                    <a:lnTo>
                      <a:pt x="2188" y="489"/>
                    </a:lnTo>
                    <a:lnTo>
                      <a:pt x="2191" y="487"/>
                    </a:lnTo>
                    <a:lnTo>
                      <a:pt x="2196" y="486"/>
                    </a:lnTo>
                    <a:lnTo>
                      <a:pt x="2199" y="484"/>
                    </a:lnTo>
                    <a:lnTo>
                      <a:pt x="2202" y="484"/>
                    </a:lnTo>
                    <a:lnTo>
                      <a:pt x="2199" y="487"/>
                    </a:lnTo>
                    <a:lnTo>
                      <a:pt x="2202" y="486"/>
                    </a:lnTo>
                    <a:lnTo>
                      <a:pt x="2206" y="484"/>
                    </a:lnTo>
                    <a:lnTo>
                      <a:pt x="2210" y="484"/>
                    </a:lnTo>
                    <a:lnTo>
                      <a:pt x="2214" y="484"/>
                    </a:lnTo>
                    <a:lnTo>
                      <a:pt x="2217" y="482"/>
                    </a:lnTo>
                    <a:lnTo>
                      <a:pt x="2215" y="487"/>
                    </a:lnTo>
                    <a:lnTo>
                      <a:pt x="2214" y="490"/>
                    </a:lnTo>
                    <a:lnTo>
                      <a:pt x="2210" y="492"/>
                    </a:lnTo>
                    <a:lnTo>
                      <a:pt x="2207" y="492"/>
                    </a:lnTo>
                    <a:lnTo>
                      <a:pt x="2210" y="492"/>
                    </a:lnTo>
                    <a:lnTo>
                      <a:pt x="2206" y="495"/>
                    </a:lnTo>
                    <a:lnTo>
                      <a:pt x="2202" y="495"/>
                    </a:lnTo>
                    <a:lnTo>
                      <a:pt x="2199" y="497"/>
                    </a:lnTo>
                    <a:lnTo>
                      <a:pt x="2196" y="498"/>
                    </a:lnTo>
                    <a:lnTo>
                      <a:pt x="2193" y="500"/>
                    </a:lnTo>
                    <a:lnTo>
                      <a:pt x="2191" y="500"/>
                    </a:lnTo>
                    <a:lnTo>
                      <a:pt x="2188" y="501"/>
                    </a:lnTo>
                    <a:lnTo>
                      <a:pt x="2191" y="501"/>
                    </a:lnTo>
                    <a:lnTo>
                      <a:pt x="2195" y="500"/>
                    </a:lnTo>
                    <a:lnTo>
                      <a:pt x="2199" y="498"/>
                    </a:lnTo>
                    <a:lnTo>
                      <a:pt x="2202" y="497"/>
                    </a:lnTo>
                    <a:lnTo>
                      <a:pt x="2206" y="497"/>
                    </a:lnTo>
                    <a:lnTo>
                      <a:pt x="2209" y="497"/>
                    </a:lnTo>
                    <a:lnTo>
                      <a:pt x="2212" y="495"/>
                    </a:lnTo>
                    <a:lnTo>
                      <a:pt x="2215" y="495"/>
                    </a:lnTo>
                    <a:lnTo>
                      <a:pt x="2212" y="498"/>
                    </a:lnTo>
                    <a:lnTo>
                      <a:pt x="2215" y="498"/>
                    </a:lnTo>
                    <a:lnTo>
                      <a:pt x="2217" y="501"/>
                    </a:lnTo>
                    <a:lnTo>
                      <a:pt x="2214" y="501"/>
                    </a:lnTo>
                    <a:lnTo>
                      <a:pt x="2209" y="501"/>
                    </a:lnTo>
                    <a:lnTo>
                      <a:pt x="2206" y="503"/>
                    </a:lnTo>
                    <a:lnTo>
                      <a:pt x="2209" y="503"/>
                    </a:lnTo>
                    <a:lnTo>
                      <a:pt x="2212" y="503"/>
                    </a:lnTo>
                    <a:lnTo>
                      <a:pt x="2210" y="506"/>
                    </a:lnTo>
                    <a:lnTo>
                      <a:pt x="2214" y="503"/>
                    </a:lnTo>
                    <a:lnTo>
                      <a:pt x="2218" y="505"/>
                    </a:lnTo>
                    <a:lnTo>
                      <a:pt x="2222" y="503"/>
                    </a:lnTo>
                    <a:lnTo>
                      <a:pt x="2222" y="506"/>
                    </a:lnTo>
                    <a:lnTo>
                      <a:pt x="2218" y="509"/>
                    </a:lnTo>
                    <a:lnTo>
                      <a:pt x="2222" y="512"/>
                    </a:lnTo>
                    <a:lnTo>
                      <a:pt x="2220" y="517"/>
                    </a:lnTo>
                    <a:lnTo>
                      <a:pt x="2217" y="517"/>
                    </a:lnTo>
                    <a:lnTo>
                      <a:pt x="2214" y="520"/>
                    </a:lnTo>
                    <a:lnTo>
                      <a:pt x="2209" y="519"/>
                    </a:lnTo>
                    <a:lnTo>
                      <a:pt x="2206" y="522"/>
                    </a:lnTo>
                    <a:lnTo>
                      <a:pt x="2202" y="520"/>
                    </a:lnTo>
                    <a:lnTo>
                      <a:pt x="2206" y="524"/>
                    </a:lnTo>
                    <a:lnTo>
                      <a:pt x="2209" y="522"/>
                    </a:lnTo>
                    <a:lnTo>
                      <a:pt x="2214" y="522"/>
                    </a:lnTo>
                    <a:lnTo>
                      <a:pt x="2217" y="524"/>
                    </a:lnTo>
                    <a:lnTo>
                      <a:pt x="2217" y="527"/>
                    </a:lnTo>
                    <a:lnTo>
                      <a:pt x="2214" y="530"/>
                    </a:lnTo>
                    <a:lnTo>
                      <a:pt x="2217" y="532"/>
                    </a:lnTo>
                    <a:lnTo>
                      <a:pt x="2220" y="532"/>
                    </a:lnTo>
                    <a:lnTo>
                      <a:pt x="2225" y="533"/>
                    </a:lnTo>
                    <a:lnTo>
                      <a:pt x="2226" y="538"/>
                    </a:lnTo>
                    <a:lnTo>
                      <a:pt x="2226" y="541"/>
                    </a:lnTo>
                    <a:lnTo>
                      <a:pt x="2225" y="541"/>
                    </a:lnTo>
                    <a:lnTo>
                      <a:pt x="2222" y="541"/>
                    </a:lnTo>
                    <a:lnTo>
                      <a:pt x="2218" y="543"/>
                    </a:lnTo>
                    <a:lnTo>
                      <a:pt x="2215" y="544"/>
                    </a:lnTo>
                    <a:lnTo>
                      <a:pt x="2212" y="547"/>
                    </a:lnTo>
                    <a:lnTo>
                      <a:pt x="2207" y="547"/>
                    </a:lnTo>
                    <a:lnTo>
                      <a:pt x="2204" y="551"/>
                    </a:lnTo>
                    <a:lnTo>
                      <a:pt x="2209" y="549"/>
                    </a:lnTo>
                    <a:lnTo>
                      <a:pt x="2209" y="552"/>
                    </a:lnTo>
                    <a:lnTo>
                      <a:pt x="2206" y="554"/>
                    </a:lnTo>
                    <a:lnTo>
                      <a:pt x="2201" y="552"/>
                    </a:lnTo>
                    <a:lnTo>
                      <a:pt x="2198" y="551"/>
                    </a:lnTo>
                    <a:lnTo>
                      <a:pt x="2195" y="551"/>
                    </a:lnTo>
                    <a:lnTo>
                      <a:pt x="2191" y="549"/>
                    </a:lnTo>
                    <a:lnTo>
                      <a:pt x="2195" y="546"/>
                    </a:lnTo>
                    <a:lnTo>
                      <a:pt x="2198" y="547"/>
                    </a:lnTo>
                    <a:lnTo>
                      <a:pt x="2201" y="546"/>
                    </a:lnTo>
                    <a:lnTo>
                      <a:pt x="2198" y="546"/>
                    </a:lnTo>
                    <a:lnTo>
                      <a:pt x="2195" y="546"/>
                    </a:lnTo>
                    <a:lnTo>
                      <a:pt x="2191" y="546"/>
                    </a:lnTo>
                    <a:lnTo>
                      <a:pt x="2187" y="546"/>
                    </a:lnTo>
                    <a:lnTo>
                      <a:pt x="2190" y="551"/>
                    </a:lnTo>
                    <a:lnTo>
                      <a:pt x="2195" y="551"/>
                    </a:lnTo>
                    <a:lnTo>
                      <a:pt x="2198" y="554"/>
                    </a:lnTo>
                    <a:lnTo>
                      <a:pt x="2201" y="554"/>
                    </a:lnTo>
                    <a:lnTo>
                      <a:pt x="2198" y="554"/>
                    </a:lnTo>
                    <a:lnTo>
                      <a:pt x="2193" y="554"/>
                    </a:lnTo>
                    <a:lnTo>
                      <a:pt x="2193" y="554"/>
                    </a:lnTo>
                    <a:lnTo>
                      <a:pt x="2196" y="555"/>
                    </a:lnTo>
                    <a:lnTo>
                      <a:pt x="2199" y="555"/>
                    </a:lnTo>
                    <a:lnTo>
                      <a:pt x="2204" y="555"/>
                    </a:lnTo>
                    <a:lnTo>
                      <a:pt x="2207" y="557"/>
                    </a:lnTo>
                    <a:lnTo>
                      <a:pt x="2204" y="560"/>
                    </a:lnTo>
                    <a:lnTo>
                      <a:pt x="2199" y="558"/>
                    </a:lnTo>
                    <a:lnTo>
                      <a:pt x="2196" y="558"/>
                    </a:lnTo>
                    <a:lnTo>
                      <a:pt x="2193" y="560"/>
                    </a:lnTo>
                    <a:lnTo>
                      <a:pt x="2196" y="562"/>
                    </a:lnTo>
                    <a:lnTo>
                      <a:pt x="2199" y="563"/>
                    </a:lnTo>
                    <a:lnTo>
                      <a:pt x="2204" y="566"/>
                    </a:lnTo>
                    <a:lnTo>
                      <a:pt x="2199" y="566"/>
                    </a:lnTo>
                    <a:lnTo>
                      <a:pt x="2202" y="568"/>
                    </a:lnTo>
                    <a:lnTo>
                      <a:pt x="2199" y="568"/>
                    </a:lnTo>
                    <a:lnTo>
                      <a:pt x="2196" y="566"/>
                    </a:lnTo>
                    <a:lnTo>
                      <a:pt x="2193" y="566"/>
                    </a:lnTo>
                    <a:lnTo>
                      <a:pt x="2196" y="570"/>
                    </a:lnTo>
                    <a:lnTo>
                      <a:pt x="2199" y="570"/>
                    </a:lnTo>
                    <a:lnTo>
                      <a:pt x="2199" y="571"/>
                    </a:lnTo>
                    <a:lnTo>
                      <a:pt x="2201" y="570"/>
                    </a:lnTo>
                    <a:lnTo>
                      <a:pt x="2204" y="570"/>
                    </a:lnTo>
                    <a:lnTo>
                      <a:pt x="2207" y="570"/>
                    </a:lnTo>
                    <a:lnTo>
                      <a:pt x="2210" y="570"/>
                    </a:lnTo>
                    <a:lnTo>
                      <a:pt x="2209" y="573"/>
                    </a:lnTo>
                    <a:lnTo>
                      <a:pt x="2206" y="576"/>
                    </a:lnTo>
                    <a:lnTo>
                      <a:pt x="2210" y="576"/>
                    </a:lnTo>
                    <a:lnTo>
                      <a:pt x="2206" y="578"/>
                    </a:lnTo>
                    <a:lnTo>
                      <a:pt x="2210" y="579"/>
                    </a:lnTo>
                    <a:lnTo>
                      <a:pt x="2214" y="579"/>
                    </a:lnTo>
                    <a:lnTo>
                      <a:pt x="2210" y="582"/>
                    </a:lnTo>
                    <a:lnTo>
                      <a:pt x="2214" y="584"/>
                    </a:lnTo>
                    <a:lnTo>
                      <a:pt x="2217" y="584"/>
                    </a:lnTo>
                    <a:lnTo>
                      <a:pt x="2220" y="584"/>
                    </a:lnTo>
                    <a:lnTo>
                      <a:pt x="2220" y="587"/>
                    </a:lnTo>
                    <a:lnTo>
                      <a:pt x="2217" y="587"/>
                    </a:lnTo>
                    <a:lnTo>
                      <a:pt x="2218" y="589"/>
                    </a:lnTo>
                    <a:lnTo>
                      <a:pt x="2223" y="587"/>
                    </a:lnTo>
                    <a:lnTo>
                      <a:pt x="2226" y="585"/>
                    </a:lnTo>
                    <a:lnTo>
                      <a:pt x="2225" y="589"/>
                    </a:lnTo>
                    <a:lnTo>
                      <a:pt x="2223" y="592"/>
                    </a:lnTo>
                    <a:lnTo>
                      <a:pt x="2226" y="590"/>
                    </a:lnTo>
                    <a:lnTo>
                      <a:pt x="2229" y="585"/>
                    </a:lnTo>
                    <a:lnTo>
                      <a:pt x="2233" y="585"/>
                    </a:lnTo>
                    <a:lnTo>
                      <a:pt x="2231" y="590"/>
                    </a:lnTo>
                    <a:lnTo>
                      <a:pt x="2228" y="590"/>
                    </a:lnTo>
                    <a:lnTo>
                      <a:pt x="2229" y="595"/>
                    </a:lnTo>
                    <a:lnTo>
                      <a:pt x="2228" y="598"/>
                    </a:lnTo>
                    <a:lnTo>
                      <a:pt x="2225" y="600"/>
                    </a:lnTo>
                    <a:lnTo>
                      <a:pt x="2228" y="598"/>
                    </a:lnTo>
                    <a:lnTo>
                      <a:pt x="2231" y="597"/>
                    </a:lnTo>
                    <a:lnTo>
                      <a:pt x="2229" y="601"/>
                    </a:lnTo>
                    <a:lnTo>
                      <a:pt x="2226" y="601"/>
                    </a:lnTo>
                    <a:lnTo>
                      <a:pt x="2223" y="604"/>
                    </a:lnTo>
                    <a:lnTo>
                      <a:pt x="2220" y="606"/>
                    </a:lnTo>
                    <a:lnTo>
                      <a:pt x="2217" y="609"/>
                    </a:lnTo>
                    <a:lnTo>
                      <a:pt x="2220" y="608"/>
                    </a:lnTo>
                    <a:lnTo>
                      <a:pt x="2225" y="606"/>
                    </a:lnTo>
                    <a:lnTo>
                      <a:pt x="2215" y="612"/>
                    </a:lnTo>
                    <a:lnTo>
                      <a:pt x="2210" y="617"/>
                    </a:lnTo>
                    <a:lnTo>
                      <a:pt x="2210" y="617"/>
                    </a:lnTo>
                    <a:lnTo>
                      <a:pt x="2214" y="614"/>
                    </a:lnTo>
                    <a:lnTo>
                      <a:pt x="2217" y="612"/>
                    </a:lnTo>
                    <a:lnTo>
                      <a:pt x="2220" y="611"/>
                    </a:lnTo>
                    <a:lnTo>
                      <a:pt x="2225" y="609"/>
                    </a:lnTo>
                    <a:lnTo>
                      <a:pt x="2228" y="606"/>
                    </a:lnTo>
                    <a:lnTo>
                      <a:pt x="2231" y="608"/>
                    </a:lnTo>
                    <a:lnTo>
                      <a:pt x="2229" y="611"/>
                    </a:lnTo>
                    <a:lnTo>
                      <a:pt x="2225" y="612"/>
                    </a:lnTo>
                    <a:lnTo>
                      <a:pt x="2222" y="616"/>
                    </a:lnTo>
                    <a:lnTo>
                      <a:pt x="2226" y="614"/>
                    </a:lnTo>
                    <a:lnTo>
                      <a:pt x="2229" y="611"/>
                    </a:lnTo>
                    <a:lnTo>
                      <a:pt x="2233" y="609"/>
                    </a:lnTo>
                    <a:lnTo>
                      <a:pt x="2234" y="608"/>
                    </a:lnTo>
                    <a:lnTo>
                      <a:pt x="2237" y="606"/>
                    </a:lnTo>
                    <a:lnTo>
                      <a:pt x="2242" y="604"/>
                    </a:lnTo>
                    <a:lnTo>
                      <a:pt x="2242" y="608"/>
                    </a:lnTo>
                    <a:lnTo>
                      <a:pt x="2239" y="611"/>
                    </a:lnTo>
                    <a:lnTo>
                      <a:pt x="2236" y="611"/>
                    </a:lnTo>
                    <a:lnTo>
                      <a:pt x="2239" y="612"/>
                    </a:lnTo>
                    <a:lnTo>
                      <a:pt x="2242" y="611"/>
                    </a:lnTo>
                    <a:lnTo>
                      <a:pt x="2245" y="611"/>
                    </a:lnTo>
                    <a:lnTo>
                      <a:pt x="2250" y="608"/>
                    </a:lnTo>
                    <a:lnTo>
                      <a:pt x="2250" y="612"/>
                    </a:lnTo>
                    <a:lnTo>
                      <a:pt x="2245" y="614"/>
                    </a:lnTo>
                    <a:lnTo>
                      <a:pt x="2242" y="616"/>
                    </a:lnTo>
                    <a:lnTo>
                      <a:pt x="2239" y="617"/>
                    </a:lnTo>
                    <a:lnTo>
                      <a:pt x="2236" y="620"/>
                    </a:lnTo>
                    <a:lnTo>
                      <a:pt x="2233" y="623"/>
                    </a:lnTo>
                    <a:lnTo>
                      <a:pt x="2229" y="625"/>
                    </a:lnTo>
                    <a:lnTo>
                      <a:pt x="2233" y="625"/>
                    </a:lnTo>
                    <a:lnTo>
                      <a:pt x="2234" y="622"/>
                    </a:lnTo>
                    <a:lnTo>
                      <a:pt x="2237" y="620"/>
                    </a:lnTo>
                    <a:lnTo>
                      <a:pt x="2242" y="619"/>
                    </a:lnTo>
                    <a:lnTo>
                      <a:pt x="2245" y="616"/>
                    </a:lnTo>
                    <a:lnTo>
                      <a:pt x="2248" y="614"/>
                    </a:lnTo>
                    <a:lnTo>
                      <a:pt x="2252" y="612"/>
                    </a:lnTo>
                    <a:lnTo>
                      <a:pt x="2256" y="609"/>
                    </a:lnTo>
                    <a:lnTo>
                      <a:pt x="2260" y="609"/>
                    </a:lnTo>
                    <a:lnTo>
                      <a:pt x="2256" y="612"/>
                    </a:lnTo>
                    <a:lnTo>
                      <a:pt x="2253" y="614"/>
                    </a:lnTo>
                    <a:lnTo>
                      <a:pt x="2250" y="616"/>
                    </a:lnTo>
                    <a:lnTo>
                      <a:pt x="2253" y="616"/>
                    </a:lnTo>
                    <a:lnTo>
                      <a:pt x="2256" y="614"/>
                    </a:lnTo>
                    <a:lnTo>
                      <a:pt x="2260" y="612"/>
                    </a:lnTo>
                    <a:lnTo>
                      <a:pt x="2263" y="612"/>
                    </a:lnTo>
                    <a:lnTo>
                      <a:pt x="2261" y="616"/>
                    </a:lnTo>
                    <a:lnTo>
                      <a:pt x="2263" y="619"/>
                    </a:lnTo>
                    <a:lnTo>
                      <a:pt x="2260" y="620"/>
                    </a:lnTo>
                    <a:lnTo>
                      <a:pt x="2263" y="620"/>
                    </a:lnTo>
                    <a:lnTo>
                      <a:pt x="2264" y="623"/>
                    </a:lnTo>
                    <a:lnTo>
                      <a:pt x="2269" y="623"/>
                    </a:lnTo>
                    <a:lnTo>
                      <a:pt x="2272" y="623"/>
                    </a:lnTo>
                    <a:lnTo>
                      <a:pt x="2275" y="625"/>
                    </a:lnTo>
                    <a:lnTo>
                      <a:pt x="2279" y="625"/>
                    </a:lnTo>
                    <a:lnTo>
                      <a:pt x="2283" y="627"/>
                    </a:lnTo>
                    <a:lnTo>
                      <a:pt x="2287" y="627"/>
                    </a:lnTo>
                    <a:lnTo>
                      <a:pt x="2290" y="627"/>
                    </a:lnTo>
                    <a:lnTo>
                      <a:pt x="2293" y="628"/>
                    </a:lnTo>
                    <a:lnTo>
                      <a:pt x="2296" y="630"/>
                    </a:lnTo>
                    <a:lnTo>
                      <a:pt x="2299" y="630"/>
                    </a:lnTo>
                    <a:lnTo>
                      <a:pt x="2304" y="633"/>
                    </a:lnTo>
                    <a:lnTo>
                      <a:pt x="2301" y="636"/>
                    </a:lnTo>
                    <a:lnTo>
                      <a:pt x="2298" y="636"/>
                    </a:lnTo>
                    <a:lnTo>
                      <a:pt x="2293" y="636"/>
                    </a:lnTo>
                    <a:lnTo>
                      <a:pt x="2291" y="638"/>
                    </a:lnTo>
                    <a:lnTo>
                      <a:pt x="2294" y="638"/>
                    </a:lnTo>
                    <a:lnTo>
                      <a:pt x="2298" y="638"/>
                    </a:lnTo>
                    <a:lnTo>
                      <a:pt x="2293" y="639"/>
                    </a:lnTo>
                    <a:lnTo>
                      <a:pt x="2290" y="641"/>
                    </a:lnTo>
                    <a:lnTo>
                      <a:pt x="2285" y="641"/>
                    </a:lnTo>
                    <a:lnTo>
                      <a:pt x="2280" y="641"/>
                    </a:lnTo>
                    <a:lnTo>
                      <a:pt x="2277" y="641"/>
                    </a:lnTo>
                    <a:lnTo>
                      <a:pt x="2274" y="643"/>
                    </a:lnTo>
                    <a:lnTo>
                      <a:pt x="2269" y="646"/>
                    </a:lnTo>
                    <a:lnTo>
                      <a:pt x="2266" y="646"/>
                    </a:lnTo>
                    <a:lnTo>
                      <a:pt x="2263" y="647"/>
                    </a:lnTo>
                    <a:lnTo>
                      <a:pt x="2245" y="650"/>
                    </a:lnTo>
                    <a:lnTo>
                      <a:pt x="2228" y="654"/>
                    </a:lnTo>
                    <a:lnTo>
                      <a:pt x="2228" y="655"/>
                    </a:lnTo>
                    <a:lnTo>
                      <a:pt x="2247" y="652"/>
                    </a:lnTo>
                    <a:lnTo>
                      <a:pt x="2266" y="647"/>
                    </a:lnTo>
                    <a:lnTo>
                      <a:pt x="2261" y="650"/>
                    </a:lnTo>
                    <a:lnTo>
                      <a:pt x="2258" y="652"/>
                    </a:lnTo>
                    <a:lnTo>
                      <a:pt x="2255" y="654"/>
                    </a:lnTo>
                    <a:lnTo>
                      <a:pt x="2252" y="654"/>
                    </a:lnTo>
                    <a:lnTo>
                      <a:pt x="2248" y="654"/>
                    </a:lnTo>
                    <a:lnTo>
                      <a:pt x="2244" y="657"/>
                    </a:lnTo>
                    <a:lnTo>
                      <a:pt x="2241" y="657"/>
                    </a:lnTo>
                    <a:lnTo>
                      <a:pt x="2237" y="658"/>
                    </a:lnTo>
                    <a:lnTo>
                      <a:pt x="2234" y="658"/>
                    </a:lnTo>
                    <a:lnTo>
                      <a:pt x="2228" y="662"/>
                    </a:lnTo>
                    <a:lnTo>
                      <a:pt x="2226" y="662"/>
                    </a:lnTo>
                    <a:lnTo>
                      <a:pt x="2222" y="662"/>
                    </a:lnTo>
                    <a:lnTo>
                      <a:pt x="2215" y="662"/>
                    </a:lnTo>
                    <a:lnTo>
                      <a:pt x="2212" y="663"/>
                    </a:lnTo>
                    <a:lnTo>
                      <a:pt x="2209" y="665"/>
                    </a:lnTo>
                    <a:lnTo>
                      <a:pt x="2207" y="666"/>
                    </a:lnTo>
                    <a:lnTo>
                      <a:pt x="2204" y="669"/>
                    </a:lnTo>
                    <a:lnTo>
                      <a:pt x="2201" y="673"/>
                    </a:lnTo>
                    <a:lnTo>
                      <a:pt x="2198" y="671"/>
                    </a:lnTo>
                    <a:lnTo>
                      <a:pt x="2193" y="668"/>
                    </a:lnTo>
                    <a:lnTo>
                      <a:pt x="2190" y="666"/>
                    </a:lnTo>
                    <a:lnTo>
                      <a:pt x="2187" y="665"/>
                    </a:lnTo>
                    <a:lnTo>
                      <a:pt x="2183" y="662"/>
                    </a:lnTo>
                    <a:lnTo>
                      <a:pt x="2183" y="663"/>
                    </a:lnTo>
                    <a:lnTo>
                      <a:pt x="2182" y="666"/>
                    </a:lnTo>
                    <a:lnTo>
                      <a:pt x="2185" y="666"/>
                    </a:lnTo>
                    <a:lnTo>
                      <a:pt x="2190" y="668"/>
                    </a:lnTo>
                    <a:lnTo>
                      <a:pt x="2193" y="669"/>
                    </a:lnTo>
                    <a:lnTo>
                      <a:pt x="2196" y="673"/>
                    </a:lnTo>
                    <a:lnTo>
                      <a:pt x="2199" y="673"/>
                    </a:lnTo>
                    <a:lnTo>
                      <a:pt x="2201" y="676"/>
                    </a:lnTo>
                    <a:lnTo>
                      <a:pt x="2198" y="677"/>
                    </a:lnTo>
                    <a:lnTo>
                      <a:pt x="2195" y="679"/>
                    </a:lnTo>
                    <a:lnTo>
                      <a:pt x="2191" y="681"/>
                    </a:lnTo>
                    <a:lnTo>
                      <a:pt x="2195" y="682"/>
                    </a:lnTo>
                    <a:lnTo>
                      <a:pt x="2191" y="684"/>
                    </a:lnTo>
                    <a:lnTo>
                      <a:pt x="2188" y="684"/>
                    </a:lnTo>
                    <a:lnTo>
                      <a:pt x="2188" y="684"/>
                    </a:lnTo>
                    <a:lnTo>
                      <a:pt x="2191" y="684"/>
                    </a:lnTo>
                    <a:lnTo>
                      <a:pt x="2195" y="682"/>
                    </a:lnTo>
                    <a:lnTo>
                      <a:pt x="2199" y="681"/>
                    </a:lnTo>
                    <a:lnTo>
                      <a:pt x="2202" y="679"/>
                    </a:lnTo>
                    <a:lnTo>
                      <a:pt x="2204" y="679"/>
                    </a:lnTo>
                    <a:lnTo>
                      <a:pt x="2207" y="677"/>
                    </a:lnTo>
                    <a:lnTo>
                      <a:pt x="2207" y="677"/>
                    </a:lnTo>
                    <a:lnTo>
                      <a:pt x="2210" y="674"/>
                    </a:lnTo>
                    <a:lnTo>
                      <a:pt x="2215" y="674"/>
                    </a:lnTo>
                    <a:lnTo>
                      <a:pt x="2220" y="673"/>
                    </a:lnTo>
                    <a:lnTo>
                      <a:pt x="2223" y="671"/>
                    </a:lnTo>
                    <a:lnTo>
                      <a:pt x="2228" y="668"/>
                    </a:lnTo>
                    <a:lnTo>
                      <a:pt x="2231" y="668"/>
                    </a:lnTo>
                    <a:lnTo>
                      <a:pt x="2236" y="668"/>
                    </a:lnTo>
                    <a:lnTo>
                      <a:pt x="2239" y="666"/>
                    </a:lnTo>
                    <a:lnTo>
                      <a:pt x="2241" y="662"/>
                    </a:lnTo>
                    <a:lnTo>
                      <a:pt x="2244" y="660"/>
                    </a:lnTo>
                    <a:lnTo>
                      <a:pt x="2247" y="657"/>
                    </a:lnTo>
                    <a:lnTo>
                      <a:pt x="2252" y="657"/>
                    </a:lnTo>
                    <a:lnTo>
                      <a:pt x="2255" y="657"/>
                    </a:lnTo>
                    <a:lnTo>
                      <a:pt x="2258" y="655"/>
                    </a:lnTo>
                    <a:lnTo>
                      <a:pt x="2261" y="655"/>
                    </a:lnTo>
                    <a:lnTo>
                      <a:pt x="2271" y="652"/>
                    </a:lnTo>
                    <a:lnTo>
                      <a:pt x="2279" y="652"/>
                    </a:lnTo>
                    <a:lnTo>
                      <a:pt x="2275" y="650"/>
                    </a:lnTo>
                    <a:lnTo>
                      <a:pt x="2272" y="650"/>
                    </a:lnTo>
                    <a:lnTo>
                      <a:pt x="2269" y="650"/>
                    </a:lnTo>
                    <a:lnTo>
                      <a:pt x="2264" y="650"/>
                    </a:lnTo>
                    <a:lnTo>
                      <a:pt x="2266" y="647"/>
                    </a:lnTo>
                    <a:lnTo>
                      <a:pt x="2269" y="647"/>
                    </a:lnTo>
                    <a:lnTo>
                      <a:pt x="2274" y="646"/>
                    </a:lnTo>
                    <a:lnTo>
                      <a:pt x="2277" y="646"/>
                    </a:lnTo>
                    <a:lnTo>
                      <a:pt x="2280" y="647"/>
                    </a:lnTo>
                    <a:lnTo>
                      <a:pt x="2283" y="647"/>
                    </a:lnTo>
                    <a:lnTo>
                      <a:pt x="2287" y="647"/>
                    </a:lnTo>
                    <a:lnTo>
                      <a:pt x="2291" y="649"/>
                    </a:lnTo>
                    <a:lnTo>
                      <a:pt x="2294" y="649"/>
                    </a:lnTo>
                    <a:lnTo>
                      <a:pt x="2294" y="652"/>
                    </a:lnTo>
                    <a:lnTo>
                      <a:pt x="2296" y="655"/>
                    </a:lnTo>
                    <a:lnTo>
                      <a:pt x="2296" y="658"/>
                    </a:lnTo>
                    <a:lnTo>
                      <a:pt x="2299" y="662"/>
                    </a:lnTo>
                    <a:lnTo>
                      <a:pt x="2290" y="668"/>
                    </a:lnTo>
                    <a:lnTo>
                      <a:pt x="2282" y="671"/>
                    </a:lnTo>
                    <a:lnTo>
                      <a:pt x="2283" y="671"/>
                    </a:lnTo>
                    <a:lnTo>
                      <a:pt x="2288" y="671"/>
                    </a:lnTo>
                    <a:lnTo>
                      <a:pt x="2287" y="674"/>
                    </a:lnTo>
                    <a:lnTo>
                      <a:pt x="2290" y="674"/>
                    </a:lnTo>
                    <a:lnTo>
                      <a:pt x="2293" y="671"/>
                    </a:lnTo>
                    <a:lnTo>
                      <a:pt x="2298" y="668"/>
                    </a:lnTo>
                    <a:lnTo>
                      <a:pt x="2301" y="666"/>
                    </a:lnTo>
                    <a:lnTo>
                      <a:pt x="2307" y="666"/>
                    </a:lnTo>
                    <a:lnTo>
                      <a:pt x="2310" y="666"/>
                    </a:lnTo>
                    <a:lnTo>
                      <a:pt x="2315" y="665"/>
                    </a:lnTo>
                    <a:lnTo>
                      <a:pt x="2312" y="668"/>
                    </a:lnTo>
                    <a:lnTo>
                      <a:pt x="2307" y="668"/>
                    </a:lnTo>
                    <a:lnTo>
                      <a:pt x="2312" y="669"/>
                    </a:lnTo>
                    <a:lnTo>
                      <a:pt x="2315" y="669"/>
                    </a:lnTo>
                    <a:lnTo>
                      <a:pt x="2318" y="669"/>
                    </a:lnTo>
                    <a:lnTo>
                      <a:pt x="2321" y="671"/>
                    </a:lnTo>
                    <a:lnTo>
                      <a:pt x="2325" y="671"/>
                    </a:lnTo>
                    <a:lnTo>
                      <a:pt x="2321" y="673"/>
                    </a:lnTo>
                    <a:lnTo>
                      <a:pt x="2325" y="676"/>
                    </a:lnTo>
                    <a:lnTo>
                      <a:pt x="2325" y="679"/>
                    </a:lnTo>
                    <a:lnTo>
                      <a:pt x="2328" y="679"/>
                    </a:lnTo>
                    <a:lnTo>
                      <a:pt x="2329" y="681"/>
                    </a:lnTo>
                    <a:lnTo>
                      <a:pt x="2328" y="684"/>
                    </a:lnTo>
                    <a:lnTo>
                      <a:pt x="2329" y="687"/>
                    </a:lnTo>
                    <a:lnTo>
                      <a:pt x="2325" y="690"/>
                    </a:lnTo>
                    <a:lnTo>
                      <a:pt x="2321" y="693"/>
                    </a:lnTo>
                    <a:lnTo>
                      <a:pt x="2318" y="693"/>
                    </a:lnTo>
                    <a:lnTo>
                      <a:pt x="2315" y="693"/>
                    </a:lnTo>
                    <a:lnTo>
                      <a:pt x="2318" y="695"/>
                    </a:lnTo>
                    <a:lnTo>
                      <a:pt x="2321" y="695"/>
                    </a:lnTo>
                    <a:lnTo>
                      <a:pt x="2323" y="700"/>
                    </a:lnTo>
                    <a:lnTo>
                      <a:pt x="2321" y="700"/>
                    </a:lnTo>
                    <a:lnTo>
                      <a:pt x="2320" y="701"/>
                    </a:lnTo>
                    <a:lnTo>
                      <a:pt x="2315" y="703"/>
                    </a:lnTo>
                    <a:lnTo>
                      <a:pt x="2312" y="703"/>
                    </a:lnTo>
                    <a:lnTo>
                      <a:pt x="2314" y="706"/>
                    </a:lnTo>
                    <a:lnTo>
                      <a:pt x="2317" y="706"/>
                    </a:lnTo>
                    <a:lnTo>
                      <a:pt x="2320" y="706"/>
                    </a:lnTo>
                    <a:lnTo>
                      <a:pt x="2318" y="711"/>
                    </a:lnTo>
                    <a:lnTo>
                      <a:pt x="2315" y="709"/>
                    </a:lnTo>
                    <a:lnTo>
                      <a:pt x="2312" y="708"/>
                    </a:lnTo>
                    <a:lnTo>
                      <a:pt x="2312" y="711"/>
                    </a:lnTo>
                    <a:lnTo>
                      <a:pt x="2309" y="711"/>
                    </a:lnTo>
                    <a:lnTo>
                      <a:pt x="2306" y="712"/>
                    </a:lnTo>
                    <a:lnTo>
                      <a:pt x="2302" y="711"/>
                    </a:lnTo>
                    <a:lnTo>
                      <a:pt x="2298" y="711"/>
                    </a:lnTo>
                    <a:lnTo>
                      <a:pt x="2298" y="711"/>
                    </a:lnTo>
                    <a:lnTo>
                      <a:pt x="2301" y="711"/>
                    </a:lnTo>
                    <a:lnTo>
                      <a:pt x="2304" y="712"/>
                    </a:lnTo>
                    <a:lnTo>
                      <a:pt x="2307" y="712"/>
                    </a:lnTo>
                    <a:lnTo>
                      <a:pt x="2310" y="714"/>
                    </a:lnTo>
                    <a:lnTo>
                      <a:pt x="2315" y="714"/>
                    </a:lnTo>
                    <a:lnTo>
                      <a:pt x="2315" y="714"/>
                    </a:lnTo>
                    <a:lnTo>
                      <a:pt x="2320" y="715"/>
                    </a:lnTo>
                    <a:lnTo>
                      <a:pt x="2320" y="720"/>
                    </a:lnTo>
                    <a:lnTo>
                      <a:pt x="2315" y="719"/>
                    </a:lnTo>
                    <a:lnTo>
                      <a:pt x="2312" y="719"/>
                    </a:lnTo>
                    <a:lnTo>
                      <a:pt x="2309" y="717"/>
                    </a:lnTo>
                    <a:lnTo>
                      <a:pt x="2304" y="717"/>
                    </a:lnTo>
                    <a:lnTo>
                      <a:pt x="2312" y="720"/>
                    </a:lnTo>
                    <a:lnTo>
                      <a:pt x="2315" y="722"/>
                    </a:lnTo>
                    <a:lnTo>
                      <a:pt x="2314" y="725"/>
                    </a:lnTo>
                    <a:lnTo>
                      <a:pt x="2315" y="730"/>
                    </a:lnTo>
                    <a:lnTo>
                      <a:pt x="2310" y="730"/>
                    </a:lnTo>
                    <a:lnTo>
                      <a:pt x="2307" y="733"/>
                    </a:lnTo>
                    <a:lnTo>
                      <a:pt x="2304" y="736"/>
                    </a:lnTo>
                    <a:lnTo>
                      <a:pt x="2299" y="738"/>
                    </a:lnTo>
                    <a:lnTo>
                      <a:pt x="2296" y="739"/>
                    </a:lnTo>
                    <a:lnTo>
                      <a:pt x="2293" y="741"/>
                    </a:lnTo>
                    <a:lnTo>
                      <a:pt x="2290" y="742"/>
                    </a:lnTo>
                    <a:lnTo>
                      <a:pt x="2287" y="744"/>
                    </a:lnTo>
                    <a:lnTo>
                      <a:pt x="2282" y="746"/>
                    </a:lnTo>
                    <a:lnTo>
                      <a:pt x="2279" y="747"/>
                    </a:lnTo>
                    <a:lnTo>
                      <a:pt x="2275" y="749"/>
                    </a:lnTo>
                    <a:lnTo>
                      <a:pt x="2272" y="752"/>
                    </a:lnTo>
                    <a:lnTo>
                      <a:pt x="2269" y="754"/>
                    </a:lnTo>
                    <a:lnTo>
                      <a:pt x="2261" y="757"/>
                    </a:lnTo>
                    <a:lnTo>
                      <a:pt x="2260" y="757"/>
                    </a:lnTo>
                    <a:lnTo>
                      <a:pt x="2256" y="755"/>
                    </a:lnTo>
                    <a:lnTo>
                      <a:pt x="2252" y="754"/>
                    </a:lnTo>
                    <a:lnTo>
                      <a:pt x="2248" y="755"/>
                    </a:lnTo>
                    <a:lnTo>
                      <a:pt x="2245" y="755"/>
                    </a:lnTo>
                    <a:lnTo>
                      <a:pt x="2242" y="755"/>
                    </a:lnTo>
                    <a:lnTo>
                      <a:pt x="2239" y="757"/>
                    </a:lnTo>
                    <a:lnTo>
                      <a:pt x="2234" y="757"/>
                    </a:lnTo>
                    <a:lnTo>
                      <a:pt x="2231" y="760"/>
                    </a:lnTo>
                    <a:lnTo>
                      <a:pt x="2228" y="760"/>
                    </a:lnTo>
                    <a:lnTo>
                      <a:pt x="2225" y="761"/>
                    </a:lnTo>
                    <a:lnTo>
                      <a:pt x="2220" y="761"/>
                    </a:lnTo>
                    <a:lnTo>
                      <a:pt x="2217" y="760"/>
                    </a:lnTo>
                    <a:lnTo>
                      <a:pt x="2214" y="761"/>
                    </a:lnTo>
                    <a:lnTo>
                      <a:pt x="2210" y="763"/>
                    </a:lnTo>
                    <a:lnTo>
                      <a:pt x="2209" y="763"/>
                    </a:lnTo>
                    <a:lnTo>
                      <a:pt x="2209" y="766"/>
                    </a:lnTo>
                    <a:lnTo>
                      <a:pt x="2206" y="768"/>
                    </a:lnTo>
                    <a:lnTo>
                      <a:pt x="2202" y="769"/>
                    </a:lnTo>
                    <a:lnTo>
                      <a:pt x="2198" y="773"/>
                    </a:lnTo>
                    <a:lnTo>
                      <a:pt x="2195" y="773"/>
                    </a:lnTo>
                    <a:lnTo>
                      <a:pt x="2195" y="776"/>
                    </a:lnTo>
                    <a:lnTo>
                      <a:pt x="2195" y="776"/>
                    </a:lnTo>
                    <a:lnTo>
                      <a:pt x="2193" y="779"/>
                    </a:lnTo>
                    <a:lnTo>
                      <a:pt x="2190" y="782"/>
                    </a:lnTo>
                    <a:lnTo>
                      <a:pt x="2190" y="777"/>
                    </a:lnTo>
                    <a:lnTo>
                      <a:pt x="2179" y="785"/>
                    </a:lnTo>
                    <a:lnTo>
                      <a:pt x="2168" y="793"/>
                    </a:lnTo>
                    <a:lnTo>
                      <a:pt x="2164" y="793"/>
                    </a:lnTo>
                    <a:lnTo>
                      <a:pt x="2161" y="795"/>
                    </a:lnTo>
                    <a:lnTo>
                      <a:pt x="2158" y="796"/>
                    </a:lnTo>
                    <a:lnTo>
                      <a:pt x="2156" y="800"/>
                    </a:lnTo>
                    <a:lnTo>
                      <a:pt x="2152" y="801"/>
                    </a:lnTo>
                    <a:lnTo>
                      <a:pt x="2152" y="803"/>
                    </a:lnTo>
                    <a:lnTo>
                      <a:pt x="2147" y="803"/>
                    </a:lnTo>
                    <a:lnTo>
                      <a:pt x="2134" y="803"/>
                    </a:lnTo>
                    <a:lnTo>
                      <a:pt x="2122" y="804"/>
                    </a:lnTo>
                    <a:lnTo>
                      <a:pt x="2118" y="803"/>
                    </a:lnTo>
                    <a:lnTo>
                      <a:pt x="2115" y="804"/>
                    </a:lnTo>
                    <a:lnTo>
                      <a:pt x="2112" y="804"/>
                    </a:lnTo>
                    <a:lnTo>
                      <a:pt x="2109" y="804"/>
                    </a:lnTo>
                    <a:lnTo>
                      <a:pt x="2106" y="806"/>
                    </a:lnTo>
                    <a:lnTo>
                      <a:pt x="2101" y="806"/>
                    </a:lnTo>
                    <a:lnTo>
                      <a:pt x="2098" y="807"/>
                    </a:lnTo>
                    <a:lnTo>
                      <a:pt x="2095" y="809"/>
                    </a:lnTo>
                    <a:lnTo>
                      <a:pt x="2098" y="806"/>
                    </a:lnTo>
                    <a:lnTo>
                      <a:pt x="2101" y="804"/>
                    </a:lnTo>
                    <a:lnTo>
                      <a:pt x="2098" y="806"/>
                    </a:lnTo>
                    <a:lnTo>
                      <a:pt x="2093" y="807"/>
                    </a:lnTo>
                    <a:lnTo>
                      <a:pt x="2093" y="804"/>
                    </a:lnTo>
                    <a:lnTo>
                      <a:pt x="2090" y="803"/>
                    </a:lnTo>
                    <a:lnTo>
                      <a:pt x="2085" y="803"/>
                    </a:lnTo>
                    <a:lnTo>
                      <a:pt x="2082" y="803"/>
                    </a:lnTo>
                    <a:lnTo>
                      <a:pt x="2079" y="801"/>
                    </a:lnTo>
                    <a:lnTo>
                      <a:pt x="2074" y="801"/>
                    </a:lnTo>
                    <a:lnTo>
                      <a:pt x="2071" y="801"/>
                    </a:lnTo>
                    <a:lnTo>
                      <a:pt x="2068" y="801"/>
                    </a:lnTo>
                    <a:lnTo>
                      <a:pt x="2065" y="801"/>
                    </a:lnTo>
                    <a:lnTo>
                      <a:pt x="2061" y="801"/>
                    </a:lnTo>
                    <a:lnTo>
                      <a:pt x="2057" y="800"/>
                    </a:lnTo>
                    <a:lnTo>
                      <a:pt x="2053" y="801"/>
                    </a:lnTo>
                    <a:lnTo>
                      <a:pt x="2050" y="803"/>
                    </a:lnTo>
                    <a:lnTo>
                      <a:pt x="2047" y="803"/>
                    </a:lnTo>
                    <a:lnTo>
                      <a:pt x="2044" y="804"/>
                    </a:lnTo>
                    <a:lnTo>
                      <a:pt x="2041" y="801"/>
                    </a:lnTo>
                    <a:lnTo>
                      <a:pt x="2036" y="801"/>
                    </a:lnTo>
                    <a:lnTo>
                      <a:pt x="2033" y="800"/>
                    </a:lnTo>
                    <a:lnTo>
                      <a:pt x="2030" y="800"/>
                    </a:lnTo>
                    <a:lnTo>
                      <a:pt x="2026" y="801"/>
                    </a:lnTo>
                    <a:lnTo>
                      <a:pt x="2022" y="801"/>
                    </a:lnTo>
                    <a:lnTo>
                      <a:pt x="2019" y="801"/>
                    </a:lnTo>
                    <a:lnTo>
                      <a:pt x="2015" y="801"/>
                    </a:lnTo>
                    <a:lnTo>
                      <a:pt x="2014" y="800"/>
                    </a:lnTo>
                    <a:lnTo>
                      <a:pt x="2009" y="801"/>
                    </a:lnTo>
                    <a:lnTo>
                      <a:pt x="2006" y="801"/>
                    </a:lnTo>
                    <a:lnTo>
                      <a:pt x="1998" y="801"/>
                    </a:lnTo>
                    <a:lnTo>
                      <a:pt x="1988" y="801"/>
                    </a:lnTo>
                    <a:lnTo>
                      <a:pt x="1980" y="801"/>
                    </a:lnTo>
                    <a:lnTo>
                      <a:pt x="1971" y="801"/>
                    </a:lnTo>
                    <a:lnTo>
                      <a:pt x="1968" y="801"/>
                    </a:lnTo>
                    <a:lnTo>
                      <a:pt x="1963" y="801"/>
                    </a:lnTo>
                    <a:lnTo>
                      <a:pt x="1960" y="804"/>
                    </a:lnTo>
                    <a:lnTo>
                      <a:pt x="1957" y="804"/>
                    </a:lnTo>
                    <a:lnTo>
                      <a:pt x="1953" y="804"/>
                    </a:lnTo>
                    <a:lnTo>
                      <a:pt x="1950" y="801"/>
                    </a:lnTo>
                    <a:lnTo>
                      <a:pt x="1947" y="803"/>
                    </a:lnTo>
                    <a:lnTo>
                      <a:pt x="1947" y="807"/>
                    </a:lnTo>
                    <a:lnTo>
                      <a:pt x="1944" y="806"/>
                    </a:lnTo>
                    <a:lnTo>
                      <a:pt x="1942" y="804"/>
                    </a:lnTo>
                    <a:lnTo>
                      <a:pt x="1939" y="809"/>
                    </a:lnTo>
                    <a:lnTo>
                      <a:pt x="1934" y="811"/>
                    </a:lnTo>
                    <a:lnTo>
                      <a:pt x="1931" y="812"/>
                    </a:lnTo>
                    <a:lnTo>
                      <a:pt x="1930" y="812"/>
                    </a:lnTo>
                    <a:lnTo>
                      <a:pt x="1928" y="815"/>
                    </a:lnTo>
                    <a:lnTo>
                      <a:pt x="1923" y="819"/>
                    </a:lnTo>
                    <a:lnTo>
                      <a:pt x="1920" y="820"/>
                    </a:lnTo>
                    <a:lnTo>
                      <a:pt x="1917" y="823"/>
                    </a:lnTo>
                    <a:lnTo>
                      <a:pt x="1912" y="830"/>
                    </a:lnTo>
                    <a:lnTo>
                      <a:pt x="1912" y="833"/>
                    </a:lnTo>
                    <a:lnTo>
                      <a:pt x="1906" y="838"/>
                    </a:lnTo>
                    <a:lnTo>
                      <a:pt x="1904" y="839"/>
                    </a:lnTo>
                    <a:lnTo>
                      <a:pt x="1901" y="839"/>
                    </a:lnTo>
                    <a:lnTo>
                      <a:pt x="1893" y="839"/>
                    </a:lnTo>
                    <a:lnTo>
                      <a:pt x="1890" y="841"/>
                    </a:lnTo>
                    <a:lnTo>
                      <a:pt x="1887" y="841"/>
                    </a:lnTo>
                    <a:lnTo>
                      <a:pt x="1884" y="841"/>
                    </a:lnTo>
                    <a:lnTo>
                      <a:pt x="1879" y="842"/>
                    </a:lnTo>
                    <a:lnTo>
                      <a:pt x="1876" y="844"/>
                    </a:lnTo>
                    <a:lnTo>
                      <a:pt x="1874" y="844"/>
                    </a:lnTo>
                    <a:lnTo>
                      <a:pt x="1874" y="847"/>
                    </a:lnTo>
                    <a:lnTo>
                      <a:pt x="1871" y="847"/>
                    </a:lnTo>
                    <a:lnTo>
                      <a:pt x="1868" y="849"/>
                    </a:lnTo>
                    <a:lnTo>
                      <a:pt x="1869" y="846"/>
                    </a:lnTo>
                    <a:lnTo>
                      <a:pt x="1869" y="844"/>
                    </a:lnTo>
                    <a:lnTo>
                      <a:pt x="1868" y="847"/>
                    </a:lnTo>
                    <a:lnTo>
                      <a:pt x="1865" y="849"/>
                    </a:lnTo>
                    <a:lnTo>
                      <a:pt x="1860" y="850"/>
                    </a:lnTo>
                    <a:lnTo>
                      <a:pt x="1857" y="853"/>
                    </a:lnTo>
                    <a:lnTo>
                      <a:pt x="1854" y="855"/>
                    </a:lnTo>
                    <a:lnTo>
                      <a:pt x="1850" y="858"/>
                    </a:lnTo>
                    <a:lnTo>
                      <a:pt x="1846" y="860"/>
                    </a:lnTo>
                    <a:lnTo>
                      <a:pt x="1842" y="861"/>
                    </a:lnTo>
                    <a:lnTo>
                      <a:pt x="1842" y="861"/>
                    </a:lnTo>
                    <a:lnTo>
                      <a:pt x="1839" y="866"/>
                    </a:lnTo>
                    <a:lnTo>
                      <a:pt x="1836" y="868"/>
                    </a:lnTo>
                    <a:lnTo>
                      <a:pt x="1831" y="871"/>
                    </a:lnTo>
                    <a:lnTo>
                      <a:pt x="1830" y="874"/>
                    </a:lnTo>
                    <a:lnTo>
                      <a:pt x="1827" y="877"/>
                    </a:lnTo>
                    <a:lnTo>
                      <a:pt x="1822" y="880"/>
                    </a:lnTo>
                    <a:lnTo>
                      <a:pt x="1816" y="884"/>
                    </a:lnTo>
                    <a:lnTo>
                      <a:pt x="1812" y="887"/>
                    </a:lnTo>
                    <a:lnTo>
                      <a:pt x="1809" y="885"/>
                    </a:lnTo>
                    <a:lnTo>
                      <a:pt x="1806" y="882"/>
                    </a:lnTo>
                    <a:lnTo>
                      <a:pt x="1804" y="880"/>
                    </a:lnTo>
                    <a:lnTo>
                      <a:pt x="1801" y="880"/>
                    </a:lnTo>
                    <a:lnTo>
                      <a:pt x="1798" y="879"/>
                    </a:lnTo>
                    <a:lnTo>
                      <a:pt x="1793" y="877"/>
                    </a:lnTo>
                    <a:lnTo>
                      <a:pt x="1790" y="877"/>
                    </a:lnTo>
                    <a:lnTo>
                      <a:pt x="1787" y="876"/>
                    </a:lnTo>
                    <a:lnTo>
                      <a:pt x="1784" y="874"/>
                    </a:lnTo>
                    <a:lnTo>
                      <a:pt x="1781" y="874"/>
                    </a:lnTo>
                    <a:lnTo>
                      <a:pt x="1776" y="872"/>
                    </a:lnTo>
                    <a:lnTo>
                      <a:pt x="1774" y="874"/>
                    </a:lnTo>
                    <a:lnTo>
                      <a:pt x="1777" y="874"/>
                    </a:lnTo>
                    <a:lnTo>
                      <a:pt x="1781" y="876"/>
                    </a:lnTo>
                    <a:lnTo>
                      <a:pt x="1777" y="879"/>
                    </a:lnTo>
                    <a:lnTo>
                      <a:pt x="1781" y="877"/>
                    </a:lnTo>
                    <a:lnTo>
                      <a:pt x="1785" y="877"/>
                    </a:lnTo>
                    <a:lnTo>
                      <a:pt x="1789" y="877"/>
                    </a:lnTo>
                    <a:lnTo>
                      <a:pt x="1792" y="877"/>
                    </a:lnTo>
                    <a:lnTo>
                      <a:pt x="1795" y="880"/>
                    </a:lnTo>
                    <a:lnTo>
                      <a:pt x="1800" y="882"/>
                    </a:lnTo>
                    <a:lnTo>
                      <a:pt x="1803" y="882"/>
                    </a:lnTo>
                    <a:lnTo>
                      <a:pt x="1804" y="882"/>
                    </a:lnTo>
                    <a:lnTo>
                      <a:pt x="1808" y="885"/>
                    </a:lnTo>
                    <a:lnTo>
                      <a:pt x="1811" y="887"/>
                    </a:lnTo>
                    <a:lnTo>
                      <a:pt x="1808" y="890"/>
                    </a:lnTo>
                    <a:lnTo>
                      <a:pt x="1804" y="895"/>
                    </a:lnTo>
                    <a:lnTo>
                      <a:pt x="1801" y="898"/>
                    </a:lnTo>
                    <a:lnTo>
                      <a:pt x="1798" y="901"/>
                    </a:lnTo>
                    <a:lnTo>
                      <a:pt x="1795" y="903"/>
                    </a:lnTo>
                    <a:lnTo>
                      <a:pt x="1792" y="904"/>
                    </a:lnTo>
                    <a:lnTo>
                      <a:pt x="1789" y="907"/>
                    </a:lnTo>
                    <a:lnTo>
                      <a:pt x="1785" y="911"/>
                    </a:lnTo>
                    <a:lnTo>
                      <a:pt x="1782" y="912"/>
                    </a:lnTo>
                    <a:lnTo>
                      <a:pt x="1776" y="914"/>
                    </a:lnTo>
                    <a:lnTo>
                      <a:pt x="1771" y="918"/>
                    </a:lnTo>
                    <a:lnTo>
                      <a:pt x="1766" y="923"/>
                    </a:lnTo>
                    <a:lnTo>
                      <a:pt x="1762" y="928"/>
                    </a:lnTo>
                    <a:lnTo>
                      <a:pt x="1755" y="930"/>
                    </a:lnTo>
                    <a:lnTo>
                      <a:pt x="1752" y="931"/>
                    </a:lnTo>
                    <a:lnTo>
                      <a:pt x="1749" y="934"/>
                    </a:lnTo>
                    <a:lnTo>
                      <a:pt x="1746" y="936"/>
                    </a:lnTo>
                    <a:lnTo>
                      <a:pt x="1743" y="939"/>
                    </a:lnTo>
                    <a:lnTo>
                      <a:pt x="1738" y="941"/>
                    </a:lnTo>
                    <a:lnTo>
                      <a:pt x="1738" y="941"/>
                    </a:lnTo>
                    <a:lnTo>
                      <a:pt x="1738" y="942"/>
                    </a:lnTo>
                    <a:lnTo>
                      <a:pt x="1738" y="942"/>
                    </a:lnTo>
                    <a:lnTo>
                      <a:pt x="1741" y="941"/>
                    </a:lnTo>
                    <a:lnTo>
                      <a:pt x="1746" y="937"/>
                    </a:lnTo>
                    <a:lnTo>
                      <a:pt x="1749" y="937"/>
                    </a:lnTo>
                    <a:lnTo>
                      <a:pt x="1758" y="934"/>
                    </a:lnTo>
                    <a:lnTo>
                      <a:pt x="1766" y="931"/>
                    </a:lnTo>
                    <a:lnTo>
                      <a:pt x="1776" y="926"/>
                    </a:lnTo>
                    <a:lnTo>
                      <a:pt x="1782" y="918"/>
                    </a:lnTo>
                    <a:lnTo>
                      <a:pt x="1785" y="918"/>
                    </a:lnTo>
                    <a:lnTo>
                      <a:pt x="1790" y="914"/>
                    </a:lnTo>
                    <a:lnTo>
                      <a:pt x="1792" y="912"/>
                    </a:lnTo>
                    <a:lnTo>
                      <a:pt x="1795" y="911"/>
                    </a:lnTo>
                    <a:lnTo>
                      <a:pt x="1800" y="907"/>
                    </a:lnTo>
                    <a:lnTo>
                      <a:pt x="1808" y="901"/>
                    </a:lnTo>
                    <a:lnTo>
                      <a:pt x="1817" y="893"/>
                    </a:lnTo>
                    <a:lnTo>
                      <a:pt x="1825" y="888"/>
                    </a:lnTo>
                    <a:lnTo>
                      <a:pt x="1833" y="882"/>
                    </a:lnTo>
                    <a:lnTo>
                      <a:pt x="1842" y="877"/>
                    </a:lnTo>
                    <a:lnTo>
                      <a:pt x="1852" y="874"/>
                    </a:lnTo>
                    <a:lnTo>
                      <a:pt x="1854" y="874"/>
                    </a:lnTo>
                    <a:lnTo>
                      <a:pt x="1858" y="871"/>
                    </a:lnTo>
                    <a:lnTo>
                      <a:pt x="1861" y="869"/>
                    </a:lnTo>
                    <a:lnTo>
                      <a:pt x="1865" y="868"/>
                    </a:lnTo>
                    <a:lnTo>
                      <a:pt x="1868" y="866"/>
                    </a:lnTo>
                    <a:lnTo>
                      <a:pt x="1873" y="865"/>
                    </a:lnTo>
                    <a:lnTo>
                      <a:pt x="1876" y="865"/>
                    </a:lnTo>
                    <a:lnTo>
                      <a:pt x="1879" y="863"/>
                    </a:lnTo>
                    <a:lnTo>
                      <a:pt x="1882" y="861"/>
                    </a:lnTo>
                    <a:lnTo>
                      <a:pt x="1892" y="858"/>
                    </a:lnTo>
                    <a:lnTo>
                      <a:pt x="1900" y="855"/>
                    </a:lnTo>
                    <a:lnTo>
                      <a:pt x="1917" y="850"/>
                    </a:lnTo>
                    <a:lnTo>
                      <a:pt x="1934" y="846"/>
                    </a:lnTo>
                    <a:lnTo>
                      <a:pt x="1942" y="844"/>
                    </a:lnTo>
                    <a:lnTo>
                      <a:pt x="1952" y="842"/>
                    </a:lnTo>
                    <a:lnTo>
                      <a:pt x="1958" y="842"/>
                    </a:lnTo>
                    <a:lnTo>
                      <a:pt x="1966" y="842"/>
                    </a:lnTo>
                    <a:lnTo>
                      <a:pt x="1971" y="842"/>
                    </a:lnTo>
                    <a:lnTo>
                      <a:pt x="1977" y="842"/>
                    </a:lnTo>
                    <a:lnTo>
                      <a:pt x="1980" y="844"/>
                    </a:lnTo>
                    <a:lnTo>
                      <a:pt x="1984" y="846"/>
                    </a:lnTo>
                    <a:lnTo>
                      <a:pt x="1988" y="847"/>
                    </a:lnTo>
                    <a:lnTo>
                      <a:pt x="1992" y="849"/>
                    </a:lnTo>
                    <a:lnTo>
                      <a:pt x="1995" y="852"/>
                    </a:lnTo>
                    <a:lnTo>
                      <a:pt x="1998" y="857"/>
                    </a:lnTo>
                    <a:lnTo>
                      <a:pt x="1996" y="860"/>
                    </a:lnTo>
                    <a:lnTo>
                      <a:pt x="1993" y="858"/>
                    </a:lnTo>
                    <a:lnTo>
                      <a:pt x="1990" y="858"/>
                    </a:lnTo>
                    <a:lnTo>
                      <a:pt x="1988" y="858"/>
                    </a:lnTo>
                    <a:lnTo>
                      <a:pt x="1988" y="858"/>
                    </a:lnTo>
                    <a:lnTo>
                      <a:pt x="1990" y="860"/>
                    </a:lnTo>
                    <a:lnTo>
                      <a:pt x="1988" y="861"/>
                    </a:lnTo>
                    <a:lnTo>
                      <a:pt x="1990" y="861"/>
                    </a:lnTo>
                    <a:lnTo>
                      <a:pt x="1993" y="865"/>
                    </a:lnTo>
                    <a:lnTo>
                      <a:pt x="1992" y="868"/>
                    </a:lnTo>
                    <a:lnTo>
                      <a:pt x="1992" y="871"/>
                    </a:lnTo>
                    <a:lnTo>
                      <a:pt x="1988" y="872"/>
                    </a:lnTo>
                    <a:lnTo>
                      <a:pt x="1985" y="876"/>
                    </a:lnTo>
                    <a:lnTo>
                      <a:pt x="1982" y="876"/>
                    </a:lnTo>
                    <a:lnTo>
                      <a:pt x="1977" y="877"/>
                    </a:lnTo>
                    <a:lnTo>
                      <a:pt x="1974" y="877"/>
                    </a:lnTo>
                    <a:lnTo>
                      <a:pt x="1973" y="879"/>
                    </a:lnTo>
                    <a:lnTo>
                      <a:pt x="1971" y="882"/>
                    </a:lnTo>
                    <a:lnTo>
                      <a:pt x="1966" y="884"/>
                    </a:lnTo>
                    <a:lnTo>
                      <a:pt x="1963" y="885"/>
                    </a:lnTo>
                    <a:lnTo>
                      <a:pt x="1960" y="887"/>
                    </a:lnTo>
                    <a:lnTo>
                      <a:pt x="1957" y="888"/>
                    </a:lnTo>
                    <a:lnTo>
                      <a:pt x="1953" y="890"/>
                    </a:lnTo>
                    <a:lnTo>
                      <a:pt x="1949" y="891"/>
                    </a:lnTo>
                    <a:lnTo>
                      <a:pt x="1946" y="891"/>
                    </a:lnTo>
                    <a:lnTo>
                      <a:pt x="1942" y="890"/>
                    </a:lnTo>
                    <a:lnTo>
                      <a:pt x="1939" y="888"/>
                    </a:lnTo>
                    <a:lnTo>
                      <a:pt x="1934" y="887"/>
                    </a:lnTo>
                    <a:lnTo>
                      <a:pt x="1934" y="885"/>
                    </a:lnTo>
                    <a:lnTo>
                      <a:pt x="1931" y="885"/>
                    </a:lnTo>
                    <a:lnTo>
                      <a:pt x="1928" y="887"/>
                    </a:lnTo>
                    <a:lnTo>
                      <a:pt x="1923" y="887"/>
                    </a:lnTo>
                    <a:lnTo>
                      <a:pt x="1914" y="887"/>
                    </a:lnTo>
                    <a:lnTo>
                      <a:pt x="1911" y="888"/>
                    </a:lnTo>
                    <a:lnTo>
                      <a:pt x="1909" y="890"/>
                    </a:lnTo>
                    <a:lnTo>
                      <a:pt x="1901" y="891"/>
                    </a:lnTo>
                    <a:lnTo>
                      <a:pt x="1904" y="893"/>
                    </a:lnTo>
                    <a:lnTo>
                      <a:pt x="1907" y="891"/>
                    </a:lnTo>
                    <a:lnTo>
                      <a:pt x="1911" y="890"/>
                    </a:lnTo>
                    <a:lnTo>
                      <a:pt x="1915" y="888"/>
                    </a:lnTo>
                    <a:lnTo>
                      <a:pt x="1923" y="893"/>
                    </a:lnTo>
                    <a:lnTo>
                      <a:pt x="1933" y="896"/>
                    </a:lnTo>
                    <a:lnTo>
                      <a:pt x="1933" y="899"/>
                    </a:lnTo>
                    <a:lnTo>
                      <a:pt x="1933" y="904"/>
                    </a:lnTo>
                    <a:lnTo>
                      <a:pt x="1933" y="907"/>
                    </a:lnTo>
                    <a:lnTo>
                      <a:pt x="1933" y="907"/>
                    </a:lnTo>
                    <a:lnTo>
                      <a:pt x="1936" y="904"/>
                    </a:lnTo>
                    <a:lnTo>
                      <a:pt x="1941" y="904"/>
                    </a:lnTo>
                    <a:lnTo>
                      <a:pt x="1944" y="901"/>
                    </a:lnTo>
                    <a:lnTo>
                      <a:pt x="1947" y="899"/>
                    </a:lnTo>
                    <a:lnTo>
                      <a:pt x="1950" y="898"/>
                    </a:lnTo>
                    <a:lnTo>
                      <a:pt x="1953" y="898"/>
                    </a:lnTo>
                    <a:lnTo>
                      <a:pt x="1958" y="899"/>
                    </a:lnTo>
                    <a:lnTo>
                      <a:pt x="1961" y="899"/>
                    </a:lnTo>
                    <a:lnTo>
                      <a:pt x="1961" y="903"/>
                    </a:lnTo>
                    <a:lnTo>
                      <a:pt x="1965" y="903"/>
                    </a:lnTo>
                    <a:lnTo>
                      <a:pt x="1957" y="911"/>
                    </a:lnTo>
                    <a:lnTo>
                      <a:pt x="1950" y="918"/>
                    </a:lnTo>
                    <a:lnTo>
                      <a:pt x="1942" y="923"/>
                    </a:lnTo>
                    <a:lnTo>
                      <a:pt x="1933" y="928"/>
                    </a:lnTo>
                    <a:lnTo>
                      <a:pt x="1936" y="928"/>
                    </a:lnTo>
                    <a:lnTo>
                      <a:pt x="1938" y="930"/>
                    </a:lnTo>
                    <a:lnTo>
                      <a:pt x="1941" y="928"/>
                    </a:lnTo>
                    <a:lnTo>
                      <a:pt x="1944" y="928"/>
                    </a:lnTo>
                    <a:lnTo>
                      <a:pt x="1949" y="928"/>
                    </a:lnTo>
                    <a:lnTo>
                      <a:pt x="1950" y="931"/>
                    </a:lnTo>
                    <a:lnTo>
                      <a:pt x="1947" y="934"/>
                    </a:lnTo>
                    <a:lnTo>
                      <a:pt x="1944" y="937"/>
                    </a:lnTo>
                    <a:lnTo>
                      <a:pt x="1946" y="941"/>
                    </a:lnTo>
                    <a:lnTo>
                      <a:pt x="1946" y="945"/>
                    </a:lnTo>
                    <a:lnTo>
                      <a:pt x="1946" y="949"/>
                    </a:lnTo>
                    <a:lnTo>
                      <a:pt x="1947" y="952"/>
                    </a:lnTo>
                    <a:lnTo>
                      <a:pt x="1947" y="955"/>
                    </a:lnTo>
                    <a:lnTo>
                      <a:pt x="1944" y="958"/>
                    </a:lnTo>
                    <a:lnTo>
                      <a:pt x="1947" y="958"/>
                    </a:lnTo>
                    <a:lnTo>
                      <a:pt x="1947" y="961"/>
                    </a:lnTo>
                    <a:lnTo>
                      <a:pt x="1953" y="963"/>
                    </a:lnTo>
                    <a:lnTo>
                      <a:pt x="1957" y="963"/>
                    </a:lnTo>
                    <a:lnTo>
                      <a:pt x="1960" y="964"/>
                    </a:lnTo>
                    <a:lnTo>
                      <a:pt x="1963" y="964"/>
                    </a:lnTo>
                    <a:lnTo>
                      <a:pt x="1968" y="966"/>
                    </a:lnTo>
                    <a:lnTo>
                      <a:pt x="1969" y="966"/>
                    </a:lnTo>
                    <a:lnTo>
                      <a:pt x="1966" y="969"/>
                    </a:lnTo>
                    <a:lnTo>
                      <a:pt x="1961" y="969"/>
                    </a:lnTo>
                    <a:lnTo>
                      <a:pt x="1958" y="971"/>
                    </a:lnTo>
                    <a:lnTo>
                      <a:pt x="1960" y="972"/>
                    </a:lnTo>
                    <a:lnTo>
                      <a:pt x="1963" y="972"/>
                    </a:lnTo>
                    <a:lnTo>
                      <a:pt x="1966" y="976"/>
                    </a:lnTo>
                    <a:lnTo>
                      <a:pt x="1969" y="977"/>
                    </a:lnTo>
                    <a:lnTo>
                      <a:pt x="1973" y="977"/>
                    </a:lnTo>
                    <a:lnTo>
                      <a:pt x="1976" y="977"/>
                    </a:lnTo>
                    <a:lnTo>
                      <a:pt x="1979" y="979"/>
                    </a:lnTo>
                    <a:lnTo>
                      <a:pt x="1982" y="982"/>
                    </a:lnTo>
                    <a:lnTo>
                      <a:pt x="1987" y="982"/>
                    </a:lnTo>
                    <a:lnTo>
                      <a:pt x="1990" y="980"/>
                    </a:lnTo>
                    <a:lnTo>
                      <a:pt x="1993" y="980"/>
                    </a:lnTo>
                    <a:lnTo>
                      <a:pt x="1996" y="982"/>
                    </a:lnTo>
                    <a:lnTo>
                      <a:pt x="2001" y="983"/>
                    </a:lnTo>
                    <a:lnTo>
                      <a:pt x="1996" y="983"/>
                    </a:lnTo>
                    <a:lnTo>
                      <a:pt x="1995" y="987"/>
                    </a:lnTo>
                    <a:lnTo>
                      <a:pt x="1999" y="987"/>
                    </a:lnTo>
                    <a:lnTo>
                      <a:pt x="2003" y="985"/>
                    </a:lnTo>
                    <a:lnTo>
                      <a:pt x="2006" y="987"/>
                    </a:lnTo>
                    <a:lnTo>
                      <a:pt x="2009" y="983"/>
                    </a:lnTo>
                    <a:lnTo>
                      <a:pt x="2012" y="983"/>
                    </a:lnTo>
                    <a:lnTo>
                      <a:pt x="2017" y="982"/>
                    </a:lnTo>
                    <a:lnTo>
                      <a:pt x="2020" y="980"/>
                    </a:lnTo>
                    <a:lnTo>
                      <a:pt x="2023" y="977"/>
                    </a:lnTo>
                    <a:lnTo>
                      <a:pt x="2025" y="980"/>
                    </a:lnTo>
                    <a:lnTo>
                      <a:pt x="2025" y="985"/>
                    </a:lnTo>
                    <a:lnTo>
                      <a:pt x="2028" y="987"/>
                    </a:lnTo>
                    <a:lnTo>
                      <a:pt x="2033" y="987"/>
                    </a:lnTo>
                    <a:lnTo>
                      <a:pt x="2036" y="983"/>
                    </a:lnTo>
                    <a:lnTo>
                      <a:pt x="2039" y="987"/>
                    </a:lnTo>
                    <a:lnTo>
                      <a:pt x="2039" y="988"/>
                    </a:lnTo>
                    <a:lnTo>
                      <a:pt x="2042" y="991"/>
                    </a:lnTo>
                    <a:lnTo>
                      <a:pt x="2039" y="995"/>
                    </a:lnTo>
                    <a:lnTo>
                      <a:pt x="2036" y="995"/>
                    </a:lnTo>
                    <a:lnTo>
                      <a:pt x="2039" y="998"/>
                    </a:lnTo>
                    <a:lnTo>
                      <a:pt x="2039" y="998"/>
                    </a:lnTo>
                    <a:lnTo>
                      <a:pt x="2044" y="998"/>
                    </a:lnTo>
                    <a:lnTo>
                      <a:pt x="2047" y="998"/>
                    </a:lnTo>
                    <a:lnTo>
                      <a:pt x="2045" y="1001"/>
                    </a:lnTo>
                    <a:lnTo>
                      <a:pt x="2042" y="1002"/>
                    </a:lnTo>
                    <a:lnTo>
                      <a:pt x="2038" y="1002"/>
                    </a:lnTo>
                    <a:lnTo>
                      <a:pt x="2034" y="1002"/>
                    </a:lnTo>
                    <a:lnTo>
                      <a:pt x="2031" y="1006"/>
                    </a:lnTo>
                    <a:lnTo>
                      <a:pt x="2028" y="1006"/>
                    </a:lnTo>
                    <a:lnTo>
                      <a:pt x="2025" y="1006"/>
                    </a:lnTo>
                    <a:lnTo>
                      <a:pt x="2022" y="1007"/>
                    </a:lnTo>
                    <a:lnTo>
                      <a:pt x="2017" y="1009"/>
                    </a:lnTo>
                    <a:lnTo>
                      <a:pt x="2015" y="1010"/>
                    </a:lnTo>
                    <a:lnTo>
                      <a:pt x="2012" y="1010"/>
                    </a:lnTo>
                    <a:lnTo>
                      <a:pt x="2011" y="1012"/>
                    </a:lnTo>
                    <a:lnTo>
                      <a:pt x="2007" y="1012"/>
                    </a:lnTo>
                    <a:lnTo>
                      <a:pt x="1996" y="1015"/>
                    </a:lnTo>
                    <a:lnTo>
                      <a:pt x="1985" y="1020"/>
                    </a:lnTo>
                    <a:lnTo>
                      <a:pt x="1982" y="1020"/>
                    </a:lnTo>
                    <a:lnTo>
                      <a:pt x="1979" y="1023"/>
                    </a:lnTo>
                    <a:lnTo>
                      <a:pt x="1976" y="1023"/>
                    </a:lnTo>
                    <a:lnTo>
                      <a:pt x="1973" y="1023"/>
                    </a:lnTo>
                    <a:lnTo>
                      <a:pt x="1968" y="1025"/>
                    </a:lnTo>
                    <a:lnTo>
                      <a:pt x="1965" y="1026"/>
                    </a:lnTo>
                    <a:lnTo>
                      <a:pt x="1965" y="1026"/>
                    </a:lnTo>
                    <a:lnTo>
                      <a:pt x="1961" y="1026"/>
                    </a:lnTo>
                    <a:lnTo>
                      <a:pt x="1957" y="1026"/>
                    </a:lnTo>
                    <a:lnTo>
                      <a:pt x="1955" y="1025"/>
                    </a:lnTo>
                    <a:lnTo>
                      <a:pt x="1953" y="1023"/>
                    </a:lnTo>
                    <a:lnTo>
                      <a:pt x="1955" y="1028"/>
                    </a:lnTo>
                    <a:lnTo>
                      <a:pt x="1955" y="1031"/>
                    </a:lnTo>
                    <a:lnTo>
                      <a:pt x="1952" y="1033"/>
                    </a:lnTo>
                    <a:lnTo>
                      <a:pt x="1947" y="1034"/>
                    </a:lnTo>
                    <a:lnTo>
                      <a:pt x="1944" y="1031"/>
                    </a:lnTo>
                    <a:lnTo>
                      <a:pt x="1942" y="1028"/>
                    </a:lnTo>
                    <a:lnTo>
                      <a:pt x="1946" y="1025"/>
                    </a:lnTo>
                    <a:lnTo>
                      <a:pt x="1942" y="1026"/>
                    </a:lnTo>
                    <a:lnTo>
                      <a:pt x="1938" y="1028"/>
                    </a:lnTo>
                    <a:lnTo>
                      <a:pt x="1939" y="1031"/>
                    </a:lnTo>
                    <a:lnTo>
                      <a:pt x="1934" y="1033"/>
                    </a:lnTo>
                    <a:lnTo>
                      <a:pt x="1936" y="1029"/>
                    </a:lnTo>
                    <a:lnTo>
                      <a:pt x="1931" y="1031"/>
                    </a:lnTo>
                    <a:lnTo>
                      <a:pt x="1928" y="1033"/>
                    </a:lnTo>
                    <a:lnTo>
                      <a:pt x="1928" y="1036"/>
                    </a:lnTo>
                    <a:lnTo>
                      <a:pt x="1927" y="1036"/>
                    </a:lnTo>
                    <a:lnTo>
                      <a:pt x="1927" y="1041"/>
                    </a:lnTo>
                    <a:lnTo>
                      <a:pt x="1923" y="1039"/>
                    </a:lnTo>
                    <a:lnTo>
                      <a:pt x="1922" y="1042"/>
                    </a:lnTo>
                    <a:lnTo>
                      <a:pt x="1919" y="1045"/>
                    </a:lnTo>
                    <a:lnTo>
                      <a:pt x="1915" y="1047"/>
                    </a:lnTo>
                    <a:lnTo>
                      <a:pt x="1914" y="1047"/>
                    </a:lnTo>
                    <a:lnTo>
                      <a:pt x="1911" y="1050"/>
                    </a:lnTo>
                    <a:lnTo>
                      <a:pt x="1907" y="1053"/>
                    </a:lnTo>
                    <a:lnTo>
                      <a:pt x="1904" y="1053"/>
                    </a:lnTo>
                    <a:lnTo>
                      <a:pt x="1903" y="1058"/>
                    </a:lnTo>
                    <a:lnTo>
                      <a:pt x="1900" y="1060"/>
                    </a:lnTo>
                    <a:lnTo>
                      <a:pt x="1896" y="1061"/>
                    </a:lnTo>
                    <a:lnTo>
                      <a:pt x="1893" y="1064"/>
                    </a:lnTo>
                    <a:lnTo>
                      <a:pt x="1890" y="1064"/>
                    </a:lnTo>
                    <a:lnTo>
                      <a:pt x="1888" y="1061"/>
                    </a:lnTo>
                    <a:lnTo>
                      <a:pt x="1887" y="1064"/>
                    </a:lnTo>
                    <a:lnTo>
                      <a:pt x="1884" y="1063"/>
                    </a:lnTo>
                    <a:lnTo>
                      <a:pt x="1884" y="1066"/>
                    </a:lnTo>
                    <a:lnTo>
                      <a:pt x="1882" y="1069"/>
                    </a:lnTo>
                    <a:lnTo>
                      <a:pt x="1879" y="1069"/>
                    </a:lnTo>
                    <a:lnTo>
                      <a:pt x="1876" y="1074"/>
                    </a:lnTo>
                    <a:lnTo>
                      <a:pt x="1874" y="1071"/>
                    </a:lnTo>
                    <a:lnTo>
                      <a:pt x="1871" y="1071"/>
                    </a:lnTo>
                    <a:lnTo>
                      <a:pt x="1868" y="1071"/>
                    </a:lnTo>
                    <a:lnTo>
                      <a:pt x="1869" y="1066"/>
                    </a:lnTo>
                    <a:lnTo>
                      <a:pt x="1868" y="1063"/>
                    </a:lnTo>
                    <a:lnTo>
                      <a:pt x="1866" y="1060"/>
                    </a:lnTo>
                    <a:lnTo>
                      <a:pt x="1863" y="1063"/>
                    </a:lnTo>
                    <a:lnTo>
                      <a:pt x="1861" y="1064"/>
                    </a:lnTo>
                    <a:lnTo>
                      <a:pt x="1860" y="1060"/>
                    </a:lnTo>
                    <a:lnTo>
                      <a:pt x="1860" y="1056"/>
                    </a:lnTo>
                    <a:lnTo>
                      <a:pt x="1861" y="1052"/>
                    </a:lnTo>
                    <a:lnTo>
                      <a:pt x="1861" y="1047"/>
                    </a:lnTo>
                    <a:lnTo>
                      <a:pt x="1866" y="1041"/>
                    </a:lnTo>
                    <a:lnTo>
                      <a:pt x="1869" y="1036"/>
                    </a:lnTo>
                    <a:lnTo>
                      <a:pt x="1873" y="1034"/>
                    </a:lnTo>
                    <a:lnTo>
                      <a:pt x="1881" y="1029"/>
                    </a:lnTo>
                    <a:lnTo>
                      <a:pt x="1876" y="1029"/>
                    </a:lnTo>
                    <a:lnTo>
                      <a:pt x="1873" y="1031"/>
                    </a:lnTo>
                    <a:lnTo>
                      <a:pt x="1869" y="1034"/>
                    </a:lnTo>
                    <a:lnTo>
                      <a:pt x="1866" y="1036"/>
                    </a:lnTo>
                    <a:lnTo>
                      <a:pt x="1874" y="1029"/>
                    </a:lnTo>
                    <a:lnTo>
                      <a:pt x="1884" y="1025"/>
                    </a:lnTo>
                    <a:lnTo>
                      <a:pt x="1884" y="1028"/>
                    </a:lnTo>
                    <a:lnTo>
                      <a:pt x="1887" y="1026"/>
                    </a:lnTo>
                    <a:lnTo>
                      <a:pt x="1892" y="1023"/>
                    </a:lnTo>
                    <a:lnTo>
                      <a:pt x="1895" y="1022"/>
                    </a:lnTo>
                    <a:lnTo>
                      <a:pt x="1887" y="1025"/>
                    </a:lnTo>
                    <a:lnTo>
                      <a:pt x="1892" y="1020"/>
                    </a:lnTo>
                    <a:lnTo>
                      <a:pt x="1895" y="1018"/>
                    </a:lnTo>
                    <a:lnTo>
                      <a:pt x="1898" y="1017"/>
                    </a:lnTo>
                    <a:lnTo>
                      <a:pt x="1901" y="1015"/>
                    </a:lnTo>
                    <a:lnTo>
                      <a:pt x="1909" y="1012"/>
                    </a:lnTo>
                    <a:lnTo>
                      <a:pt x="1912" y="1010"/>
                    </a:lnTo>
                    <a:lnTo>
                      <a:pt x="1925" y="1004"/>
                    </a:lnTo>
                    <a:lnTo>
                      <a:pt x="1938" y="1001"/>
                    </a:lnTo>
                    <a:lnTo>
                      <a:pt x="1938" y="1004"/>
                    </a:lnTo>
                    <a:lnTo>
                      <a:pt x="1936" y="1007"/>
                    </a:lnTo>
                    <a:lnTo>
                      <a:pt x="1939" y="1006"/>
                    </a:lnTo>
                    <a:lnTo>
                      <a:pt x="1942" y="1010"/>
                    </a:lnTo>
                    <a:lnTo>
                      <a:pt x="1941" y="1012"/>
                    </a:lnTo>
                    <a:lnTo>
                      <a:pt x="1942" y="1012"/>
                    </a:lnTo>
                    <a:lnTo>
                      <a:pt x="1942" y="1009"/>
                    </a:lnTo>
                    <a:lnTo>
                      <a:pt x="1942" y="1006"/>
                    </a:lnTo>
                    <a:lnTo>
                      <a:pt x="1944" y="1004"/>
                    </a:lnTo>
                    <a:lnTo>
                      <a:pt x="1946" y="1004"/>
                    </a:lnTo>
                    <a:lnTo>
                      <a:pt x="1949" y="1002"/>
                    </a:lnTo>
                    <a:lnTo>
                      <a:pt x="1953" y="1001"/>
                    </a:lnTo>
                    <a:lnTo>
                      <a:pt x="1958" y="999"/>
                    </a:lnTo>
                    <a:lnTo>
                      <a:pt x="1961" y="999"/>
                    </a:lnTo>
                    <a:lnTo>
                      <a:pt x="1968" y="999"/>
                    </a:lnTo>
                    <a:lnTo>
                      <a:pt x="1971" y="998"/>
                    </a:lnTo>
                    <a:lnTo>
                      <a:pt x="1973" y="998"/>
                    </a:lnTo>
                    <a:lnTo>
                      <a:pt x="1968" y="996"/>
                    </a:lnTo>
                    <a:lnTo>
                      <a:pt x="1965" y="996"/>
                    </a:lnTo>
                    <a:lnTo>
                      <a:pt x="1958" y="996"/>
                    </a:lnTo>
                    <a:lnTo>
                      <a:pt x="1955" y="998"/>
                    </a:lnTo>
                    <a:lnTo>
                      <a:pt x="1950" y="996"/>
                    </a:lnTo>
                    <a:lnTo>
                      <a:pt x="1947" y="996"/>
                    </a:lnTo>
                    <a:lnTo>
                      <a:pt x="1939" y="996"/>
                    </a:lnTo>
                    <a:lnTo>
                      <a:pt x="1936" y="995"/>
                    </a:lnTo>
                    <a:lnTo>
                      <a:pt x="1933" y="995"/>
                    </a:lnTo>
                    <a:lnTo>
                      <a:pt x="1931" y="995"/>
                    </a:lnTo>
                    <a:lnTo>
                      <a:pt x="1930" y="996"/>
                    </a:lnTo>
                    <a:lnTo>
                      <a:pt x="1927" y="999"/>
                    </a:lnTo>
                    <a:lnTo>
                      <a:pt x="1922" y="998"/>
                    </a:lnTo>
                    <a:lnTo>
                      <a:pt x="1923" y="995"/>
                    </a:lnTo>
                    <a:lnTo>
                      <a:pt x="1927" y="993"/>
                    </a:lnTo>
                    <a:lnTo>
                      <a:pt x="1934" y="988"/>
                    </a:lnTo>
                    <a:lnTo>
                      <a:pt x="1942" y="983"/>
                    </a:lnTo>
                    <a:lnTo>
                      <a:pt x="1949" y="979"/>
                    </a:lnTo>
                    <a:lnTo>
                      <a:pt x="1946" y="979"/>
                    </a:lnTo>
                    <a:lnTo>
                      <a:pt x="1942" y="980"/>
                    </a:lnTo>
                    <a:lnTo>
                      <a:pt x="1941" y="977"/>
                    </a:lnTo>
                    <a:lnTo>
                      <a:pt x="1939" y="974"/>
                    </a:lnTo>
                    <a:lnTo>
                      <a:pt x="1939" y="971"/>
                    </a:lnTo>
                    <a:lnTo>
                      <a:pt x="1939" y="974"/>
                    </a:lnTo>
                    <a:lnTo>
                      <a:pt x="1941" y="977"/>
                    </a:lnTo>
                    <a:lnTo>
                      <a:pt x="1936" y="980"/>
                    </a:lnTo>
                    <a:lnTo>
                      <a:pt x="1933" y="983"/>
                    </a:lnTo>
                    <a:lnTo>
                      <a:pt x="1930" y="987"/>
                    </a:lnTo>
                    <a:lnTo>
                      <a:pt x="1927" y="987"/>
                    </a:lnTo>
                    <a:lnTo>
                      <a:pt x="1923" y="988"/>
                    </a:lnTo>
                    <a:lnTo>
                      <a:pt x="1919" y="990"/>
                    </a:lnTo>
                    <a:lnTo>
                      <a:pt x="1915" y="991"/>
                    </a:lnTo>
                    <a:lnTo>
                      <a:pt x="1903" y="998"/>
                    </a:lnTo>
                    <a:lnTo>
                      <a:pt x="1887" y="1002"/>
                    </a:lnTo>
                    <a:lnTo>
                      <a:pt x="1884" y="1001"/>
                    </a:lnTo>
                    <a:lnTo>
                      <a:pt x="1884" y="1001"/>
                    </a:lnTo>
                    <a:lnTo>
                      <a:pt x="1887" y="996"/>
                    </a:lnTo>
                    <a:lnTo>
                      <a:pt x="1888" y="993"/>
                    </a:lnTo>
                    <a:lnTo>
                      <a:pt x="1885" y="996"/>
                    </a:lnTo>
                    <a:lnTo>
                      <a:pt x="1882" y="998"/>
                    </a:lnTo>
                    <a:lnTo>
                      <a:pt x="1881" y="998"/>
                    </a:lnTo>
                    <a:lnTo>
                      <a:pt x="1882" y="1002"/>
                    </a:lnTo>
                    <a:lnTo>
                      <a:pt x="1879" y="1004"/>
                    </a:lnTo>
                    <a:lnTo>
                      <a:pt x="1876" y="1004"/>
                    </a:lnTo>
                    <a:lnTo>
                      <a:pt x="1874" y="1006"/>
                    </a:lnTo>
                    <a:lnTo>
                      <a:pt x="1871" y="1007"/>
                    </a:lnTo>
                    <a:lnTo>
                      <a:pt x="1868" y="1006"/>
                    </a:lnTo>
                    <a:lnTo>
                      <a:pt x="1863" y="1007"/>
                    </a:lnTo>
                    <a:lnTo>
                      <a:pt x="1860" y="1009"/>
                    </a:lnTo>
                    <a:lnTo>
                      <a:pt x="1857" y="1009"/>
                    </a:lnTo>
                    <a:lnTo>
                      <a:pt x="1855" y="1006"/>
                    </a:lnTo>
                    <a:lnTo>
                      <a:pt x="1852" y="1006"/>
                    </a:lnTo>
                    <a:lnTo>
                      <a:pt x="1849" y="1006"/>
                    </a:lnTo>
                    <a:lnTo>
                      <a:pt x="1849" y="1002"/>
                    </a:lnTo>
                    <a:lnTo>
                      <a:pt x="1846" y="1004"/>
                    </a:lnTo>
                    <a:lnTo>
                      <a:pt x="1844" y="1004"/>
                    </a:lnTo>
                    <a:lnTo>
                      <a:pt x="1841" y="1006"/>
                    </a:lnTo>
                    <a:lnTo>
                      <a:pt x="1839" y="1002"/>
                    </a:lnTo>
                    <a:lnTo>
                      <a:pt x="1839" y="999"/>
                    </a:lnTo>
                    <a:lnTo>
                      <a:pt x="1841" y="995"/>
                    </a:lnTo>
                    <a:lnTo>
                      <a:pt x="1841" y="991"/>
                    </a:lnTo>
                    <a:lnTo>
                      <a:pt x="1844" y="988"/>
                    </a:lnTo>
                    <a:lnTo>
                      <a:pt x="1844" y="988"/>
                    </a:lnTo>
                    <a:lnTo>
                      <a:pt x="1838" y="987"/>
                    </a:lnTo>
                    <a:lnTo>
                      <a:pt x="1835" y="983"/>
                    </a:lnTo>
                    <a:lnTo>
                      <a:pt x="1836" y="980"/>
                    </a:lnTo>
                    <a:lnTo>
                      <a:pt x="1838" y="976"/>
                    </a:lnTo>
                    <a:lnTo>
                      <a:pt x="1842" y="964"/>
                    </a:lnTo>
                    <a:lnTo>
                      <a:pt x="1846" y="953"/>
                    </a:lnTo>
                    <a:lnTo>
                      <a:pt x="1850" y="942"/>
                    </a:lnTo>
                    <a:lnTo>
                      <a:pt x="1854" y="933"/>
                    </a:lnTo>
                    <a:lnTo>
                      <a:pt x="1855" y="928"/>
                    </a:lnTo>
                    <a:lnTo>
                      <a:pt x="1855" y="928"/>
                    </a:lnTo>
                    <a:lnTo>
                      <a:pt x="1852" y="925"/>
                    </a:lnTo>
                    <a:lnTo>
                      <a:pt x="1850" y="922"/>
                    </a:lnTo>
                    <a:lnTo>
                      <a:pt x="1847" y="918"/>
                    </a:lnTo>
                    <a:lnTo>
                      <a:pt x="1844" y="917"/>
                    </a:lnTo>
                    <a:lnTo>
                      <a:pt x="1841" y="920"/>
                    </a:lnTo>
                    <a:lnTo>
                      <a:pt x="1836" y="918"/>
                    </a:lnTo>
                    <a:lnTo>
                      <a:pt x="1833" y="920"/>
                    </a:lnTo>
                    <a:lnTo>
                      <a:pt x="1830" y="922"/>
                    </a:lnTo>
                    <a:lnTo>
                      <a:pt x="1827" y="923"/>
                    </a:lnTo>
                    <a:lnTo>
                      <a:pt x="1822" y="923"/>
                    </a:lnTo>
                    <a:lnTo>
                      <a:pt x="1822" y="923"/>
                    </a:lnTo>
                    <a:lnTo>
                      <a:pt x="1819" y="920"/>
                    </a:lnTo>
                    <a:lnTo>
                      <a:pt x="1820" y="917"/>
                    </a:lnTo>
                    <a:lnTo>
                      <a:pt x="1819" y="914"/>
                    </a:lnTo>
                    <a:lnTo>
                      <a:pt x="1816" y="912"/>
                    </a:lnTo>
                    <a:lnTo>
                      <a:pt x="1804" y="922"/>
                    </a:lnTo>
                    <a:lnTo>
                      <a:pt x="1793" y="931"/>
                    </a:lnTo>
                    <a:lnTo>
                      <a:pt x="1790" y="934"/>
                    </a:lnTo>
                    <a:lnTo>
                      <a:pt x="1782" y="941"/>
                    </a:lnTo>
                    <a:lnTo>
                      <a:pt x="1779" y="942"/>
                    </a:lnTo>
                    <a:lnTo>
                      <a:pt x="1779" y="944"/>
                    </a:lnTo>
                    <a:lnTo>
                      <a:pt x="1777" y="947"/>
                    </a:lnTo>
                    <a:lnTo>
                      <a:pt x="1774" y="950"/>
                    </a:lnTo>
                    <a:lnTo>
                      <a:pt x="1773" y="953"/>
                    </a:lnTo>
                    <a:lnTo>
                      <a:pt x="1773" y="955"/>
                    </a:lnTo>
                    <a:lnTo>
                      <a:pt x="1770" y="957"/>
                    </a:lnTo>
                    <a:lnTo>
                      <a:pt x="1765" y="960"/>
                    </a:lnTo>
                    <a:lnTo>
                      <a:pt x="1762" y="963"/>
                    </a:lnTo>
                    <a:lnTo>
                      <a:pt x="1762" y="968"/>
                    </a:lnTo>
                    <a:lnTo>
                      <a:pt x="1760" y="968"/>
                    </a:lnTo>
                    <a:lnTo>
                      <a:pt x="1758" y="971"/>
                    </a:lnTo>
                    <a:lnTo>
                      <a:pt x="1758" y="974"/>
                    </a:lnTo>
                    <a:lnTo>
                      <a:pt x="1755" y="977"/>
                    </a:lnTo>
                    <a:lnTo>
                      <a:pt x="1752" y="979"/>
                    </a:lnTo>
                    <a:lnTo>
                      <a:pt x="1749" y="983"/>
                    </a:lnTo>
                    <a:lnTo>
                      <a:pt x="1744" y="985"/>
                    </a:lnTo>
                    <a:lnTo>
                      <a:pt x="1741" y="987"/>
                    </a:lnTo>
                    <a:lnTo>
                      <a:pt x="1738" y="990"/>
                    </a:lnTo>
                    <a:lnTo>
                      <a:pt x="1736" y="991"/>
                    </a:lnTo>
                    <a:lnTo>
                      <a:pt x="1735" y="996"/>
                    </a:lnTo>
                    <a:lnTo>
                      <a:pt x="1731" y="995"/>
                    </a:lnTo>
                    <a:lnTo>
                      <a:pt x="1730" y="998"/>
                    </a:lnTo>
                    <a:lnTo>
                      <a:pt x="1727" y="1001"/>
                    </a:lnTo>
                    <a:lnTo>
                      <a:pt x="1725" y="998"/>
                    </a:lnTo>
                    <a:lnTo>
                      <a:pt x="1722" y="999"/>
                    </a:lnTo>
                    <a:lnTo>
                      <a:pt x="1720" y="1001"/>
                    </a:lnTo>
                    <a:lnTo>
                      <a:pt x="1716" y="1001"/>
                    </a:lnTo>
                    <a:lnTo>
                      <a:pt x="1712" y="1001"/>
                    </a:lnTo>
                    <a:lnTo>
                      <a:pt x="1709" y="1004"/>
                    </a:lnTo>
                    <a:lnTo>
                      <a:pt x="1706" y="1007"/>
                    </a:lnTo>
                    <a:lnTo>
                      <a:pt x="1704" y="1010"/>
                    </a:lnTo>
                    <a:lnTo>
                      <a:pt x="1681" y="1010"/>
                    </a:lnTo>
                    <a:lnTo>
                      <a:pt x="1658" y="1010"/>
                    </a:lnTo>
                    <a:lnTo>
                      <a:pt x="1636" y="1012"/>
                    </a:lnTo>
                    <a:lnTo>
                      <a:pt x="1614" y="1012"/>
                    </a:lnTo>
                    <a:lnTo>
                      <a:pt x="1601" y="1012"/>
                    </a:lnTo>
                    <a:lnTo>
                      <a:pt x="1590" y="1012"/>
                    </a:lnTo>
                    <a:lnTo>
                      <a:pt x="1576" y="1018"/>
                    </a:lnTo>
                    <a:lnTo>
                      <a:pt x="1563" y="1026"/>
                    </a:lnTo>
                    <a:lnTo>
                      <a:pt x="1557" y="1031"/>
                    </a:lnTo>
                    <a:lnTo>
                      <a:pt x="1551" y="1034"/>
                    </a:lnTo>
                    <a:lnTo>
                      <a:pt x="1546" y="1037"/>
                    </a:lnTo>
                    <a:lnTo>
                      <a:pt x="1538" y="1039"/>
                    </a:lnTo>
                    <a:lnTo>
                      <a:pt x="1533" y="1041"/>
                    </a:lnTo>
                    <a:lnTo>
                      <a:pt x="1530" y="1042"/>
                    </a:lnTo>
                    <a:lnTo>
                      <a:pt x="1527" y="1042"/>
                    </a:lnTo>
                    <a:lnTo>
                      <a:pt x="1524" y="1042"/>
                    </a:lnTo>
                    <a:lnTo>
                      <a:pt x="1516" y="1045"/>
                    </a:lnTo>
                    <a:lnTo>
                      <a:pt x="1513" y="1047"/>
                    </a:lnTo>
                    <a:lnTo>
                      <a:pt x="1509" y="1047"/>
                    </a:lnTo>
                    <a:lnTo>
                      <a:pt x="1513" y="1045"/>
                    </a:lnTo>
                    <a:lnTo>
                      <a:pt x="1509" y="1044"/>
                    </a:lnTo>
                    <a:lnTo>
                      <a:pt x="1506" y="1045"/>
                    </a:lnTo>
                    <a:lnTo>
                      <a:pt x="1501" y="1045"/>
                    </a:lnTo>
                    <a:lnTo>
                      <a:pt x="1498" y="1045"/>
                    </a:lnTo>
                    <a:lnTo>
                      <a:pt x="1492" y="1047"/>
                    </a:lnTo>
                    <a:lnTo>
                      <a:pt x="1494" y="1047"/>
                    </a:lnTo>
                    <a:lnTo>
                      <a:pt x="1497" y="1047"/>
                    </a:lnTo>
                    <a:lnTo>
                      <a:pt x="1501" y="1047"/>
                    </a:lnTo>
                    <a:lnTo>
                      <a:pt x="1505" y="1047"/>
                    </a:lnTo>
                    <a:lnTo>
                      <a:pt x="1508" y="1047"/>
                    </a:lnTo>
                    <a:lnTo>
                      <a:pt x="1508" y="1050"/>
                    </a:lnTo>
                    <a:lnTo>
                      <a:pt x="1511" y="1048"/>
                    </a:lnTo>
                    <a:lnTo>
                      <a:pt x="1514" y="1048"/>
                    </a:lnTo>
                    <a:lnTo>
                      <a:pt x="1511" y="1050"/>
                    </a:lnTo>
                    <a:lnTo>
                      <a:pt x="1508" y="1053"/>
                    </a:lnTo>
                    <a:lnTo>
                      <a:pt x="1511" y="1055"/>
                    </a:lnTo>
                    <a:lnTo>
                      <a:pt x="1508" y="1055"/>
                    </a:lnTo>
                    <a:lnTo>
                      <a:pt x="1505" y="1056"/>
                    </a:lnTo>
                    <a:lnTo>
                      <a:pt x="1500" y="1058"/>
                    </a:lnTo>
                    <a:lnTo>
                      <a:pt x="1501" y="1055"/>
                    </a:lnTo>
                    <a:lnTo>
                      <a:pt x="1497" y="1053"/>
                    </a:lnTo>
                    <a:lnTo>
                      <a:pt x="1494" y="1053"/>
                    </a:lnTo>
                    <a:lnTo>
                      <a:pt x="1490" y="1052"/>
                    </a:lnTo>
                    <a:lnTo>
                      <a:pt x="1487" y="1050"/>
                    </a:lnTo>
                    <a:lnTo>
                      <a:pt x="1482" y="1052"/>
                    </a:lnTo>
                    <a:lnTo>
                      <a:pt x="1479" y="1052"/>
                    </a:lnTo>
                    <a:lnTo>
                      <a:pt x="1468" y="1053"/>
                    </a:lnTo>
                    <a:lnTo>
                      <a:pt x="1455" y="1056"/>
                    </a:lnTo>
                    <a:lnTo>
                      <a:pt x="1452" y="1056"/>
                    </a:lnTo>
                    <a:lnTo>
                      <a:pt x="1448" y="1056"/>
                    </a:lnTo>
                    <a:lnTo>
                      <a:pt x="1444" y="1058"/>
                    </a:lnTo>
                    <a:lnTo>
                      <a:pt x="1441" y="1058"/>
                    </a:lnTo>
                    <a:lnTo>
                      <a:pt x="1436" y="1060"/>
                    </a:lnTo>
                    <a:lnTo>
                      <a:pt x="1433" y="1061"/>
                    </a:lnTo>
                    <a:lnTo>
                      <a:pt x="1430" y="1063"/>
                    </a:lnTo>
                    <a:lnTo>
                      <a:pt x="1427" y="1066"/>
                    </a:lnTo>
                    <a:lnTo>
                      <a:pt x="1422" y="1066"/>
                    </a:lnTo>
                    <a:lnTo>
                      <a:pt x="1419" y="1068"/>
                    </a:lnTo>
                    <a:lnTo>
                      <a:pt x="1416" y="1071"/>
                    </a:lnTo>
                    <a:lnTo>
                      <a:pt x="1413" y="1074"/>
                    </a:lnTo>
                    <a:lnTo>
                      <a:pt x="1409" y="1077"/>
                    </a:lnTo>
                    <a:lnTo>
                      <a:pt x="1406" y="1079"/>
                    </a:lnTo>
                    <a:lnTo>
                      <a:pt x="1408" y="1082"/>
                    </a:lnTo>
                    <a:lnTo>
                      <a:pt x="1411" y="1083"/>
                    </a:lnTo>
                    <a:lnTo>
                      <a:pt x="1414" y="1083"/>
                    </a:lnTo>
                    <a:lnTo>
                      <a:pt x="1417" y="1085"/>
                    </a:lnTo>
                    <a:lnTo>
                      <a:pt x="1422" y="1083"/>
                    </a:lnTo>
                    <a:lnTo>
                      <a:pt x="1425" y="1082"/>
                    </a:lnTo>
                    <a:lnTo>
                      <a:pt x="1429" y="1082"/>
                    </a:lnTo>
                    <a:lnTo>
                      <a:pt x="1427" y="1085"/>
                    </a:lnTo>
                    <a:lnTo>
                      <a:pt x="1425" y="1088"/>
                    </a:lnTo>
                    <a:lnTo>
                      <a:pt x="1425" y="1088"/>
                    </a:lnTo>
                    <a:lnTo>
                      <a:pt x="1425" y="1088"/>
                    </a:lnTo>
                    <a:lnTo>
                      <a:pt x="1425" y="1093"/>
                    </a:lnTo>
                    <a:lnTo>
                      <a:pt x="1427" y="1096"/>
                    </a:lnTo>
                    <a:lnTo>
                      <a:pt x="1427" y="1096"/>
                    </a:lnTo>
                    <a:lnTo>
                      <a:pt x="1422" y="1098"/>
                    </a:lnTo>
                    <a:lnTo>
                      <a:pt x="1419" y="1098"/>
                    </a:lnTo>
                    <a:lnTo>
                      <a:pt x="1416" y="1098"/>
                    </a:lnTo>
                    <a:lnTo>
                      <a:pt x="1413" y="1098"/>
                    </a:lnTo>
                    <a:lnTo>
                      <a:pt x="1408" y="1098"/>
                    </a:lnTo>
                    <a:lnTo>
                      <a:pt x="1405" y="1098"/>
                    </a:lnTo>
                    <a:lnTo>
                      <a:pt x="1405" y="1098"/>
                    </a:lnTo>
                    <a:lnTo>
                      <a:pt x="1402" y="1098"/>
                    </a:lnTo>
                    <a:lnTo>
                      <a:pt x="1397" y="1099"/>
                    </a:lnTo>
                    <a:lnTo>
                      <a:pt x="1394" y="1099"/>
                    </a:lnTo>
                    <a:lnTo>
                      <a:pt x="1390" y="1099"/>
                    </a:lnTo>
                    <a:lnTo>
                      <a:pt x="1384" y="1101"/>
                    </a:lnTo>
                    <a:lnTo>
                      <a:pt x="1381" y="1101"/>
                    </a:lnTo>
                    <a:lnTo>
                      <a:pt x="1379" y="1104"/>
                    </a:lnTo>
                    <a:lnTo>
                      <a:pt x="1373" y="1109"/>
                    </a:lnTo>
                    <a:lnTo>
                      <a:pt x="1378" y="1109"/>
                    </a:lnTo>
                    <a:lnTo>
                      <a:pt x="1381" y="1110"/>
                    </a:lnTo>
                    <a:lnTo>
                      <a:pt x="1384" y="1110"/>
                    </a:lnTo>
                    <a:lnTo>
                      <a:pt x="1373" y="1109"/>
                    </a:lnTo>
                    <a:lnTo>
                      <a:pt x="1362" y="1107"/>
                    </a:lnTo>
                    <a:lnTo>
                      <a:pt x="1356" y="1106"/>
                    </a:lnTo>
                    <a:lnTo>
                      <a:pt x="1351" y="1106"/>
                    </a:lnTo>
                    <a:lnTo>
                      <a:pt x="1344" y="1107"/>
                    </a:lnTo>
                    <a:lnTo>
                      <a:pt x="1338" y="1109"/>
                    </a:lnTo>
                    <a:lnTo>
                      <a:pt x="1327" y="1115"/>
                    </a:lnTo>
                    <a:lnTo>
                      <a:pt x="1317" y="1121"/>
                    </a:lnTo>
                    <a:lnTo>
                      <a:pt x="1314" y="1123"/>
                    </a:lnTo>
                    <a:lnTo>
                      <a:pt x="1310" y="1123"/>
                    </a:lnTo>
                    <a:lnTo>
                      <a:pt x="1306" y="1125"/>
                    </a:lnTo>
                    <a:lnTo>
                      <a:pt x="1300" y="1128"/>
                    </a:lnTo>
                    <a:lnTo>
                      <a:pt x="1297" y="1131"/>
                    </a:lnTo>
                    <a:lnTo>
                      <a:pt x="1294" y="1134"/>
                    </a:lnTo>
                    <a:lnTo>
                      <a:pt x="1289" y="1131"/>
                    </a:lnTo>
                    <a:lnTo>
                      <a:pt x="1283" y="1133"/>
                    </a:lnTo>
                    <a:lnTo>
                      <a:pt x="1279" y="1133"/>
                    </a:lnTo>
                    <a:lnTo>
                      <a:pt x="1276" y="1131"/>
                    </a:lnTo>
                    <a:lnTo>
                      <a:pt x="1276" y="1128"/>
                    </a:lnTo>
                    <a:lnTo>
                      <a:pt x="1278" y="1123"/>
                    </a:lnTo>
                    <a:lnTo>
                      <a:pt x="1281" y="1120"/>
                    </a:lnTo>
                    <a:lnTo>
                      <a:pt x="1283" y="1120"/>
                    </a:lnTo>
                    <a:lnTo>
                      <a:pt x="1286" y="1118"/>
                    </a:lnTo>
                    <a:lnTo>
                      <a:pt x="1289" y="1120"/>
                    </a:lnTo>
                    <a:lnTo>
                      <a:pt x="1292" y="1120"/>
                    </a:lnTo>
                    <a:lnTo>
                      <a:pt x="1297" y="1120"/>
                    </a:lnTo>
                    <a:lnTo>
                      <a:pt x="1300" y="1120"/>
                    </a:lnTo>
                    <a:lnTo>
                      <a:pt x="1303" y="1118"/>
                    </a:lnTo>
                    <a:lnTo>
                      <a:pt x="1305" y="1117"/>
                    </a:lnTo>
                    <a:lnTo>
                      <a:pt x="1305" y="1114"/>
                    </a:lnTo>
                    <a:lnTo>
                      <a:pt x="1300" y="1112"/>
                    </a:lnTo>
                    <a:lnTo>
                      <a:pt x="1298" y="1110"/>
                    </a:lnTo>
                    <a:lnTo>
                      <a:pt x="1302" y="1110"/>
                    </a:lnTo>
                    <a:lnTo>
                      <a:pt x="1305" y="1107"/>
                    </a:lnTo>
                    <a:lnTo>
                      <a:pt x="1306" y="1104"/>
                    </a:lnTo>
                    <a:lnTo>
                      <a:pt x="1311" y="1096"/>
                    </a:lnTo>
                    <a:lnTo>
                      <a:pt x="1314" y="1094"/>
                    </a:lnTo>
                    <a:lnTo>
                      <a:pt x="1314" y="1091"/>
                    </a:lnTo>
                    <a:lnTo>
                      <a:pt x="1317" y="1091"/>
                    </a:lnTo>
                    <a:lnTo>
                      <a:pt x="1322" y="1090"/>
                    </a:lnTo>
                    <a:lnTo>
                      <a:pt x="1330" y="1085"/>
                    </a:lnTo>
                    <a:lnTo>
                      <a:pt x="1340" y="1080"/>
                    </a:lnTo>
                    <a:lnTo>
                      <a:pt x="1343" y="1077"/>
                    </a:lnTo>
                    <a:lnTo>
                      <a:pt x="1346" y="1074"/>
                    </a:lnTo>
                    <a:lnTo>
                      <a:pt x="1348" y="1071"/>
                    </a:lnTo>
                    <a:lnTo>
                      <a:pt x="1348" y="1068"/>
                    </a:lnTo>
                    <a:lnTo>
                      <a:pt x="1349" y="1064"/>
                    </a:lnTo>
                    <a:lnTo>
                      <a:pt x="1351" y="1061"/>
                    </a:lnTo>
                    <a:lnTo>
                      <a:pt x="1352" y="1056"/>
                    </a:lnTo>
                    <a:lnTo>
                      <a:pt x="1354" y="1053"/>
                    </a:lnTo>
                    <a:lnTo>
                      <a:pt x="1356" y="1050"/>
                    </a:lnTo>
                    <a:lnTo>
                      <a:pt x="1363" y="1041"/>
                    </a:lnTo>
                    <a:lnTo>
                      <a:pt x="1371" y="1034"/>
                    </a:lnTo>
                    <a:lnTo>
                      <a:pt x="1375" y="1031"/>
                    </a:lnTo>
                    <a:lnTo>
                      <a:pt x="1379" y="1028"/>
                    </a:lnTo>
                    <a:lnTo>
                      <a:pt x="1381" y="1025"/>
                    </a:lnTo>
                    <a:lnTo>
                      <a:pt x="1383" y="1018"/>
                    </a:lnTo>
                    <a:lnTo>
                      <a:pt x="1383" y="1015"/>
                    </a:lnTo>
                    <a:lnTo>
                      <a:pt x="1383" y="1012"/>
                    </a:lnTo>
                    <a:lnTo>
                      <a:pt x="1381" y="1009"/>
                    </a:lnTo>
                    <a:lnTo>
                      <a:pt x="1379" y="1004"/>
                    </a:lnTo>
                    <a:lnTo>
                      <a:pt x="1378" y="1001"/>
                    </a:lnTo>
                    <a:lnTo>
                      <a:pt x="1383" y="1001"/>
                    </a:lnTo>
                    <a:lnTo>
                      <a:pt x="1387" y="1002"/>
                    </a:lnTo>
                    <a:lnTo>
                      <a:pt x="1389" y="1004"/>
                    </a:lnTo>
                    <a:lnTo>
                      <a:pt x="1389" y="1006"/>
                    </a:lnTo>
                    <a:lnTo>
                      <a:pt x="1389" y="1009"/>
                    </a:lnTo>
                    <a:lnTo>
                      <a:pt x="1387" y="1012"/>
                    </a:lnTo>
                    <a:lnTo>
                      <a:pt x="1389" y="1012"/>
                    </a:lnTo>
                    <a:lnTo>
                      <a:pt x="1390" y="1015"/>
                    </a:lnTo>
                    <a:lnTo>
                      <a:pt x="1394" y="1015"/>
                    </a:lnTo>
                    <a:lnTo>
                      <a:pt x="1392" y="1018"/>
                    </a:lnTo>
                    <a:lnTo>
                      <a:pt x="1389" y="1022"/>
                    </a:lnTo>
                    <a:lnTo>
                      <a:pt x="1392" y="1020"/>
                    </a:lnTo>
                    <a:lnTo>
                      <a:pt x="1395" y="1020"/>
                    </a:lnTo>
                    <a:lnTo>
                      <a:pt x="1394" y="1023"/>
                    </a:lnTo>
                    <a:lnTo>
                      <a:pt x="1392" y="1026"/>
                    </a:lnTo>
                    <a:lnTo>
                      <a:pt x="1395" y="1025"/>
                    </a:lnTo>
                    <a:lnTo>
                      <a:pt x="1398" y="1023"/>
                    </a:lnTo>
                    <a:lnTo>
                      <a:pt x="1403" y="1025"/>
                    </a:lnTo>
                    <a:lnTo>
                      <a:pt x="1403" y="1028"/>
                    </a:lnTo>
                    <a:lnTo>
                      <a:pt x="1409" y="1031"/>
                    </a:lnTo>
                    <a:lnTo>
                      <a:pt x="1416" y="1033"/>
                    </a:lnTo>
                    <a:lnTo>
                      <a:pt x="1417" y="1033"/>
                    </a:lnTo>
                    <a:lnTo>
                      <a:pt x="1419" y="1031"/>
                    </a:lnTo>
                    <a:lnTo>
                      <a:pt x="1421" y="1028"/>
                    </a:lnTo>
                    <a:lnTo>
                      <a:pt x="1422" y="1023"/>
                    </a:lnTo>
                    <a:lnTo>
                      <a:pt x="1422" y="1022"/>
                    </a:lnTo>
                    <a:lnTo>
                      <a:pt x="1422" y="1018"/>
                    </a:lnTo>
                    <a:lnTo>
                      <a:pt x="1425" y="1017"/>
                    </a:lnTo>
                    <a:lnTo>
                      <a:pt x="1429" y="1017"/>
                    </a:lnTo>
                    <a:lnTo>
                      <a:pt x="1430" y="1022"/>
                    </a:lnTo>
                    <a:lnTo>
                      <a:pt x="1433" y="1020"/>
                    </a:lnTo>
                    <a:lnTo>
                      <a:pt x="1436" y="1017"/>
                    </a:lnTo>
                    <a:lnTo>
                      <a:pt x="1435" y="1017"/>
                    </a:lnTo>
                    <a:lnTo>
                      <a:pt x="1432" y="1018"/>
                    </a:lnTo>
                    <a:lnTo>
                      <a:pt x="1432" y="1015"/>
                    </a:lnTo>
                    <a:lnTo>
                      <a:pt x="1430" y="1012"/>
                    </a:lnTo>
                    <a:lnTo>
                      <a:pt x="1429" y="1010"/>
                    </a:lnTo>
                    <a:lnTo>
                      <a:pt x="1429" y="1010"/>
                    </a:lnTo>
                    <a:lnTo>
                      <a:pt x="1429" y="1009"/>
                    </a:lnTo>
                    <a:lnTo>
                      <a:pt x="1427" y="1006"/>
                    </a:lnTo>
                    <a:lnTo>
                      <a:pt x="1430" y="1006"/>
                    </a:lnTo>
                    <a:lnTo>
                      <a:pt x="1432" y="1006"/>
                    </a:lnTo>
                    <a:lnTo>
                      <a:pt x="1430" y="1004"/>
                    </a:lnTo>
                    <a:lnTo>
                      <a:pt x="1429" y="1001"/>
                    </a:lnTo>
                    <a:lnTo>
                      <a:pt x="1432" y="999"/>
                    </a:lnTo>
                    <a:lnTo>
                      <a:pt x="1432" y="995"/>
                    </a:lnTo>
                    <a:lnTo>
                      <a:pt x="1429" y="998"/>
                    </a:lnTo>
                    <a:lnTo>
                      <a:pt x="1425" y="998"/>
                    </a:lnTo>
                    <a:lnTo>
                      <a:pt x="1424" y="993"/>
                    </a:lnTo>
                    <a:lnTo>
                      <a:pt x="1425" y="990"/>
                    </a:lnTo>
                    <a:lnTo>
                      <a:pt x="1425" y="987"/>
                    </a:lnTo>
                    <a:lnTo>
                      <a:pt x="1422" y="988"/>
                    </a:lnTo>
                    <a:lnTo>
                      <a:pt x="1421" y="983"/>
                    </a:lnTo>
                    <a:lnTo>
                      <a:pt x="1421" y="980"/>
                    </a:lnTo>
                    <a:lnTo>
                      <a:pt x="1421" y="977"/>
                    </a:lnTo>
                    <a:lnTo>
                      <a:pt x="1417" y="974"/>
                    </a:lnTo>
                    <a:lnTo>
                      <a:pt x="1413" y="974"/>
                    </a:lnTo>
                    <a:lnTo>
                      <a:pt x="1411" y="974"/>
                    </a:lnTo>
                    <a:lnTo>
                      <a:pt x="1408" y="974"/>
                    </a:lnTo>
                    <a:lnTo>
                      <a:pt x="1409" y="971"/>
                    </a:lnTo>
                    <a:lnTo>
                      <a:pt x="1406" y="972"/>
                    </a:lnTo>
                    <a:lnTo>
                      <a:pt x="1402" y="972"/>
                    </a:lnTo>
                    <a:lnTo>
                      <a:pt x="1398" y="972"/>
                    </a:lnTo>
                    <a:lnTo>
                      <a:pt x="1395" y="972"/>
                    </a:lnTo>
                    <a:lnTo>
                      <a:pt x="1392" y="974"/>
                    </a:lnTo>
                    <a:lnTo>
                      <a:pt x="1395" y="972"/>
                    </a:lnTo>
                    <a:lnTo>
                      <a:pt x="1397" y="969"/>
                    </a:lnTo>
                    <a:lnTo>
                      <a:pt x="1392" y="971"/>
                    </a:lnTo>
                    <a:lnTo>
                      <a:pt x="1397" y="968"/>
                    </a:lnTo>
                    <a:lnTo>
                      <a:pt x="1392" y="969"/>
                    </a:lnTo>
                    <a:lnTo>
                      <a:pt x="1389" y="971"/>
                    </a:lnTo>
                    <a:lnTo>
                      <a:pt x="1392" y="968"/>
                    </a:lnTo>
                    <a:lnTo>
                      <a:pt x="1387" y="968"/>
                    </a:lnTo>
                    <a:lnTo>
                      <a:pt x="1384" y="968"/>
                    </a:lnTo>
                    <a:lnTo>
                      <a:pt x="1381" y="966"/>
                    </a:lnTo>
                    <a:lnTo>
                      <a:pt x="1378" y="966"/>
                    </a:lnTo>
                    <a:lnTo>
                      <a:pt x="1375" y="964"/>
                    </a:lnTo>
                    <a:lnTo>
                      <a:pt x="1370" y="963"/>
                    </a:lnTo>
                    <a:lnTo>
                      <a:pt x="1367" y="964"/>
                    </a:lnTo>
                    <a:lnTo>
                      <a:pt x="1363" y="963"/>
                    </a:lnTo>
                    <a:lnTo>
                      <a:pt x="1360" y="964"/>
                    </a:lnTo>
                    <a:lnTo>
                      <a:pt x="1356" y="964"/>
                    </a:lnTo>
                    <a:lnTo>
                      <a:pt x="1348" y="963"/>
                    </a:lnTo>
                    <a:lnTo>
                      <a:pt x="1338" y="961"/>
                    </a:lnTo>
                    <a:lnTo>
                      <a:pt x="1335" y="960"/>
                    </a:lnTo>
                    <a:lnTo>
                      <a:pt x="1333" y="960"/>
                    </a:lnTo>
                    <a:lnTo>
                      <a:pt x="1330" y="960"/>
                    </a:lnTo>
                    <a:lnTo>
                      <a:pt x="1327" y="958"/>
                    </a:lnTo>
                    <a:lnTo>
                      <a:pt x="1324" y="958"/>
                    </a:lnTo>
                    <a:lnTo>
                      <a:pt x="1321" y="957"/>
                    </a:lnTo>
                    <a:lnTo>
                      <a:pt x="1322" y="953"/>
                    </a:lnTo>
                    <a:lnTo>
                      <a:pt x="1322" y="950"/>
                    </a:lnTo>
                    <a:lnTo>
                      <a:pt x="1316" y="950"/>
                    </a:lnTo>
                    <a:lnTo>
                      <a:pt x="1314" y="950"/>
                    </a:lnTo>
                    <a:lnTo>
                      <a:pt x="1313" y="952"/>
                    </a:lnTo>
                    <a:lnTo>
                      <a:pt x="1310" y="950"/>
                    </a:lnTo>
                    <a:lnTo>
                      <a:pt x="1311" y="947"/>
                    </a:lnTo>
                    <a:lnTo>
                      <a:pt x="1314" y="945"/>
                    </a:lnTo>
                    <a:lnTo>
                      <a:pt x="1316" y="941"/>
                    </a:lnTo>
                    <a:lnTo>
                      <a:pt x="1313" y="944"/>
                    </a:lnTo>
                    <a:lnTo>
                      <a:pt x="1314" y="941"/>
                    </a:lnTo>
                    <a:lnTo>
                      <a:pt x="1317" y="937"/>
                    </a:lnTo>
                    <a:lnTo>
                      <a:pt x="1321" y="937"/>
                    </a:lnTo>
                    <a:lnTo>
                      <a:pt x="1321" y="934"/>
                    </a:lnTo>
                    <a:lnTo>
                      <a:pt x="1314" y="933"/>
                    </a:lnTo>
                    <a:lnTo>
                      <a:pt x="1313" y="930"/>
                    </a:lnTo>
                    <a:lnTo>
                      <a:pt x="1316" y="928"/>
                    </a:lnTo>
                    <a:lnTo>
                      <a:pt x="1317" y="923"/>
                    </a:lnTo>
                    <a:lnTo>
                      <a:pt x="1321" y="922"/>
                    </a:lnTo>
                    <a:lnTo>
                      <a:pt x="1322" y="917"/>
                    </a:lnTo>
                    <a:lnTo>
                      <a:pt x="1321" y="914"/>
                    </a:lnTo>
                    <a:lnTo>
                      <a:pt x="1317" y="912"/>
                    </a:lnTo>
                    <a:lnTo>
                      <a:pt x="1316" y="907"/>
                    </a:lnTo>
                    <a:lnTo>
                      <a:pt x="1317" y="906"/>
                    </a:lnTo>
                    <a:lnTo>
                      <a:pt x="1319" y="903"/>
                    </a:lnTo>
                    <a:lnTo>
                      <a:pt x="1322" y="899"/>
                    </a:lnTo>
                    <a:lnTo>
                      <a:pt x="1324" y="896"/>
                    </a:lnTo>
                    <a:lnTo>
                      <a:pt x="1327" y="893"/>
                    </a:lnTo>
                    <a:lnTo>
                      <a:pt x="1313" y="893"/>
                    </a:lnTo>
                    <a:lnTo>
                      <a:pt x="1298" y="893"/>
                    </a:lnTo>
                    <a:lnTo>
                      <a:pt x="1294" y="890"/>
                    </a:lnTo>
                    <a:lnTo>
                      <a:pt x="1294" y="887"/>
                    </a:lnTo>
                    <a:lnTo>
                      <a:pt x="1294" y="884"/>
                    </a:lnTo>
                    <a:lnTo>
                      <a:pt x="1292" y="879"/>
                    </a:lnTo>
                    <a:lnTo>
                      <a:pt x="1294" y="876"/>
                    </a:lnTo>
                    <a:lnTo>
                      <a:pt x="1294" y="872"/>
                    </a:lnTo>
                    <a:lnTo>
                      <a:pt x="1295" y="869"/>
                    </a:lnTo>
                    <a:lnTo>
                      <a:pt x="1295" y="866"/>
                    </a:lnTo>
                    <a:lnTo>
                      <a:pt x="1294" y="861"/>
                    </a:lnTo>
                    <a:lnTo>
                      <a:pt x="1291" y="861"/>
                    </a:lnTo>
                    <a:lnTo>
                      <a:pt x="1287" y="861"/>
                    </a:lnTo>
                    <a:lnTo>
                      <a:pt x="1284" y="860"/>
                    </a:lnTo>
                    <a:lnTo>
                      <a:pt x="1281" y="861"/>
                    </a:lnTo>
                    <a:lnTo>
                      <a:pt x="1276" y="860"/>
                    </a:lnTo>
                    <a:lnTo>
                      <a:pt x="1273" y="860"/>
                    </a:lnTo>
                    <a:lnTo>
                      <a:pt x="1270" y="860"/>
                    </a:lnTo>
                    <a:lnTo>
                      <a:pt x="1267" y="861"/>
                    </a:lnTo>
                    <a:lnTo>
                      <a:pt x="1262" y="858"/>
                    </a:lnTo>
                    <a:lnTo>
                      <a:pt x="1259" y="858"/>
                    </a:lnTo>
                    <a:lnTo>
                      <a:pt x="1256" y="855"/>
                    </a:lnTo>
                    <a:lnTo>
                      <a:pt x="1252" y="855"/>
                    </a:lnTo>
                    <a:lnTo>
                      <a:pt x="1249" y="853"/>
                    </a:lnTo>
                    <a:lnTo>
                      <a:pt x="1245" y="852"/>
                    </a:lnTo>
                    <a:lnTo>
                      <a:pt x="1241" y="853"/>
                    </a:lnTo>
                    <a:lnTo>
                      <a:pt x="1240" y="852"/>
                    </a:lnTo>
                    <a:lnTo>
                      <a:pt x="1238" y="855"/>
                    </a:lnTo>
                    <a:lnTo>
                      <a:pt x="1240" y="860"/>
                    </a:lnTo>
                    <a:lnTo>
                      <a:pt x="1240" y="863"/>
                    </a:lnTo>
                    <a:lnTo>
                      <a:pt x="1237" y="866"/>
                    </a:lnTo>
                    <a:lnTo>
                      <a:pt x="1233" y="868"/>
                    </a:lnTo>
                    <a:lnTo>
                      <a:pt x="1229" y="868"/>
                    </a:lnTo>
                    <a:lnTo>
                      <a:pt x="1226" y="869"/>
                    </a:lnTo>
                    <a:lnTo>
                      <a:pt x="1222" y="872"/>
                    </a:lnTo>
                    <a:lnTo>
                      <a:pt x="1219" y="874"/>
                    </a:lnTo>
                    <a:lnTo>
                      <a:pt x="1221" y="871"/>
                    </a:lnTo>
                    <a:lnTo>
                      <a:pt x="1224" y="868"/>
                    </a:lnTo>
                    <a:lnTo>
                      <a:pt x="1229" y="866"/>
                    </a:lnTo>
                    <a:lnTo>
                      <a:pt x="1232" y="865"/>
                    </a:lnTo>
                    <a:lnTo>
                      <a:pt x="1233" y="861"/>
                    </a:lnTo>
                    <a:lnTo>
                      <a:pt x="1230" y="858"/>
                    </a:lnTo>
                    <a:lnTo>
                      <a:pt x="1227" y="861"/>
                    </a:lnTo>
                    <a:lnTo>
                      <a:pt x="1224" y="865"/>
                    </a:lnTo>
                    <a:lnTo>
                      <a:pt x="1221" y="866"/>
                    </a:lnTo>
                    <a:lnTo>
                      <a:pt x="1219" y="871"/>
                    </a:lnTo>
                    <a:lnTo>
                      <a:pt x="1216" y="872"/>
                    </a:lnTo>
                    <a:lnTo>
                      <a:pt x="1213" y="877"/>
                    </a:lnTo>
                    <a:lnTo>
                      <a:pt x="1210" y="877"/>
                    </a:lnTo>
                    <a:lnTo>
                      <a:pt x="1205" y="879"/>
                    </a:lnTo>
                    <a:lnTo>
                      <a:pt x="1208" y="876"/>
                    </a:lnTo>
                    <a:lnTo>
                      <a:pt x="1211" y="872"/>
                    </a:lnTo>
                    <a:lnTo>
                      <a:pt x="1214" y="869"/>
                    </a:lnTo>
                    <a:lnTo>
                      <a:pt x="1211" y="869"/>
                    </a:lnTo>
                    <a:lnTo>
                      <a:pt x="1208" y="871"/>
                    </a:lnTo>
                    <a:lnTo>
                      <a:pt x="1203" y="871"/>
                    </a:lnTo>
                    <a:lnTo>
                      <a:pt x="1200" y="872"/>
                    </a:lnTo>
                    <a:lnTo>
                      <a:pt x="1197" y="876"/>
                    </a:lnTo>
                    <a:lnTo>
                      <a:pt x="1195" y="879"/>
                    </a:lnTo>
                    <a:lnTo>
                      <a:pt x="1192" y="882"/>
                    </a:lnTo>
                    <a:lnTo>
                      <a:pt x="1189" y="885"/>
                    </a:lnTo>
                    <a:lnTo>
                      <a:pt x="1183" y="890"/>
                    </a:lnTo>
                    <a:lnTo>
                      <a:pt x="1178" y="891"/>
                    </a:lnTo>
                    <a:lnTo>
                      <a:pt x="1178" y="891"/>
                    </a:lnTo>
                    <a:lnTo>
                      <a:pt x="1176" y="891"/>
                    </a:lnTo>
                    <a:lnTo>
                      <a:pt x="1172" y="890"/>
                    </a:lnTo>
                    <a:lnTo>
                      <a:pt x="1168" y="891"/>
                    </a:lnTo>
                    <a:lnTo>
                      <a:pt x="1165" y="890"/>
                    </a:lnTo>
                    <a:lnTo>
                      <a:pt x="1165" y="888"/>
                    </a:lnTo>
                    <a:lnTo>
                      <a:pt x="1160" y="887"/>
                    </a:lnTo>
                    <a:lnTo>
                      <a:pt x="1157" y="887"/>
                    </a:lnTo>
                    <a:lnTo>
                      <a:pt x="1154" y="888"/>
                    </a:lnTo>
                    <a:lnTo>
                      <a:pt x="1151" y="888"/>
                    </a:lnTo>
                    <a:lnTo>
                      <a:pt x="1146" y="887"/>
                    </a:lnTo>
                    <a:lnTo>
                      <a:pt x="1143" y="888"/>
                    </a:lnTo>
                    <a:lnTo>
                      <a:pt x="1141" y="885"/>
                    </a:lnTo>
                    <a:lnTo>
                      <a:pt x="1141" y="884"/>
                    </a:lnTo>
                    <a:lnTo>
                      <a:pt x="1143" y="884"/>
                    </a:lnTo>
                    <a:lnTo>
                      <a:pt x="1143" y="882"/>
                    </a:lnTo>
                    <a:lnTo>
                      <a:pt x="1134" y="885"/>
                    </a:lnTo>
                    <a:lnTo>
                      <a:pt x="1124" y="888"/>
                    </a:lnTo>
                    <a:lnTo>
                      <a:pt x="1119" y="890"/>
                    </a:lnTo>
                    <a:lnTo>
                      <a:pt x="1119" y="890"/>
                    </a:lnTo>
                    <a:lnTo>
                      <a:pt x="1116" y="890"/>
                    </a:lnTo>
                    <a:lnTo>
                      <a:pt x="1114" y="888"/>
                    </a:lnTo>
                    <a:lnTo>
                      <a:pt x="1113" y="887"/>
                    </a:lnTo>
                    <a:lnTo>
                      <a:pt x="1113" y="885"/>
                    </a:lnTo>
                    <a:lnTo>
                      <a:pt x="1110" y="884"/>
                    </a:lnTo>
                    <a:lnTo>
                      <a:pt x="1107" y="880"/>
                    </a:lnTo>
                    <a:lnTo>
                      <a:pt x="1103" y="877"/>
                    </a:lnTo>
                    <a:lnTo>
                      <a:pt x="1100" y="877"/>
                    </a:lnTo>
                    <a:lnTo>
                      <a:pt x="1097" y="882"/>
                    </a:lnTo>
                    <a:lnTo>
                      <a:pt x="1095" y="882"/>
                    </a:lnTo>
                    <a:lnTo>
                      <a:pt x="1094" y="879"/>
                    </a:lnTo>
                    <a:lnTo>
                      <a:pt x="1095" y="876"/>
                    </a:lnTo>
                    <a:lnTo>
                      <a:pt x="1091" y="874"/>
                    </a:lnTo>
                    <a:lnTo>
                      <a:pt x="1092" y="871"/>
                    </a:lnTo>
                    <a:lnTo>
                      <a:pt x="1088" y="869"/>
                    </a:lnTo>
                    <a:lnTo>
                      <a:pt x="1081" y="868"/>
                    </a:lnTo>
                    <a:lnTo>
                      <a:pt x="1076" y="866"/>
                    </a:lnTo>
                    <a:lnTo>
                      <a:pt x="1072" y="868"/>
                    </a:lnTo>
                    <a:lnTo>
                      <a:pt x="1070" y="868"/>
                    </a:lnTo>
                    <a:lnTo>
                      <a:pt x="1070" y="868"/>
                    </a:lnTo>
                    <a:lnTo>
                      <a:pt x="1070" y="868"/>
                    </a:lnTo>
                    <a:lnTo>
                      <a:pt x="1065" y="869"/>
                    </a:lnTo>
                    <a:lnTo>
                      <a:pt x="1062" y="871"/>
                    </a:lnTo>
                    <a:lnTo>
                      <a:pt x="1059" y="871"/>
                    </a:lnTo>
                    <a:lnTo>
                      <a:pt x="1056" y="871"/>
                    </a:lnTo>
                    <a:lnTo>
                      <a:pt x="1056" y="866"/>
                    </a:lnTo>
                    <a:lnTo>
                      <a:pt x="1053" y="866"/>
                    </a:lnTo>
                    <a:lnTo>
                      <a:pt x="1048" y="866"/>
                    </a:lnTo>
                    <a:lnTo>
                      <a:pt x="1045" y="866"/>
                    </a:lnTo>
                    <a:lnTo>
                      <a:pt x="1042" y="863"/>
                    </a:lnTo>
                    <a:lnTo>
                      <a:pt x="1038" y="863"/>
                    </a:lnTo>
                    <a:lnTo>
                      <a:pt x="1035" y="863"/>
                    </a:lnTo>
                    <a:lnTo>
                      <a:pt x="1032" y="861"/>
                    </a:lnTo>
                    <a:lnTo>
                      <a:pt x="1034" y="857"/>
                    </a:lnTo>
                    <a:lnTo>
                      <a:pt x="1035" y="855"/>
                    </a:lnTo>
                    <a:lnTo>
                      <a:pt x="1035" y="852"/>
                    </a:lnTo>
                    <a:lnTo>
                      <a:pt x="1037" y="849"/>
                    </a:lnTo>
                    <a:lnTo>
                      <a:pt x="1038" y="844"/>
                    </a:lnTo>
                    <a:lnTo>
                      <a:pt x="1038" y="841"/>
                    </a:lnTo>
                    <a:lnTo>
                      <a:pt x="1038" y="838"/>
                    </a:lnTo>
                    <a:lnTo>
                      <a:pt x="1034" y="838"/>
                    </a:lnTo>
                    <a:lnTo>
                      <a:pt x="1030" y="838"/>
                    </a:lnTo>
                    <a:lnTo>
                      <a:pt x="1030" y="838"/>
                    </a:lnTo>
                    <a:lnTo>
                      <a:pt x="1029" y="841"/>
                    </a:lnTo>
                    <a:lnTo>
                      <a:pt x="1026" y="846"/>
                    </a:lnTo>
                    <a:lnTo>
                      <a:pt x="1024" y="847"/>
                    </a:lnTo>
                    <a:lnTo>
                      <a:pt x="1023" y="852"/>
                    </a:lnTo>
                    <a:lnTo>
                      <a:pt x="913" y="852"/>
                    </a:lnTo>
                    <a:lnTo>
                      <a:pt x="805" y="852"/>
                    </a:lnTo>
                    <a:lnTo>
                      <a:pt x="696" y="852"/>
                    </a:lnTo>
                    <a:lnTo>
                      <a:pt x="586" y="852"/>
                    </a:lnTo>
                    <a:lnTo>
                      <a:pt x="479" y="852"/>
                    </a:lnTo>
                    <a:lnTo>
                      <a:pt x="369" y="852"/>
                    </a:lnTo>
                    <a:lnTo>
                      <a:pt x="260" y="852"/>
                    </a:lnTo>
                    <a:lnTo>
                      <a:pt x="152" y="852"/>
                    </a:lnTo>
                    <a:lnTo>
                      <a:pt x="149" y="849"/>
                    </a:lnTo>
                    <a:lnTo>
                      <a:pt x="145" y="849"/>
                    </a:lnTo>
                    <a:lnTo>
                      <a:pt x="142" y="852"/>
                    </a:lnTo>
                    <a:lnTo>
                      <a:pt x="142" y="852"/>
                    </a:lnTo>
                    <a:lnTo>
                      <a:pt x="141" y="852"/>
                    </a:lnTo>
                    <a:lnTo>
                      <a:pt x="142" y="849"/>
                    </a:lnTo>
                    <a:lnTo>
                      <a:pt x="147" y="846"/>
                    </a:lnTo>
                    <a:lnTo>
                      <a:pt x="147" y="846"/>
                    </a:lnTo>
                    <a:lnTo>
                      <a:pt x="142" y="847"/>
                    </a:lnTo>
                    <a:lnTo>
                      <a:pt x="142" y="844"/>
                    </a:lnTo>
                    <a:lnTo>
                      <a:pt x="145" y="844"/>
                    </a:lnTo>
                    <a:lnTo>
                      <a:pt x="147" y="841"/>
                    </a:lnTo>
                    <a:lnTo>
                      <a:pt x="152" y="841"/>
                    </a:lnTo>
                    <a:lnTo>
                      <a:pt x="155" y="839"/>
                    </a:lnTo>
                    <a:lnTo>
                      <a:pt x="158" y="836"/>
                    </a:lnTo>
                    <a:lnTo>
                      <a:pt x="155" y="839"/>
                    </a:lnTo>
                    <a:lnTo>
                      <a:pt x="152" y="839"/>
                    </a:lnTo>
                    <a:lnTo>
                      <a:pt x="149" y="839"/>
                    </a:lnTo>
                    <a:lnTo>
                      <a:pt x="147" y="839"/>
                    </a:lnTo>
                    <a:lnTo>
                      <a:pt x="147" y="834"/>
                    </a:lnTo>
                    <a:lnTo>
                      <a:pt x="150" y="831"/>
                    </a:lnTo>
                    <a:lnTo>
                      <a:pt x="153" y="828"/>
                    </a:lnTo>
                    <a:lnTo>
                      <a:pt x="157" y="825"/>
                    </a:lnTo>
                    <a:lnTo>
                      <a:pt x="153" y="828"/>
                    </a:lnTo>
                    <a:lnTo>
                      <a:pt x="147" y="830"/>
                    </a:lnTo>
                    <a:lnTo>
                      <a:pt x="142" y="831"/>
                    </a:lnTo>
                    <a:lnTo>
                      <a:pt x="141" y="834"/>
                    </a:lnTo>
                    <a:lnTo>
                      <a:pt x="138" y="836"/>
                    </a:lnTo>
                    <a:lnTo>
                      <a:pt x="134" y="834"/>
                    </a:lnTo>
                    <a:lnTo>
                      <a:pt x="130" y="833"/>
                    </a:lnTo>
                    <a:lnTo>
                      <a:pt x="128" y="830"/>
                    </a:lnTo>
                    <a:lnTo>
                      <a:pt x="128" y="826"/>
                    </a:lnTo>
                    <a:lnTo>
                      <a:pt x="131" y="823"/>
                    </a:lnTo>
                    <a:lnTo>
                      <a:pt x="134" y="825"/>
                    </a:lnTo>
                    <a:lnTo>
                      <a:pt x="134" y="828"/>
                    </a:lnTo>
                    <a:lnTo>
                      <a:pt x="133" y="831"/>
                    </a:lnTo>
                    <a:lnTo>
                      <a:pt x="136" y="828"/>
                    </a:lnTo>
                    <a:lnTo>
                      <a:pt x="139" y="826"/>
                    </a:lnTo>
                    <a:lnTo>
                      <a:pt x="144" y="826"/>
                    </a:lnTo>
                    <a:lnTo>
                      <a:pt x="147" y="823"/>
                    </a:lnTo>
                    <a:lnTo>
                      <a:pt x="144" y="825"/>
                    </a:lnTo>
                    <a:lnTo>
                      <a:pt x="139" y="826"/>
                    </a:lnTo>
                    <a:lnTo>
                      <a:pt x="138" y="823"/>
                    </a:lnTo>
                    <a:lnTo>
                      <a:pt x="142" y="815"/>
                    </a:lnTo>
                    <a:lnTo>
                      <a:pt x="142" y="812"/>
                    </a:lnTo>
                    <a:lnTo>
                      <a:pt x="144" y="812"/>
                    </a:lnTo>
                    <a:lnTo>
                      <a:pt x="150" y="809"/>
                    </a:lnTo>
                    <a:lnTo>
                      <a:pt x="150" y="806"/>
                    </a:lnTo>
                    <a:lnTo>
                      <a:pt x="147" y="804"/>
                    </a:lnTo>
                    <a:lnTo>
                      <a:pt x="149" y="807"/>
                    </a:lnTo>
                    <a:lnTo>
                      <a:pt x="145" y="811"/>
                    </a:lnTo>
                    <a:lnTo>
                      <a:pt x="142" y="811"/>
                    </a:lnTo>
                    <a:lnTo>
                      <a:pt x="141" y="812"/>
                    </a:lnTo>
                    <a:lnTo>
                      <a:pt x="139" y="815"/>
                    </a:lnTo>
                    <a:lnTo>
                      <a:pt x="138" y="819"/>
                    </a:lnTo>
                    <a:lnTo>
                      <a:pt x="138" y="815"/>
                    </a:lnTo>
                    <a:lnTo>
                      <a:pt x="134" y="819"/>
                    </a:lnTo>
                    <a:lnTo>
                      <a:pt x="130" y="820"/>
                    </a:lnTo>
                    <a:lnTo>
                      <a:pt x="123" y="822"/>
                    </a:lnTo>
                    <a:lnTo>
                      <a:pt x="120" y="820"/>
                    </a:lnTo>
                    <a:lnTo>
                      <a:pt x="118" y="817"/>
                    </a:lnTo>
                    <a:lnTo>
                      <a:pt x="115" y="814"/>
                    </a:lnTo>
                    <a:lnTo>
                      <a:pt x="115" y="812"/>
                    </a:lnTo>
                    <a:lnTo>
                      <a:pt x="118" y="812"/>
                    </a:lnTo>
                    <a:lnTo>
                      <a:pt x="122" y="809"/>
                    </a:lnTo>
                    <a:lnTo>
                      <a:pt x="125" y="806"/>
                    </a:lnTo>
                    <a:lnTo>
                      <a:pt x="128" y="803"/>
                    </a:lnTo>
                    <a:lnTo>
                      <a:pt x="128" y="800"/>
                    </a:lnTo>
                    <a:lnTo>
                      <a:pt x="131" y="796"/>
                    </a:lnTo>
                    <a:lnTo>
                      <a:pt x="134" y="796"/>
                    </a:lnTo>
                    <a:lnTo>
                      <a:pt x="139" y="795"/>
                    </a:lnTo>
                    <a:lnTo>
                      <a:pt x="142" y="793"/>
                    </a:lnTo>
                    <a:lnTo>
                      <a:pt x="139" y="795"/>
                    </a:lnTo>
                    <a:lnTo>
                      <a:pt x="134" y="796"/>
                    </a:lnTo>
                    <a:lnTo>
                      <a:pt x="131" y="796"/>
                    </a:lnTo>
                    <a:lnTo>
                      <a:pt x="128" y="798"/>
                    </a:lnTo>
                    <a:lnTo>
                      <a:pt x="125" y="800"/>
                    </a:lnTo>
                    <a:lnTo>
                      <a:pt x="122" y="800"/>
                    </a:lnTo>
                    <a:lnTo>
                      <a:pt x="123" y="796"/>
                    </a:lnTo>
                    <a:lnTo>
                      <a:pt x="118" y="798"/>
                    </a:lnTo>
                    <a:lnTo>
                      <a:pt x="120" y="795"/>
                    </a:lnTo>
                    <a:lnTo>
                      <a:pt x="123" y="793"/>
                    </a:lnTo>
                    <a:lnTo>
                      <a:pt x="128" y="790"/>
                    </a:lnTo>
                    <a:lnTo>
                      <a:pt x="131" y="788"/>
                    </a:lnTo>
                    <a:lnTo>
                      <a:pt x="134" y="785"/>
                    </a:lnTo>
                    <a:lnTo>
                      <a:pt x="136" y="782"/>
                    </a:lnTo>
                    <a:lnTo>
                      <a:pt x="139" y="779"/>
                    </a:lnTo>
                    <a:lnTo>
                      <a:pt x="142" y="776"/>
                    </a:lnTo>
                    <a:lnTo>
                      <a:pt x="142" y="776"/>
                    </a:lnTo>
                    <a:lnTo>
                      <a:pt x="139" y="777"/>
                    </a:lnTo>
                    <a:lnTo>
                      <a:pt x="134" y="779"/>
                    </a:lnTo>
                    <a:lnTo>
                      <a:pt x="134" y="784"/>
                    </a:lnTo>
                    <a:lnTo>
                      <a:pt x="131" y="787"/>
                    </a:lnTo>
                    <a:lnTo>
                      <a:pt x="128" y="788"/>
                    </a:lnTo>
                    <a:lnTo>
                      <a:pt x="125" y="792"/>
                    </a:lnTo>
                    <a:lnTo>
                      <a:pt x="120" y="793"/>
                    </a:lnTo>
                    <a:lnTo>
                      <a:pt x="117" y="795"/>
                    </a:lnTo>
                    <a:lnTo>
                      <a:pt x="114" y="793"/>
                    </a:lnTo>
                    <a:lnTo>
                      <a:pt x="111" y="793"/>
                    </a:lnTo>
                    <a:lnTo>
                      <a:pt x="107" y="793"/>
                    </a:lnTo>
                    <a:lnTo>
                      <a:pt x="109" y="790"/>
                    </a:lnTo>
                    <a:lnTo>
                      <a:pt x="112" y="787"/>
                    </a:lnTo>
                    <a:lnTo>
                      <a:pt x="115" y="785"/>
                    </a:lnTo>
                    <a:lnTo>
                      <a:pt x="112" y="785"/>
                    </a:lnTo>
                    <a:lnTo>
                      <a:pt x="109" y="790"/>
                    </a:lnTo>
                    <a:lnTo>
                      <a:pt x="106" y="792"/>
                    </a:lnTo>
                    <a:lnTo>
                      <a:pt x="101" y="795"/>
                    </a:lnTo>
                    <a:lnTo>
                      <a:pt x="101" y="792"/>
                    </a:lnTo>
                    <a:lnTo>
                      <a:pt x="96" y="793"/>
                    </a:lnTo>
                    <a:lnTo>
                      <a:pt x="93" y="793"/>
                    </a:lnTo>
                    <a:lnTo>
                      <a:pt x="90" y="793"/>
                    </a:lnTo>
                    <a:lnTo>
                      <a:pt x="87" y="793"/>
                    </a:lnTo>
                    <a:lnTo>
                      <a:pt x="90" y="790"/>
                    </a:lnTo>
                    <a:lnTo>
                      <a:pt x="96" y="788"/>
                    </a:lnTo>
                    <a:lnTo>
                      <a:pt x="93" y="788"/>
                    </a:lnTo>
                    <a:lnTo>
                      <a:pt x="90" y="788"/>
                    </a:lnTo>
                    <a:lnTo>
                      <a:pt x="88" y="787"/>
                    </a:lnTo>
                    <a:lnTo>
                      <a:pt x="98" y="787"/>
                    </a:lnTo>
                    <a:lnTo>
                      <a:pt x="106" y="785"/>
                    </a:lnTo>
                    <a:lnTo>
                      <a:pt x="114" y="782"/>
                    </a:lnTo>
                    <a:lnTo>
                      <a:pt x="115" y="779"/>
                    </a:lnTo>
                    <a:lnTo>
                      <a:pt x="118" y="777"/>
                    </a:lnTo>
                    <a:lnTo>
                      <a:pt x="122" y="774"/>
                    </a:lnTo>
                    <a:lnTo>
                      <a:pt x="123" y="771"/>
                    </a:lnTo>
                    <a:lnTo>
                      <a:pt x="120" y="774"/>
                    </a:lnTo>
                    <a:lnTo>
                      <a:pt x="117" y="777"/>
                    </a:lnTo>
                    <a:lnTo>
                      <a:pt x="114" y="779"/>
                    </a:lnTo>
                    <a:lnTo>
                      <a:pt x="109" y="782"/>
                    </a:lnTo>
                    <a:lnTo>
                      <a:pt x="106" y="784"/>
                    </a:lnTo>
                    <a:lnTo>
                      <a:pt x="103" y="784"/>
                    </a:lnTo>
                    <a:lnTo>
                      <a:pt x="99" y="784"/>
                    </a:lnTo>
                    <a:lnTo>
                      <a:pt x="95" y="785"/>
                    </a:lnTo>
                    <a:lnTo>
                      <a:pt x="92" y="785"/>
                    </a:lnTo>
                    <a:lnTo>
                      <a:pt x="95" y="784"/>
                    </a:lnTo>
                    <a:lnTo>
                      <a:pt x="99" y="782"/>
                    </a:lnTo>
                    <a:lnTo>
                      <a:pt x="98" y="779"/>
                    </a:lnTo>
                    <a:lnTo>
                      <a:pt x="95" y="779"/>
                    </a:lnTo>
                    <a:lnTo>
                      <a:pt x="92" y="779"/>
                    </a:lnTo>
                    <a:lnTo>
                      <a:pt x="88" y="779"/>
                    </a:lnTo>
                    <a:lnTo>
                      <a:pt x="90" y="776"/>
                    </a:lnTo>
                    <a:lnTo>
                      <a:pt x="96" y="776"/>
                    </a:lnTo>
                    <a:lnTo>
                      <a:pt x="99" y="776"/>
                    </a:lnTo>
                    <a:lnTo>
                      <a:pt x="96" y="776"/>
                    </a:lnTo>
                    <a:lnTo>
                      <a:pt x="93" y="774"/>
                    </a:lnTo>
                    <a:lnTo>
                      <a:pt x="93" y="771"/>
                    </a:lnTo>
                    <a:lnTo>
                      <a:pt x="90" y="774"/>
                    </a:lnTo>
                    <a:lnTo>
                      <a:pt x="87" y="777"/>
                    </a:lnTo>
                    <a:lnTo>
                      <a:pt x="84" y="777"/>
                    </a:lnTo>
                    <a:lnTo>
                      <a:pt x="80" y="774"/>
                    </a:lnTo>
                    <a:lnTo>
                      <a:pt x="77" y="777"/>
                    </a:lnTo>
                    <a:lnTo>
                      <a:pt x="72" y="776"/>
                    </a:lnTo>
                    <a:lnTo>
                      <a:pt x="69" y="776"/>
                    </a:lnTo>
                    <a:lnTo>
                      <a:pt x="72" y="777"/>
                    </a:lnTo>
                    <a:lnTo>
                      <a:pt x="69" y="779"/>
                    </a:lnTo>
                    <a:lnTo>
                      <a:pt x="66" y="776"/>
                    </a:lnTo>
                    <a:lnTo>
                      <a:pt x="63" y="776"/>
                    </a:lnTo>
                    <a:lnTo>
                      <a:pt x="61" y="773"/>
                    </a:lnTo>
                    <a:lnTo>
                      <a:pt x="65" y="769"/>
                    </a:lnTo>
                    <a:lnTo>
                      <a:pt x="68" y="771"/>
                    </a:lnTo>
                    <a:lnTo>
                      <a:pt x="72" y="771"/>
                    </a:lnTo>
                    <a:lnTo>
                      <a:pt x="76" y="771"/>
                    </a:lnTo>
                    <a:lnTo>
                      <a:pt x="79" y="769"/>
                    </a:lnTo>
                    <a:lnTo>
                      <a:pt x="85" y="769"/>
                    </a:lnTo>
                    <a:lnTo>
                      <a:pt x="90" y="768"/>
                    </a:lnTo>
                    <a:lnTo>
                      <a:pt x="93" y="766"/>
                    </a:lnTo>
                    <a:lnTo>
                      <a:pt x="88" y="768"/>
                    </a:lnTo>
                    <a:lnTo>
                      <a:pt x="85" y="769"/>
                    </a:lnTo>
                    <a:lnTo>
                      <a:pt x="82" y="769"/>
                    </a:lnTo>
                    <a:lnTo>
                      <a:pt x="79" y="769"/>
                    </a:lnTo>
                    <a:lnTo>
                      <a:pt x="76" y="769"/>
                    </a:lnTo>
                    <a:lnTo>
                      <a:pt x="71" y="771"/>
                    </a:lnTo>
                    <a:lnTo>
                      <a:pt x="68" y="769"/>
                    </a:lnTo>
                    <a:lnTo>
                      <a:pt x="65" y="768"/>
                    </a:lnTo>
                    <a:lnTo>
                      <a:pt x="61" y="769"/>
                    </a:lnTo>
                    <a:lnTo>
                      <a:pt x="58" y="765"/>
                    </a:lnTo>
                    <a:lnTo>
                      <a:pt x="71" y="761"/>
                    </a:lnTo>
                    <a:lnTo>
                      <a:pt x="84" y="760"/>
                    </a:lnTo>
                    <a:lnTo>
                      <a:pt x="74" y="760"/>
                    </a:lnTo>
                    <a:lnTo>
                      <a:pt x="66" y="760"/>
                    </a:lnTo>
                    <a:lnTo>
                      <a:pt x="71" y="755"/>
                    </a:lnTo>
                    <a:lnTo>
                      <a:pt x="77" y="752"/>
                    </a:lnTo>
                    <a:lnTo>
                      <a:pt x="84" y="749"/>
                    </a:lnTo>
                    <a:lnTo>
                      <a:pt x="90" y="747"/>
                    </a:lnTo>
                    <a:lnTo>
                      <a:pt x="96" y="747"/>
                    </a:lnTo>
                    <a:lnTo>
                      <a:pt x="101" y="747"/>
                    </a:lnTo>
                    <a:lnTo>
                      <a:pt x="104" y="747"/>
                    </a:lnTo>
                    <a:lnTo>
                      <a:pt x="107" y="747"/>
                    </a:lnTo>
                    <a:lnTo>
                      <a:pt x="111" y="746"/>
                    </a:lnTo>
                    <a:lnTo>
                      <a:pt x="112" y="742"/>
                    </a:lnTo>
                    <a:lnTo>
                      <a:pt x="111" y="746"/>
                    </a:lnTo>
                    <a:lnTo>
                      <a:pt x="106" y="746"/>
                    </a:lnTo>
                    <a:lnTo>
                      <a:pt x="103" y="746"/>
                    </a:lnTo>
                    <a:lnTo>
                      <a:pt x="99" y="746"/>
                    </a:lnTo>
                    <a:lnTo>
                      <a:pt x="96" y="746"/>
                    </a:lnTo>
                    <a:lnTo>
                      <a:pt x="92" y="746"/>
                    </a:lnTo>
                    <a:lnTo>
                      <a:pt x="88" y="746"/>
                    </a:lnTo>
                    <a:lnTo>
                      <a:pt x="85" y="746"/>
                    </a:lnTo>
                    <a:lnTo>
                      <a:pt x="88" y="742"/>
                    </a:lnTo>
                    <a:lnTo>
                      <a:pt x="92" y="741"/>
                    </a:lnTo>
                    <a:lnTo>
                      <a:pt x="88" y="742"/>
                    </a:lnTo>
                    <a:lnTo>
                      <a:pt x="84" y="746"/>
                    </a:lnTo>
                    <a:lnTo>
                      <a:pt x="80" y="746"/>
                    </a:lnTo>
                    <a:lnTo>
                      <a:pt x="80" y="749"/>
                    </a:lnTo>
                    <a:lnTo>
                      <a:pt x="77" y="752"/>
                    </a:lnTo>
                    <a:lnTo>
                      <a:pt x="72" y="754"/>
                    </a:lnTo>
                    <a:lnTo>
                      <a:pt x="69" y="755"/>
                    </a:lnTo>
                    <a:lnTo>
                      <a:pt x="69" y="752"/>
                    </a:lnTo>
                    <a:lnTo>
                      <a:pt x="71" y="747"/>
                    </a:lnTo>
                    <a:lnTo>
                      <a:pt x="71" y="747"/>
                    </a:lnTo>
                    <a:lnTo>
                      <a:pt x="76" y="741"/>
                    </a:lnTo>
                    <a:lnTo>
                      <a:pt x="79" y="738"/>
                    </a:lnTo>
                    <a:lnTo>
                      <a:pt x="82" y="736"/>
                    </a:lnTo>
                    <a:lnTo>
                      <a:pt x="87" y="736"/>
                    </a:lnTo>
                    <a:lnTo>
                      <a:pt x="90" y="733"/>
                    </a:lnTo>
                    <a:lnTo>
                      <a:pt x="93" y="730"/>
                    </a:lnTo>
                    <a:lnTo>
                      <a:pt x="96" y="728"/>
                    </a:lnTo>
                    <a:lnTo>
                      <a:pt x="93" y="730"/>
                    </a:lnTo>
                    <a:lnTo>
                      <a:pt x="96" y="730"/>
                    </a:lnTo>
                    <a:lnTo>
                      <a:pt x="101" y="727"/>
                    </a:lnTo>
                    <a:lnTo>
                      <a:pt x="104" y="725"/>
                    </a:lnTo>
                    <a:lnTo>
                      <a:pt x="107" y="725"/>
                    </a:lnTo>
                    <a:lnTo>
                      <a:pt x="111" y="722"/>
                    </a:lnTo>
                    <a:lnTo>
                      <a:pt x="114" y="722"/>
                    </a:lnTo>
                    <a:lnTo>
                      <a:pt x="118" y="722"/>
                    </a:lnTo>
                    <a:lnTo>
                      <a:pt x="118" y="725"/>
                    </a:lnTo>
                    <a:lnTo>
                      <a:pt x="118" y="728"/>
                    </a:lnTo>
                    <a:lnTo>
                      <a:pt x="118" y="731"/>
                    </a:lnTo>
                    <a:lnTo>
                      <a:pt x="120" y="728"/>
                    </a:lnTo>
                    <a:lnTo>
                      <a:pt x="118" y="725"/>
                    </a:lnTo>
                    <a:lnTo>
                      <a:pt x="120" y="722"/>
                    </a:lnTo>
                    <a:lnTo>
                      <a:pt x="125" y="720"/>
                    </a:lnTo>
                    <a:lnTo>
                      <a:pt x="128" y="719"/>
                    </a:lnTo>
                    <a:lnTo>
                      <a:pt x="125" y="719"/>
                    </a:lnTo>
                    <a:lnTo>
                      <a:pt x="122" y="719"/>
                    </a:lnTo>
                    <a:lnTo>
                      <a:pt x="118" y="720"/>
                    </a:lnTo>
                    <a:lnTo>
                      <a:pt x="117" y="717"/>
                    </a:lnTo>
                    <a:lnTo>
                      <a:pt x="118" y="712"/>
                    </a:lnTo>
                    <a:lnTo>
                      <a:pt x="122" y="711"/>
                    </a:lnTo>
                    <a:lnTo>
                      <a:pt x="125" y="709"/>
                    </a:lnTo>
                    <a:lnTo>
                      <a:pt x="130" y="709"/>
                    </a:lnTo>
                    <a:lnTo>
                      <a:pt x="133" y="706"/>
                    </a:lnTo>
                    <a:lnTo>
                      <a:pt x="136" y="703"/>
                    </a:lnTo>
                    <a:lnTo>
                      <a:pt x="136" y="700"/>
                    </a:lnTo>
                    <a:lnTo>
                      <a:pt x="133" y="706"/>
                    </a:lnTo>
                    <a:lnTo>
                      <a:pt x="126" y="709"/>
                    </a:lnTo>
                    <a:lnTo>
                      <a:pt x="120" y="711"/>
                    </a:lnTo>
                    <a:lnTo>
                      <a:pt x="114" y="715"/>
                    </a:lnTo>
                    <a:lnTo>
                      <a:pt x="101" y="720"/>
                    </a:lnTo>
                    <a:lnTo>
                      <a:pt x="88" y="725"/>
                    </a:lnTo>
                    <a:lnTo>
                      <a:pt x="90" y="722"/>
                    </a:lnTo>
                    <a:lnTo>
                      <a:pt x="93" y="720"/>
                    </a:lnTo>
                    <a:lnTo>
                      <a:pt x="95" y="715"/>
                    </a:lnTo>
                    <a:lnTo>
                      <a:pt x="98" y="714"/>
                    </a:lnTo>
                    <a:lnTo>
                      <a:pt x="95" y="715"/>
                    </a:lnTo>
                    <a:lnTo>
                      <a:pt x="92" y="719"/>
                    </a:lnTo>
                    <a:lnTo>
                      <a:pt x="88" y="720"/>
                    </a:lnTo>
                    <a:lnTo>
                      <a:pt x="90" y="717"/>
                    </a:lnTo>
                    <a:lnTo>
                      <a:pt x="93" y="714"/>
                    </a:lnTo>
                    <a:lnTo>
                      <a:pt x="96" y="714"/>
                    </a:lnTo>
                    <a:lnTo>
                      <a:pt x="101" y="711"/>
                    </a:lnTo>
                    <a:lnTo>
                      <a:pt x="87" y="717"/>
                    </a:lnTo>
                    <a:lnTo>
                      <a:pt x="76" y="722"/>
                    </a:lnTo>
                    <a:lnTo>
                      <a:pt x="79" y="720"/>
                    </a:lnTo>
                    <a:lnTo>
                      <a:pt x="82" y="717"/>
                    </a:lnTo>
                    <a:lnTo>
                      <a:pt x="87" y="715"/>
                    </a:lnTo>
                    <a:lnTo>
                      <a:pt x="88" y="712"/>
                    </a:lnTo>
                    <a:lnTo>
                      <a:pt x="98" y="704"/>
                    </a:lnTo>
                    <a:lnTo>
                      <a:pt x="104" y="698"/>
                    </a:lnTo>
                    <a:lnTo>
                      <a:pt x="101" y="700"/>
                    </a:lnTo>
                    <a:lnTo>
                      <a:pt x="98" y="701"/>
                    </a:lnTo>
                    <a:lnTo>
                      <a:pt x="95" y="701"/>
                    </a:lnTo>
                    <a:lnTo>
                      <a:pt x="92" y="698"/>
                    </a:lnTo>
                    <a:lnTo>
                      <a:pt x="95" y="695"/>
                    </a:lnTo>
                    <a:lnTo>
                      <a:pt x="96" y="692"/>
                    </a:lnTo>
                    <a:lnTo>
                      <a:pt x="99" y="689"/>
                    </a:lnTo>
                    <a:lnTo>
                      <a:pt x="98" y="685"/>
                    </a:lnTo>
                    <a:lnTo>
                      <a:pt x="96" y="687"/>
                    </a:lnTo>
                    <a:lnTo>
                      <a:pt x="93" y="684"/>
                    </a:lnTo>
                    <a:lnTo>
                      <a:pt x="96" y="681"/>
                    </a:lnTo>
                    <a:lnTo>
                      <a:pt x="99" y="676"/>
                    </a:lnTo>
                    <a:lnTo>
                      <a:pt x="99" y="673"/>
                    </a:lnTo>
                    <a:lnTo>
                      <a:pt x="103" y="673"/>
                    </a:lnTo>
                    <a:lnTo>
                      <a:pt x="106" y="676"/>
                    </a:lnTo>
                    <a:lnTo>
                      <a:pt x="107" y="681"/>
                    </a:lnTo>
                    <a:lnTo>
                      <a:pt x="111" y="677"/>
                    </a:lnTo>
                    <a:lnTo>
                      <a:pt x="114" y="677"/>
                    </a:lnTo>
                    <a:lnTo>
                      <a:pt x="118" y="676"/>
                    </a:lnTo>
                    <a:lnTo>
                      <a:pt x="122" y="676"/>
                    </a:lnTo>
                    <a:lnTo>
                      <a:pt x="120" y="681"/>
                    </a:lnTo>
                    <a:lnTo>
                      <a:pt x="122" y="684"/>
                    </a:lnTo>
                    <a:lnTo>
                      <a:pt x="123" y="681"/>
                    </a:lnTo>
                    <a:lnTo>
                      <a:pt x="123" y="676"/>
                    </a:lnTo>
                    <a:lnTo>
                      <a:pt x="120" y="676"/>
                    </a:lnTo>
                    <a:lnTo>
                      <a:pt x="115" y="674"/>
                    </a:lnTo>
                    <a:lnTo>
                      <a:pt x="112" y="677"/>
                    </a:lnTo>
                    <a:lnTo>
                      <a:pt x="109" y="677"/>
                    </a:lnTo>
                    <a:lnTo>
                      <a:pt x="107" y="674"/>
                    </a:lnTo>
                    <a:lnTo>
                      <a:pt x="107" y="671"/>
                    </a:lnTo>
                    <a:lnTo>
                      <a:pt x="111" y="668"/>
                    </a:lnTo>
                    <a:lnTo>
                      <a:pt x="114" y="663"/>
                    </a:lnTo>
                    <a:lnTo>
                      <a:pt x="117" y="663"/>
                    </a:lnTo>
                    <a:lnTo>
                      <a:pt x="120" y="662"/>
                    </a:lnTo>
                    <a:lnTo>
                      <a:pt x="125" y="662"/>
                    </a:lnTo>
                    <a:lnTo>
                      <a:pt x="120" y="660"/>
                    </a:lnTo>
                    <a:lnTo>
                      <a:pt x="125" y="657"/>
                    </a:lnTo>
                    <a:lnTo>
                      <a:pt x="125" y="655"/>
                    </a:lnTo>
                    <a:lnTo>
                      <a:pt x="120" y="658"/>
                    </a:lnTo>
                    <a:lnTo>
                      <a:pt x="117" y="660"/>
                    </a:lnTo>
                    <a:lnTo>
                      <a:pt x="114" y="662"/>
                    </a:lnTo>
                    <a:lnTo>
                      <a:pt x="111" y="663"/>
                    </a:lnTo>
                    <a:lnTo>
                      <a:pt x="111" y="660"/>
                    </a:lnTo>
                    <a:lnTo>
                      <a:pt x="109" y="663"/>
                    </a:lnTo>
                    <a:lnTo>
                      <a:pt x="104" y="663"/>
                    </a:lnTo>
                    <a:lnTo>
                      <a:pt x="101" y="666"/>
                    </a:lnTo>
                    <a:lnTo>
                      <a:pt x="98" y="668"/>
                    </a:lnTo>
                    <a:lnTo>
                      <a:pt x="95" y="669"/>
                    </a:lnTo>
                    <a:lnTo>
                      <a:pt x="92" y="673"/>
                    </a:lnTo>
                    <a:lnTo>
                      <a:pt x="88" y="677"/>
                    </a:lnTo>
                    <a:lnTo>
                      <a:pt x="84" y="679"/>
                    </a:lnTo>
                    <a:lnTo>
                      <a:pt x="80" y="669"/>
                    </a:lnTo>
                    <a:lnTo>
                      <a:pt x="79" y="662"/>
                    </a:lnTo>
                    <a:lnTo>
                      <a:pt x="79" y="660"/>
                    </a:lnTo>
                    <a:lnTo>
                      <a:pt x="79" y="657"/>
                    </a:lnTo>
                    <a:lnTo>
                      <a:pt x="82" y="654"/>
                    </a:lnTo>
                    <a:lnTo>
                      <a:pt x="87" y="650"/>
                    </a:lnTo>
                    <a:lnTo>
                      <a:pt x="88" y="649"/>
                    </a:lnTo>
                    <a:lnTo>
                      <a:pt x="90" y="654"/>
                    </a:lnTo>
                    <a:lnTo>
                      <a:pt x="90" y="657"/>
                    </a:lnTo>
                    <a:lnTo>
                      <a:pt x="90" y="654"/>
                    </a:lnTo>
                    <a:lnTo>
                      <a:pt x="92" y="650"/>
                    </a:lnTo>
                    <a:lnTo>
                      <a:pt x="95" y="647"/>
                    </a:lnTo>
                    <a:lnTo>
                      <a:pt x="98" y="647"/>
                    </a:lnTo>
                    <a:lnTo>
                      <a:pt x="103" y="649"/>
                    </a:lnTo>
                    <a:lnTo>
                      <a:pt x="106" y="647"/>
                    </a:lnTo>
                    <a:lnTo>
                      <a:pt x="107" y="646"/>
                    </a:lnTo>
                    <a:lnTo>
                      <a:pt x="104" y="647"/>
                    </a:lnTo>
                    <a:lnTo>
                      <a:pt x="101" y="647"/>
                    </a:lnTo>
                    <a:lnTo>
                      <a:pt x="98" y="646"/>
                    </a:lnTo>
                    <a:lnTo>
                      <a:pt x="93" y="647"/>
                    </a:lnTo>
                    <a:lnTo>
                      <a:pt x="87" y="649"/>
                    </a:lnTo>
                    <a:lnTo>
                      <a:pt x="84" y="647"/>
                    </a:lnTo>
                    <a:lnTo>
                      <a:pt x="84" y="646"/>
                    </a:lnTo>
                    <a:lnTo>
                      <a:pt x="87" y="643"/>
                    </a:lnTo>
                    <a:lnTo>
                      <a:pt x="84" y="643"/>
                    </a:lnTo>
                    <a:lnTo>
                      <a:pt x="84" y="639"/>
                    </a:lnTo>
                    <a:lnTo>
                      <a:pt x="87" y="638"/>
                    </a:lnTo>
                    <a:lnTo>
                      <a:pt x="88" y="635"/>
                    </a:lnTo>
                    <a:lnTo>
                      <a:pt x="93" y="631"/>
                    </a:lnTo>
                    <a:lnTo>
                      <a:pt x="93" y="635"/>
                    </a:lnTo>
                    <a:lnTo>
                      <a:pt x="93" y="638"/>
                    </a:lnTo>
                    <a:lnTo>
                      <a:pt x="93" y="641"/>
                    </a:lnTo>
                    <a:lnTo>
                      <a:pt x="95" y="643"/>
                    </a:lnTo>
                    <a:lnTo>
                      <a:pt x="95" y="643"/>
                    </a:lnTo>
                    <a:lnTo>
                      <a:pt x="96" y="639"/>
                    </a:lnTo>
                    <a:lnTo>
                      <a:pt x="99" y="636"/>
                    </a:lnTo>
                    <a:lnTo>
                      <a:pt x="101" y="636"/>
                    </a:lnTo>
                    <a:lnTo>
                      <a:pt x="101" y="635"/>
                    </a:lnTo>
                    <a:lnTo>
                      <a:pt x="98" y="636"/>
                    </a:lnTo>
                    <a:lnTo>
                      <a:pt x="95" y="633"/>
                    </a:lnTo>
                    <a:lnTo>
                      <a:pt x="95" y="630"/>
                    </a:lnTo>
                    <a:lnTo>
                      <a:pt x="99" y="628"/>
                    </a:lnTo>
                    <a:lnTo>
                      <a:pt x="103" y="628"/>
                    </a:lnTo>
                    <a:lnTo>
                      <a:pt x="106" y="631"/>
                    </a:lnTo>
                    <a:lnTo>
                      <a:pt x="109" y="631"/>
                    </a:lnTo>
                    <a:lnTo>
                      <a:pt x="106" y="630"/>
                    </a:lnTo>
                    <a:lnTo>
                      <a:pt x="103" y="627"/>
                    </a:lnTo>
                    <a:lnTo>
                      <a:pt x="107" y="625"/>
                    </a:lnTo>
                    <a:lnTo>
                      <a:pt x="111" y="623"/>
                    </a:lnTo>
                    <a:lnTo>
                      <a:pt x="114" y="619"/>
                    </a:lnTo>
                    <a:lnTo>
                      <a:pt x="117" y="617"/>
                    </a:lnTo>
                    <a:lnTo>
                      <a:pt x="118" y="617"/>
                    </a:lnTo>
                    <a:lnTo>
                      <a:pt x="122" y="619"/>
                    </a:lnTo>
                    <a:lnTo>
                      <a:pt x="125" y="617"/>
                    </a:lnTo>
                    <a:lnTo>
                      <a:pt x="128" y="617"/>
                    </a:lnTo>
                    <a:lnTo>
                      <a:pt x="130" y="616"/>
                    </a:lnTo>
                    <a:lnTo>
                      <a:pt x="126" y="617"/>
                    </a:lnTo>
                    <a:lnTo>
                      <a:pt x="123" y="616"/>
                    </a:lnTo>
                    <a:lnTo>
                      <a:pt x="120" y="617"/>
                    </a:lnTo>
                    <a:lnTo>
                      <a:pt x="123" y="612"/>
                    </a:lnTo>
                    <a:lnTo>
                      <a:pt x="126" y="611"/>
                    </a:lnTo>
                    <a:lnTo>
                      <a:pt x="130" y="609"/>
                    </a:lnTo>
                    <a:lnTo>
                      <a:pt x="134" y="606"/>
                    </a:lnTo>
                    <a:lnTo>
                      <a:pt x="138" y="604"/>
                    </a:lnTo>
                    <a:lnTo>
                      <a:pt x="141" y="603"/>
                    </a:lnTo>
                    <a:lnTo>
                      <a:pt x="145" y="600"/>
                    </a:lnTo>
                    <a:lnTo>
                      <a:pt x="149" y="600"/>
                    </a:lnTo>
                    <a:lnTo>
                      <a:pt x="145" y="600"/>
                    </a:lnTo>
                    <a:lnTo>
                      <a:pt x="144" y="597"/>
                    </a:lnTo>
                    <a:lnTo>
                      <a:pt x="147" y="592"/>
                    </a:lnTo>
                    <a:lnTo>
                      <a:pt x="144" y="595"/>
                    </a:lnTo>
                    <a:lnTo>
                      <a:pt x="141" y="600"/>
                    </a:lnTo>
                    <a:lnTo>
                      <a:pt x="138" y="601"/>
                    </a:lnTo>
                    <a:lnTo>
                      <a:pt x="134" y="604"/>
                    </a:lnTo>
                    <a:lnTo>
                      <a:pt x="126" y="611"/>
                    </a:lnTo>
                    <a:lnTo>
                      <a:pt x="118" y="616"/>
                    </a:lnTo>
                    <a:lnTo>
                      <a:pt x="118" y="612"/>
                    </a:lnTo>
                    <a:lnTo>
                      <a:pt x="123" y="609"/>
                    </a:lnTo>
                    <a:lnTo>
                      <a:pt x="126" y="608"/>
                    </a:lnTo>
                    <a:lnTo>
                      <a:pt x="128" y="608"/>
                    </a:lnTo>
                    <a:lnTo>
                      <a:pt x="131" y="604"/>
                    </a:lnTo>
                    <a:lnTo>
                      <a:pt x="131" y="603"/>
                    </a:lnTo>
                    <a:lnTo>
                      <a:pt x="134" y="600"/>
                    </a:lnTo>
                    <a:lnTo>
                      <a:pt x="134" y="597"/>
                    </a:lnTo>
                    <a:lnTo>
                      <a:pt x="138" y="592"/>
                    </a:lnTo>
                    <a:lnTo>
                      <a:pt x="141" y="589"/>
                    </a:lnTo>
                    <a:lnTo>
                      <a:pt x="144" y="585"/>
                    </a:lnTo>
                    <a:lnTo>
                      <a:pt x="147" y="584"/>
                    </a:lnTo>
                    <a:lnTo>
                      <a:pt x="150" y="582"/>
                    </a:lnTo>
                    <a:lnTo>
                      <a:pt x="152" y="581"/>
                    </a:lnTo>
                    <a:lnTo>
                      <a:pt x="150" y="582"/>
                    </a:lnTo>
                    <a:lnTo>
                      <a:pt x="153" y="578"/>
                    </a:lnTo>
                    <a:lnTo>
                      <a:pt x="155" y="574"/>
                    </a:lnTo>
                    <a:lnTo>
                      <a:pt x="152" y="574"/>
                    </a:lnTo>
                    <a:lnTo>
                      <a:pt x="149" y="573"/>
                    </a:lnTo>
                    <a:lnTo>
                      <a:pt x="149" y="570"/>
                    </a:lnTo>
                    <a:lnTo>
                      <a:pt x="144" y="568"/>
                    </a:lnTo>
                    <a:lnTo>
                      <a:pt x="144" y="565"/>
                    </a:lnTo>
                    <a:lnTo>
                      <a:pt x="141" y="563"/>
                    </a:lnTo>
                    <a:lnTo>
                      <a:pt x="138" y="563"/>
                    </a:lnTo>
                    <a:lnTo>
                      <a:pt x="134" y="560"/>
                    </a:lnTo>
                    <a:lnTo>
                      <a:pt x="131" y="557"/>
                    </a:lnTo>
                    <a:lnTo>
                      <a:pt x="126" y="555"/>
                    </a:lnTo>
                    <a:lnTo>
                      <a:pt x="123" y="555"/>
                    </a:lnTo>
                    <a:lnTo>
                      <a:pt x="123" y="554"/>
                    </a:lnTo>
                    <a:lnTo>
                      <a:pt x="125" y="549"/>
                    </a:lnTo>
                    <a:lnTo>
                      <a:pt x="125" y="546"/>
                    </a:lnTo>
                    <a:lnTo>
                      <a:pt x="126" y="543"/>
                    </a:lnTo>
                    <a:lnTo>
                      <a:pt x="130" y="539"/>
                    </a:lnTo>
                    <a:lnTo>
                      <a:pt x="126" y="536"/>
                    </a:lnTo>
                    <a:lnTo>
                      <a:pt x="130" y="533"/>
                    </a:lnTo>
                    <a:lnTo>
                      <a:pt x="133" y="530"/>
                    </a:lnTo>
                    <a:lnTo>
                      <a:pt x="134" y="527"/>
                    </a:lnTo>
                    <a:lnTo>
                      <a:pt x="134" y="520"/>
                    </a:lnTo>
                    <a:lnTo>
                      <a:pt x="134" y="516"/>
                    </a:lnTo>
                    <a:lnTo>
                      <a:pt x="134" y="512"/>
                    </a:lnTo>
                    <a:lnTo>
                      <a:pt x="138" y="509"/>
                    </a:lnTo>
                    <a:lnTo>
                      <a:pt x="138" y="506"/>
                    </a:lnTo>
                    <a:lnTo>
                      <a:pt x="138" y="503"/>
                    </a:lnTo>
                    <a:lnTo>
                      <a:pt x="139" y="498"/>
                    </a:lnTo>
                    <a:lnTo>
                      <a:pt x="141" y="495"/>
                    </a:lnTo>
                    <a:lnTo>
                      <a:pt x="139" y="492"/>
                    </a:lnTo>
                    <a:lnTo>
                      <a:pt x="139" y="489"/>
                    </a:lnTo>
                    <a:lnTo>
                      <a:pt x="144" y="486"/>
                    </a:lnTo>
                    <a:lnTo>
                      <a:pt x="144" y="482"/>
                    </a:lnTo>
                    <a:lnTo>
                      <a:pt x="142" y="479"/>
                    </a:lnTo>
                    <a:lnTo>
                      <a:pt x="142" y="476"/>
                    </a:lnTo>
                    <a:lnTo>
                      <a:pt x="141" y="473"/>
                    </a:lnTo>
                    <a:lnTo>
                      <a:pt x="136" y="470"/>
                    </a:lnTo>
                    <a:lnTo>
                      <a:pt x="136" y="467"/>
                    </a:lnTo>
                    <a:lnTo>
                      <a:pt x="138" y="463"/>
                    </a:lnTo>
                    <a:lnTo>
                      <a:pt x="139" y="460"/>
                    </a:lnTo>
                    <a:lnTo>
                      <a:pt x="138" y="455"/>
                    </a:lnTo>
                    <a:lnTo>
                      <a:pt x="133" y="454"/>
                    </a:lnTo>
                    <a:lnTo>
                      <a:pt x="133" y="451"/>
                    </a:lnTo>
                    <a:lnTo>
                      <a:pt x="134" y="447"/>
                    </a:lnTo>
                    <a:lnTo>
                      <a:pt x="139" y="444"/>
                    </a:lnTo>
                    <a:lnTo>
                      <a:pt x="141" y="441"/>
                    </a:lnTo>
                    <a:lnTo>
                      <a:pt x="141" y="441"/>
                    </a:lnTo>
                    <a:lnTo>
                      <a:pt x="139" y="436"/>
                    </a:lnTo>
                    <a:lnTo>
                      <a:pt x="134" y="435"/>
                    </a:lnTo>
                    <a:lnTo>
                      <a:pt x="120" y="438"/>
                    </a:lnTo>
                    <a:lnTo>
                      <a:pt x="115" y="440"/>
                    </a:lnTo>
                    <a:lnTo>
                      <a:pt x="112" y="440"/>
                    </a:lnTo>
                    <a:lnTo>
                      <a:pt x="109" y="440"/>
                    </a:lnTo>
                    <a:lnTo>
                      <a:pt x="104" y="441"/>
                    </a:lnTo>
                    <a:lnTo>
                      <a:pt x="103" y="444"/>
                    </a:lnTo>
                    <a:lnTo>
                      <a:pt x="98" y="446"/>
                    </a:lnTo>
                    <a:lnTo>
                      <a:pt x="95" y="446"/>
                    </a:lnTo>
                    <a:lnTo>
                      <a:pt x="92" y="451"/>
                    </a:lnTo>
                    <a:lnTo>
                      <a:pt x="88" y="452"/>
                    </a:lnTo>
                    <a:lnTo>
                      <a:pt x="84" y="455"/>
                    </a:lnTo>
                    <a:lnTo>
                      <a:pt x="80" y="457"/>
                    </a:lnTo>
                    <a:lnTo>
                      <a:pt x="76" y="457"/>
                    </a:lnTo>
                    <a:lnTo>
                      <a:pt x="72" y="459"/>
                    </a:lnTo>
                    <a:lnTo>
                      <a:pt x="58" y="462"/>
                    </a:lnTo>
                    <a:lnTo>
                      <a:pt x="46" y="467"/>
                    </a:lnTo>
                    <a:lnTo>
                      <a:pt x="50" y="459"/>
                    </a:lnTo>
                    <a:lnTo>
                      <a:pt x="52" y="454"/>
                    </a:lnTo>
                    <a:lnTo>
                      <a:pt x="52" y="449"/>
                    </a:lnTo>
                    <a:lnTo>
                      <a:pt x="47" y="440"/>
                    </a:lnTo>
                    <a:lnTo>
                      <a:pt x="46" y="436"/>
                    </a:lnTo>
                    <a:lnTo>
                      <a:pt x="47" y="432"/>
                    </a:lnTo>
                    <a:lnTo>
                      <a:pt x="46" y="428"/>
                    </a:lnTo>
                    <a:lnTo>
                      <a:pt x="42" y="427"/>
                    </a:lnTo>
                    <a:lnTo>
                      <a:pt x="42" y="427"/>
                    </a:lnTo>
                    <a:lnTo>
                      <a:pt x="42" y="422"/>
                    </a:lnTo>
                    <a:lnTo>
                      <a:pt x="50" y="417"/>
                    </a:lnTo>
                    <a:lnTo>
                      <a:pt x="55" y="414"/>
                    </a:lnTo>
                    <a:lnTo>
                      <a:pt x="50" y="413"/>
                    </a:lnTo>
                    <a:lnTo>
                      <a:pt x="47" y="413"/>
                    </a:lnTo>
                    <a:lnTo>
                      <a:pt x="42" y="414"/>
                    </a:lnTo>
                    <a:lnTo>
                      <a:pt x="38" y="414"/>
                    </a:lnTo>
                    <a:lnTo>
                      <a:pt x="34" y="414"/>
                    </a:lnTo>
                    <a:lnTo>
                      <a:pt x="26" y="417"/>
                    </a:lnTo>
                    <a:lnTo>
                      <a:pt x="23" y="419"/>
                    </a:lnTo>
                    <a:lnTo>
                      <a:pt x="22" y="419"/>
                    </a:lnTo>
                    <a:close/>
                    <a:moveTo>
                      <a:pt x="797" y="221"/>
                    </a:moveTo>
                    <a:lnTo>
                      <a:pt x="796" y="222"/>
                    </a:lnTo>
                    <a:lnTo>
                      <a:pt x="799" y="225"/>
                    </a:lnTo>
                    <a:lnTo>
                      <a:pt x="802" y="225"/>
                    </a:lnTo>
                    <a:lnTo>
                      <a:pt x="800" y="230"/>
                    </a:lnTo>
                    <a:lnTo>
                      <a:pt x="793" y="230"/>
                    </a:lnTo>
                    <a:lnTo>
                      <a:pt x="785" y="233"/>
                    </a:lnTo>
                    <a:lnTo>
                      <a:pt x="780" y="235"/>
                    </a:lnTo>
                    <a:lnTo>
                      <a:pt x="777" y="237"/>
                    </a:lnTo>
                    <a:lnTo>
                      <a:pt x="774" y="237"/>
                    </a:lnTo>
                    <a:lnTo>
                      <a:pt x="770" y="238"/>
                    </a:lnTo>
                    <a:lnTo>
                      <a:pt x="766" y="240"/>
                    </a:lnTo>
                    <a:lnTo>
                      <a:pt x="758" y="243"/>
                    </a:lnTo>
                    <a:lnTo>
                      <a:pt x="748" y="244"/>
                    </a:lnTo>
                    <a:lnTo>
                      <a:pt x="745" y="244"/>
                    </a:lnTo>
                    <a:lnTo>
                      <a:pt x="740" y="246"/>
                    </a:lnTo>
                    <a:lnTo>
                      <a:pt x="737" y="248"/>
                    </a:lnTo>
                    <a:lnTo>
                      <a:pt x="734" y="249"/>
                    </a:lnTo>
                    <a:lnTo>
                      <a:pt x="731" y="249"/>
                    </a:lnTo>
                    <a:lnTo>
                      <a:pt x="729" y="249"/>
                    </a:lnTo>
                    <a:lnTo>
                      <a:pt x="729" y="246"/>
                    </a:lnTo>
                    <a:lnTo>
                      <a:pt x="732" y="244"/>
                    </a:lnTo>
                    <a:lnTo>
                      <a:pt x="737" y="244"/>
                    </a:lnTo>
                    <a:lnTo>
                      <a:pt x="740" y="243"/>
                    </a:lnTo>
                    <a:lnTo>
                      <a:pt x="743" y="243"/>
                    </a:lnTo>
                    <a:lnTo>
                      <a:pt x="748" y="241"/>
                    </a:lnTo>
                    <a:lnTo>
                      <a:pt x="751" y="240"/>
                    </a:lnTo>
                    <a:lnTo>
                      <a:pt x="754" y="238"/>
                    </a:lnTo>
                    <a:lnTo>
                      <a:pt x="758" y="237"/>
                    </a:lnTo>
                    <a:lnTo>
                      <a:pt x="761" y="237"/>
                    </a:lnTo>
                    <a:lnTo>
                      <a:pt x="766" y="235"/>
                    </a:lnTo>
                    <a:lnTo>
                      <a:pt x="769" y="233"/>
                    </a:lnTo>
                    <a:lnTo>
                      <a:pt x="772" y="232"/>
                    </a:lnTo>
                    <a:lnTo>
                      <a:pt x="777" y="230"/>
                    </a:lnTo>
                    <a:lnTo>
                      <a:pt x="780" y="227"/>
                    </a:lnTo>
                    <a:lnTo>
                      <a:pt x="783" y="225"/>
                    </a:lnTo>
                    <a:lnTo>
                      <a:pt x="786" y="222"/>
                    </a:lnTo>
                    <a:lnTo>
                      <a:pt x="780" y="221"/>
                    </a:lnTo>
                    <a:lnTo>
                      <a:pt x="774" y="221"/>
                    </a:lnTo>
                    <a:lnTo>
                      <a:pt x="767" y="224"/>
                    </a:lnTo>
                    <a:lnTo>
                      <a:pt x="761" y="225"/>
                    </a:lnTo>
                    <a:lnTo>
                      <a:pt x="753" y="227"/>
                    </a:lnTo>
                    <a:lnTo>
                      <a:pt x="747" y="229"/>
                    </a:lnTo>
                    <a:lnTo>
                      <a:pt x="742" y="232"/>
                    </a:lnTo>
                    <a:lnTo>
                      <a:pt x="735" y="237"/>
                    </a:lnTo>
                    <a:lnTo>
                      <a:pt x="732" y="240"/>
                    </a:lnTo>
                    <a:lnTo>
                      <a:pt x="728" y="241"/>
                    </a:lnTo>
                    <a:lnTo>
                      <a:pt x="724" y="243"/>
                    </a:lnTo>
                    <a:lnTo>
                      <a:pt x="721" y="243"/>
                    </a:lnTo>
                    <a:lnTo>
                      <a:pt x="718" y="243"/>
                    </a:lnTo>
                    <a:lnTo>
                      <a:pt x="713" y="244"/>
                    </a:lnTo>
                    <a:lnTo>
                      <a:pt x="710" y="241"/>
                    </a:lnTo>
                    <a:lnTo>
                      <a:pt x="707" y="241"/>
                    </a:lnTo>
                    <a:lnTo>
                      <a:pt x="704" y="241"/>
                    </a:lnTo>
                    <a:lnTo>
                      <a:pt x="699" y="241"/>
                    </a:lnTo>
                    <a:lnTo>
                      <a:pt x="696" y="240"/>
                    </a:lnTo>
                    <a:lnTo>
                      <a:pt x="693" y="240"/>
                    </a:lnTo>
                    <a:lnTo>
                      <a:pt x="689" y="240"/>
                    </a:lnTo>
                    <a:lnTo>
                      <a:pt x="685" y="238"/>
                    </a:lnTo>
                    <a:lnTo>
                      <a:pt x="685" y="237"/>
                    </a:lnTo>
                    <a:lnTo>
                      <a:pt x="699" y="235"/>
                    </a:lnTo>
                    <a:lnTo>
                      <a:pt x="713" y="229"/>
                    </a:lnTo>
                    <a:lnTo>
                      <a:pt x="713" y="225"/>
                    </a:lnTo>
                    <a:lnTo>
                      <a:pt x="716" y="224"/>
                    </a:lnTo>
                    <a:lnTo>
                      <a:pt x="720" y="222"/>
                    </a:lnTo>
                    <a:lnTo>
                      <a:pt x="723" y="222"/>
                    </a:lnTo>
                    <a:lnTo>
                      <a:pt x="728" y="221"/>
                    </a:lnTo>
                    <a:lnTo>
                      <a:pt x="737" y="219"/>
                    </a:lnTo>
                    <a:lnTo>
                      <a:pt x="745" y="214"/>
                    </a:lnTo>
                    <a:lnTo>
                      <a:pt x="743" y="211"/>
                    </a:lnTo>
                    <a:lnTo>
                      <a:pt x="740" y="210"/>
                    </a:lnTo>
                    <a:lnTo>
                      <a:pt x="735" y="208"/>
                    </a:lnTo>
                    <a:lnTo>
                      <a:pt x="743" y="208"/>
                    </a:lnTo>
                    <a:lnTo>
                      <a:pt x="747" y="206"/>
                    </a:lnTo>
                    <a:lnTo>
                      <a:pt x="751" y="206"/>
                    </a:lnTo>
                    <a:lnTo>
                      <a:pt x="758" y="208"/>
                    </a:lnTo>
                    <a:lnTo>
                      <a:pt x="761" y="210"/>
                    </a:lnTo>
                    <a:lnTo>
                      <a:pt x="764" y="210"/>
                    </a:lnTo>
                    <a:lnTo>
                      <a:pt x="769" y="210"/>
                    </a:lnTo>
                    <a:lnTo>
                      <a:pt x="772" y="208"/>
                    </a:lnTo>
                    <a:lnTo>
                      <a:pt x="775" y="208"/>
                    </a:lnTo>
                    <a:lnTo>
                      <a:pt x="778" y="205"/>
                    </a:lnTo>
                    <a:lnTo>
                      <a:pt x="775" y="203"/>
                    </a:lnTo>
                    <a:lnTo>
                      <a:pt x="774" y="200"/>
                    </a:lnTo>
                    <a:lnTo>
                      <a:pt x="769" y="199"/>
                    </a:lnTo>
                    <a:lnTo>
                      <a:pt x="766" y="197"/>
                    </a:lnTo>
                    <a:lnTo>
                      <a:pt x="759" y="197"/>
                    </a:lnTo>
                    <a:lnTo>
                      <a:pt x="756" y="199"/>
                    </a:lnTo>
                    <a:lnTo>
                      <a:pt x="745" y="197"/>
                    </a:lnTo>
                    <a:lnTo>
                      <a:pt x="742" y="199"/>
                    </a:lnTo>
                    <a:lnTo>
                      <a:pt x="739" y="200"/>
                    </a:lnTo>
                    <a:lnTo>
                      <a:pt x="731" y="205"/>
                    </a:lnTo>
                    <a:lnTo>
                      <a:pt x="731" y="202"/>
                    </a:lnTo>
                    <a:lnTo>
                      <a:pt x="720" y="202"/>
                    </a:lnTo>
                    <a:lnTo>
                      <a:pt x="708" y="203"/>
                    </a:lnTo>
                    <a:lnTo>
                      <a:pt x="705" y="200"/>
                    </a:lnTo>
                    <a:lnTo>
                      <a:pt x="701" y="200"/>
                    </a:lnTo>
                    <a:lnTo>
                      <a:pt x="697" y="202"/>
                    </a:lnTo>
                    <a:lnTo>
                      <a:pt x="694" y="202"/>
                    </a:lnTo>
                    <a:lnTo>
                      <a:pt x="689" y="205"/>
                    </a:lnTo>
                    <a:lnTo>
                      <a:pt x="686" y="208"/>
                    </a:lnTo>
                    <a:lnTo>
                      <a:pt x="683" y="206"/>
                    </a:lnTo>
                    <a:lnTo>
                      <a:pt x="680" y="210"/>
                    </a:lnTo>
                    <a:lnTo>
                      <a:pt x="677" y="205"/>
                    </a:lnTo>
                    <a:lnTo>
                      <a:pt x="678" y="202"/>
                    </a:lnTo>
                    <a:lnTo>
                      <a:pt x="682" y="199"/>
                    </a:lnTo>
                    <a:lnTo>
                      <a:pt x="686" y="197"/>
                    </a:lnTo>
                    <a:lnTo>
                      <a:pt x="689" y="195"/>
                    </a:lnTo>
                    <a:lnTo>
                      <a:pt x="694" y="197"/>
                    </a:lnTo>
                    <a:lnTo>
                      <a:pt x="699" y="199"/>
                    </a:lnTo>
                    <a:lnTo>
                      <a:pt x="702" y="197"/>
                    </a:lnTo>
                    <a:lnTo>
                      <a:pt x="707" y="194"/>
                    </a:lnTo>
                    <a:lnTo>
                      <a:pt x="712" y="194"/>
                    </a:lnTo>
                    <a:lnTo>
                      <a:pt x="715" y="195"/>
                    </a:lnTo>
                    <a:lnTo>
                      <a:pt x="718" y="195"/>
                    </a:lnTo>
                    <a:lnTo>
                      <a:pt x="721" y="194"/>
                    </a:lnTo>
                    <a:lnTo>
                      <a:pt x="726" y="194"/>
                    </a:lnTo>
                    <a:lnTo>
                      <a:pt x="737" y="191"/>
                    </a:lnTo>
                    <a:lnTo>
                      <a:pt x="747" y="187"/>
                    </a:lnTo>
                    <a:lnTo>
                      <a:pt x="750" y="191"/>
                    </a:lnTo>
                    <a:lnTo>
                      <a:pt x="753" y="187"/>
                    </a:lnTo>
                    <a:lnTo>
                      <a:pt x="764" y="187"/>
                    </a:lnTo>
                    <a:lnTo>
                      <a:pt x="767" y="186"/>
                    </a:lnTo>
                    <a:lnTo>
                      <a:pt x="772" y="186"/>
                    </a:lnTo>
                    <a:lnTo>
                      <a:pt x="775" y="186"/>
                    </a:lnTo>
                    <a:lnTo>
                      <a:pt x="788" y="184"/>
                    </a:lnTo>
                    <a:lnTo>
                      <a:pt x="800" y="181"/>
                    </a:lnTo>
                    <a:lnTo>
                      <a:pt x="804" y="179"/>
                    </a:lnTo>
                    <a:lnTo>
                      <a:pt x="807" y="179"/>
                    </a:lnTo>
                    <a:lnTo>
                      <a:pt x="815" y="176"/>
                    </a:lnTo>
                    <a:lnTo>
                      <a:pt x="818" y="176"/>
                    </a:lnTo>
                    <a:lnTo>
                      <a:pt x="823" y="176"/>
                    </a:lnTo>
                    <a:lnTo>
                      <a:pt x="826" y="175"/>
                    </a:lnTo>
                    <a:lnTo>
                      <a:pt x="839" y="173"/>
                    </a:lnTo>
                    <a:lnTo>
                      <a:pt x="851" y="172"/>
                    </a:lnTo>
                    <a:lnTo>
                      <a:pt x="851" y="170"/>
                    </a:lnTo>
                    <a:lnTo>
                      <a:pt x="854" y="170"/>
                    </a:lnTo>
                    <a:lnTo>
                      <a:pt x="858" y="170"/>
                    </a:lnTo>
                    <a:lnTo>
                      <a:pt x="862" y="172"/>
                    </a:lnTo>
                    <a:lnTo>
                      <a:pt x="865" y="172"/>
                    </a:lnTo>
                    <a:lnTo>
                      <a:pt x="861" y="173"/>
                    </a:lnTo>
                    <a:lnTo>
                      <a:pt x="865" y="173"/>
                    </a:lnTo>
                    <a:lnTo>
                      <a:pt x="869" y="173"/>
                    </a:lnTo>
                    <a:lnTo>
                      <a:pt x="872" y="175"/>
                    </a:lnTo>
                    <a:lnTo>
                      <a:pt x="869" y="176"/>
                    </a:lnTo>
                    <a:lnTo>
                      <a:pt x="865" y="176"/>
                    </a:lnTo>
                    <a:lnTo>
                      <a:pt x="861" y="178"/>
                    </a:lnTo>
                    <a:lnTo>
                      <a:pt x="858" y="179"/>
                    </a:lnTo>
                    <a:lnTo>
                      <a:pt x="854" y="179"/>
                    </a:lnTo>
                    <a:lnTo>
                      <a:pt x="851" y="181"/>
                    </a:lnTo>
                    <a:lnTo>
                      <a:pt x="846" y="181"/>
                    </a:lnTo>
                    <a:lnTo>
                      <a:pt x="843" y="183"/>
                    </a:lnTo>
                    <a:lnTo>
                      <a:pt x="840" y="183"/>
                    </a:lnTo>
                    <a:lnTo>
                      <a:pt x="837" y="184"/>
                    </a:lnTo>
                    <a:lnTo>
                      <a:pt x="834" y="184"/>
                    </a:lnTo>
                    <a:lnTo>
                      <a:pt x="829" y="186"/>
                    </a:lnTo>
                    <a:lnTo>
                      <a:pt x="826" y="187"/>
                    </a:lnTo>
                    <a:lnTo>
                      <a:pt x="823" y="189"/>
                    </a:lnTo>
                    <a:lnTo>
                      <a:pt x="819" y="191"/>
                    </a:lnTo>
                    <a:lnTo>
                      <a:pt x="815" y="192"/>
                    </a:lnTo>
                    <a:lnTo>
                      <a:pt x="818" y="194"/>
                    </a:lnTo>
                    <a:lnTo>
                      <a:pt x="823" y="192"/>
                    </a:lnTo>
                    <a:lnTo>
                      <a:pt x="826" y="194"/>
                    </a:lnTo>
                    <a:lnTo>
                      <a:pt x="826" y="194"/>
                    </a:lnTo>
                    <a:lnTo>
                      <a:pt x="831" y="195"/>
                    </a:lnTo>
                    <a:lnTo>
                      <a:pt x="834" y="194"/>
                    </a:lnTo>
                    <a:lnTo>
                      <a:pt x="829" y="195"/>
                    </a:lnTo>
                    <a:lnTo>
                      <a:pt x="834" y="195"/>
                    </a:lnTo>
                    <a:lnTo>
                      <a:pt x="837" y="195"/>
                    </a:lnTo>
                    <a:lnTo>
                      <a:pt x="840" y="195"/>
                    </a:lnTo>
                    <a:lnTo>
                      <a:pt x="843" y="195"/>
                    </a:lnTo>
                    <a:lnTo>
                      <a:pt x="848" y="195"/>
                    </a:lnTo>
                    <a:lnTo>
                      <a:pt x="851" y="195"/>
                    </a:lnTo>
                    <a:lnTo>
                      <a:pt x="854" y="195"/>
                    </a:lnTo>
                    <a:lnTo>
                      <a:pt x="867" y="194"/>
                    </a:lnTo>
                    <a:lnTo>
                      <a:pt x="880" y="191"/>
                    </a:lnTo>
                    <a:lnTo>
                      <a:pt x="877" y="191"/>
                    </a:lnTo>
                    <a:lnTo>
                      <a:pt x="888" y="186"/>
                    </a:lnTo>
                    <a:lnTo>
                      <a:pt x="902" y="183"/>
                    </a:lnTo>
                    <a:lnTo>
                      <a:pt x="897" y="184"/>
                    </a:lnTo>
                    <a:lnTo>
                      <a:pt x="900" y="184"/>
                    </a:lnTo>
                    <a:lnTo>
                      <a:pt x="897" y="186"/>
                    </a:lnTo>
                    <a:lnTo>
                      <a:pt x="894" y="187"/>
                    </a:lnTo>
                    <a:lnTo>
                      <a:pt x="891" y="189"/>
                    </a:lnTo>
                    <a:lnTo>
                      <a:pt x="886" y="191"/>
                    </a:lnTo>
                    <a:lnTo>
                      <a:pt x="891" y="191"/>
                    </a:lnTo>
                    <a:lnTo>
                      <a:pt x="894" y="191"/>
                    </a:lnTo>
                    <a:lnTo>
                      <a:pt x="897" y="191"/>
                    </a:lnTo>
                    <a:lnTo>
                      <a:pt x="894" y="191"/>
                    </a:lnTo>
                    <a:lnTo>
                      <a:pt x="891" y="194"/>
                    </a:lnTo>
                    <a:lnTo>
                      <a:pt x="886" y="195"/>
                    </a:lnTo>
                    <a:lnTo>
                      <a:pt x="885" y="199"/>
                    </a:lnTo>
                    <a:lnTo>
                      <a:pt x="881" y="199"/>
                    </a:lnTo>
                    <a:lnTo>
                      <a:pt x="877" y="202"/>
                    </a:lnTo>
                    <a:lnTo>
                      <a:pt x="873" y="202"/>
                    </a:lnTo>
                    <a:lnTo>
                      <a:pt x="870" y="203"/>
                    </a:lnTo>
                    <a:lnTo>
                      <a:pt x="873" y="205"/>
                    </a:lnTo>
                    <a:lnTo>
                      <a:pt x="870" y="205"/>
                    </a:lnTo>
                    <a:lnTo>
                      <a:pt x="865" y="205"/>
                    </a:lnTo>
                    <a:lnTo>
                      <a:pt x="862" y="208"/>
                    </a:lnTo>
                    <a:lnTo>
                      <a:pt x="859" y="210"/>
                    </a:lnTo>
                    <a:lnTo>
                      <a:pt x="856" y="211"/>
                    </a:lnTo>
                    <a:lnTo>
                      <a:pt x="859" y="213"/>
                    </a:lnTo>
                    <a:lnTo>
                      <a:pt x="862" y="213"/>
                    </a:lnTo>
                    <a:lnTo>
                      <a:pt x="865" y="211"/>
                    </a:lnTo>
                    <a:lnTo>
                      <a:pt x="862" y="213"/>
                    </a:lnTo>
                    <a:lnTo>
                      <a:pt x="859" y="214"/>
                    </a:lnTo>
                    <a:lnTo>
                      <a:pt x="862" y="214"/>
                    </a:lnTo>
                    <a:lnTo>
                      <a:pt x="859" y="216"/>
                    </a:lnTo>
                    <a:lnTo>
                      <a:pt x="856" y="218"/>
                    </a:lnTo>
                    <a:lnTo>
                      <a:pt x="853" y="218"/>
                    </a:lnTo>
                    <a:lnTo>
                      <a:pt x="851" y="219"/>
                    </a:lnTo>
                    <a:lnTo>
                      <a:pt x="848" y="219"/>
                    </a:lnTo>
                    <a:lnTo>
                      <a:pt x="843" y="219"/>
                    </a:lnTo>
                    <a:lnTo>
                      <a:pt x="840" y="218"/>
                    </a:lnTo>
                    <a:lnTo>
                      <a:pt x="837" y="219"/>
                    </a:lnTo>
                    <a:lnTo>
                      <a:pt x="834" y="216"/>
                    </a:lnTo>
                    <a:lnTo>
                      <a:pt x="829" y="214"/>
                    </a:lnTo>
                    <a:lnTo>
                      <a:pt x="826" y="214"/>
                    </a:lnTo>
                    <a:lnTo>
                      <a:pt x="823" y="214"/>
                    </a:lnTo>
                    <a:lnTo>
                      <a:pt x="819" y="214"/>
                    </a:lnTo>
                    <a:lnTo>
                      <a:pt x="812" y="214"/>
                    </a:lnTo>
                    <a:lnTo>
                      <a:pt x="808" y="216"/>
                    </a:lnTo>
                    <a:lnTo>
                      <a:pt x="812" y="216"/>
                    </a:lnTo>
                    <a:lnTo>
                      <a:pt x="808" y="218"/>
                    </a:lnTo>
                    <a:lnTo>
                      <a:pt x="805" y="219"/>
                    </a:lnTo>
                    <a:lnTo>
                      <a:pt x="797" y="221"/>
                    </a:lnTo>
                    <a:lnTo>
                      <a:pt x="797" y="221"/>
                    </a:lnTo>
                    <a:close/>
                    <a:moveTo>
                      <a:pt x="745" y="395"/>
                    </a:moveTo>
                    <a:lnTo>
                      <a:pt x="740" y="397"/>
                    </a:lnTo>
                    <a:lnTo>
                      <a:pt x="735" y="395"/>
                    </a:lnTo>
                    <a:lnTo>
                      <a:pt x="731" y="394"/>
                    </a:lnTo>
                    <a:lnTo>
                      <a:pt x="728" y="390"/>
                    </a:lnTo>
                    <a:lnTo>
                      <a:pt x="724" y="390"/>
                    </a:lnTo>
                    <a:lnTo>
                      <a:pt x="721" y="389"/>
                    </a:lnTo>
                    <a:lnTo>
                      <a:pt x="718" y="389"/>
                    </a:lnTo>
                    <a:lnTo>
                      <a:pt x="713" y="389"/>
                    </a:lnTo>
                    <a:lnTo>
                      <a:pt x="710" y="389"/>
                    </a:lnTo>
                    <a:lnTo>
                      <a:pt x="708" y="387"/>
                    </a:lnTo>
                    <a:lnTo>
                      <a:pt x="708" y="384"/>
                    </a:lnTo>
                    <a:lnTo>
                      <a:pt x="707" y="381"/>
                    </a:lnTo>
                    <a:lnTo>
                      <a:pt x="704" y="379"/>
                    </a:lnTo>
                    <a:lnTo>
                      <a:pt x="707" y="379"/>
                    </a:lnTo>
                    <a:lnTo>
                      <a:pt x="707" y="379"/>
                    </a:lnTo>
                    <a:lnTo>
                      <a:pt x="712" y="382"/>
                    </a:lnTo>
                    <a:lnTo>
                      <a:pt x="715" y="386"/>
                    </a:lnTo>
                    <a:lnTo>
                      <a:pt x="718" y="384"/>
                    </a:lnTo>
                    <a:lnTo>
                      <a:pt x="721" y="382"/>
                    </a:lnTo>
                    <a:lnTo>
                      <a:pt x="726" y="382"/>
                    </a:lnTo>
                    <a:lnTo>
                      <a:pt x="729" y="382"/>
                    </a:lnTo>
                    <a:lnTo>
                      <a:pt x="731" y="378"/>
                    </a:lnTo>
                    <a:lnTo>
                      <a:pt x="735" y="378"/>
                    </a:lnTo>
                    <a:lnTo>
                      <a:pt x="739" y="381"/>
                    </a:lnTo>
                    <a:lnTo>
                      <a:pt x="742" y="381"/>
                    </a:lnTo>
                    <a:lnTo>
                      <a:pt x="745" y="382"/>
                    </a:lnTo>
                    <a:lnTo>
                      <a:pt x="750" y="381"/>
                    </a:lnTo>
                    <a:lnTo>
                      <a:pt x="753" y="381"/>
                    </a:lnTo>
                    <a:lnTo>
                      <a:pt x="756" y="379"/>
                    </a:lnTo>
                    <a:lnTo>
                      <a:pt x="754" y="376"/>
                    </a:lnTo>
                    <a:lnTo>
                      <a:pt x="758" y="375"/>
                    </a:lnTo>
                    <a:lnTo>
                      <a:pt x="762" y="375"/>
                    </a:lnTo>
                    <a:lnTo>
                      <a:pt x="766" y="375"/>
                    </a:lnTo>
                    <a:lnTo>
                      <a:pt x="767" y="370"/>
                    </a:lnTo>
                    <a:lnTo>
                      <a:pt x="772" y="368"/>
                    </a:lnTo>
                    <a:lnTo>
                      <a:pt x="775" y="367"/>
                    </a:lnTo>
                    <a:lnTo>
                      <a:pt x="778" y="363"/>
                    </a:lnTo>
                    <a:lnTo>
                      <a:pt x="781" y="362"/>
                    </a:lnTo>
                    <a:lnTo>
                      <a:pt x="786" y="362"/>
                    </a:lnTo>
                    <a:lnTo>
                      <a:pt x="789" y="363"/>
                    </a:lnTo>
                    <a:lnTo>
                      <a:pt x="793" y="363"/>
                    </a:lnTo>
                    <a:lnTo>
                      <a:pt x="796" y="362"/>
                    </a:lnTo>
                    <a:lnTo>
                      <a:pt x="800" y="362"/>
                    </a:lnTo>
                    <a:lnTo>
                      <a:pt x="804" y="362"/>
                    </a:lnTo>
                    <a:lnTo>
                      <a:pt x="807" y="359"/>
                    </a:lnTo>
                    <a:lnTo>
                      <a:pt x="810" y="359"/>
                    </a:lnTo>
                    <a:lnTo>
                      <a:pt x="810" y="354"/>
                    </a:lnTo>
                    <a:lnTo>
                      <a:pt x="807" y="351"/>
                    </a:lnTo>
                    <a:lnTo>
                      <a:pt x="808" y="348"/>
                    </a:lnTo>
                    <a:lnTo>
                      <a:pt x="807" y="344"/>
                    </a:lnTo>
                    <a:lnTo>
                      <a:pt x="804" y="344"/>
                    </a:lnTo>
                    <a:lnTo>
                      <a:pt x="807" y="343"/>
                    </a:lnTo>
                    <a:lnTo>
                      <a:pt x="810" y="340"/>
                    </a:lnTo>
                    <a:lnTo>
                      <a:pt x="812" y="335"/>
                    </a:lnTo>
                    <a:lnTo>
                      <a:pt x="807" y="336"/>
                    </a:lnTo>
                    <a:lnTo>
                      <a:pt x="804" y="333"/>
                    </a:lnTo>
                    <a:lnTo>
                      <a:pt x="802" y="330"/>
                    </a:lnTo>
                    <a:lnTo>
                      <a:pt x="800" y="327"/>
                    </a:lnTo>
                    <a:lnTo>
                      <a:pt x="804" y="325"/>
                    </a:lnTo>
                    <a:lnTo>
                      <a:pt x="805" y="325"/>
                    </a:lnTo>
                    <a:lnTo>
                      <a:pt x="807" y="325"/>
                    </a:lnTo>
                    <a:lnTo>
                      <a:pt x="808" y="329"/>
                    </a:lnTo>
                    <a:lnTo>
                      <a:pt x="812" y="330"/>
                    </a:lnTo>
                    <a:lnTo>
                      <a:pt x="815" y="330"/>
                    </a:lnTo>
                    <a:lnTo>
                      <a:pt x="818" y="332"/>
                    </a:lnTo>
                    <a:lnTo>
                      <a:pt x="821" y="336"/>
                    </a:lnTo>
                    <a:lnTo>
                      <a:pt x="824" y="338"/>
                    </a:lnTo>
                    <a:lnTo>
                      <a:pt x="827" y="340"/>
                    </a:lnTo>
                    <a:lnTo>
                      <a:pt x="831" y="340"/>
                    </a:lnTo>
                    <a:lnTo>
                      <a:pt x="835" y="340"/>
                    </a:lnTo>
                    <a:lnTo>
                      <a:pt x="839" y="338"/>
                    </a:lnTo>
                    <a:lnTo>
                      <a:pt x="840" y="338"/>
                    </a:lnTo>
                    <a:lnTo>
                      <a:pt x="837" y="341"/>
                    </a:lnTo>
                    <a:lnTo>
                      <a:pt x="842" y="343"/>
                    </a:lnTo>
                    <a:lnTo>
                      <a:pt x="843" y="348"/>
                    </a:lnTo>
                    <a:lnTo>
                      <a:pt x="843" y="351"/>
                    </a:lnTo>
                    <a:lnTo>
                      <a:pt x="848" y="352"/>
                    </a:lnTo>
                    <a:lnTo>
                      <a:pt x="851" y="352"/>
                    </a:lnTo>
                    <a:lnTo>
                      <a:pt x="854" y="354"/>
                    </a:lnTo>
                    <a:lnTo>
                      <a:pt x="858" y="352"/>
                    </a:lnTo>
                    <a:lnTo>
                      <a:pt x="865" y="352"/>
                    </a:lnTo>
                    <a:lnTo>
                      <a:pt x="872" y="351"/>
                    </a:lnTo>
                    <a:lnTo>
                      <a:pt x="877" y="351"/>
                    </a:lnTo>
                    <a:lnTo>
                      <a:pt x="888" y="348"/>
                    </a:lnTo>
                    <a:lnTo>
                      <a:pt x="899" y="344"/>
                    </a:lnTo>
                    <a:lnTo>
                      <a:pt x="908" y="340"/>
                    </a:lnTo>
                    <a:lnTo>
                      <a:pt x="919" y="333"/>
                    </a:lnTo>
                    <a:lnTo>
                      <a:pt x="929" y="329"/>
                    </a:lnTo>
                    <a:lnTo>
                      <a:pt x="942" y="324"/>
                    </a:lnTo>
                    <a:lnTo>
                      <a:pt x="951" y="321"/>
                    </a:lnTo>
                    <a:lnTo>
                      <a:pt x="962" y="319"/>
                    </a:lnTo>
                    <a:lnTo>
                      <a:pt x="964" y="319"/>
                    </a:lnTo>
                    <a:lnTo>
                      <a:pt x="970" y="319"/>
                    </a:lnTo>
                    <a:lnTo>
                      <a:pt x="975" y="319"/>
                    </a:lnTo>
                    <a:lnTo>
                      <a:pt x="978" y="319"/>
                    </a:lnTo>
                    <a:lnTo>
                      <a:pt x="978" y="319"/>
                    </a:lnTo>
                    <a:lnTo>
                      <a:pt x="983" y="319"/>
                    </a:lnTo>
                    <a:lnTo>
                      <a:pt x="986" y="319"/>
                    </a:lnTo>
                    <a:lnTo>
                      <a:pt x="989" y="322"/>
                    </a:lnTo>
                    <a:lnTo>
                      <a:pt x="997" y="322"/>
                    </a:lnTo>
                    <a:lnTo>
                      <a:pt x="999" y="322"/>
                    </a:lnTo>
                    <a:lnTo>
                      <a:pt x="1002" y="324"/>
                    </a:lnTo>
                    <a:lnTo>
                      <a:pt x="999" y="325"/>
                    </a:lnTo>
                    <a:lnTo>
                      <a:pt x="996" y="327"/>
                    </a:lnTo>
                    <a:lnTo>
                      <a:pt x="999" y="325"/>
                    </a:lnTo>
                    <a:lnTo>
                      <a:pt x="1002" y="325"/>
                    </a:lnTo>
                    <a:lnTo>
                      <a:pt x="999" y="327"/>
                    </a:lnTo>
                    <a:lnTo>
                      <a:pt x="996" y="329"/>
                    </a:lnTo>
                    <a:lnTo>
                      <a:pt x="991" y="330"/>
                    </a:lnTo>
                    <a:lnTo>
                      <a:pt x="988" y="332"/>
                    </a:lnTo>
                    <a:lnTo>
                      <a:pt x="984" y="332"/>
                    </a:lnTo>
                    <a:lnTo>
                      <a:pt x="988" y="330"/>
                    </a:lnTo>
                    <a:lnTo>
                      <a:pt x="991" y="329"/>
                    </a:lnTo>
                    <a:lnTo>
                      <a:pt x="983" y="325"/>
                    </a:lnTo>
                    <a:lnTo>
                      <a:pt x="973" y="324"/>
                    </a:lnTo>
                    <a:lnTo>
                      <a:pt x="965" y="324"/>
                    </a:lnTo>
                    <a:lnTo>
                      <a:pt x="962" y="324"/>
                    </a:lnTo>
                    <a:lnTo>
                      <a:pt x="957" y="324"/>
                    </a:lnTo>
                    <a:lnTo>
                      <a:pt x="954" y="325"/>
                    </a:lnTo>
                    <a:lnTo>
                      <a:pt x="943" y="327"/>
                    </a:lnTo>
                    <a:lnTo>
                      <a:pt x="932" y="329"/>
                    </a:lnTo>
                    <a:lnTo>
                      <a:pt x="921" y="333"/>
                    </a:lnTo>
                    <a:lnTo>
                      <a:pt x="911" y="340"/>
                    </a:lnTo>
                    <a:lnTo>
                      <a:pt x="919" y="336"/>
                    </a:lnTo>
                    <a:lnTo>
                      <a:pt x="927" y="333"/>
                    </a:lnTo>
                    <a:lnTo>
                      <a:pt x="935" y="330"/>
                    </a:lnTo>
                    <a:lnTo>
                      <a:pt x="943" y="329"/>
                    </a:lnTo>
                    <a:lnTo>
                      <a:pt x="946" y="329"/>
                    </a:lnTo>
                    <a:lnTo>
                      <a:pt x="951" y="329"/>
                    </a:lnTo>
                    <a:lnTo>
                      <a:pt x="954" y="329"/>
                    </a:lnTo>
                    <a:lnTo>
                      <a:pt x="957" y="327"/>
                    </a:lnTo>
                    <a:lnTo>
                      <a:pt x="961" y="325"/>
                    </a:lnTo>
                    <a:lnTo>
                      <a:pt x="964" y="325"/>
                    </a:lnTo>
                    <a:lnTo>
                      <a:pt x="969" y="325"/>
                    </a:lnTo>
                    <a:lnTo>
                      <a:pt x="972" y="325"/>
                    </a:lnTo>
                    <a:lnTo>
                      <a:pt x="975" y="327"/>
                    </a:lnTo>
                    <a:lnTo>
                      <a:pt x="970" y="325"/>
                    </a:lnTo>
                    <a:lnTo>
                      <a:pt x="969" y="327"/>
                    </a:lnTo>
                    <a:lnTo>
                      <a:pt x="965" y="327"/>
                    </a:lnTo>
                    <a:lnTo>
                      <a:pt x="961" y="325"/>
                    </a:lnTo>
                    <a:lnTo>
                      <a:pt x="957" y="329"/>
                    </a:lnTo>
                    <a:lnTo>
                      <a:pt x="961" y="329"/>
                    </a:lnTo>
                    <a:lnTo>
                      <a:pt x="965" y="329"/>
                    </a:lnTo>
                    <a:lnTo>
                      <a:pt x="972" y="329"/>
                    </a:lnTo>
                    <a:lnTo>
                      <a:pt x="977" y="330"/>
                    </a:lnTo>
                    <a:lnTo>
                      <a:pt x="969" y="332"/>
                    </a:lnTo>
                    <a:lnTo>
                      <a:pt x="959" y="333"/>
                    </a:lnTo>
                    <a:lnTo>
                      <a:pt x="956" y="333"/>
                    </a:lnTo>
                    <a:lnTo>
                      <a:pt x="953" y="333"/>
                    </a:lnTo>
                    <a:lnTo>
                      <a:pt x="950" y="333"/>
                    </a:lnTo>
                    <a:lnTo>
                      <a:pt x="946" y="333"/>
                    </a:lnTo>
                    <a:lnTo>
                      <a:pt x="942" y="333"/>
                    </a:lnTo>
                    <a:lnTo>
                      <a:pt x="946" y="335"/>
                    </a:lnTo>
                    <a:lnTo>
                      <a:pt x="950" y="335"/>
                    </a:lnTo>
                    <a:lnTo>
                      <a:pt x="953" y="335"/>
                    </a:lnTo>
                    <a:lnTo>
                      <a:pt x="950" y="335"/>
                    </a:lnTo>
                    <a:lnTo>
                      <a:pt x="946" y="336"/>
                    </a:lnTo>
                    <a:lnTo>
                      <a:pt x="942" y="338"/>
                    </a:lnTo>
                    <a:lnTo>
                      <a:pt x="954" y="335"/>
                    </a:lnTo>
                    <a:lnTo>
                      <a:pt x="967" y="333"/>
                    </a:lnTo>
                    <a:lnTo>
                      <a:pt x="956" y="336"/>
                    </a:lnTo>
                    <a:lnTo>
                      <a:pt x="946" y="340"/>
                    </a:lnTo>
                    <a:lnTo>
                      <a:pt x="950" y="340"/>
                    </a:lnTo>
                    <a:lnTo>
                      <a:pt x="953" y="340"/>
                    </a:lnTo>
                    <a:lnTo>
                      <a:pt x="943" y="340"/>
                    </a:lnTo>
                    <a:lnTo>
                      <a:pt x="935" y="340"/>
                    </a:lnTo>
                    <a:lnTo>
                      <a:pt x="932" y="338"/>
                    </a:lnTo>
                    <a:lnTo>
                      <a:pt x="927" y="340"/>
                    </a:lnTo>
                    <a:lnTo>
                      <a:pt x="924" y="341"/>
                    </a:lnTo>
                    <a:lnTo>
                      <a:pt x="921" y="343"/>
                    </a:lnTo>
                    <a:lnTo>
                      <a:pt x="918" y="344"/>
                    </a:lnTo>
                    <a:lnTo>
                      <a:pt x="921" y="343"/>
                    </a:lnTo>
                    <a:lnTo>
                      <a:pt x="910" y="348"/>
                    </a:lnTo>
                    <a:lnTo>
                      <a:pt x="899" y="352"/>
                    </a:lnTo>
                    <a:lnTo>
                      <a:pt x="904" y="351"/>
                    </a:lnTo>
                    <a:lnTo>
                      <a:pt x="907" y="351"/>
                    </a:lnTo>
                    <a:lnTo>
                      <a:pt x="891" y="357"/>
                    </a:lnTo>
                    <a:lnTo>
                      <a:pt x="875" y="365"/>
                    </a:lnTo>
                    <a:lnTo>
                      <a:pt x="865" y="370"/>
                    </a:lnTo>
                    <a:lnTo>
                      <a:pt x="856" y="371"/>
                    </a:lnTo>
                    <a:lnTo>
                      <a:pt x="853" y="373"/>
                    </a:lnTo>
                    <a:lnTo>
                      <a:pt x="850" y="375"/>
                    </a:lnTo>
                    <a:lnTo>
                      <a:pt x="848" y="375"/>
                    </a:lnTo>
                    <a:lnTo>
                      <a:pt x="845" y="376"/>
                    </a:lnTo>
                    <a:lnTo>
                      <a:pt x="842" y="375"/>
                    </a:lnTo>
                    <a:lnTo>
                      <a:pt x="840" y="373"/>
                    </a:lnTo>
                    <a:lnTo>
                      <a:pt x="837" y="373"/>
                    </a:lnTo>
                    <a:lnTo>
                      <a:pt x="832" y="373"/>
                    </a:lnTo>
                    <a:lnTo>
                      <a:pt x="829" y="376"/>
                    </a:lnTo>
                    <a:lnTo>
                      <a:pt x="826" y="376"/>
                    </a:lnTo>
                    <a:lnTo>
                      <a:pt x="823" y="378"/>
                    </a:lnTo>
                    <a:lnTo>
                      <a:pt x="818" y="379"/>
                    </a:lnTo>
                    <a:lnTo>
                      <a:pt x="815" y="381"/>
                    </a:lnTo>
                    <a:lnTo>
                      <a:pt x="813" y="384"/>
                    </a:lnTo>
                    <a:lnTo>
                      <a:pt x="812" y="387"/>
                    </a:lnTo>
                    <a:lnTo>
                      <a:pt x="808" y="389"/>
                    </a:lnTo>
                    <a:lnTo>
                      <a:pt x="805" y="390"/>
                    </a:lnTo>
                    <a:lnTo>
                      <a:pt x="802" y="390"/>
                    </a:lnTo>
                    <a:lnTo>
                      <a:pt x="797" y="392"/>
                    </a:lnTo>
                    <a:lnTo>
                      <a:pt x="794" y="390"/>
                    </a:lnTo>
                    <a:lnTo>
                      <a:pt x="791" y="390"/>
                    </a:lnTo>
                    <a:lnTo>
                      <a:pt x="788" y="392"/>
                    </a:lnTo>
                    <a:lnTo>
                      <a:pt x="783" y="392"/>
                    </a:lnTo>
                    <a:lnTo>
                      <a:pt x="780" y="394"/>
                    </a:lnTo>
                    <a:lnTo>
                      <a:pt x="777" y="394"/>
                    </a:lnTo>
                    <a:lnTo>
                      <a:pt x="772" y="394"/>
                    </a:lnTo>
                    <a:lnTo>
                      <a:pt x="769" y="394"/>
                    </a:lnTo>
                    <a:lnTo>
                      <a:pt x="766" y="395"/>
                    </a:lnTo>
                    <a:lnTo>
                      <a:pt x="764" y="395"/>
                    </a:lnTo>
                    <a:lnTo>
                      <a:pt x="759" y="395"/>
                    </a:lnTo>
                    <a:lnTo>
                      <a:pt x="756" y="397"/>
                    </a:lnTo>
                    <a:lnTo>
                      <a:pt x="753" y="397"/>
                    </a:lnTo>
                    <a:lnTo>
                      <a:pt x="750" y="397"/>
                    </a:lnTo>
                    <a:lnTo>
                      <a:pt x="745" y="395"/>
                    </a:lnTo>
                    <a:close/>
                    <a:moveTo>
                      <a:pt x="1054" y="665"/>
                    </a:moveTo>
                    <a:lnTo>
                      <a:pt x="1051" y="666"/>
                    </a:lnTo>
                    <a:lnTo>
                      <a:pt x="1048" y="665"/>
                    </a:lnTo>
                    <a:lnTo>
                      <a:pt x="1045" y="662"/>
                    </a:lnTo>
                    <a:lnTo>
                      <a:pt x="1040" y="660"/>
                    </a:lnTo>
                    <a:lnTo>
                      <a:pt x="1034" y="662"/>
                    </a:lnTo>
                    <a:lnTo>
                      <a:pt x="1030" y="660"/>
                    </a:lnTo>
                    <a:lnTo>
                      <a:pt x="1027" y="660"/>
                    </a:lnTo>
                    <a:lnTo>
                      <a:pt x="1026" y="660"/>
                    </a:lnTo>
                    <a:lnTo>
                      <a:pt x="1023" y="663"/>
                    </a:lnTo>
                    <a:lnTo>
                      <a:pt x="1019" y="666"/>
                    </a:lnTo>
                    <a:lnTo>
                      <a:pt x="1016" y="669"/>
                    </a:lnTo>
                    <a:lnTo>
                      <a:pt x="1013" y="673"/>
                    </a:lnTo>
                    <a:lnTo>
                      <a:pt x="1010" y="676"/>
                    </a:lnTo>
                    <a:lnTo>
                      <a:pt x="1007" y="679"/>
                    </a:lnTo>
                    <a:lnTo>
                      <a:pt x="1002" y="681"/>
                    </a:lnTo>
                    <a:lnTo>
                      <a:pt x="1000" y="685"/>
                    </a:lnTo>
                    <a:lnTo>
                      <a:pt x="997" y="687"/>
                    </a:lnTo>
                    <a:lnTo>
                      <a:pt x="1000" y="690"/>
                    </a:lnTo>
                    <a:lnTo>
                      <a:pt x="1005" y="692"/>
                    </a:lnTo>
                    <a:lnTo>
                      <a:pt x="1008" y="692"/>
                    </a:lnTo>
                    <a:lnTo>
                      <a:pt x="1011" y="692"/>
                    </a:lnTo>
                    <a:lnTo>
                      <a:pt x="1015" y="692"/>
                    </a:lnTo>
                    <a:lnTo>
                      <a:pt x="1016" y="692"/>
                    </a:lnTo>
                    <a:lnTo>
                      <a:pt x="1013" y="695"/>
                    </a:lnTo>
                    <a:lnTo>
                      <a:pt x="1008" y="695"/>
                    </a:lnTo>
                    <a:lnTo>
                      <a:pt x="1005" y="696"/>
                    </a:lnTo>
                    <a:lnTo>
                      <a:pt x="1002" y="698"/>
                    </a:lnTo>
                    <a:lnTo>
                      <a:pt x="999" y="701"/>
                    </a:lnTo>
                    <a:lnTo>
                      <a:pt x="999" y="704"/>
                    </a:lnTo>
                    <a:lnTo>
                      <a:pt x="1000" y="708"/>
                    </a:lnTo>
                    <a:lnTo>
                      <a:pt x="1000" y="711"/>
                    </a:lnTo>
                    <a:lnTo>
                      <a:pt x="1003" y="714"/>
                    </a:lnTo>
                    <a:lnTo>
                      <a:pt x="1002" y="719"/>
                    </a:lnTo>
                    <a:lnTo>
                      <a:pt x="1005" y="722"/>
                    </a:lnTo>
                    <a:lnTo>
                      <a:pt x="1007" y="725"/>
                    </a:lnTo>
                    <a:lnTo>
                      <a:pt x="1005" y="728"/>
                    </a:lnTo>
                    <a:lnTo>
                      <a:pt x="1005" y="731"/>
                    </a:lnTo>
                    <a:lnTo>
                      <a:pt x="1002" y="735"/>
                    </a:lnTo>
                    <a:lnTo>
                      <a:pt x="1007" y="738"/>
                    </a:lnTo>
                    <a:lnTo>
                      <a:pt x="1010" y="736"/>
                    </a:lnTo>
                    <a:lnTo>
                      <a:pt x="1013" y="733"/>
                    </a:lnTo>
                    <a:lnTo>
                      <a:pt x="1015" y="730"/>
                    </a:lnTo>
                    <a:lnTo>
                      <a:pt x="1018" y="728"/>
                    </a:lnTo>
                    <a:lnTo>
                      <a:pt x="1021" y="728"/>
                    </a:lnTo>
                    <a:lnTo>
                      <a:pt x="1021" y="731"/>
                    </a:lnTo>
                    <a:lnTo>
                      <a:pt x="1016" y="735"/>
                    </a:lnTo>
                    <a:lnTo>
                      <a:pt x="1021" y="733"/>
                    </a:lnTo>
                    <a:lnTo>
                      <a:pt x="1024" y="731"/>
                    </a:lnTo>
                    <a:lnTo>
                      <a:pt x="1026" y="736"/>
                    </a:lnTo>
                    <a:lnTo>
                      <a:pt x="1026" y="739"/>
                    </a:lnTo>
                    <a:lnTo>
                      <a:pt x="1023" y="742"/>
                    </a:lnTo>
                    <a:lnTo>
                      <a:pt x="1019" y="746"/>
                    </a:lnTo>
                    <a:lnTo>
                      <a:pt x="1016" y="749"/>
                    </a:lnTo>
                    <a:lnTo>
                      <a:pt x="1015" y="754"/>
                    </a:lnTo>
                    <a:lnTo>
                      <a:pt x="1019" y="754"/>
                    </a:lnTo>
                    <a:lnTo>
                      <a:pt x="1021" y="750"/>
                    </a:lnTo>
                    <a:lnTo>
                      <a:pt x="1026" y="747"/>
                    </a:lnTo>
                    <a:lnTo>
                      <a:pt x="1029" y="746"/>
                    </a:lnTo>
                    <a:lnTo>
                      <a:pt x="1032" y="744"/>
                    </a:lnTo>
                    <a:lnTo>
                      <a:pt x="1034" y="747"/>
                    </a:lnTo>
                    <a:lnTo>
                      <a:pt x="1034" y="750"/>
                    </a:lnTo>
                    <a:lnTo>
                      <a:pt x="1029" y="754"/>
                    </a:lnTo>
                    <a:lnTo>
                      <a:pt x="1023" y="758"/>
                    </a:lnTo>
                    <a:lnTo>
                      <a:pt x="1019" y="761"/>
                    </a:lnTo>
                    <a:lnTo>
                      <a:pt x="1016" y="765"/>
                    </a:lnTo>
                    <a:lnTo>
                      <a:pt x="1019" y="765"/>
                    </a:lnTo>
                    <a:lnTo>
                      <a:pt x="1024" y="761"/>
                    </a:lnTo>
                    <a:lnTo>
                      <a:pt x="1027" y="760"/>
                    </a:lnTo>
                    <a:lnTo>
                      <a:pt x="1030" y="758"/>
                    </a:lnTo>
                    <a:lnTo>
                      <a:pt x="1027" y="763"/>
                    </a:lnTo>
                    <a:lnTo>
                      <a:pt x="1024" y="763"/>
                    </a:lnTo>
                    <a:lnTo>
                      <a:pt x="1021" y="766"/>
                    </a:lnTo>
                    <a:lnTo>
                      <a:pt x="1016" y="769"/>
                    </a:lnTo>
                    <a:lnTo>
                      <a:pt x="1010" y="777"/>
                    </a:lnTo>
                    <a:lnTo>
                      <a:pt x="1003" y="787"/>
                    </a:lnTo>
                    <a:lnTo>
                      <a:pt x="1002" y="790"/>
                    </a:lnTo>
                    <a:lnTo>
                      <a:pt x="1000" y="793"/>
                    </a:lnTo>
                    <a:lnTo>
                      <a:pt x="1002" y="796"/>
                    </a:lnTo>
                    <a:lnTo>
                      <a:pt x="1003" y="796"/>
                    </a:lnTo>
                    <a:lnTo>
                      <a:pt x="1008" y="796"/>
                    </a:lnTo>
                    <a:lnTo>
                      <a:pt x="1011" y="793"/>
                    </a:lnTo>
                    <a:lnTo>
                      <a:pt x="1013" y="790"/>
                    </a:lnTo>
                    <a:lnTo>
                      <a:pt x="1018" y="785"/>
                    </a:lnTo>
                    <a:lnTo>
                      <a:pt x="1021" y="787"/>
                    </a:lnTo>
                    <a:lnTo>
                      <a:pt x="1024" y="787"/>
                    </a:lnTo>
                    <a:lnTo>
                      <a:pt x="1024" y="784"/>
                    </a:lnTo>
                    <a:lnTo>
                      <a:pt x="1026" y="780"/>
                    </a:lnTo>
                    <a:lnTo>
                      <a:pt x="1030" y="774"/>
                    </a:lnTo>
                    <a:lnTo>
                      <a:pt x="1030" y="769"/>
                    </a:lnTo>
                    <a:lnTo>
                      <a:pt x="1035" y="768"/>
                    </a:lnTo>
                    <a:lnTo>
                      <a:pt x="1037" y="765"/>
                    </a:lnTo>
                    <a:lnTo>
                      <a:pt x="1038" y="761"/>
                    </a:lnTo>
                    <a:lnTo>
                      <a:pt x="1037" y="758"/>
                    </a:lnTo>
                    <a:lnTo>
                      <a:pt x="1037" y="755"/>
                    </a:lnTo>
                    <a:lnTo>
                      <a:pt x="1038" y="750"/>
                    </a:lnTo>
                    <a:lnTo>
                      <a:pt x="1037" y="747"/>
                    </a:lnTo>
                    <a:lnTo>
                      <a:pt x="1037" y="744"/>
                    </a:lnTo>
                    <a:lnTo>
                      <a:pt x="1040" y="742"/>
                    </a:lnTo>
                    <a:lnTo>
                      <a:pt x="1038" y="739"/>
                    </a:lnTo>
                    <a:lnTo>
                      <a:pt x="1040" y="736"/>
                    </a:lnTo>
                    <a:lnTo>
                      <a:pt x="1040" y="731"/>
                    </a:lnTo>
                    <a:lnTo>
                      <a:pt x="1038" y="728"/>
                    </a:lnTo>
                    <a:lnTo>
                      <a:pt x="1040" y="725"/>
                    </a:lnTo>
                    <a:lnTo>
                      <a:pt x="1043" y="722"/>
                    </a:lnTo>
                    <a:lnTo>
                      <a:pt x="1045" y="719"/>
                    </a:lnTo>
                    <a:lnTo>
                      <a:pt x="1045" y="715"/>
                    </a:lnTo>
                    <a:lnTo>
                      <a:pt x="1045" y="712"/>
                    </a:lnTo>
                    <a:lnTo>
                      <a:pt x="1046" y="709"/>
                    </a:lnTo>
                    <a:lnTo>
                      <a:pt x="1046" y="704"/>
                    </a:lnTo>
                    <a:lnTo>
                      <a:pt x="1046" y="701"/>
                    </a:lnTo>
                    <a:lnTo>
                      <a:pt x="1048" y="698"/>
                    </a:lnTo>
                    <a:lnTo>
                      <a:pt x="1049" y="695"/>
                    </a:lnTo>
                    <a:lnTo>
                      <a:pt x="1051" y="693"/>
                    </a:lnTo>
                    <a:lnTo>
                      <a:pt x="1051" y="690"/>
                    </a:lnTo>
                    <a:lnTo>
                      <a:pt x="1053" y="687"/>
                    </a:lnTo>
                    <a:lnTo>
                      <a:pt x="1051" y="684"/>
                    </a:lnTo>
                    <a:lnTo>
                      <a:pt x="1053" y="679"/>
                    </a:lnTo>
                    <a:lnTo>
                      <a:pt x="1053" y="676"/>
                    </a:lnTo>
                    <a:lnTo>
                      <a:pt x="1053" y="669"/>
                    </a:lnTo>
                    <a:lnTo>
                      <a:pt x="1056" y="666"/>
                    </a:lnTo>
                    <a:lnTo>
                      <a:pt x="1054" y="66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53" name="Freeform 656"/>
              <p:cNvSpPr>
                <a:spLocks/>
              </p:cNvSpPr>
              <p:nvPr/>
            </p:nvSpPr>
            <p:spPr bwMode="auto">
              <a:xfrm>
                <a:off x="1369" y="1408"/>
                <a:ext cx="18" cy="10"/>
              </a:xfrm>
              <a:custGeom>
                <a:avLst/>
                <a:gdLst>
                  <a:gd name="T0" fmla="*/ 33 w 36"/>
                  <a:gd name="T1" fmla="*/ 2 h 21"/>
                  <a:gd name="T2" fmla="*/ 25 w 36"/>
                  <a:gd name="T3" fmla="*/ 0 h 21"/>
                  <a:gd name="T4" fmla="*/ 17 w 36"/>
                  <a:gd name="T5" fmla="*/ 0 h 21"/>
                  <a:gd name="T6" fmla="*/ 14 w 36"/>
                  <a:gd name="T7" fmla="*/ 2 h 21"/>
                  <a:gd name="T8" fmla="*/ 9 w 36"/>
                  <a:gd name="T9" fmla="*/ 2 h 21"/>
                  <a:gd name="T10" fmla="*/ 6 w 36"/>
                  <a:gd name="T11" fmla="*/ 4 h 21"/>
                  <a:gd name="T12" fmla="*/ 3 w 36"/>
                  <a:gd name="T13" fmla="*/ 5 h 21"/>
                  <a:gd name="T14" fmla="*/ 0 w 36"/>
                  <a:gd name="T15" fmla="*/ 10 h 21"/>
                  <a:gd name="T16" fmla="*/ 3 w 36"/>
                  <a:gd name="T17" fmla="*/ 11 h 21"/>
                  <a:gd name="T18" fmla="*/ 7 w 36"/>
                  <a:gd name="T19" fmla="*/ 11 h 21"/>
                  <a:gd name="T20" fmla="*/ 11 w 36"/>
                  <a:gd name="T21" fmla="*/ 13 h 21"/>
                  <a:gd name="T22" fmla="*/ 14 w 36"/>
                  <a:gd name="T23" fmla="*/ 15 h 21"/>
                  <a:gd name="T24" fmla="*/ 17 w 36"/>
                  <a:gd name="T25" fmla="*/ 15 h 21"/>
                  <a:gd name="T26" fmla="*/ 22 w 36"/>
                  <a:gd name="T27" fmla="*/ 18 h 21"/>
                  <a:gd name="T28" fmla="*/ 26 w 36"/>
                  <a:gd name="T29" fmla="*/ 19 h 21"/>
                  <a:gd name="T30" fmla="*/ 31 w 36"/>
                  <a:gd name="T31" fmla="*/ 21 h 21"/>
                  <a:gd name="T32" fmla="*/ 34 w 36"/>
                  <a:gd name="T33" fmla="*/ 19 h 21"/>
                  <a:gd name="T34" fmla="*/ 36 w 36"/>
                  <a:gd name="T35" fmla="*/ 15 h 21"/>
                  <a:gd name="T36" fmla="*/ 36 w 36"/>
                  <a:gd name="T37" fmla="*/ 10 h 21"/>
                  <a:gd name="T38" fmla="*/ 34 w 36"/>
                  <a:gd name="T39" fmla="*/ 7 h 21"/>
                  <a:gd name="T40" fmla="*/ 33 w 36"/>
                  <a:gd name="T41" fmla="*/ 2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6" h="21">
                    <a:moveTo>
                      <a:pt x="33" y="2"/>
                    </a:moveTo>
                    <a:lnTo>
                      <a:pt x="25" y="0"/>
                    </a:lnTo>
                    <a:lnTo>
                      <a:pt x="17" y="0"/>
                    </a:lnTo>
                    <a:lnTo>
                      <a:pt x="14" y="2"/>
                    </a:lnTo>
                    <a:lnTo>
                      <a:pt x="9" y="2"/>
                    </a:lnTo>
                    <a:lnTo>
                      <a:pt x="6" y="4"/>
                    </a:lnTo>
                    <a:lnTo>
                      <a:pt x="3" y="5"/>
                    </a:lnTo>
                    <a:lnTo>
                      <a:pt x="0" y="10"/>
                    </a:lnTo>
                    <a:lnTo>
                      <a:pt x="3" y="11"/>
                    </a:lnTo>
                    <a:lnTo>
                      <a:pt x="7" y="11"/>
                    </a:lnTo>
                    <a:lnTo>
                      <a:pt x="11" y="13"/>
                    </a:lnTo>
                    <a:lnTo>
                      <a:pt x="14" y="15"/>
                    </a:lnTo>
                    <a:lnTo>
                      <a:pt x="17" y="15"/>
                    </a:lnTo>
                    <a:lnTo>
                      <a:pt x="22" y="18"/>
                    </a:lnTo>
                    <a:lnTo>
                      <a:pt x="26" y="19"/>
                    </a:lnTo>
                    <a:lnTo>
                      <a:pt x="31" y="21"/>
                    </a:lnTo>
                    <a:lnTo>
                      <a:pt x="34" y="19"/>
                    </a:lnTo>
                    <a:lnTo>
                      <a:pt x="36" y="15"/>
                    </a:lnTo>
                    <a:lnTo>
                      <a:pt x="36" y="10"/>
                    </a:lnTo>
                    <a:lnTo>
                      <a:pt x="34" y="7"/>
                    </a:lnTo>
                    <a:lnTo>
                      <a:pt x="33" y="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54" name="Freeform 657"/>
              <p:cNvSpPr>
                <a:spLocks/>
              </p:cNvSpPr>
              <p:nvPr/>
            </p:nvSpPr>
            <p:spPr bwMode="auto">
              <a:xfrm>
                <a:off x="1432" y="1343"/>
                <a:ext cx="22" cy="15"/>
              </a:xfrm>
              <a:custGeom>
                <a:avLst/>
                <a:gdLst>
                  <a:gd name="T0" fmla="*/ 0 w 45"/>
                  <a:gd name="T1" fmla="*/ 27 h 30"/>
                  <a:gd name="T2" fmla="*/ 4 w 45"/>
                  <a:gd name="T3" fmla="*/ 29 h 30"/>
                  <a:gd name="T4" fmla="*/ 7 w 45"/>
                  <a:gd name="T5" fmla="*/ 26 h 30"/>
                  <a:gd name="T6" fmla="*/ 11 w 45"/>
                  <a:gd name="T7" fmla="*/ 24 h 30"/>
                  <a:gd name="T8" fmla="*/ 15 w 45"/>
                  <a:gd name="T9" fmla="*/ 21 h 30"/>
                  <a:gd name="T10" fmla="*/ 18 w 45"/>
                  <a:gd name="T11" fmla="*/ 19 h 30"/>
                  <a:gd name="T12" fmla="*/ 16 w 45"/>
                  <a:gd name="T13" fmla="*/ 23 h 30"/>
                  <a:gd name="T14" fmla="*/ 13 w 45"/>
                  <a:gd name="T15" fmla="*/ 26 h 30"/>
                  <a:gd name="T16" fmla="*/ 10 w 45"/>
                  <a:gd name="T17" fmla="*/ 27 h 30"/>
                  <a:gd name="T18" fmla="*/ 7 w 45"/>
                  <a:gd name="T19" fmla="*/ 30 h 30"/>
                  <a:gd name="T20" fmla="*/ 10 w 45"/>
                  <a:gd name="T21" fmla="*/ 29 h 30"/>
                  <a:gd name="T22" fmla="*/ 13 w 45"/>
                  <a:gd name="T23" fmla="*/ 29 h 30"/>
                  <a:gd name="T24" fmla="*/ 16 w 45"/>
                  <a:gd name="T25" fmla="*/ 27 h 30"/>
                  <a:gd name="T26" fmla="*/ 19 w 45"/>
                  <a:gd name="T27" fmla="*/ 26 h 30"/>
                  <a:gd name="T28" fmla="*/ 24 w 45"/>
                  <a:gd name="T29" fmla="*/ 23 h 30"/>
                  <a:gd name="T30" fmla="*/ 27 w 45"/>
                  <a:gd name="T31" fmla="*/ 19 h 30"/>
                  <a:gd name="T32" fmla="*/ 31 w 45"/>
                  <a:gd name="T33" fmla="*/ 16 h 30"/>
                  <a:gd name="T34" fmla="*/ 31 w 45"/>
                  <a:gd name="T35" fmla="*/ 19 h 30"/>
                  <a:gd name="T36" fmla="*/ 23 w 45"/>
                  <a:gd name="T37" fmla="*/ 26 h 30"/>
                  <a:gd name="T38" fmla="*/ 32 w 45"/>
                  <a:gd name="T39" fmla="*/ 18 h 30"/>
                  <a:gd name="T40" fmla="*/ 40 w 45"/>
                  <a:gd name="T41" fmla="*/ 10 h 30"/>
                  <a:gd name="T42" fmla="*/ 38 w 45"/>
                  <a:gd name="T43" fmla="*/ 13 h 30"/>
                  <a:gd name="T44" fmla="*/ 35 w 45"/>
                  <a:gd name="T45" fmla="*/ 16 h 30"/>
                  <a:gd name="T46" fmla="*/ 32 w 45"/>
                  <a:gd name="T47" fmla="*/ 19 h 30"/>
                  <a:gd name="T48" fmla="*/ 29 w 45"/>
                  <a:gd name="T49" fmla="*/ 23 h 30"/>
                  <a:gd name="T50" fmla="*/ 26 w 45"/>
                  <a:gd name="T51" fmla="*/ 27 h 30"/>
                  <a:gd name="T52" fmla="*/ 29 w 45"/>
                  <a:gd name="T53" fmla="*/ 24 h 30"/>
                  <a:gd name="T54" fmla="*/ 32 w 45"/>
                  <a:gd name="T55" fmla="*/ 21 h 30"/>
                  <a:gd name="T56" fmla="*/ 35 w 45"/>
                  <a:gd name="T57" fmla="*/ 16 h 30"/>
                  <a:gd name="T58" fmla="*/ 38 w 45"/>
                  <a:gd name="T59" fmla="*/ 13 h 30"/>
                  <a:gd name="T60" fmla="*/ 43 w 45"/>
                  <a:gd name="T61" fmla="*/ 11 h 30"/>
                  <a:gd name="T62" fmla="*/ 45 w 45"/>
                  <a:gd name="T63" fmla="*/ 8 h 30"/>
                  <a:gd name="T64" fmla="*/ 40 w 45"/>
                  <a:gd name="T65" fmla="*/ 7 h 30"/>
                  <a:gd name="T66" fmla="*/ 42 w 45"/>
                  <a:gd name="T67" fmla="*/ 2 h 30"/>
                  <a:gd name="T68" fmla="*/ 38 w 45"/>
                  <a:gd name="T69" fmla="*/ 0 h 30"/>
                  <a:gd name="T70" fmla="*/ 34 w 45"/>
                  <a:gd name="T71" fmla="*/ 5 h 30"/>
                  <a:gd name="T72" fmla="*/ 31 w 45"/>
                  <a:gd name="T73" fmla="*/ 10 h 30"/>
                  <a:gd name="T74" fmla="*/ 24 w 45"/>
                  <a:gd name="T75" fmla="*/ 15 h 30"/>
                  <a:gd name="T76" fmla="*/ 19 w 45"/>
                  <a:gd name="T77" fmla="*/ 18 h 30"/>
                  <a:gd name="T78" fmla="*/ 23 w 45"/>
                  <a:gd name="T79" fmla="*/ 15 h 30"/>
                  <a:gd name="T80" fmla="*/ 26 w 45"/>
                  <a:gd name="T81" fmla="*/ 11 h 30"/>
                  <a:gd name="T82" fmla="*/ 29 w 45"/>
                  <a:gd name="T83" fmla="*/ 8 h 30"/>
                  <a:gd name="T84" fmla="*/ 32 w 45"/>
                  <a:gd name="T85" fmla="*/ 3 h 30"/>
                  <a:gd name="T86" fmla="*/ 27 w 45"/>
                  <a:gd name="T87" fmla="*/ 8 h 30"/>
                  <a:gd name="T88" fmla="*/ 24 w 45"/>
                  <a:gd name="T89" fmla="*/ 11 h 30"/>
                  <a:gd name="T90" fmla="*/ 21 w 45"/>
                  <a:gd name="T91" fmla="*/ 15 h 30"/>
                  <a:gd name="T92" fmla="*/ 15 w 45"/>
                  <a:gd name="T93" fmla="*/ 16 h 30"/>
                  <a:gd name="T94" fmla="*/ 11 w 45"/>
                  <a:gd name="T95" fmla="*/ 19 h 30"/>
                  <a:gd name="T96" fmla="*/ 7 w 45"/>
                  <a:gd name="T97" fmla="*/ 23 h 30"/>
                  <a:gd name="T98" fmla="*/ 4 w 45"/>
                  <a:gd name="T99" fmla="*/ 24 h 30"/>
                  <a:gd name="T100" fmla="*/ 2 w 45"/>
                  <a:gd name="T101" fmla="*/ 26 h 30"/>
                  <a:gd name="T102" fmla="*/ 0 w 45"/>
                  <a:gd name="T103" fmla="*/ 27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5" h="30">
                    <a:moveTo>
                      <a:pt x="0" y="27"/>
                    </a:moveTo>
                    <a:lnTo>
                      <a:pt x="4" y="29"/>
                    </a:lnTo>
                    <a:lnTo>
                      <a:pt x="7" y="26"/>
                    </a:lnTo>
                    <a:lnTo>
                      <a:pt x="11" y="24"/>
                    </a:lnTo>
                    <a:lnTo>
                      <a:pt x="15" y="21"/>
                    </a:lnTo>
                    <a:lnTo>
                      <a:pt x="18" y="19"/>
                    </a:lnTo>
                    <a:lnTo>
                      <a:pt x="16" y="23"/>
                    </a:lnTo>
                    <a:lnTo>
                      <a:pt x="13" y="26"/>
                    </a:lnTo>
                    <a:lnTo>
                      <a:pt x="10" y="27"/>
                    </a:lnTo>
                    <a:lnTo>
                      <a:pt x="7" y="30"/>
                    </a:lnTo>
                    <a:lnTo>
                      <a:pt x="10" y="29"/>
                    </a:lnTo>
                    <a:lnTo>
                      <a:pt x="13" y="29"/>
                    </a:lnTo>
                    <a:lnTo>
                      <a:pt x="16" y="27"/>
                    </a:lnTo>
                    <a:lnTo>
                      <a:pt x="19" y="26"/>
                    </a:lnTo>
                    <a:lnTo>
                      <a:pt x="24" y="23"/>
                    </a:lnTo>
                    <a:lnTo>
                      <a:pt x="27" y="19"/>
                    </a:lnTo>
                    <a:lnTo>
                      <a:pt x="31" y="16"/>
                    </a:lnTo>
                    <a:lnTo>
                      <a:pt x="31" y="19"/>
                    </a:lnTo>
                    <a:lnTo>
                      <a:pt x="23" y="26"/>
                    </a:lnTo>
                    <a:lnTo>
                      <a:pt x="32" y="18"/>
                    </a:lnTo>
                    <a:lnTo>
                      <a:pt x="40" y="10"/>
                    </a:lnTo>
                    <a:lnTo>
                      <a:pt x="38" y="13"/>
                    </a:lnTo>
                    <a:lnTo>
                      <a:pt x="35" y="16"/>
                    </a:lnTo>
                    <a:lnTo>
                      <a:pt x="32" y="19"/>
                    </a:lnTo>
                    <a:lnTo>
                      <a:pt x="29" y="23"/>
                    </a:lnTo>
                    <a:lnTo>
                      <a:pt x="26" y="27"/>
                    </a:lnTo>
                    <a:lnTo>
                      <a:pt x="29" y="24"/>
                    </a:lnTo>
                    <a:lnTo>
                      <a:pt x="32" y="21"/>
                    </a:lnTo>
                    <a:lnTo>
                      <a:pt x="35" y="16"/>
                    </a:lnTo>
                    <a:lnTo>
                      <a:pt x="38" y="13"/>
                    </a:lnTo>
                    <a:lnTo>
                      <a:pt x="43" y="11"/>
                    </a:lnTo>
                    <a:lnTo>
                      <a:pt x="45" y="8"/>
                    </a:lnTo>
                    <a:lnTo>
                      <a:pt x="40" y="7"/>
                    </a:lnTo>
                    <a:lnTo>
                      <a:pt x="42" y="2"/>
                    </a:lnTo>
                    <a:lnTo>
                      <a:pt x="38" y="0"/>
                    </a:lnTo>
                    <a:lnTo>
                      <a:pt x="34" y="5"/>
                    </a:lnTo>
                    <a:lnTo>
                      <a:pt x="31" y="10"/>
                    </a:lnTo>
                    <a:lnTo>
                      <a:pt x="24" y="15"/>
                    </a:lnTo>
                    <a:lnTo>
                      <a:pt x="19" y="18"/>
                    </a:lnTo>
                    <a:lnTo>
                      <a:pt x="23" y="15"/>
                    </a:lnTo>
                    <a:lnTo>
                      <a:pt x="26" y="11"/>
                    </a:lnTo>
                    <a:lnTo>
                      <a:pt x="29" y="8"/>
                    </a:lnTo>
                    <a:lnTo>
                      <a:pt x="32" y="3"/>
                    </a:lnTo>
                    <a:lnTo>
                      <a:pt x="27" y="8"/>
                    </a:lnTo>
                    <a:lnTo>
                      <a:pt x="24" y="11"/>
                    </a:lnTo>
                    <a:lnTo>
                      <a:pt x="21" y="15"/>
                    </a:lnTo>
                    <a:lnTo>
                      <a:pt x="15" y="16"/>
                    </a:lnTo>
                    <a:lnTo>
                      <a:pt x="11" y="19"/>
                    </a:lnTo>
                    <a:lnTo>
                      <a:pt x="7" y="23"/>
                    </a:lnTo>
                    <a:lnTo>
                      <a:pt x="4" y="24"/>
                    </a:lnTo>
                    <a:lnTo>
                      <a:pt x="2" y="26"/>
                    </a:lnTo>
                    <a:lnTo>
                      <a:pt x="0" y="2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55" name="Freeform 658"/>
              <p:cNvSpPr>
                <a:spLocks/>
              </p:cNvSpPr>
              <p:nvPr/>
            </p:nvSpPr>
            <p:spPr bwMode="auto">
              <a:xfrm>
                <a:off x="1435" y="1345"/>
                <a:ext cx="11" cy="6"/>
              </a:xfrm>
              <a:custGeom>
                <a:avLst/>
                <a:gdLst>
                  <a:gd name="T0" fmla="*/ 0 w 22"/>
                  <a:gd name="T1" fmla="*/ 13 h 13"/>
                  <a:gd name="T2" fmla="*/ 6 w 22"/>
                  <a:gd name="T3" fmla="*/ 10 h 13"/>
                  <a:gd name="T4" fmla="*/ 12 w 22"/>
                  <a:gd name="T5" fmla="*/ 8 h 13"/>
                  <a:gd name="T6" fmla="*/ 17 w 22"/>
                  <a:gd name="T7" fmla="*/ 5 h 13"/>
                  <a:gd name="T8" fmla="*/ 22 w 22"/>
                  <a:gd name="T9" fmla="*/ 0 h 13"/>
                  <a:gd name="T10" fmla="*/ 19 w 22"/>
                  <a:gd name="T11" fmla="*/ 4 h 13"/>
                  <a:gd name="T12" fmla="*/ 14 w 22"/>
                  <a:gd name="T13" fmla="*/ 5 h 13"/>
                  <a:gd name="T14" fmla="*/ 11 w 22"/>
                  <a:gd name="T15" fmla="*/ 5 h 13"/>
                  <a:gd name="T16" fmla="*/ 8 w 22"/>
                  <a:gd name="T17" fmla="*/ 7 h 13"/>
                  <a:gd name="T18" fmla="*/ 4 w 22"/>
                  <a:gd name="T19" fmla="*/ 7 h 13"/>
                  <a:gd name="T20" fmla="*/ 3 w 22"/>
                  <a:gd name="T21" fmla="*/ 8 h 13"/>
                  <a:gd name="T22" fmla="*/ 0 w 22"/>
                  <a:gd name="T23" fmla="*/ 10 h 13"/>
                  <a:gd name="T24" fmla="*/ 0 w 22"/>
                  <a:gd name="T2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2" h="13">
                    <a:moveTo>
                      <a:pt x="0" y="13"/>
                    </a:moveTo>
                    <a:lnTo>
                      <a:pt x="6" y="10"/>
                    </a:lnTo>
                    <a:lnTo>
                      <a:pt x="12" y="8"/>
                    </a:lnTo>
                    <a:lnTo>
                      <a:pt x="17" y="5"/>
                    </a:lnTo>
                    <a:lnTo>
                      <a:pt x="22" y="0"/>
                    </a:lnTo>
                    <a:lnTo>
                      <a:pt x="19" y="4"/>
                    </a:lnTo>
                    <a:lnTo>
                      <a:pt x="14" y="5"/>
                    </a:lnTo>
                    <a:lnTo>
                      <a:pt x="11" y="5"/>
                    </a:lnTo>
                    <a:lnTo>
                      <a:pt x="8" y="7"/>
                    </a:lnTo>
                    <a:lnTo>
                      <a:pt x="4" y="7"/>
                    </a:lnTo>
                    <a:lnTo>
                      <a:pt x="3" y="8"/>
                    </a:lnTo>
                    <a:lnTo>
                      <a:pt x="0" y="10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56" name="Freeform 659"/>
              <p:cNvSpPr>
                <a:spLocks/>
              </p:cNvSpPr>
              <p:nvPr/>
            </p:nvSpPr>
            <p:spPr bwMode="auto">
              <a:xfrm>
                <a:off x="1587" y="1530"/>
                <a:ext cx="38" cy="22"/>
              </a:xfrm>
              <a:custGeom>
                <a:avLst/>
                <a:gdLst>
                  <a:gd name="T0" fmla="*/ 17 w 76"/>
                  <a:gd name="T1" fmla="*/ 31 h 42"/>
                  <a:gd name="T2" fmla="*/ 16 w 76"/>
                  <a:gd name="T3" fmla="*/ 30 h 42"/>
                  <a:gd name="T4" fmla="*/ 17 w 76"/>
                  <a:gd name="T5" fmla="*/ 25 h 42"/>
                  <a:gd name="T6" fmla="*/ 14 w 76"/>
                  <a:gd name="T7" fmla="*/ 25 h 42"/>
                  <a:gd name="T8" fmla="*/ 11 w 76"/>
                  <a:gd name="T9" fmla="*/ 25 h 42"/>
                  <a:gd name="T10" fmla="*/ 8 w 76"/>
                  <a:gd name="T11" fmla="*/ 23 h 42"/>
                  <a:gd name="T12" fmla="*/ 9 w 76"/>
                  <a:gd name="T13" fmla="*/ 20 h 42"/>
                  <a:gd name="T14" fmla="*/ 11 w 76"/>
                  <a:gd name="T15" fmla="*/ 15 h 42"/>
                  <a:gd name="T16" fmla="*/ 8 w 76"/>
                  <a:gd name="T17" fmla="*/ 17 h 42"/>
                  <a:gd name="T18" fmla="*/ 4 w 76"/>
                  <a:gd name="T19" fmla="*/ 17 h 42"/>
                  <a:gd name="T20" fmla="*/ 0 w 76"/>
                  <a:gd name="T21" fmla="*/ 15 h 42"/>
                  <a:gd name="T22" fmla="*/ 3 w 76"/>
                  <a:gd name="T23" fmla="*/ 11 h 42"/>
                  <a:gd name="T24" fmla="*/ 6 w 76"/>
                  <a:gd name="T25" fmla="*/ 9 h 42"/>
                  <a:gd name="T26" fmla="*/ 9 w 76"/>
                  <a:gd name="T27" fmla="*/ 6 h 42"/>
                  <a:gd name="T28" fmla="*/ 12 w 76"/>
                  <a:gd name="T29" fmla="*/ 3 h 42"/>
                  <a:gd name="T30" fmla="*/ 16 w 76"/>
                  <a:gd name="T31" fmla="*/ 1 h 42"/>
                  <a:gd name="T32" fmla="*/ 20 w 76"/>
                  <a:gd name="T33" fmla="*/ 0 h 42"/>
                  <a:gd name="T34" fmla="*/ 19 w 76"/>
                  <a:gd name="T35" fmla="*/ 3 h 42"/>
                  <a:gd name="T36" fmla="*/ 17 w 76"/>
                  <a:gd name="T37" fmla="*/ 6 h 42"/>
                  <a:gd name="T38" fmla="*/ 14 w 76"/>
                  <a:gd name="T39" fmla="*/ 9 h 42"/>
                  <a:gd name="T40" fmla="*/ 17 w 76"/>
                  <a:gd name="T41" fmla="*/ 15 h 42"/>
                  <a:gd name="T42" fmla="*/ 17 w 76"/>
                  <a:gd name="T43" fmla="*/ 19 h 42"/>
                  <a:gd name="T44" fmla="*/ 12 w 76"/>
                  <a:gd name="T45" fmla="*/ 22 h 42"/>
                  <a:gd name="T46" fmla="*/ 17 w 76"/>
                  <a:gd name="T47" fmla="*/ 23 h 42"/>
                  <a:gd name="T48" fmla="*/ 20 w 76"/>
                  <a:gd name="T49" fmla="*/ 22 h 42"/>
                  <a:gd name="T50" fmla="*/ 22 w 76"/>
                  <a:gd name="T51" fmla="*/ 19 h 42"/>
                  <a:gd name="T52" fmla="*/ 25 w 76"/>
                  <a:gd name="T53" fmla="*/ 20 h 42"/>
                  <a:gd name="T54" fmla="*/ 28 w 76"/>
                  <a:gd name="T55" fmla="*/ 23 h 42"/>
                  <a:gd name="T56" fmla="*/ 31 w 76"/>
                  <a:gd name="T57" fmla="*/ 22 h 42"/>
                  <a:gd name="T58" fmla="*/ 35 w 76"/>
                  <a:gd name="T59" fmla="*/ 25 h 42"/>
                  <a:gd name="T60" fmla="*/ 38 w 76"/>
                  <a:gd name="T61" fmla="*/ 25 h 42"/>
                  <a:gd name="T62" fmla="*/ 42 w 76"/>
                  <a:gd name="T63" fmla="*/ 25 h 42"/>
                  <a:gd name="T64" fmla="*/ 49 w 76"/>
                  <a:gd name="T65" fmla="*/ 23 h 42"/>
                  <a:gd name="T66" fmla="*/ 52 w 76"/>
                  <a:gd name="T67" fmla="*/ 23 h 42"/>
                  <a:gd name="T68" fmla="*/ 65 w 76"/>
                  <a:gd name="T69" fmla="*/ 22 h 42"/>
                  <a:gd name="T70" fmla="*/ 76 w 76"/>
                  <a:gd name="T71" fmla="*/ 23 h 42"/>
                  <a:gd name="T72" fmla="*/ 73 w 76"/>
                  <a:gd name="T73" fmla="*/ 25 h 42"/>
                  <a:gd name="T74" fmla="*/ 69 w 76"/>
                  <a:gd name="T75" fmla="*/ 27 h 42"/>
                  <a:gd name="T76" fmla="*/ 65 w 76"/>
                  <a:gd name="T77" fmla="*/ 27 h 42"/>
                  <a:gd name="T78" fmla="*/ 62 w 76"/>
                  <a:gd name="T79" fmla="*/ 27 h 42"/>
                  <a:gd name="T80" fmla="*/ 58 w 76"/>
                  <a:gd name="T81" fmla="*/ 31 h 42"/>
                  <a:gd name="T82" fmla="*/ 55 w 76"/>
                  <a:gd name="T83" fmla="*/ 33 h 42"/>
                  <a:gd name="T84" fmla="*/ 52 w 76"/>
                  <a:gd name="T85" fmla="*/ 34 h 42"/>
                  <a:gd name="T86" fmla="*/ 55 w 76"/>
                  <a:gd name="T87" fmla="*/ 36 h 42"/>
                  <a:gd name="T88" fmla="*/ 54 w 76"/>
                  <a:gd name="T89" fmla="*/ 41 h 42"/>
                  <a:gd name="T90" fmla="*/ 50 w 76"/>
                  <a:gd name="T91" fmla="*/ 42 h 42"/>
                  <a:gd name="T92" fmla="*/ 46 w 76"/>
                  <a:gd name="T93" fmla="*/ 42 h 42"/>
                  <a:gd name="T94" fmla="*/ 41 w 76"/>
                  <a:gd name="T95" fmla="*/ 42 h 42"/>
                  <a:gd name="T96" fmla="*/ 41 w 76"/>
                  <a:gd name="T97" fmla="*/ 39 h 42"/>
                  <a:gd name="T98" fmla="*/ 38 w 76"/>
                  <a:gd name="T99" fmla="*/ 39 h 42"/>
                  <a:gd name="T100" fmla="*/ 41 w 76"/>
                  <a:gd name="T101" fmla="*/ 38 h 42"/>
                  <a:gd name="T102" fmla="*/ 41 w 76"/>
                  <a:gd name="T103" fmla="*/ 34 h 42"/>
                  <a:gd name="T104" fmla="*/ 36 w 76"/>
                  <a:gd name="T105" fmla="*/ 31 h 42"/>
                  <a:gd name="T106" fmla="*/ 39 w 76"/>
                  <a:gd name="T107" fmla="*/ 30 h 42"/>
                  <a:gd name="T108" fmla="*/ 35 w 76"/>
                  <a:gd name="T109" fmla="*/ 31 h 42"/>
                  <a:gd name="T110" fmla="*/ 35 w 76"/>
                  <a:gd name="T111" fmla="*/ 31 h 42"/>
                  <a:gd name="T112" fmla="*/ 31 w 76"/>
                  <a:gd name="T113" fmla="*/ 36 h 42"/>
                  <a:gd name="T114" fmla="*/ 28 w 76"/>
                  <a:gd name="T115" fmla="*/ 34 h 42"/>
                  <a:gd name="T116" fmla="*/ 23 w 76"/>
                  <a:gd name="T117" fmla="*/ 34 h 42"/>
                  <a:gd name="T118" fmla="*/ 20 w 76"/>
                  <a:gd name="T119" fmla="*/ 33 h 42"/>
                  <a:gd name="T120" fmla="*/ 17 w 76"/>
                  <a:gd name="T121" fmla="*/ 3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6" h="42">
                    <a:moveTo>
                      <a:pt x="17" y="31"/>
                    </a:moveTo>
                    <a:lnTo>
                      <a:pt x="16" y="30"/>
                    </a:lnTo>
                    <a:lnTo>
                      <a:pt x="17" y="25"/>
                    </a:lnTo>
                    <a:lnTo>
                      <a:pt x="14" y="25"/>
                    </a:lnTo>
                    <a:lnTo>
                      <a:pt x="11" y="25"/>
                    </a:lnTo>
                    <a:lnTo>
                      <a:pt x="8" y="23"/>
                    </a:lnTo>
                    <a:lnTo>
                      <a:pt x="9" y="20"/>
                    </a:lnTo>
                    <a:lnTo>
                      <a:pt x="11" y="15"/>
                    </a:lnTo>
                    <a:lnTo>
                      <a:pt x="8" y="17"/>
                    </a:lnTo>
                    <a:lnTo>
                      <a:pt x="4" y="17"/>
                    </a:lnTo>
                    <a:lnTo>
                      <a:pt x="0" y="15"/>
                    </a:lnTo>
                    <a:lnTo>
                      <a:pt x="3" y="11"/>
                    </a:lnTo>
                    <a:lnTo>
                      <a:pt x="6" y="9"/>
                    </a:lnTo>
                    <a:lnTo>
                      <a:pt x="9" y="6"/>
                    </a:lnTo>
                    <a:lnTo>
                      <a:pt x="12" y="3"/>
                    </a:lnTo>
                    <a:lnTo>
                      <a:pt x="16" y="1"/>
                    </a:lnTo>
                    <a:lnTo>
                      <a:pt x="20" y="0"/>
                    </a:lnTo>
                    <a:lnTo>
                      <a:pt x="19" y="3"/>
                    </a:lnTo>
                    <a:lnTo>
                      <a:pt x="17" y="6"/>
                    </a:lnTo>
                    <a:lnTo>
                      <a:pt x="14" y="9"/>
                    </a:lnTo>
                    <a:lnTo>
                      <a:pt x="17" y="15"/>
                    </a:lnTo>
                    <a:lnTo>
                      <a:pt x="17" y="19"/>
                    </a:lnTo>
                    <a:lnTo>
                      <a:pt x="12" y="22"/>
                    </a:lnTo>
                    <a:lnTo>
                      <a:pt x="17" y="23"/>
                    </a:lnTo>
                    <a:lnTo>
                      <a:pt x="20" y="22"/>
                    </a:lnTo>
                    <a:lnTo>
                      <a:pt x="22" y="19"/>
                    </a:lnTo>
                    <a:lnTo>
                      <a:pt x="25" y="20"/>
                    </a:lnTo>
                    <a:lnTo>
                      <a:pt x="28" y="23"/>
                    </a:lnTo>
                    <a:lnTo>
                      <a:pt x="31" y="22"/>
                    </a:lnTo>
                    <a:lnTo>
                      <a:pt x="35" y="25"/>
                    </a:lnTo>
                    <a:lnTo>
                      <a:pt x="38" y="25"/>
                    </a:lnTo>
                    <a:lnTo>
                      <a:pt x="42" y="25"/>
                    </a:lnTo>
                    <a:lnTo>
                      <a:pt x="49" y="23"/>
                    </a:lnTo>
                    <a:lnTo>
                      <a:pt x="52" y="23"/>
                    </a:lnTo>
                    <a:lnTo>
                      <a:pt x="65" y="22"/>
                    </a:lnTo>
                    <a:lnTo>
                      <a:pt x="76" y="23"/>
                    </a:lnTo>
                    <a:lnTo>
                      <a:pt x="73" y="25"/>
                    </a:lnTo>
                    <a:lnTo>
                      <a:pt x="69" y="27"/>
                    </a:lnTo>
                    <a:lnTo>
                      <a:pt x="65" y="27"/>
                    </a:lnTo>
                    <a:lnTo>
                      <a:pt x="62" y="27"/>
                    </a:lnTo>
                    <a:lnTo>
                      <a:pt x="58" y="31"/>
                    </a:lnTo>
                    <a:lnTo>
                      <a:pt x="55" y="33"/>
                    </a:lnTo>
                    <a:lnTo>
                      <a:pt x="52" y="34"/>
                    </a:lnTo>
                    <a:lnTo>
                      <a:pt x="55" y="36"/>
                    </a:lnTo>
                    <a:lnTo>
                      <a:pt x="54" y="41"/>
                    </a:lnTo>
                    <a:lnTo>
                      <a:pt x="50" y="42"/>
                    </a:lnTo>
                    <a:lnTo>
                      <a:pt x="46" y="42"/>
                    </a:lnTo>
                    <a:lnTo>
                      <a:pt x="41" y="42"/>
                    </a:lnTo>
                    <a:lnTo>
                      <a:pt x="41" y="39"/>
                    </a:lnTo>
                    <a:lnTo>
                      <a:pt x="38" y="39"/>
                    </a:lnTo>
                    <a:lnTo>
                      <a:pt x="41" y="38"/>
                    </a:lnTo>
                    <a:lnTo>
                      <a:pt x="41" y="34"/>
                    </a:lnTo>
                    <a:lnTo>
                      <a:pt x="36" y="31"/>
                    </a:lnTo>
                    <a:lnTo>
                      <a:pt x="39" y="30"/>
                    </a:lnTo>
                    <a:lnTo>
                      <a:pt x="35" y="31"/>
                    </a:lnTo>
                    <a:lnTo>
                      <a:pt x="35" y="31"/>
                    </a:lnTo>
                    <a:lnTo>
                      <a:pt x="31" y="36"/>
                    </a:lnTo>
                    <a:lnTo>
                      <a:pt x="28" y="34"/>
                    </a:lnTo>
                    <a:lnTo>
                      <a:pt x="23" y="34"/>
                    </a:lnTo>
                    <a:lnTo>
                      <a:pt x="20" y="33"/>
                    </a:lnTo>
                    <a:lnTo>
                      <a:pt x="17" y="3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57" name="Freeform 660"/>
              <p:cNvSpPr>
                <a:spLocks/>
              </p:cNvSpPr>
              <p:nvPr/>
            </p:nvSpPr>
            <p:spPr bwMode="auto">
              <a:xfrm>
                <a:off x="1611" y="1472"/>
                <a:ext cx="38" cy="18"/>
              </a:xfrm>
              <a:custGeom>
                <a:avLst/>
                <a:gdLst>
                  <a:gd name="T0" fmla="*/ 32 w 78"/>
                  <a:gd name="T1" fmla="*/ 5 h 35"/>
                  <a:gd name="T2" fmla="*/ 45 w 78"/>
                  <a:gd name="T3" fmla="*/ 8 h 35"/>
                  <a:gd name="T4" fmla="*/ 56 w 78"/>
                  <a:gd name="T5" fmla="*/ 12 h 35"/>
                  <a:gd name="T6" fmla="*/ 59 w 78"/>
                  <a:gd name="T7" fmla="*/ 16 h 35"/>
                  <a:gd name="T8" fmla="*/ 62 w 78"/>
                  <a:gd name="T9" fmla="*/ 19 h 35"/>
                  <a:gd name="T10" fmla="*/ 65 w 78"/>
                  <a:gd name="T11" fmla="*/ 22 h 35"/>
                  <a:gd name="T12" fmla="*/ 68 w 78"/>
                  <a:gd name="T13" fmla="*/ 22 h 35"/>
                  <a:gd name="T14" fmla="*/ 72 w 78"/>
                  <a:gd name="T15" fmla="*/ 24 h 35"/>
                  <a:gd name="T16" fmla="*/ 76 w 78"/>
                  <a:gd name="T17" fmla="*/ 27 h 35"/>
                  <a:gd name="T18" fmla="*/ 78 w 78"/>
                  <a:gd name="T19" fmla="*/ 30 h 35"/>
                  <a:gd name="T20" fmla="*/ 76 w 78"/>
                  <a:gd name="T21" fmla="*/ 35 h 35"/>
                  <a:gd name="T22" fmla="*/ 72 w 78"/>
                  <a:gd name="T23" fmla="*/ 35 h 35"/>
                  <a:gd name="T24" fmla="*/ 68 w 78"/>
                  <a:gd name="T25" fmla="*/ 35 h 35"/>
                  <a:gd name="T26" fmla="*/ 65 w 78"/>
                  <a:gd name="T27" fmla="*/ 35 h 35"/>
                  <a:gd name="T28" fmla="*/ 62 w 78"/>
                  <a:gd name="T29" fmla="*/ 35 h 35"/>
                  <a:gd name="T30" fmla="*/ 59 w 78"/>
                  <a:gd name="T31" fmla="*/ 35 h 35"/>
                  <a:gd name="T32" fmla="*/ 48 w 78"/>
                  <a:gd name="T33" fmla="*/ 32 h 35"/>
                  <a:gd name="T34" fmla="*/ 37 w 78"/>
                  <a:gd name="T35" fmla="*/ 30 h 35"/>
                  <a:gd name="T36" fmla="*/ 34 w 78"/>
                  <a:gd name="T37" fmla="*/ 28 h 35"/>
                  <a:gd name="T38" fmla="*/ 30 w 78"/>
                  <a:gd name="T39" fmla="*/ 25 h 35"/>
                  <a:gd name="T40" fmla="*/ 27 w 78"/>
                  <a:gd name="T41" fmla="*/ 24 h 35"/>
                  <a:gd name="T42" fmla="*/ 22 w 78"/>
                  <a:gd name="T43" fmla="*/ 24 h 35"/>
                  <a:gd name="T44" fmla="*/ 21 w 78"/>
                  <a:gd name="T45" fmla="*/ 19 h 35"/>
                  <a:gd name="T46" fmla="*/ 21 w 78"/>
                  <a:gd name="T47" fmla="*/ 16 h 35"/>
                  <a:gd name="T48" fmla="*/ 18 w 78"/>
                  <a:gd name="T49" fmla="*/ 12 h 35"/>
                  <a:gd name="T50" fmla="*/ 15 w 78"/>
                  <a:gd name="T51" fmla="*/ 11 h 35"/>
                  <a:gd name="T52" fmla="*/ 10 w 78"/>
                  <a:gd name="T53" fmla="*/ 9 h 35"/>
                  <a:gd name="T54" fmla="*/ 7 w 78"/>
                  <a:gd name="T55" fmla="*/ 8 h 35"/>
                  <a:gd name="T56" fmla="*/ 3 w 78"/>
                  <a:gd name="T57" fmla="*/ 5 h 35"/>
                  <a:gd name="T58" fmla="*/ 0 w 78"/>
                  <a:gd name="T59" fmla="*/ 3 h 35"/>
                  <a:gd name="T60" fmla="*/ 3 w 78"/>
                  <a:gd name="T61" fmla="*/ 1 h 35"/>
                  <a:gd name="T62" fmla="*/ 7 w 78"/>
                  <a:gd name="T63" fmla="*/ 1 h 35"/>
                  <a:gd name="T64" fmla="*/ 10 w 78"/>
                  <a:gd name="T65" fmla="*/ 0 h 35"/>
                  <a:gd name="T66" fmla="*/ 15 w 78"/>
                  <a:gd name="T67" fmla="*/ 1 h 35"/>
                  <a:gd name="T68" fmla="*/ 22 w 78"/>
                  <a:gd name="T69" fmla="*/ 3 h 35"/>
                  <a:gd name="T70" fmla="*/ 32 w 78"/>
                  <a:gd name="T71" fmla="*/ 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8" h="35">
                    <a:moveTo>
                      <a:pt x="32" y="5"/>
                    </a:moveTo>
                    <a:lnTo>
                      <a:pt x="45" y="8"/>
                    </a:lnTo>
                    <a:lnTo>
                      <a:pt x="56" y="12"/>
                    </a:lnTo>
                    <a:lnTo>
                      <a:pt x="59" y="16"/>
                    </a:lnTo>
                    <a:lnTo>
                      <a:pt x="62" y="19"/>
                    </a:lnTo>
                    <a:lnTo>
                      <a:pt x="65" y="22"/>
                    </a:lnTo>
                    <a:lnTo>
                      <a:pt x="68" y="22"/>
                    </a:lnTo>
                    <a:lnTo>
                      <a:pt x="72" y="24"/>
                    </a:lnTo>
                    <a:lnTo>
                      <a:pt x="76" y="27"/>
                    </a:lnTo>
                    <a:lnTo>
                      <a:pt x="78" y="30"/>
                    </a:lnTo>
                    <a:lnTo>
                      <a:pt x="76" y="35"/>
                    </a:lnTo>
                    <a:lnTo>
                      <a:pt x="72" y="35"/>
                    </a:lnTo>
                    <a:lnTo>
                      <a:pt x="68" y="35"/>
                    </a:lnTo>
                    <a:lnTo>
                      <a:pt x="65" y="35"/>
                    </a:lnTo>
                    <a:lnTo>
                      <a:pt x="62" y="35"/>
                    </a:lnTo>
                    <a:lnTo>
                      <a:pt x="59" y="35"/>
                    </a:lnTo>
                    <a:lnTo>
                      <a:pt x="48" y="32"/>
                    </a:lnTo>
                    <a:lnTo>
                      <a:pt x="37" y="30"/>
                    </a:lnTo>
                    <a:lnTo>
                      <a:pt x="34" y="28"/>
                    </a:lnTo>
                    <a:lnTo>
                      <a:pt x="30" y="25"/>
                    </a:lnTo>
                    <a:lnTo>
                      <a:pt x="27" y="24"/>
                    </a:lnTo>
                    <a:lnTo>
                      <a:pt x="22" y="24"/>
                    </a:lnTo>
                    <a:lnTo>
                      <a:pt x="21" y="19"/>
                    </a:lnTo>
                    <a:lnTo>
                      <a:pt x="21" y="16"/>
                    </a:lnTo>
                    <a:lnTo>
                      <a:pt x="18" y="12"/>
                    </a:lnTo>
                    <a:lnTo>
                      <a:pt x="15" y="11"/>
                    </a:lnTo>
                    <a:lnTo>
                      <a:pt x="10" y="9"/>
                    </a:lnTo>
                    <a:lnTo>
                      <a:pt x="7" y="8"/>
                    </a:lnTo>
                    <a:lnTo>
                      <a:pt x="3" y="5"/>
                    </a:lnTo>
                    <a:lnTo>
                      <a:pt x="0" y="3"/>
                    </a:lnTo>
                    <a:lnTo>
                      <a:pt x="3" y="1"/>
                    </a:lnTo>
                    <a:lnTo>
                      <a:pt x="7" y="1"/>
                    </a:lnTo>
                    <a:lnTo>
                      <a:pt x="10" y="0"/>
                    </a:lnTo>
                    <a:lnTo>
                      <a:pt x="15" y="1"/>
                    </a:lnTo>
                    <a:lnTo>
                      <a:pt x="22" y="3"/>
                    </a:lnTo>
                    <a:lnTo>
                      <a:pt x="32" y="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58" name="Freeform 661"/>
              <p:cNvSpPr>
                <a:spLocks/>
              </p:cNvSpPr>
              <p:nvPr/>
            </p:nvSpPr>
            <p:spPr bwMode="auto">
              <a:xfrm>
                <a:off x="1628" y="1530"/>
                <a:ext cx="29" cy="30"/>
              </a:xfrm>
              <a:custGeom>
                <a:avLst/>
                <a:gdLst>
                  <a:gd name="T0" fmla="*/ 0 w 57"/>
                  <a:gd name="T1" fmla="*/ 57 h 58"/>
                  <a:gd name="T2" fmla="*/ 0 w 57"/>
                  <a:gd name="T3" fmla="*/ 49 h 58"/>
                  <a:gd name="T4" fmla="*/ 2 w 57"/>
                  <a:gd name="T5" fmla="*/ 42 h 58"/>
                  <a:gd name="T6" fmla="*/ 6 w 57"/>
                  <a:gd name="T7" fmla="*/ 34 h 58"/>
                  <a:gd name="T8" fmla="*/ 14 w 57"/>
                  <a:gd name="T9" fmla="*/ 30 h 58"/>
                  <a:gd name="T10" fmla="*/ 21 w 57"/>
                  <a:gd name="T11" fmla="*/ 23 h 58"/>
                  <a:gd name="T12" fmla="*/ 26 w 57"/>
                  <a:gd name="T13" fmla="*/ 17 h 58"/>
                  <a:gd name="T14" fmla="*/ 37 w 57"/>
                  <a:gd name="T15" fmla="*/ 9 h 58"/>
                  <a:gd name="T16" fmla="*/ 49 w 57"/>
                  <a:gd name="T17" fmla="*/ 3 h 58"/>
                  <a:gd name="T18" fmla="*/ 52 w 57"/>
                  <a:gd name="T19" fmla="*/ 9 h 58"/>
                  <a:gd name="T20" fmla="*/ 33 w 57"/>
                  <a:gd name="T21" fmla="*/ 33 h 58"/>
                  <a:gd name="T22" fmla="*/ 41 w 57"/>
                  <a:gd name="T23" fmla="*/ 30 h 58"/>
                  <a:gd name="T24" fmla="*/ 33 w 57"/>
                  <a:gd name="T25" fmla="*/ 36 h 58"/>
                  <a:gd name="T26" fmla="*/ 27 w 57"/>
                  <a:gd name="T27" fmla="*/ 39 h 58"/>
                  <a:gd name="T28" fmla="*/ 19 w 57"/>
                  <a:gd name="T29" fmla="*/ 41 h 58"/>
                  <a:gd name="T30" fmla="*/ 19 w 57"/>
                  <a:gd name="T31" fmla="*/ 42 h 58"/>
                  <a:gd name="T32" fmla="*/ 27 w 57"/>
                  <a:gd name="T33" fmla="*/ 41 h 58"/>
                  <a:gd name="T34" fmla="*/ 21 w 57"/>
                  <a:gd name="T35" fmla="*/ 46 h 58"/>
                  <a:gd name="T36" fmla="*/ 16 w 57"/>
                  <a:gd name="T37" fmla="*/ 49 h 58"/>
                  <a:gd name="T38" fmla="*/ 13 w 57"/>
                  <a:gd name="T39" fmla="*/ 53 h 58"/>
                  <a:gd name="T40" fmla="*/ 19 w 57"/>
                  <a:gd name="T41" fmla="*/ 52 h 58"/>
                  <a:gd name="T42" fmla="*/ 22 w 57"/>
                  <a:gd name="T43" fmla="*/ 53 h 58"/>
                  <a:gd name="T44" fmla="*/ 27 w 57"/>
                  <a:gd name="T45" fmla="*/ 49 h 58"/>
                  <a:gd name="T46" fmla="*/ 35 w 57"/>
                  <a:gd name="T47" fmla="*/ 42 h 58"/>
                  <a:gd name="T48" fmla="*/ 24 w 57"/>
                  <a:gd name="T49" fmla="*/ 44 h 58"/>
                  <a:gd name="T50" fmla="*/ 43 w 57"/>
                  <a:gd name="T51" fmla="*/ 33 h 58"/>
                  <a:gd name="T52" fmla="*/ 37 w 57"/>
                  <a:gd name="T53" fmla="*/ 36 h 58"/>
                  <a:gd name="T54" fmla="*/ 40 w 57"/>
                  <a:gd name="T55" fmla="*/ 31 h 58"/>
                  <a:gd name="T56" fmla="*/ 48 w 57"/>
                  <a:gd name="T57" fmla="*/ 31 h 58"/>
                  <a:gd name="T58" fmla="*/ 49 w 57"/>
                  <a:gd name="T59" fmla="*/ 31 h 58"/>
                  <a:gd name="T60" fmla="*/ 54 w 57"/>
                  <a:gd name="T61" fmla="*/ 36 h 58"/>
                  <a:gd name="T62" fmla="*/ 56 w 57"/>
                  <a:gd name="T63" fmla="*/ 39 h 58"/>
                  <a:gd name="T64" fmla="*/ 56 w 57"/>
                  <a:gd name="T65" fmla="*/ 44 h 58"/>
                  <a:gd name="T66" fmla="*/ 49 w 57"/>
                  <a:gd name="T67" fmla="*/ 47 h 58"/>
                  <a:gd name="T68" fmla="*/ 45 w 57"/>
                  <a:gd name="T69" fmla="*/ 47 h 58"/>
                  <a:gd name="T70" fmla="*/ 40 w 57"/>
                  <a:gd name="T71" fmla="*/ 52 h 58"/>
                  <a:gd name="T72" fmla="*/ 33 w 57"/>
                  <a:gd name="T73" fmla="*/ 57 h 58"/>
                  <a:gd name="T74" fmla="*/ 26 w 57"/>
                  <a:gd name="T75" fmla="*/ 57 h 58"/>
                  <a:gd name="T76" fmla="*/ 19 w 57"/>
                  <a:gd name="T77" fmla="*/ 58 h 58"/>
                  <a:gd name="T78" fmla="*/ 11 w 57"/>
                  <a:gd name="T79" fmla="*/ 58 h 58"/>
                  <a:gd name="T80" fmla="*/ 2 w 57"/>
                  <a:gd name="T81" fmla="*/ 58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7" h="58">
                    <a:moveTo>
                      <a:pt x="2" y="58"/>
                    </a:moveTo>
                    <a:lnTo>
                      <a:pt x="0" y="57"/>
                    </a:lnTo>
                    <a:lnTo>
                      <a:pt x="0" y="52"/>
                    </a:lnTo>
                    <a:lnTo>
                      <a:pt x="0" y="49"/>
                    </a:lnTo>
                    <a:lnTo>
                      <a:pt x="0" y="46"/>
                    </a:lnTo>
                    <a:lnTo>
                      <a:pt x="2" y="42"/>
                    </a:lnTo>
                    <a:lnTo>
                      <a:pt x="3" y="38"/>
                    </a:lnTo>
                    <a:lnTo>
                      <a:pt x="6" y="34"/>
                    </a:lnTo>
                    <a:lnTo>
                      <a:pt x="11" y="33"/>
                    </a:lnTo>
                    <a:lnTo>
                      <a:pt x="14" y="30"/>
                    </a:lnTo>
                    <a:lnTo>
                      <a:pt x="18" y="27"/>
                    </a:lnTo>
                    <a:lnTo>
                      <a:pt x="21" y="23"/>
                    </a:lnTo>
                    <a:lnTo>
                      <a:pt x="24" y="20"/>
                    </a:lnTo>
                    <a:lnTo>
                      <a:pt x="26" y="17"/>
                    </a:lnTo>
                    <a:lnTo>
                      <a:pt x="29" y="15"/>
                    </a:lnTo>
                    <a:lnTo>
                      <a:pt x="37" y="9"/>
                    </a:lnTo>
                    <a:lnTo>
                      <a:pt x="46" y="0"/>
                    </a:lnTo>
                    <a:lnTo>
                      <a:pt x="49" y="3"/>
                    </a:lnTo>
                    <a:lnTo>
                      <a:pt x="49" y="7"/>
                    </a:lnTo>
                    <a:lnTo>
                      <a:pt x="52" y="9"/>
                    </a:lnTo>
                    <a:lnTo>
                      <a:pt x="45" y="22"/>
                    </a:lnTo>
                    <a:lnTo>
                      <a:pt x="33" y="33"/>
                    </a:lnTo>
                    <a:lnTo>
                      <a:pt x="37" y="30"/>
                    </a:lnTo>
                    <a:lnTo>
                      <a:pt x="41" y="30"/>
                    </a:lnTo>
                    <a:lnTo>
                      <a:pt x="37" y="33"/>
                    </a:lnTo>
                    <a:lnTo>
                      <a:pt x="33" y="36"/>
                    </a:lnTo>
                    <a:lnTo>
                      <a:pt x="30" y="38"/>
                    </a:lnTo>
                    <a:lnTo>
                      <a:pt x="27" y="39"/>
                    </a:lnTo>
                    <a:lnTo>
                      <a:pt x="22" y="39"/>
                    </a:lnTo>
                    <a:lnTo>
                      <a:pt x="19" y="41"/>
                    </a:lnTo>
                    <a:lnTo>
                      <a:pt x="16" y="44"/>
                    </a:lnTo>
                    <a:lnTo>
                      <a:pt x="19" y="42"/>
                    </a:lnTo>
                    <a:lnTo>
                      <a:pt x="22" y="39"/>
                    </a:lnTo>
                    <a:lnTo>
                      <a:pt x="27" y="41"/>
                    </a:lnTo>
                    <a:lnTo>
                      <a:pt x="24" y="44"/>
                    </a:lnTo>
                    <a:lnTo>
                      <a:pt x="21" y="46"/>
                    </a:lnTo>
                    <a:lnTo>
                      <a:pt x="18" y="46"/>
                    </a:lnTo>
                    <a:lnTo>
                      <a:pt x="16" y="49"/>
                    </a:lnTo>
                    <a:lnTo>
                      <a:pt x="13" y="50"/>
                    </a:lnTo>
                    <a:lnTo>
                      <a:pt x="13" y="53"/>
                    </a:lnTo>
                    <a:lnTo>
                      <a:pt x="16" y="52"/>
                    </a:lnTo>
                    <a:lnTo>
                      <a:pt x="19" y="52"/>
                    </a:lnTo>
                    <a:lnTo>
                      <a:pt x="19" y="55"/>
                    </a:lnTo>
                    <a:lnTo>
                      <a:pt x="22" y="53"/>
                    </a:lnTo>
                    <a:lnTo>
                      <a:pt x="24" y="50"/>
                    </a:lnTo>
                    <a:lnTo>
                      <a:pt x="27" y="49"/>
                    </a:lnTo>
                    <a:lnTo>
                      <a:pt x="32" y="46"/>
                    </a:lnTo>
                    <a:lnTo>
                      <a:pt x="35" y="42"/>
                    </a:lnTo>
                    <a:lnTo>
                      <a:pt x="27" y="46"/>
                    </a:lnTo>
                    <a:lnTo>
                      <a:pt x="24" y="44"/>
                    </a:lnTo>
                    <a:lnTo>
                      <a:pt x="33" y="39"/>
                    </a:lnTo>
                    <a:lnTo>
                      <a:pt x="43" y="33"/>
                    </a:lnTo>
                    <a:lnTo>
                      <a:pt x="40" y="33"/>
                    </a:lnTo>
                    <a:lnTo>
                      <a:pt x="37" y="36"/>
                    </a:lnTo>
                    <a:lnTo>
                      <a:pt x="33" y="38"/>
                    </a:lnTo>
                    <a:lnTo>
                      <a:pt x="40" y="31"/>
                    </a:lnTo>
                    <a:lnTo>
                      <a:pt x="43" y="30"/>
                    </a:lnTo>
                    <a:lnTo>
                      <a:pt x="48" y="31"/>
                    </a:lnTo>
                    <a:lnTo>
                      <a:pt x="46" y="34"/>
                    </a:lnTo>
                    <a:lnTo>
                      <a:pt x="49" y="31"/>
                    </a:lnTo>
                    <a:lnTo>
                      <a:pt x="54" y="33"/>
                    </a:lnTo>
                    <a:lnTo>
                      <a:pt x="54" y="36"/>
                    </a:lnTo>
                    <a:lnTo>
                      <a:pt x="57" y="34"/>
                    </a:lnTo>
                    <a:lnTo>
                      <a:pt x="56" y="39"/>
                    </a:lnTo>
                    <a:lnTo>
                      <a:pt x="52" y="42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49" y="47"/>
                    </a:lnTo>
                    <a:lnTo>
                      <a:pt x="48" y="47"/>
                    </a:lnTo>
                    <a:lnTo>
                      <a:pt x="45" y="47"/>
                    </a:lnTo>
                    <a:lnTo>
                      <a:pt x="43" y="50"/>
                    </a:lnTo>
                    <a:lnTo>
                      <a:pt x="40" y="52"/>
                    </a:lnTo>
                    <a:lnTo>
                      <a:pt x="37" y="53"/>
                    </a:lnTo>
                    <a:lnTo>
                      <a:pt x="33" y="57"/>
                    </a:lnTo>
                    <a:lnTo>
                      <a:pt x="29" y="57"/>
                    </a:lnTo>
                    <a:lnTo>
                      <a:pt x="26" y="57"/>
                    </a:lnTo>
                    <a:lnTo>
                      <a:pt x="22" y="58"/>
                    </a:lnTo>
                    <a:lnTo>
                      <a:pt x="19" y="58"/>
                    </a:lnTo>
                    <a:lnTo>
                      <a:pt x="16" y="57"/>
                    </a:lnTo>
                    <a:lnTo>
                      <a:pt x="11" y="58"/>
                    </a:lnTo>
                    <a:lnTo>
                      <a:pt x="8" y="58"/>
                    </a:lnTo>
                    <a:lnTo>
                      <a:pt x="2" y="5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59" name="Freeform 662"/>
              <p:cNvSpPr>
                <a:spLocks/>
              </p:cNvSpPr>
              <p:nvPr/>
            </p:nvSpPr>
            <p:spPr bwMode="auto">
              <a:xfrm>
                <a:off x="1676" y="1440"/>
                <a:ext cx="107" cy="99"/>
              </a:xfrm>
              <a:custGeom>
                <a:avLst/>
                <a:gdLst>
                  <a:gd name="T0" fmla="*/ 7 w 214"/>
                  <a:gd name="T1" fmla="*/ 160 h 198"/>
                  <a:gd name="T2" fmla="*/ 22 w 214"/>
                  <a:gd name="T3" fmla="*/ 135 h 198"/>
                  <a:gd name="T4" fmla="*/ 45 w 214"/>
                  <a:gd name="T5" fmla="*/ 122 h 198"/>
                  <a:gd name="T6" fmla="*/ 18 w 214"/>
                  <a:gd name="T7" fmla="*/ 123 h 198"/>
                  <a:gd name="T8" fmla="*/ 29 w 214"/>
                  <a:gd name="T9" fmla="*/ 117 h 198"/>
                  <a:gd name="T10" fmla="*/ 62 w 214"/>
                  <a:gd name="T11" fmla="*/ 104 h 198"/>
                  <a:gd name="T12" fmla="*/ 65 w 214"/>
                  <a:gd name="T13" fmla="*/ 95 h 198"/>
                  <a:gd name="T14" fmla="*/ 72 w 214"/>
                  <a:gd name="T15" fmla="*/ 81 h 198"/>
                  <a:gd name="T16" fmla="*/ 80 w 214"/>
                  <a:gd name="T17" fmla="*/ 68 h 198"/>
                  <a:gd name="T18" fmla="*/ 114 w 214"/>
                  <a:gd name="T19" fmla="*/ 33 h 198"/>
                  <a:gd name="T20" fmla="*/ 167 w 214"/>
                  <a:gd name="T21" fmla="*/ 3 h 198"/>
                  <a:gd name="T22" fmla="*/ 173 w 214"/>
                  <a:gd name="T23" fmla="*/ 9 h 198"/>
                  <a:gd name="T24" fmla="*/ 159 w 214"/>
                  <a:gd name="T25" fmla="*/ 16 h 198"/>
                  <a:gd name="T26" fmla="*/ 149 w 214"/>
                  <a:gd name="T27" fmla="*/ 33 h 198"/>
                  <a:gd name="T28" fmla="*/ 129 w 214"/>
                  <a:gd name="T29" fmla="*/ 52 h 198"/>
                  <a:gd name="T30" fmla="*/ 108 w 214"/>
                  <a:gd name="T31" fmla="*/ 71 h 198"/>
                  <a:gd name="T32" fmla="*/ 126 w 214"/>
                  <a:gd name="T33" fmla="*/ 66 h 198"/>
                  <a:gd name="T34" fmla="*/ 140 w 214"/>
                  <a:gd name="T35" fmla="*/ 63 h 198"/>
                  <a:gd name="T36" fmla="*/ 154 w 214"/>
                  <a:gd name="T37" fmla="*/ 63 h 198"/>
                  <a:gd name="T38" fmla="*/ 135 w 214"/>
                  <a:gd name="T39" fmla="*/ 74 h 198"/>
                  <a:gd name="T40" fmla="*/ 134 w 214"/>
                  <a:gd name="T41" fmla="*/ 82 h 198"/>
                  <a:gd name="T42" fmla="*/ 151 w 214"/>
                  <a:gd name="T43" fmla="*/ 84 h 198"/>
                  <a:gd name="T44" fmla="*/ 154 w 214"/>
                  <a:gd name="T45" fmla="*/ 87 h 198"/>
                  <a:gd name="T46" fmla="*/ 148 w 214"/>
                  <a:gd name="T47" fmla="*/ 100 h 198"/>
                  <a:gd name="T48" fmla="*/ 165 w 214"/>
                  <a:gd name="T49" fmla="*/ 89 h 198"/>
                  <a:gd name="T50" fmla="*/ 178 w 214"/>
                  <a:gd name="T51" fmla="*/ 89 h 198"/>
                  <a:gd name="T52" fmla="*/ 195 w 214"/>
                  <a:gd name="T53" fmla="*/ 85 h 198"/>
                  <a:gd name="T54" fmla="*/ 197 w 214"/>
                  <a:gd name="T55" fmla="*/ 101 h 198"/>
                  <a:gd name="T56" fmla="*/ 187 w 214"/>
                  <a:gd name="T57" fmla="*/ 109 h 198"/>
                  <a:gd name="T58" fmla="*/ 191 w 214"/>
                  <a:gd name="T59" fmla="*/ 112 h 198"/>
                  <a:gd name="T60" fmla="*/ 184 w 214"/>
                  <a:gd name="T61" fmla="*/ 123 h 198"/>
                  <a:gd name="T62" fmla="*/ 183 w 214"/>
                  <a:gd name="T63" fmla="*/ 127 h 198"/>
                  <a:gd name="T64" fmla="*/ 202 w 214"/>
                  <a:gd name="T65" fmla="*/ 119 h 198"/>
                  <a:gd name="T66" fmla="*/ 203 w 214"/>
                  <a:gd name="T67" fmla="*/ 128 h 198"/>
                  <a:gd name="T68" fmla="*/ 181 w 214"/>
                  <a:gd name="T69" fmla="*/ 135 h 198"/>
                  <a:gd name="T70" fmla="*/ 186 w 214"/>
                  <a:gd name="T71" fmla="*/ 141 h 198"/>
                  <a:gd name="T72" fmla="*/ 180 w 214"/>
                  <a:gd name="T73" fmla="*/ 155 h 198"/>
                  <a:gd name="T74" fmla="*/ 192 w 214"/>
                  <a:gd name="T75" fmla="*/ 149 h 198"/>
                  <a:gd name="T76" fmla="*/ 206 w 214"/>
                  <a:gd name="T77" fmla="*/ 144 h 198"/>
                  <a:gd name="T78" fmla="*/ 197 w 214"/>
                  <a:gd name="T79" fmla="*/ 165 h 198"/>
                  <a:gd name="T80" fmla="*/ 211 w 214"/>
                  <a:gd name="T81" fmla="*/ 160 h 198"/>
                  <a:gd name="T82" fmla="*/ 195 w 214"/>
                  <a:gd name="T83" fmla="*/ 187 h 198"/>
                  <a:gd name="T84" fmla="*/ 172 w 214"/>
                  <a:gd name="T85" fmla="*/ 192 h 198"/>
                  <a:gd name="T86" fmla="*/ 178 w 214"/>
                  <a:gd name="T87" fmla="*/ 176 h 198"/>
                  <a:gd name="T88" fmla="*/ 154 w 214"/>
                  <a:gd name="T89" fmla="*/ 190 h 198"/>
                  <a:gd name="T90" fmla="*/ 165 w 214"/>
                  <a:gd name="T91" fmla="*/ 169 h 198"/>
                  <a:gd name="T92" fmla="*/ 170 w 214"/>
                  <a:gd name="T93" fmla="*/ 149 h 198"/>
                  <a:gd name="T94" fmla="*/ 151 w 214"/>
                  <a:gd name="T95" fmla="*/ 166 h 198"/>
                  <a:gd name="T96" fmla="*/ 140 w 214"/>
                  <a:gd name="T97" fmla="*/ 166 h 198"/>
                  <a:gd name="T98" fmla="*/ 118 w 214"/>
                  <a:gd name="T99" fmla="*/ 187 h 198"/>
                  <a:gd name="T100" fmla="*/ 102 w 214"/>
                  <a:gd name="T101" fmla="*/ 181 h 198"/>
                  <a:gd name="T102" fmla="*/ 126 w 214"/>
                  <a:gd name="T103" fmla="*/ 168 h 198"/>
                  <a:gd name="T104" fmla="*/ 146 w 214"/>
                  <a:gd name="T105" fmla="*/ 157 h 198"/>
                  <a:gd name="T106" fmla="*/ 135 w 214"/>
                  <a:gd name="T107" fmla="*/ 158 h 198"/>
                  <a:gd name="T108" fmla="*/ 116 w 214"/>
                  <a:gd name="T109" fmla="*/ 166 h 198"/>
                  <a:gd name="T110" fmla="*/ 100 w 214"/>
                  <a:gd name="T111" fmla="*/ 163 h 198"/>
                  <a:gd name="T112" fmla="*/ 111 w 214"/>
                  <a:gd name="T113" fmla="*/ 154 h 198"/>
                  <a:gd name="T114" fmla="*/ 102 w 214"/>
                  <a:gd name="T115" fmla="*/ 154 h 198"/>
                  <a:gd name="T116" fmla="*/ 84 w 214"/>
                  <a:gd name="T117" fmla="*/ 158 h 198"/>
                  <a:gd name="T118" fmla="*/ 62 w 214"/>
                  <a:gd name="T119" fmla="*/ 158 h 198"/>
                  <a:gd name="T120" fmla="*/ 43 w 214"/>
                  <a:gd name="T121" fmla="*/ 155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14" h="198">
                    <a:moveTo>
                      <a:pt x="29" y="157"/>
                    </a:moveTo>
                    <a:lnTo>
                      <a:pt x="24" y="157"/>
                    </a:lnTo>
                    <a:lnTo>
                      <a:pt x="21" y="158"/>
                    </a:lnTo>
                    <a:lnTo>
                      <a:pt x="18" y="158"/>
                    </a:lnTo>
                    <a:lnTo>
                      <a:pt x="15" y="158"/>
                    </a:lnTo>
                    <a:lnTo>
                      <a:pt x="11" y="160"/>
                    </a:lnTo>
                    <a:lnTo>
                      <a:pt x="7" y="160"/>
                    </a:lnTo>
                    <a:lnTo>
                      <a:pt x="3" y="160"/>
                    </a:lnTo>
                    <a:lnTo>
                      <a:pt x="0" y="158"/>
                    </a:lnTo>
                    <a:lnTo>
                      <a:pt x="2" y="155"/>
                    </a:lnTo>
                    <a:lnTo>
                      <a:pt x="2" y="152"/>
                    </a:lnTo>
                    <a:lnTo>
                      <a:pt x="2" y="147"/>
                    </a:lnTo>
                    <a:lnTo>
                      <a:pt x="11" y="139"/>
                    </a:lnTo>
                    <a:lnTo>
                      <a:pt x="22" y="135"/>
                    </a:lnTo>
                    <a:lnTo>
                      <a:pt x="26" y="131"/>
                    </a:lnTo>
                    <a:lnTo>
                      <a:pt x="29" y="130"/>
                    </a:lnTo>
                    <a:lnTo>
                      <a:pt x="34" y="127"/>
                    </a:lnTo>
                    <a:lnTo>
                      <a:pt x="37" y="125"/>
                    </a:lnTo>
                    <a:lnTo>
                      <a:pt x="40" y="125"/>
                    </a:lnTo>
                    <a:lnTo>
                      <a:pt x="42" y="123"/>
                    </a:lnTo>
                    <a:lnTo>
                      <a:pt x="45" y="122"/>
                    </a:lnTo>
                    <a:lnTo>
                      <a:pt x="42" y="122"/>
                    </a:lnTo>
                    <a:lnTo>
                      <a:pt x="37" y="122"/>
                    </a:lnTo>
                    <a:lnTo>
                      <a:pt x="35" y="120"/>
                    </a:lnTo>
                    <a:lnTo>
                      <a:pt x="27" y="122"/>
                    </a:lnTo>
                    <a:lnTo>
                      <a:pt x="24" y="122"/>
                    </a:lnTo>
                    <a:lnTo>
                      <a:pt x="21" y="122"/>
                    </a:lnTo>
                    <a:lnTo>
                      <a:pt x="18" y="123"/>
                    </a:lnTo>
                    <a:lnTo>
                      <a:pt x="18" y="120"/>
                    </a:lnTo>
                    <a:lnTo>
                      <a:pt x="22" y="117"/>
                    </a:lnTo>
                    <a:lnTo>
                      <a:pt x="29" y="114"/>
                    </a:lnTo>
                    <a:lnTo>
                      <a:pt x="32" y="112"/>
                    </a:lnTo>
                    <a:lnTo>
                      <a:pt x="29" y="116"/>
                    </a:lnTo>
                    <a:lnTo>
                      <a:pt x="26" y="119"/>
                    </a:lnTo>
                    <a:lnTo>
                      <a:pt x="29" y="117"/>
                    </a:lnTo>
                    <a:lnTo>
                      <a:pt x="32" y="120"/>
                    </a:lnTo>
                    <a:lnTo>
                      <a:pt x="40" y="109"/>
                    </a:lnTo>
                    <a:lnTo>
                      <a:pt x="49" y="100"/>
                    </a:lnTo>
                    <a:lnTo>
                      <a:pt x="53" y="100"/>
                    </a:lnTo>
                    <a:lnTo>
                      <a:pt x="56" y="100"/>
                    </a:lnTo>
                    <a:lnTo>
                      <a:pt x="59" y="103"/>
                    </a:lnTo>
                    <a:lnTo>
                      <a:pt x="62" y="104"/>
                    </a:lnTo>
                    <a:lnTo>
                      <a:pt x="65" y="103"/>
                    </a:lnTo>
                    <a:lnTo>
                      <a:pt x="61" y="103"/>
                    </a:lnTo>
                    <a:lnTo>
                      <a:pt x="59" y="100"/>
                    </a:lnTo>
                    <a:lnTo>
                      <a:pt x="62" y="98"/>
                    </a:lnTo>
                    <a:lnTo>
                      <a:pt x="65" y="98"/>
                    </a:lnTo>
                    <a:lnTo>
                      <a:pt x="62" y="97"/>
                    </a:lnTo>
                    <a:lnTo>
                      <a:pt x="65" y="95"/>
                    </a:lnTo>
                    <a:lnTo>
                      <a:pt x="62" y="95"/>
                    </a:lnTo>
                    <a:lnTo>
                      <a:pt x="59" y="93"/>
                    </a:lnTo>
                    <a:lnTo>
                      <a:pt x="59" y="90"/>
                    </a:lnTo>
                    <a:lnTo>
                      <a:pt x="61" y="87"/>
                    </a:lnTo>
                    <a:lnTo>
                      <a:pt x="65" y="84"/>
                    </a:lnTo>
                    <a:lnTo>
                      <a:pt x="68" y="81"/>
                    </a:lnTo>
                    <a:lnTo>
                      <a:pt x="72" y="81"/>
                    </a:lnTo>
                    <a:lnTo>
                      <a:pt x="72" y="85"/>
                    </a:lnTo>
                    <a:lnTo>
                      <a:pt x="75" y="84"/>
                    </a:lnTo>
                    <a:lnTo>
                      <a:pt x="73" y="81"/>
                    </a:lnTo>
                    <a:lnTo>
                      <a:pt x="73" y="77"/>
                    </a:lnTo>
                    <a:lnTo>
                      <a:pt x="73" y="74"/>
                    </a:lnTo>
                    <a:lnTo>
                      <a:pt x="75" y="73"/>
                    </a:lnTo>
                    <a:lnTo>
                      <a:pt x="80" y="68"/>
                    </a:lnTo>
                    <a:lnTo>
                      <a:pt x="84" y="63"/>
                    </a:lnTo>
                    <a:lnTo>
                      <a:pt x="95" y="51"/>
                    </a:lnTo>
                    <a:lnTo>
                      <a:pt x="107" y="39"/>
                    </a:lnTo>
                    <a:lnTo>
                      <a:pt x="110" y="39"/>
                    </a:lnTo>
                    <a:lnTo>
                      <a:pt x="107" y="36"/>
                    </a:lnTo>
                    <a:lnTo>
                      <a:pt x="111" y="35"/>
                    </a:lnTo>
                    <a:lnTo>
                      <a:pt x="114" y="33"/>
                    </a:lnTo>
                    <a:lnTo>
                      <a:pt x="118" y="31"/>
                    </a:lnTo>
                    <a:lnTo>
                      <a:pt x="121" y="28"/>
                    </a:lnTo>
                    <a:lnTo>
                      <a:pt x="129" y="19"/>
                    </a:lnTo>
                    <a:lnTo>
                      <a:pt x="135" y="12"/>
                    </a:lnTo>
                    <a:lnTo>
                      <a:pt x="149" y="6"/>
                    </a:lnTo>
                    <a:lnTo>
                      <a:pt x="165" y="0"/>
                    </a:lnTo>
                    <a:lnTo>
                      <a:pt x="167" y="3"/>
                    </a:lnTo>
                    <a:lnTo>
                      <a:pt x="170" y="5"/>
                    </a:lnTo>
                    <a:lnTo>
                      <a:pt x="170" y="1"/>
                    </a:lnTo>
                    <a:lnTo>
                      <a:pt x="175" y="0"/>
                    </a:lnTo>
                    <a:lnTo>
                      <a:pt x="178" y="0"/>
                    </a:lnTo>
                    <a:lnTo>
                      <a:pt x="178" y="3"/>
                    </a:lnTo>
                    <a:lnTo>
                      <a:pt x="176" y="8"/>
                    </a:lnTo>
                    <a:lnTo>
                      <a:pt x="173" y="9"/>
                    </a:lnTo>
                    <a:lnTo>
                      <a:pt x="170" y="11"/>
                    </a:lnTo>
                    <a:lnTo>
                      <a:pt x="165" y="9"/>
                    </a:lnTo>
                    <a:lnTo>
                      <a:pt x="162" y="11"/>
                    </a:lnTo>
                    <a:lnTo>
                      <a:pt x="159" y="9"/>
                    </a:lnTo>
                    <a:lnTo>
                      <a:pt x="157" y="12"/>
                    </a:lnTo>
                    <a:lnTo>
                      <a:pt x="156" y="16"/>
                    </a:lnTo>
                    <a:lnTo>
                      <a:pt x="159" y="16"/>
                    </a:lnTo>
                    <a:lnTo>
                      <a:pt x="164" y="16"/>
                    </a:lnTo>
                    <a:lnTo>
                      <a:pt x="164" y="19"/>
                    </a:lnTo>
                    <a:lnTo>
                      <a:pt x="160" y="20"/>
                    </a:lnTo>
                    <a:lnTo>
                      <a:pt x="159" y="25"/>
                    </a:lnTo>
                    <a:lnTo>
                      <a:pt x="156" y="28"/>
                    </a:lnTo>
                    <a:lnTo>
                      <a:pt x="153" y="30"/>
                    </a:lnTo>
                    <a:lnTo>
                      <a:pt x="149" y="33"/>
                    </a:lnTo>
                    <a:lnTo>
                      <a:pt x="148" y="30"/>
                    </a:lnTo>
                    <a:lnTo>
                      <a:pt x="145" y="33"/>
                    </a:lnTo>
                    <a:lnTo>
                      <a:pt x="145" y="36"/>
                    </a:lnTo>
                    <a:lnTo>
                      <a:pt x="138" y="43"/>
                    </a:lnTo>
                    <a:lnTo>
                      <a:pt x="135" y="46"/>
                    </a:lnTo>
                    <a:lnTo>
                      <a:pt x="130" y="49"/>
                    </a:lnTo>
                    <a:lnTo>
                      <a:pt x="129" y="52"/>
                    </a:lnTo>
                    <a:lnTo>
                      <a:pt x="126" y="55"/>
                    </a:lnTo>
                    <a:lnTo>
                      <a:pt x="122" y="58"/>
                    </a:lnTo>
                    <a:lnTo>
                      <a:pt x="118" y="60"/>
                    </a:lnTo>
                    <a:lnTo>
                      <a:pt x="116" y="63"/>
                    </a:lnTo>
                    <a:lnTo>
                      <a:pt x="114" y="66"/>
                    </a:lnTo>
                    <a:lnTo>
                      <a:pt x="111" y="70"/>
                    </a:lnTo>
                    <a:lnTo>
                      <a:pt x="108" y="71"/>
                    </a:lnTo>
                    <a:lnTo>
                      <a:pt x="110" y="76"/>
                    </a:lnTo>
                    <a:lnTo>
                      <a:pt x="108" y="79"/>
                    </a:lnTo>
                    <a:lnTo>
                      <a:pt x="111" y="76"/>
                    </a:lnTo>
                    <a:lnTo>
                      <a:pt x="114" y="73"/>
                    </a:lnTo>
                    <a:lnTo>
                      <a:pt x="118" y="70"/>
                    </a:lnTo>
                    <a:lnTo>
                      <a:pt x="121" y="68"/>
                    </a:lnTo>
                    <a:lnTo>
                      <a:pt x="126" y="66"/>
                    </a:lnTo>
                    <a:lnTo>
                      <a:pt x="127" y="63"/>
                    </a:lnTo>
                    <a:lnTo>
                      <a:pt x="129" y="63"/>
                    </a:lnTo>
                    <a:lnTo>
                      <a:pt x="132" y="60"/>
                    </a:lnTo>
                    <a:lnTo>
                      <a:pt x="135" y="58"/>
                    </a:lnTo>
                    <a:lnTo>
                      <a:pt x="137" y="62"/>
                    </a:lnTo>
                    <a:lnTo>
                      <a:pt x="135" y="63"/>
                    </a:lnTo>
                    <a:lnTo>
                      <a:pt x="140" y="63"/>
                    </a:lnTo>
                    <a:lnTo>
                      <a:pt x="143" y="62"/>
                    </a:lnTo>
                    <a:lnTo>
                      <a:pt x="143" y="63"/>
                    </a:lnTo>
                    <a:lnTo>
                      <a:pt x="146" y="65"/>
                    </a:lnTo>
                    <a:lnTo>
                      <a:pt x="151" y="65"/>
                    </a:lnTo>
                    <a:lnTo>
                      <a:pt x="154" y="63"/>
                    </a:lnTo>
                    <a:lnTo>
                      <a:pt x="154" y="63"/>
                    </a:lnTo>
                    <a:lnTo>
                      <a:pt x="154" y="63"/>
                    </a:lnTo>
                    <a:lnTo>
                      <a:pt x="153" y="66"/>
                    </a:lnTo>
                    <a:lnTo>
                      <a:pt x="149" y="68"/>
                    </a:lnTo>
                    <a:lnTo>
                      <a:pt x="146" y="70"/>
                    </a:lnTo>
                    <a:lnTo>
                      <a:pt x="137" y="73"/>
                    </a:lnTo>
                    <a:lnTo>
                      <a:pt x="129" y="77"/>
                    </a:lnTo>
                    <a:lnTo>
                      <a:pt x="132" y="76"/>
                    </a:lnTo>
                    <a:lnTo>
                      <a:pt x="135" y="74"/>
                    </a:lnTo>
                    <a:lnTo>
                      <a:pt x="140" y="76"/>
                    </a:lnTo>
                    <a:lnTo>
                      <a:pt x="135" y="79"/>
                    </a:lnTo>
                    <a:lnTo>
                      <a:pt x="134" y="82"/>
                    </a:lnTo>
                    <a:lnTo>
                      <a:pt x="130" y="84"/>
                    </a:lnTo>
                    <a:lnTo>
                      <a:pt x="127" y="85"/>
                    </a:lnTo>
                    <a:lnTo>
                      <a:pt x="130" y="84"/>
                    </a:lnTo>
                    <a:lnTo>
                      <a:pt x="134" y="82"/>
                    </a:lnTo>
                    <a:lnTo>
                      <a:pt x="137" y="82"/>
                    </a:lnTo>
                    <a:lnTo>
                      <a:pt x="141" y="84"/>
                    </a:lnTo>
                    <a:lnTo>
                      <a:pt x="145" y="84"/>
                    </a:lnTo>
                    <a:lnTo>
                      <a:pt x="143" y="87"/>
                    </a:lnTo>
                    <a:lnTo>
                      <a:pt x="143" y="89"/>
                    </a:lnTo>
                    <a:lnTo>
                      <a:pt x="146" y="85"/>
                    </a:lnTo>
                    <a:lnTo>
                      <a:pt x="151" y="84"/>
                    </a:lnTo>
                    <a:lnTo>
                      <a:pt x="151" y="87"/>
                    </a:lnTo>
                    <a:lnTo>
                      <a:pt x="151" y="90"/>
                    </a:lnTo>
                    <a:lnTo>
                      <a:pt x="154" y="87"/>
                    </a:lnTo>
                    <a:lnTo>
                      <a:pt x="154" y="84"/>
                    </a:lnTo>
                    <a:lnTo>
                      <a:pt x="157" y="81"/>
                    </a:lnTo>
                    <a:lnTo>
                      <a:pt x="159" y="85"/>
                    </a:lnTo>
                    <a:lnTo>
                      <a:pt x="154" y="87"/>
                    </a:lnTo>
                    <a:lnTo>
                      <a:pt x="154" y="90"/>
                    </a:lnTo>
                    <a:lnTo>
                      <a:pt x="149" y="93"/>
                    </a:lnTo>
                    <a:lnTo>
                      <a:pt x="148" y="98"/>
                    </a:lnTo>
                    <a:lnTo>
                      <a:pt x="145" y="101"/>
                    </a:lnTo>
                    <a:lnTo>
                      <a:pt x="145" y="101"/>
                    </a:lnTo>
                    <a:lnTo>
                      <a:pt x="145" y="101"/>
                    </a:lnTo>
                    <a:lnTo>
                      <a:pt x="148" y="100"/>
                    </a:lnTo>
                    <a:lnTo>
                      <a:pt x="153" y="98"/>
                    </a:lnTo>
                    <a:lnTo>
                      <a:pt x="151" y="95"/>
                    </a:lnTo>
                    <a:lnTo>
                      <a:pt x="154" y="93"/>
                    </a:lnTo>
                    <a:lnTo>
                      <a:pt x="157" y="92"/>
                    </a:lnTo>
                    <a:lnTo>
                      <a:pt x="160" y="93"/>
                    </a:lnTo>
                    <a:lnTo>
                      <a:pt x="164" y="92"/>
                    </a:lnTo>
                    <a:lnTo>
                      <a:pt x="165" y="89"/>
                    </a:lnTo>
                    <a:lnTo>
                      <a:pt x="165" y="92"/>
                    </a:lnTo>
                    <a:lnTo>
                      <a:pt x="168" y="90"/>
                    </a:lnTo>
                    <a:lnTo>
                      <a:pt x="172" y="87"/>
                    </a:lnTo>
                    <a:lnTo>
                      <a:pt x="176" y="84"/>
                    </a:lnTo>
                    <a:lnTo>
                      <a:pt x="180" y="82"/>
                    </a:lnTo>
                    <a:lnTo>
                      <a:pt x="180" y="85"/>
                    </a:lnTo>
                    <a:lnTo>
                      <a:pt x="178" y="89"/>
                    </a:lnTo>
                    <a:lnTo>
                      <a:pt x="176" y="92"/>
                    </a:lnTo>
                    <a:lnTo>
                      <a:pt x="176" y="92"/>
                    </a:lnTo>
                    <a:lnTo>
                      <a:pt x="180" y="90"/>
                    </a:lnTo>
                    <a:lnTo>
                      <a:pt x="183" y="85"/>
                    </a:lnTo>
                    <a:lnTo>
                      <a:pt x="189" y="85"/>
                    </a:lnTo>
                    <a:lnTo>
                      <a:pt x="192" y="84"/>
                    </a:lnTo>
                    <a:lnTo>
                      <a:pt x="195" y="85"/>
                    </a:lnTo>
                    <a:lnTo>
                      <a:pt x="200" y="87"/>
                    </a:lnTo>
                    <a:lnTo>
                      <a:pt x="203" y="89"/>
                    </a:lnTo>
                    <a:lnTo>
                      <a:pt x="206" y="92"/>
                    </a:lnTo>
                    <a:lnTo>
                      <a:pt x="208" y="93"/>
                    </a:lnTo>
                    <a:lnTo>
                      <a:pt x="205" y="95"/>
                    </a:lnTo>
                    <a:lnTo>
                      <a:pt x="202" y="98"/>
                    </a:lnTo>
                    <a:lnTo>
                      <a:pt x="197" y="101"/>
                    </a:lnTo>
                    <a:lnTo>
                      <a:pt x="194" y="101"/>
                    </a:lnTo>
                    <a:lnTo>
                      <a:pt x="191" y="104"/>
                    </a:lnTo>
                    <a:lnTo>
                      <a:pt x="187" y="108"/>
                    </a:lnTo>
                    <a:lnTo>
                      <a:pt x="184" y="109"/>
                    </a:lnTo>
                    <a:lnTo>
                      <a:pt x="181" y="111"/>
                    </a:lnTo>
                    <a:lnTo>
                      <a:pt x="184" y="111"/>
                    </a:lnTo>
                    <a:lnTo>
                      <a:pt x="187" y="109"/>
                    </a:lnTo>
                    <a:lnTo>
                      <a:pt x="191" y="109"/>
                    </a:lnTo>
                    <a:lnTo>
                      <a:pt x="187" y="112"/>
                    </a:lnTo>
                    <a:lnTo>
                      <a:pt x="184" y="112"/>
                    </a:lnTo>
                    <a:lnTo>
                      <a:pt x="186" y="116"/>
                    </a:lnTo>
                    <a:lnTo>
                      <a:pt x="186" y="117"/>
                    </a:lnTo>
                    <a:lnTo>
                      <a:pt x="189" y="116"/>
                    </a:lnTo>
                    <a:lnTo>
                      <a:pt x="191" y="112"/>
                    </a:lnTo>
                    <a:lnTo>
                      <a:pt x="192" y="116"/>
                    </a:lnTo>
                    <a:lnTo>
                      <a:pt x="195" y="116"/>
                    </a:lnTo>
                    <a:lnTo>
                      <a:pt x="192" y="117"/>
                    </a:lnTo>
                    <a:lnTo>
                      <a:pt x="187" y="119"/>
                    </a:lnTo>
                    <a:lnTo>
                      <a:pt x="184" y="119"/>
                    </a:lnTo>
                    <a:lnTo>
                      <a:pt x="187" y="120"/>
                    </a:lnTo>
                    <a:lnTo>
                      <a:pt x="184" y="123"/>
                    </a:lnTo>
                    <a:lnTo>
                      <a:pt x="181" y="125"/>
                    </a:lnTo>
                    <a:lnTo>
                      <a:pt x="178" y="125"/>
                    </a:lnTo>
                    <a:lnTo>
                      <a:pt x="175" y="128"/>
                    </a:lnTo>
                    <a:lnTo>
                      <a:pt x="178" y="127"/>
                    </a:lnTo>
                    <a:lnTo>
                      <a:pt x="183" y="125"/>
                    </a:lnTo>
                    <a:lnTo>
                      <a:pt x="186" y="123"/>
                    </a:lnTo>
                    <a:lnTo>
                      <a:pt x="183" y="127"/>
                    </a:lnTo>
                    <a:lnTo>
                      <a:pt x="187" y="125"/>
                    </a:lnTo>
                    <a:lnTo>
                      <a:pt x="191" y="122"/>
                    </a:lnTo>
                    <a:lnTo>
                      <a:pt x="189" y="125"/>
                    </a:lnTo>
                    <a:lnTo>
                      <a:pt x="192" y="123"/>
                    </a:lnTo>
                    <a:lnTo>
                      <a:pt x="195" y="123"/>
                    </a:lnTo>
                    <a:lnTo>
                      <a:pt x="199" y="120"/>
                    </a:lnTo>
                    <a:lnTo>
                      <a:pt x="202" y="119"/>
                    </a:lnTo>
                    <a:lnTo>
                      <a:pt x="205" y="122"/>
                    </a:lnTo>
                    <a:lnTo>
                      <a:pt x="208" y="119"/>
                    </a:lnTo>
                    <a:lnTo>
                      <a:pt x="211" y="117"/>
                    </a:lnTo>
                    <a:lnTo>
                      <a:pt x="214" y="120"/>
                    </a:lnTo>
                    <a:lnTo>
                      <a:pt x="211" y="123"/>
                    </a:lnTo>
                    <a:lnTo>
                      <a:pt x="208" y="127"/>
                    </a:lnTo>
                    <a:lnTo>
                      <a:pt x="203" y="128"/>
                    </a:lnTo>
                    <a:lnTo>
                      <a:pt x="200" y="127"/>
                    </a:lnTo>
                    <a:lnTo>
                      <a:pt x="199" y="130"/>
                    </a:lnTo>
                    <a:lnTo>
                      <a:pt x="195" y="131"/>
                    </a:lnTo>
                    <a:lnTo>
                      <a:pt x="192" y="135"/>
                    </a:lnTo>
                    <a:lnTo>
                      <a:pt x="187" y="136"/>
                    </a:lnTo>
                    <a:lnTo>
                      <a:pt x="184" y="135"/>
                    </a:lnTo>
                    <a:lnTo>
                      <a:pt x="181" y="135"/>
                    </a:lnTo>
                    <a:lnTo>
                      <a:pt x="178" y="138"/>
                    </a:lnTo>
                    <a:lnTo>
                      <a:pt x="183" y="139"/>
                    </a:lnTo>
                    <a:lnTo>
                      <a:pt x="186" y="139"/>
                    </a:lnTo>
                    <a:lnTo>
                      <a:pt x="183" y="141"/>
                    </a:lnTo>
                    <a:lnTo>
                      <a:pt x="178" y="141"/>
                    </a:lnTo>
                    <a:lnTo>
                      <a:pt x="183" y="142"/>
                    </a:lnTo>
                    <a:lnTo>
                      <a:pt x="186" y="141"/>
                    </a:lnTo>
                    <a:lnTo>
                      <a:pt x="184" y="144"/>
                    </a:lnTo>
                    <a:lnTo>
                      <a:pt x="181" y="147"/>
                    </a:lnTo>
                    <a:lnTo>
                      <a:pt x="180" y="150"/>
                    </a:lnTo>
                    <a:lnTo>
                      <a:pt x="176" y="149"/>
                    </a:lnTo>
                    <a:lnTo>
                      <a:pt x="176" y="152"/>
                    </a:lnTo>
                    <a:lnTo>
                      <a:pt x="176" y="155"/>
                    </a:lnTo>
                    <a:lnTo>
                      <a:pt x="180" y="155"/>
                    </a:lnTo>
                    <a:lnTo>
                      <a:pt x="178" y="158"/>
                    </a:lnTo>
                    <a:lnTo>
                      <a:pt x="180" y="162"/>
                    </a:lnTo>
                    <a:lnTo>
                      <a:pt x="183" y="162"/>
                    </a:lnTo>
                    <a:lnTo>
                      <a:pt x="183" y="158"/>
                    </a:lnTo>
                    <a:lnTo>
                      <a:pt x="187" y="155"/>
                    </a:lnTo>
                    <a:lnTo>
                      <a:pt x="189" y="152"/>
                    </a:lnTo>
                    <a:lnTo>
                      <a:pt x="192" y="149"/>
                    </a:lnTo>
                    <a:lnTo>
                      <a:pt x="199" y="142"/>
                    </a:lnTo>
                    <a:lnTo>
                      <a:pt x="202" y="139"/>
                    </a:lnTo>
                    <a:lnTo>
                      <a:pt x="205" y="141"/>
                    </a:lnTo>
                    <a:lnTo>
                      <a:pt x="210" y="138"/>
                    </a:lnTo>
                    <a:lnTo>
                      <a:pt x="213" y="138"/>
                    </a:lnTo>
                    <a:lnTo>
                      <a:pt x="210" y="141"/>
                    </a:lnTo>
                    <a:lnTo>
                      <a:pt x="206" y="144"/>
                    </a:lnTo>
                    <a:lnTo>
                      <a:pt x="203" y="147"/>
                    </a:lnTo>
                    <a:lnTo>
                      <a:pt x="200" y="150"/>
                    </a:lnTo>
                    <a:lnTo>
                      <a:pt x="197" y="155"/>
                    </a:lnTo>
                    <a:lnTo>
                      <a:pt x="194" y="158"/>
                    </a:lnTo>
                    <a:lnTo>
                      <a:pt x="194" y="162"/>
                    </a:lnTo>
                    <a:lnTo>
                      <a:pt x="192" y="165"/>
                    </a:lnTo>
                    <a:lnTo>
                      <a:pt x="197" y="165"/>
                    </a:lnTo>
                    <a:lnTo>
                      <a:pt x="200" y="163"/>
                    </a:lnTo>
                    <a:lnTo>
                      <a:pt x="203" y="160"/>
                    </a:lnTo>
                    <a:lnTo>
                      <a:pt x="206" y="157"/>
                    </a:lnTo>
                    <a:lnTo>
                      <a:pt x="208" y="154"/>
                    </a:lnTo>
                    <a:lnTo>
                      <a:pt x="211" y="152"/>
                    </a:lnTo>
                    <a:lnTo>
                      <a:pt x="211" y="155"/>
                    </a:lnTo>
                    <a:lnTo>
                      <a:pt x="211" y="160"/>
                    </a:lnTo>
                    <a:lnTo>
                      <a:pt x="211" y="163"/>
                    </a:lnTo>
                    <a:lnTo>
                      <a:pt x="210" y="166"/>
                    </a:lnTo>
                    <a:lnTo>
                      <a:pt x="206" y="169"/>
                    </a:lnTo>
                    <a:lnTo>
                      <a:pt x="205" y="171"/>
                    </a:lnTo>
                    <a:lnTo>
                      <a:pt x="202" y="174"/>
                    </a:lnTo>
                    <a:lnTo>
                      <a:pt x="199" y="181"/>
                    </a:lnTo>
                    <a:lnTo>
                      <a:pt x="195" y="187"/>
                    </a:lnTo>
                    <a:lnTo>
                      <a:pt x="191" y="193"/>
                    </a:lnTo>
                    <a:lnTo>
                      <a:pt x="184" y="198"/>
                    </a:lnTo>
                    <a:lnTo>
                      <a:pt x="181" y="193"/>
                    </a:lnTo>
                    <a:lnTo>
                      <a:pt x="178" y="195"/>
                    </a:lnTo>
                    <a:lnTo>
                      <a:pt x="170" y="198"/>
                    </a:lnTo>
                    <a:lnTo>
                      <a:pt x="168" y="195"/>
                    </a:lnTo>
                    <a:lnTo>
                      <a:pt x="172" y="192"/>
                    </a:lnTo>
                    <a:lnTo>
                      <a:pt x="175" y="187"/>
                    </a:lnTo>
                    <a:lnTo>
                      <a:pt x="172" y="190"/>
                    </a:lnTo>
                    <a:lnTo>
                      <a:pt x="173" y="187"/>
                    </a:lnTo>
                    <a:lnTo>
                      <a:pt x="176" y="184"/>
                    </a:lnTo>
                    <a:lnTo>
                      <a:pt x="173" y="184"/>
                    </a:lnTo>
                    <a:lnTo>
                      <a:pt x="176" y="179"/>
                    </a:lnTo>
                    <a:lnTo>
                      <a:pt x="178" y="176"/>
                    </a:lnTo>
                    <a:lnTo>
                      <a:pt x="175" y="177"/>
                    </a:lnTo>
                    <a:lnTo>
                      <a:pt x="172" y="181"/>
                    </a:lnTo>
                    <a:lnTo>
                      <a:pt x="168" y="182"/>
                    </a:lnTo>
                    <a:lnTo>
                      <a:pt x="165" y="185"/>
                    </a:lnTo>
                    <a:lnTo>
                      <a:pt x="160" y="188"/>
                    </a:lnTo>
                    <a:lnTo>
                      <a:pt x="157" y="190"/>
                    </a:lnTo>
                    <a:lnTo>
                      <a:pt x="154" y="190"/>
                    </a:lnTo>
                    <a:lnTo>
                      <a:pt x="153" y="190"/>
                    </a:lnTo>
                    <a:lnTo>
                      <a:pt x="154" y="185"/>
                    </a:lnTo>
                    <a:lnTo>
                      <a:pt x="157" y="182"/>
                    </a:lnTo>
                    <a:lnTo>
                      <a:pt x="159" y="179"/>
                    </a:lnTo>
                    <a:lnTo>
                      <a:pt x="162" y="176"/>
                    </a:lnTo>
                    <a:lnTo>
                      <a:pt x="165" y="173"/>
                    </a:lnTo>
                    <a:lnTo>
                      <a:pt x="165" y="169"/>
                    </a:lnTo>
                    <a:lnTo>
                      <a:pt x="170" y="169"/>
                    </a:lnTo>
                    <a:lnTo>
                      <a:pt x="173" y="166"/>
                    </a:lnTo>
                    <a:lnTo>
                      <a:pt x="172" y="163"/>
                    </a:lnTo>
                    <a:lnTo>
                      <a:pt x="173" y="158"/>
                    </a:lnTo>
                    <a:lnTo>
                      <a:pt x="172" y="155"/>
                    </a:lnTo>
                    <a:lnTo>
                      <a:pt x="172" y="152"/>
                    </a:lnTo>
                    <a:lnTo>
                      <a:pt x="170" y="149"/>
                    </a:lnTo>
                    <a:lnTo>
                      <a:pt x="167" y="147"/>
                    </a:lnTo>
                    <a:lnTo>
                      <a:pt x="165" y="150"/>
                    </a:lnTo>
                    <a:lnTo>
                      <a:pt x="162" y="155"/>
                    </a:lnTo>
                    <a:lnTo>
                      <a:pt x="159" y="158"/>
                    </a:lnTo>
                    <a:lnTo>
                      <a:pt x="156" y="162"/>
                    </a:lnTo>
                    <a:lnTo>
                      <a:pt x="154" y="165"/>
                    </a:lnTo>
                    <a:lnTo>
                      <a:pt x="151" y="166"/>
                    </a:lnTo>
                    <a:lnTo>
                      <a:pt x="148" y="168"/>
                    </a:lnTo>
                    <a:lnTo>
                      <a:pt x="149" y="165"/>
                    </a:lnTo>
                    <a:lnTo>
                      <a:pt x="154" y="162"/>
                    </a:lnTo>
                    <a:lnTo>
                      <a:pt x="149" y="165"/>
                    </a:lnTo>
                    <a:lnTo>
                      <a:pt x="146" y="168"/>
                    </a:lnTo>
                    <a:lnTo>
                      <a:pt x="143" y="168"/>
                    </a:lnTo>
                    <a:lnTo>
                      <a:pt x="140" y="166"/>
                    </a:lnTo>
                    <a:lnTo>
                      <a:pt x="135" y="169"/>
                    </a:lnTo>
                    <a:lnTo>
                      <a:pt x="132" y="173"/>
                    </a:lnTo>
                    <a:lnTo>
                      <a:pt x="130" y="176"/>
                    </a:lnTo>
                    <a:lnTo>
                      <a:pt x="127" y="179"/>
                    </a:lnTo>
                    <a:lnTo>
                      <a:pt x="124" y="181"/>
                    </a:lnTo>
                    <a:lnTo>
                      <a:pt x="121" y="185"/>
                    </a:lnTo>
                    <a:lnTo>
                      <a:pt x="118" y="187"/>
                    </a:lnTo>
                    <a:lnTo>
                      <a:pt x="116" y="188"/>
                    </a:lnTo>
                    <a:lnTo>
                      <a:pt x="111" y="185"/>
                    </a:lnTo>
                    <a:lnTo>
                      <a:pt x="108" y="187"/>
                    </a:lnTo>
                    <a:lnTo>
                      <a:pt x="102" y="188"/>
                    </a:lnTo>
                    <a:lnTo>
                      <a:pt x="99" y="187"/>
                    </a:lnTo>
                    <a:lnTo>
                      <a:pt x="99" y="184"/>
                    </a:lnTo>
                    <a:lnTo>
                      <a:pt x="102" y="181"/>
                    </a:lnTo>
                    <a:lnTo>
                      <a:pt x="105" y="179"/>
                    </a:lnTo>
                    <a:lnTo>
                      <a:pt x="110" y="179"/>
                    </a:lnTo>
                    <a:lnTo>
                      <a:pt x="113" y="177"/>
                    </a:lnTo>
                    <a:lnTo>
                      <a:pt x="116" y="177"/>
                    </a:lnTo>
                    <a:lnTo>
                      <a:pt x="119" y="174"/>
                    </a:lnTo>
                    <a:lnTo>
                      <a:pt x="122" y="173"/>
                    </a:lnTo>
                    <a:lnTo>
                      <a:pt x="126" y="168"/>
                    </a:lnTo>
                    <a:lnTo>
                      <a:pt x="129" y="165"/>
                    </a:lnTo>
                    <a:lnTo>
                      <a:pt x="129" y="165"/>
                    </a:lnTo>
                    <a:lnTo>
                      <a:pt x="132" y="163"/>
                    </a:lnTo>
                    <a:lnTo>
                      <a:pt x="137" y="163"/>
                    </a:lnTo>
                    <a:lnTo>
                      <a:pt x="140" y="162"/>
                    </a:lnTo>
                    <a:lnTo>
                      <a:pt x="143" y="158"/>
                    </a:lnTo>
                    <a:lnTo>
                      <a:pt x="146" y="157"/>
                    </a:lnTo>
                    <a:lnTo>
                      <a:pt x="143" y="157"/>
                    </a:lnTo>
                    <a:lnTo>
                      <a:pt x="140" y="158"/>
                    </a:lnTo>
                    <a:lnTo>
                      <a:pt x="137" y="158"/>
                    </a:lnTo>
                    <a:lnTo>
                      <a:pt x="138" y="155"/>
                    </a:lnTo>
                    <a:lnTo>
                      <a:pt x="141" y="152"/>
                    </a:lnTo>
                    <a:lnTo>
                      <a:pt x="138" y="154"/>
                    </a:lnTo>
                    <a:lnTo>
                      <a:pt x="135" y="158"/>
                    </a:lnTo>
                    <a:lnTo>
                      <a:pt x="130" y="157"/>
                    </a:lnTo>
                    <a:lnTo>
                      <a:pt x="127" y="157"/>
                    </a:lnTo>
                    <a:lnTo>
                      <a:pt x="124" y="157"/>
                    </a:lnTo>
                    <a:lnTo>
                      <a:pt x="124" y="160"/>
                    </a:lnTo>
                    <a:lnTo>
                      <a:pt x="122" y="163"/>
                    </a:lnTo>
                    <a:lnTo>
                      <a:pt x="119" y="165"/>
                    </a:lnTo>
                    <a:lnTo>
                      <a:pt x="116" y="166"/>
                    </a:lnTo>
                    <a:lnTo>
                      <a:pt x="116" y="163"/>
                    </a:lnTo>
                    <a:lnTo>
                      <a:pt x="113" y="163"/>
                    </a:lnTo>
                    <a:lnTo>
                      <a:pt x="108" y="165"/>
                    </a:lnTo>
                    <a:lnTo>
                      <a:pt x="111" y="160"/>
                    </a:lnTo>
                    <a:lnTo>
                      <a:pt x="108" y="162"/>
                    </a:lnTo>
                    <a:lnTo>
                      <a:pt x="105" y="163"/>
                    </a:lnTo>
                    <a:lnTo>
                      <a:pt x="100" y="163"/>
                    </a:lnTo>
                    <a:lnTo>
                      <a:pt x="103" y="160"/>
                    </a:lnTo>
                    <a:lnTo>
                      <a:pt x="108" y="160"/>
                    </a:lnTo>
                    <a:lnTo>
                      <a:pt x="111" y="158"/>
                    </a:lnTo>
                    <a:lnTo>
                      <a:pt x="111" y="158"/>
                    </a:lnTo>
                    <a:lnTo>
                      <a:pt x="116" y="157"/>
                    </a:lnTo>
                    <a:lnTo>
                      <a:pt x="111" y="158"/>
                    </a:lnTo>
                    <a:lnTo>
                      <a:pt x="111" y="154"/>
                    </a:lnTo>
                    <a:lnTo>
                      <a:pt x="114" y="150"/>
                    </a:lnTo>
                    <a:lnTo>
                      <a:pt x="116" y="147"/>
                    </a:lnTo>
                    <a:lnTo>
                      <a:pt x="113" y="150"/>
                    </a:lnTo>
                    <a:lnTo>
                      <a:pt x="110" y="152"/>
                    </a:lnTo>
                    <a:lnTo>
                      <a:pt x="107" y="154"/>
                    </a:lnTo>
                    <a:lnTo>
                      <a:pt x="103" y="150"/>
                    </a:lnTo>
                    <a:lnTo>
                      <a:pt x="102" y="154"/>
                    </a:lnTo>
                    <a:lnTo>
                      <a:pt x="100" y="158"/>
                    </a:lnTo>
                    <a:lnTo>
                      <a:pt x="95" y="158"/>
                    </a:lnTo>
                    <a:lnTo>
                      <a:pt x="97" y="154"/>
                    </a:lnTo>
                    <a:lnTo>
                      <a:pt x="95" y="158"/>
                    </a:lnTo>
                    <a:lnTo>
                      <a:pt x="92" y="158"/>
                    </a:lnTo>
                    <a:lnTo>
                      <a:pt x="89" y="158"/>
                    </a:lnTo>
                    <a:lnTo>
                      <a:pt x="84" y="158"/>
                    </a:lnTo>
                    <a:lnTo>
                      <a:pt x="84" y="160"/>
                    </a:lnTo>
                    <a:lnTo>
                      <a:pt x="81" y="160"/>
                    </a:lnTo>
                    <a:lnTo>
                      <a:pt x="76" y="162"/>
                    </a:lnTo>
                    <a:lnTo>
                      <a:pt x="73" y="158"/>
                    </a:lnTo>
                    <a:lnTo>
                      <a:pt x="70" y="160"/>
                    </a:lnTo>
                    <a:lnTo>
                      <a:pt x="67" y="158"/>
                    </a:lnTo>
                    <a:lnTo>
                      <a:pt x="62" y="158"/>
                    </a:lnTo>
                    <a:lnTo>
                      <a:pt x="64" y="157"/>
                    </a:lnTo>
                    <a:lnTo>
                      <a:pt x="61" y="157"/>
                    </a:lnTo>
                    <a:lnTo>
                      <a:pt x="57" y="157"/>
                    </a:lnTo>
                    <a:lnTo>
                      <a:pt x="53" y="158"/>
                    </a:lnTo>
                    <a:lnTo>
                      <a:pt x="49" y="158"/>
                    </a:lnTo>
                    <a:lnTo>
                      <a:pt x="46" y="157"/>
                    </a:lnTo>
                    <a:lnTo>
                      <a:pt x="43" y="155"/>
                    </a:lnTo>
                    <a:lnTo>
                      <a:pt x="38" y="155"/>
                    </a:lnTo>
                    <a:lnTo>
                      <a:pt x="35" y="157"/>
                    </a:lnTo>
                    <a:lnTo>
                      <a:pt x="32" y="157"/>
                    </a:lnTo>
                    <a:lnTo>
                      <a:pt x="34" y="154"/>
                    </a:lnTo>
                    <a:lnTo>
                      <a:pt x="30" y="155"/>
                    </a:lnTo>
                    <a:lnTo>
                      <a:pt x="29" y="15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60" name="Freeform 663"/>
              <p:cNvSpPr>
                <a:spLocks/>
              </p:cNvSpPr>
              <p:nvPr/>
            </p:nvSpPr>
            <p:spPr bwMode="auto">
              <a:xfrm>
                <a:off x="1278" y="1552"/>
                <a:ext cx="26" cy="9"/>
              </a:xfrm>
              <a:custGeom>
                <a:avLst/>
                <a:gdLst>
                  <a:gd name="T0" fmla="*/ 38 w 50"/>
                  <a:gd name="T1" fmla="*/ 19 h 19"/>
                  <a:gd name="T2" fmla="*/ 41 w 50"/>
                  <a:gd name="T3" fmla="*/ 16 h 19"/>
                  <a:gd name="T4" fmla="*/ 44 w 50"/>
                  <a:gd name="T5" fmla="*/ 13 h 19"/>
                  <a:gd name="T6" fmla="*/ 47 w 50"/>
                  <a:gd name="T7" fmla="*/ 10 h 19"/>
                  <a:gd name="T8" fmla="*/ 50 w 50"/>
                  <a:gd name="T9" fmla="*/ 7 h 19"/>
                  <a:gd name="T10" fmla="*/ 47 w 50"/>
                  <a:gd name="T11" fmla="*/ 8 h 19"/>
                  <a:gd name="T12" fmla="*/ 50 w 50"/>
                  <a:gd name="T13" fmla="*/ 4 h 19"/>
                  <a:gd name="T14" fmla="*/ 47 w 50"/>
                  <a:gd name="T15" fmla="*/ 5 h 19"/>
                  <a:gd name="T16" fmla="*/ 44 w 50"/>
                  <a:gd name="T17" fmla="*/ 10 h 19"/>
                  <a:gd name="T18" fmla="*/ 44 w 50"/>
                  <a:gd name="T19" fmla="*/ 5 h 19"/>
                  <a:gd name="T20" fmla="*/ 44 w 50"/>
                  <a:gd name="T21" fmla="*/ 2 h 19"/>
                  <a:gd name="T22" fmla="*/ 39 w 50"/>
                  <a:gd name="T23" fmla="*/ 0 h 19"/>
                  <a:gd name="T24" fmla="*/ 36 w 50"/>
                  <a:gd name="T25" fmla="*/ 2 h 19"/>
                  <a:gd name="T26" fmla="*/ 35 w 50"/>
                  <a:gd name="T27" fmla="*/ 5 h 19"/>
                  <a:gd name="T28" fmla="*/ 33 w 50"/>
                  <a:gd name="T29" fmla="*/ 2 h 19"/>
                  <a:gd name="T30" fmla="*/ 30 w 50"/>
                  <a:gd name="T31" fmla="*/ 0 h 19"/>
                  <a:gd name="T32" fmla="*/ 27 w 50"/>
                  <a:gd name="T33" fmla="*/ 2 h 19"/>
                  <a:gd name="T34" fmla="*/ 22 w 50"/>
                  <a:gd name="T35" fmla="*/ 4 h 19"/>
                  <a:gd name="T36" fmla="*/ 22 w 50"/>
                  <a:gd name="T37" fmla="*/ 7 h 19"/>
                  <a:gd name="T38" fmla="*/ 19 w 50"/>
                  <a:gd name="T39" fmla="*/ 7 h 19"/>
                  <a:gd name="T40" fmla="*/ 16 w 50"/>
                  <a:gd name="T41" fmla="*/ 5 h 19"/>
                  <a:gd name="T42" fmla="*/ 12 w 50"/>
                  <a:gd name="T43" fmla="*/ 2 h 19"/>
                  <a:gd name="T44" fmla="*/ 9 w 50"/>
                  <a:gd name="T45" fmla="*/ 2 h 19"/>
                  <a:gd name="T46" fmla="*/ 6 w 50"/>
                  <a:gd name="T47" fmla="*/ 2 h 19"/>
                  <a:gd name="T48" fmla="*/ 3 w 50"/>
                  <a:gd name="T49" fmla="*/ 0 h 19"/>
                  <a:gd name="T50" fmla="*/ 0 w 50"/>
                  <a:gd name="T51" fmla="*/ 5 h 19"/>
                  <a:gd name="T52" fmla="*/ 3 w 50"/>
                  <a:gd name="T53" fmla="*/ 5 h 19"/>
                  <a:gd name="T54" fmla="*/ 6 w 50"/>
                  <a:gd name="T55" fmla="*/ 7 h 19"/>
                  <a:gd name="T56" fmla="*/ 11 w 50"/>
                  <a:gd name="T57" fmla="*/ 7 h 19"/>
                  <a:gd name="T58" fmla="*/ 14 w 50"/>
                  <a:gd name="T59" fmla="*/ 8 h 19"/>
                  <a:gd name="T60" fmla="*/ 17 w 50"/>
                  <a:gd name="T61" fmla="*/ 10 h 19"/>
                  <a:gd name="T62" fmla="*/ 20 w 50"/>
                  <a:gd name="T63" fmla="*/ 11 h 19"/>
                  <a:gd name="T64" fmla="*/ 25 w 50"/>
                  <a:gd name="T65" fmla="*/ 11 h 19"/>
                  <a:gd name="T66" fmla="*/ 28 w 50"/>
                  <a:gd name="T67" fmla="*/ 15 h 19"/>
                  <a:gd name="T68" fmla="*/ 31 w 50"/>
                  <a:gd name="T69" fmla="*/ 16 h 19"/>
                  <a:gd name="T70" fmla="*/ 35 w 50"/>
                  <a:gd name="T71" fmla="*/ 16 h 19"/>
                  <a:gd name="T72" fmla="*/ 38 w 50"/>
                  <a:gd name="T73" fmla="*/ 13 h 19"/>
                  <a:gd name="T74" fmla="*/ 43 w 50"/>
                  <a:gd name="T75" fmla="*/ 11 h 19"/>
                  <a:gd name="T76" fmla="*/ 38 w 50"/>
                  <a:gd name="T77" fmla="*/ 15 h 19"/>
                  <a:gd name="T78" fmla="*/ 35 w 50"/>
                  <a:gd name="T79" fmla="*/ 16 h 19"/>
                  <a:gd name="T80" fmla="*/ 38 w 50"/>
                  <a:gd name="T81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" h="19">
                    <a:moveTo>
                      <a:pt x="38" y="19"/>
                    </a:moveTo>
                    <a:lnTo>
                      <a:pt x="41" y="16"/>
                    </a:lnTo>
                    <a:lnTo>
                      <a:pt x="44" y="13"/>
                    </a:lnTo>
                    <a:lnTo>
                      <a:pt x="47" y="10"/>
                    </a:lnTo>
                    <a:lnTo>
                      <a:pt x="50" y="7"/>
                    </a:lnTo>
                    <a:lnTo>
                      <a:pt x="47" y="8"/>
                    </a:lnTo>
                    <a:lnTo>
                      <a:pt x="50" y="4"/>
                    </a:lnTo>
                    <a:lnTo>
                      <a:pt x="47" y="5"/>
                    </a:lnTo>
                    <a:lnTo>
                      <a:pt x="44" y="10"/>
                    </a:lnTo>
                    <a:lnTo>
                      <a:pt x="44" y="5"/>
                    </a:lnTo>
                    <a:lnTo>
                      <a:pt x="44" y="2"/>
                    </a:lnTo>
                    <a:lnTo>
                      <a:pt x="39" y="0"/>
                    </a:lnTo>
                    <a:lnTo>
                      <a:pt x="36" y="2"/>
                    </a:lnTo>
                    <a:lnTo>
                      <a:pt x="35" y="5"/>
                    </a:lnTo>
                    <a:lnTo>
                      <a:pt x="33" y="2"/>
                    </a:lnTo>
                    <a:lnTo>
                      <a:pt x="30" y="0"/>
                    </a:lnTo>
                    <a:lnTo>
                      <a:pt x="27" y="2"/>
                    </a:lnTo>
                    <a:lnTo>
                      <a:pt x="22" y="4"/>
                    </a:lnTo>
                    <a:lnTo>
                      <a:pt x="22" y="7"/>
                    </a:lnTo>
                    <a:lnTo>
                      <a:pt x="19" y="7"/>
                    </a:lnTo>
                    <a:lnTo>
                      <a:pt x="16" y="5"/>
                    </a:lnTo>
                    <a:lnTo>
                      <a:pt x="12" y="2"/>
                    </a:lnTo>
                    <a:lnTo>
                      <a:pt x="9" y="2"/>
                    </a:lnTo>
                    <a:lnTo>
                      <a:pt x="6" y="2"/>
                    </a:lnTo>
                    <a:lnTo>
                      <a:pt x="3" y="0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6" y="7"/>
                    </a:lnTo>
                    <a:lnTo>
                      <a:pt x="11" y="7"/>
                    </a:lnTo>
                    <a:lnTo>
                      <a:pt x="14" y="8"/>
                    </a:lnTo>
                    <a:lnTo>
                      <a:pt x="17" y="10"/>
                    </a:lnTo>
                    <a:lnTo>
                      <a:pt x="20" y="11"/>
                    </a:lnTo>
                    <a:lnTo>
                      <a:pt x="25" y="11"/>
                    </a:lnTo>
                    <a:lnTo>
                      <a:pt x="28" y="15"/>
                    </a:lnTo>
                    <a:lnTo>
                      <a:pt x="31" y="16"/>
                    </a:lnTo>
                    <a:lnTo>
                      <a:pt x="35" y="16"/>
                    </a:lnTo>
                    <a:lnTo>
                      <a:pt x="38" y="13"/>
                    </a:lnTo>
                    <a:lnTo>
                      <a:pt x="43" y="11"/>
                    </a:lnTo>
                    <a:lnTo>
                      <a:pt x="38" y="15"/>
                    </a:lnTo>
                    <a:lnTo>
                      <a:pt x="35" y="16"/>
                    </a:lnTo>
                    <a:lnTo>
                      <a:pt x="38" y="19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61" name="Freeform 664"/>
              <p:cNvSpPr>
                <a:spLocks/>
              </p:cNvSpPr>
              <p:nvPr/>
            </p:nvSpPr>
            <p:spPr bwMode="auto">
              <a:xfrm>
                <a:off x="1278" y="1552"/>
                <a:ext cx="26" cy="9"/>
              </a:xfrm>
              <a:custGeom>
                <a:avLst/>
                <a:gdLst>
                  <a:gd name="T0" fmla="*/ 38 w 50"/>
                  <a:gd name="T1" fmla="*/ 19 h 19"/>
                  <a:gd name="T2" fmla="*/ 41 w 50"/>
                  <a:gd name="T3" fmla="*/ 16 h 19"/>
                  <a:gd name="T4" fmla="*/ 44 w 50"/>
                  <a:gd name="T5" fmla="*/ 13 h 19"/>
                  <a:gd name="T6" fmla="*/ 47 w 50"/>
                  <a:gd name="T7" fmla="*/ 10 h 19"/>
                  <a:gd name="T8" fmla="*/ 50 w 50"/>
                  <a:gd name="T9" fmla="*/ 7 h 19"/>
                  <a:gd name="T10" fmla="*/ 47 w 50"/>
                  <a:gd name="T11" fmla="*/ 8 h 19"/>
                  <a:gd name="T12" fmla="*/ 50 w 50"/>
                  <a:gd name="T13" fmla="*/ 4 h 19"/>
                  <a:gd name="T14" fmla="*/ 47 w 50"/>
                  <a:gd name="T15" fmla="*/ 5 h 19"/>
                  <a:gd name="T16" fmla="*/ 44 w 50"/>
                  <a:gd name="T17" fmla="*/ 10 h 19"/>
                  <a:gd name="T18" fmla="*/ 44 w 50"/>
                  <a:gd name="T19" fmla="*/ 5 h 19"/>
                  <a:gd name="T20" fmla="*/ 44 w 50"/>
                  <a:gd name="T21" fmla="*/ 2 h 19"/>
                  <a:gd name="T22" fmla="*/ 39 w 50"/>
                  <a:gd name="T23" fmla="*/ 0 h 19"/>
                  <a:gd name="T24" fmla="*/ 36 w 50"/>
                  <a:gd name="T25" fmla="*/ 2 h 19"/>
                  <a:gd name="T26" fmla="*/ 35 w 50"/>
                  <a:gd name="T27" fmla="*/ 5 h 19"/>
                  <a:gd name="T28" fmla="*/ 33 w 50"/>
                  <a:gd name="T29" fmla="*/ 2 h 19"/>
                  <a:gd name="T30" fmla="*/ 30 w 50"/>
                  <a:gd name="T31" fmla="*/ 0 h 19"/>
                  <a:gd name="T32" fmla="*/ 27 w 50"/>
                  <a:gd name="T33" fmla="*/ 2 h 19"/>
                  <a:gd name="T34" fmla="*/ 22 w 50"/>
                  <a:gd name="T35" fmla="*/ 4 h 19"/>
                  <a:gd name="T36" fmla="*/ 22 w 50"/>
                  <a:gd name="T37" fmla="*/ 7 h 19"/>
                  <a:gd name="T38" fmla="*/ 19 w 50"/>
                  <a:gd name="T39" fmla="*/ 7 h 19"/>
                  <a:gd name="T40" fmla="*/ 16 w 50"/>
                  <a:gd name="T41" fmla="*/ 5 h 19"/>
                  <a:gd name="T42" fmla="*/ 12 w 50"/>
                  <a:gd name="T43" fmla="*/ 2 h 19"/>
                  <a:gd name="T44" fmla="*/ 9 w 50"/>
                  <a:gd name="T45" fmla="*/ 2 h 19"/>
                  <a:gd name="T46" fmla="*/ 6 w 50"/>
                  <a:gd name="T47" fmla="*/ 2 h 19"/>
                  <a:gd name="T48" fmla="*/ 3 w 50"/>
                  <a:gd name="T49" fmla="*/ 0 h 19"/>
                  <a:gd name="T50" fmla="*/ 0 w 50"/>
                  <a:gd name="T51" fmla="*/ 5 h 19"/>
                  <a:gd name="T52" fmla="*/ 3 w 50"/>
                  <a:gd name="T53" fmla="*/ 5 h 19"/>
                  <a:gd name="T54" fmla="*/ 6 w 50"/>
                  <a:gd name="T55" fmla="*/ 7 h 19"/>
                  <a:gd name="T56" fmla="*/ 11 w 50"/>
                  <a:gd name="T57" fmla="*/ 7 h 19"/>
                  <a:gd name="T58" fmla="*/ 14 w 50"/>
                  <a:gd name="T59" fmla="*/ 8 h 19"/>
                  <a:gd name="T60" fmla="*/ 17 w 50"/>
                  <a:gd name="T61" fmla="*/ 10 h 19"/>
                  <a:gd name="T62" fmla="*/ 20 w 50"/>
                  <a:gd name="T63" fmla="*/ 11 h 19"/>
                  <a:gd name="T64" fmla="*/ 25 w 50"/>
                  <a:gd name="T65" fmla="*/ 11 h 19"/>
                  <a:gd name="T66" fmla="*/ 28 w 50"/>
                  <a:gd name="T67" fmla="*/ 15 h 19"/>
                  <a:gd name="T68" fmla="*/ 31 w 50"/>
                  <a:gd name="T69" fmla="*/ 16 h 19"/>
                  <a:gd name="T70" fmla="*/ 35 w 50"/>
                  <a:gd name="T71" fmla="*/ 16 h 19"/>
                  <a:gd name="T72" fmla="*/ 38 w 50"/>
                  <a:gd name="T73" fmla="*/ 13 h 19"/>
                  <a:gd name="T74" fmla="*/ 43 w 50"/>
                  <a:gd name="T75" fmla="*/ 11 h 19"/>
                  <a:gd name="T76" fmla="*/ 38 w 50"/>
                  <a:gd name="T77" fmla="*/ 15 h 19"/>
                  <a:gd name="T78" fmla="*/ 35 w 50"/>
                  <a:gd name="T79" fmla="*/ 16 h 19"/>
                  <a:gd name="T80" fmla="*/ 38 w 50"/>
                  <a:gd name="T81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50" h="19">
                    <a:moveTo>
                      <a:pt x="38" y="19"/>
                    </a:moveTo>
                    <a:lnTo>
                      <a:pt x="41" y="16"/>
                    </a:lnTo>
                    <a:lnTo>
                      <a:pt x="44" y="13"/>
                    </a:lnTo>
                    <a:lnTo>
                      <a:pt x="47" y="10"/>
                    </a:lnTo>
                    <a:lnTo>
                      <a:pt x="50" y="7"/>
                    </a:lnTo>
                    <a:lnTo>
                      <a:pt x="47" y="8"/>
                    </a:lnTo>
                    <a:lnTo>
                      <a:pt x="50" y="4"/>
                    </a:lnTo>
                    <a:lnTo>
                      <a:pt x="47" y="5"/>
                    </a:lnTo>
                    <a:lnTo>
                      <a:pt x="44" y="10"/>
                    </a:lnTo>
                    <a:lnTo>
                      <a:pt x="44" y="5"/>
                    </a:lnTo>
                    <a:lnTo>
                      <a:pt x="44" y="2"/>
                    </a:lnTo>
                    <a:lnTo>
                      <a:pt x="39" y="0"/>
                    </a:lnTo>
                    <a:lnTo>
                      <a:pt x="36" y="2"/>
                    </a:lnTo>
                    <a:lnTo>
                      <a:pt x="35" y="5"/>
                    </a:lnTo>
                    <a:lnTo>
                      <a:pt x="33" y="2"/>
                    </a:lnTo>
                    <a:lnTo>
                      <a:pt x="30" y="0"/>
                    </a:lnTo>
                    <a:lnTo>
                      <a:pt x="27" y="2"/>
                    </a:lnTo>
                    <a:lnTo>
                      <a:pt x="22" y="4"/>
                    </a:lnTo>
                    <a:lnTo>
                      <a:pt x="22" y="7"/>
                    </a:lnTo>
                    <a:lnTo>
                      <a:pt x="19" y="7"/>
                    </a:lnTo>
                    <a:lnTo>
                      <a:pt x="16" y="5"/>
                    </a:lnTo>
                    <a:lnTo>
                      <a:pt x="12" y="2"/>
                    </a:lnTo>
                    <a:lnTo>
                      <a:pt x="9" y="2"/>
                    </a:lnTo>
                    <a:lnTo>
                      <a:pt x="6" y="2"/>
                    </a:lnTo>
                    <a:lnTo>
                      <a:pt x="3" y="0"/>
                    </a:lnTo>
                    <a:lnTo>
                      <a:pt x="0" y="5"/>
                    </a:lnTo>
                    <a:lnTo>
                      <a:pt x="3" y="5"/>
                    </a:lnTo>
                    <a:lnTo>
                      <a:pt x="6" y="7"/>
                    </a:lnTo>
                    <a:lnTo>
                      <a:pt x="11" y="7"/>
                    </a:lnTo>
                    <a:lnTo>
                      <a:pt x="14" y="8"/>
                    </a:lnTo>
                    <a:lnTo>
                      <a:pt x="17" y="10"/>
                    </a:lnTo>
                    <a:lnTo>
                      <a:pt x="20" y="11"/>
                    </a:lnTo>
                    <a:lnTo>
                      <a:pt x="25" y="11"/>
                    </a:lnTo>
                    <a:lnTo>
                      <a:pt x="28" y="15"/>
                    </a:lnTo>
                    <a:lnTo>
                      <a:pt x="31" y="16"/>
                    </a:lnTo>
                    <a:lnTo>
                      <a:pt x="35" y="16"/>
                    </a:lnTo>
                    <a:lnTo>
                      <a:pt x="38" y="13"/>
                    </a:lnTo>
                    <a:lnTo>
                      <a:pt x="43" y="11"/>
                    </a:lnTo>
                    <a:lnTo>
                      <a:pt x="38" y="15"/>
                    </a:lnTo>
                    <a:lnTo>
                      <a:pt x="35" y="16"/>
                    </a:lnTo>
                    <a:lnTo>
                      <a:pt x="38" y="19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62" name="Freeform 665"/>
              <p:cNvSpPr>
                <a:spLocks/>
              </p:cNvSpPr>
              <p:nvPr/>
            </p:nvSpPr>
            <p:spPr bwMode="auto">
              <a:xfrm>
                <a:off x="1557" y="1119"/>
                <a:ext cx="12" cy="5"/>
              </a:xfrm>
              <a:custGeom>
                <a:avLst/>
                <a:gdLst>
                  <a:gd name="T0" fmla="*/ 21 w 22"/>
                  <a:gd name="T1" fmla="*/ 3 h 9"/>
                  <a:gd name="T2" fmla="*/ 22 w 22"/>
                  <a:gd name="T3" fmla="*/ 0 h 9"/>
                  <a:gd name="T4" fmla="*/ 19 w 22"/>
                  <a:gd name="T5" fmla="*/ 1 h 9"/>
                  <a:gd name="T6" fmla="*/ 14 w 22"/>
                  <a:gd name="T7" fmla="*/ 0 h 9"/>
                  <a:gd name="T8" fmla="*/ 16 w 22"/>
                  <a:gd name="T9" fmla="*/ 3 h 9"/>
                  <a:gd name="T10" fmla="*/ 11 w 22"/>
                  <a:gd name="T11" fmla="*/ 4 h 9"/>
                  <a:gd name="T12" fmla="*/ 8 w 22"/>
                  <a:gd name="T13" fmla="*/ 4 h 9"/>
                  <a:gd name="T14" fmla="*/ 5 w 22"/>
                  <a:gd name="T15" fmla="*/ 6 h 9"/>
                  <a:gd name="T16" fmla="*/ 2 w 22"/>
                  <a:gd name="T17" fmla="*/ 4 h 9"/>
                  <a:gd name="T18" fmla="*/ 0 w 22"/>
                  <a:gd name="T19" fmla="*/ 9 h 9"/>
                  <a:gd name="T20" fmla="*/ 5 w 22"/>
                  <a:gd name="T21" fmla="*/ 7 h 9"/>
                  <a:gd name="T22" fmla="*/ 8 w 22"/>
                  <a:gd name="T23" fmla="*/ 9 h 9"/>
                  <a:gd name="T24" fmla="*/ 11 w 22"/>
                  <a:gd name="T25" fmla="*/ 7 h 9"/>
                  <a:gd name="T26" fmla="*/ 19 w 22"/>
                  <a:gd name="T27" fmla="*/ 7 h 9"/>
                  <a:gd name="T28" fmla="*/ 21 w 22"/>
                  <a:gd name="T29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2" h="9">
                    <a:moveTo>
                      <a:pt x="21" y="3"/>
                    </a:moveTo>
                    <a:lnTo>
                      <a:pt x="22" y="0"/>
                    </a:lnTo>
                    <a:lnTo>
                      <a:pt x="19" y="1"/>
                    </a:lnTo>
                    <a:lnTo>
                      <a:pt x="14" y="0"/>
                    </a:lnTo>
                    <a:lnTo>
                      <a:pt x="16" y="3"/>
                    </a:lnTo>
                    <a:lnTo>
                      <a:pt x="11" y="4"/>
                    </a:lnTo>
                    <a:lnTo>
                      <a:pt x="8" y="4"/>
                    </a:lnTo>
                    <a:lnTo>
                      <a:pt x="5" y="6"/>
                    </a:lnTo>
                    <a:lnTo>
                      <a:pt x="2" y="4"/>
                    </a:lnTo>
                    <a:lnTo>
                      <a:pt x="0" y="9"/>
                    </a:lnTo>
                    <a:lnTo>
                      <a:pt x="5" y="7"/>
                    </a:lnTo>
                    <a:lnTo>
                      <a:pt x="8" y="9"/>
                    </a:lnTo>
                    <a:lnTo>
                      <a:pt x="11" y="7"/>
                    </a:lnTo>
                    <a:lnTo>
                      <a:pt x="19" y="7"/>
                    </a:lnTo>
                    <a:lnTo>
                      <a:pt x="21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63" name="Freeform 666"/>
              <p:cNvSpPr>
                <a:spLocks/>
              </p:cNvSpPr>
              <p:nvPr/>
            </p:nvSpPr>
            <p:spPr bwMode="auto">
              <a:xfrm>
                <a:off x="1058" y="1024"/>
                <a:ext cx="166" cy="57"/>
              </a:xfrm>
              <a:custGeom>
                <a:avLst/>
                <a:gdLst>
                  <a:gd name="T0" fmla="*/ 30 w 333"/>
                  <a:gd name="T1" fmla="*/ 70 h 112"/>
                  <a:gd name="T2" fmla="*/ 19 w 333"/>
                  <a:gd name="T3" fmla="*/ 74 h 112"/>
                  <a:gd name="T4" fmla="*/ 11 w 333"/>
                  <a:gd name="T5" fmla="*/ 78 h 112"/>
                  <a:gd name="T6" fmla="*/ 5 w 333"/>
                  <a:gd name="T7" fmla="*/ 82 h 112"/>
                  <a:gd name="T8" fmla="*/ 11 w 333"/>
                  <a:gd name="T9" fmla="*/ 82 h 112"/>
                  <a:gd name="T10" fmla="*/ 19 w 333"/>
                  <a:gd name="T11" fmla="*/ 85 h 112"/>
                  <a:gd name="T12" fmla="*/ 25 w 333"/>
                  <a:gd name="T13" fmla="*/ 89 h 112"/>
                  <a:gd name="T14" fmla="*/ 36 w 333"/>
                  <a:gd name="T15" fmla="*/ 93 h 112"/>
                  <a:gd name="T16" fmla="*/ 36 w 333"/>
                  <a:gd name="T17" fmla="*/ 100 h 112"/>
                  <a:gd name="T18" fmla="*/ 32 w 333"/>
                  <a:gd name="T19" fmla="*/ 108 h 112"/>
                  <a:gd name="T20" fmla="*/ 38 w 333"/>
                  <a:gd name="T21" fmla="*/ 112 h 112"/>
                  <a:gd name="T22" fmla="*/ 51 w 333"/>
                  <a:gd name="T23" fmla="*/ 109 h 112"/>
                  <a:gd name="T24" fmla="*/ 71 w 333"/>
                  <a:gd name="T25" fmla="*/ 104 h 112"/>
                  <a:gd name="T26" fmla="*/ 89 w 333"/>
                  <a:gd name="T27" fmla="*/ 103 h 112"/>
                  <a:gd name="T28" fmla="*/ 100 w 333"/>
                  <a:gd name="T29" fmla="*/ 101 h 112"/>
                  <a:gd name="T30" fmla="*/ 106 w 333"/>
                  <a:gd name="T31" fmla="*/ 100 h 112"/>
                  <a:gd name="T32" fmla="*/ 117 w 333"/>
                  <a:gd name="T33" fmla="*/ 98 h 112"/>
                  <a:gd name="T34" fmla="*/ 128 w 333"/>
                  <a:gd name="T35" fmla="*/ 92 h 112"/>
                  <a:gd name="T36" fmla="*/ 146 w 333"/>
                  <a:gd name="T37" fmla="*/ 81 h 112"/>
                  <a:gd name="T38" fmla="*/ 154 w 333"/>
                  <a:gd name="T39" fmla="*/ 78 h 112"/>
                  <a:gd name="T40" fmla="*/ 160 w 333"/>
                  <a:gd name="T41" fmla="*/ 74 h 112"/>
                  <a:gd name="T42" fmla="*/ 168 w 333"/>
                  <a:gd name="T43" fmla="*/ 74 h 112"/>
                  <a:gd name="T44" fmla="*/ 174 w 333"/>
                  <a:gd name="T45" fmla="*/ 71 h 112"/>
                  <a:gd name="T46" fmla="*/ 208 w 333"/>
                  <a:gd name="T47" fmla="*/ 58 h 112"/>
                  <a:gd name="T48" fmla="*/ 214 w 333"/>
                  <a:gd name="T49" fmla="*/ 57 h 112"/>
                  <a:gd name="T50" fmla="*/ 225 w 333"/>
                  <a:gd name="T51" fmla="*/ 55 h 112"/>
                  <a:gd name="T52" fmla="*/ 236 w 333"/>
                  <a:gd name="T53" fmla="*/ 52 h 112"/>
                  <a:gd name="T54" fmla="*/ 268 w 333"/>
                  <a:gd name="T55" fmla="*/ 46 h 112"/>
                  <a:gd name="T56" fmla="*/ 301 w 333"/>
                  <a:gd name="T57" fmla="*/ 39 h 112"/>
                  <a:gd name="T58" fmla="*/ 320 w 333"/>
                  <a:gd name="T59" fmla="*/ 36 h 112"/>
                  <a:gd name="T60" fmla="*/ 330 w 333"/>
                  <a:gd name="T61" fmla="*/ 33 h 112"/>
                  <a:gd name="T62" fmla="*/ 331 w 333"/>
                  <a:gd name="T63" fmla="*/ 27 h 112"/>
                  <a:gd name="T64" fmla="*/ 325 w 333"/>
                  <a:gd name="T65" fmla="*/ 22 h 112"/>
                  <a:gd name="T66" fmla="*/ 320 w 333"/>
                  <a:gd name="T67" fmla="*/ 16 h 112"/>
                  <a:gd name="T68" fmla="*/ 312 w 333"/>
                  <a:gd name="T69" fmla="*/ 9 h 112"/>
                  <a:gd name="T70" fmla="*/ 301 w 333"/>
                  <a:gd name="T71" fmla="*/ 8 h 112"/>
                  <a:gd name="T72" fmla="*/ 281 w 333"/>
                  <a:gd name="T73" fmla="*/ 9 h 112"/>
                  <a:gd name="T74" fmla="*/ 258 w 333"/>
                  <a:gd name="T75" fmla="*/ 16 h 112"/>
                  <a:gd name="T76" fmla="*/ 265 w 333"/>
                  <a:gd name="T77" fmla="*/ 13 h 112"/>
                  <a:gd name="T78" fmla="*/ 261 w 333"/>
                  <a:gd name="T79" fmla="*/ 9 h 112"/>
                  <a:gd name="T80" fmla="*/ 250 w 333"/>
                  <a:gd name="T81" fmla="*/ 13 h 112"/>
                  <a:gd name="T82" fmla="*/ 247 w 333"/>
                  <a:gd name="T83" fmla="*/ 13 h 112"/>
                  <a:gd name="T84" fmla="*/ 258 w 333"/>
                  <a:gd name="T85" fmla="*/ 9 h 112"/>
                  <a:gd name="T86" fmla="*/ 244 w 333"/>
                  <a:gd name="T87" fmla="*/ 6 h 112"/>
                  <a:gd name="T88" fmla="*/ 230 w 333"/>
                  <a:gd name="T89" fmla="*/ 0 h 112"/>
                  <a:gd name="T90" fmla="*/ 193 w 333"/>
                  <a:gd name="T91" fmla="*/ 1 h 112"/>
                  <a:gd name="T92" fmla="*/ 158 w 333"/>
                  <a:gd name="T93" fmla="*/ 3 h 112"/>
                  <a:gd name="T94" fmla="*/ 141 w 333"/>
                  <a:gd name="T95" fmla="*/ 5 h 112"/>
                  <a:gd name="T96" fmla="*/ 133 w 333"/>
                  <a:gd name="T97" fmla="*/ 11 h 112"/>
                  <a:gd name="T98" fmla="*/ 130 w 333"/>
                  <a:gd name="T99" fmla="*/ 20 h 112"/>
                  <a:gd name="T100" fmla="*/ 130 w 333"/>
                  <a:gd name="T101" fmla="*/ 25 h 112"/>
                  <a:gd name="T102" fmla="*/ 122 w 333"/>
                  <a:gd name="T103" fmla="*/ 27 h 112"/>
                  <a:gd name="T104" fmla="*/ 119 w 333"/>
                  <a:gd name="T105" fmla="*/ 30 h 112"/>
                  <a:gd name="T106" fmla="*/ 111 w 333"/>
                  <a:gd name="T107" fmla="*/ 33 h 112"/>
                  <a:gd name="T108" fmla="*/ 92 w 333"/>
                  <a:gd name="T109" fmla="*/ 39 h 112"/>
                  <a:gd name="T110" fmla="*/ 79 w 333"/>
                  <a:gd name="T111" fmla="*/ 47 h 112"/>
                  <a:gd name="T112" fmla="*/ 74 w 333"/>
                  <a:gd name="T113" fmla="*/ 52 h 112"/>
                  <a:gd name="T114" fmla="*/ 63 w 333"/>
                  <a:gd name="T115" fmla="*/ 54 h 112"/>
                  <a:gd name="T116" fmla="*/ 58 w 333"/>
                  <a:gd name="T117" fmla="*/ 57 h 112"/>
                  <a:gd name="T118" fmla="*/ 51 w 333"/>
                  <a:gd name="T119" fmla="*/ 63 h 112"/>
                  <a:gd name="T120" fmla="*/ 44 w 333"/>
                  <a:gd name="T121" fmla="*/ 65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333" h="112">
                    <a:moveTo>
                      <a:pt x="39" y="65"/>
                    </a:moveTo>
                    <a:lnTo>
                      <a:pt x="30" y="70"/>
                    </a:lnTo>
                    <a:lnTo>
                      <a:pt x="22" y="74"/>
                    </a:lnTo>
                    <a:lnTo>
                      <a:pt x="19" y="74"/>
                    </a:lnTo>
                    <a:lnTo>
                      <a:pt x="14" y="76"/>
                    </a:lnTo>
                    <a:lnTo>
                      <a:pt x="11" y="78"/>
                    </a:lnTo>
                    <a:lnTo>
                      <a:pt x="8" y="81"/>
                    </a:lnTo>
                    <a:lnTo>
                      <a:pt x="5" y="82"/>
                    </a:lnTo>
                    <a:lnTo>
                      <a:pt x="0" y="84"/>
                    </a:lnTo>
                    <a:lnTo>
                      <a:pt x="11" y="82"/>
                    </a:lnTo>
                    <a:lnTo>
                      <a:pt x="22" y="84"/>
                    </a:lnTo>
                    <a:lnTo>
                      <a:pt x="19" y="85"/>
                    </a:lnTo>
                    <a:lnTo>
                      <a:pt x="22" y="87"/>
                    </a:lnTo>
                    <a:lnTo>
                      <a:pt x="25" y="89"/>
                    </a:lnTo>
                    <a:lnTo>
                      <a:pt x="33" y="90"/>
                    </a:lnTo>
                    <a:lnTo>
                      <a:pt x="36" y="93"/>
                    </a:lnTo>
                    <a:lnTo>
                      <a:pt x="35" y="97"/>
                    </a:lnTo>
                    <a:lnTo>
                      <a:pt x="36" y="100"/>
                    </a:lnTo>
                    <a:lnTo>
                      <a:pt x="33" y="104"/>
                    </a:lnTo>
                    <a:lnTo>
                      <a:pt x="32" y="108"/>
                    </a:lnTo>
                    <a:lnTo>
                      <a:pt x="32" y="111"/>
                    </a:lnTo>
                    <a:lnTo>
                      <a:pt x="38" y="112"/>
                    </a:lnTo>
                    <a:lnTo>
                      <a:pt x="44" y="112"/>
                    </a:lnTo>
                    <a:lnTo>
                      <a:pt x="51" y="109"/>
                    </a:lnTo>
                    <a:lnTo>
                      <a:pt x="55" y="108"/>
                    </a:lnTo>
                    <a:lnTo>
                      <a:pt x="71" y="104"/>
                    </a:lnTo>
                    <a:lnTo>
                      <a:pt x="84" y="100"/>
                    </a:lnTo>
                    <a:lnTo>
                      <a:pt x="89" y="103"/>
                    </a:lnTo>
                    <a:lnTo>
                      <a:pt x="95" y="101"/>
                    </a:lnTo>
                    <a:lnTo>
                      <a:pt x="100" y="101"/>
                    </a:lnTo>
                    <a:lnTo>
                      <a:pt x="103" y="101"/>
                    </a:lnTo>
                    <a:lnTo>
                      <a:pt x="106" y="100"/>
                    </a:lnTo>
                    <a:lnTo>
                      <a:pt x="114" y="98"/>
                    </a:lnTo>
                    <a:lnTo>
                      <a:pt x="117" y="98"/>
                    </a:lnTo>
                    <a:lnTo>
                      <a:pt x="120" y="97"/>
                    </a:lnTo>
                    <a:lnTo>
                      <a:pt x="128" y="92"/>
                    </a:lnTo>
                    <a:lnTo>
                      <a:pt x="136" y="85"/>
                    </a:lnTo>
                    <a:lnTo>
                      <a:pt x="146" y="81"/>
                    </a:lnTo>
                    <a:lnTo>
                      <a:pt x="149" y="79"/>
                    </a:lnTo>
                    <a:lnTo>
                      <a:pt x="154" y="78"/>
                    </a:lnTo>
                    <a:lnTo>
                      <a:pt x="157" y="74"/>
                    </a:lnTo>
                    <a:lnTo>
                      <a:pt x="160" y="74"/>
                    </a:lnTo>
                    <a:lnTo>
                      <a:pt x="163" y="74"/>
                    </a:lnTo>
                    <a:lnTo>
                      <a:pt x="168" y="74"/>
                    </a:lnTo>
                    <a:lnTo>
                      <a:pt x="171" y="73"/>
                    </a:lnTo>
                    <a:lnTo>
                      <a:pt x="174" y="71"/>
                    </a:lnTo>
                    <a:lnTo>
                      <a:pt x="190" y="65"/>
                    </a:lnTo>
                    <a:lnTo>
                      <a:pt x="208" y="58"/>
                    </a:lnTo>
                    <a:lnTo>
                      <a:pt x="211" y="58"/>
                    </a:lnTo>
                    <a:lnTo>
                      <a:pt x="214" y="57"/>
                    </a:lnTo>
                    <a:lnTo>
                      <a:pt x="222" y="57"/>
                    </a:lnTo>
                    <a:lnTo>
                      <a:pt x="225" y="55"/>
                    </a:lnTo>
                    <a:lnTo>
                      <a:pt x="228" y="54"/>
                    </a:lnTo>
                    <a:lnTo>
                      <a:pt x="236" y="52"/>
                    </a:lnTo>
                    <a:lnTo>
                      <a:pt x="252" y="49"/>
                    </a:lnTo>
                    <a:lnTo>
                      <a:pt x="268" y="46"/>
                    </a:lnTo>
                    <a:lnTo>
                      <a:pt x="284" y="43"/>
                    </a:lnTo>
                    <a:lnTo>
                      <a:pt x="301" y="39"/>
                    </a:lnTo>
                    <a:lnTo>
                      <a:pt x="304" y="39"/>
                    </a:lnTo>
                    <a:lnTo>
                      <a:pt x="320" y="36"/>
                    </a:lnTo>
                    <a:lnTo>
                      <a:pt x="327" y="35"/>
                    </a:lnTo>
                    <a:lnTo>
                      <a:pt x="330" y="33"/>
                    </a:lnTo>
                    <a:lnTo>
                      <a:pt x="333" y="30"/>
                    </a:lnTo>
                    <a:lnTo>
                      <a:pt x="331" y="27"/>
                    </a:lnTo>
                    <a:lnTo>
                      <a:pt x="328" y="25"/>
                    </a:lnTo>
                    <a:lnTo>
                      <a:pt x="325" y="22"/>
                    </a:lnTo>
                    <a:lnTo>
                      <a:pt x="322" y="20"/>
                    </a:lnTo>
                    <a:lnTo>
                      <a:pt x="320" y="16"/>
                    </a:lnTo>
                    <a:lnTo>
                      <a:pt x="315" y="11"/>
                    </a:lnTo>
                    <a:lnTo>
                      <a:pt x="312" y="9"/>
                    </a:lnTo>
                    <a:lnTo>
                      <a:pt x="307" y="8"/>
                    </a:lnTo>
                    <a:lnTo>
                      <a:pt x="301" y="8"/>
                    </a:lnTo>
                    <a:lnTo>
                      <a:pt x="292" y="8"/>
                    </a:lnTo>
                    <a:lnTo>
                      <a:pt x="281" y="9"/>
                    </a:lnTo>
                    <a:lnTo>
                      <a:pt x="271" y="13"/>
                    </a:lnTo>
                    <a:lnTo>
                      <a:pt x="258" y="16"/>
                    </a:lnTo>
                    <a:lnTo>
                      <a:pt x="261" y="14"/>
                    </a:lnTo>
                    <a:lnTo>
                      <a:pt x="265" y="13"/>
                    </a:lnTo>
                    <a:lnTo>
                      <a:pt x="266" y="9"/>
                    </a:lnTo>
                    <a:lnTo>
                      <a:pt x="261" y="9"/>
                    </a:lnTo>
                    <a:lnTo>
                      <a:pt x="255" y="11"/>
                    </a:lnTo>
                    <a:lnTo>
                      <a:pt x="250" y="13"/>
                    </a:lnTo>
                    <a:lnTo>
                      <a:pt x="246" y="16"/>
                    </a:lnTo>
                    <a:lnTo>
                      <a:pt x="247" y="13"/>
                    </a:lnTo>
                    <a:lnTo>
                      <a:pt x="250" y="11"/>
                    </a:lnTo>
                    <a:lnTo>
                      <a:pt x="258" y="9"/>
                    </a:lnTo>
                    <a:lnTo>
                      <a:pt x="250" y="8"/>
                    </a:lnTo>
                    <a:lnTo>
                      <a:pt x="244" y="6"/>
                    </a:lnTo>
                    <a:lnTo>
                      <a:pt x="236" y="5"/>
                    </a:lnTo>
                    <a:lnTo>
                      <a:pt x="230" y="0"/>
                    </a:lnTo>
                    <a:lnTo>
                      <a:pt x="212" y="0"/>
                    </a:lnTo>
                    <a:lnTo>
                      <a:pt x="193" y="1"/>
                    </a:lnTo>
                    <a:lnTo>
                      <a:pt x="176" y="1"/>
                    </a:lnTo>
                    <a:lnTo>
                      <a:pt x="158" y="3"/>
                    </a:lnTo>
                    <a:lnTo>
                      <a:pt x="150" y="3"/>
                    </a:lnTo>
                    <a:lnTo>
                      <a:pt x="141" y="5"/>
                    </a:lnTo>
                    <a:lnTo>
                      <a:pt x="136" y="8"/>
                    </a:lnTo>
                    <a:lnTo>
                      <a:pt x="133" y="11"/>
                    </a:lnTo>
                    <a:lnTo>
                      <a:pt x="130" y="16"/>
                    </a:lnTo>
                    <a:lnTo>
                      <a:pt x="130" y="20"/>
                    </a:lnTo>
                    <a:lnTo>
                      <a:pt x="133" y="24"/>
                    </a:lnTo>
                    <a:lnTo>
                      <a:pt x="130" y="25"/>
                    </a:lnTo>
                    <a:lnTo>
                      <a:pt x="125" y="27"/>
                    </a:lnTo>
                    <a:lnTo>
                      <a:pt x="122" y="27"/>
                    </a:lnTo>
                    <a:lnTo>
                      <a:pt x="119" y="30"/>
                    </a:lnTo>
                    <a:lnTo>
                      <a:pt x="119" y="30"/>
                    </a:lnTo>
                    <a:lnTo>
                      <a:pt x="114" y="32"/>
                    </a:lnTo>
                    <a:lnTo>
                      <a:pt x="111" y="33"/>
                    </a:lnTo>
                    <a:lnTo>
                      <a:pt x="108" y="33"/>
                    </a:lnTo>
                    <a:lnTo>
                      <a:pt x="92" y="39"/>
                    </a:lnTo>
                    <a:lnTo>
                      <a:pt x="74" y="47"/>
                    </a:lnTo>
                    <a:lnTo>
                      <a:pt x="79" y="47"/>
                    </a:lnTo>
                    <a:lnTo>
                      <a:pt x="78" y="52"/>
                    </a:lnTo>
                    <a:lnTo>
                      <a:pt x="74" y="52"/>
                    </a:lnTo>
                    <a:lnTo>
                      <a:pt x="70" y="52"/>
                    </a:lnTo>
                    <a:lnTo>
                      <a:pt x="63" y="54"/>
                    </a:lnTo>
                    <a:lnTo>
                      <a:pt x="58" y="54"/>
                    </a:lnTo>
                    <a:lnTo>
                      <a:pt x="58" y="57"/>
                    </a:lnTo>
                    <a:lnTo>
                      <a:pt x="54" y="60"/>
                    </a:lnTo>
                    <a:lnTo>
                      <a:pt x="51" y="63"/>
                    </a:lnTo>
                    <a:lnTo>
                      <a:pt x="47" y="63"/>
                    </a:lnTo>
                    <a:lnTo>
                      <a:pt x="44" y="65"/>
                    </a:lnTo>
                    <a:lnTo>
                      <a:pt x="39" y="6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64" name="Freeform 667"/>
              <p:cNvSpPr>
                <a:spLocks/>
              </p:cNvSpPr>
              <p:nvPr/>
            </p:nvSpPr>
            <p:spPr bwMode="auto">
              <a:xfrm>
                <a:off x="1124" y="1043"/>
                <a:ext cx="216" cy="82"/>
              </a:xfrm>
              <a:custGeom>
                <a:avLst/>
                <a:gdLst>
                  <a:gd name="T0" fmla="*/ 8 w 433"/>
                  <a:gd name="T1" fmla="*/ 129 h 165"/>
                  <a:gd name="T2" fmla="*/ 46 w 433"/>
                  <a:gd name="T3" fmla="*/ 138 h 165"/>
                  <a:gd name="T4" fmla="*/ 56 w 433"/>
                  <a:gd name="T5" fmla="*/ 160 h 165"/>
                  <a:gd name="T6" fmla="*/ 111 w 433"/>
                  <a:gd name="T7" fmla="*/ 162 h 165"/>
                  <a:gd name="T8" fmla="*/ 134 w 433"/>
                  <a:gd name="T9" fmla="*/ 160 h 165"/>
                  <a:gd name="T10" fmla="*/ 192 w 433"/>
                  <a:gd name="T11" fmla="*/ 153 h 165"/>
                  <a:gd name="T12" fmla="*/ 246 w 433"/>
                  <a:gd name="T13" fmla="*/ 141 h 165"/>
                  <a:gd name="T14" fmla="*/ 268 w 433"/>
                  <a:gd name="T15" fmla="*/ 137 h 165"/>
                  <a:gd name="T16" fmla="*/ 284 w 433"/>
                  <a:gd name="T17" fmla="*/ 145 h 165"/>
                  <a:gd name="T18" fmla="*/ 294 w 433"/>
                  <a:gd name="T19" fmla="*/ 153 h 165"/>
                  <a:gd name="T20" fmla="*/ 327 w 433"/>
                  <a:gd name="T21" fmla="*/ 156 h 165"/>
                  <a:gd name="T22" fmla="*/ 354 w 433"/>
                  <a:gd name="T23" fmla="*/ 151 h 165"/>
                  <a:gd name="T24" fmla="*/ 383 w 433"/>
                  <a:gd name="T25" fmla="*/ 140 h 165"/>
                  <a:gd name="T26" fmla="*/ 372 w 433"/>
                  <a:gd name="T27" fmla="*/ 134 h 165"/>
                  <a:gd name="T28" fmla="*/ 343 w 433"/>
                  <a:gd name="T29" fmla="*/ 143 h 165"/>
                  <a:gd name="T30" fmla="*/ 364 w 433"/>
                  <a:gd name="T31" fmla="*/ 127 h 165"/>
                  <a:gd name="T32" fmla="*/ 392 w 433"/>
                  <a:gd name="T33" fmla="*/ 118 h 165"/>
                  <a:gd name="T34" fmla="*/ 411 w 433"/>
                  <a:gd name="T35" fmla="*/ 119 h 165"/>
                  <a:gd name="T36" fmla="*/ 430 w 433"/>
                  <a:gd name="T37" fmla="*/ 108 h 165"/>
                  <a:gd name="T38" fmla="*/ 410 w 433"/>
                  <a:gd name="T39" fmla="*/ 99 h 165"/>
                  <a:gd name="T40" fmla="*/ 386 w 433"/>
                  <a:gd name="T41" fmla="*/ 92 h 165"/>
                  <a:gd name="T42" fmla="*/ 384 w 433"/>
                  <a:gd name="T43" fmla="*/ 73 h 165"/>
                  <a:gd name="T44" fmla="*/ 403 w 433"/>
                  <a:gd name="T45" fmla="*/ 46 h 165"/>
                  <a:gd name="T46" fmla="*/ 416 w 433"/>
                  <a:gd name="T47" fmla="*/ 22 h 165"/>
                  <a:gd name="T48" fmla="*/ 405 w 433"/>
                  <a:gd name="T49" fmla="*/ 5 h 165"/>
                  <a:gd name="T50" fmla="*/ 372 w 433"/>
                  <a:gd name="T51" fmla="*/ 3 h 165"/>
                  <a:gd name="T52" fmla="*/ 348 w 433"/>
                  <a:gd name="T53" fmla="*/ 26 h 165"/>
                  <a:gd name="T54" fmla="*/ 338 w 433"/>
                  <a:gd name="T55" fmla="*/ 49 h 165"/>
                  <a:gd name="T56" fmla="*/ 311 w 433"/>
                  <a:gd name="T57" fmla="*/ 57 h 165"/>
                  <a:gd name="T58" fmla="*/ 318 w 433"/>
                  <a:gd name="T59" fmla="*/ 40 h 165"/>
                  <a:gd name="T60" fmla="*/ 324 w 433"/>
                  <a:gd name="T61" fmla="*/ 22 h 165"/>
                  <a:gd name="T62" fmla="*/ 303 w 433"/>
                  <a:gd name="T63" fmla="*/ 13 h 165"/>
                  <a:gd name="T64" fmla="*/ 307 w 433"/>
                  <a:gd name="T65" fmla="*/ 21 h 165"/>
                  <a:gd name="T66" fmla="*/ 295 w 433"/>
                  <a:gd name="T67" fmla="*/ 30 h 165"/>
                  <a:gd name="T68" fmla="*/ 276 w 433"/>
                  <a:gd name="T69" fmla="*/ 27 h 165"/>
                  <a:gd name="T70" fmla="*/ 248 w 433"/>
                  <a:gd name="T71" fmla="*/ 34 h 165"/>
                  <a:gd name="T72" fmla="*/ 256 w 433"/>
                  <a:gd name="T73" fmla="*/ 30 h 165"/>
                  <a:gd name="T74" fmla="*/ 249 w 433"/>
                  <a:gd name="T75" fmla="*/ 16 h 165"/>
                  <a:gd name="T76" fmla="*/ 216 w 433"/>
                  <a:gd name="T77" fmla="*/ 21 h 165"/>
                  <a:gd name="T78" fmla="*/ 184 w 433"/>
                  <a:gd name="T79" fmla="*/ 26 h 165"/>
                  <a:gd name="T80" fmla="*/ 211 w 433"/>
                  <a:gd name="T81" fmla="*/ 13 h 165"/>
                  <a:gd name="T82" fmla="*/ 208 w 433"/>
                  <a:gd name="T83" fmla="*/ 2 h 165"/>
                  <a:gd name="T84" fmla="*/ 124 w 433"/>
                  <a:gd name="T85" fmla="*/ 16 h 165"/>
                  <a:gd name="T86" fmla="*/ 73 w 433"/>
                  <a:gd name="T87" fmla="*/ 38 h 165"/>
                  <a:gd name="T88" fmla="*/ 40 w 433"/>
                  <a:gd name="T89" fmla="*/ 48 h 165"/>
                  <a:gd name="T90" fmla="*/ 48 w 433"/>
                  <a:gd name="T91" fmla="*/ 59 h 165"/>
                  <a:gd name="T92" fmla="*/ 56 w 433"/>
                  <a:gd name="T93" fmla="*/ 61 h 165"/>
                  <a:gd name="T94" fmla="*/ 56 w 433"/>
                  <a:gd name="T95" fmla="*/ 67 h 165"/>
                  <a:gd name="T96" fmla="*/ 84 w 433"/>
                  <a:gd name="T97" fmla="*/ 64 h 165"/>
                  <a:gd name="T98" fmla="*/ 119 w 433"/>
                  <a:gd name="T99" fmla="*/ 64 h 165"/>
                  <a:gd name="T100" fmla="*/ 99 w 433"/>
                  <a:gd name="T101" fmla="*/ 67 h 165"/>
                  <a:gd name="T102" fmla="*/ 34 w 433"/>
                  <a:gd name="T103" fmla="*/ 75 h 165"/>
                  <a:gd name="T104" fmla="*/ 23 w 433"/>
                  <a:gd name="T105" fmla="*/ 91 h 165"/>
                  <a:gd name="T106" fmla="*/ 67 w 433"/>
                  <a:gd name="T107" fmla="*/ 92 h 165"/>
                  <a:gd name="T108" fmla="*/ 134 w 433"/>
                  <a:gd name="T109" fmla="*/ 91 h 165"/>
                  <a:gd name="T110" fmla="*/ 169 w 433"/>
                  <a:gd name="T111" fmla="*/ 100 h 165"/>
                  <a:gd name="T112" fmla="*/ 140 w 433"/>
                  <a:gd name="T113" fmla="*/ 105 h 165"/>
                  <a:gd name="T114" fmla="*/ 65 w 433"/>
                  <a:gd name="T115" fmla="*/ 10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33" h="165">
                    <a:moveTo>
                      <a:pt x="4" y="113"/>
                    </a:moveTo>
                    <a:lnTo>
                      <a:pt x="2" y="116"/>
                    </a:lnTo>
                    <a:lnTo>
                      <a:pt x="0" y="119"/>
                    </a:lnTo>
                    <a:lnTo>
                      <a:pt x="2" y="124"/>
                    </a:lnTo>
                    <a:lnTo>
                      <a:pt x="5" y="126"/>
                    </a:lnTo>
                    <a:lnTo>
                      <a:pt x="2" y="127"/>
                    </a:lnTo>
                    <a:lnTo>
                      <a:pt x="5" y="129"/>
                    </a:lnTo>
                    <a:lnTo>
                      <a:pt x="8" y="129"/>
                    </a:lnTo>
                    <a:lnTo>
                      <a:pt x="5" y="132"/>
                    </a:lnTo>
                    <a:lnTo>
                      <a:pt x="8" y="134"/>
                    </a:lnTo>
                    <a:lnTo>
                      <a:pt x="12" y="135"/>
                    </a:lnTo>
                    <a:lnTo>
                      <a:pt x="15" y="137"/>
                    </a:lnTo>
                    <a:lnTo>
                      <a:pt x="19" y="138"/>
                    </a:lnTo>
                    <a:lnTo>
                      <a:pt x="29" y="138"/>
                    </a:lnTo>
                    <a:lnTo>
                      <a:pt x="37" y="138"/>
                    </a:lnTo>
                    <a:lnTo>
                      <a:pt x="46" y="138"/>
                    </a:lnTo>
                    <a:lnTo>
                      <a:pt x="54" y="138"/>
                    </a:lnTo>
                    <a:lnTo>
                      <a:pt x="64" y="138"/>
                    </a:lnTo>
                    <a:lnTo>
                      <a:pt x="72" y="141"/>
                    </a:lnTo>
                    <a:lnTo>
                      <a:pt x="69" y="143"/>
                    </a:lnTo>
                    <a:lnTo>
                      <a:pt x="65" y="146"/>
                    </a:lnTo>
                    <a:lnTo>
                      <a:pt x="59" y="153"/>
                    </a:lnTo>
                    <a:lnTo>
                      <a:pt x="58" y="157"/>
                    </a:lnTo>
                    <a:lnTo>
                      <a:pt x="56" y="160"/>
                    </a:lnTo>
                    <a:lnTo>
                      <a:pt x="61" y="162"/>
                    </a:lnTo>
                    <a:lnTo>
                      <a:pt x="56" y="165"/>
                    </a:lnTo>
                    <a:lnTo>
                      <a:pt x="69" y="165"/>
                    </a:lnTo>
                    <a:lnTo>
                      <a:pt x="81" y="164"/>
                    </a:lnTo>
                    <a:lnTo>
                      <a:pt x="97" y="164"/>
                    </a:lnTo>
                    <a:lnTo>
                      <a:pt x="111" y="164"/>
                    </a:lnTo>
                    <a:lnTo>
                      <a:pt x="108" y="162"/>
                    </a:lnTo>
                    <a:lnTo>
                      <a:pt x="111" y="162"/>
                    </a:lnTo>
                    <a:lnTo>
                      <a:pt x="115" y="162"/>
                    </a:lnTo>
                    <a:lnTo>
                      <a:pt x="119" y="162"/>
                    </a:lnTo>
                    <a:lnTo>
                      <a:pt x="123" y="160"/>
                    </a:lnTo>
                    <a:lnTo>
                      <a:pt x="119" y="162"/>
                    </a:lnTo>
                    <a:lnTo>
                      <a:pt x="123" y="162"/>
                    </a:lnTo>
                    <a:lnTo>
                      <a:pt x="126" y="162"/>
                    </a:lnTo>
                    <a:lnTo>
                      <a:pt x="129" y="162"/>
                    </a:lnTo>
                    <a:lnTo>
                      <a:pt x="134" y="160"/>
                    </a:lnTo>
                    <a:lnTo>
                      <a:pt x="137" y="162"/>
                    </a:lnTo>
                    <a:lnTo>
                      <a:pt x="140" y="160"/>
                    </a:lnTo>
                    <a:lnTo>
                      <a:pt x="143" y="160"/>
                    </a:lnTo>
                    <a:lnTo>
                      <a:pt x="146" y="160"/>
                    </a:lnTo>
                    <a:lnTo>
                      <a:pt x="151" y="160"/>
                    </a:lnTo>
                    <a:lnTo>
                      <a:pt x="154" y="160"/>
                    </a:lnTo>
                    <a:lnTo>
                      <a:pt x="173" y="157"/>
                    </a:lnTo>
                    <a:lnTo>
                      <a:pt x="192" y="153"/>
                    </a:lnTo>
                    <a:lnTo>
                      <a:pt x="197" y="149"/>
                    </a:lnTo>
                    <a:lnTo>
                      <a:pt x="203" y="149"/>
                    </a:lnTo>
                    <a:lnTo>
                      <a:pt x="208" y="149"/>
                    </a:lnTo>
                    <a:lnTo>
                      <a:pt x="211" y="149"/>
                    </a:lnTo>
                    <a:lnTo>
                      <a:pt x="221" y="149"/>
                    </a:lnTo>
                    <a:lnTo>
                      <a:pt x="229" y="148"/>
                    </a:lnTo>
                    <a:lnTo>
                      <a:pt x="238" y="145"/>
                    </a:lnTo>
                    <a:lnTo>
                      <a:pt x="246" y="141"/>
                    </a:lnTo>
                    <a:lnTo>
                      <a:pt x="249" y="138"/>
                    </a:lnTo>
                    <a:lnTo>
                      <a:pt x="253" y="135"/>
                    </a:lnTo>
                    <a:lnTo>
                      <a:pt x="257" y="135"/>
                    </a:lnTo>
                    <a:lnTo>
                      <a:pt x="261" y="134"/>
                    </a:lnTo>
                    <a:lnTo>
                      <a:pt x="264" y="132"/>
                    </a:lnTo>
                    <a:lnTo>
                      <a:pt x="267" y="130"/>
                    </a:lnTo>
                    <a:lnTo>
                      <a:pt x="270" y="134"/>
                    </a:lnTo>
                    <a:lnTo>
                      <a:pt x="268" y="137"/>
                    </a:lnTo>
                    <a:lnTo>
                      <a:pt x="265" y="138"/>
                    </a:lnTo>
                    <a:lnTo>
                      <a:pt x="262" y="140"/>
                    </a:lnTo>
                    <a:lnTo>
                      <a:pt x="265" y="143"/>
                    </a:lnTo>
                    <a:lnTo>
                      <a:pt x="268" y="143"/>
                    </a:lnTo>
                    <a:lnTo>
                      <a:pt x="273" y="141"/>
                    </a:lnTo>
                    <a:lnTo>
                      <a:pt x="276" y="141"/>
                    </a:lnTo>
                    <a:lnTo>
                      <a:pt x="280" y="141"/>
                    </a:lnTo>
                    <a:lnTo>
                      <a:pt x="284" y="145"/>
                    </a:lnTo>
                    <a:lnTo>
                      <a:pt x="287" y="145"/>
                    </a:lnTo>
                    <a:lnTo>
                      <a:pt x="291" y="145"/>
                    </a:lnTo>
                    <a:lnTo>
                      <a:pt x="294" y="145"/>
                    </a:lnTo>
                    <a:lnTo>
                      <a:pt x="291" y="148"/>
                    </a:lnTo>
                    <a:lnTo>
                      <a:pt x="287" y="148"/>
                    </a:lnTo>
                    <a:lnTo>
                      <a:pt x="284" y="149"/>
                    </a:lnTo>
                    <a:lnTo>
                      <a:pt x="289" y="151"/>
                    </a:lnTo>
                    <a:lnTo>
                      <a:pt x="294" y="153"/>
                    </a:lnTo>
                    <a:lnTo>
                      <a:pt x="300" y="151"/>
                    </a:lnTo>
                    <a:lnTo>
                      <a:pt x="305" y="149"/>
                    </a:lnTo>
                    <a:lnTo>
                      <a:pt x="308" y="149"/>
                    </a:lnTo>
                    <a:lnTo>
                      <a:pt x="313" y="153"/>
                    </a:lnTo>
                    <a:lnTo>
                      <a:pt x="316" y="153"/>
                    </a:lnTo>
                    <a:lnTo>
                      <a:pt x="319" y="154"/>
                    </a:lnTo>
                    <a:lnTo>
                      <a:pt x="322" y="154"/>
                    </a:lnTo>
                    <a:lnTo>
                      <a:pt x="327" y="156"/>
                    </a:lnTo>
                    <a:lnTo>
                      <a:pt x="330" y="153"/>
                    </a:lnTo>
                    <a:lnTo>
                      <a:pt x="333" y="153"/>
                    </a:lnTo>
                    <a:lnTo>
                      <a:pt x="337" y="154"/>
                    </a:lnTo>
                    <a:lnTo>
                      <a:pt x="340" y="154"/>
                    </a:lnTo>
                    <a:lnTo>
                      <a:pt x="345" y="153"/>
                    </a:lnTo>
                    <a:lnTo>
                      <a:pt x="348" y="151"/>
                    </a:lnTo>
                    <a:lnTo>
                      <a:pt x="351" y="153"/>
                    </a:lnTo>
                    <a:lnTo>
                      <a:pt x="354" y="151"/>
                    </a:lnTo>
                    <a:lnTo>
                      <a:pt x="359" y="149"/>
                    </a:lnTo>
                    <a:lnTo>
                      <a:pt x="362" y="149"/>
                    </a:lnTo>
                    <a:lnTo>
                      <a:pt x="365" y="149"/>
                    </a:lnTo>
                    <a:lnTo>
                      <a:pt x="368" y="148"/>
                    </a:lnTo>
                    <a:lnTo>
                      <a:pt x="373" y="148"/>
                    </a:lnTo>
                    <a:lnTo>
                      <a:pt x="376" y="146"/>
                    </a:lnTo>
                    <a:lnTo>
                      <a:pt x="379" y="145"/>
                    </a:lnTo>
                    <a:lnTo>
                      <a:pt x="383" y="140"/>
                    </a:lnTo>
                    <a:lnTo>
                      <a:pt x="379" y="138"/>
                    </a:lnTo>
                    <a:lnTo>
                      <a:pt x="375" y="141"/>
                    </a:lnTo>
                    <a:lnTo>
                      <a:pt x="383" y="135"/>
                    </a:lnTo>
                    <a:lnTo>
                      <a:pt x="386" y="134"/>
                    </a:lnTo>
                    <a:lnTo>
                      <a:pt x="383" y="130"/>
                    </a:lnTo>
                    <a:lnTo>
                      <a:pt x="379" y="130"/>
                    </a:lnTo>
                    <a:lnTo>
                      <a:pt x="375" y="130"/>
                    </a:lnTo>
                    <a:lnTo>
                      <a:pt x="372" y="134"/>
                    </a:lnTo>
                    <a:lnTo>
                      <a:pt x="368" y="134"/>
                    </a:lnTo>
                    <a:lnTo>
                      <a:pt x="364" y="135"/>
                    </a:lnTo>
                    <a:lnTo>
                      <a:pt x="360" y="135"/>
                    </a:lnTo>
                    <a:lnTo>
                      <a:pt x="357" y="137"/>
                    </a:lnTo>
                    <a:lnTo>
                      <a:pt x="354" y="138"/>
                    </a:lnTo>
                    <a:lnTo>
                      <a:pt x="351" y="140"/>
                    </a:lnTo>
                    <a:lnTo>
                      <a:pt x="346" y="141"/>
                    </a:lnTo>
                    <a:lnTo>
                      <a:pt x="343" y="143"/>
                    </a:lnTo>
                    <a:lnTo>
                      <a:pt x="351" y="138"/>
                    </a:lnTo>
                    <a:lnTo>
                      <a:pt x="360" y="130"/>
                    </a:lnTo>
                    <a:lnTo>
                      <a:pt x="357" y="132"/>
                    </a:lnTo>
                    <a:lnTo>
                      <a:pt x="357" y="129"/>
                    </a:lnTo>
                    <a:lnTo>
                      <a:pt x="354" y="127"/>
                    </a:lnTo>
                    <a:lnTo>
                      <a:pt x="356" y="124"/>
                    </a:lnTo>
                    <a:lnTo>
                      <a:pt x="359" y="124"/>
                    </a:lnTo>
                    <a:lnTo>
                      <a:pt x="364" y="127"/>
                    </a:lnTo>
                    <a:lnTo>
                      <a:pt x="367" y="129"/>
                    </a:lnTo>
                    <a:lnTo>
                      <a:pt x="370" y="129"/>
                    </a:lnTo>
                    <a:lnTo>
                      <a:pt x="375" y="129"/>
                    </a:lnTo>
                    <a:lnTo>
                      <a:pt x="378" y="127"/>
                    </a:lnTo>
                    <a:lnTo>
                      <a:pt x="381" y="124"/>
                    </a:lnTo>
                    <a:lnTo>
                      <a:pt x="384" y="121"/>
                    </a:lnTo>
                    <a:lnTo>
                      <a:pt x="387" y="119"/>
                    </a:lnTo>
                    <a:lnTo>
                      <a:pt x="392" y="118"/>
                    </a:lnTo>
                    <a:lnTo>
                      <a:pt x="395" y="116"/>
                    </a:lnTo>
                    <a:lnTo>
                      <a:pt x="399" y="121"/>
                    </a:lnTo>
                    <a:lnTo>
                      <a:pt x="400" y="122"/>
                    </a:lnTo>
                    <a:lnTo>
                      <a:pt x="403" y="124"/>
                    </a:lnTo>
                    <a:lnTo>
                      <a:pt x="405" y="122"/>
                    </a:lnTo>
                    <a:lnTo>
                      <a:pt x="410" y="121"/>
                    </a:lnTo>
                    <a:lnTo>
                      <a:pt x="414" y="116"/>
                    </a:lnTo>
                    <a:lnTo>
                      <a:pt x="411" y="119"/>
                    </a:lnTo>
                    <a:lnTo>
                      <a:pt x="411" y="124"/>
                    </a:lnTo>
                    <a:lnTo>
                      <a:pt x="416" y="124"/>
                    </a:lnTo>
                    <a:lnTo>
                      <a:pt x="419" y="124"/>
                    </a:lnTo>
                    <a:lnTo>
                      <a:pt x="422" y="124"/>
                    </a:lnTo>
                    <a:lnTo>
                      <a:pt x="425" y="121"/>
                    </a:lnTo>
                    <a:lnTo>
                      <a:pt x="430" y="116"/>
                    </a:lnTo>
                    <a:lnTo>
                      <a:pt x="433" y="110"/>
                    </a:lnTo>
                    <a:lnTo>
                      <a:pt x="430" y="108"/>
                    </a:lnTo>
                    <a:lnTo>
                      <a:pt x="427" y="107"/>
                    </a:lnTo>
                    <a:lnTo>
                      <a:pt x="424" y="110"/>
                    </a:lnTo>
                    <a:lnTo>
                      <a:pt x="419" y="108"/>
                    </a:lnTo>
                    <a:lnTo>
                      <a:pt x="424" y="105"/>
                    </a:lnTo>
                    <a:lnTo>
                      <a:pt x="419" y="103"/>
                    </a:lnTo>
                    <a:lnTo>
                      <a:pt x="416" y="105"/>
                    </a:lnTo>
                    <a:lnTo>
                      <a:pt x="413" y="102"/>
                    </a:lnTo>
                    <a:lnTo>
                      <a:pt x="410" y="99"/>
                    </a:lnTo>
                    <a:lnTo>
                      <a:pt x="405" y="97"/>
                    </a:lnTo>
                    <a:lnTo>
                      <a:pt x="402" y="95"/>
                    </a:lnTo>
                    <a:lnTo>
                      <a:pt x="403" y="92"/>
                    </a:lnTo>
                    <a:lnTo>
                      <a:pt x="400" y="91"/>
                    </a:lnTo>
                    <a:lnTo>
                      <a:pt x="395" y="94"/>
                    </a:lnTo>
                    <a:lnTo>
                      <a:pt x="392" y="94"/>
                    </a:lnTo>
                    <a:lnTo>
                      <a:pt x="389" y="92"/>
                    </a:lnTo>
                    <a:lnTo>
                      <a:pt x="386" y="92"/>
                    </a:lnTo>
                    <a:lnTo>
                      <a:pt x="384" y="89"/>
                    </a:lnTo>
                    <a:lnTo>
                      <a:pt x="381" y="88"/>
                    </a:lnTo>
                    <a:lnTo>
                      <a:pt x="381" y="84"/>
                    </a:lnTo>
                    <a:lnTo>
                      <a:pt x="381" y="81"/>
                    </a:lnTo>
                    <a:lnTo>
                      <a:pt x="378" y="80"/>
                    </a:lnTo>
                    <a:lnTo>
                      <a:pt x="376" y="76"/>
                    </a:lnTo>
                    <a:lnTo>
                      <a:pt x="379" y="73"/>
                    </a:lnTo>
                    <a:lnTo>
                      <a:pt x="384" y="73"/>
                    </a:lnTo>
                    <a:lnTo>
                      <a:pt x="387" y="68"/>
                    </a:lnTo>
                    <a:lnTo>
                      <a:pt x="391" y="67"/>
                    </a:lnTo>
                    <a:lnTo>
                      <a:pt x="394" y="67"/>
                    </a:lnTo>
                    <a:lnTo>
                      <a:pt x="399" y="64"/>
                    </a:lnTo>
                    <a:lnTo>
                      <a:pt x="400" y="59"/>
                    </a:lnTo>
                    <a:lnTo>
                      <a:pt x="402" y="56"/>
                    </a:lnTo>
                    <a:lnTo>
                      <a:pt x="400" y="49"/>
                    </a:lnTo>
                    <a:lnTo>
                      <a:pt x="403" y="46"/>
                    </a:lnTo>
                    <a:lnTo>
                      <a:pt x="403" y="43"/>
                    </a:lnTo>
                    <a:lnTo>
                      <a:pt x="406" y="40"/>
                    </a:lnTo>
                    <a:lnTo>
                      <a:pt x="408" y="37"/>
                    </a:lnTo>
                    <a:lnTo>
                      <a:pt x="410" y="34"/>
                    </a:lnTo>
                    <a:lnTo>
                      <a:pt x="413" y="30"/>
                    </a:lnTo>
                    <a:lnTo>
                      <a:pt x="414" y="27"/>
                    </a:lnTo>
                    <a:lnTo>
                      <a:pt x="418" y="24"/>
                    </a:lnTo>
                    <a:lnTo>
                      <a:pt x="416" y="22"/>
                    </a:lnTo>
                    <a:lnTo>
                      <a:pt x="419" y="21"/>
                    </a:lnTo>
                    <a:lnTo>
                      <a:pt x="419" y="18"/>
                    </a:lnTo>
                    <a:lnTo>
                      <a:pt x="419" y="15"/>
                    </a:lnTo>
                    <a:lnTo>
                      <a:pt x="418" y="11"/>
                    </a:lnTo>
                    <a:lnTo>
                      <a:pt x="414" y="11"/>
                    </a:lnTo>
                    <a:lnTo>
                      <a:pt x="410" y="10"/>
                    </a:lnTo>
                    <a:lnTo>
                      <a:pt x="408" y="7"/>
                    </a:lnTo>
                    <a:lnTo>
                      <a:pt x="405" y="5"/>
                    </a:lnTo>
                    <a:lnTo>
                      <a:pt x="400" y="3"/>
                    </a:lnTo>
                    <a:lnTo>
                      <a:pt x="400" y="3"/>
                    </a:lnTo>
                    <a:lnTo>
                      <a:pt x="395" y="3"/>
                    </a:lnTo>
                    <a:lnTo>
                      <a:pt x="392" y="7"/>
                    </a:lnTo>
                    <a:lnTo>
                      <a:pt x="387" y="3"/>
                    </a:lnTo>
                    <a:lnTo>
                      <a:pt x="383" y="2"/>
                    </a:lnTo>
                    <a:lnTo>
                      <a:pt x="376" y="2"/>
                    </a:lnTo>
                    <a:lnTo>
                      <a:pt x="372" y="3"/>
                    </a:lnTo>
                    <a:lnTo>
                      <a:pt x="373" y="7"/>
                    </a:lnTo>
                    <a:lnTo>
                      <a:pt x="365" y="7"/>
                    </a:lnTo>
                    <a:lnTo>
                      <a:pt x="362" y="8"/>
                    </a:lnTo>
                    <a:lnTo>
                      <a:pt x="359" y="11"/>
                    </a:lnTo>
                    <a:lnTo>
                      <a:pt x="354" y="18"/>
                    </a:lnTo>
                    <a:lnTo>
                      <a:pt x="351" y="21"/>
                    </a:lnTo>
                    <a:lnTo>
                      <a:pt x="351" y="22"/>
                    </a:lnTo>
                    <a:lnTo>
                      <a:pt x="348" y="26"/>
                    </a:lnTo>
                    <a:lnTo>
                      <a:pt x="346" y="29"/>
                    </a:lnTo>
                    <a:lnTo>
                      <a:pt x="343" y="32"/>
                    </a:lnTo>
                    <a:lnTo>
                      <a:pt x="343" y="35"/>
                    </a:lnTo>
                    <a:lnTo>
                      <a:pt x="340" y="35"/>
                    </a:lnTo>
                    <a:lnTo>
                      <a:pt x="337" y="40"/>
                    </a:lnTo>
                    <a:lnTo>
                      <a:pt x="338" y="43"/>
                    </a:lnTo>
                    <a:lnTo>
                      <a:pt x="335" y="46"/>
                    </a:lnTo>
                    <a:lnTo>
                      <a:pt x="338" y="49"/>
                    </a:lnTo>
                    <a:lnTo>
                      <a:pt x="335" y="49"/>
                    </a:lnTo>
                    <a:lnTo>
                      <a:pt x="332" y="53"/>
                    </a:lnTo>
                    <a:lnTo>
                      <a:pt x="327" y="53"/>
                    </a:lnTo>
                    <a:lnTo>
                      <a:pt x="324" y="54"/>
                    </a:lnTo>
                    <a:lnTo>
                      <a:pt x="321" y="56"/>
                    </a:lnTo>
                    <a:lnTo>
                      <a:pt x="316" y="56"/>
                    </a:lnTo>
                    <a:lnTo>
                      <a:pt x="314" y="59"/>
                    </a:lnTo>
                    <a:lnTo>
                      <a:pt x="311" y="57"/>
                    </a:lnTo>
                    <a:lnTo>
                      <a:pt x="307" y="56"/>
                    </a:lnTo>
                    <a:lnTo>
                      <a:pt x="310" y="53"/>
                    </a:lnTo>
                    <a:lnTo>
                      <a:pt x="313" y="49"/>
                    </a:lnTo>
                    <a:lnTo>
                      <a:pt x="318" y="48"/>
                    </a:lnTo>
                    <a:lnTo>
                      <a:pt x="313" y="48"/>
                    </a:lnTo>
                    <a:lnTo>
                      <a:pt x="313" y="46"/>
                    </a:lnTo>
                    <a:lnTo>
                      <a:pt x="316" y="43"/>
                    </a:lnTo>
                    <a:lnTo>
                      <a:pt x="318" y="40"/>
                    </a:lnTo>
                    <a:lnTo>
                      <a:pt x="319" y="37"/>
                    </a:lnTo>
                    <a:lnTo>
                      <a:pt x="322" y="34"/>
                    </a:lnTo>
                    <a:lnTo>
                      <a:pt x="326" y="30"/>
                    </a:lnTo>
                    <a:lnTo>
                      <a:pt x="329" y="27"/>
                    </a:lnTo>
                    <a:lnTo>
                      <a:pt x="326" y="26"/>
                    </a:lnTo>
                    <a:lnTo>
                      <a:pt x="322" y="27"/>
                    </a:lnTo>
                    <a:lnTo>
                      <a:pt x="326" y="24"/>
                    </a:lnTo>
                    <a:lnTo>
                      <a:pt x="324" y="22"/>
                    </a:lnTo>
                    <a:lnTo>
                      <a:pt x="324" y="21"/>
                    </a:lnTo>
                    <a:lnTo>
                      <a:pt x="319" y="21"/>
                    </a:lnTo>
                    <a:lnTo>
                      <a:pt x="316" y="18"/>
                    </a:lnTo>
                    <a:lnTo>
                      <a:pt x="318" y="15"/>
                    </a:lnTo>
                    <a:lnTo>
                      <a:pt x="314" y="16"/>
                    </a:lnTo>
                    <a:lnTo>
                      <a:pt x="311" y="13"/>
                    </a:lnTo>
                    <a:lnTo>
                      <a:pt x="308" y="13"/>
                    </a:lnTo>
                    <a:lnTo>
                      <a:pt x="303" y="13"/>
                    </a:lnTo>
                    <a:lnTo>
                      <a:pt x="297" y="13"/>
                    </a:lnTo>
                    <a:lnTo>
                      <a:pt x="292" y="13"/>
                    </a:lnTo>
                    <a:lnTo>
                      <a:pt x="294" y="16"/>
                    </a:lnTo>
                    <a:lnTo>
                      <a:pt x="294" y="18"/>
                    </a:lnTo>
                    <a:lnTo>
                      <a:pt x="297" y="18"/>
                    </a:lnTo>
                    <a:lnTo>
                      <a:pt x="300" y="21"/>
                    </a:lnTo>
                    <a:lnTo>
                      <a:pt x="302" y="21"/>
                    </a:lnTo>
                    <a:lnTo>
                      <a:pt x="307" y="21"/>
                    </a:lnTo>
                    <a:lnTo>
                      <a:pt x="303" y="24"/>
                    </a:lnTo>
                    <a:lnTo>
                      <a:pt x="300" y="22"/>
                    </a:lnTo>
                    <a:lnTo>
                      <a:pt x="297" y="22"/>
                    </a:lnTo>
                    <a:lnTo>
                      <a:pt x="294" y="22"/>
                    </a:lnTo>
                    <a:lnTo>
                      <a:pt x="297" y="24"/>
                    </a:lnTo>
                    <a:lnTo>
                      <a:pt x="297" y="26"/>
                    </a:lnTo>
                    <a:lnTo>
                      <a:pt x="299" y="29"/>
                    </a:lnTo>
                    <a:lnTo>
                      <a:pt x="295" y="30"/>
                    </a:lnTo>
                    <a:lnTo>
                      <a:pt x="294" y="29"/>
                    </a:lnTo>
                    <a:lnTo>
                      <a:pt x="291" y="27"/>
                    </a:lnTo>
                    <a:lnTo>
                      <a:pt x="292" y="29"/>
                    </a:lnTo>
                    <a:lnTo>
                      <a:pt x="291" y="30"/>
                    </a:lnTo>
                    <a:lnTo>
                      <a:pt x="287" y="29"/>
                    </a:lnTo>
                    <a:lnTo>
                      <a:pt x="284" y="27"/>
                    </a:lnTo>
                    <a:lnTo>
                      <a:pt x="281" y="29"/>
                    </a:lnTo>
                    <a:lnTo>
                      <a:pt x="276" y="27"/>
                    </a:lnTo>
                    <a:lnTo>
                      <a:pt x="273" y="29"/>
                    </a:lnTo>
                    <a:lnTo>
                      <a:pt x="270" y="30"/>
                    </a:lnTo>
                    <a:lnTo>
                      <a:pt x="265" y="30"/>
                    </a:lnTo>
                    <a:lnTo>
                      <a:pt x="262" y="32"/>
                    </a:lnTo>
                    <a:lnTo>
                      <a:pt x="259" y="35"/>
                    </a:lnTo>
                    <a:lnTo>
                      <a:pt x="256" y="34"/>
                    </a:lnTo>
                    <a:lnTo>
                      <a:pt x="259" y="32"/>
                    </a:lnTo>
                    <a:lnTo>
                      <a:pt x="248" y="34"/>
                    </a:lnTo>
                    <a:lnTo>
                      <a:pt x="238" y="38"/>
                    </a:lnTo>
                    <a:lnTo>
                      <a:pt x="242" y="37"/>
                    </a:lnTo>
                    <a:lnTo>
                      <a:pt x="245" y="35"/>
                    </a:lnTo>
                    <a:lnTo>
                      <a:pt x="242" y="35"/>
                    </a:lnTo>
                    <a:lnTo>
                      <a:pt x="245" y="34"/>
                    </a:lnTo>
                    <a:lnTo>
                      <a:pt x="248" y="32"/>
                    </a:lnTo>
                    <a:lnTo>
                      <a:pt x="251" y="32"/>
                    </a:lnTo>
                    <a:lnTo>
                      <a:pt x="256" y="30"/>
                    </a:lnTo>
                    <a:lnTo>
                      <a:pt x="264" y="27"/>
                    </a:lnTo>
                    <a:lnTo>
                      <a:pt x="270" y="22"/>
                    </a:lnTo>
                    <a:lnTo>
                      <a:pt x="267" y="21"/>
                    </a:lnTo>
                    <a:lnTo>
                      <a:pt x="264" y="19"/>
                    </a:lnTo>
                    <a:lnTo>
                      <a:pt x="261" y="18"/>
                    </a:lnTo>
                    <a:lnTo>
                      <a:pt x="257" y="16"/>
                    </a:lnTo>
                    <a:lnTo>
                      <a:pt x="253" y="16"/>
                    </a:lnTo>
                    <a:lnTo>
                      <a:pt x="249" y="16"/>
                    </a:lnTo>
                    <a:lnTo>
                      <a:pt x="246" y="13"/>
                    </a:lnTo>
                    <a:lnTo>
                      <a:pt x="242" y="13"/>
                    </a:lnTo>
                    <a:lnTo>
                      <a:pt x="235" y="13"/>
                    </a:lnTo>
                    <a:lnTo>
                      <a:pt x="227" y="15"/>
                    </a:lnTo>
                    <a:lnTo>
                      <a:pt x="219" y="18"/>
                    </a:lnTo>
                    <a:lnTo>
                      <a:pt x="213" y="21"/>
                    </a:lnTo>
                    <a:lnTo>
                      <a:pt x="213" y="21"/>
                    </a:lnTo>
                    <a:lnTo>
                      <a:pt x="216" y="21"/>
                    </a:lnTo>
                    <a:lnTo>
                      <a:pt x="213" y="24"/>
                    </a:lnTo>
                    <a:lnTo>
                      <a:pt x="210" y="24"/>
                    </a:lnTo>
                    <a:lnTo>
                      <a:pt x="205" y="26"/>
                    </a:lnTo>
                    <a:lnTo>
                      <a:pt x="210" y="24"/>
                    </a:lnTo>
                    <a:lnTo>
                      <a:pt x="196" y="26"/>
                    </a:lnTo>
                    <a:lnTo>
                      <a:pt x="181" y="27"/>
                    </a:lnTo>
                    <a:lnTo>
                      <a:pt x="181" y="26"/>
                    </a:lnTo>
                    <a:lnTo>
                      <a:pt x="184" y="26"/>
                    </a:lnTo>
                    <a:lnTo>
                      <a:pt x="189" y="24"/>
                    </a:lnTo>
                    <a:lnTo>
                      <a:pt x="192" y="22"/>
                    </a:lnTo>
                    <a:lnTo>
                      <a:pt x="196" y="21"/>
                    </a:lnTo>
                    <a:lnTo>
                      <a:pt x="200" y="19"/>
                    </a:lnTo>
                    <a:lnTo>
                      <a:pt x="203" y="19"/>
                    </a:lnTo>
                    <a:lnTo>
                      <a:pt x="205" y="19"/>
                    </a:lnTo>
                    <a:lnTo>
                      <a:pt x="208" y="16"/>
                    </a:lnTo>
                    <a:lnTo>
                      <a:pt x="211" y="13"/>
                    </a:lnTo>
                    <a:lnTo>
                      <a:pt x="216" y="10"/>
                    </a:lnTo>
                    <a:lnTo>
                      <a:pt x="219" y="8"/>
                    </a:lnTo>
                    <a:lnTo>
                      <a:pt x="221" y="5"/>
                    </a:lnTo>
                    <a:lnTo>
                      <a:pt x="219" y="2"/>
                    </a:lnTo>
                    <a:lnTo>
                      <a:pt x="216" y="0"/>
                    </a:lnTo>
                    <a:lnTo>
                      <a:pt x="211" y="0"/>
                    </a:lnTo>
                    <a:lnTo>
                      <a:pt x="208" y="2"/>
                    </a:lnTo>
                    <a:lnTo>
                      <a:pt x="208" y="2"/>
                    </a:lnTo>
                    <a:lnTo>
                      <a:pt x="203" y="2"/>
                    </a:lnTo>
                    <a:lnTo>
                      <a:pt x="200" y="3"/>
                    </a:lnTo>
                    <a:lnTo>
                      <a:pt x="188" y="5"/>
                    </a:lnTo>
                    <a:lnTo>
                      <a:pt x="175" y="7"/>
                    </a:lnTo>
                    <a:lnTo>
                      <a:pt x="162" y="8"/>
                    </a:lnTo>
                    <a:lnTo>
                      <a:pt x="150" y="11"/>
                    </a:lnTo>
                    <a:lnTo>
                      <a:pt x="137" y="15"/>
                    </a:lnTo>
                    <a:lnTo>
                      <a:pt x="124" y="16"/>
                    </a:lnTo>
                    <a:lnTo>
                      <a:pt x="111" y="19"/>
                    </a:lnTo>
                    <a:lnTo>
                      <a:pt x="99" y="24"/>
                    </a:lnTo>
                    <a:lnTo>
                      <a:pt x="86" y="27"/>
                    </a:lnTo>
                    <a:lnTo>
                      <a:pt x="73" y="32"/>
                    </a:lnTo>
                    <a:lnTo>
                      <a:pt x="77" y="35"/>
                    </a:lnTo>
                    <a:lnTo>
                      <a:pt x="80" y="35"/>
                    </a:lnTo>
                    <a:lnTo>
                      <a:pt x="77" y="38"/>
                    </a:lnTo>
                    <a:lnTo>
                      <a:pt x="73" y="38"/>
                    </a:lnTo>
                    <a:lnTo>
                      <a:pt x="70" y="40"/>
                    </a:lnTo>
                    <a:lnTo>
                      <a:pt x="65" y="40"/>
                    </a:lnTo>
                    <a:lnTo>
                      <a:pt x="62" y="40"/>
                    </a:lnTo>
                    <a:lnTo>
                      <a:pt x="59" y="42"/>
                    </a:lnTo>
                    <a:lnTo>
                      <a:pt x="54" y="43"/>
                    </a:lnTo>
                    <a:lnTo>
                      <a:pt x="51" y="45"/>
                    </a:lnTo>
                    <a:lnTo>
                      <a:pt x="48" y="45"/>
                    </a:lnTo>
                    <a:lnTo>
                      <a:pt x="40" y="48"/>
                    </a:lnTo>
                    <a:lnTo>
                      <a:pt x="37" y="49"/>
                    </a:lnTo>
                    <a:lnTo>
                      <a:pt x="34" y="53"/>
                    </a:lnTo>
                    <a:lnTo>
                      <a:pt x="31" y="56"/>
                    </a:lnTo>
                    <a:lnTo>
                      <a:pt x="31" y="59"/>
                    </a:lnTo>
                    <a:lnTo>
                      <a:pt x="34" y="57"/>
                    </a:lnTo>
                    <a:lnTo>
                      <a:pt x="37" y="57"/>
                    </a:lnTo>
                    <a:lnTo>
                      <a:pt x="45" y="57"/>
                    </a:lnTo>
                    <a:lnTo>
                      <a:pt x="48" y="59"/>
                    </a:lnTo>
                    <a:lnTo>
                      <a:pt x="51" y="57"/>
                    </a:lnTo>
                    <a:lnTo>
                      <a:pt x="54" y="57"/>
                    </a:lnTo>
                    <a:lnTo>
                      <a:pt x="59" y="57"/>
                    </a:lnTo>
                    <a:lnTo>
                      <a:pt x="62" y="57"/>
                    </a:lnTo>
                    <a:lnTo>
                      <a:pt x="59" y="57"/>
                    </a:lnTo>
                    <a:lnTo>
                      <a:pt x="56" y="59"/>
                    </a:lnTo>
                    <a:lnTo>
                      <a:pt x="59" y="59"/>
                    </a:lnTo>
                    <a:lnTo>
                      <a:pt x="56" y="61"/>
                    </a:lnTo>
                    <a:lnTo>
                      <a:pt x="51" y="61"/>
                    </a:lnTo>
                    <a:lnTo>
                      <a:pt x="48" y="62"/>
                    </a:lnTo>
                    <a:lnTo>
                      <a:pt x="45" y="62"/>
                    </a:lnTo>
                    <a:lnTo>
                      <a:pt x="42" y="64"/>
                    </a:lnTo>
                    <a:lnTo>
                      <a:pt x="45" y="67"/>
                    </a:lnTo>
                    <a:lnTo>
                      <a:pt x="48" y="67"/>
                    </a:lnTo>
                    <a:lnTo>
                      <a:pt x="51" y="67"/>
                    </a:lnTo>
                    <a:lnTo>
                      <a:pt x="56" y="67"/>
                    </a:lnTo>
                    <a:lnTo>
                      <a:pt x="59" y="65"/>
                    </a:lnTo>
                    <a:lnTo>
                      <a:pt x="62" y="64"/>
                    </a:lnTo>
                    <a:lnTo>
                      <a:pt x="65" y="65"/>
                    </a:lnTo>
                    <a:lnTo>
                      <a:pt x="70" y="65"/>
                    </a:lnTo>
                    <a:lnTo>
                      <a:pt x="73" y="65"/>
                    </a:lnTo>
                    <a:lnTo>
                      <a:pt x="77" y="65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8" y="64"/>
                    </a:lnTo>
                    <a:lnTo>
                      <a:pt x="91" y="62"/>
                    </a:lnTo>
                    <a:lnTo>
                      <a:pt x="96" y="62"/>
                    </a:lnTo>
                    <a:lnTo>
                      <a:pt x="99" y="62"/>
                    </a:lnTo>
                    <a:lnTo>
                      <a:pt x="107" y="62"/>
                    </a:lnTo>
                    <a:lnTo>
                      <a:pt x="115" y="62"/>
                    </a:lnTo>
                    <a:lnTo>
                      <a:pt x="124" y="62"/>
                    </a:lnTo>
                    <a:lnTo>
                      <a:pt x="119" y="64"/>
                    </a:lnTo>
                    <a:lnTo>
                      <a:pt x="116" y="64"/>
                    </a:lnTo>
                    <a:lnTo>
                      <a:pt x="113" y="64"/>
                    </a:lnTo>
                    <a:lnTo>
                      <a:pt x="110" y="62"/>
                    </a:lnTo>
                    <a:lnTo>
                      <a:pt x="105" y="62"/>
                    </a:lnTo>
                    <a:lnTo>
                      <a:pt x="102" y="64"/>
                    </a:lnTo>
                    <a:lnTo>
                      <a:pt x="99" y="64"/>
                    </a:lnTo>
                    <a:lnTo>
                      <a:pt x="94" y="65"/>
                    </a:lnTo>
                    <a:lnTo>
                      <a:pt x="99" y="67"/>
                    </a:lnTo>
                    <a:lnTo>
                      <a:pt x="102" y="65"/>
                    </a:lnTo>
                    <a:lnTo>
                      <a:pt x="91" y="67"/>
                    </a:lnTo>
                    <a:lnTo>
                      <a:pt x="80" y="68"/>
                    </a:lnTo>
                    <a:lnTo>
                      <a:pt x="70" y="70"/>
                    </a:lnTo>
                    <a:lnTo>
                      <a:pt x="59" y="72"/>
                    </a:lnTo>
                    <a:lnTo>
                      <a:pt x="48" y="73"/>
                    </a:lnTo>
                    <a:lnTo>
                      <a:pt x="38" y="75"/>
                    </a:lnTo>
                    <a:lnTo>
                      <a:pt x="34" y="75"/>
                    </a:lnTo>
                    <a:lnTo>
                      <a:pt x="31" y="76"/>
                    </a:lnTo>
                    <a:lnTo>
                      <a:pt x="27" y="76"/>
                    </a:lnTo>
                    <a:lnTo>
                      <a:pt x="24" y="78"/>
                    </a:lnTo>
                    <a:lnTo>
                      <a:pt x="19" y="78"/>
                    </a:lnTo>
                    <a:lnTo>
                      <a:pt x="18" y="83"/>
                    </a:lnTo>
                    <a:lnTo>
                      <a:pt x="19" y="86"/>
                    </a:lnTo>
                    <a:lnTo>
                      <a:pt x="23" y="88"/>
                    </a:lnTo>
                    <a:lnTo>
                      <a:pt x="23" y="91"/>
                    </a:lnTo>
                    <a:lnTo>
                      <a:pt x="26" y="92"/>
                    </a:lnTo>
                    <a:lnTo>
                      <a:pt x="29" y="92"/>
                    </a:lnTo>
                    <a:lnTo>
                      <a:pt x="37" y="92"/>
                    </a:lnTo>
                    <a:lnTo>
                      <a:pt x="46" y="92"/>
                    </a:lnTo>
                    <a:lnTo>
                      <a:pt x="56" y="92"/>
                    </a:lnTo>
                    <a:lnTo>
                      <a:pt x="59" y="92"/>
                    </a:lnTo>
                    <a:lnTo>
                      <a:pt x="62" y="94"/>
                    </a:lnTo>
                    <a:lnTo>
                      <a:pt x="67" y="92"/>
                    </a:lnTo>
                    <a:lnTo>
                      <a:pt x="73" y="92"/>
                    </a:lnTo>
                    <a:lnTo>
                      <a:pt x="83" y="92"/>
                    </a:lnTo>
                    <a:lnTo>
                      <a:pt x="92" y="92"/>
                    </a:lnTo>
                    <a:lnTo>
                      <a:pt x="108" y="91"/>
                    </a:lnTo>
                    <a:lnTo>
                      <a:pt x="124" y="89"/>
                    </a:lnTo>
                    <a:lnTo>
                      <a:pt x="127" y="91"/>
                    </a:lnTo>
                    <a:lnTo>
                      <a:pt x="130" y="91"/>
                    </a:lnTo>
                    <a:lnTo>
                      <a:pt x="134" y="91"/>
                    </a:lnTo>
                    <a:lnTo>
                      <a:pt x="138" y="91"/>
                    </a:lnTo>
                    <a:lnTo>
                      <a:pt x="142" y="94"/>
                    </a:lnTo>
                    <a:lnTo>
                      <a:pt x="150" y="94"/>
                    </a:lnTo>
                    <a:lnTo>
                      <a:pt x="159" y="95"/>
                    </a:lnTo>
                    <a:lnTo>
                      <a:pt x="159" y="100"/>
                    </a:lnTo>
                    <a:lnTo>
                      <a:pt x="162" y="100"/>
                    </a:lnTo>
                    <a:lnTo>
                      <a:pt x="165" y="102"/>
                    </a:lnTo>
                    <a:lnTo>
                      <a:pt x="169" y="100"/>
                    </a:lnTo>
                    <a:lnTo>
                      <a:pt x="165" y="103"/>
                    </a:lnTo>
                    <a:lnTo>
                      <a:pt x="162" y="103"/>
                    </a:lnTo>
                    <a:lnTo>
                      <a:pt x="157" y="105"/>
                    </a:lnTo>
                    <a:lnTo>
                      <a:pt x="154" y="103"/>
                    </a:lnTo>
                    <a:lnTo>
                      <a:pt x="151" y="103"/>
                    </a:lnTo>
                    <a:lnTo>
                      <a:pt x="146" y="105"/>
                    </a:lnTo>
                    <a:lnTo>
                      <a:pt x="143" y="105"/>
                    </a:lnTo>
                    <a:lnTo>
                      <a:pt x="140" y="105"/>
                    </a:lnTo>
                    <a:lnTo>
                      <a:pt x="137" y="107"/>
                    </a:lnTo>
                    <a:lnTo>
                      <a:pt x="132" y="105"/>
                    </a:lnTo>
                    <a:lnTo>
                      <a:pt x="129" y="105"/>
                    </a:lnTo>
                    <a:lnTo>
                      <a:pt x="118" y="103"/>
                    </a:lnTo>
                    <a:lnTo>
                      <a:pt x="108" y="103"/>
                    </a:lnTo>
                    <a:lnTo>
                      <a:pt x="99" y="102"/>
                    </a:lnTo>
                    <a:lnTo>
                      <a:pt x="88" y="103"/>
                    </a:lnTo>
                    <a:lnTo>
                      <a:pt x="65" y="105"/>
                    </a:lnTo>
                    <a:lnTo>
                      <a:pt x="45" y="107"/>
                    </a:lnTo>
                    <a:lnTo>
                      <a:pt x="24" y="108"/>
                    </a:lnTo>
                    <a:lnTo>
                      <a:pt x="4" y="11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65" name="Freeform 668"/>
              <p:cNvSpPr>
                <a:spLocks/>
              </p:cNvSpPr>
              <p:nvPr/>
            </p:nvSpPr>
            <p:spPr bwMode="auto">
              <a:xfrm>
                <a:off x="1187" y="977"/>
                <a:ext cx="120" cy="26"/>
              </a:xfrm>
              <a:custGeom>
                <a:avLst/>
                <a:gdLst>
                  <a:gd name="T0" fmla="*/ 70 w 240"/>
                  <a:gd name="T1" fmla="*/ 50 h 52"/>
                  <a:gd name="T2" fmla="*/ 81 w 240"/>
                  <a:gd name="T3" fmla="*/ 49 h 52"/>
                  <a:gd name="T4" fmla="*/ 89 w 240"/>
                  <a:gd name="T5" fmla="*/ 41 h 52"/>
                  <a:gd name="T6" fmla="*/ 95 w 240"/>
                  <a:gd name="T7" fmla="*/ 41 h 52"/>
                  <a:gd name="T8" fmla="*/ 100 w 240"/>
                  <a:gd name="T9" fmla="*/ 44 h 52"/>
                  <a:gd name="T10" fmla="*/ 111 w 240"/>
                  <a:gd name="T11" fmla="*/ 39 h 52"/>
                  <a:gd name="T12" fmla="*/ 121 w 240"/>
                  <a:gd name="T13" fmla="*/ 35 h 52"/>
                  <a:gd name="T14" fmla="*/ 126 w 240"/>
                  <a:gd name="T15" fmla="*/ 31 h 52"/>
                  <a:gd name="T16" fmla="*/ 135 w 240"/>
                  <a:gd name="T17" fmla="*/ 30 h 52"/>
                  <a:gd name="T18" fmla="*/ 146 w 240"/>
                  <a:gd name="T19" fmla="*/ 23 h 52"/>
                  <a:gd name="T20" fmla="*/ 157 w 240"/>
                  <a:gd name="T21" fmla="*/ 22 h 52"/>
                  <a:gd name="T22" fmla="*/ 140 w 240"/>
                  <a:gd name="T23" fmla="*/ 38 h 52"/>
                  <a:gd name="T24" fmla="*/ 151 w 240"/>
                  <a:gd name="T25" fmla="*/ 39 h 52"/>
                  <a:gd name="T26" fmla="*/ 160 w 240"/>
                  <a:gd name="T27" fmla="*/ 35 h 52"/>
                  <a:gd name="T28" fmla="*/ 172 w 240"/>
                  <a:gd name="T29" fmla="*/ 30 h 52"/>
                  <a:gd name="T30" fmla="*/ 184 w 240"/>
                  <a:gd name="T31" fmla="*/ 30 h 52"/>
                  <a:gd name="T32" fmla="*/ 195 w 240"/>
                  <a:gd name="T33" fmla="*/ 27 h 52"/>
                  <a:gd name="T34" fmla="*/ 199 w 240"/>
                  <a:gd name="T35" fmla="*/ 20 h 52"/>
                  <a:gd name="T36" fmla="*/ 211 w 240"/>
                  <a:gd name="T37" fmla="*/ 20 h 52"/>
                  <a:gd name="T38" fmla="*/ 210 w 240"/>
                  <a:gd name="T39" fmla="*/ 12 h 52"/>
                  <a:gd name="T40" fmla="*/ 237 w 240"/>
                  <a:gd name="T41" fmla="*/ 4 h 52"/>
                  <a:gd name="T42" fmla="*/ 226 w 240"/>
                  <a:gd name="T43" fmla="*/ 0 h 52"/>
                  <a:gd name="T44" fmla="*/ 211 w 240"/>
                  <a:gd name="T45" fmla="*/ 3 h 52"/>
                  <a:gd name="T46" fmla="*/ 208 w 240"/>
                  <a:gd name="T47" fmla="*/ 8 h 52"/>
                  <a:gd name="T48" fmla="*/ 197 w 240"/>
                  <a:gd name="T49" fmla="*/ 8 h 52"/>
                  <a:gd name="T50" fmla="*/ 187 w 240"/>
                  <a:gd name="T51" fmla="*/ 6 h 52"/>
                  <a:gd name="T52" fmla="*/ 148 w 240"/>
                  <a:gd name="T53" fmla="*/ 9 h 52"/>
                  <a:gd name="T54" fmla="*/ 107 w 240"/>
                  <a:gd name="T55" fmla="*/ 20 h 52"/>
                  <a:gd name="T56" fmla="*/ 95 w 240"/>
                  <a:gd name="T57" fmla="*/ 23 h 52"/>
                  <a:gd name="T58" fmla="*/ 81 w 240"/>
                  <a:gd name="T59" fmla="*/ 27 h 52"/>
                  <a:gd name="T60" fmla="*/ 51 w 240"/>
                  <a:gd name="T61" fmla="*/ 35 h 52"/>
                  <a:gd name="T62" fmla="*/ 40 w 240"/>
                  <a:gd name="T63" fmla="*/ 35 h 52"/>
                  <a:gd name="T64" fmla="*/ 30 w 240"/>
                  <a:gd name="T65" fmla="*/ 36 h 52"/>
                  <a:gd name="T66" fmla="*/ 19 w 240"/>
                  <a:gd name="T67" fmla="*/ 39 h 52"/>
                  <a:gd name="T68" fmla="*/ 8 w 240"/>
                  <a:gd name="T69" fmla="*/ 42 h 52"/>
                  <a:gd name="T70" fmla="*/ 5 w 240"/>
                  <a:gd name="T71" fmla="*/ 44 h 52"/>
                  <a:gd name="T72" fmla="*/ 16 w 240"/>
                  <a:gd name="T73" fmla="*/ 42 h 52"/>
                  <a:gd name="T74" fmla="*/ 11 w 240"/>
                  <a:gd name="T75" fmla="*/ 46 h 52"/>
                  <a:gd name="T76" fmla="*/ 13 w 240"/>
                  <a:gd name="T77" fmla="*/ 49 h 52"/>
                  <a:gd name="T78" fmla="*/ 23 w 240"/>
                  <a:gd name="T79" fmla="*/ 46 h 52"/>
                  <a:gd name="T80" fmla="*/ 34 w 240"/>
                  <a:gd name="T81" fmla="*/ 50 h 52"/>
                  <a:gd name="T82" fmla="*/ 45 w 240"/>
                  <a:gd name="T83" fmla="*/ 47 h 52"/>
                  <a:gd name="T84" fmla="*/ 56 w 240"/>
                  <a:gd name="T85" fmla="*/ 42 h 52"/>
                  <a:gd name="T86" fmla="*/ 59 w 240"/>
                  <a:gd name="T87" fmla="*/ 47 h 52"/>
                  <a:gd name="T88" fmla="*/ 56 w 240"/>
                  <a:gd name="T89" fmla="*/ 52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40" h="52">
                    <a:moveTo>
                      <a:pt x="62" y="52"/>
                    </a:moveTo>
                    <a:lnTo>
                      <a:pt x="67" y="52"/>
                    </a:lnTo>
                    <a:lnTo>
                      <a:pt x="70" y="50"/>
                    </a:lnTo>
                    <a:lnTo>
                      <a:pt x="73" y="50"/>
                    </a:lnTo>
                    <a:lnTo>
                      <a:pt x="76" y="49"/>
                    </a:lnTo>
                    <a:lnTo>
                      <a:pt x="81" y="49"/>
                    </a:lnTo>
                    <a:lnTo>
                      <a:pt x="83" y="46"/>
                    </a:lnTo>
                    <a:lnTo>
                      <a:pt x="86" y="44"/>
                    </a:lnTo>
                    <a:lnTo>
                      <a:pt x="89" y="41"/>
                    </a:lnTo>
                    <a:lnTo>
                      <a:pt x="92" y="38"/>
                    </a:lnTo>
                    <a:lnTo>
                      <a:pt x="97" y="38"/>
                    </a:lnTo>
                    <a:lnTo>
                      <a:pt x="95" y="41"/>
                    </a:lnTo>
                    <a:lnTo>
                      <a:pt x="92" y="44"/>
                    </a:lnTo>
                    <a:lnTo>
                      <a:pt x="97" y="44"/>
                    </a:lnTo>
                    <a:lnTo>
                      <a:pt x="100" y="44"/>
                    </a:lnTo>
                    <a:lnTo>
                      <a:pt x="103" y="42"/>
                    </a:lnTo>
                    <a:lnTo>
                      <a:pt x="107" y="39"/>
                    </a:lnTo>
                    <a:lnTo>
                      <a:pt x="111" y="39"/>
                    </a:lnTo>
                    <a:lnTo>
                      <a:pt x="115" y="39"/>
                    </a:lnTo>
                    <a:lnTo>
                      <a:pt x="118" y="38"/>
                    </a:lnTo>
                    <a:lnTo>
                      <a:pt x="121" y="35"/>
                    </a:lnTo>
                    <a:lnTo>
                      <a:pt x="118" y="33"/>
                    </a:lnTo>
                    <a:lnTo>
                      <a:pt x="121" y="31"/>
                    </a:lnTo>
                    <a:lnTo>
                      <a:pt x="126" y="31"/>
                    </a:lnTo>
                    <a:lnTo>
                      <a:pt x="129" y="31"/>
                    </a:lnTo>
                    <a:lnTo>
                      <a:pt x="132" y="31"/>
                    </a:lnTo>
                    <a:lnTo>
                      <a:pt x="135" y="30"/>
                    </a:lnTo>
                    <a:lnTo>
                      <a:pt x="138" y="28"/>
                    </a:lnTo>
                    <a:lnTo>
                      <a:pt x="143" y="27"/>
                    </a:lnTo>
                    <a:lnTo>
                      <a:pt x="146" y="23"/>
                    </a:lnTo>
                    <a:lnTo>
                      <a:pt x="149" y="23"/>
                    </a:lnTo>
                    <a:lnTo>
                      <a:pt x="154" y="23"/>
                    </a:lnTo>
                    <a:lnTo>
                      <a:pt x="157" y="22"/>
                    </a:lnTo>
                    <a:lnTo>
                      <a:pt x="146" y="30"/>
                    </a:lnTo>
                    <a:lnTo>
                      <a:pt x="135" y="35"/>
                    </a:lnTo>
                    <a:lnTo>
                      <a:pt x="140" y="38"/>
                    </a:lnTo>
                    <a:lnTo>
                      <a:pt x="143" y="39"/>
                    </a:lnTo>
                    <a:lnTo>
                      <a:pt x="146" y="39"/>
                    </a:lnTo>
                    <a:lnTo>
                      <a:pt x="151" y="39"/>
                    </a:lnTo>
                    <a:lnTo>
                      <a:pt x="154" y="38"/>
                    </a:lnTo>
                    <a:lnTo>
                      <a:pt x="157" y="38"/>
                    </a:lnTo>
                    <a:lnTo>
                      <a:pt x="160" y="35"/>
                    </a:lnTo>
                    <a:lnTo>
                      <a:pt x="165" y="31"/>
                    </a:lnTo>
                    <a:lnTo>
                      <a:pt x="168" y="31"/>
                    </a:lnTo>
                    <a:lnTo>
                      <a:pt x="172" y="30"/>
                    </a:lnTo>
                    <a:lnTo>
                      <a:pt x="176" y="30"/>
                    </a:lnTo>
                    <a:lnTo>
                      <a:pt x="180" y="30"/>
                    </a:lnTo>
                    <a:lnTo>
                      <a:pt x="184" y="30"/>
                    </a:lnTo>
                    <a:lnTo>
                      <a:pt x="187" y="30"/>
                    </a:lnTo>
                    <a:lnTo>
                      <a:pt x="192" y="28"/>
                    </a:lnTo>
                    <a:lnTo>
                      <a:pt x="195" y="27"/>
                    </a:lnTo>
                    <a:lnTo>
                      <a:pt x="200" y="27"/>
                    </a:lnTo>
                    <a:lnTo>
                      <a:pt x="203" y="22"/>
                    </a:lnTo>
                    <a:lnTo>
                      <a:pt x="199" y="20"/>
                    </a:lnTo>
                    <a:lnTo>
                      <a:pt x="203" y="19"/>
                    </a:lnTo>
                    <a:lnTo>
                      <a:pt x="206" y="20"/>
                    </a:lnTo>
                    <a:lnTo>
                      <a:pt x="211" y="20"/>
                    </a:lnTo>
                    <a:lnTo>
                      <a:pt x="214" y="19"/>
                    </a:lnTo>
                    <a:lnTo>
                      <a:pt x="211" y="17"/>
                    </a:lnTo>
                    <a:lnTo>
                      <a:pt x="210" y="12"/>
                    </a:lnTo>
                    <a:lnTo>
                      <a:pt x="224" y="11"/>
                    </a:lnTo>
                    <a:lnTo>
                      <a:pt x="240" y="8"/>
                    </a:lnTo>
                    <a:lnTo>
                      <a:pt x="237" y="4"/>
                    </a:lnTo>
                    <a:lnTo>
                      <a:pt x="233" y="3"/>
                    </a:lnTo>
                    <a:lnTo>
                      <a:pt x="230" y="1"/>
                    </a:lnTo>
                    <a:lnTo>
                      <a:pt x="226" y="0"/>
                    </a:lnTo>
                    <a:lnTo>
                      <a:pt x="222" y="1"/>
                    </a:lnTo>
                    <a:lnTo>
                      <a:pt x="216" y="1"/>
                    </a:lnTo>
                    <a:lnTo>
                      <a:pt x="211" y="3"/>
                    </a:lnTo>
                    <a:lnTo>
                      <a:pt x="208" y="3"/>
                    </a:lnTo>
                    <a:lnTo>
                      <a:pt x="211" y="4"/>
                    </a:lnTo>
                    <a:lnTo>
                      <a:pt x="208" y="8"/>
                    </a:lnTo>
                    <a:lnTo>
                      <a:pt x="205" y="6"/>
                    </a:lnTo>
                    <a:lnTo>
                      <a:pt x="202" y="6"/>
                    </a:lnTo>
                    <a:lnTo>
                      <a:pt x="197" y="8"/>
                    </a:lnTo>
                    <a:lnTo>
                      <a:pt x="194" y="8"/>
                    </a:lnTo>
                    <a:lnTo>
                      <a:pt x="191" y="8"/>
                    </a:lnTo>
                    <a:lnTo>
                      <a:pt x="187" y="6"/>
                    </a:lnTo>
                    <a:lnTo>
                      <a:pt x="173" y="6"/>
                    </a:lnTo>
                    <a:lnTo>
                      <a:pt x="160" y="6"/>
                    </a:lnTo>
                    <a:lnTo>
                      <a:pt x="148" y="9"/>
                    </a:lnTo>
                    <a:lnTo>
                      <a:pt x="135" y="12"/>
                    </a:lnTo>
                    <a:lnTo>
                      <a:pt x="121" y="16"/>
                    </a:lnTo>
                    <a:lnTo>
                      <a:pt x="107" y="20"/>
                    </a:lnTo>
                    <a:lnTo>
                      <a:pt x="103" y="20"/>
                    </a:lnTo>
                    <a:lnTo>
                      <a:pt x="100" y="22"/>
                    </a:lnTo>
                    <a:lnTo>
                      <a:pt x="95" y="23"/>
                    </a:lnTo>
                    <a:lnTo>
                      <a:pt x="92" y="25"/>
                    </a:lnTo>
                    <a:lnTo>
                      <a:pt x="84" y="25"/>
                    </a:lnTo>
                    <a:lnTo>
                      <a:pt x="81" y="27"/>
                    </a:lnTo>
                    <a:lnTo>
                      <a:pt x="69" y="28"/>
                    </a:lnTo>
                    <a:lnTo>
                      <a:pt x="56" y="33"/>
                    </a:lnTo>
                    <a:lnTo>
                      <a:pt x="51" y="35"/>
                    </a:lnTo>
                    <a:lnTo>
                      <a:pt x="48" y="35"/>
                    </a:lnTo>
                    <a:lnTo>
                      <a:pt x="43" y="35"/>
                    </a:lnTo>
                    <a:lnTo>
                      <a:pt x="40" y="35"/>
                    </a:lnTo>
                    <a:lnTo>
                      <a:pt x="37" y="35"/>
                    </a:lnTo>
                    <a:lnTo>
                      <a:pt x="34" y="35"/>
                    </a:lnTo>
                    <a:lnTo>
                      <a:pt x="30" y="36"/>
                    </a:lnTo>
                    <a:lnTo>
                      <a:pt x="26" y="36"/>
                    </a:lnTo>
                    <a:lnTo>
                      <a:pt x="23" y="38"/>
                    </a:lnTo>
                    <a:lnTo>
                      <a:pt x="19" y="39"/>
                    </a:lnTo>
                    <a:lnTo>
                      <a:pt x="16" y="41"/>
                    </a:lnTo>
                    <a:lnTo>
                      <a:pt x="11" y="41"/>
                    </a:lnTo>
                    <a:lnTo>
                      <a:pt x="8" y="42"/>
                    </a:lnTo>
                    <a:lnTo>
                      <a:pt x="5" y="44"/>
                    </a:lnTo>
                    <a:lnTo>
                      <a:pt x="0" y="46"/>
                    </a:lnTo>
                    <a:lnTo>
                      <a:pt x="5" y="44"/>
                    </a:lnTo>
                    <a:lnTo>
                      <a:pt x="8" y="42"/>
                    </a:lnTo>
                    <a:lnTo>
                      <a:pt x="11" y="42"/>
                    </a:lnTo>
                    <a:lnTo>
                      <a:pt x="16" y="42"/>
                    </a:lnTo>
                    <a:lnTo>
                      <a:pt x="13" y="44"/>
                    </a:lnTo>
                    <a:lnTo>
                      <a:pt x="16" y="44"/>
                    </a:lnTo>
                    <a:lnTo>
                      <a:pt x="11" y="46"/>
                    </a:lnTo>
                    <a:lnTo>
                      <a:pt x="5" y="49"/>
                    </a:lnTo>
                    <a:lnTo>
                      <a:pt x="8" y="50"/>
                    </a:lnTo>
                    <a:lnTo>
                      <a:pt x="13" y="49"/>
                    </a:lnTo>
                    <a:lnTo>
                      <a:pt x="16" y="49"/>
                    </a:lnTo>
                    <a:lnTo>
                      <a:pt x="19" y="47"/>
                    </a:lnTo>
                    <a:lnTo>
                      <a:pt x="23" y="46"/>
                    </a:lnTo>
                    <a:lnTo>
                      <a:pt x="27" y="46"/>
                    </a:lnTo>
                    <a:lnTo>
                      <a:pt x="30" y="47"/>
                    </a:lnTo>
                    <a:lnTo>
                      <a:pt x="34" y="50"/>
                    </a:lnTo>
                    <a:lnTo>
                      <a:pt x="38" y="49"/>
                    </a:lnTo>
                    <a:lnTo>
                      <a:pt x="42" y="49"/>
                    </a:lnTo>
                    <a:lnTo>
                      <a:pt x="45" y="47"/>
                    </a:lnTo>
                    <a:lnTo>
                      <a:pt x="48" y="46"/>
                    </a:lnTo>
                    <a:lnTo>
                      <a:pt x="53" y="44"/>
                    </a:lnTo>
                    <a:lnTo>
                      <a:pt x="56" y="42"/>
                    </a:lnTo>
                    <a:lnTo>
                      <a:pt x="59" y="42"/>
                    </a:lnTo>
                    <a:lnTo>
                      <a:pt x="56" y="46"/>
                    </a:lnTo>
                    <a:lnTo>
                      <a:pt x="59" y="47"/>
                    </a:lnTo>
                    <a:lnTo>
                      <a:pt x="56" y="49"/>
                    </a:lnTo>
                    <a:lnTo>
                      <a:pt x="53" y="52"/>
                    </a:lnTo>
                    <a:lnTo>
                      <a:pt x="56" y="52"/>
                    </a:lnTo>
                    <a:lnTo>
                      <a:pt x="59" y="50"/>
                    </a:lnTo>
                    <a:lnTo>
                      <a:pt x="62" y="5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66" name="Freeform 669"/>
              <p:cNvSpPr>
                <a:spLocks/>
              </p:cNvSpPr>
              <p:nvPr/>
            </p:nvSpPr>
            <p:spPr bwMode="auto">
              <a:xfrm>
                <a:off x="1220" y="999"/>
                <a:ext cx="33" cy="10"/>
              </a:xfrm>
              <a:custGeom>
                <a:avLst/>
                <a:gdLst>
                  <a:gd name="T0" fmla="*/ 65 w 65"/>
                  <a:gd name="T1" fmla="*/ 0 h 19"/>
                  <a:gd name="T2" fmla="*/ 49 w 65"/>
                  <a:gd name="T3" fmla="*/ 3 h 19"/>
                  <a:gd name="T4" fmla="*/ 35 w 65"/>
                  <a:gd name="T5" fmla="*/ 6 h 19"/>
                  <a:gd name="T6" fmla="*/ 30 w 65"/>
                  <a:gd name="T7" fmla="*/ 6 h 19"/>
                  <a:gd name="T8" fmla="*/ 19 w 65"/>
                  <a:gd name="T9" fmla="*/ 10 h 19"/>
                  <a:gd name="T10" fmla="*/ 16 w 65"/>
                  <a:gd name="T11" fmla="*/ 11 h 19"/>
                  <a:gd name="T12" fmla="*/ 13 w 65"/>
                  <a:gd name="T13" fmla="*/ 11 h 19"/>
                  <a:gd name="T14" fmla="*/ 8 w 65"/>
                  <a:gd name="T15" fmla="*/ 13 h 19"/>
                  <a:gd name="T16" fmla="*/ 5 w 65"/>
                  <a:gd name="T17" fmla="*/ 14 h 19"/>
                  <a:gd name="T18" fmla="*/ 0 w 65"/>
                  <a:gd name="T19" fmla="*/ 16 h 19"/>
                  <a:gd name="T20" fmla="*/ 5 w 65"/>
                  <a:gd name="T21" fmla="*/ 18 h 19"/>
                  <a:gd name="T22" fmla="*/ 8 w 65"/>
                  <a:gd name="T23" fmla="*/ 18 h 19"/>
                  <a:gd name="T24" fmla="*/ 11 w 65"/>
                  <a:gd name="T25" fmla="*/ 19 h 19"/>
                  <a:gd name="T26" fmla="*/ 14 w 65"/>
                  <a:gd name="T27" fmla="*/ 19 h 19"/>
                  <a:gd name="T28" fmla="*/ 24 w 65"/>
                  <a:gd name="T29" fmla="*/ 16 h 19"/>
                  <a:gd name="T30" fmla="*/ 33 w 65"/>
                  <a:gd name="T31" fmla="*/ 14 h 19"/>
                  <a:gd name="T32" fmla="*/ 36 w 65"/>
                  <a:gd name="T33" fmla="*/ 13 h 19"/>
                  <a:gd name="T34" fmla="*/ 40 w 65"/>
                  <a:gd name="T35" fmla="*/ 11 h 19"/>
                  <a:gd name="T36" fmla="*/ 44 w 65"/>
                  <a:gd name="T37" fmla="*/ 10 h 19"/>
                  <a:gd name="T38" fmla="*/ 48 w 65"/>
                  <a:gd name="T39" fmla="*/ 10 h 19"/>
                  <a:gd name="T40" fmla="*/ 51 w 65"/>
                  <a:gd name="T41" fmla="*/ 6 h 19"/>
                  <a:gd name="T42" fmla="*/ 54 w 65"/>
                  <a:gd name="T43" fmla="*/ 6 h 19"/>
                  <a:gd name="T44" fmla="*/ 62 w 65"/>
                  <a:gd name="T45" fmla="*/ 3 h 19"/>
                  <a:gd name="T46" fmla="*/ 65 w 65"/>
                  <a:gd name="T4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5" h="19">
                    <a:moveTo>
                      <a:pt x="65" y="0"/>
                    </a:moveTo>
                    <a:lnTo>
                      <a:pt x="49" y="3"/>
                    </a:lnTo>
                    <a:lnTo>
                      <a:pt x="35" y="6"/>
                    </a:lnTo>
                    <a:lnTo>
                      <a:pt x="30" y="6"/>
                    </a:lnTo>
                    <a:lnTo>
                      <a:pt x="19" y="10"/>
                    </a:lnTo>
                    <a:lnTo>
                      <a:pt x="16" y="11"/>
                    </a:lnTo>
                    <a:lnTo>
                      <a:pt x="13" y="11"/>
                    </a:lnTo>
                    <a:lnTo>
                      <a:pt x="8" y="13"/>
                    </a:lnTo>
                    <a:lnTo>
                      <a:pt x="5" y="14"/>
                    </a:lnTo>
                    <a:lnTo>
                      <a:pt x="0" y="16"/>
                    </a:lnTo>
                    <a:lnTo>
                      <a:pt x="5" y="18"/>
                    </a:lnTo>
                    <a:lnTo>
                      <a:pt x="8" y="18"/>
                    </a:lnTo>
                    <a:lnTo>
                      <a:pt x="11" y="19"/>
                    </a:lnTo>
                    <a:lnTo>
                      <a:pt x="14" y="19"/>
                    </a:lnTo>
                    <a:lnTo>
                      <a:pt x="24" y="16"/>
                    </a:lnTo>
                    <a:lnTo>
                      <a:pt x="33" y="14"/>
                    </a:lnTo>
                    <a:lnTo>
                      <a:pt x="36" y="13"/>
                    </a:lnTo>
                    <a:lnTo>
                      <a:pt x="40" y="11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51" y="6"/>
                    </a:lnTo>
                    <a:lnTo>
                      <a:pt x="54" y="6"/>
                    </a:lnTo>
                    <a:lnTo>
                      <a:pt x="62" y="3"/>
                    </a:lnTo>
                    <a:lnTo>
                      <a:pt x="65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67" name="Freeform 670"/>
              <p:cNvSpPr>
                <a:spLocks/>
              </p:cNvSpPr>
              <p:nvPr/>
            </p:nvSpPr>
            <p:spPr bwMode="auto">
              <a:xfrm>
                <a:off x="1261" y="1124"/>
                <a:ext cx="7" cy="3"/>
              </a:xfrm>
              <a:custGeom>
                <a:avLst/>
                <a:gdLst>
                  <a:gd name="T0" fmla="*/ 11 w 14"/>
                  <a:gd name="T1" fmla="*/ 0 h 6"/>
                  <a:gd name="T2" fmla="*/ 9 w 14"/>
                  <a:gd name="T3" fmla="*/ 0 h 6"/>
                  <a:gd name="T4" fmla="*/ 3 w 14"/>
                  <a:gd name="T5" fmla="*/ 0 h 6"/>
                  <a:gd name="T6" fmla="*/ 0 w 14"/>
                  <a:gd name="T7" fmla="*/ 3 h 6"/>
                  <a:gd name="T8" fmla="*/ 3 w 14"/>
                  <a:gd name="T9" fmla="*/ 5 h 6"/>
                  <a:gd name="T10" fmla="*/ 6 w 14"/>
                  <a:gd name="T11" fmla="*/ 6 h 6"/>
                  <a:gd name="T12" fmla="*/ 9 w 14"/>
                  <a:gd name="T13" fmla="*/ 6 h 6"/>
                  <a:gd name="T14" fmla="*/ 14 w 14"/>
                  <a:gd name="T15" fmla="*/ 3 h 6"/>
                  <a:gd name="T16" fmla="*/ 11 w 14"/>
                  <a:gd name="T1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4" h="6">
                    <a:moveTo>
                      <a:pt x="11" y="0"/>
                    </a:moveTo>
                    <a:lnTo>
                      <a:pt x="9" y="0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3" y="5"/>
                    </a:lnTo>
                    <a:lnTo>
                      <a:pt x="6" y="6"/>
                    </a:lnTo>
                    <a:lnTo>
                      <a:pt x="9" y="6"/>
                    </a:lnTo>
                    <a:lnTo>
                      <a:pt x="14" y="3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68" name="Freeform 671"/>
              <p:cNvSpPr>
                <a:spLocks/>
              </p:cNvSpPr>
              <p:nvPr/>
            </p:nvSpPr>
            <p:spPr bwMode="auto">
              <a:xfrm>
                <a:off x="1301" y="987"/>
                <a:ext cx="17" cy="3"/>
              </a:xfrm>
              <a:custGeom>
                <a:avLst/>
                <a:gdLst>
                  <a:gd name="T0" fmla="*/ 16 w 33"/>
                  <a:gd name="T1" fmla="*/ 7 h 7"/>
                  <a:gd name="T2" fmla="*/ 20 w 33"/>
                  <a:gd name="T3" fmla="*/ 5 h 7"/>
                  <a:gd name="T4" fmla="*/ 25 w 33"/>
                  <a:gd name="T5" fmla="*/ 5 h 7"/>
                  <a:gd name="T6" fmla="*/ 28 w 33"/>
                  <a:gd name="T7" fmla="*/ 5 h 7"/>
                  <a:gd name="T8" fmla="*/ 33 w 33"/>
                  <a:gd name="T9" fmla="*/ 2 h 7"/>
                  <a:gd name="T10" fmla="*/ 30 w 33"/>
                  <a:gd name="T11" fmla="*/ 0 h 7"/>
                  <a:gd name="T12" fmla="*/ 22 w 33"/>
                  <a:gd name="T13" fmla="*/ 0 h 7"/>
                  <a:gd name="T14" fmla="*/ 19 w 33"/>
                  <a:gd name="T15" fmla="*/ 0 h 7"/>
                  <a:gd name="T16" fmla="*/ 16 w 33"/>
                  <a:gd name="T17" fmla="*/ 0 h 7"/>
                  <a:gd name="T18" fmla="*/ 8 w 33"/>
                  <a:gd name="T19" fmla="*/ 2 h 7"/>
                  <a:gd name="T20" fmla="*/ 3 w 33"/>
                  <a:gd name="T21" fmla="*/ 2 h 7"/>
                  <a:gd name="T22" fmla="*/ 0 w 33"/>
                  <a:gd name="T23" fmla="*/ 5 h 7"/>
                  <a:gd name="T24" fmla="*/ 8 w 33"/>
                  <a:gd name="T25" fmla="*/ 5 h 7"/>
                  <a:gd name="T26" fmla="*/ 11 w 33"/>
                  <a:gd name="T27" fmla="*/ 5 h 7"/>
                  <a:gd name="T28" fmla="*/ 16 w 33"/>
                  <a:gd name="T29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" h="7">
                    <a:moveTo>
                      <a:pt x="16" y="7"/>
                    </a:moveTo>
                    <a:lnTo>
                      <a:pt x="20" y="5"/>
                    </a:lnTo>
                    <a:lnTo>
                      <a:pt x="25" y="5"/>
                    </a:lnTo>
                    <a:lnTo>
                      <a:pt x="28" y="5"/>
                    </a:lnTo>
                    <a:lnTo>
                      <a:pt x="33" y="2"/>
                    </a:lnTo>
                    <a:lnTo>
                      <a:pt x="30" y="0"/>
                    </a:lnTo>
                    <a:lnTo>
                      <a:pt x="22" y="0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8" y="2"/>
                    </a:lnTo>
                    <a:lnTo>
                      <a:pt x="3" y="2"/>
                    </a:lnTo>
                    <a:lnTo>
                      <a:pt x="0" y="5"/>
                    </a:lnTo>
                    <a:lnTo>
                      <a:pt x="8" y="5"/>
                    </a:lnTo>
                    <a:lnTo>
                      <a:pt x="11" y="5"/>
                    </a:lnTo>
                    <a:lnTo>
                      <a:pt x="16" y="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69" name="Freeform 672"/>
              <p:cNvSpPr>
                <a:spLocks/>
              </p:cNvSpPr>
              <p:nvPr/>
            </p:nvSpPr>
            <p:spPr bwMode="auto">
              <a:xfrm>
                <a:off x="1324" y="1116"/>
                <a:ext cx="7" cy="5"/>
              </a:xfrm>
              <a:custGeom>
                <a:avLst/>
                <a:gdLst>
                  <a:gd name="T0" fmla="*/ 12 w 14"/>
                  <a:gd name="T1" fmla="*/ 2 h 11"/>
                  <a:gd name="T2" fmla="*/ 11 w 14"/>
                  <a:gd name="T3" fmla="*/ 0 h 11"/>
                  <a:gd name="T4" fmla="*/ 8 w 14"/>
                  <a:gd name="T5" fmla="*/ 0 h 11"/>
                  <a:gd name="T6" fmla="*/ 4 w 14"/>
                  <a:gd name="T7" fmla="*/ 3 h 11"/>
                  <a:gd name="T8" fmla="*/ 0 w 14"/>
                  <a:gd name="T9" fmla="*/ 5 h 11"/>
                  <a:gd name="T10" fmla="*/ 0 w 14"/>
                  <a:gd name="T11" fmla="*/ 10 h 11"/>
                  <a:gd name="T12" fmla="*/ 3 w 14"/>
                  <a:gd name="T13" fmla="*/ 11 h 11"/>
                  <a:gd name="T14" fmla="*/ 6 w 14"/>
                  <a:gd name="T15" fmla="*/ 10 h 11"/>
                  <a:gd name="T16" fmla="*/ 9 w 14"/>
                  <a:gd name="T17" fmla="*/ 8 h 11"/>
                  <a:gd name="T18" fmla="*/ 14 w 14"/>
                  <a:gd name="T19" fmla="*/ 5 h 11"/>
                  <a:gd name="T20" fmla="*/ 12 w 14"/>
                  <a:gd name="T21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" h="11">
                    <a:moveTo>
                      <a:pt x="12" y="2"/>
                    </a:moveTo>
                    <a:lnTo>
                      <a:pt x="11" y="0"/>
                    </a:lnTo>
                    <a:lnTo>
                      <a:pt x="8" y="0"/>
                    </a:lnTo>
                    <a:lnTo>
                      <a:pt x="4" y="3"/>
                    </a:lnTo>
                    <a:lnTo>
                      <a:pt x="0" y="5"/>
                    </a:lnTo>
                    <a:lnTo>
                      <a:pt x="0" y="10"/>
                    </a:lnTo>
                    <a:lnTo>
                      <a:pt x="3" y="11"/>
                    </a:lnTo>
                    <a:lnTo>
                      <a:pt x="6" y="10"/>
                    </a:lnTo>
                    <a:lnTo>
                      <a:pt x="9" y="8"/>
                    </a:lnTo>
                    <a:lnTo>
                      <a:pt x="14" y="5"/>
                    </a:lnTo>
                    <a:lnTo>
                      <a:pt x="12" y="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70" name="Freeform 673"/>
              <p:cNvSpPr>
                <a:spLocks/>
              </p:cNvSpPr>
              <p:nvPr/>
            </p:nvSpPr>
            <p:spPr bwMode="auto">
              <a:xfrm>
                <a:off x="1327" y="1036"/>
                <a:ext cx="31" cy="15"/>
              </a:xfrm>
              <a:custGeom>
                <a:avLst/>
                <a:gdLst>
                  <a:gd name="T0" fmla="*/ 0 w 64"/>
                  <a:gd name="T1" fmla="*/ 9 h 30"/>
                  <a:gd name="T2" fmla="*/ 4 w 64"/>
                  <a:gd name="T3" fmla="*/ 9 h 30"/>
                  <a:gd name="T4" fmla="*/ 8 w 64"/>
                  <a:gd name="T5" fmla="*/ 11 h 30"/>
                  <a:gd name="T6" fmla="*/ 12 w 64"/>
                  <a:gd name="T7" fmla="*/ 12 h 30"/>
                  <a:gd name="T8" fmla="*/ 15 w 64"/>
                  <a:gd name="T9" fmla="*/ 15 h 30"/>
                  <a:gd name="T10" fmla="*/ 12 w 64"/>
                  <a:gd name="T11" fmla="*/ 19 h 30"/>
                  <a:gd name="T12" fmla="*/ 15 w 64"/>
                  <a:gd name="T13" fmla="*/ 19 h 30"/>
                  <a:gd name="T14" fmla="*/ 15 w 64"/>
                  <a:gd name="T15" fmla="*/ 23 h 30"/>
                  <a:gd name="T16" fmla="*/ 18 w 64"/>
                  <a:gd name="T17" fmla="*/ 27 h 30"/>
                  <a:gd name="T18" fmla="*/ 18 w 64"/>
                  <a:gd name="T19" fmla="*/ 28 h 30"/>
                  <a:gd name="T20" fmla="*/ 21 w 64"/>
                  <a:gd name="T21" fmla="*/ 30 h 30"/>
                  <a:gd name="T22" fmla="*/ 24 w 64"/>
                  <a:gd name="T23" fmla="*/ 27 h 30"/>
                  <a:gd name="T24" fmla="*/ 27 w 64"/>
                  <a:gd name="T25" fmla="*/ 25 h 30"/>
                  <a:gd name="T26" fmla="*/ 32 w 64"/>
                  <a:gd name="T27" fmla="*/ 25 h 30"/>
                  <a:gd name="T28" fmla="*/ 35 w 64"/>
                  <a:gd name="T29" fmla="*/ 22 h 30"/>
                  <a:gd name="T30" fmla="*/ 39 w 64"/>
                  <a:gd name="T31" fmla="*/ 20 h 30"/>
                  <a:gd name="T32" fmla="*/ 51 w 64"/>
                  <a:gd name="T33" fmla="*/ 15 h 30"/>
                  <a:gd name="T34" fmla="*/ 64 w 64"/>
                  <a:gd name="T35" fmla="*/ 8 h 30"/>
                  <a:gd name="T36" fmla="*/ 64 w 64"/>
                  <a:gd name="T37" fmla="*/ 4 h 30"/>
                  <a:gd name="T38" fmla="*/ 61 w 64"/>
                  <a:gd name="T39" fmla="*/ 4 h 30"/>
                  <a:gd name="T40" fmla="*/ 61 w 64"/>
                  <a:gd name="T41" fmla="*/ 3 h 30"/>
                  <a:gd name="T42" fmla="*/ 56 w 64"/>
                  <a:gd name="T43" fmla="*/ 0 h 30"/>
                  <a:gd name="T44" fmla="*/ 53 w 64"/>
                  <a:gd name="T45" fmla="*/ 0 h 30"/>
                  <a:gd name="T46" fmla="*/ 43 w 64"/>
                  <a:gd name="T47" fmla="*/ 1 h 30"/>
                  <a:gd name="T48" fmla="*/ 34 w 64"/>
                  <a:gd name="T49" fmla="*/ 1 h 30"/>
                  <a:gd name="T50" fmla="*/ 24 w 64"/>
                  <a:gd name="T51" fmla="*/ 1 h 30"/>
                  <a:gd name="T52" fmla="*/ 16 w 64"/>
                  <a:gd name="T53" fmla="*/ 3 h 30"/>
                  <a:gd name="T54" fmla="*/ 12 w 64"/>
                  <a:gd name="T55" fmla="*/ 4 h 30"/>
                  <a:gd name="T56" fmla="*/ 8 w 64"/>
                  <a:gd name="T57" fmla="*/ 6 h 30"/>
                  <a:gd name="T58" fmla="*/ 5 w 64"/>
                  <a:gd name="T59" fmla="*/ 6 h 30"/>
                  <a:gd name="T60" fmla="*/ 0 w 64"/>
                  <a:gd name="T61" fmla="*/ 8 h 30"/>
                  <a:gd name="T62" fmla="*/ 0 w 64"/>
                  <a:gd name="T63" fmla="*/ 9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4" h="30">
                    <a:moveTo>
                      <a:pt x="0" y="9"/>
                    </a:moveTo>
                    <a:lnTo>
                      <a:pt x="4" y="9"/>
                    </a:lnTo>
                    <a:lnTo>
                      <a:pt x="8" y="11"/>
                    </a:lnTo>
                    <a:lnTo>
                      <a:pt x="12" y="12"/>
                    </a:lnTo>
                    <a:lnTo>
                      <a:pt x="15" y="15"/>
                    </a:lnTo>
                    <a:lnTo>
                      <a:pt x="12" y="19"/>
                    </a:lnTo>
                    <a:lnTo>
                      <a:pt x="15" y="19"/>
                    </a:lnTo>
                    <a:lnTo>
                      <a:pt x="15" y="23"/>
                    </a:lnTo>
                    <a:lnTo>
                      <a:pt x="18" y="27"/>
                    </a:lnTo>
                    <a:lnTo>
                      <a:pt x="18" y="28"/>
                    </a:lnTo>
                    <a:lnTo>
                      <a:pt x="21" y="30"/>
                    </a:lnTo>
                    <a:lnTo>
                      <a:pt x="24" y="27"/>
                    </a:lnTo>
                    <a:lnTo>
                      <a:pt x="27" y="25"/>
                    </a:lnTo>
                    <a:lnTo>
                      <a:pt x="32" y="25"/>
                    </a:lnTo>
                    <a:lnTo>
                      <a:pt x="35" y="22"/>
                    </a:lnTo>
                    <a:lnTo>
                      <a:pt x="39" y="20"/>
                    </a:lnTo>
                    <a:lnTo>
                      <a:pt x="51" y="15"/>
                    </a:lnTo>
                    <a:lnTo>
                      <a:pt x="64" y="8"/>
                    </a:lnTo>
                    <a:lnTo>
                      <a:pt x="64" y="4"/>
                    </a:lnTo>
                    <a:lnTo>
                      <a:pt x="61" y="4"/>
                    </a:lnTo>
                    <a:lnTo>
                      <a:pt x="61" y="3"/>
                    </a:lnTo>
                    <a:lnTo>
                      <a:pt x="56" y="0"/>
                    </a:lnTo>
                    <a:lnTo>
                      <a:pt x="53" y="0"/>
                    </a:lnTo>
                    <a:lnTo>
                      <a:pt x="43" y="1"/>
                    </a:lnTo>
                    <a:lnTo>
                      <a:pt x="34" y="1"/>
                    </a:lnTo>
                    <a:lnTo>
                      <a:pt x="24" y="1"/>
                    </a:lnTo>
                    <a:lnTo>
                      <a:pt x="16" y="3"/>
                    </a:lnTo>
                    <a:lnTo>
                      <a:pt x="12" y="4"/>
                    </a:lnTo>
                    <a:lnTo>
                      <a:pt x="8" y="6"/>
                    </a:lnTo>
                    <a:lnTo>
                      <a:pt x="5" y="6"/>
                    </a:lnTo>
                    <a:lnTo>
                      <a:pt x="0" y="8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71" name="Freeform 674"/>
              <p:cNvSpPr>
                <a:spLocks/>
              </p:cNvSpPr>
              <p:nvPr/>
            </p:nvSpPr>
            <p:spPr bwMode="auto">
              <a:xfrm>
                <a:off x="1339" y="969"/>
                <a:ext cx="53" cy="11"/>
              </a:xfrm>
              <a:custGeom>
                <a:avLst/>
                <a:gdLst>
                  <a:gd name="T0" fmla="*/ 90 w 105"/>
                  <a:gd name="T1" fmla="*/ 5 h 22"/>
                  <a:gd name="T2" fmla="*/ 93 w 105"/>
                  <a:gd name="T3" fmla="*/ 5 h 22"/>
                  <a:gd name="T4" fmla="*/ 98 w 105"/>
                  <a:gd name="T5" fmla="*/ 5 h 22"/>
                  <a:gd name="T6" fmla="*/ 101 w 105"/>
                  <a:gd name="T7" fmla="*/ 3 h 22"/>
                  <a:gd name="T8" fmla="*/ 105 w 105"/>
                  <a:gd name="T9" fmla="*/ 1 h 22"/>
                  <a:gd name="T10" fmla="*/ 101 w 105"/>
                  <a:gd name="T11" fmla="*/ 0 h 22"/>
                  <a:gd name="T12" fmla="*/ 95 w 105"/>
                  <a:gd name="T13" fmla="*/ 0 h 22"/>
                  <a:gd name="T14" fmla="*/ 90 w 105"/>
                  <a:gd name="T15" fmla="*/ 0 h 22"/>
                  <a:gd name="T16" fmla="*/ 87 w 105"/>
                  <a:gd name="T17" fmla="*/ 0 h 22"/>
                  <a:gd name="T18" fmla="*/ 84 w 105"/>
                  <a:gd name="T19" fmla="*/ 0 h 22"/>
                  <a:gd name="T20" fmla="*/ 79 w 105"/>
                  <a:gd name="T21" fmla="*/ 0 h 22"/>
                  <a:gd name="T22" fmla="*/ 76 w 105"/>
                  <a:gd name="T23" fmla="*/ 1 h 22"/>
                  <a:gd name="T24" fmla="*/ 73 w 105"/>
                  <a:gd name="T25" fmla="*/ 0 h 22"/>
                  <a:gd name="T26" fmla="*/ 68 w 105"/>
                  <a:gd name="T27" fmla="*/ 0 h 22"/>
                  <a:gd name="T28" fmla="*/ 65 w 105"/>
                  <a:gd name="T29" fmla="*/ 0 h 22"/>
                  <a:gd name="T30" fmla="*/ 62 w 105"/>
                  <a:gd name="T31" fmla="*/ 1 h 22"/>
                  <a:gd name="T32" fmla="*/ 57 w 105"/>
                  <a:gd name="T33" fmla="*/ 1 h 22"/>
                  <a:gd name="T34" fmla="*/ 54 w 105"/>
                  <a:gd name="T35" fmla="*/ 1 h 22"/>
                  <a:gd name="T36" fmla="*/ 41 w 105"/>
                  <a:gd name="T37" fmla="*/ 3 h 22"/>
                  <a:gd name="T38" fmla="*/ 28 w 105"/>
                  <a:gd name="T39" fmla="*/ 5 h 22"/>
                  <a:gd name="T40" fmla="*/ 24 w 105"/>
                  <a:gd name="T41" fmla="*/ 5 h 22"/>
                  <a:gd name="T42" fmla="*/ 20 w 105"/>
                  <a:gd name="T43" fmla="*/ 5 h 22"/>
                  <a:gd name="T44" fmla="*/ 17 w 105"/>
                  <a:gd name="T45" fmla="*/ 5 h 22"/>
                  <a:gd name="T46" fmla="*/ 14 w 105"/>
                  <a:gd name="T47" fmla="*/ 6 h 22"/>
                  <a:gd name="T48" fmla="*/ 11 w 105"/>
                  <a:gd name="T49" fmla="*/ 6 h 22"/>
                  <a:gd name="T50" fmla="*/ 6 w 105"/>
                  <a:gd name="T51" fmla="*/ 9 h 22"/>
                  <a:gd name="T52" fmla="*/ 3 w 105"/>
                  <a:gd name="T53" fmla="*/ 13 h 22"/>
                  <a:gd name="T54" fmla="*/ 0 w 105"/>
                  <a:gd name="T55" fmla="*/ 14 h 22"/>
                  <a:gd name="T56" fmla="*/ 0 w 105"/>
                  <a:gd name="T57" fmla="*/ 19 h 22"/>
                  <a:gd name="T58" fmla="*/ 5 w 105"/>
                  <a:gd name="T59" fmla="*/ 19 h 22"/>
                  <a:gd name="T60" fmla="*/ 8 w 105"/>
                  <a:gd name="T61" fmla="*/ 19 h 22"/>
                  <a:gd name="T62" fmla="*/ 9 w 105"/>
                  <a:gd name="T63" fmla="*/ 22 h 22"/>
                  <a:gd name="T64" fmla="*/ 27 w 105"/>
                  <a:gd name="T65" fmla="*/ 22 h 22"/>
                  <a:gd name="T66" fmla="*/ 43 w 105"/>
                  <a:gd name="T67" fmla="*/ 20 h 22"/>
                  <a:gd name="T68" fmla="*/ 47 w 105"/>
                  <a:gd name="T69" fmla="*/ 20 h 22"/>
                  <a:gd name="T70" fmla="*/ 51 w 105"/>
                  <a:gd name="T71" fmla="*/ 19 h 22"/>
                  <a:gd name="T72" fmla="*/ 55 w 105"/>
                  <a:gd name="T73" fmla="*/ 19 h 22"/>
                  <a:gd name="T74" fmla="*/ 59 w 105"/>
                  <a:gd name="T75" fmla="*/ 19 h 22"/>
                  <a:gd name="T76" fmla="*/ 65 w 105"/>
                  <a:gd name="T77" fmla="*/ 17 h 22"/>
                  <a:gd name="T78" fmla="*/ 68 w 105"/>
                  <a:gd name="T79" fmla="*/ 17 h 22"/>
                  <a:gd name="T80" fmla="*/ 73 w 105"/>
                  <a:gd name="T81" fmla="*/ 14 h 22"/>
                  <a:gd name="T82" fmla="*/ 78 w 105"/>
                  <a:gd name="T83" fmla="*/ 11 h 22"/>
                  <a:gd name="T84" fmla="*/ 74 w 105"/>
                  <a:gd name="T85" fmla="*/ 9 h 22"/>
                  <a:gd name="T86" fmla="*/ 70 w 105"/>
                  <a:gd name="T87" fmla="*/ 9 h 22"/>
                  <a:gd name="T88" fmla="*/ 66 w 105"/>
                  <a:gd name="T89" fmla="*/ 9 h 22"/>
                  <a:gd name="T90" fmla="*/ 70 w 105"/>
                  <a:gd name="T91" fmla="*/ 6 h 22"/>
                  <a:gd name="T92" fmla="*/ 74 w 105"/>
                  <a:gd name="T93" fmla="*/ 6 h 22"/>
                  <a:gd name="T94" fmla="*/ 78 w 105"/>
                  <a:gd name="T95" fmla="*/ 6 h 22"/>
                  <a:gd name="T96" fmla="*/ 81 w 105"/>
                  <a:gd name="T97" fmla="*/ 6 h 22"/>
                  <a:gd name="T98" fmla="*/ 85 w 105"/>
                  <a:gd name="T99" fmla="*/ 6 h 22"/>
                  <a:gd name="T100" fmla="*/ 89 w 105"/>
                  <a:gd name="T101" fmla="*/ 5 h 22"/>
                  <a:gd name="T102" fmla="*/ 90 w 105"/>
                  <a:gd name="T103" fmla="*/ 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05" h="22">
                    <a:moveTo>
                      <a:pt x="90" y="5"/>
                    </a:moveTo>
                    <a:lnTo>
                      <a:pt x="93" y="5"/>
                    </a:lnTo>
                    <a:lnTo>
                      <a:pt x="98" y="5"/>
                    </a:lnTo>
                    <a:lnTo>
                      <a:pt x="101" y="3"/>
                    </a:lnTo>
                    <a:lnTo>
                      <a:pt x="105" y="1"/>
                    </a:lnTo>
                    <a:lnTo>
                      <a:pt x="101" y="0"/>
                    </a:lnTo>
                    <a:lnTo>
                      <a:pt x="95" y="0"/>
                    </a:lnTo>
                    <a:lnTo>
                      <a:pt x="90" y="0"/>
                    </a:lnTo>
                    <a:lnTo>
                      <a:pt x="87" y="0"/>
                    </a:lnTo>
                    <a:lnTo>
                      <a:pt x="84" y="0"/>
                    </a:lnTo>
                    <a:lnTo>
                      <a:pt x="79" y="0"/>
                    </a:lnTo>
                    <a:lnTo>
                      <a:pt x="76" y="1"/>
                    </a:lnTo>
                    <a:lnTo>
                      <a:pt x="73" y="0"/>
                    </a:lnTo>
                    <a:lnTo>
                      <a:pt x="68" y="0"/>
                    </a:lnTo>
                    <a:lnTo>
                      <a:pt x="65" y="0"/>
                    </a:lnTo>
                    <a:lnTo>
                      <a:pt x="62" y="1"/>
                    </a:lnTo>
                    <a:lnTo>
                      <a:pt x="57" y="1"/>
                    </a:lnTo>
                    <a:lnTo>
                      <a:pt x="54" y="1"/>
                    </a:lnTo>
                    <a:lnTo>
                      <a:pt x="41" y="3"/>
                    </a:lnTo>
                    <a:lnTo>
                      <a:pt x="28" y="5"/>
                    </a:lnTo>
                    <a:lnTo>
                      <a:pt x="24" y="5"/>
                    </a:lnTo>
                    <a:lnTo>
                      <a:pt x="20" y="5"/>
                    </a:lnTo>
                    <a:lnTo>
                      <a:pt x="17" y="5"/>
                    </a:lnTo>
                    <a:lnTo>
                      <a:pt x="14" y="6"/>
                    </a:lnTo>
                    <a:lnTo>
                      <a:pt x="11" y="6"/>
                    </a:lnTo>
                    <a:lnTo>
                      <a:pt x="6" y="9"/>
                    </a:lnTo>
                    <a:lnTo>
                      <a:pt x="3" y="13"/>
                    </a:lnTo>
                    <a:lnTo>
                      <a:pt x="0" y="14"/>
                    </a:lnTo>
                    <a:lnTo>
                      <a:pt x="0" y="19"/>
                    </a:lnTo>
                    <a:lnTo>
                      <a:pt x="5" y="19"/>
                    </a:lnTo>
                    <a:lnTo>
                      <a:pt x="8" y="19"/>
                    </a:lnTo>
                    <a:lnTo>
                      <a:pt x="9" y="22"/>
                    </a:lnTo>
                    <a:lnTo>
                      <a:pt x="27" y="22"/>
                    </a:lnTo>
                    <a:lnTo>
                      <a:pt x="43" y="20"/>
                    </a:lnTo>
                    <a:lnTo>
                      <a:pt x="47" y="20"/>
                    </a:lnTo>
                    <a:lnTo>
                      <a:pt x="51" y="19"/>
                    </a:lnTo>
                    <a:lnTo>
                      <a:pt x="55" y="19"/>
                    </a:lnTo>
                    <a:lnTo>
                      <a:pt x="59" y="19"/>
                    </a:lnTo>
                    <a:lnTo>
                      <a:pt x="65" y="17"/>
                    </a:lnTo>
                    <a:lnTo>
                      <a:pt x="68" y="17"/>
                    </a:lnTo>
                    <a:lnTo>
                      <a:pt x="73" y="14"/>
                    </a:lnTo>
                    <a:lnTo>
                      <a:pt x="78" y="11"/>
                    </a:lnTo>
                    <a:lnTo>
                      <a:pt x="74" y="9"/>
                    </a:lnTo>
                    <a:lnTo>
                      <a:pt x="70" y="9"/>
                    </a:lnTo>
                    <a:lnTo>
                      <a:pt x="66" y="9"/>
                    </a:lnTo>
                    <a:lnTo>
                      <a:pt x="70" y="6"/>
                    </a:lnTo>
                    <a:lnTo>
                      <a:pt x="74" y="6"/>
                    </a:lnTo>
                    <a:lnTo>
                      <a:pt x="78" y="6"/>
                    </a:lnTo>
                    <a:lnTo>
                      <a:pt x="81" y="6"/>
                    </a:lnTo>
                    <a:lnTo>
                      <a:pt x="85" y="6"/>
                    </a:lnTo>
                    <a:lnTo>
                      <a:pt x="89" y="5"/>
                    </a:lnTo>
                    <a:lnTo>
                      <a:pt x="90" y="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72" name="Freeform 675"/>
              <p:cNvSpPr>
                <a:spLocks/>
              </p:cNvSpPr>
              <p:nvPr/>
            </p:nvSpPr>
            <p:spPr bwMode="auto">
              <a:xfrm>
                <a:off x="1341" y="1101"/>
                <a:ext cx="54" cy="25"/>
              </a:xfrm>
              <a:custGeom>
                <a:avLst/>
                <a:gdLst>
                  <a:gd name="T0" fmla="*/ 73 w 108"/>
                  <a:gd name="T1" fmla="*/ 46 h 49"/>
                  <a:gd name="T2" fmla="*/ 87 w 108"/>
                  <a:gd name="T3" fmla="*/ 41 h 49"/>
                  <a:gd name="T4" fmla="*/ 94 w 108"/>
                  <a:gd name="T5" fmla="*/ 38 h 49"/>
                  <a:gd name="T6" fmla="*/ 102 w 108"/>
                  <a:gd name="T7" fmla="*/ 38 h 49"/>
                  <a:gd name="T8" fmla="*/ 108 w 108"/>
                  <a:gd name="T9" fmla="*/ 35 h 49"/>
                  <a:gd name="T10" fmla="*/ 102 w 108"/>
                  <a:gd name="T11" fmla="*/ 35 h 49"/>
                  <a:gd name="T12" fmla="*/ 94 w 108"/>
                  <a:gd name="T13" fmla="*/ 35 h 49"/>
                  <a:gd name="T14" fmla="*/ 97 w 108"/>
                  <a:gd name="T15" fmla="*/ 27 h 49"/>
                  <a:gd name="T16" fmla="*/ 95 w 108"/>
                  <a:gd name="T17" fmla="*/ 23 h 49"/>
                  <a:gd name="T18" fmla="*/ 94 w 108"/>
                  <a:gd name="T19" fmla="*/ 23 h 49"/>
                  <a:gd name="T20" fmla="*/ 97 w 108"/>
                  <a:gd name="T21" fmla="*/ 17 h 49"/>
                  <a:gd name="T22" fmla="*/ 89 w 108"/>
                  <a:gd name="T23" fmla="*/ 14 h 49"/>
                  <a:gd name="T24" fmla="*/ 84 w 108"/>
                  <a:gd name="T25" fmla="*/ 9 h 49"/>
                  <a:gd name="T26" fmla="*/ 78 w 108"/>
                  <a:gd name="T27" fmla="*/ 8 h 49"/>
                  <a:gd name="T28" fmla="*/ 76 w 108"/>
                  <a:gd name="T29" fmla="*/ 3 h 49"/>
                  <a:gd name="T30" fmla="*/ 68 w 108"/>
                  <a:gd name="T31" fmla="*/ 0 h 49"/>
                  <a:gd name="T32" fmla="*/ 62 w 108"/>
                  <a:gd name="T33" fmla="*/ 1 h 49"/>
                  <a:gd name="T34" fmla="*/ 54 w 108"/>
                  <a:gd name="T35" fmla="*/ 6 h 49"/>
                  <a:gd name="T36" fmla="*/ 52 w 108"/>
                  <a:gd name="T37" fmla="*/ 12 h 49"/>
                  <a:gd name="T38" fmla="*/ 46 w 108"/>
                  <a:gd name="T39" fmla="*/ 9 h 49"/>
                  <a:gd name="T40" fmla="*/ 40 w 108"/>
                  <a:gd name="T41" fmla="*/ 14 h 49"/>
                  <a:gd name="T42" fmla="*/ 38 w 108"/>
                  <a:gd name="T43" fmla="*/ 19 h 49"/>
                  <a:gd name="T44" fmla="*/ 30 w 108"/>
                  <a:gd name="T45" fmla="*/ 20 h 49"/>
                  <a:gd name="T46" fmla="*/ 24 w 108"/>
                  <a:gd name="T47" fmla="*/ 23 h 49"/>
                  <a:gd name="T48" fmla="*/ 14 w 108"/>
                  <a:gd name="T49" fmla="*/ 25 h 49"/>
                  <a:gd name="T50" fmla="*/ 3 w 108"/>
                  <a:gd name="T51" fmla="*/ 27 h 49"/>
                  <a:gd name="T52" fmla="*/ 0 w 108"/>
                  <a:gd name="T53" fmla="*/ 30 h 49"/>
                  <a:gd name="T54" fmla="*/ 6 w 108"/>
                  <a:gd name="T55" fmla="*/ 35 h 49"/>
                  <a:gd name="T56" fmla="*/ 13 w 108"/>
                  <a:gd name="T57" fmla="*/ 31 h 49"/>
                  <a:gd name="T58" fmla="*/ 13 w 108"/>
                  <a:gd name="T59" fmla="*/ 35 h 49"/>
                  <a:gd name="T60" fmla="*/ 21 w 108"/>
                  <a:gd name="T61" fmla="*/ 38 h 49"/>
                  <a:gd name="T62" fmla="*/ 27 w 108"/>
                  <a:gd name="T63" fmla="*/ 35 h 49"/>
                  <a:gd name="T64" fmla="*/ 29 w 108"/>
                  <a:gd name="T65" fmla="*/ 41 h 49"/>
                  <a:gd name="T66" fmla="*/ 35 w 108"/>
                  <a:gd name="T67" fmla="*/ 41 h 49"/>
                  <a:gd name="T68" fmla="*/ 41 w 108"/>
                  <a:gd name="T69" fmla="*/ 46 h 49"/>
                  <a:gd name="T70" fmla="*/ 49 w 108"/>
                  <a:gd name="T71" fmla="*/ 46 h 49"/>
                  <a:gd name="T72" fmla="*/ 56 w 108"/>
                  <a:gd name="T73" fmla="*/ 47 h 49"/>
                  <a:gd name="T74" fmla="*/ 62 w 108"/>
                  <a:gd name="T75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08" h="49">
                    <a:moveTo>
                      <a:pt x="62" y="49"/>
                    </a:moveTo>
                    <a:lnTo>
                      <a:pt x="73" y="46"/>
                    </a:lnTo>
                    <a:lnTo>
                      <a:pt x="82" y="42"/>
                    </a:lnTo>
                    <a:lnTo>
                      <a:pt x="87" y="41"/>
                    </a:lnTo>
                    <a:lnTo>
                      <a:pt x="90" y="39"/>
                    </a:lnTo>
                    <a:lnTo>
                      <a:pt x="94" y="38"/>
                    </a:lnTo>
                    <a:lnTo>
                      <a:pt x="98" y="39"/>
                    </a:lnTo>
                    <a:lnTo>
                      <a:pt x="102" y="38"/>
                    </a:lnTo>
                    <a:lnTo>
                      <a:pt x="105" y="38"/>
                    </a:lnTo>
                    <a:lnTo>
                      <a:pt x="108" y="35"/>
                    </a:lnTo>
                    <a:lnTo>
                      <a:pt x="105" y="33"/>
                    </a:lnTo>
                    <a:lnTo>
                      <a:pt x="102" y="35"/>
                    </a:lnTo>
                    <a:lnTo>
                      <a:pt x="98" y="36"/>
                    </a:lnTo>
                    <a:lnTo>
                      <a:pt x="94" y="35"/>
                    </a:lnTo>
                    <a:lnTo>
                      <a:pt x="97" y="30"/>
                    </a:lnTo>
                    <a:lnTo>
                      <a:pt x="97" y="27"/>
                    </a:lnTo>
                    <a:lnTo>
                      <a:pt x="98" y="23"/>
                    </a:lnTo>
                    <a:lnTo>
                      <a:pt x="95" y="23"/>
                    </a:lnTo>
                    <a:lnTo>
                      <a:pt x="92" y="27"/>
                    </a:lnTo>
                    <a:lnTo>
                      <a:pt x="94" y="23"/>
                    </a:lnTo>
                    <a:lnTo>
                      <a:pt x="97" y="20"/>
                    </a:lnTo>
                    <a:lnTo>
                      <a:pt x="97" y="17"/>
                    </a:lnTo>
                    <a:lnTo>
                      <a:pt x="92" y="16"/>
                    </a:lnTo>
                    <a:lnTo>
                      <a:pt x="89" y="14"/>
                    </a:lnTo>
                    <a:lnTo>
                      <a:pt x="86" y="12"/>
                    </a:lnTo>
                    <a:lnTo>
                      <a:pt x="84" y="9"/>
                    </a:lnTo>
                    <a:lnTo>
                      <a:pt x="82" y="6"/>
                    </a:lnTo>
                    <a:lnTo>
                      <a:pt x="78" y="8"/>
                    </a:lnTo>
                    <a:lnTo>
                      <a:pt x="79" y="4"/>
                    </a:lnTo>
                    <a:lnTo>
                      <a:pt x="76" y="3"/>
                    </a:lnTo>
                    <a:lnTo>
                      <a:pt x="73" y="0"/>
                    </a:lnTo>
                    <a:lnTo>
                      <a:pt x="68" y="0"/>
                    </a:lnTo>
                    <a:lnTo>
                      <a:pt x="65" y="1"/>
                    </a:lnTo>
                    <a:lnTo>
                      <a:pt x="62" y="1"/>
                    </a:lnTo>
                    <a:lnTo>
                      <a:pt x="57" y="4"/>
                    </a:lnTo>
                    <a:lnTo>
                      <a:pt x="54" y="6"/>
                    </a:lnTo>
                    <a:lnTo>
                      <a:pt x="51" y="9"/>
                    </a:lnTo>
                    <a:lnTo>
                      <a:pt x="52" y="12"/>
                    </a:lnTo>
                    <a:lnTo>
                      <a:pt x="49" y="11"/>
                    </a:lnTo>
                    <a:lnTo>
                      <a:pt x="46" y="9"/>
                    </a:lnTo>
                    <a:lnTo>
                      <a:pt x="43" y="11"/>
                    </a:lnTo>
                    <a:lnTo>
                      <a:pt x="40" y="14"/>
                    </a:lnTo>
                    <a:lnTo>
                      <a:pt x="41" y="19"/>
                    </a:lnTo>
                    <a:lnTo>
                      <a:pt x="38" y="19"/>
                    </a:lnTo>
                    <a:lnTo>
                      <a:pt x="35" y="20"/>
                    </a:lnTo>
                    <a:lnTo>
                      <a:pt x="30" y="20"/>
                    </a:lnTo>
                    <a:lnTo>
                      <a:pt x="27" y="23"/>
                    </a:lnTo>
                    <a:lnTo>
                      <a:pt x="24" y="23"/>
                    </a:lnTo>
                    <a:lnTo>
                      <a:pt x="21" y="25"/>
                    </a:lnTo>
                    <a:lnTo>
                      <a:pt x="14" y="25"/>
                    </a:lnTo>
                    <a:lnTo>
                      <a:pt x="6" y="25"/>
                    </a:lnTo>
                    <a:lnTo>
                      <a:pt x="3" y="27"/>
                    </a:lnTo>
                    <a:lnTo>
                      <a:pt x="2" y="28"/>
                    </a:lnTo>
                    <a:lnTo>
                      <a:pt x="0" y="30"/>
                    </a:lnTo>
                    <a:lnTo>
                      <a:pt x="2" y="35"/>
                    </a:lnTo>
                    <a:lnTo>
                      <a:pt x="6" y="35"/>
                    </a:lnTo>
                    <a:lnTo>
                      <a:pt x="10" y="33"/>
                    </a:lnTo>
                    <a:lnTo>
                      <a:pt x="13" y="31"/>
                    </a:lnTo>
                    <a:lnTo>
                      <a:pt x="16" y="31"/>
                    </a:lnTo>
                    <a:lnTo>
                      <a:pt x="13" y="35"/>
                    </a:lnTo>
                    <a:lnTo>
                      <a:pt x="16" y="36"/>
                    </a:lnTo>
                    <a:lnTo>
                      <a:pt x="21" y="38"/>
                    </a:lnTo>
                    <a:lnTo>
                      <a:pt x="24" y="38"/>
                    </a:lnTo>
                    <a:lnTo>
                      <a:pt x="27" y="35"/>
                    </a:lnTo>
                    <a:lnTo>
                      <a:pt x="25" y="38"/>
                    </a:lnTo>
                    <a:lnTo>
                      <a:pt x="29" y="41"/>
                    </a:lnTo>
                    <a:lnTo>
                      <a:pt x="32" y="41"/>
                    </a:lnTo>
                    <a:lnTo>
                      <a:pt x="35" y="41"/>
                    </a:lnTo>
                    <a:lnTo>
                      <a:pt x="38" y="46"/>
                    </a:lnTo>
                    <a:lnTo>
                      <a:pt x="41" y="46"/>
                    </a:lnTo>
                    <a:lnTo>
                      <a:pt x="44" y="46"/>
                    </a:lnTo>
                    <a:lnTo>
                      <a:pt x="49" y="46"/>
                    </a:lnTo>
                    <a:lnTo>
                      <a:pt x="52" y="46"/>
                    </a:lnTo>
                    <a:lnTo>
                      <a:pt x="56" y="47"/>
                    </a:lnTo>
                    <a:lnTo>
                      <a:pt x="59" y="47"/>
                    </a:lnTo>
                    <a:lnTo>
                      <a:pt x="62" y="49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73" name="Freeform 676"/>
              <p:cNvSpPr>
                <a:spLocks/>
              </p:cNvSpPr>
              <p:nvPr/>
            </p:nvSpPr>
            <p:spPr bwMode="auto">
              <a:xfrm>
                <a:off x="1357" y="959"/>
                <a:ext cx="48" cy="8"/>
              </a:xfrm>
              <a:custGeom>
                <a:avLst/>
                <a:gdLst>
                  <a:gd name="T0" fmla="*/ 73 w 96"/>
                  <a:gd name="T1" fmla="*/ 12 h 14"/>
                  <a:gd name="T2" fmla="*/ 77 w 96"/>
                  <a:gd name="T3" fmla="*/ 12 h 14"/>
                  <a:gd name="T4" fmla="*/ 81 w 96"/>
                  <a:gd name="T5" fmla="*/ 12 h 14"/>
                  <a:gd name="T6" fmla="*/ 84 w 96"/>
                  <a:gd name="T7" fmla="*/ 12 h 14"/>
                  <a:gd name="T8" fmla="*/ 89 w 96"/>
                  <a:gd name="T9" fmla="*/ 11 h 14"/>
                  <a:gd name="T10" fmla="*/ 92 w 96"/>
                  <a:gd name="T11" fmla="*/ 9 h 14"/>
                  <a:gd name="T12" fmla="*/ 95 w 96"/>
                  <a:gd name="T13" fmla="*/ 8 h 14"/>
                  <a:gd name="T14" fmla="*/ 96 w 96"/>
                  <a:gd name="T15" fmla="*/ 5 h 14"/>
                  <a:gd name="T16" fmla="*/ 93 w 96"/>
                  <a:gd name="T17" fmla="*/ 5 h 14"/>
                  <a:gd name="T18" fmla="*/ 90 w 96"/>
                  <a:gd name="T19" fmla="*/ 1 h 14"/>
                  <a:gd name="T20" fmla="*/ 85 w 96"/>
                  <a:gd name="T21" fmla="*/ 0 h 14"/>
                  <a:gd name="T22" fmla="*/ 82 w 96"/>
                  <a:gd name="T23" fmla="*/ 0 h 14"/>
                  <a:gd name="T24" fmla="*/ 79 w 96"/>
                  <a:gd name="T25" fmla="*/ 0 h 14"/>
                  <a:gd name="T26" fmla="*/ 74 w 96"/>
                  <a:gd name="T27" fmla="*/ 0 h 14"/>
                  <a:gd name="T28" fmla="*/ 62 w 96"/>
                  <a:gd name="T29" fmla="*/ 1 h 14"/>
                  <a:gd name="T30" fmla="*/ 49 w 96"/>
                  <a:gd name="T31" fmla="*/ 5 h 14"/>
                  <a:gd name="T32" fmla="*/ 36 w 96"/>
                  <a:gd name="T33" fmla="*/ 5 h 14"/>
                  <a:gd name="T34" fmla="*/ 24 w 96"/>
                  <a:gd name="T35" fmla="*/ 6 h 14"/>
                  <a:gd name="T36" fmla="*/ 12 w 96"/>
                  <a:gd name="T37" fmla="*/ 8 h 14"/>
                  <a:gd name="T38" fmla="*/ 0 w 96"/>
                  <a:gd name="T39" fmla="*/ 11 h 14"/>
                  <a:gd name="T40" fmla="*/ 3 w 96"/>
                  <a:gd name="T41" fmla="*/ 12 h 14"/>
                  <a:gd name="T42" fmla="*/ 11 w 96"/>
                  <a:gd name="T43" fmla="*/ 11 h 14"/>
                  <a:gd name="T44" fmla="*/ 19 w 96"/>
                  <a:gd name="T45" fmla="*/ 11 h 14"/>
                  <a:gd name="T46" fmla="*/ 30 w 96"/>
                  <a:gd name="T47" fmla="*/ 12 h 14"/>
                  <a:gd name="T48" fmla="*/ 36 w 96"/>
                  <a:gd name="T49" fmla="*/ 14 h 14"/>
                  <a:gd name="T50" fmla="*/ 39 w 96"/>
                  <a:gd name="T51" fmla="*/ 12 h 14"/>
                  <a:gd name="T52" fmla="*/ 44 w 96"/>
                  <a:gd name="T53" fmla="*/ 12 h 14"/>
                  <a:gd name="T54" fmla="*/ 47 w 96"/>
                  <a:gd name="T55" fmla="*/ 11 h 14"/>
                  <a:gd name="T56" fmla="*/ 50 w 96"/>
                  <a:gd name="T57" fmla="*/ 11 h 14"/>
                  <a:gd name="T58" fmla="*/ 54 w 96"/>
                  <a:gd name="T59" fmla="*/ 12 h 14"/>
                  <a:gd name="T60" fmla="*/ 63 w 96"/>
                  <a:gd name="T61" fmla="*/ 12 h 14"/>
                  <a:gd name="T62" fmla="*/ 73 w 96"/>
                  <a:gd name="T63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96" h="14">
                    <a:moveTo>
                      <a:pt x="73" y="12"/>
                    </a:moveTo>
                    <a:lnTo>
                      <a:pt x="77" y="12"/>
                    </a:lnTo>
                    <a:lnTo>
                      <a:pt x="81" y="12"/>
                    </a:lnTo>
                    <a:lnTo>
                      <a:pt x="84" y="12"/>
                    </a:lnTo>
                    <a:lnTo>
                      <a:pt x="89" y="11"/>
                    </a:lnTo>
                    <a:lnTo>
                      <a:pt x="92" y="9"/>
                    </a:lnTo>
                    <a:lnTo>
                      <a:pt x="95" y="8"/>
                    </a:lnTo>
                    <a:lnTo>
                      <a:pt x="96" y="5"/>
                    </a:lnTo>
                    <a:lnTo>
                      <a:pt x="93" y="5"/>
                    </a:lnTo>
                    <a:lnTo>
                      <a:pt x="90" y="1"/>
                    </a:lnTo>
                    <a:lnTo>
                      <a:pt x="85" y="0"/>
                    </a:lnTo>
                    <a:lnTo>
                      <a:pt x="82" y="0"/>
                    </a:lnTo>
                    <a:lnTo>
                      <a:pt x="79" y="0"/>
                    </a:lnTo>
                    <a:lnTo>
                      <a:pt x="74" y="0"/>
                    </a:lnTo>
                    <a:lnTo>
                      <a:pt x="62" y="1"/>
                    </a:lnTo>
                    <a:lnTo>
                      <a:pt x="49" y="5"/>
                    </a:lnTo>
                    <a:lnTo>
                      <a:pt x="36" y="5"/>
                    </a:lnTo>
                    <a:lnTo>
                      <a:pt x="24" y="6"/>
                    </a:lnTo>
                    <a:lnTo>
                      <a:pt x="12" y="8"/>
                    </a:lnTo>
                    <a:lnTo>
                      <a:pt x="0" y="11"/>
                    </a:lnTo>
                    <a:lnTo>
                      <a:pt x="3" y="12"/>
                    </a:lnTo>
                    <a:lnTo>
                      <a:pt x="11" y="11"/>
                    </a:lnTo>
                    <a:lnTo>
                      <a:pt x="19" y="11"/>
                    </a:lnTo>
                    <a:lnTo>
                      <a:pt x="30" y="12"/>
                    </a:lnTo>
                    <a:lnTo>
                      <a:pt x="36" y="14"/>
                    </a:lnTo>
                    <a:lnTo>
                      <a:pt x="39" y="12"/>
                    </a:lnTo>
                    <a:lnTo>
                      <a:pt x="44" y="12"/>
                    </a:lnTo>
                    <a:lnTo>
                      <a:pt x="47" y="11"/>
                    </a:lnTo>
                    <a:lnTo>
                      <a:pt x="50" y="11"/>
                    </a:lnTo>
                    <a:lnTo>
                      <a:pt x="54" y="12"/>
                    </a:lnTo>
                    <a:lnTo>
                      <a:pt x="63" y="12"/>
                    </a:lnTo>
                    <a:lnTo>
                      <a:pt x="73" y="1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74" name="Freeform 677"/>
              <p:cNvSpPr>
                <a:spLocks/>
              </p:cNvSpPr>
              <p:nvPr/>
            </p:nvSpPr>
            <p:spPr bwMode="auto">
              <a:xfrm>
                <a:off x="1366" y="1033"/>
                <a:ext cx="89" cy="45"/>
              </a:xfrm>
              <a:custGeom>
                <a:avLst/>
                <a:gdLst>
                  <a:gd name="T0" fmla="*/ 14 w 179"/>
                  <a:gd name="T1" fmla="*/ 56 h 89"/>
                  <a:gd name="T2" fmla="*/ 26 w 179"/>
                  <a:gd name="T3" fmla="*/ 56 h 89"/>
                  <a:gd name="T4" fmla="*/ 32 w 179"/>
                  <a:gd name="T5" fmla="*/ 59 h 89"/>
                  <a:gd name="T6" fmla="*/ 37 w 179"/>
                  <a:gd name="T7" fmla="*/ 68 h 89"/>
                  <a:gd name="T8" fmla="*/ 41 w 179"/>
                  <a:gd name="T9" fmla="*/ 76 h 89"/>
                  <a:gd name="T10" fmla="*/ 38 w 179"/>
                  <a:gd name="T11" fmla="*/ 86 h 89"/>
                  <a:gd name="T12" fmla="*/ 48 w 179"/>
                  <a:gd name="T13" fmla="*/ 89 h 89"/>
                  <a:gd name="T14" fmla="*/ 72 w 179"/>
                  <a:gd name="T15" fmla="*/ 78 h 89"/>
                  <a:gd name="T16" fmla="*/ 73 w 179"/>
                  <a:gd name="T17" fmla="*/ 72 h 89"/>
                  <a:gd name="T18" fmla="*/ 75 w 179"/>
                  <a:gd name="T19" fmla="*/ 73 h 89"/>
                  <a:gd name="T20" fmla="*/ 86 w 179"/>
                  <a:gd name="T21" fmla="*/ 76 h 89"/>
                  <a:gd name="T22" fmla="*/ 97 w 179"/>
                  <a:gd name="T23" fmla="*/ 76 h 89"/>
                  <a:gd name="T24" fmla="*/ 108 w 179"/>
                  <a:gd name="T25" fmla="*/ 73 h 89"/>
                  <a:gd name="T26" fmla="*/ 119 w 179"/>
                  <a:gd name="T27" fmla="*/ 70 h 89"/>
                  <a:gd name="T28" fmla="*/ 122 w 179"/>
                  <a:gd name="T29" fmla="*/ 68 h 89"/>
                  <a:gd name="T30" fmla="*/ 125 w 179"/>
                  <a:gd name="T31" fmla="*/ 64 h 89"/>
                  <a:gd name="T32" fmla="*/ 137 w 179"/>
                  <a:gd name="T33" fmla="*/ 59 h 89"/>
                  <a:gd name="T34" fmla="*/ 143 w 179"/>
                  <a:gd name="T35" fmla="*/ 53 h 89"/>
                  <a:gd name="T36" fmla="*/ 154 w 179"/>
                  <a:gd name="T37" fmla="*/ 43 h 89"/>
                  <a:gd name="T38" fmla="*/ 137 w 179"/>
                  <a:gd name="T39" fmla="*/ 45 h 89"/>
                  <a:gd name="T40" fmla="*/ 138 w 179"/>
                  <a:gd name="T41" fmla="*/ 37 h 89"/>
                  <a:gd name="T42" fmla="*/ 137 w 179"/>
                  <a:gd name="T43" fmla="*/ 30 h 89"/>
                  <a:gd name="T44" fmla="*/ 114 w 179"/>
                  <a:gd name="T45" fmla="*/ 35 h 89"/>
                  <a:gd name="T46" fmla="*/ 124 w 179"/>
                  <a:gd name="T47" fmla="*/ 30 h 89"/>
                  <a:gd name="T48" fmla="*/ 135 w 179"/>
                  <a:gd name="T49" fmla="*/ 26 h 89"/>
                  <a:gd name="T50" fmla="*/ 164 w 179"/>
                  <a:gd name="T51" fmla="*/ 19 h 89"/>
                  <a:gd name="T52" fmla="*/ 154 w 179"/>
                  <a:gd name="T53" fmla="*/ 16 h 89"/>
                  <a:gd name="T54" fmla="*/ 165 w 179"/>
                  <a:gd name="T55" fmla="*/ 13 h 89"/>
                  <a:gd name="T56" fmla="*/ 176 w 179"/>
                  <a:gd name="T57" fmla="*/ 11 h 89"/>
                  <a:gd name="T58" fmla="*/ 176 w 179"/>
                  <a:gd name="T59" fmla="*/ 3 h 89"/>
                  <a:gd name="T60" fmla="*/ 164 w 179"/>
                  <a:gd name="T61" fmla="*/ 3 h 89"/>
                  <a:gd name="T62" fmla="*/ 146 w 179"/>
                  <a:gd name="T63" fmla="*/ 7 h 89"/>
                  <a:gd name="T64" fmla="*/ 135 w 179"/>
                  <a:gd name="T65" fmla="*/ 7 h 89"/>
                  <a:gd name="T66" fmla="*/ 124 w 179"/>
                  <a:gd name="T67" fmla="*/ 10 h 89"/>
                  <a:gd name="T68" fmla="*/ 116 w 179"/>
                  <a:gd name="T69" fmla="*/ 0 h 89"/>
                  <a:gd name="T70" fmla="*/ 106 w 179"/>
                  <a:gd name="T71" fmla="*/ 2 h 89"/>
                  <a:gd name="T72" fmla="*/ 110 w 179"/>
                  <a:gd name="T73" fmla="*/ 3 h 89"/>
                  <a:gd name="T74" fmla="*/ 105 w 179"/>
                  <a:gd name="T75" fmla="*/ 7 h 89"/>
                  <a:gd name="T76" fmla="*/ 87 w 179"/>
                  <a:gd name="T77" fmla="*/ 5 h 89"/>
                  <a:gd name="T78" fmla="*/ 86 w 179"/>
                  <a:gd name="T79" fmla="*/ 13 h 89"/>
                  <a:gd name="T80" fmla="*/ 72 w 179"/>
                  <a:gd name="T81" fmla="*/ 11 h 89"/>
                  <a:gd name="T82" fmla="*/ 60 w 179"/>
                  <a:gd name="T83" fmla="*/ 15 h 89"/>
                  <a:gd name="T84" fmla="*/ 68 w 179"/>
                  <a:gd name="T85" fmla="*/ 22 h 89"/>
                  <a:gd name="T86" fmla="*/ 86 w 179"/>
                  <a:gd name="T87" fmla="*/ 22 h 89"/>
                  <a:gd name="T88" fmla="*/ 87 w 179"/>
                  <a:gd name="T89" fmla="*/ 26 h 89"/>
                  <a:gd name="T90" fmla="*/ 78 w 179"/>
                  <a:gd name="T91" fmla="*/ 22 h 89"/>
                  <a:gd name="T92" fmla="*/ 75 w 179"/>
                  <a:gd name="T93" fmla="*/ 27 h 89"/>
                  <a:gd name="T94" fmla="*/ 70 w 179"/>
                  <a:gd name="T95" fmla="*/ 35 h 89"/>
                  <a:gd name="T96" fmla="*/ 72 w 179"/>
                  <a:gd name="T97" fmla="*/ 30 h 89"/>
                  <a:gd name="T98" fmla="*/ 65 w 179"/>
                  <a:gd name="T99" fmla="*/ 37 h 89"/>
                  <a:gd name="T100" fmla="*/ 49 w 179"/>
                  <a:gd name="T101" fmla="*/ 40 h 89"/>
                  <a:gd name="T102" fmla="*/ 43 w 179"/>
                  <a:gd name="T103" fmla="*/ 41 h 89"/>
                  <a:gd name="T104" fmla="*/ 38 w 179"/>
                  <a:gd name="T105" fmla="*/ 40 h 89"/>
                  <a:gd name="T106" fmla="*/ 35 w 179"/>
                  <a:gd name="T107" fmla="*/ 32 h 89"/>
                  <a:gd name="T108" fmla="*/ 26 w 179"/>
                  <a:gd name="T109" fmla="*/ 29 h 89"/>
                  <a:gd name="T110" fmla="*/ 13 w 179"/>
                  <a:gd name="T111" fmla="*/ 32 h 89"/>
                  <a:gd name="T112" fmla="*/ 0 w 179"/>
                  <a:gd name="T113" fmla="*/ 41 h 89"/>
                  <a:gd name="T114" fmla="*/ 10 w 179"/>
                  <a:gd name="T115" fmla="*/ 48 h 89"/>
                  <a:gd name="T116" fmla="*/ 8 w 179"/>
                  <a:gd name="T117" fmla="*/ 53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9" h="89">
                    <a:moveTo>
                      <a:pt x="8" y="53"/>
                    </a:moveTo>
                    <a:lnTo>
                      <a:pt x="11" y="54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22" y="54"/>
                    </a:lnTo>
                    <a:lnTo>
                      <a:pt x="26" y="56"/>
                    </a:lnTo>
                    <a:lnTo>
                      <a:pt x="24" y="59"/>
                    </a:lnTo>
                    <a:lnTo>
                      <a:pt x="27" y="57"/>
                    </a:lnTo>
                    <a:lnTo>
                      <a:pt x="32" y="59"/>
                    </a:lnTo>
                    <a:lnTo>
                      <a:pt x="33" y="62"/>
                    </a:lnTo>
                    <a:lnTo>
                      <a:pt x="33" y="65"/>
                    </a:lnTo>
                    <a:lnTo>
                      <a:pt x="37" y="68"/>
                    </a:lnTo>
                    <a:lnTo>
                      <a:pt x="38" y="70"/>
                    </a:lnTo>
                    <a:lnTo>
                      <a:pt x="41" y="72"/>
                    </a:lnTo>
                    <a:lnTo>
                      <a:pt x="41" y="76"/>
                    </a:lnTo>
                    <a:lnTo>
                      <a:pt x="43" y="80"/>
                    </a:lnTo>
                    <a:lnTo>
                      <a:pt x="41" y="83"/>
                    </a:lnTo>
                    <a:lnTo>
                      <a:pt x="38" y="86"/>
                    </a:lnTo>
                    <a:lnTo>
                      <a:pt x="43" y="86"/>
                    </a:lnTo>
                    <a:lnTo>
                      <a:pt x="46" y="86"/>
                    </a:lnTo>
                    <a:lnTo>
                      <a:pt x="48" y="89"/>
                    </a:lnTo>
                    <a:lnTo>
                      <a:pt x="62" y="86"/>
                    </a:lnTo>
                    <a:lnTo>
                      <a:pt x="75" y="81"/>
                    </a:lnTo>
                    <a:lnTo>
                      <a:pt x="72" y="78"/>
                    </a:lnTo>
                    <a:lnTo>
                      <a:pt x="72" y="75"/>
                    </a:lnTo>
                    <a:lnTo>
                      <a:pt x="72" y="73"/>
                    </a:lnTo>
                    <a:lnTo>
                      <a:pt x="73" y="72"/>
                    </a:lnTo>
                    <a:lnTo>
                      <a:pt x="78" y="70"/>
                    </a:lnTo>
                    <a:lnTo>
                      <a:pt x="83" y="68"/>
                    </a:lnTo>
                    <a:lnTo>
                      <a:pt x="75" y="73"/>
                    </a:lnTo>
                    <a:lnTo>
                      <a:pt x="79" y="76"/>
                    </a:lnTo>
                    <a:lnTo>
                      <a:pt x="83" y="76"/>
                    </a:lnTo>
                    <a:lnTo>
                      <a:pt x="86" y="76"/>
                    </a:lnTo>
                    <a:lnTo>
                      <a:pt x="89" y="78"/>
                    </a:lnTo>
                    <a:lnTo>
                      <a:pt x="94" y="78"/>
                    </a:lnTo>
                    <a:lnTo>
                      <a:pt x="97" y="76"/>
                    </a:lnTo>
                    <a:lnTo>
                      <a:pt x="100" y="76"/>
                    </a:lnTo>
                    <a:lnTo>
                      <a:pt x="105" y="75"/>
                    </a:lnTo>
                    <a:lnTo>
                      <a:pt x="108" y="73"/>
                    </a:lnTo>
                    <a:lnTo>
                      <a:pt x="111" y="72"/>
                    </a:lnTo>
                    <a:lnTo>
                      <a:pt x="116" y="72"/>
                    </a:lnTo>
                    <a:lnTo>
                      <a:pt x="119" y="70"/>
                    </a:lnTo>
                    <a:lnTo>
                      <a:pt x="122" y="72"/>
                    </a:lnTo>
                    <a:lnTo>
                      <a:pt x="125" y="68"/>
                    </a:lnTo>
                    <a:lnTo>
                      <a:pt x="122" y="68"/>
                    </a:lnTo>
                    <a:lnTo>
                      <a:pt x="125" y="67"/>
                    </a:lnTo>
                    <a:lnTo>
                      <a:pt x="130" y="67"/>
                    </a:lnTo>
                    <a:lnTo>
                      <a:pt x="125" y="64"/>
                    </a:lnTo>
                    <a:lnTo>
                      <a:pt x="130" y="62"/>
                    </a:lnTo>
                    <a:lnTo>
                      <a:pt x="133" y="62"/>
                    </a:lnTo>
                    <a:lnTo>
                      <a:pt x="137" y="59"/>
                    </a:lnTo>
                    <a:lnTo>
                      <a:pt x="137" y="56"/>
                    </a:lnTo>
                    <a:lnTo>
                      <a:pt x="133" y="54"/>
                    </a:lnTo>
                    <a:lnTo>
                      <a:pt x="143" y="53"/>
                    </a:lnTo>
                    <a:lnTo>
                      <a:pt x="151" y="49"/>
                    </a:lnTo>
                    <a:lnTo>
                      <a:pt x="152" y="46"/>
                    </a:lnTo>
                    <a:lnTo>
                      <a:pt x="154" y="43"/>
                    </a:lnTo>
                    <a:lnTo>
                      <a:pt x="156" y="40"/>
                    </a:lnTo>
                    <a:lnTo>
                      <a:pt x="148" y="41"/>
                    </a:lnTo>
                    <a:lnTo>
                      <a:pt x="137" y="45"/>
                    </a:lnTo>
                    <a:lnTo>
                      <a:pt x="141" y="41"/>
                    </a:lnTo>
                    <a:lnTo>
                      <a:pt x="143" y="38"/>
                    </a:lnTo>
                    <a:lnTo>
                      <a:pt x="138" y="37"/>
                    </a:lnTo>
                    <a:lnTo>
                      <a:pt x="143" y="35"/>
                    </a:lnTo>
                    <a:lnTo>
                      <a:pt x="144" y="32"/>
                    </a:lnTo>
                    <a:lnTo>
                      <a:pt x="137" y="30"/>
                    </a:lnTo>
                    <a:lnTo>
                      <a:pt x="129" y="30"/>
                    </a:lnTo>
                    <a:lnTo>
                      <a:pt x="122" y="32"/>
                    </a:lnTo>
                    <a:lnTo>
                      <a:pt x="114" y="35"/>
                    </a:lnTo>
                    <a:lnTo>
                      <a:pt x="116" y="32"/>
                    </a:lnTo>
                    <a:lnTo>
                      <a:pt x="121" y="30"/>
                    </a:lnTo>
                    <a:lnTo>
                      <a:pt x="124" y="30"/>
                    </a:lnTo>
                    <a:lnTo>
                      <a:pt x="127" y="29"/>
                    </a:lnTo>
                    <a:lnTo>
                      <a:pt x="130" y="27"/>
                    </a:lnTo>
                    <a:lnTo>
                      <a:pt x="135" y="26"/>
                    </a:lnTo>
                    <a:lnTo>
                      <a:pt x="138" y="26"/>
                    </a:lnTo>
                    <a:lnTo>
                      <a:pt x="151" y="21"/>
                    </a:lnTo>
                    <a:lnTo>
                      <a:pt x="164" y="19"/>
                    </a:lnTo>
                    <a:lnTo>
                      <a:pt x="160" y="16"/>
                    </a:lnTo>
                    <a:lnTo>
                      <a:pt x="157" y="16"/>
                    </a:lnTo>
                    <a:lnTo>
                      <a:pt x="154" y="16"/>
                    </a:lnTo>
                    <a:lnTo>
                      <a:pt x="157" y="15"/>
                    </a:lnTo>
                    <a:lnTo>
                      <a:pt x="160" y="15"/>
                    </a:lnTo>
                    <a:lnTo>
                      <a:pt x="165" y="13"/>
                    </a:lnTo>
                    <a:lnTo>
                      <a:pt x="168" y="13"/>
                    </a:lnTo>
                    <a:lnTo>
                      <a:pt x="173" y="11"/>
                    </a:lnTo>
                    <a:lnTo>
                      <a:pt x="176" y="11"/>
                    </a:lnTo>
                    <a:lnTo>
                      <a:pt x="179" y="10"/>
                    </a:lnTo>
                    <a:lnTo>
                      <a:pt x="179" y="7"/>
                    </a:lnTo>
                    <a:lnTo>
                      <a:pt x="176" y="3"/>
                    </a:lnTo>
                    <a:lnTo>
                      <a:pt x="171" y="3"/>
                    </a:lnTo>
                    <a:lnTo>
                      <a:pt x="168" y="3"/>
                    </a:lnTo>
                    <a:lnTo>
                      <a:pt x="164" y="3"/>
                    </a:lnTo>
                    <a:lnTo>
                      <a:pt x="168" y="2"/>
                    </a:lnTo>
                    <a:lnTo>
                      <a:pt x="157" y="5"/>
                    </a:lnTo>
                    <a:lnTo>
                      <a:pt x="146" y="7"/>
                    </a:lnTo>
                    <a:lnTo>
                      <a:pt x="143" y="7"/>
                    </a:lnTo>
                    <a:lnTo>
                      <a:pt x="138" y="7"/>
                    </a:lnTo>
                    <a:lnTo>
                      <a:pt x="135" y="7"/>
                    </a:lnTo>
                    <a:lnTo>
                      <a:pt x="130" y="7"/>
                    </a:lnTo>
                    <a:lnTo>
                      <a:pt x="127" y="8"/>
                    </a:lnTo>
                    <a:lnTo>
                      <a:pt x="124" y="10"/>
                    </a:lnTo>
                    <a:lnTo>
                      <a:pt x="122" y="7"/>
                    </a:lnTo>
                    <a:lnTo>
                      <a:pt x="119" y="5"/>
                    </a:lnTo>
                    <a:lnTo>
                      <a:pt x="116" y="0"/>
                    </a:lnTo>
                    <a:lnTo>
                      <a:pt x="113" y="2"/>
                    </a:lnTo>
                    <a:lnTo>
                      <a:pt x="110" y="2"/>
                    </a:lnTo>
                    <a:lnTo>
                      <a:pt x="106" y="2"/>
                    </a:lnTo>
                    <a:lnTo>
                      <a:pt x="103" y="3"/>
                    </a:lnTo>
                    <a:lnTo>
                      <a:pt x="106" y="5"/>
                    </a:lnTo>
                    <a:lnTo>
                      <a:pt x="110" y="3"/>
                    </a:lnTo>
                    <a:lnTo>
                      <a:pt x="113" y="3"/>
                    </a:lnTo>
                    <a:lnTo>
                      <a:pt x="110" y="5"/>
                    </a:lnTo>
                    <a:lnTo>
                      <a:pt x="105" y="7"/>
                    </a:lnTo>
                    <a:lnTo>
                      <a:pt x="102" y="5"/>
                    </a:lnTo>
                    <a:lnTo>
                      <a:pt x="97" y="3"/>
                    </a:lnTo>
                    <a:lnTo>
                      <a:pt x="87" y="5"/>
                    </a:lnTo>
                    <a:lnTo>
                      <a:pt x="78" y="8"/>
                    </a:lnTo>
                    <a:lnTo>
                      <a:pt x="81" y="10"/>
                    </a:lnTo>
                    <a:lnTo>
                      <a:pt x="86" y="13"/>
                    </a:lnTo>
                    <a:lnTo>
                      <a:pt x="83" y="15"/>
                    </a:lnTo>
                    <a:lnTo>
                      <a:pt x="75" y="13"/>
                    </a:lnTo>
                    <a:lnTo>
                      <a:pt x="72" y="11"/>
                    </a:lnTo>
                    <a:lnTo>
                      <a:pt x="67" y="13"/>
                    </a:lnTo>
                    <a:lnTo>
                      <a:pt x="64" y="13"/>
                    </a:lnTo>
                    <a:lnTo>
                      <a:pt x="60" y="15"/>
                    </a:lnTo>
                    <a:lnTo>
                      <a:pt x="57" y="16"/>
                    </a:lnTo>
                    <a:lnTo>
                      <a:pt x="64" y="21"/>
                    </a:lnTo>
                    <a:lnTo>
                      <a:pt x="68" y="22"/>
                    </a:lnTo>
                    <a:lnTo>
                      <a:pt x="75" y="22"/>
                    </a:lnTo>
                    <a:lnTo>
                      <a:pt x="83" y="19"/>
                    </a:lnTo>
                    <a:lnTo>
                      <a:pt x="86" y="22"/>
                    </a:lnTo>
                    <a:lnTo>
                      <a:pt x="87" y="24"/>
                    </a:lnTo>
                    <a:lnTo>
                      <a:pt x="91" y="24"/>
                    </a:lnTo>
                    <a:lnTo>
                      <a:pt x="87" y="26"/>
                    </a:lnTo>
                    <a:lnTo>
                      <a:pt x="86" y="26"/>
                    </a:lnTo>
                    <a:lnTo>
                      <a:pt x="81" y="22"/>
                    </a:lnTo>
                    <a:lnTo>
                      <a:pt x="78" y="22"/>
                    </a:lnTo>
                    <a:lnTo>
                      <a:pt x="75" y="24"/>
                    </a:lnTo>
                    <a:lnTo>
                      <a:pt x="72" y="26"/>
                    </a:lnTo>
                    <a:lnTo>
                      <a:pt x="75" y="27"/>
                    </a:lnTo>
                    <a:lnTo>
                      <a:pt x="76" y="30"/>
                    </a:lnTo>
                    <a:lnTo>
                      <a:pt x="73" y="35"/>
                    </a:lnTo>
                    <a:lnTo>
                      <a:pt x="70" y="35"/>
                    </a:lnTo>
                    <a:lnTo>
                      <a:pt x="67" y="35"/>
                    </a:lnTo>
                    <a:lnTo>
                      <a:pt x="70" y="34"/>
                    </a:lnTo>
                    <a:lnTo>
                      <a:pt x="72" y="30"/>
                    </a:lnTo>
                    <a:lnTo>
                      <a:pt x="68" y="30"/>
                    </a:lnTo>
                    <a:lnTo>
                      <a:pt x="65" y="34"/>
                    </a:lnTo>
                    <a:lnTo>
                      <a:pt x="65" y="37"/>
                    </a:lnTo>
                    <a:lnTo>
                      <a:pt x="60" y="40"/>
                    </a:lnTo>
                    <a:lnTo>
                      <a:pt x="57" y="40"/>
                    </a:lnTo>
                    <a:lnTo>
                      <a:pt x="49" y="40"/>
                    </a:lnTo>
                    <a:lnTo>
                      <a:pt x="49" y="40"/>
                    </a:lnTo>
                    <a:lnTo>
                      <a:pt x="46" y="41"/>
                    </a:lnTo>
                    <a:lnTo>
                      <a:pt x="43" y="41"/>
                    </a:lnTo>
                    <a:lnTo>
                      <a:pt x="38" y="41"/>
                    </a:lnTo>
                    <a:lnTo>
                      <a:pt x="35" y="41"/>
                    </a:lnTo>
                    <a:lnTo>
                      <a:pt x="38" y="40"/>
                    </a:lnTo>
                    <a:lnTo>
                      <a:pt x="35" y="38"/>
                    </a:lnTo>
                    <a:lnTo>
                      <a:pt x="35" y="35"/>
                    </a:lnTo>
                    <a:lnTo>
                      <a:pt x="35" y="32"/>
                    </a:lnTo>
                    <a:lnTo>
                      <a:pt x="33" y="30"/>
                    </a:lnTo>
                    <a:lnTo>
                      <a:pt x="32" y="29"/>
                    </a:lnTo>
                    <a:lnTo>
                      <a:pt x="26" y="29"/>
                    </a:lnTo>
                    <a:lnTo>
                      <a:pt x="19" y="30"/>
                    </a:lnTo>
                    <a:lnTo>
                      <a:pt x="16" y="30"/>
                    </a:lnTo>
                    <a:lnTo>
                      <a:pt x="13" y="32"/>
                    </a:lnTo>
                    <a:lnTo>
                      <a:pt x="10" y="35"/>
                    </a:lnTo>
                    <a:lnTo>
                      <a:pt x="2" y="38"/>
                    </a:lnTo>
                    <a:lnTo>
                      <a:pt x="0" y="41"/>
                    </a:lnTo>
                    <a:lnTo>
                      <a:pt x="3" y="46"/>
                    </a:lnTo>
                    <a:lnTo>
                      <a:pt x="7" y="48"/>
                    </a:lnTo>
                    <a:lnTo>
                      <a:pt x="10" y="48"/>
                    </a:lnTo>
                    <a:lnTo>
                      <a:pt x="11" y="53"/>
                    </a:lnTo>
                    <a:lnTo>
                      <a:pt x="8" y="53"/>
                    </a:lnTo>
                    <a:lnTo>
                      <a:pt x="8" y="5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75" name="Freeform 678"/>
              <p:cNvSpPr>
                <a:spLocks/>
              </p:cNvSpPr>
              <p:nvPr/>
            </p:nvSpPr>
            <p:spPr bwMode="auto">
              <a:xfrm>
                <a:off x="1386" y="1009"/>
                <a:ext cx="16" cy="7"/>
              </a:xfrm>
              <a:custGeom>
                <a:avLst/>
                <a:gdLst>
                  <a:gd name="T0" fmla="*/ 21 w 32"/>
                  <a:gd name="T1" fmla="*/ 12 h 14"/>
                  <a:gd name="T2" fmla="*/ 26 w 32"/>
                  <a:gd name="T3" fmla="*/ 11 h 14"/>
                  <a:gd name="T4" fmla="*/ 29 w 32"/>
                  <a:gd name="T5" fmla="*/ 9 h 14"/>
                  <a:gd name="T6" fmla="*/ 31 w 32"/>
                  <a:gd name="T7" fmla="*/ 6 h 14"/>
                  <a:gd name="T8" fmla="*/ 32 w 32"/>
                  <a:gd name="T9" fmla="*/ 3 h 14"/>
                  <a:gd name="T10" fmla="*/ 29 w 32"/>
                  <a:gd name="T11" fmla="*/ 0 h 14"/>
                  <a:gd name="T12" fmla="*/ 29 w 32"/>
                  <a:gd name="T13" fmla="*/ 0 h 14"/>
                  <a:gd name="T14" fmla="*/ 26 w 32"/>
                  <a:gd name="T15" fmla="*/ 0 h 14"/>
                  <a:gd name="T16" fmla="*/ 21 w 32"/>
                  <a:gd name="T17" fmla="*/ 0 h 14"/>
                  <a:gd name="T18" fmla="*/ 18 w 32"/>
                  <a:gd name="T19" fmla="*/ 1 h 14"/>
                  <a:gd name="T20" fmla="*/ 8 w 32"/>
                  <a:gd name="T21" fmla="*/ 4 h 14"/>
                  <a:gd name="T22" fmla="*/ 0 w 32"/>
                  <a:gd name="T23" fmla="*/ 9 h 14"/>
                  <a:gd name="T24" fmla="*/ 2 w 32"/>
                  <a:gd name="T25" fmla="*/ 12 h 14"/>
                  <a:gd name="T26" fmla="*/ 7 w 32"/>
                  <a:gd name="T27" fmla="*/ 12 h 14"/>
                  <a:gd name="T28" fmla="*/ 10 w 32"/>
                  <a:gd name="T29" fmla="*/ 14 h 14"/>
                  <a:gd name="T30" fmla="*/ 13 w 32"/>
                  <a:gd name="T31" fmla="*/ 12 h 14"/>
                  <a:gd name="T32" fmla="*/ 16 w 32"/>
                  <a:gd name="T33" fmla="*/ 12 h 14"/>
                  <a:gd name="T34" fmla="*/ 21 w 32"/>
                  <a:gd name="T35" fmla="*/ 12 h 14"/>
                  <a:gd name="T36" fmla="*/ 21 w 32"/>
                  <a:gd name="T37" fmla="*/ 1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2" h="14">
                    <a:moveTo>
                      <a:pt x="21" y="12"/>
                    </a:moveTo>
                    <a:lnTo>
                      <a:pt x="26" y="11"/>
                    </a:lnTo>
                    <a:lnTo>
                      <a:pt x="29" y="9"/>
                    </a:lnTo>
                    <a:lnTo>
                      <a:pt x="31" y="6"/>
                    </a:lnTo>
                    <a:lnTo>
                      <a:pt x="32" y="3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26" y="0"/>
                    </a:lnTo>
                    <a:lnTo>
                      <a:pt x="21" y="0"/>
                    </a:lnTo>
                    <a:lnTo>
                      <a:pt x="18" y="1"/>
                    </a:lnTo>
                    <a:lnTo>
                      <a:pt x="8" y="4"/>
                    </a:lnTo>
                    <a:lnTo>
                      <a:pt x="0" y="9"/>
                    </a:lnTo>
                    <a:lnTo>
                      <a:pt x="2" y="12"/>
                    </a:lnTo>
                    <a:lnTo>
                      <a:pt x="7" y="12"/>
                    </a:lnTo>
                    <a:lnTo>
                      <a:pt x="10" y="14"/>
                    </a:lnTo>
                    <a:lnTo>
                      <a:pt x="13" y="12"/>
                    </a:lnTo>
                    <a:lnTo>
                      <a:pt x="16" y="12"/>
                    </a:lnTo>
                    <a:lnTo>
                      <a:pt x="21" y="12"/>
                    </a:lnTo>
                    <a:lnTo>
                      <a:pt x="21" y="1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76" name="Freeform 679"/>
              <p:cNvSpPr>
                <a:spLocks/>
              </p:cNvSpPr>
              <p:nvPr/>
            </p:nvSpPr>
            <p:spPr bwMode="auto">
              <a:xfrm>
                <a:off x="1387" y="1106"/>
                <a:ext cx="7" cy="4"/>
              </a:xfrm>
              <a:custGeom>
                <a:avLst/>
                <a:gdLst>
                  <a:gd name="T0" fmla="*/ 14 w 14"/>
                  <a:gd name="T1" fmla="*/ 2 h 8"/>
                  <a:gd name="T2" fmla="*/ 14 w 14"/>
                  <a:gd name="T3" fmla="*/ 2 h 8"/>
                  <a:gd name="T4" fmla="*/ 11 w 14"/>
                  <a:gd name="T5" fmla="*/ 2 h 8"/>
                  <a:gd name="T6" fmla="*/ 8 w 14"/>
                  <a:gd name="T7" fmla="*/ 2 h 8"/>
                  <a:gd name="T8" fmla="*/ 5 w 14"/>
                  <a:gd name="T9" fmla="*/ 2 h 8"/>
                  <a:gd name="T10" fmla="*/ 0 w 14"/>
                  <a:gd name="T11" fmla="*/ 0 h 8"/>
                  <a:gd name="T12" fmla="*/ 3 w 14"/>
                  <a:gd name="T13" fmla="*/ 7 h 8"/>
                  <a:gd name="T14" fmla="*/ 8 w 14"/>
                  <a:gd name="T15" fmla="*/ 8 h 8"/>
                  <a:gd name="T16" fmla="*/ 11 w 14"/>
                  <a:gd name="T17" fmla="*/ 7 h 8"/>
                  <a:gd name="T18" fmla="*/ 14 w 14"/>
                  <a:gd name="T19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8">
                    <a:moveTo>
                      <a:pt x="14" y="2"/>
                    </a:moveTo>
                    <a:lnTo>
                      <a:pt x="14" y="2"/>
                    </a:lnTo>
                    <a:lnTo>
                      <a:pt x="11" y="2"/>
                    </a:lnTo>
                    <a:lnTo>
                      <a:pt x="8" y="2"/>
                    </a:lnTo>
                    <a:lnTo>
                      <a:pt x="5" y="2"/>
                    </a:lnTo>
                    <a:lnTo>
                      <a:pt x="0" y="0"/>
                    </a:lnTo>
                    <a:lnTo>
                      <a:pt x="3" y="7"/>
                    </a:lnTo>
                    <a:lnTo>
                      <a:pt x="8" y="8"/>
                    </a:lnTo>
                    <a:lnTo>
                      <a:pt x="11" y="7"/>
                    </a:lnTo>
                    <a:lnTo>
                      <a:pt x="14" y="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77" name="Freeform 680"/>
              <p:cNvSpPr>
                <a:spLocks/>
              </p:cNvSpPr>
              <p:nvPr/>
            </p:nvSpPr>
            <p:spPr bwMode="auto">
              <a:xfrm>
                <a:off x="1395" y="1105"/>
                <a:ext cx="9" cy="6"/>
              </a:xfrm>
              <a:custGeom>
                <a:avLst/>
                <a:gdLst>
                  <a:gd name="T0" fmla="*/ 17 w 17"/>
                  <a:gd name="T1" fmla="*/ 3 h 11"/>
                  <a:gd name="T2" fmla="*/ 13 w 17"/>
                  <a:gd name="T3" fmla="*/ 0 h 11"/>
                  <a:gd name="T4" fmla="*/ 8 w 17"/>
                  <a:gd name="T5" fmla="*/ 1 h 11"/>
                  <a:gd name="T6" fmla="*/ 3 w 17"/>
                  <a:gd name="T7" fmla="*/ 3 h 11"/>
                  <a:gd name="T8" fmla="*/ 0 w 17"/>
                  <a:gd name="T9" fmla="*/ 6 h 11"/>
                  <a:gd name="T10" fmla="*/ 0 w 17"/>
                  <a:gd name="T11" fmla="*/ 9 h 11"/>
                  <a:gd name="T12" fmla="*/ 3 w 17"/>
                  <a:gd name="T13" fmla="*/ 8 h 11"/>
                  <a:gd name="T14" fmla="*/ 6 w 17"/>
                  <a:gd name="T15" fmla="*/ 3 h 11"/>
                  <a:gd name="T16" fmla="*/ 11 w 17"/>
                  <a:gd name="T17" fmla="*/ 3 h 11"/>
                  <a:gd name="T18" fmla="*/ 8 w 17"/>
                  <a:gd name="T19" fmla="*/ 8 h 11"/>
                  <a:gd name="T20" fmla="*/ 6 w 17"/>
                  <a:gd name="T21" fmla="*/ 11 h 11"/>
                  <a:gd name="T22" fmla="*/ 9 w 17"/>
                  <a:gd name="T23" fmla="*/ 9 h 11"/>
                  <a:gd name="T24" fmla="*/ 13 w 17"/>
                  <a:gd name="T25" fmla="*/ 9 h 11"/>
                  <a:gd name="T26" fmla="*/ 16 w 17"/>
                  <a:gd name="T27" fmla="*/ 6 h 11"/>
                  <a:gd name="T28" fmla="*/ 17 w 17"/>
                  <a:gd name="T29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7" h="11">
                    <a:moveTo>
                      <a:pt x="17" y="3"/>
                    </a:moveTo>
                    <a:lnTo>
                      <a:pt x="13" y="0"/>
                    </a:lnTo>
                    <a:lnTo>
                      <a:pt x="8" y="1"/>
                    </a:lnTo>
                    <a:lnTo>
                      <a:pt x="3" y="3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3" y="8"/>
                    </a:lnTo>
                    <a:lnTo>
                      <a:pt x="6" y="3"/>
                    </a:lnTo>
                    <a:lnTo>
                      <a:pt x="11" y="3"/>
                    </a:lnTo>
                    <a:lnTo>
                      <a:pt x="8" y="8"/>
                    </a:lnTo>
                    <a:lnTo>
                      <a:pt x="6" y="11"/>
                    </a:lnTo>
                    <a:lnTo>
                      <a:pt x="9" y="9"/>
                    </a:lnTo>
                    <a:lnTo>
                      <a:pt x="13" y="9"/>
                    </a:lnTo>
                    <a:lnTo>
                      <a:pt x="16" y="6"/>
                    </a:lnTo>
                    <a:lnTo>
                      <a:pt x="17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78" name="Freeform 681"/>
              <p:cNvSpPr>
                <a:spLocks/>
              </p:cNvSpPr>
              <p:nvPr/>
            </p:nvSpPr>
            <p:spPr bwMode="auto">
              <a:xfrm>
                <a:off x="1411" y="996"/>
                <a:ext cx="24" cy="4"/>
              </a:xfrm>
              <a:custGeom>
                <a:avLst/>
                <a:gdLst>
                  <a:gd name="T0" fmla="*/ 0 w 49"/>
                  <a:gd name="T1" fmla="*/ 8 h 8"/>
                  <a:gd name="T2" fmla="*/ 12 w 49"/>
                  <a:gd name="T3" fmla="*/ 8 h 8"/>
                  <a:gd name="T4" fmla="*/ 23 w 49"/>
                  <a:gd name="T5" fmla="*/ 8 h 8"/>
                  <a:gd name="T6" fmla="*/ 28 w 49"/>
                  <a:gd name="T7" fmla="*/ 8 h 8"/>
                  <a:gd name="T8" fmla="*/ 31 w 49"/>
                  <a:gd name="T9" fmla="*/ 8 h 8"/>
                  <a:gd name="T10" fmla="*/ 34 w 49"/>
                  <a:gd name="T11" fmla="*/ 8 h 8"/>
                  <a:gd name="T12" fmla="*/ 39 w 49"/>
                  <a:gd name="T13" fmla="*/ 6 h 8"/>
                  <a:gd name="T14" fmla="*/ 42 w 49"/>
                  <a:gd name="T15" fmla="*/ 6 h 8"/>
                  <a:gd name="T16" fmla="*/ 46 w 49"/>
                  <a:gd name="T17" fmla="*/ 4 h 8"/>
                  <a:gd name="T18" fmla="*/ 49 w 49"/>
                  <a:gd name="T19" fmla="*/ 1 h 8"/>
                  <a:gd name="T20" fmla="*/ 49 w 49"/>
                  <a:gd name="T21" fmla="*/ 0 h 8"/>
                  <a:gd name="T22" fmla="*/ 46 w 49"/>
                  <a:gd name="T23" fmla="*/ 0 h 8"/>
                  <a:gd name="T24" fmla="*/ 41 w 49"/>
                  <a:gd name="T25" fmla="*/ 0 h 8"/>
                  <a:gd name="T26" fmla="*/ 38 w 49"/>
                  <a:gd name="T27" fmla="*/ 0 h 8"/>
                  <a:gd name="T28" fmla="*/ 34 w 49"/>
                  <a:gd name="T29" fmla="*/ 1 h 8"/>
                  <a:gd name="T30" fmla="*/ 30 w 49"/>
                  <a:gd name="T31" fmla="*/ 1 h 8"/>
                  <a:gd name="T32" fmla="*/ 27 w 49"/>
                  <a:gd name="T33" fmla="*/ 1 h 8"/>
                  <a:gd name="T34" fmla="*/ 23 w 49"/>
                  <a:gd name="T35" fmla="*/ 1 h 8"/>
                  <a:gd name="T36" fmla="*/ 15 w 49"/>
                  <a:gd name="T37" fmla="*/ 3 h 8"/>
                  <a:gd name="T38" fmla="*/ 12 w 49"/>
                  <a:gd name="T39" fmla="*/ 3 h 8"/>
                  <a:gd name="T40" fmla="*/ 7 w 49"/>
                  <a:gd name="T41" fmla="*/ 3 h 8"/>
                  <a:gd name="T42" fmla="*/ 6 w 49"/>
                  <a:gd name="T43" fmla="*/ 3 h 8"/>
                  <a:gd name="T44" fmla="*/ 3 w 49"/>
                  <a:gd name="T45" fmla="*/ 4 h 8"/>
                  <a:gd name="T46" fmla="*/ 0 w 49"/>
                  <a:gd name="T4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9" h="8">
                    <a:moveTo>
                      <a:pt x="0" y="8"/>
                    </a:moveTo>
                    <a:lnTo>
                      <a:pt x="12" y="8"/>
                    </a:lnTo>
                    <a:lnTo>
                      <a:pt x="23" y="8"/>
                    </a:lnTo>
                    <a:lnTo>
                      <a:pt x="28" y="8"/>
                    </a:lnTo>
                    <a:lnTo>
                      <a:pt x="31" y="8"/>
                    </a:lnTo>
                    <a:lnTo>
                      <a:pt x="34" y="8"/>
                    </a:lnTo>
                    <a:lnTo>
                      <a:pt x="39" y="6"/>
                    </a:lnTo>
                    <a:lnTo>
                      <a:pt x="42" y="6"/>
                    </a:lnTo>
                    <a:lnTo>
                      <a:pt x="46" y="4"/>
                    </a:lnTo>
                    <a:lnTo>
                      <a:pt x="49" y="1"/>
                    </a:lnTo>
                    <a:lnTo>
                      <a:pt x="49" y="0"/>
                    </a:lnTo>
                    <a:lnTo>
                      <a:pt x="46" y="0"/>
                    </a:lnTo>
                    <a:lnTo>
                      <a:pt x="41" y="0"/>
                    </a:lnTo>
                    <a:lnTo>
                      <a:pt x="38" y="0"/>
                    </a:lnTo>
                    <a:lnTo>
                      <a:pt x="34" y="1"/>
                    </a:lnTo>
                    <a:lnTo>
                      <a:pt x="30" y="1"/>
                    </a:lnTo>
                    <a:lnTo>
                      <a:pt x="27" y="1"/>
                    </a:lnTo>
                    <a:lnTo>
                      <a:pt x="23" y="1"/>
                    </a:lnTo>
                    <a:lnTo>
                      <a:pt x="15" y="3"/>
                    </a:lnTo>
                    <a:lnTo>
                      <a:pt x="12" y="3"/>
                    </a:lnTo>
                    <a:lnTo>
                      <a:pt x="7" y="3"/>
                    </a:lnTo>
                    <a:lnTo>
                      <a:pt x="6" y="3"/>
                    </a:lnTo>
                    <a:lnTo>
                      <a:pt x="3" y="4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79" name="Freeform 682"/>
              <p:cNvSpPr>
                <a:spLocks/>
              </p:cNvSpPr>
              <p:nvPr/>
            </p:nvSpPr>
            <p:spPr bwMode="auto">
              <a:xfrm>
                <a:off x="1413" y="999"/>
                <a:ext cx="22" cy="3"/>
              </a:xfrm>
              <a:custGeom>
                <a:avLst/>
                <a:gdLst>
                  <a:gd name="T0" fmla="*/ 43 w 43"/>
                  <a:gd name="T1" fmla="*/ 2 h 6"/>
                  <a:gd name="T2" fmla="*/ 42 w 43"/>
                  <a:gd name="T3" fmla="*/ 0 h 6"/>
                  <a:gd name="T4" fmla="*/ 30 w 43"/>
                  <a:gd name="T5" fmla="*/ 2 h 6"/>
                  <a:gd name="T6" fmla="*/ 26 w 43"/>
                  <a:gd name="T7" fmla="*/ 2 h 6"/>
                  <a:gd name="T8" fmla="*/ 23 w 43"/>
                  <a:gd name="T9" fmla="*/ 3 h 6"/>
                  <a:gd name="T10" fmla="*/ 18 w 43"/>
                  <a:gd name="T11" fmla="*/ 3 h 6"/>
                  <a:gd name="T12" fmla="*/ 11 w 43"/>
                  <a:gd name="T13" fmla="*/ 5 h 6"/>
                  <a:gd name="T14" fmla="*/ 7 w 43"/>
                  <a:gd name="T15" fmla="*/ 5 h 6"/>
                  <a:gd name="T16" fmla="*/ 3 w 43"/>
                  <a:gd name="T17" fmla="*/ 5 h 6"/>
                  <a:gd name="T18" fmla="*/ 0 w 43"/>
                  <a:gd name="T19" fmla="*/ 6 h 6"/>
                  <a:gd name="T20" fmla="*/ 11 w 43"/>
                  <a:gd name="T21" fmla="*/ 6 h 6"/>
                  <a:gd name="T22" fmla="*/ 21 w 43"/>
                  <a:gd name="T23" fmla="*/ 5 h 6"/>
                  <a:gd name="T24" fmla="*/ 29 w 43"/>
                  <a:gd name="T25" fmla="*/ 5 h 6"/>
                  <a:gd name="T26" fmla="*/ 32 w 43"/>
                  <a:gd name="T27" fmla="*/ 5 h 6"/>
                  <a:gd name="T28" fmla="*/ 37 w 43"/>
                  <a:gd name="T29" fmla="*/ 3 h 6"/>
                  <a:gd name="T30" fmla="*/ 40 w 43"/>
                  <a:gd name="T31" fmla="*/ 3 h 6"/>
                  <a:gd name="T32" fmla="*/ 43 w 43"/>
                  <a:gd name="T33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6">
                    <a:moveTo>
                      <a:pt x="43" y="2"/>
                    </a:moveTo>
                    <a:lnTo>
                      <a:pt x="42" y="0"/>
                    </a:lnTo>
                    <a:lnTo>
                      <a:pt x="30" y="2"/>
                    </a:lnTo>
                    <a:lnTo>
                      <a:pt x="26" y="2"/>
                    </a:lnTo>
                    <a:lnTo>
                      <a:pt x="23" y="3"/>
                    </a:lnTo>
                    <a:lnTo>
                      <a:pt x="18" y="3"/>
                    </a:lnTo>
                    <a:lnTo>
                      <a:pt x="11" y="5"/>
                    </a:lnTo>
                    <a:lnTo>
                      <a:pt x="7" y="5"/>
                    </a:lnTo>
                    <a:lnTo>
                      <a:pt x="3" y="5"/>
                    </a:lnTo>
                    <a:lnTo>
                      <a:pt x="0" y="6"/>
                    </a:lnTo>
                    <a:lnTo>
                      <a:pt x="11" y="6"/>
                    </a:lnTo>
                    <a:lnTo>
                      <a:pt x="21" y="5"/>
                    </a:lnTo>
                    <a:lnTo>
                      <a:pt x="29" y="5"/>
                    </a:lnTo>
                    <a:lnTo>
                      <a:pt x="32" y="5"/>
                    </a:lnTo>
                    <a:lnTo>
                      <a:pt x="37" y="3"/>
                    </a:lnTo>
                    <a:lnTo>
                      <a:pt x="40" y="3"/>
                    </a:lnTo>
                    <a:lnTo>
                      <a:pt x="43" y="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80" name="Freeform 683"/>
              <p:cNvSpPr>
                <a:spLocks/>
              </p:cNvSpPr>
              <p:nvPr/>
            </p:nvSpPr>
            <p:spPr bwMode="auto">
              <a:xfrm>
                <a:off x="1416" y="990"/>
                <a:ext cx="19" cy="6"/>
              </a:xfrm>
              <a:custGeom>
                <a:avLst/>
                <a:gdLst>
                  <a:gd name="T0" fmla="*/ 0 w 38"/>
                  <a:gd name="T1" fmla="*/ 11 h 11"/>
                  <a:gd name="T2" fmla="*/ 11 w 38"/>
                  <a:gd name="T3" fmla="*/ 11 h 11"/>
                  <a:gd name="T4" fmla="*/ 19 w 38"/>
                  <a:gd name="T5" fmla="*/ 11 h 11"/>
                  <a:gd name="T6" fmla="*/ 29 w 38"/>
                  <a:gd name="T7" fmla="*/ 11 h 11"/>
                  <a:gd name="T8" fmla="*/ 38 w 38"/>
                  <a:gd name="T9" fmla="*/ 8 h 11"/>
                  <a:gd name="T10" fmla="*/ 35 w 38"/>
                  <a:gd name="T11" fmla="*/ 4 h 11"/>
                  <a:gd name="T12" fmla="*/ 32 w 38"/>
                  <a:gd name="T13" fmla="*/ 6 h 11"/>
                  <a:gd name="T14" fmla="*/ 27 w 38"/>
                  <a:gd name="T15" fmla="*/ 3 h 11"/>
                  <a:gd name="T16" fmla="*/ 24 w 38"/>
                  <a:gd name="T17" fmla="*/ 3 h 11"/>
                  <a:gd name="T18" fmla="*/ 21 w 38"/>
                  <a:gd name="T19" fmla="*/ 3 h 11"/>
                  <a:gd name="T20" fmla="*/ 24 w 38"/>
                  <a:gd name="T21" fmla="*/ 1 h 11"/>
                  <a:gd name="T22" fmla="*/ 21 w 38"/>
                  <a:gd name="T23" fmla="*/ 0 h 11"/>
                  <a:gd name="T24" fmla="*/ 18 w 38"/>
                  <a:gd name="T25" fmla="*/ 0 h 11"/>
                  <a:gd name="T26" fmla="*/ 13 w 38"/>
                  <a:gd name="T27" fmla="*/ 1 h 11"/>
                  <a:gd name="T28" fmla="*/ 13 w 38"/>
                  <a:gd name="T29" fmla="*/ 1 h 11"/>
                  <a:gd name="T30" fmla="*/ 8 w 38"/>
                  <a:gd name="T31" fmla="*/ 1 h 11"/>
                  <a:gd name="T32" fmla="*/ 5 w 38"/>
                  <a:gd name="T33" fmla="*/ 4 h 11"/>
                  <a:gd name="T34" fmla="*/ 5 w 38"/>
                  <a:gd name="T35" fmla="*/ 8 h 11"/>
                  <a:gd name="T36" fmla="*/ 0 w 38"/>
                  <a:gd name="T3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8" h="11">
                    <a:moveTo>
                      <a:pt x="0" y="11"/>
                    </a:moveTo>
                    <a:lnTo>
                      <a:pt x="11" y="11"/>
                    </a:lnTo>
                    <a:lnTo>
                      <a:pt x="19" y="11"/>
                    </a:lnTo>
                    <a:lnTo>
                      <a:pt x="29" y="11"/>
                    </a:lnTo>
                    <a:lnTo>
                      <a:pt x="38" y="8"/>
                    </a:lnTo>
                    <a:lnTo>
                      <a:pt x="35" y="4"/>
                    </a:lnTo>
                    <a:lnTo>
                      <a:pt x="32" y="6"/>
                    </a:lnTo>
                    <a:lnTo>
                      <a:pt x="27" y="3"/>
                    </a:lnTo>
                    <a:lnTo>
                      <a:pt x="24" y="3"/>
                    </a:lnTo>
                    <a:lnTo>
                      <a:pt x="21" y="3"/>
                    </a:lnTo>
                    <a:lnTo>
                      <a:pt x="24" y="1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3" y="1"/>
                    </a:lnTo>
                    <a:lnTo>
                      <a:pt x="13" y="1"/>
                    </a:lnTo>
                    <a:lnTo>
                      <a:pt x="8" y="1"/>
                    </a:lnTo>
                    <a:lnTo>
                      <a:pt x="5" y="4"/>
                    </a:lnTo>
                    <a:lnTo>
                      <a:pt x="5" y="8"/>
                    </a:lnTo>
                    <a:lnTo>
                      <a:pt x="0" y="1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81" name="Freeform 684"/>
              <p:cNvSpPr>
                <a:spLocks/>
              </p:cNvSpPr>
              <p:nvPr/>
            </p:nvSpPr>
            <p:spPr bwMode="auto">
              <a:xfrm>
                <a:off x="1416" y="1001"/>
                <a:ext cx="20" cy="4"/>
              </a:xfrm>
              <a:custGeom>
                <a:avLst/>
                <a:gdLst>
                  <a:gd name="T0" fmla="*/ 39 w 39"/>
                  <a:gd name="T1" fmla="*/ 0 h 6"/>
                  <a:gd name="T2" fmla="*/ 39 w 39"/>
                  <a:gd name="T3" fmla="*/ 0 h 6"/>
                  <a:gd name="T4" fmla="*/ 36 w 39"/>
                  <a:gd name="T5" fmla="*/ 0 h 6"/>
                  <a:gd name="T6" fmla="*/ 31 w 39"/>
                  <a:gd name="T7" fmla="*/ 0 h 6"/>
                  <a:gd name="T8" fmla="*/ 28 w 39"/>
                  <a:gd name="T9" fmla="*/ 0 h 6"/>
                  <a:gd name="T10" fmla="*/ 25 w 39"/>
                  <a:gd name="T11" fmla="*/ 0 h 6"/>
                  <a:gd name="T12" fmla="*/ 20 w 39"/>
                  <a:gd name="T13" fmla="*/ 0 h 6"/>
                  <a:gd name="T14" fmla="*/ 11 w 39"/>
                  <a:gd name="T15" fmla="*/ 3 h 6"/>
                  <a:gd name="T16" fmla="*/ 0 w 39"/>
                  <a:gd name="T17" fmla="*/ 6 h 6"/>
                  <a:gd name="T18" fmla="*/ 8 w 39"/>
                  <a:gd name="T19" fmla="*/ 6 h 6"/>
                  <a:gd name="T20" fmla="*/ 17 w 39"/>
                  <a:gd name="T21" fmla="*/ 6 h 6"/>
                  <a:gd name="T22" fmla="*/ 22 w 39"/>
                  <a:gd name="T23" fmla="*/ 5 h 6"/>
                  <a:gd name="T24" fmla="*/ 25 w 39"/>
                  <a:gd name="T25" fmla="*/ 3 h 6"/>
                  <a:gd name="T26" fmla="*/ 28 w 39"/>
                  <a:gd name="T27" fmla="*/ 1 h 6"/>
                  <a:gd name="T28" fmla="*/ 33 w 39"/>
                  <a:gd name="T29" fmla="*/ 1 h 6"/>
                  <a:gd name="T30" fmla="*/ 36 w 39"/>
                  <a:gd name="T31" fmla="*/ 1 h 6"/>
                  <a:gd name="T32" fmla="*/ 39 w 39"/>
                  <a:gd name="T3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9" h="6">
                    <a:moveTo>
                      <a:pt x="39" y="0"/>
                    </a:moveTo>
                    <a:lnTo>
                      <a:pt x="39" y="0"/>
                    </a:lnTo>
                    <a:lnTo>
                      <a:pt x="36" y="0"/>
                    </a:lnTo>
                    <a:lnTo>
                      <a:pt x="31" y="0"/>
                    </a:lnTo>
                    <a:lnTo>
                      <a:pt x="28" y="0"/>
                    </a:lnTo>
                    <a:lnTo>
                      <a:pt x="25" y="0"/>
                    </a:lnTo>
                    <a:lnTo>
                      <a:pt x="20" y="0"/>
                    </a:lnTo>
                    <a:lnTo>
                      <a:pt x="11" y="3"/>
                    </a:lnTo>
                    <a:lnTo>
                      <a:pt x="0" y="6"/>
                    </a:lnTo>
                    <a:lnTo>
                      <a:pt x="8" y="6"/>
                    </a:lnTo>
                    <a:lnTo>
                      <a:pt x="17" y="6"/>
                    </a:lnTo>
                    <a:lnTo>
                      <a:pt x="22" y="5"/>
                    </a:lnTo>
                    <a:lnTo>
                      <a:pt x="25" y="3"/>
                    </a:lnTo>
                    <a:lnTo>
                      <a:pt x="28" y="1"/>
                    </a:lnTo>
                    <a:lnTo>
                      <a:pt x="33" y="1"/>
                    </a:lnTo>
                    <a:lnTo>
                      <a:pt x="36" y="1"/>
                    </a:lnTo>
                    <a:lnTo>
                      <a:pt x="39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82" name="Freeform 685"/>
              <p:cNvSpPr>
                <a:spLocks/>
              </p:cNvSpPr>
              <p:nvPr/>
            </p:nvSpPr>
            <p:spPr bwMode="auto">
              <a:xfrm>
                <a:off x="1420" y="990"/>
                <a:ext cx="77" cy="27"/>
              </a:xfrm>
              <a:custGeom>
                <a:avLst/>
                <a:gdLst>
                  <a:gd name="T0" fmla="*/ 56 w 155"/>
                  <a:gd name="T1" fmla="*/ 54 h 54"/>
                  <a:gd name="T2" fmla="*/ 62 w 155"/>
                  <a:gd name="T3" fmla="*/ 50 h 54"/>
                  <a:gd name="T4" fmla="*/ 73 w 155"/>
                  <a:gd name="T5" fmla="*/ 50 h 54"/>
                  <a:gd name="T6" fmla="*/ 84 w 155"/>
                  <a:gd name="T7" fmla="*/ 52 h 54"/>
                  <a:gd name="T8" fmla="*/ 95 w 155"/>
                  <a:gd name="T9" fmla="*/ 52 h 54"/>
                  <a:gd name="T10" fmla="*/ 102 w 155"/>
                  <a:gd name="T11" fmla="*/ 49 h 54"/>
                  <a:gd name="T12" fmla="*/ 108 w 155"/>
                  <a:gd name="T13" fmla="*/ 44 h 54"/>
                  <a:gd name="T14" fmla="*/ 111 w 155"/>
                  <a:gd name="T15" fmla="*/ 39 h 54"/>
                  <a:gd name="T16" fmla="*/ 114 w 155"/>
                  <a:gd name="T17" fmla="*/ 36 h 54"/>
                  <a:gd name="T18" fmla="*/ 124 w 155"/>
                  <a:gd name="T19" fmla="*/ 38 h 54"/>
                  <a:gd name="T20" fmla="*/ 133 w 155"/>
                  <a:gd name="T21" fmla="*/ 31 h 54"/>
                  <a:gd name="T22" fmla="*/ 136 w 155"/>
                  <a:gd name="T23" fmla="*/ 25 h 54"/>
                  <a:gd name="T24" fmla="*/ 149 w 155"/>
                  <a:gd name="T25" fmla="*/ 15 h 54"/>
                  <a:gd name="T26" fmla="*/ 155 w 155"/>
                  <a:gd name="T27" fmla="*/ 8 h 54"/>
                  <a:gd name="T28" fmla="*/ 146 w 155"/>
                  <a:gd name="T29" fmla="*/ 3 h 54"/>
                  <a:gd name="T30" fmla="*/ 143 w 155"/>
                  <a:gd name="T31" fmla="*/ 0 h 54"/>
                  <a:gd name="T32" fmla="*/ 146 w 155"/>
                  <a:gd name="T33" fmla="*/ 0 h 54"/>
                  <a:gd name="T34" fmla="*/ 132 w 155"/>
                  <a:gd name="T35" fmla="*/ 3 h 54"/>
                  <a:gd name="T36" fmla="*/ 122 w 155"/>
                  <a:gd name="T37" fmla="*/ 8 h 54"/>
                  <a:gd name="T38" fmla="*/ 116 w 155"/>
                  <a:gd name="T39" fmla="*/ 3 h 54"/>
                  <a:gd name="T40" fmla="*/ 109 w 155"/>
                  <a:gd name="T41" fmla="*/ 1 h 54"/>
                  <a:gd name="T42" fmla="*/ 82 w 155"/>
                  <a:gd name="T43" fmla="*/ 4 h 54"/>
                  <a:gd name="T44" fmla="*/ 89 w 155"/>
                  <a:gd name="T45" fmla="*/ 9 h 54"/>
                  <a:gd name="T46" fmla="*/ 95 w 155"/>
                  <a:gd name="T47" fmla="*/ 12 h 54"/>
                  <a:gd name="T48" fmla="*/ 87 w 155"/>
                  <a:gd name="T49" fmla="*/ 12 h 54"/>
                  <a:gd name="T50" fmla="*/ 90 w 155"/>
                  <a:gd name="T51" fmla="*/ 14 h 54"/>
                  <a:gd name="T52" fmla="*/ 100 w 155"/>
                  <a:gd name="T53" fmla="*/ 15 h 54"/>
                  <a:gd name="T54" fmla="*/ 90 w 155"/>
                  <a:gd name="T55" fmla="*/ 15 h 54"/>
                  <a:gd name="T56" fmla="*/ 84 w 155"/>
                  <a:gd name="T57" fmla="*/ 20 h 54"/>
                  <a:gd name="T58" fmla="*/ 92 w 155"/>
                  <a:gd name="T59" fmla="*/ 22 h 54"/>
                  <a:gd name="T60" fmla="*/ 86 w 155"/>
                  <a:gd name="T61" fmla="*/ 23 h 54"/>
                  <a:gd name="T62" fmla="*/ 78 w 155"/>
                  <a:gd name="T63" fmla="*/ 23 h 54"/>
                  <a:gd name="T64" fmla="*/ 78 w 155"/>
                  <a:gd name="T65" fmla="*/ 17 h 54"/>
                  <a:gd name="T66" fmla="*/ 73 w 155"/>
                  <a:gd name="T67" fmla="*/ 14 h 54"/>
                  <a:gd name="T68" fmla="*/ 68 w 155"/>
                  <a:gd name="T69" fmla="*/ 8 h 54"/>
                  <a:gd name="T70" fmla="*/ 56 w 155"/>
                  <a:gd name="T71" fmla="*/ 8 h 54"/>
                  <a:gd name="T72" fmla="*/ 51 w 155"/>
                  <a:gd name="T73" fmla="*/ 14 h 54"/>
                  <a:gd name="T74" fmla="*/ 41 w 155"/>
                  <a:gd name="T75" fmla="*/ 17 h 54"/>
                  <a:gd name="T76" fmla="*/ 51 w 155"/>
                  <a:gd name="T77" fmla="*/ 20 h 54"/>
                  <a:gd name="T78" fmla="*/ 44 w 155"/>
                  <a:gd name="T79" fmla="*/ 27 h 54"/>
                  <a:gd name="T80" fmla="*/ 46 w 155"/>
                  <a:gd name="T81" fmla="*/ 28 h 54"/>
                  <a:gd name="T82" fmla="*/ 38 w 155"/>
                  <a:gd name="T83" fmla="*/ 25 h 54"/>
                  <a:gd name="T84" fmla="*/ 27 w 155"/>
                  <a:gd name="T85" fmla="*/ 25 h 54"/>
                  <a:gd name="T86" fmla="*/ 19 w 155"/>
                  <a:gd name="T87" fmla="*/ 30 h 54"/>
                  <a:gd name="T88" fmla="*/ 8 w 155"/>
                  <a:gd name="T89" fmla="*/ 30 h 54"/>
                  <a:gd name="T90" fmla="*/ 0 w 155"/>
                  <a:gd name="T91" fmla="*/ 36 h 54"/>
                  <a:gd name="T92" fmla="*/ 73 w 155"/>
                  <a:gd name="T93" fmla="*/ 31 h 54"/>
                  <a:gd name="T94" fmla="*/ 86 w 155"/>
                  <a:gd name="T95" fmla="*/ 31 h 54"/>
                  <a:gd name="T96" fmla="*/ 75 w 155"/>
                  <a:gd name="T97" fmla="*/ 31 h 54"/>
                  <a:gd name="T98" fmla="*/ 67 w 155"/>
                  <a:gd name="T99" fmla="*/ 35 h 54"/>
                  <a:gd name="T100" fmla="*/ 65 w 155"/>
                  <a:gd name="T101" fmla="*/ 35 h 54"/>
                  <a:gd name="T102" fmla="*/ 62 w 155"/>
                  <a:gd name="T103" fmla="*/ 36 h 54"/>
                  <a:gd name="T104" fmla="*/ 60 w 155"/>
                  <a:gd name="T105" fmla="*/ 36 h 54"/>
                  <a:gd name="T106" fmla="*/ 56 w 155"/>
                  <a:gd name="T107" fmla="*/ 38 h 54"/>
                  <a:gd name="T108" fmla="*/ 44 w 155"/>
                  <a:gd name="T109" fmla="*/ 38 h 54"/>
                  <a:gd name="T110" fmla="*/ 41 w 155"/>
                  <a:gd name="T111" fmla="*/ 41 h 54"/>
                  <a:gd name="T112" fmla="*/ 46 w 155"/>
                  <a:gd name="T113" fmla="*/ 42 h 54"/>
                  <a:gd name="T114" fmla="*/ 54 w 155"/>
                  <a:gd name="T115" fmla="*/ 44 h 54"/>
                  <a:gd name="T116" fmla="*/ 40 w 155"/>
                  <a:gd name="T117" fmla="*/ 46 h 54"/>
                  <a:gd name="T118" fmla="*/ 44 w 155"/>
                  <a:gd name="T119" fmla="*/ 5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55" h="54">
                    <a:moveTo>
                      <a:pt x="44" y="52"/>
                    </a:moveTo>
                    <a:lnTo>
                      <a:pt x="52" y="52"/>
                    </a:lnTo>
                    <a:lnTo>
                      <a:pt x="56" y="54"/>
                    </a:lnTo>
                    <a:lnTo>
                      <a:pt x="59" y="52"/>
                    </a:lnTo>
                    <a:lnTo>
                      <a:pt x="65" y="47"/>
                    </a:lnTo>
                    <a:lnTo>
                      <a:pt x="62" y="50"/>
                    </a:lnTo>
                    <a:lnTo>
                      <a:pt x="67" y="52"/>
                    </a:lnTo>
                    <a:lnTo>
                      <a:pt x="70" y="52"/>
                    </a:lnTo>
                    <a:lnTo>
                      <a:pt x="73" y="50"/>
                    </a:lnTo>
                    <a:lnTo>
                      <a:pt x="76" y="52"/>
                    </a:lnTo>
                    <a:lnTo>
                      <a:pt x="81" y="52"/>
                    </a:lnTo>
                    <a:lnTo>
                      <a:pt x="84" y="52"/>
                    </a:lnTo>
                    <a:lnTo>
                      <a:pt x="89" y="50"/>
                    </a:lnTo>
                    <a:lnTo>
                      <a:pt x="92" y="50"/>
                    </a:lnTo>
                    <a:lnTo>
                      <a:pt x="95" y="52"/>
                    </a:lnTo>
                    <a:lnTo>
                      <a:pt x="97" y="47"/>
                    </a:lnTo>
                    <a:lnTo>
                      <a:pt x="100" y="46"/>
                    </a:lnTo>
                    <a:lnTo>
                      <a:pt x="102" y="49"/>
                    </a:lnTo>
                    <a:lnTo>
                      <a:pt x="105" y="49"/>
                    </a:lnTo>
                    <a:lnTo>
                      <a:pt x="109" y="47"/>
                    </a:lnTo>
                    <a:lnTo>
                      <a:pt x="108" y="44"/>
                    </a:lnTo>
                    <a:lnTo>
                      <a:pt x="103" y="42"/>
                    </a:lnTo>
                    <a:lnTo>
                      <a:pt x="108" y="41"/>
                    </a:lnTo>
                    <a:lnTo>
                      <a:pt x="111" y="39"/>
                    </a:lnTo>
                    <a:lnTo>
                      <a:pt x="114" y="39"/>
                    </a:lnTo>
                    <a:lnTo>
                      <a:pt x="111" y="38"/>
                    </a:lnTo>
                    <a:lnTo>
                      <a:pt x="114" y="36"/>
                    </a:lnTo>
                    <a:lnTo>
                      <a:pt x="117" y="36"/>
                    </a:lnTo>
                    <a:lnTo>
                      <a:pt x="122" y="35"/>
                    </a:lnTo>
                    <a:lnTo>
                      <a:pt x="124" y="38"/>
                    </a:lnTo>
                    <a:lnTo>
                      <a:pt x="127" y="36"/>
                    </a:lnTo>
                    <a:lnTo>
                      <a:pt x="130" y="33"/>
                    </a:lnTo>
                    <a:lnTo>
                      <a:pt x="133" y="31"/>
                    </a:lnTo>
                    <a:lnTo>
                      <a:pt x="130" y="30"/>
                    </a:lnTo>
                    <a:lnTo>
                      <a:pt x="127" y="28"/>
                    </a:lnTo>
                    <a:lnTo>
                      <a:pt x="136" y="25"/>
                    </a:lnTo>
                    <a:lnTo>
                      <a:pt x="138" y="23"/>
                    </a:lnTo>
                    <a:lnTo>
                      <a:pt x="141" y="20"/>
                    </a:lnTo>
                    <a:lnTo>
                      <a:pt x="149" y="15"/>
                    </a:lnTo>
                    <a:lnTo>
                      <a:pt x="151" y="12"/>
                    </a:lnTo>
                    <a:lnTo>
                      <a:pt x="152" y="9"/>
                    </a:lnTo>
                    <a:lnTo>
                      <a:pt x="155" y="8"/>
                    </a:lnTo>
                    <a:lnTo>
                      <a:pt x="152" y="4"/>
                    </a:lnTo>
                    <a:lnTo>
                      <a:pt x="149" y="3"/>
                    </a:lnTo>
                    <a:lnTo>
                      <a:pt x="146" y="3"/>
                    </a:lnTo>
                    <a:lnTo>
                      <a:pt x="149" y="3"/>
                    </a:lnTo>
                    <a:lnTo>
                      <a:pt x="146" y="0"/>
                    </a:lnTo>
                    <a:lnTo>
                      <a:pt x="143" y="0"/>
                    </a:lnTo>
                    <a:lnTo>
                      <a:pt x="138" y="0"/>
                    </a:lnTo>
                    <a:lnTo>
                      <a:pt x="143" y="1"/>
                    </a:lnTo>
                    <a:lnTo>
                      <a:pt x="146" y="0"/>
                    </a:lnTo>
                    <a:lnTo>
                      <a:pt x="143" y="1"/>
                    </a:lnTo>
                    <a:lnTo>
                      <a:pt x="135" y="1"/>
                    </a:lnTo>
                    <a:lnTo>
                      <a:pt x="132" y="3"/>
                    </a:lnTo>
                    <a:lnTo>
                      <a:pt x="130" y="6"/>
                    </a:lnTo>
                    <a:lnTo>
                      <a:pt x="125" y="6"/>
                    </a:lnTo>
                    <a:lnTo>
                      <a:pt x="122" y="8"/>
                    </a:lnTo>
                    <a:lnTo>
                      <a:pt x="124" y="4"/>
                    </a:lnTo>
                    <a:lnTo>
                      <a:pt x="121" y="4"/>
                    </a:lnTo>
                    <a:lnTo>
                      <a:pt x="116" y="3"/>
                    </a:lnTo>
                    <a:lnTo>
                      <a:pt x="113" y="1"/>
                    </a:lnTo>
                    <a:lnTo>
                      <a:pt x="109" y="1"/>
                    </a:lnTo>
                    <a:lnTo>
                      <a:pt x="109" y="1"/>
                    </a:lnTo>
                    <a:lnTo>
                      <a:pt x="105" y="1"/>
                    </a:lnTo>
                    <a:lnTo>
                      <a:pt x="94" y="3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6" y="9"/>
                    </a:lnTo>
                    <a:lnTo>
                      <a:pt x="89" y="9"/>
                    </a:lnTo>
                    <a:lnTo>
                      <a:pt x="94" y="9"/>
                    </a:lnTo>
                    <a:lnTo>
                      <a:pt x="97" y="11"/>
                    </a:lnTo>
                    <a:lnTo>
                      <a:pt x="95" y="12"/>
                    </a:lnTo>
                    <a:lnTo>
                      <a:pt x="95" y="12"/>
                    </a:lnTo>
                    <a:lnTo>
                      <a:pt x="92" y="11"/>
                    </a:lnTo>
                    <a:lnTo>
                      <a:pt x="87" y="12"/>
                    </a:lnTo>
                    <a:lnTo>
                      <a:pt x="84" y="12"/>
                    </a:lnTo>
                    <a:lnTo>
                      <a:pt x="87" y="14"/>
                    </a:lnTo>
                    <a:lnTo>
                      <a:pt x="90" y="14"/>
                    </a:lnTo>
                    <a:lnTo>
                      <a:pt x="92" y="14"/>
                    </a:lnTo>
                    <a:lnTo>
                      <a:pt x="95" y="15"/>
                    </a:lnTo>
                    <a:lnTo>
                      <a:pt x="100" y="15"/>
                    </a:lnTo>
                    <a:lnTo>
                      <a:pt x="97" y="17"/>
                    </a:lnTo>
                    <a:lnTo>
                      <a:pt x="92" y="17"/>
                    </a:lnTo>
                    <a:lnTo>
                      <a:pt x="90" y="15"/>
                    </a:lnTo>
                    <a:lnTo>
                      <a:pt x="87" y="17"/>
                    </a:lnTo>
                    <a:lnTo>
                      <a:pt x="86" y="19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7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89" y="23"/>
                    </a:lnTo>
                    <a:lnTo>
                      <a:pt x="86" y="23"/>
                    </a:lnTo>
                    <a:lnTo>
                      <a:pt x="82" y="23"/>
                    </a:lnTo>
                    <a:lnTo>
                      <a:pt x="81" y="23"/>
                    </a:lnTo>
                    <a:lnTo>
                      <a:pt x="78" y="23"/>
                    </a:lnTo>
                    <a:lnTo>
                      <a:pt x="79" y="20"/>
                    </a:lnTo>
                    <a:lnTo>
                      <a:pt x="75" y="19"/>
                    </a:lnTo>
                    <a:lnTo>
                      <a:pt x="78" y="17"/>
                    </a:lnTo>
                    <a:lnTo>
                      <a:pt x="75" y="17"/>
                    </a:lnTo>
                    <a:lnTo>
                      <a:pt x="71" y="17"/>
                    </a:lnTo>
                    <a:lnTo>
                      <a:pt x="73" y="14"/>
                    </a:lnTo>
                    <a:lnTo>
                      <a:pt x="68" y="14"/>
                    </a:lnTo>
                    <a:lnTo>
                      <a:pt x="71" y="9"/>
                    </a:lnTo>
                    <a:lnTo>
                      <a:pt x="68" y="8"/>
                    </a:lnTo>
                    <a:lnTo>
                      <a:pt x="63" y="6"/>
                    </a:lnTo>
                    <a:lnTo>
                      <a:pt x="60" y="6"/>
                    </a:lnTo>
                    <a:lnTo>
                      <a:pt x="56" y="8"/>
                    </a:lnTo>
                    <a:lnTo>
                      <a:pt x="49" y="9"/>
                    </a:lnTo>
                    <a:lnTo>
                      <a:pt x="41" y="14"/>
                    </a:lnTo>
                    <a:lnTo>
                      <a:pt x="51" y="14"/>
                    </a:lnTo>
                    <a:lnTo>
                      <a:pt x="60" y="12"/>
                    </a:lnTo>
                    <a:lnTo>
                      <a:pt x="51" y="15"/>
                    </a:lnTo>
                    <a:lnTo>
                      <a:pt x="41" y="17"/>
                    </a:lnTo>
                    <a:lnTo>
                      <a:pt x="43" y="22"/>
                    </a:lnTo>
                    <a:lnTo>
                      <a:pt x="46" y="20"/>
                    </a:lnTo>
                    <a:lnTo>
                      <a:pt x="51" y="20"/>
                    </a:lnTo>
                    <a:lnTo>
                      <a:pt x="46" y="22"/>
                    </a:lnTo>
                    <a:lnTo>
                      <a:pt x="43" y="23"/>
                    </a:lnTo>
                    <a:lnTo>
                      <a:pt x="44" y="27"/>
                    </a:lnTo>
                    <a:lnTo>
                      <a:pt x="48" y="27"/>
                    </a:lnTo>
                    <a:lnTo>
                      <a:pt x="52" y="27"/>
                    </a:lnTo>
                    <a:lnTo>
                      <a:pt x="46" y="28"/>
                    </a:lnTo>
                    <a:lnTo>
                      <a:pt x="41" y="28"/>
                    </a:lnTo>
                    <a:lnTo>
                      <a:pt x="40" y="27"/>
                    </a:lnTo>
                    <a:lnTo>
                      <a:pt x="38" y="25"/>
                    </a:lnTo>
                    <a:lnTo>
                      <a:pt x="36" y="25"/>
                    </a:lnTo>
                    <a:lnTo>
                      <a:pt x="33" y="23"/>
                    </a:lnTo>
                    <a:lnTo>
                      <a:pt x="27" y="25"/>
                    </a:lnTo>
                    <a:lnTo>
                      <a:pt x="19" y="27"/>
                    </a:lnTo>
                    <a:lnTo>
                      <a:pt x="22" y="27"/>
                    </a:lnTo>
                    <a:lnTo>
                      <a:pt x="19" y="30"/>
                    </a:lnTo>
                    <a:lnTo>
                      <a:pt x="16" y="28"/>
                    </a:lnTo>
                    <a:lnTo>
                      <a:pt x="13" y="30"/>
                    </a:lnTo>
                    <a:lnTo>
                      <a:pt x="8" y="30"/>
                    </a:lnTo>
                    <a:lnTo>
                      <a:pt x="5" y="31"/>
                    </a:lnTo>
                    <a:lnTo>
                      <a:pt x="2" y="31"/>
                    </a:lnTo>
                    <a:lnTo>
                      <a:pt x="0" y="36"/>
                    </a:lnTo>
                    <a:lnTo>
                      <a:pt x="24" y="35"/>
                    </a:lnTo>
                    <a:lnTo>
                      <a:pt x="49" y="33"/>
                    </a:lnTo>
                    <a:lnTo>
                      <a:pt x="73" y="31"/>
                    </a:lnTo>
                    <a:lnTo>
                      <a:pt x="97" y="30"/>
                    </a:lnTo>
                    <a:lnTo>
                      <a:pt x="92" y="31"/>
                    </a:lnTo>
                    <a:lnTo>
                      <a:pt x="86" y="31"/>
                    </a:lnTo>
                    <a:lnTo>
                      <a:pt x="82" y="31"/>
                    </a:lnTo>
                    <a:lnTo>
                      <a:pt x="78" y="31"/>
                    </a:lnTo>
                    <a:lnTo>
                      <a:pt x="75" y="31"/>
                    </a:lnTo>
                    <a:lnTo>
                      <a:pt x="71" y="33"/>
                    </a:lnTo>
                    <a:lnTo>
                      <a:pt x="67" y="35"/>
                    </a:lnTo>
                    <a:lnTo>
                      <a:pt x="67" y="35"/>
                    </a:lnTo>
                    <a:lnTo>
                      <a:pt x="67" y="35"/>
                    </a:lnTo>
                    <a:lnTo>
                      <a:pt x="70" y="35"/>
                    </a:lnTo>
                    <a:lnTo>
                      <a:pt x="65" y="35"/>
                    </a:lnTo>
                    <a:lnTo>
                      <a:pt x="65" y="35"/>
                    </a:lnTo>
                    <a:lnTo>
                      <a:pt x="57" y="36"/>
                    </a:lnTo>
                    <a:lnTo>
                      <a:pt x="62" y="36"/>
                    </a:lnTo>
                    <a:lnTo>
                      <a:pt x="65" y="36"/>
                    </a:lnTo>
                    <a:lnTo>
                      <a:pt x="63" y="36"/>
                    </a:lnTo>
                    <a:lnTo>
                      <a:pt x="60" y="36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56" y="38"/>
                    </a:lnTo>
                    <a:lnTo>
                      <a:pt x="52" y="38"/>
                    </a:lnTo>
                    <a:lnTo>
                      <a:pt x="49" y="38"/>
                    </a:lnTo>
                    <a:lnTo>
                      <a:pt x="44" y="38"/>
                    </a:lnTo>
                    <a:lnTo>
                      <a:pt x="49" y="39"/>
                    </a:lnTo>
                    <a:lnTo>
                      <a:pt x="44" y="41"/>
                    </a:lnTo>
                    <a:lnTo>
                      <a:pt x="41" y="41"/>
                    </a:lnTo>
                    <a:lnTo>
                      <a:pt x="46" y="42"/>
                    </a:lnTo>
                    <a:lnTo>
                      <a:pt x="49" y="42"/>
                    </a:lnTo>
                    <a:lnTo>
                      <a:pt x="46" y="42"/>
                    </a:lnTo>
                    <a:lnTo>
                      <a:pt x="49" y="44"/>
                    </a:lnTo>
                    <a:lnTo>
                      <a:pt x="52" y="44"/>
                    </a:lnTo>
                    <a:lnTo>
                      <a:pt x="54" y="44"/>
                    </a:lnTo>
                    <a:lnTo>
                      <a:pt x="54" y="44"/>
                    </a:lnTo>
                    <a:lnTo>
                      <a:pt x="43" y="44"/>
                    </a:lnTo>
                    <a:lnTo>
                      <a:pt x="40" y="46"/>
                    </a:lnTo>
                    <a:lnTo>
                      <a:pt x="38" y="49"/>
                    </a:lnTo>
                    <a:lnTo>
                      <a:pt x="43" y="52"/>
                    </a:lnTo>
                    <a:lnTo>
                      <a:pt x="44" y="5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83" name="Freeform 686"/>
              <p:cNvSpPr>
                <a:spLocks/>
              </p:cNvSpPr>
              <p:nvPr/>
            </p:nvSpPr>
            <p:spPr bwMode="auto">
              <a:xfrm>
                <a:off x="1423" y="974"/>
                <a:ext cx="12" cy="10"/>
              </a:xfrm>
              <a:custGeom>
                <a:avLst/>
                <a:gdLst>
                  <a:gd name="T0" fmla="*/ 10 w 26"/>
                  <a:gd name="T1" fmla="*/ 21 h 21"/>
                  <a:gd name="T2" fmla="*/ 13 w 26"/>
                  <a:gd name="T3" fmla="*/ 19 h 21"/>
                  <a:gd name="T4" fmla="*/ 18 w 26"/>
                  <a:gd name="T5" fmla="*/ 19 h 21"/>
                  <a:gd name="T6" fmla="*/ 21 w 26"/>
                  <a:gd name="T7" fmla="*/ 19 h 21"/>
                  <a:gd name="T8" fmla="*/ 24 w 26"/>
                  <a:gd name="T9" fmla="*/ 18 h 21"/>
                  <a:gd name="T10" fmla="*/ 26 w 26"/>
                  <a:gd name="T11" fmla="*/ 13 h 21"/>
                  <a:gd name="T12" fmla="*/ 23 w 26"/>
                  <a:gd name="T13" fmla="*/ 11 h 21"/>
                  <a:gd name="T14" fmla="*/ 18 w 26"/>
                  <a:gd name="T15" fmla="*/ 11 h 21"/>
                  <a:gd name="T16" fmla="*/ 23 w 26"/>
                  <a:gd name="T17" fmla="*/ 10 h 21"/>
                  <a:gd name="T18" fmla="*/ 23 w 26"/>
                  <a:gd name="T19" fmla="*/ 5 h 21"/>
                  <a:gd name="T20" fmla="*/ 19 w 26"/>
                  <a:gd name="T21" fmla="*/ 2 h 21"/>
                  <a:gd name="T22" fmla="*/ 18 w 26"/>
                  <a:gd name="T23" fmla="*/ 0 h 21"/>
                  <a:gd name="T24" fmla="*/ 13 w 26"/>
                  <a:gd name="T25" fmla="*/ 0 h 21"/>
                  <a:gd name="T26" fmla="*/ 11 w 26"/>
                  <a:gd name="T27" fmla="*/ 0 h 21"/>
                  <a:gd name="T28" fmla="*/ 8 w 26"/>
                  <a:gd name="T29" fmla="*/ 2 h 21"/>
                  <a:gd name="T30" fmla="*/ 7 w 26"/>
                  <a:gd name="T31" fmla="*/ 5 h 21"/>
                  <a:gd name="T32" fmla="*/ 4 w 26"/>
                  <a:gd name="T33" fmla="*/ 7 h 21"/>
                  <a:gd name="T34" fmla="*/ 4 w 26"/>
                  <a:gd name="T35" fmla="*/ 11 h 21"/>
                  <a:gd name="T36" fmla="*/ 0 w 26"/>
                  <a:gd name="T37" fmla="*/ 15 h 21"/>
                  <a:gd name="T38" fmla="*/ 2 w 26"/>
                  <a:gd name="T39" fmla="*/ 18 h 21"/>
                  <a:gd name="T40" fmla="*/ 7 w 26"/>
                  <a:gd name="T41" fmla="*/ 19 h 21"/>
                  <a:gd name="T42" fmla="*/ 10 w 26"/>
                  <a:gd name="T43" fmla="*/ 21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6" h="21">
                    <a:moveTo>
                      <a:pt x="10" y="21"/>
                    </a:moveTo>
                    <a:lnTo>
                      <a:pt x="13" y="19"/>
                    </a:lnTo>
                    <a:lnTo>
                      <a:pt x="18" y="19"/>
                    </a:lnTo>
                    <a:lnTo>
                      <a:pt x="21" y="19"/>
                    </a:lnTo>
                    <a:lnTo>
                      <a:pt x="24" y="18"/>
                    </a:lnTo>
                    <a:lnTo>
                      <a:pt x="26" y="13"/>
                    </a:lnTo>
                    <a:lnTo>
                      <a:pt x="23" y="11"/>
                    </a:lnTo>
                    <a:lnTo>
                      <a:pt x="18" y="11"/>
                    </a:lnTo>
                    <a:lnTo>
                      <a:pt x="23" y="10"/>
                    </a:lnTo>
                    <a:lnTo>
                      <a:pt x="23" y="5"/>
                    </a:lnTo>
                    <a:lnTo>
                      <a:pt x="19" y="2"/>
                    </a:lnTo>
                    <a:lnTo>
                      <a:pt x="18" y="0"/>
                    </a:lnTo>
                    <a:lnTo>
                      <a:pt x="13" y="0"/>
                    </a:lnTo>
                    <a:lnTo>
                      <a:pt x="11" y="0"/>
                    </a:lnTo>
                    <a:lnTo>
                      <a:pt x="8" y="2"/>
                    </a:lnTo>
                    <a:lnTo>
                      <a:pt x="7" y="5"/>
                    </a:lnTo>
                    <a:lnTo>
                      <a:pt x="4" y="7"/>
                    </a:lnTo>
                    <a:lnTo>
                      <a:pt x="4" y="11"/>
                    </a:lnTo>
                    <a:lnTo>
                      <a:pt x="0" y="15"/>
                    </a:lnTo>
                    <a:lnTo>
                      <a:pt x="2" y="18"/>
                    </a:lnTo>
                    <a:lnTo>
                      <a:pt x="7" y="19"/>
                    </a:lnTo>
                    <a:lnTo>
                      <a:pt x="10" y="2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84" name="Freeform 687"/>
              <p:cNvSpPr>
                <a:spLocks/>
              </p:cNvSpPr>
              <p:nvPr/>
            </p:nvSpPr>
            <p:spPr bwMode="auto">
              <a:xfrm>
                <a:off x="1427" y="1170"/>
                <a:ext cx="98" cy="51"/>
              </a:xfrm>
              <a:custGeom>
                <a:avLst/>
                <a:gdLst>
                  <a:gd name="T0" fmla="*/ 43 w 197"/>
                  <a:gd name="T1" fmla="*/ 84 h 101"/>
                  <a:gd name="T2" fmla="*/ 34 w 197"/>
                  <a:gd name="T3" fmla="*/ 95 h 101"/>
                  <a:gd name="T4" fmla="*/ 40 w 197"/>
                  <a:gd name="T5" fmla="*/ 101 h 101"/>
                  <a:gd name="T6" fmla="*/ 51 w 197"/>
                  <a:gd name="T7" fmla="*/ 98 h 101"/>
                  <a:gd name="T8" fmla="*/ 72 w 197"/>
                  <a:gd name="T9" fmla="*/ 88 h 101"/>
                  <a:gd name="T10" fmla="*/ 83 w 197"/>
                  <a:gd name="T11" fmla="*/ 82 h 101"/>
                  <a:gd name="T12" fmla="*/ 94 w 197"/>
                  <a:gd name="T13" fmla="*/ 80 h 101"/>
                  <a:gd name="T14" fmla="*/ 103 w 197"/>
                  <a:gd name="T15" fmla="*/ 77 h 101"/>
                  <a:gd name="T16" fmla="*/ 111 w 197"/>
                  <a:gd name="T17" fmla="*/ 68 h 101"/>
                  <a:gd name="T18" fmla="*/ 122 w 197"/>
                  <a:gd name="T19" fmla="*/ 63 h 101"/>
                  <a:gd name="T20" fmla="*/ 129 w 197"/>
                  <a:gd name="T21" fmla="*/ 65 h 101"/>
                  <a:gd name="T22" fmla="*/ 132 w 197"/>
                  <a:gd name="T23" fmla="*/ 69 h 101"/>
                  <a:gd name="T24" fmla="*/ 140 w 197"/>
                  <a:gd name="T25" fmla="*/ 74 h 101"/>
                  <a:gd name="T26" fmla="*/ 137 w 197"/>
                  <a:gd name="T27" fmla="*/ 82 h 101"/>
                  <a:gd name="T28" fmla="*/ 148 w 197"/>
                  <a:gd name="T29" fmla="*/ 82 h 101"/>
                  <a:gd name="T30" fmla="*/ 157 w 197"/>
                  <a:gd name="T31" fmla="*/ 85 h 101"/>
                  <a:gd name="T32" fmla="*/ 168 w 197"/>
                  <a:gd name="T33" fmla="*/ 88 h 101"/>
                  <a:gd name="T34" fmla="*/ 180 w 197"/>
                  <a:gd name="T35" fmla="*/ 84 h 101"/>
                  <a:gd name="T36" fmla="*/ 195 w 197"/>
                  <a:gd name="T37" fmla="*/ 74 h 101"/>
                  <a:gd name="T38" fmla="*/ 192 w 197"/>
                  <a:gd name="T39" fmla="*/ 73 h 101"/>
                  <a:gd name="T40" fmla="*/ 189 w 197"/>
                  <a:gd name="T41" fmla="*/ 65 h 101"/>
                  <a:gd name="T42" fmla="*/ 178 w 197"/>
                  <a:gd name="T43" fmla="*/ 68 h 101"/>
                  <a:gd name="T44" fmla="*/ 164 w 197"/>
                  <a:gd name="T45" fmla="*/ 68 h 101"/>
                  <a:gd name="T46" fmla="*/ 160 w 197"/>
                  <a:gd name="T47" fmla="*/ 66 h 101"/>
                  <a:gd name="T48" fmla="*/ 172 w 197"/>
                  <a:gd name="T49" fmla="*/ 61 h 101"/>
                  <a:gd name="T50" fmla="*/ 173 w 197"/>
                  <a:gd name="T51" fmla="*/ 52 h 101"/>
                  <a:gd name="T52" fmla="*/ 167 w 197"/>
                  <a:gd name="T53" fmla="*/ 44 h 101"/>
                  <a:gd name="T54" fmla="*/ 156 w 197"/>
                  <a:gd name="T55" fmla="*/ 41 h 101"/>
                  <a:gd name="T56" fmla="*/ 148 w 197"/>
                  <a:gd name="T57" fmla="*/ 34 h 101"/>
                  <a:gd name="T58" fmla="*/ 138 w 197"/>
                  <a:gd name="T59" fmla="*/ 27 h 101"/>
                  <a:gd name="T60" fmla="*/ 126 w 197"/>
                  <a:gd name="T61" fmla="*/ 19 h 101"/>
                  <a:gd name="T62" fmla="*/ 116 w 197"/>
                  <a:gd name="T63" fmla="*/ 20 h 101"/>
                  <a:gd name="T64" fmla="*/ 107 w 197"/>
                  <a:gd name="T65" fmla="*/ 22 h 101"/>
                  <a:gd name="T66" fmla="*/ 110 w 197"/>
                  <a:gd name="T67" fmla="*/ 12 h 101"/>
                  <a:gd name="T68" fmla="*/ 116 w 197"/>
                  <a:gd name="T69" fmla="*/ 4 h 101"/>
                  <a:gd name="T70" fmla="*/ 110 w 197"/>
                  <a:gd name="T71" fmla="*/ 1 h 101"/>
                  <a:gd name="T72" fmla="*/ 99 w 197"/>
                  <a:gd name="T73" fmla="*/ 3 h 101"/>
                  <a:gd name="T74" fmla="*/ 83 w 197"/>
                  <a:gd name="T75" fmla="*/ 15 h 101"/>
                  <a:gd name="T76" fmla="*/ 67 w 197"/>
                  <a:gd name="T77" fmla="*/ 31 h 101"/>
                  <a:gd name="T78" fmla="*/ 59 w 197"/>
                  <a:gd name="T79" fmla="*/ 41 h 101"/>
                  <a:gd name="T80" fmla="*/ 48 w 197"/>
                  <a:gd name="T81" fmla="*/ 49 h 101"/>
                  <a:gd name="T82" fmla="*/ 42 w 197"/>
                  <a:gd name="T83" fmla="*/ 60 h 101"/>
                  <a:gd name="T84" fmla="*/ 21 w 197"/>
                  <a:gd name="T85" fmla="*/ 69 h 101"/>
                  <a:gd name="T86" fmla="*/ 3 w 197"/>
                  <a:gd name="T87" fmla="*/ 85 h 101"/>
                  <a:gd name="T88" fmla="*/ 15 w 197"/>
                  <a:gd name="T89" fmla="*/ 82 h 101"/>
                  <a:gd name="T90" fmla="*/ 24 w 197"/>
                  <a:gd name="T91" fmla="*/ 82 h 101"/>
                  <a:gd name="T92" fmla="*/ 35 w 197"/>
                  <a:gd name="T93" fmla="*/ 80 h 101"/>
                  <a:gd name="T94" fmla="*/ 45 w 197"/>
                  <a:gd name="T95" fmla="*/ 77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97" h="101">
                    <a:moveTo>
                      <a:pt x="45" y="77"/>
                    </a:moveTo>
                    <a:lnTo>
                      <a:pt x="45" y="80"/>
                    </a:lnTo>
                    <a:lnTo>
                      <a:pt x="43" y="84"/>
                    </a:lnTo>
                    <a:lnTo>
                      <a:pt x="40" y="88"/>
                    </a:lnTo>
                    <a:lnTo>
                      <a:pt x="37" y="92"/>
                    </a:lnTo>
                    <a:lnTo>
                      <a:pt x="34" y="95"/>
                    </a:lnTo>
                    <a:lnTo>
                      <a:pt x="32" y="98"/>
                    </a:lnTo>
                    <a:lnTo>
                      <a:pt x="37" y="101"/>
                    </a:lnTo>
                    <a:lnTo>
                      <a:pt x="40" y="101"/>
                    </a:lnTo>
                    <a:lnTo>
                      <a:pt x="43" y="101"/>
                    </a:lnTo>
                    <a:lnTo>
                      <a:pt x="46" y="100"/>
                    </a:lnTo>
                    <a:lnTo>
                      <a:pt x="51" y="98"/>
                    </a:lnTo>
                    <a:lnTo>
                      <a:pt x="59" y="95"/>
                    </a:lnTo>
                    <a:lnTo>
                      <a:pt x="68" y="92"/>
                    </a:lnTo>
                    <a:lnTo>
                      <a:pt x="72" y="88"/>
                    </a:lnTo>
                    <a:lnTo>
                      <a:pt x="75" y="85"/>
                    </a:lnTo>
                    <a:lnTo>
                      <a:pt x="80" y="84"/>
                    </a:lnTo>
                    <a:lnTo>
                      <a:pt x="83" y="82"/>
                    </a:lnTo>
                    <a:lnTo>
                      <a:pt x="86" y="82"/>
                    </a:lnTo>
                    <a:lnTo>
                      <a:pt x="89" y="80"/>
                    </a:lnTo>
                    <a:lnTo>
                      <a:pt x="94" y="80"/>
                    </a:lnTo>
                    <a:lnTo>
                      <a:pt x="97" y="77"/>
                    </a:lnTo>
                    <a:lnTo>
                      <a:pt x="100" y="77"/>
                    </a:lnTo>
                    <a:lnTo>
                      <a:pt x="103" y="77"/>
                    </a:lnTo>
                    <a:lnTo>
                      <a:pt x="107" y="73"/>
                    </a:lnTo>
                    <a:lnTo>
                      <a:pt x="108" y="69"/>
                    </a:lnTo>
                    <a:lnTo>
                      <a:pt x="111" y="68"/>
                    </a:lnTo>
                    <a:lnTo>
                      <a:pt x="114" y="65"/>
                    </a:lnTo>
                    <a:lnTo>
                      <a:pt x="119" y="65"/>
                    </a:lnTo>
                    <a:lnTo>
                      <a:pt x="122" y="63"/>
                    </a:lnTo>
                    <a:lnTo>
                      <a:pt x="126" y="63"/>
                    </a:lnTo>
                    <a:lnTo>
                      <a:pt x="129" y="61"/>
                    </a:lnTo>
                    <a:lnTo>
                      <a:pt x="129" y="65"/>
                    </a:lnTo>
                    <a:lnTo>
                      <a:pt x="126" y="68"/>
                    </a:lnTo>
                    <a:lnTo>
                      <a:pt x="129" y="69"/>
                    </a:lnTo>
                    <a:lnTo>
                      <a:pt x="132" y="69"/>
                    </a:lnTo>
                    <a:lnTo>
                      <a:pt x="137" y="69"/>
                    </a:lnTo>
                    <a:lnTo>
                      <a:pt x="140" y="71"/>
                    </a:lnTo>
                    <a:lnTo>
                      <a:pt x="140" y="74"/>
                    </a:lnTo>
                    <a:lnTo>
                      <a:pt x="134" y="77"/>
                    </a:lnTo>
                    <a:lnTo>
                      <a:pt x="134" y="80"/>
                    </a:lnTo>
                    <a:lnTo>
                      <a:pt x="137" y="82"/>
                    </a:lnTo>
                    <a:lnTo>
                      <a:pt x="140" y="80"/>
                    </a:lnTo>
                    <a:lnTo>
                      <a:pt x="143" y="80"/>
                    </a:lnTo>
                    <a:lnTo>
                      <a:pt x="148" y="82"/>
                    </a:lnTo>
                    <a:lnTo>
                      <a:pt x="151" y="82"/>
                    </a:lnTo>
                    <a:lnTo>
                      <a:pt x="154" y="84"/>
                    </a:lnTo>
                    <a:lnTo>
                      <a:pt x="157" y="85"/>
                    </a:lnTo>
                    <a:lnTo>
                      <a:pt x="162" y="87"/>
                    </a:lnTo>
                    <a:lnTo>
                      <a:pt x="165" y="88"/>
                    </a:lnTo>
                    <a:lnTo>
                      <a:pt x="168" y="88"/>
                    </a:lnTo>
                    <a:lnTo>
                      <a:pt x="172" y="87"/>
                    </a:lnTo>
                    <a:lnTo>
                      <a:pt x="176" y="85"/>
                    </a:lnTo>
                    <a:lnTo>
                      <a:pt x="180" y="84"/>
                    </a:lnTo>
                    <a:lnTo>
                      <a:pt x="187" y="80"/>
                    </a:lnTo>
                    <a:lnTo>
                      <a:pt x="197" y="77"/>
                    </a:lnTo>
                    <a:lnTo>
                      <a:pt x="195" y="74"/>
                    </a:lnTo>
                    <a:lnTo>
                      <a:pt x="192" y="74"/>
                    </a:lnTo>
                    <a:lnTo>
                      <a:pt x="189" y="73"/>
                    </a:lnTo>
                    <a:lnTo>
                      <a:pt x="192" y="73"/>
                    </a:lnTo>
                    <a:lnTo>
                      <a:pt x="194" y="69"/>
                    </a:lnTo>
                    <a:lnTo>
                      <a:pt x="191" y="68"/>
                    </a:lnTo>
                    <a:lnTo>
                      <a:pt x="189" y="65"/>
                    </a:lnTo>
                    <a:lnTo>
                      <a:pt x="186" y="66"/>
                    </a:lnTo>
                    <a:lnTo>
                      <a:pt x="181" y="68"/>
                    </a:lnTo>
                    <a:lnTo>
                      <a:pt x="178" y="68"/>
                    </a:lnTo>
                    <a:lnTo>
                      <a:pt x="175" y="66"/>
                    </a:lnTo>
                    <a:lnTo>
                      <a:pt x="172" y="68"/>
                    </a:lnTo>
                    <a:lnTo>
                      <a:pt x="164" y="68"/>
                    </a:lnTo>
                    <a:lnTo>
                      <a:pt x="160" y="69"/>
                    </a:lnTo>
                    <a:lnTo>
                      <a:pt x="157" y="69"/>
                    </a:lnTo>
                    <a:lnTo>
                      <a:pt x="160" y="66"/>
                    </a:lnTo>
                    <a:lnTo>
                      <a:pt x="164" y="65"/>
                    </a:lnTo>
                    <a:lnTo>
                      <a:pt x="167" y="65"/>
                    </a:lnTo>
                    <a:lnTo>
                      <a:pt x="172" y="61"/>
                    </a:lnTo>
                    <a:lnTo>
                      <a:pt x="168" y="58"/>
                    </a:lnTo>
                    <a:lnTo>
                      <a:pt x="172" y="55"/>
                    </a:lnTo>
                    <a:lnTo>
                      <a:pt x="173" y="52"/>
                    </a:lnTo>
                    <a:lnTo>
                      <a:pt x="172" y="49"/>
                    </a:lnTo>
                    <a:lnTo>
                      <a:pt x="170" y="44"/>
                    </a:lnTo>
                    <a:lnTo>
                      <a:pt x="167" y="44"/>
                    </a:lnTo>
                    <a:lnTo>
                      <a:pt x="164" y="41"/>
                    </a:lnTo>
                    <a:lnTo>
                      <a:pt x="159" y="42"/>
                    </a:lnTo>
                    <a:lnTo>
                      <a:pt x="156" y="41"/>
                    </a:lnTo>
                    <a:lnTo>
                      <a:pt x="154" y="38"/>
                    </a:lnTo>
                    <a:lnTo>
                      <a:pt x="151" y="36"/>
                    </a:lnTo>
                    <a:lnTo>
                      <a:pt x="148" y="34"/>
                    </a:lnTo>
                    <a:lnTo>
                      <a:pt x="145" y="31"/>
                    </a:lnTo>
                    <a:lnTo>
                      <a:pt x="146" y="28"/>
                    </a:lnTo>
                    <a:lnTo>
                      <a:pt x="138" y="27"/>
                    </a:lnTo>
                    <a:lnTo>
                      <a:pt x="129" y="25"/>
                    </a:lnTo>
                    <a:lnTo>
                      <a:pt x="130" y="22"/>
                    </a:lnTo>
                    <a:lnTo>
                      <a:pt x="126" y="19"/>
                    </a:lnTo>
                    <a:lnTo>
                      <a:pt x="122" y="15"/>
                    </a:lnTo>
                    <a:lnTo>
                      <a:pt x="119" y="19"/>
                    </a:lnTo>
                    <a:lnTo>
                      <a:pt x="116" y="20"/>
                    </a:lnTo>
                    <a:lnTo>
                      <a:pt x="111" y="23"/>
                    </a:lnTo>
                    <a:lnTo>
                      <a:pt x="108" y="25"/>
                    </a:lnTo>
                    <a:lnTo>
                      <a:pt x="107" y="22"/>
                    </a:lnTo>
                    <a:lnTo>
                      <a:pt x="110" y="19"/>
                    </a:lnTo>
                    <a:lnTo>
                      <a:pt x="107" y="15"/>
                    </a:lnTo>
                    <a:lnTo>
                      <a:pt x="110" y="12"/>
                    </a:lnTo>
                    <a:lnTo>
                      <a:pt x="113" y="11"/>
                    </a:lnTo>
                    <a:lnTo>
                      <a:pt x="113" y="8"/>
                    </a:lnTo>
                    <a:lnTo>
                      <a:pt x="116" y="4"/>
                    </a:lnTo>
                    <a:lnTo>
                      <a:pt x="111" y="3"/>
                    </a:lnTo>
                    <a:lnTo>
                      <a:pt x="108" y="4"/>
                    </a:lnTo>
                    <a:lnTo>
                      <a:pt x="110" y="1"/>
                    </a:lnTo>
                    <a:lnTo>
                      <a:pt x="107" y="0"/>
                    </a:lnTo>
                    <a:lnTo>
                      <a:pt x="103" y="1"/>
                    </a:lnTo>
                    <a:lnTo>
                      <a:pt x="99" y="3"/>
                    </a:lnTo>
                    <a:lnTo>
                      <a:pt x="95" y="4"/>
                    </a:lnTo>
                    <a:lnTo>
                      <a:pt x="92" y="6"/>
                    </a:lnTo>
                    <a:lnTo>
                      <a:pt x="83" y="15"/>
                    </a:lnTo>
                    <a:lnTo>
                      <a:pt x="73" y="25"/>
                    </a:lnTo>
                    <a:lnTo>
                      <a:pt x="70" y="30"/>
                    </a:lnTo>
                    <a:lnTo>
                      <a:pt x="67" y="31"/>
                    </a:lnTo>
                    <a:lnTo>
                      <a:pt x="65" y="34"/>
                    </a:lnTo>
                    <a:lnTo>
                      <a:pt x="62" y="38"/>
                    </a:lnTo>
                    <a:lnTo>
                      <a:pt x="59" y="41"/>
                    </a:lnTo>
                    <a:lnTo>
                      <a:pt x="54" y="42"/>
                    </a:lnTo>
                    <a:lnTo>
                      <a:pt x="51" y="46"/>
                    </a:lnTo>
                    <a:lnTo>
                      <a:pt x="48" y="49"/>
                    </a:lnTo>
                    <a:lnTo>
                      <a:pt x="45" y="52"/>
                    </a:lnTo>
                    <a:lnTo>
                      <a:pt x="43" y="57"/>
                    </a:lnTo>
                    <a:lnTo>
                      <a:pt x="42" y="60"/>
                    </a:lnTo>
                    <a:lnTo>
                      <a:pt x="43" y="63"/>
                    </a:lnTo>
                    <a:lnTo>
                      <a:pt x="32" y="68"/>
                    </a:lnTo>
                    <a:lnTo>
                      <a:pt x="21" y="69"/>
                    </a:lnTo>
                    <a:lnTo>
                      <a:pt x="10" y="76"/>
                    </a:lnTo>
                    <a:lnTo>
                      <a:pt x="0" y="82"/>
                    </a:lnTo>
                    <a:lnTo>
                      <a:pt x="3" y="85"/>
                    </a:lnTo>
                    <a:lnTo>
                      <a:pt x="7" y="85"/>
                    </a:lnTo>
                    <a:lnTo>
                      <a:pt x="10" y="84"/>
                    </a:lnTo>
                    <a:lnTo>
                      <a:pt x="15" y="82"/>
                    </a:lnTo>
                    <a:lnTo>
                      <a:pt x="18" y="80"/>
                    </a:lnTo>
                    <a:lnTo>
                      <a:pt x="21" y="80"/>
                    </a:lnTo>
                    <a:lnTo>
                      <a:pt x="24" y="82"/>
                    </a:lnTo>
                    <a:lnTo>
                      <a:pt x="29" y="82"/>
                    </a:lnTo>
                    <a:lnTo>
                      <a:pt x="32" y="80"/>
                    </a:lnTo>
                    <a:lnTo>
                      <a:pt x="35" y="80"/>
                    </a:lnTo>
                    <a:lnTo>
                      <a:pt x="38" y="79"/>
                    </a:lnTo>
                    <a:lnTo>
                      <a:pt x="43" y="79"/>
                    </a:lnTo>
                    <a:lnTo>
                      <a:pt x="45" y="7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85" name="Freeform 688"/>
              <p:cNvSpPr>
                <a:spLocks/>
              </p:cNvSpPr>
              <p:nvPr/>
            </p:nvSpPr>
            <p:spPr bwMode="auto">
              <a:xfrm>
                <a:off x="1449" y="1030"/>
                <a:ext cx="93" cy="36"/>
              </a:xfrm>
              <a:custGeom>
                <a:avLst/>
                <a:gdLst>
                  <a:gd name="T0" fmla="*/ 6 w 185"/>
                  <a:gd name="T1" fmla="*/ 67 h 71"/>
                  <a:gd name="T2" fmla="*/ 0 w 185"/>
                  <a:gd name="T3" fmla="*/ 70 h 71"/>
                  <a:gd name="T4" fmla="*/ 6 w 185"/>
                  <a:gd name="T5" fmla="*/ 71 h 71"/>
                  <a:gd name="T6" fmla="*/ 14 w 185"/>
                  <a:gd name="T7" fmla="*/ 70 h 71"/>
                  <a:gd name="T8" fmla="*/ 25 w 185"/>
                  <a:gd name="T9" fmla="*/ 71 h 71"/>
                  <a:gd name="T10" fmla="*/ 25 w 185"/>
                  <a:gd name="T11" fmla="*/ 70 h 71"/>
                  <a:gd name="T12" fmla="*/ 31 w 185"/>
                  <a:gd name="T13" fmla="*/ 65 h 71"/>
                  <a:gd name="T14" fmla="*/ 47 w 185"/>
                  <a:gd name="T15" fmla="*/ 60 h 71"/>
                  <a:gd name="T16" fmla="*/ 57 w 185"/>
                  <a:gd name="T17" fmla="*/ 51 h 71"/>
                  <a:gd name="T18" fmla="*/ 52 w 185"/>
                  <a:gd name="T19" fmla="*/ 47 h 71"/>
                  <a:gd name="T20" fmla="*/ 46 w 185"/>
                  <a:gd name="T21" fmla="*/ 46 h 71"/>
                  <a:gd name="T22" fmla="*/ 54 w 185"/>
                  <a:gd name="T23" fmla="*/ 46 h 71"/>
                  <a:gd name="T24" fmla="*/ 60 w 185"/>
                  <a:gd name="T25" fmla="*/ 44 h 71"/>
                  <a:gd name="T26" fmla="*/ 68 w 185"/>
                  <a:gd name="T27" fmla="*/ 44 h 71"/>
                  <a:gd name="T28" fmla="*/ 90 w 185"/>
                  <a:gd name="T29" fmla="*/ 47 h 71"/>
                  <a:gd name="T30" fmla="*/ 112 w 185"/>
                  <a:gd name="T31" fmla="*/ 41 h 71"/>
                  <a:gd name="T32" fmla="*/ 133 w 185"/>
                  <a:gd name="T33" fmla="*/ 32 h 71"/>
                  <a:gd name="T34" fmla="*/ 135 w 185"/>
                  <a:gd name="T35" fmla="*/ 30 h 71"/>
                  <a:gd name="T36" fmla="*/ 141 w 185"/>
                  <a:gd name="T37" fmla="*/ 27 h 71"/>
                  <a:gd name="T38" fmla="*/ 149 w 185"/>
                  <a:gd name="T39" fmla="*/ 24 h 71"/>
                  <a:gd name="T40" fmla="*/ 155 w 185"/>
                  <a:gd name="T41" fmla="*/ 19 h 71"/>
                  <a:gd name="T42" fmla="*/ 163 w 185"/>
                  <a:gd name="T43" fmla="*/ 19 h 71"/>
                  <a:gd name="T44" fmla="*/ 171 w 185"/>
                  <a:gd name="T45" fmla="*/ 16 h 71"/>
                  <a:gd name="T46" fmla="*/ 177 w 185"/>
                  <a:gd name="T47" fmla="*/ 13 h 71"/>
                  <a:gd name="T48" fmla="*/ 185 w 185"/>
                  <a:gd name="T49" fmla="*/ 9 h 71"/>
                  <a:gd name="T50" fmla="*/ 161 w 185"/>
                  <a:gd name="T51" fmla="*/ 5 h 71"/>
                  <a:gd name="T52" fmla="*/ 138 w 185"/>
                  <a:gd name="T53" fmla="*/ 6 h 71"/>
                  <a:gd name="T54" fmla="*/ 133 w 185"/>
                  <a:gd name="T55" fmla="*/ 2 h 71"/>
                  <a:gd name="T56" fmla="*/ 127 w 185"/>
                  <a:gd name="T57" fmla="*/ 0 h 71"/>
                  <a:gd name="T58" fmla="*/ 120 w 185"/>
                  <a:gd name="T59" fmla="*/ 0 h 71"/>
                  <a:gd name="T60" fmla="*/ 109 w 185"/>
                  <a:gd name="T61" fmla="*/ 0 h 71"/>
                  <a:gd name="T62" fmla="*/ 101 w 185"/>
                  <a:gd name="T63" fmla="*/ 0 h 71"/>
                  <a:gd name="T64" fmla="*/ 95 w 185"/>
                  <a:gd name="T65" fmla="*/ 2 h 71"/>
                  <a:gd name="T66" fmla="*/ 87 w 185"/>
                  <a:gd name="T67" fmla="*/ 2 h 71"/>
                  <a:gd name="T68" fmla="*/ 79 w 185"/>
                  <a:gd name="T69" fmla="*/ 3 h 71"/>
                  <a:gd name="T70" fmla="*/ 71 w 185"/>
                  <a:gd name="T71" fmla="*/ 5 h 71"/>
                  <a:gd name="T72" fmla="*/ 63 w 185"/>
                  <a:gd name="T73" fmla="*/ 5 h 71"/>
                  <a:gd name="T74" fmla="*/ 65 w 185"/>
                  <a:gd name="T75" fmla="*/ 9 h 71"/>
                  <a:gd name="T76" fmla="*/ 66 w 185"/>
                  <a:gd name="T77" fmla="*/ 16 h 71"/>
                  <a:gd name="T78" fmla="*/ 58 w 185"/>
                  <a:gd name="T79" fmla="*/ 16 h 71"/>
                  <a:gd name="T80" fmla="*/ 52 w 185"/>
                  <a:gd name="T81" fmla="*/ 13 h 71"/>
                  <a:gd name="T82" fmla="*/ 44 w 185"/>
                  <a:gd name="T83" fmla="*/ 14 h 71"/>
                  <a:gd name="T84" fmla="*/ 39 w 185"/>
                  <a:gd name="T85" fmla="*/ 21 h 71"/>
                  <a:gd name="T86" fmla="*/ 33 w 185"/>
                  <a:gd name="T87" fmla="*/ 27 h 71"/>
                  <a:gd name="T88" fmla="*/ 28 w 185"/>
                  <a:gd name="T89" fmla="*/ 33 h 71"/>
                  <a:gd name="T90" fmla="*/ 17 w 185"/>
                  <a:gd name="T91" fmla="*/ 41 h 71"/>
                  <a:gd name="T92" fmla="*/ 12 w 185"/>
                  <a:gd name="T93" fmla="*/ 46 h 71"/>
                  <a:gd name="T94" fmla="*/ 16 w 185"/>
                  <a:gd name="T95" fmla="*/ 54 h 71"/>
                  <a:gd name="T96" fmla="*/ 9 w 185"/>
                  <a:gd name="T97" fmla="*/ 60 h 71"/>
                  <a:gd name="T98" fmla="*/ 3 w 185"/>
                  <a:gd name="T99" fmla="*/ 67 h 71"/>
                  <a:gd name="T100" fmla="*/ 11 w 185"/>
                  <a:gd name="T101" fmla="*/ 65 h 71"/>
                  <a:gd name="T102" fmla="*/ 9 w 185"/>
                  <a:gd name="T103" fmla="*/ 67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5" h="71">
                    <a:moveTo>
                      <a:pt x="9" y="67"/>
                    </a:moveTo>
                    <a:lnTo>
                      <a:pt x="6" y="67"/>
                    </a:lnTo>
                    <a:lnTo>
                      <a:pt x="3" y="67"/>
                    </a:lnTo>
                    <a:lnTo>
                      <a:pt x="0" y="70"/>
                    </a:lnTo>
                    <a:lnTo>
                      <a:pt x="3" y="71"/>
                    </a:lnTo>
                    <a:lnTo>
                      <a:pt x="6" y="71"/>
                    </a:lnTo>
                    <a:lnTo>
                      <a:pt x="11" y="70"/>
                    </a:lnTo>
                    <a:lnTo>
                      <a:pt x="14" y="70"/>
                    </a:lnTo>
                    <a:lnTo>
                      <a:pt x="17" y="70"/>
                    </a:lnTo>
                    <a:lnTo>
                      <a:pt x="25" y="71"/>
                    </a:lnTo>
                    <a:lnTo>
                      <a:pt x="28" y="70"/>
                    </a:lnTo>
                    <a:lnTo>
                      <a:pt x="25" y="70"/>
                    </a:lnTo>
                    <a:lnTo>
                      <a:pt x="28" y="68"/>
                    </a:lnTo>
                    <a:lnTo>
                      <a:pt x="31" y="65"/>
                    </a:lnTo>
                    <a:lnTo>
                      <a:pt x="39" y="62"/>
                    </a:lnTo>
                    <a:lnTo>
                      <a:pt x="47" y="60"/>
                    </a:lnTo>
                    <a:lnTo>
                      <a:pt x="57" y="55"/>
                    </a:lnTo>
                    <a:lnTo>
                      <a:pt x="57" y="51"/>
                    </a:lnTo>
                    <a:lnTo>
                      <a:pt x="57" y="47"/>
                    </a:lnTo>
                    <a:lnTo>
                      <a:pt x="52" y="47"/>
                    </a:lnTo>
                    <a:lnTo>
                      <a:pt x="49" y="46"/>
                    </a:lnTo>
                    <a:lnTo>
                      <a:pt x="46" y="46"/>
                    </a:lnTo>
                    <a:lnTo>
                      <a:pt x="49" y="46"/>
                    </a:lnTo>
                    <a:lnTo>
                      <a:pt x="54" y="46"/>
                    </a:lnTo>
                    <a:lnTo>
                      <a:pt x="57" y="46"/>
                    </a:lnTo>
                    <a:lnTo>
                      <a:pt x="60" y="44"/>
                    </a:lnTo>
                    <a:lnTo>
                      <a:pt x="63" y="46"/>
                    </a:lnTo>
                    <a:lnTo>
                      <a:pt x="68" y="44"/>
                    </a:lnTo>
                    <a:lnTo>
                      <a:pt x="79" y="46"/>
                    </a:lnTo>
                    <a:lnTo>
                      <a:pt x="90" y="47"/>
                    </a:lnTo>
                    <a:lnTo>
                      <a:pt x="101" y="46"/>
                    </a:lnTo>
                    <a:lnTo>
                      <a:pt x="112" y="41"/>
                    </a:lnTo>
                    <a:lnTo>
                      <a:pt x="123" y="36"/>
                    </a:lnTo>
                    <a:lnTo>
                      <a:pt x="133" y="32"/>
                    </a:lnTo>
                    <a:lnTo>
                      <a:pt x="130" y="30"/>
                    </a:lnTo>
                    <a:lnTo>
                      <a:pt x="135" y="30"/>
                    </a:lnTo>
                    <a:lnTo>
                      <a:pt x="138" y="28"/>
                    </a:lnTo>
                    <a:lnTo>
                      <a:pt x="141" y="27"/>
                    </a:lnTo>
                    <a:lnTo>
                      <a:pt x="146" y="25"/>
                    </a:lnTo>
                    <a:lnTo>
                      <a:pt x="149" y="24"/>
                    </a:lnTo>
                    <a:lnTo>
                      <a:pt x="152" y="22"/>
                    </a:lnTo>
                    <a:lnTo>
                      <a:pt x="155" y="19"/>
                    </a:lnTo>
                    <a:lnTo>
                      <a:pt x="160" y="19"/>
                    </a:lnTo>
                    <a:lnTo>
                      <a:pt x="163" y="19"/>
                    </a:lnTo>
                    <a:lnTo>
                      <a:pt x="166" y="17"/>
                    </a:lnTo>
                    <a:lnTo>
                      <a:pt x="171" y="16"/>
                    </a:lnTo>
                    <a:lnTo>
                      <a:pt x="174" y="14"/>
                    </a:lnTo>
                    <a:lnTo>
                      <a:pt x="177" y="13"/>
                    </a:lnTo>
                    <a:lnTo>
                      <a:pt x="182" y="9"/>
                    </a:lnTo>
                    <a:lnTo>
                      <a:pt x="185" y="9"/>
                    </a:lnTo>
                    <a:lnTo>
                      <a:pt x="173" y="6"/>
                    </a:lnTo>
                    <a:lnTo>
                      <a:pt x="161" y="5"/>
                    </a:lnTo>
                    <a:lnTo>
                      <a:pt x="149" y="5"/>
                    </a:lnTo>
                    <a:lnTo>
                      <a:pt x="138" y="6"/>
                    </a:lnTo>
                    <a:lnTo>
                      <a:pt x="138" y="3"/>
                    </a:lnTo>
                    <a:lnTo>
                      <a:pt x="133" y="2"/>
                    </a:lnTo>
                    <a:lnTo>
                      <a:pt x="131" y="3"/>
                    </a:lnTo>
                    <a:lnTo>
                      <a:pt x="127" y="0"/>
                    </a:lnTo>
                    <a:lnTo>
                      <a:pt x="123" y="0"/>
                    </a:lnTo>
                    <a:lnTo>
                      <a:pt x="120" y="0"/>
                    </a:lnTo>
                    <a:lnTo>
                      <a:pt x="112" y="0"/>
                    </a:lnTo>
                    <a:lnTo>
                      <a:pt x="109" y="0"/>
                    </a:lnTo>
                    <a:lnTo>
                      <a:pt x="104" y="3"/>
                    </a:lnTo>
                    <a:lnTo>
                      <a:pt x="101" y="0"/>
                    </a:lnTo>
                    <a:lnTo>
                      <a:pt x="98" y="0"/>
                    </a:lnTo>
                    <a:lnTo>
                      <a:pt x="95" y="2"/>
                    </a:lnTo>
                    <a:lnTo>
                      <a:pt x="90" y="2"/>
                    </a:lnTo>
                    <a:lnTo>
                      <a:pt x="87" y="2"/>
                    </a:lnTo>
                    <a:lnTo>
                      <a:pt x="84" y="3"/>
                    </a:lnTo>
                    <a:lnTo>
                      <a:pt x="79" y="3"/>
                    </a:lnTo>
                    <a:lnTo>
                      <a:pt x="76" y="3"/>
                    </a:lnTo>
                    <a:lnTo>
                      <a:pt x="71" y="5"/>
                    </a:lnTo>
                    <a:lnTo>
                      <a:pt x="68" y="5"/>
                    </a:lnTo>
                    <a:lnTo>
                      <a:pt x="63" y="5"/>
                    </a:lnTo>
                    <a:lnTo>
                      <a:pt x="60" y="8"/>
                    </a:lnTo>
                    <a:lnTo>
                      <a:pt x="65" y="9"/>
                    </a:lnTo>
                    <a:lnTo>
                      <a:pt x="63" y="13"/>
                    </a:lnTo>
                    <a:lnTo>
                      <a:pt x="66" y="16"/>
                    </a:lnTo>
                    <a:lnTo>
                      <a:pt x="63" y="17"/>
                    </a:lnTo>
                    <a:lnTo>
                      <a:pt x="58" y="16"/>
                    </a:lnTo>
                    <a:lnTo>
                      <a:pt x="55" y="13"/>
                    </a:lnTo>
                    <a:lnTo>
                      <a:pt x="52" y="13"/>
                    </a:lnTo>
                    <a:lnTo>
                      <a:pt x="47" y="14"/>
                    </a:lnTo>
                    <a:lnTo>
                      <a:pt x="44" y="14"/>
                    </a:lnTo>
                    <a:lnTo>
                      <a:pt x="41" y="17"/>
                    </a:lnTo>
                    <a:lnTo>
                      <a:pt x="39" y="21"/>
                    </a:lnTo>
                    <a:lnTo>
                      <a:pt x="36" y="22"/>
                    </a:lnTo>
                    <a:lnTo>
                      <a:pt x="33" y="27"/>
                    </a:lnTo>
                    <a:lnTo>
                      <a:pt x="30" y="30"/>
                    </a:lnTo>
                    <a:lnTo>
                      <a:pt x="28" y="33"/>
                    </a:lnTo>
                    <a:lnTo>
                      <a:pt x="25" y="33"/>
                    </a:lnTo>
                    <a:lnTo>
                      <a:pt x="17" y="41"/>
                    </a:lnTo>
                    <a:lnTo>
                      <a:pt x="14" y="43"/>
                    </a:lnTo>
                    <a:lnTo>
                      <a:pt x="12" y="46"/>
                    </a:lnTo>
                    <a:lnTo>
                      <a:pt x="16" y="51"/>
                    </a:lnTo>
                    <a:lnTo>
                      <a:pt x="16" y="54"/>
                    </a:lnTo>
                    <a:lnTo>
                      <a:pt x="11" y="55"/>
                    </a:lnTo>
                    <a:lnTo>
                      <a:pt x="9" y="60"/>
                    </a:lnTo>
                    <a:lnTo>
                      <a:pt x="6" y="63"/>
                    </a:lnTo>
                    <a:lnTo>
                      <a:pt x="3" y="67"/>
                    </a:lnTo>
                    <a:lnTo>
                      <a:pt x="6" y="67"/>
                    </a:lnTo>
                    <a:lnTo>
                      <a:pt x="11" y="65"/>
                    </a:lnTo>
                    <a:lnTo>
                      <a:pt x="14" y="65"/>
                    </a:lnTo>
                    <a:lnTo>
                      <a:pt x="9" y="6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86" name="Freeform 689"/>
              <p:cNvSpPr>
                <a:spLocks/>
              </p:cNvSpPr>
              <p:nvPr/>
            </p:nvSpPr>
            <p:spPr bwMode="auto">
              <a:xfrm>
                <a:off x="1456" y="1223"/>
                <a:ext cx="35" cy="15"/>
              </a:xfrm>
              <a:custGeom>
                <a:avLst/>
                <a:gdLst>
                  <a:gd name="T0" fmla="*/ 2 w 70"/>
                  <a:gd name="T1" fmla="*/ 19 h 30"/>
                  <a:gd name="T2" fmla="*/ 0 w 70"/>
                  <a:gd name="T3" fmla="*/ 22 h 30"/>
                  <a:gd name="T4" fmla="*/ 2 w 70"/>
                  <a:gd name="T5" fmla="*/ 25 h 30"/>
                  <a:gd name="T6" fmla="*/ 0 w 70"/>
                  <a:gd name="T7" fmla="*/ 28 h 30"/>
                  <a:gd name="T8" fmla="*/ 3 w 70"/>
                  <a:gd name="T9" fmla="*/ 30 h 30"/>
                  <a:gd name="T10" fmla="*/ 6 w 70"/>
                  <a:gd name="T11" fmla="*/ 28 h 30"/>
                  <a:gd name="T12" fmla="*/ 11 w 70"/>
                  <a:gd name="T13" fmla="*/ 27 h 30"/>
                  <a:gd name="T14" fmla="*/ 14 w 70"/>
                  <a:gd name="T15" fmla="*/ 27 h 30"/>
                  <a:gd name="T16" fmla="*/ 17 w 70"/>
                  <a:gd name="T17" fmla="*/ 30 h 30"/>
                  <a:gd name="T18" fmla="*/ 30 w 70"/>
                  <a:gd name="T19" fmla="*/ 24 h 30"/>
                  <a:gd name="T20" fmla="*/ 43 w 70"/>
                  <a:gd name="T21" fmla="*/ 19 h 30"/>
                  <a:gd name="T22" fmla="*/ 46 w 70"/>
                  <a:gd name="T23" fmla="*/ 17 h 30"/>
                  <a:gd name="T24" fmla="*/ 49 w 70"/>
                  <a:gd name="T25" fmla="*/ 14 h 30"/>
                  <a:gd name="T26" fmla="*/ 52 w 70"/>
                  <a:gd name="T27" fmla="*/ 14 h 30"/>
                  <a:gd name="T28" fmla="*/ 57 w 70"/>
                  <a:gd name="T29" fmla="*/ 13 h 30"/>
                  <a:gd name="T30" fmla="*/ 60 w 70"/>
                  <a:gd name="T31" fmla="*/ 11 h 30"/>
                  <a:gd name="T32" fmla="*/ 63 w 70"/>
                  <a:gd name="T33" fmla="*/ 9 h 30"/>
                  <a:gd name="T34" fmla="*/ 67 w 70"/>
                  <a:gd name="T35" fmla="*/ 6 h 30"/>
                  <a:gd name="T36" fmla="*/ 70 w 70"/>
                  <a:gd name="T37" fmla="*/ 3 h 30"/>
                  <a:gd name="T38" fmla="*/ 67 w 70"/>
                  <a:gd name="T39" fmla="*/ 1 h 30"/>
                  <a:gd name="T40" fmla="*/ 62 w 70"/>
                  <a:gd name="T41" fmla="*/ 0 h 30"/>
                  <a:gd name="T42" fmla="*/ 59 w 70"/>
                  <a:gd name="T43" fmla="*/ 0 h 30"/>
                  <a:gd name="T44" fmla="*/ 55 w 70"/>
                  <a:gd name="T45" fmla="*/ 1 h 30"/>
                  <a:gd name="T46" fmla="*/ 52 w 70"/>
                  <a:gd name="T47" fmla="*/ 1 h 30"/>
                  <a:gd name="T48" fmla="*/ 48 w 70"/>
                  <a:gd name="T49" fmla="*/ 1 h 30"/>
                  <a:gd name="T50" fmla="*/ 44 w 70"/>
                  <a:gd name="T51" fmla="*/ 3 h 30"/>
                  <a:gd name="T52" fmla="*/ 41 w 70"/>
                  <a:gd name="T53" fmla="*/ 5 h 30"/>
                  <a:gd name="T54" fmla="*/ 38 w 70"/>
                  <a:gd name="T55" fmla="*/ 5 h 30"/>
                  <a:gd name="T56" fmla="*/ 33 w 70"/>
                  <a:gd name="T57" fmla="*/ 5 h 30"/>
                  <a:gd name="T58" fmla="*/ 30 w 70"/>
                  <a:gd name="T59" fmla="*/ 3 h 30"/>
                  <a:gd name="T60" fmla="*/ 27 w 70"/>
                  <a:gd name="T61" fmla="*/ 3 h 30"/>
                  <a:gd name="T62" fmla="*/ 24 w 70"/>
                  <a:gd name="T63" fmla="*/ 5 h 30"/>
                  <a:gd name="T64" fmla="*/ 19 w 70"/>
                  <a:gd name="T65" fmla="*/ 8 h 30"/>
                  <a:gd name="T66" fmla="*/ 16 w 70"/>
                  <a:gd name="T67" fmla="*/ 11 h 30"/>
                  <a:gd name="T68" fmla="*/ 9 w 70"/>
                  <a:gd name="T69" fmla="*/ 16 h 30"/>
                  <a:gd name="T70" fmla="*/ 2 w 70"/>
                  <a:gd name="T71" fmla="*/ 19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70" h="30">
                    <a:moveTo>
                      <a:pt x="2" y="19"/>
                    </a:moveTo>
                    <a:lnTo>
                      <a:pt x="0" y="22"/>
                    </a:lnTo>
                    <a:lnTo>
                      <a:pt x="2" y="25"/>
                    </a:lnTo>
                    <a:lnTo>
                      <a:pt x="0" y="28"/>
                    </a:lnTo>
                    <a:lnTo>
                      <a:pt x="3" y="30"/>
                    </a:lnTo>
                    <a:lnTo>
                      <a:pt x="6" y="28"/>
                    </a:lnTo>
                    <a:lnTo>
                      <a:pt x="11" y="27"/>
                    </a:lnTo>
                    <a:lnTo>
                      <a:pt x="14" y="27"/>
                    </a:lnTo>
                    <a:lnTo>
                      <a:pt x="17" y="30"/>
                    </a:lnTo>
                    <a:lnTo>
                      <a:pt x="30" y="24"/>
                    </a:lnTo>
                    <a:lnTo>
                      <a:pt x="43" y="19"/>
                    </a:lnTo>
                    <a:lnTo>
                      <a:pt x="46" y="17"/>
                    </a:lnTo>
                    <a:lnTo>
                      <a:pt x="49" y="14"/>
                    </a:lnTo>
                    <a:lnTo>
                      <a:pt x="52" y="14"/>
                    </a:lnTo>
                    <a:lnTo>
                      <a:pt x="57" y="13"/>
                    </a:lnTo>
                    <a:lnTo>
                      <a:pt x="60" y="11"/>
                    </a:lnTo>
                    <a:lnTo>
                      <a:pt x="63" y="9"/>
                    </a:lnTo>
                    <a:lnTo>
                      <a:pt x="67" y="6"/>
                    </a:lnTo>
                    <a:lnTo>
                      <a:pt x="70" y="3"/>
                    </a:lnTo>
                    <a:lnTo>
                      <a:pt x="67" y="1"/>
                    </a:lnTo>
                    <a:lnTo>
                      <a:pt x="62" y="0"/>
                    </a:lnTo>
                    <a:lnTo>
                      <a:pt x="59" y="0"/>
                    </a:lnTo>
                    <a:lnTo>
                      <a:pt x="55" y="1"/>
                    </a:lnTo>
                    <a:lnTo>
                      <a:pt x="52" y="1"/>
                    </a:lnTo>
                    <a:lnTo>
                      <a:pt x="48" y="1"/>
                    </a:lnTo>
                    <a:lnTo>
                      <a:pt x="44" y="3"/>
                    </a:lnTo>
                    <a:lnTo>
                      <a:pt x="41" y="5"/>
                    </a:lnTo>
                    <a:lnTo>
                      <a:pt x="38" y="5"/>
                    </a:lnTo>
                    <a:lnTo>
                      <a:pt x="33" y="5"/>
                    </a:lnTo>
                    <a:lnTo>
                      <a:pt x="30" y="3"/>
                    </a:lnTo>
                    <a:lnTo>
                      <a:pt x="27" y="3"/>
                    </a:lnTo>
                    <a:lnTo>
                      <a:pt x="24" y="5"/>
                    </a:lnTo>
                    <a:lnTo>
                      <a:pt x="19" y="8"/>
                    </a:lnTo>
                    <a:lnTo>
                      <a:pt x="16" y="11"/>
                    </a:lnTo>
                    <a:lnTo>
                      <a:pt x="9" y="16"/>
                    </a:lnTo>
                    <a:lnTo>
                      <a:pt x="2" y="19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87" name="Freeform 690"/>
              <p:cNvSpPr>
                <a:spLocks/>
              </p:cNvSpPr>
              <p:nvPr/>
            </p:nvSpPr>
            <p:spPr bwMode="auto">
              <a:xfrm>
                <a:off x="1484" y="1006"/>
                <a:ext cx="41" cy="17"/>
              </a:xfrm>
              <a:custGeom>
                <a:avLst/>
                <a:gdLst>
                  <a:gd name="T0" fmla="*/ 66 w 83"/>
                  <a:gd name="T1" fmla="*/ 0 h 34"/>
                  <a:gd name="T2" fmla="*/ 56 w 83"/>
                  <a:gd name="T3" fmla="*/ 2 h 34"/>
                  <a:gd name="T4" fmla="*/ 46 w 83"/>
                  <a:gd name="T5" fmla="*/ 4 h 34"/>
                  <a:gd name="T6" fmla="*/ 43 w 83"/>
                  <a:gd name="T7" fmla="*/ 4 h 34"/>
                  <a:gd name="T8" fmla="*/ 40 w 83"/>
                  <a:gd name="T9" fmla="*/ 5 h 34"/>
                  <a:gd name="T10" fmla="*/ 37 w 83"/>
                  <a:gd name="T11" fmla="*/ 5 h 34"/>
                  <a:gd name="T12" fmla="*/ 32 w 83"/>
                  <a:gd name="T13" fmla="*/ 8 h 34"/>
                  <a:gd name="T14" fmla="*/ 29 w 83"/>
                  <a:gd name="T15" fmla="*/ 8 h 34"/>
                  <a:gd name="T16" fmla="*/ 26 w 83"/>
                  <a:gd name="T17" fmla="*/ 8 h 34"/>
                  <a:gd name="T18" fmla="*/ 29 w 83"/>
                  <a:gd name="T19" fmla="*/ 8 h 34"/>
                  <a:gd name="T20" fmla="*/ 32 w 83"/>
                  <a:gd name="T21" fmla="*/ 8 h 34"/>
                  <a:gd name="T22" fmla="*/ 29 w 83"/>
                  <a:gd name="T23" fmla="*/ 10 h 34"/>
                  <a:gd name="T24" fmla="*/ 26 w 83"/>
                  <a:gd name="T25" fmla="*/ 10 h 34"/>
                  <a:gd name="T26" fmla="*/ 21 w 83"/>
                  <a:gd name="T27" fmla="*/ 11 h 34"/>
                  <a:gd name="T28" fmla="*/ 26 w 83"/>
                  <a:gd name="T29" fmla="*/ 11 h 34"/>
                  <a:gd name="T30" fmla="*/ 13 w 83"/>
                  <a:gd name="T31" fmla="*/ 15 h 34"/>
                  <a:gd name="T32" fmla="*/ 0 w 83"/>
                  <a:gd name="T33" fmla="*/ 21 h 34"/>
                  <a:gd name="T34" fmla="*/ 4 w 83"/>
                  <a:gd name="T35" fmla="*/ 21 h 34"/>
                  <a:gd name="T36" fmla="*/ 7 w 83"/>
                  <a:gd name="T37" fmla="*/ 23 h 34"/>
                  <a:gd name="T38" fmla="*/ 12 w 83"/>
                  <a:gd name="T39" fmla="*/ 21 h 34"/>
                  <a:gd name="T40" fmla="*/ 8 w 83"/>
                  <a:gd name="T41" fmla="*/ 24 h 34"/>
                  <a:gd name="T42" fmla="*/ 12 w 83"/>
                  <a:gd name="T43" fmla="*/ 27 h 34"/>
                  <a:gd name="T44" fmla="*/ 16 w 83"/>
                  <a:gd name="T45" fmla="*/ 27 h 34"/>
                  <a:gd name="T46" fmla="*/ 23 w 83"/>
                  <a:gd name="T47" fmla="*/ 27 h 34"/>
                  <a:gd name="T48" fmla="*/ 26 w 83"/>
                  <a:gd name="T49" fmla="*/ 29 h 34"/>
                  <a:gd name="T50" fmla="*/ 32 w 83"/>
                  <a:gd name="T51" fmla="*/ 32 h 34"/>
                  <a:gd name="T52" fmla="*/ 37 w 83"/>
                  <a:gd name="T53" fmla="*/ 34 h 34"/>
                  <a:gd name="T54" fmla="*/ 42 w 83"/>
                  <a:gd name="T55" fmla="*/ 32 h 34"/>
                  <a:gd name="T56" fmla="*/ 48 w 83"/>
                  <a:gd name="T57" fmla="*/ 32 h 34"/>
                  <a:gd name="T58" fmla="*/ 51 w 83"/>
                  <a:gd name="T59" fmla="*/ 32 h 34"/>
                  <a:gd name="T60" fmla="*/ 56 w 83"/>
                  <a:gd name="T61" fmla="*/ 32 h 34"/>
                  <a:gd name="T62" fmla="*/ 59 w 83"/>
                  <a:gd name="T63" fmla="*/ 32 h 34"/>
                  <a:gd name="T64" fmla="*/ 62 w 83"/>
                  <a:gd name="T65" fmla="*/ 32 h 34"/>
                  <a:gd name="T66" fmla="*/ 70 w 83"/>
                  <a:gd name="T67" fmla="*/ 27 h 34"/>
                  <a:gd name="T68" fmla="*/ 73 w 83"/>
                  <a:gd name="T69" fmla="*/ 24 h 34"/>
                  <a:gd name="T70" fmla="*/ 75 w 83"/>
                  <a:gd name="T71" fmla="*/ 21 h 34"/>
                  <a:gd name="T72" fmla="*/ 80 w 83"/>
                  <a:gd name="T73" fmla="*/ 18 h 34"/>
                  <a:gd name="T74" fmla="*/ 81 w 83"/>
                  <a:gd name="T75" fmla="*/ 15 h 34"/>
                  <a:gd name="T76" fmla="*/ 83 w 83"/>
                  <a:gd name="T77" fmla="*/ 10 h 34"/>
                  <a:gd name="T78" fmla="*/ 80 w 83"/>
                  <a:gd name="T79" fmla="*/ 8 h 34"/>
                  <a:gd name="T80" fmla="*/ 77 w 83"/>
                  <a:gd name="T81" fmla="*/ 4 h 34"/>
                  <a:gd name="T82" fmla="*/ 73 w 83"/>
                  <a:gd name="T83" fmla="*/ 2 h 34"/>
                  <a:gd name="T84" fmla="*/ 70 w 83"/>
                  <a:gd name="T85" fmla="*/ 2 h 34"/>
                  <a:gd name="T86" fmla="*/ 67 w 83"/>
                  <a:gd name="T87" fmla="*/ 0 h 34"/>
                  <a:gd name="T88" fmla="*/ 66 w 83"/>
                  <a:gd name="T89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83" h="34">
                    <a:moveTo>
                      <a:pt x="66" y="0"/>
                    </a:moveTo>
                    <a:lnTo>
                      <a:pt x="56" y="2"/>
                    </a:lnTo>
                    <a:lnTo>
                      <a:pt x="46" y="4"/>
                    </a:lnTo>
                    <a:lnTo>
                      <a:pt x="43" y="4"/>
                    </a:lnTo>
                    <a:lnTo>
                      <a:pt x="40" y="5"/>
                    </a:lnTo>
                    <a:lnTo>
                      <a:pt x="37" y="5"/>
                    </a:lnTo>
                    <a:lnTo>
                      <a:pt x="32" y="8"/>
                    </a:lnTo>
                    <a:lnTo>
                      <a:pt x="29" y="8"/>
                    </a:lnTo>
                    <a:lnTo>
                      <a:pt x="26" y="8"/>
                    </a:lnTo>
                    <a:lnTo>
                      <a:pt x="29" y="8"/>
                    </a:lnTo>
                    <a:lnTo>
                      <a:pt x="32" y="8"/>
                    </a:lnTo>
                    <a:lnTo>
                      <a:pt x="29" y="10"/>
                    </a:lnTo>
                    <a:lnTo>
                      <a:pt x="26" y="10"/>
                    </a:lnTo>
                    <a:lnTo>
                      <a:pt x="21" y="11"/>
                    </a:lnTo>
                    <a:lnTo>
                      <a:pt x="26" y="11"/>
                    </a:lnTo>
                    <a:lnTo>
                      <a:pt x="13" y="15"/>
                    </a:lnTo>
                    <a:lnTo>
                      <a:pt x="0" y="21"/>
                    </a:lnTo>
                    <a:lnTo>
                      <a:pt x="4" y="21"/>
                    </a:lnTo>
                    <a:lnTo>
                      <a:pt x="7" y="23"/>
                    </a:lnTo>
                    <a:lnTo>
                      <a:pt x="12" y="21"/>
                    </a:lnTo>
                    <a:lnTo>
                      <a:pt x="8" y="24"/>
                    </a:lnTo>
                    <a:lnTo>
                      <a:pt x="12" y="27"/>
                    </a:lnTo>
                    <a:lnTo>
                      <a:pt x="16" y="27"/>
                    </a:lnTo>
                    <a:lnTo>
                      <a:pt x="23" y="27"/>
                    </a:lnTo>
                    <a:lnTo>
                      <a:pt x="26" y="29"/>
                    </a:lnTo>
                    <a:lnTo>
                      <a:pt x="32" y="32"/>
                    </a:lnTo>
                    <a:lnTo>
                      <a:pt x="37" y="34"/>
                    </a:lnTo>
                    <a:lnTo>
                      <a:pt x="42" y="32"/>
                    </a:lnTo>
                    <a:lnTo>
                      <a:pt x="48" y="32"/>
                    </a:lnTo>
                    <a:lnTo>
                      <a:pt x="51" y="32"/>
                    </a:lnTo>
                    <a:lnTo>
                      <a:pt x="56" y="32"/>
                    </a:lnTo>
                    <a:lnTo>
                      <a:pt x="59" y="32"/>
                    </a:lnTo>
                    <a:lnTo>
                      <a:pt x="62" y="32"/>
                    </a:lnTo>
                    <a:lnTo>
                      <a:pt x="70" y="27"/>
                    </a:lnTo>
                    <a:lnTo>
                      <a:pt x="73" y="24"/>
                    </a:lnTo>
                    <a:lnTo>
                      <a:pt x="75" y="21"/>
                    </a:lnTo>
                    <a:lnTo>
                      <a:pt x="80" y="18"/>
                    </a:lnTo>
                    <a:lnTo>
                      <a:pt x="81" y="15"/>
                    </a:lnTo>
                    <a:lnTo>
                      <a:pt x="83" y="10"/>
                    </a:lnTo>
                    <a:lnTo>
                      <a:pt x="80" y="8"/>
                    </a:lnTo>
                    <a:lnTo>
                      <a:pt x="77" y="4"/>
                    </a:lnTo>
                    <a:lnTo>
                      <a:pt x="73" y="2"/>
                    </a:lnTo>
                    <a:lnTo>
                      <a:pt x="70" y="2"/>
                    </a:lnTo>
                    <a:lnTo>
                      <a:pt x="67" y="0"/>
                    </a:lnTo>
                    <a:lnTo>
                      <a:pt x="66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88" name="Freeform 691"/>
              <p:cNvSpPr>
                <a:spLocks/>
              </p:cNvSpPr>
              <p:nvPr/>
            </p:nvSpPr>
            <p:spPr bwMode="auto">
              <a:xfrm>
                <a:off x="1490" y="1128"/>
                <a:ext cx="11" cy="11"/>
              </a:xfrm>
              <a:custGeom>
                <a:avLst/>
                <a:gdLst>
                  <a:gd name="T0" fmla="*/ 22 w 22"/>
                  <a:gd name="T1" fmla="*/ 4 h 20"/>
                  <a:gd name="T2" fmla="*/ 22 w 22"/>
                  <a:gd name="T3" fmla="*/ 1 h 20"/>
                  <a:gd name="T4" fmla="*/ 19 w 22"/>
                  <a:gd name="T5" fmla="*/ 0 h 20"/>
                  <a:gd name="T6" fmla="*/ 16 w 22"/>
                  <a:gd name="T7" fmla="*/ 1 h 20"/>
                  <a:gd name="T8" fmla="*/ 13 w 22"/>
                  <a:gd name="T9" fmla="*/ 3 h 20"/>
                  <a:gd name="T10" fmla="*/ 8 w 22"/>
                  <a:gd name="T11" fmla="*/ 6 h 20"/>
                  <a:gd name="T12" fmla="*/ 5 w 22"/>
                  <a:gd name="T13" fmla="*/ 9 h 20"/>
                  <a:gd name="T14" fmla="*/ 5 w 22"/>
                  <a:gd name="T15" fmla="*/ 12 h 20"/>
                  <a:gd name="T16" fmla="*/ 2 w 22"/>
                  <a:gd name="T17" fmla="*/ 14 h 20"/>
                  <a:gd name="T18" fmla="*/ 0 w 22"/>
                  <a:gd name="T19" fmla="*/ 17 h 20"/>
                  <a:gd name="T20" fmla="*/ 3 w 22"/>
                  <a:gd name="T21" fmla="*/ 20 h 20"/>
                  <a:gd name="T22" fmla="*/ 7 w 22"/>
                  <a:gd name="T23" fmla="*/ 19 h 20"/>
                  <a:gd name="T24" fmla="*/ 11 w 22"/>
                  <a:gd name="T25" fmla="*/ 17 h 20"/>
                  <a:gd name="T26" fmla="*/ 14 w 22"/>
                  <a:gd name="T27" fmla="*/ 15 h 20"/>
                  <a:gd name="T28" fmla="*/ 18 w 22"/>
                  <a:gd name="T29" fmla="*/ 12 h 20"/>
                  <a:gd name="T30" fmla="*/ 19 w 22"/>
                  <a:gd name="T31" fmla="*/ 7 h 20"/>
                  <a:gd name="T32" fmla="*/ 22 w 22"/>
                  <a:gd name="T33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2" h="20">
                    <a:moveTo>
                      <a:pt x="22" y="4"/>
                    </a:moveTo>
                    <a:lnTo>
                      <a:pt x="22" y="1"/>
                    </a:lnTo>
                    <a:lnTo>
                      <a:pt x="19" y="0"/>
                    </a:lnTo>
                    <a:lnTo>
                      <a:pt x="16" y="1"/>
                    </a:lnTo>
                    <a:lnTo>
                      <a:pt x="13" y="3"/>
                    </a:lnTo>
                    <a:lnTo>
                      <a:pt x="8" y="6"/>
                    </a:lnTo>
                    <a:lnTo>
                      <a:pt x="5" y="9"/>
                    </a:lnTo>
                    <a:lnTo>
                      <a:pt x="5" y="12"/>
                    </a:lnTo>
                    <a:lnTo>
                      <a:pt x="2" y="14"/>
                    </a:lnTo>
                    <a:lnTo>
                      <a:pt x="0" y="17"/>
                    </a:lnTo>
                    <a:lnTo>
                      <a:pt x="3" y="20"/>
                    </a:lnTo>
                    <a:lnTo>
                      <a:pt x="7" y="19"/>
                    </a:lnTo>
                    <a:lnTo>
                      <a:pt x="11" y="17"/>
                    </a:lnTo>
                    <a:lnTo>
                      <a:pt x="14" y="15"/>
                    </a:lnTo>
                    <a:lnTo>
                      <a:pt x="18" y="12"/>
                    </a:lnTo>
                    <a:lnTo>
                      <a:pt x="19" y="7"/>
                    </a:lnTo>
                    <a:lnTo>
                      <a:pt x="22" y="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89" name="Freeform 692"/>
              <p:cNvSpPr>
                <a:spLocks/>
              </p:cNvSpPr>
              <p:nvPr/>
            </p:nvSpPr>
            <p:spPr bwMode="auto">
              <a:xfrm>
                <a:off x="1500" y="1234"/>
                <a:ext cx="19" cy="16"/>
              </a:xfrm>
              <a:custGeom>
                <a:avLst/>
                <a:gdLst>
                  <a:gd name="T0" fmla="*/ 3 w 38"/>
                  <a:gd name="T1" fmla="*/ 27 h 32"/>
                  <a:gd name="T2" fmla="*/ 5 w 38"/>
                  <a:gd name="T3" fmla="*/ 27 h 32"/>
                  <a:gd name="T4" fmla="*/ 6 w 38"/>
                  <a:gd name="T5" fmla="*/ 32 h 32"/>
                  <a:gd name="T6" fmla="*/ 16 w 38"/>
                  <a:gd name="T7" fmla="*/ 26 h 32"/>
                  <a:gd name="T8" fmla="*/ 24 w 38"/>
                  <a:gd name="T9" fmla="*/ 19 h 32"/>
                  <a:gd name="T10" fmla="*/ 32 w 38"/>
                  <a:gd name="T11" fmla="*/ 15 h 32"/>
                  <a:gd name="T12" fmla="*/ 35 w 38"/>
                  <a:gd name="T13" fmla="*/ 12 h 32"/>
                  <a:gd name="T14" fmla="*/ 38 w 38"/>
                  <a:gd name="T15" fmla="*/ 8 h 32"/>
                  <a:gd name="T16" fmla="*/ 36 w 38"/>
                  <a:gd name="T17" fmla="*/ 4 h 32"/>
                  <a:gd name="T18" fmla="*/ 35 w 38"/>
                  <a:gd name="T19" fmla="*/ 0 h 32"/>
                  <a:gd name="T20" fmla="*/ 28 w 38"/>
                  <a:gd name="T21" fmla="*/ 2 h 32"/>
                  <a:gd name="T22" fmla="*/ 24 w 38"/>
                  <a:gd name="T23" fmla="*/ 2 h 32"/>
                  <a:gd name="T24" fmla="*/ 20 w 38"/>
                  <a:gd name="T25" fmla="*/ 2 h 32"/>
                  <a:gd name="T26" fmla="*/ 14 w 38"/>
                  <a:gd name="T27" fmla="*/ 7 h 32"/>
                  <a:gd name="T28" fmla="*/ 11 w 38"/>
                  <a:gd name="T29" fmla="*/ 8 h 32"/>
                  <a:gd name="T30" fmla="*/ 8 w 38"/>
                  <a:gd name="T31" fmla="*/ 12 h 32"/>
                  <a:gd name="T32" fmla="*/ 5 w 38"/>
                  <a:gd name="T33" fmla="*/ 15 h 32"/>
                  <a:gd name="T34" fmla="*/ 1 w 38"/>
                  <a:gd name="T35" fmla="*/ 18 h 32"/>
                  <a:gd name="T36" fmla="*/ 0 w 38"/>
                  <a:gd name="T37" fmla="*/ 21 h 32"/>
                  <a:gd name="T38" fmla="*/ 0 w 38"/>
                  <a:gd name="T39" fmla="*/ 26 h 32"/>
                  <a:gd name="T40" fmla="*/ 3 w 38"/>
                  <a:gd name="T41" fmla="*/ 27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8" h="32">
                    <a:moveTo>
                      <a:pt x="3" y="27"/>
                    </a:moveTo>
                    <a:lnTo>
                      <a:pt x="5" y="27"/>
                    </a:lnTo>
                    <a:lnTo>
                      <a:pt x="6" y="32"/>
                    </a:lnTo>
                    <a:lnTo>
                      <a:pt x="16" y="26"/>
                    </a:lnTo>
                    <a:lnTo>
                      <a:pt x="24" y="19"/>
                    </a:lnTo>
                    <a:lnTo>
                      <a:pt x="32" y="15"/>
                    </a:lnTo>
                    <a:lnTo>
                      <a:pt x="35" y="12"/>
                    </a:lnTo>
                    <a:lnTo>
                      <a:pt x="38" y="8"/>
                    </a:lnTo>
                    <a:lnTo>
                      <a:pt x="36" y="4"/>
                    </a:lnTo>
                    <a:lnTo>
                      <a:pt x="35" y="0"/>
                    </a:lnTo>
                    <a:lnTo>
                      <a:pt x="28" y="2"/>
                    </a:lnTo>
                    <a:lnTo>
                      <a:pt x="24" y="2"/>
                    </a:lnTo>
                    <a:lnTo>
                      <a:pt x="20" y="2"/>
                    </a:lnTo>
                    <a:lnTo>
                      <a:pt x="14" y="7"/>
                    </a:lnTo>
                    <a:lnTo>
                      <a:pt x="11" y="8"/>
                    </a:lnTo>
                    <a:lnTo>
                      <a:pt x="8" y="12"/>
                    </a:lnTo>
                    <a:lnTo>
                      <a:pt x="5" y="15"/>
                    </a:lnTo>
                    <a:lnTo>
                      <a:pt x="1" y="18"/>
                    </a:lnTo>
                    <a:lnTo>
                      <a:pt x="0" y="21"/>
                    </a:lnTo>
                    <a:lnTo>
                      <a:pt x="0" y="26"/>
                    </a:lnTo>
                    <a:lnTo>
                      <a:pt x="3" y="2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90" name="Freeform 693"/>
              <p:cNvSpPr>
                <a:spLocks/>
              </p:cNvSpPr>
              <p:nvPr/>
            </p:nvSpPr>
            <p:spPr bwMode="auto">
              <a:xfrm>
                <a:off x="1513" y="985"/>
                <a:ext cx="184" cy="40"/>
              </a:xfrm>
              <a:custGeom>
                <a:avLst/>
                <a:gdLst>
                  <a:gd name="T0" fmla="*/ 70 w 368"/>
                  <a:gd name="T1" fmla="*/ 20 h 80"/>
                  <a:gd name="T2" fmla="*/ 81 w 368"/>
                  <a:gd name="T3" fmla="*/ 34 h 80"/>
                  <a:gd name="T4" fmla="*/ 59 w 368"/>
                  <a:gd name="T5" fmla="*/ 49 h 80"/>
                  <a:gd name="T6" fmla="*/ 52 w 368"/>
                  <a:gd name="T7" fmla="*/ 60 h 80"/>
                  <a:gd name="T8" fmla="*/ 52 w 368"/>
                  <a:gd name="T9" fmla="*/ 74 h 80"/>
                  <a:gd name="T10" fmla="*/ 76 w 368"/>
                  <a:gd name="T11" fmla="*/ 66 h 80"/>
                  <a:gd name="T12" fmla="*/ 81 w 368"/>
                  <a:gd name="T13" fmla="*/ 76 h 80"/>
                  <a:gd name="T14" fmla="*/ 102 w 368"/>
                  <a:gd name="T15" fmla="*/ 76 h 80"/>
                  <a:gd name="T16" fmla="*/ 118 w 368"/>
                  <a:gd name="T17" fmla="*/ 74 h 80"/>
                  <a:gd name="T18" fmla="*/ 132 w 368"/>
                  <a:gd name="T19" fmla="*/ 71 h 80"/>
                  <a:gd name="T20" fmla="*/ 132 w 368"/>
                  <a:gd name="T21" fmla="*/ 80 h 80"/>
                  <a:gd name="T22" fmla="*/ 154 w 368"/>
                  <a:gd name="T23" fmla="*/ 80 h 80"/>
                  <a:gd name="T24" fmla="*/ 171 w 368"/>
                  <a:gd name="T25" fmla="*/ 79 h 80"/>
                  <a:gd name="T26" fmla="*/ 190 w 368"/>
                  <a:gd name="T27" fmla="*/ 79 h 80"/>
                  <a:gd name="T28" fmla="*/ 210 w 368"/>
                  <a:gd name="T29" fmla="*/ 76 h 80"/>
                  <a:gd name="T30" fmla="*/ 224 w 368"/>
                  <a:gd name="T31" fmla="*/ 79 h 80"/>
                  <a:gd name="T32" fmla="*/ 254 w 368"/>
                  <a:gd name="T33" fmla="*/ 72 h 80"/>
                  <a:gd name="T34" fmla="*/ 262 w 368"/>
                  <a:gd name="T35" fmla="*/ 79 h 80"/>
                  <a:gd name="T36" fmla="*/ 294 w 368"/>
                  <a:gd name="T37" fmla="*/ 79 h 80"/>
                  <a:gd name="T38" fmla="*/ 333 w 368"/>
                  <a:gd name="T39" fmla="*/ 71 h 80"/>
                  <a:gd name="T40" fmla="*/ 346 w 368"/>
                  <a:gd name="T41" fmla="*/ 68 h 80"/>
                  <a:gd name="T42" fmla="*/ 347 w 368"/>
                  <a:gd name="T43" fmla="*/ 63 h 80"/>
                  <a:gd name="T44" fmla="*/ 341 w 368"/>
                  <a:gd name="T45" fmla="*/ 61 h 80"/>
                  <a:gd name="T46" fmla="*/ 363 w 368"/>
                  <a:gd name="T47" fmla="*/ 55 h 80"/>
                  <a:gd name="T48" fmla="*/ 355 w 368"/>
                  <a:gd name="T49" fmla="*/ 47 h 80"/>
                  <a:gd name="T50" fmla="*/ 347 w 368"/>
                  <a:gd name="T51" fmla="*/ 42 h 80"/>
                  <a:gd name="T52" fmla="*/ 311 w 368"/>
                  <a:gd name="T53" fmla="*/ 38 h 80"/>
                  <a:gd name="T54" fmla="*/ 278 w 368"/>
                  <a:gd name="T55" fmla="*/ 38 h 80"/>
                  <a:gd name="T56" fmla="*/ 251 w 368"/>
                  <a:gd name="T57" fmla="*/ 42 h 80"/>
                  <a:gd name="T58" fmla="*/ 224 w 368"/>
                  <a:gd name="T59" fmla="*/ 46 h 80"/>
                  <a:gd name="T60" fmla="*/ 202 w 368"/>
                  <a:gd name="T61" fmla="*/ 50 h 80"/>
                  <a:gd name="T62" fmla="*/ 181 w 368"/>
                  <a:gd name="T63" fmla="*/ 46 h 80"/>
                  <a:gd name="T64" fmla="*/ 164 w 368"/>
                  <a:gd name="T65" fmla="*/ 47 h 80"/>
                  <a:gd name="T66" fmla="*/ 149 w 368"/>
                  <a:gd name="T67" fmla="*/ 44 h 80"/>
                  <a:gd name="T68" fmla="*/ 132 w 368"/>
                  <a:gd name="T69" fmla="*/ 46 h 80"/>
                  <a:gd name="T70" fmla="*/ 140 w 368"/>
                  <a:gd name="T71" fmla="*/ 42 h 80"/>
                  <a:gd name="T72" fmla="*/ 140 w 368"/>
                  <a:gd name="T73" fmla="*/ 34 h 80"/>
                  <a:gd name="T74" fmla="*/ 119 w 368"/>
                  <a:gd name="T75" fmla="*/ 33 h 80"/>
                  <a:gd name="T76" fmla="*/ 113 w 368"/>
                  <a:gd name="T77" fmla="*/ 33 h 80"/>
                  <a:gd name="T78" fmla="*/ 130 w 368"/>
                  <a:gd name="T79" fmla="*/ 30 h 80"/>
                  <a:gd name="T80" fmla="*/ 116 w 368"/>
                  <a:gd name="T81" fmla="*/ 26 h 80"/>
                  <a:gd name="T82" fmla="*/ 116 w 368"/>
                  <a:gd name="T83" fmla="*/ 25 h 80"/>
                  <a:gd name="T84" fmla="*/ 138 w 368"/>
                  <a:gd name="T85" fmla="*/ 28 h 80"/>
                  <a:gd name="T86" fmla="*/ 151 w 368"/>
                  <a:gd name="T87" fmla="*/ 20 h 80"/>
                  <a:gd name="T88" fmla="*/ 124 w 368"/>
                  <a:gd name="T89" fmla="*/ 15 h 80"/>
                  <a:gd name="T90" fmla="*/ 140 w 368"/>
                  <a:gd name="T91" fmla="*/ 14 h 80"/>
                  <a:gd name="T92" fmla="*/ 106 w 368"/>
                  <a:gd name="T93" fmla="*/ 12 h 80"/>
                  <a:gd name="T94" fmla="*/ 75 w 368"/>
                  <a:gd name="T95" fmla="*/ 17 h 80"/>
                  <a:gd name="T96" fmla="*/ 87 w 368"/>
                  <a:gd name="T97" fmla="*/ 7 h 80"/>
                  <a:gd name="T98" fmla="*/ 60 w 368"/>
                  <a:gd name="T99" fmla="*/ 1 h 80"/>
                  <a:gd name="T100" fmla="*/ 32 w 368"/>
                  <a:gd name="T101" fmla="*/ 0 h 80"/>
                  <a:gd name="T102" fmla="*/ 11 w 368"/>
                  <a:gd name="T103" fmla="*/ 6 h 80"/>
                  <a:gd name="T104" fmla="*/ 3 w 368"/>
                  <a:gd name="T105" fmla="*/ 11 h 80"/>
                  <a:gd name="T106" fmla="*/ 26 w 368"/>
                  <a:gd name="T107" fmla="*/ 12 h 80"/>
                  <a:gd name="T108" fmla="*/ 16 w 368"/>
                  <a:gd name="T109" fmla="*/ 20 h 80"/>
                  <a:gd name="T110" fmla="*/ 30 w 368"/>
                  <a:gd name="T111" fmla="*/ 22 h 80"/>
                  <a:gd name="T112" fmla="*/ 30 w 368"/>
                  <a:gd name="T113" fmla="*/ 23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368" h="80">
                    <a:moveTo>
                      <a:pt x="52" y="23"/>
                    </a:moveTo>
                    <a:lnTo>
                      <a:pt x="57" y="23"/>
                    </a:lnTo>
                    <a:lnTo>
                      <a:pt x="60" y="22"/>
                    </a:lnTo>
                    <a:lnTo>
                      <a:pt x="64" y="22"/>
                    </a:lnTo>
                    <a:lnTo>
                      <a:pt x="67" y="22"/>
                    </a:lnTo>
                    <a:lnTo>
                      <a:pt x="70" y="20"/>
                    </a:lnTo>
                    <a:lnTo>
                      <a:pt x="75" y="20"/>
                    </a:lnTo>
                    <a:lnTo>
                      <a:pt x="75" y="23"/>
                    </a:lnTo>
                    <a:lnTo>
                      <a:pt x="78" y="26"/>
                    </a:lnTo>
                    <a:lnTo>
                      <a:pt x="75" y="30"/>
                    </a:lnTo>
                    <a:lnTo>
                      <a:pt x="76" y="34"/>
                    </a:lnTo>
                    <a:lnTo>
                      <a:pt x="81" y="34"/>
                    </a:lnTo>
                    <a:lnTo>
                      <a:pt x="76" y="39"/>
                    </a:lnTo>
                    <a:lnTo>
                      <a:pt x="76" y="42"/>
                    </a:lnTo>
                    <a:lnTo>
                      <a:pt x="73" y="44"/>
                    </a:lnTo>
                    <a:lnTo>
                      <a:pt x="68" y="46"/>
                    </a:lnTo>
                    <a:lnTo>
                      <a:pt x="65" y="47"/>
                    </a:lnTo>
                    <a:lnTo>
                      <a:pt x="59" y="49"/>
                    </a:lnTo>
                    <a:lnTo>
                      <a:pt x="54" y="52"/>
                    </a:lnTo>
                    <a:lnTo>
                      <a:pt x="51" y="53"/>
                    </a:lnTo>
                    <a:lnTo>
                      <a:pt x="49" y="57"/>
                    </a:lnTo>
                    <a:lnTo>
                      <a:pt x="52" y="58"/>
                    </a:lnTo>
                    <a:lnTo>
                      <a:pt x="56" y="58"/>
                    </a:lnTo>
                    <a:lnTo>
                      <a:pt x="52" y="60"/>
                    </a:lnTo>
                    <a:lnTo>
                      <a:pt x="49" y="61"/>
                    </a:lnTo>
                    <a:lnTo>
                      <a:pt x="48" y="65"/>
                    </a:lnTo>
                    <a:lnTo>
                      <a:pt x="45" y="69"/>
                    </a:lnTo>
                    <a:lnTo>
                      <a:pt x="46" y="72"/>
                    </a:lnTo>
                    <a:lnTo>
                      <a:pt x="49" y="71"/>
                    </a:lnTo>
                    <a:lnTo>
                      <a:pt x="52" y="74"/>
                    </a:lnTo>
                    <a:lnTo>
                      <a:pt x="57" y="74"/>
                    </a:lnTo>
                    <a:lnTo>
                      <a:pt x="60" y="76"/>
                    </a:lnTo>
                    <a:lnTo>
                      <a:pt x="62" y="71"/>
                    </a:lnTo>
                    <a:lnTo>
                      <a:pt x="65" y="71"/>
                    </a:lnTo>
                    <a:lnTo>
                      <a:pt x="73" y="68"/>
                    </a:lnTo>
                    <a:lnTo>
                      <a:pt x="76" y="66"/>
                    </a:lnTo>
                    <a:lnTo>
                      <a:pt x="73" y="69"/>
                    </a:lnTo>
                    <a:lnTo>
                      <a:pt x="68" y="71"/>
                    </a:lnTo>
                    <a:lnTo>
                      <a:pt x="73" y="71"/>
                    </a:lnTo>
                    <a:lnTo>
                      <a:pt x="73" y="76"/>
                    </a:lnTo>
                    <a:lnTo>
                      <a:pt x="76" y="76"/>
                    </a:lnTo>
                    <a:lnTo>
                      <a:pt x="81" y="76"/>
                    </a:lnTo>
                    <a:lnTo>
                      <a:pt x="84" y="77"/>
                    </a:lnTo>
                    <a:lnTo>
                      <a:pt x="87" y="76"/>
                    </a:lnTo>
                    <a:lnTo>
                      <a:pt x="91" y="77"/>
                    </a:lnTo>
                    <a:lnTo>
                      <a:pt x="94" y="77"/>
                    </a:lnTo>
                    <a:lnTo>
                      <a:pt x="98" y="77"/>
                    </a:lnTo>
                    <a:lnTo>
                      <a:pt x="102" y="76"/>
                    </a:lnTo>
                    <a:lnTo>
                      <a:pt x="105" y="76"/>
                    </a:lnTo>
                    <a:lnTo>
                      <a:pt x="110" y="76"/>
                    </a:lnTo>
                    <a:lnTo>
                      <a:pt x="113" y="72"/>
                    </a:lnTo>
                    <a:lnTo>
                      <a:pt x="116" y="71"/>
                    </a:lnTo>
                    <a:lnTo>
                      <a:pt x="119" y="69"/>
                    </a:lnTo>
                    <a:lnTo>
                      <a:pt x="118" y="74"/>
                    </a:lnTo>
                    <a:lnTo>
                      <a:pt x="121" y="72"/>
                    </a:lnTo>
                    <a:lnTo>
                      <a:pt x="124" y="69"/>
                    </a:lnTo>
                    <a:lnTo>
                      <a:pt x="129" y="68"/>
                    </a:lnTo>
                    <a:lnTo>
                      <a:pt x="132" y="68"/>
                    </a:lnTo>
                    <a:lnTo>
                      <a:pt x="135" y="71"/>
                    </a:lnTo>
                    <a:lnTo>
                      <a:pt x="132" y="71"/>
                    </a:lnTo>
                    <a:lnTo>
                      <a:pt x="127" y="74"/>
                    </a:lnTo>
                    <a:lnTo>
                      <a:pt x="124" y="76"/>
                    </a:lnTo>
                    <a:lnTo>
                      <a:pt x="121" y="79"/>
                    </a:lnTo>
                    <a:lnTo>
                      <a:pt x="124" y="79"/>
                    </a:lnTo>
                    <a:lnTo>
                      <a:pt x="129" y="79"/>
                    </a:lnTo>
                    <a:lnTo>
                      <a:pt x="132" y="80"/>
                    </a:lnTo>
                    <a:lnTo>
                      <a:pt x="135" y="80"/>
                    </a:lnTo>
                    <a:lnTo>
                      <a:pt x="140" y="79"/>
                    </a:lnTo>
                    <a:lnTo>
                      <a:pt x="143" y="80"/>
                    </a:lnTo>
                    <a:lnTo>
                      <a:pt x="146" y="79"/>
                    </a:lnTo>
                    <a:lnTo>
                      <a:pt x="149" y="77"/>
                    </a:lnTo>
                    <a:lnTo>
                      <a:pt x="154" y="80"/>
                    </a:lnTo>
                    <a:lnTo>
                      <a:pt x="157" y="79"/>
                    </a:lnTo>
                    <a:lnTo>
                      <a:pt x="160" y="80"/>
                    </a:lnTo>
                    <a:lnTo>
                      <a:pt x="165" y="80"/>
                    </a:lnTo>
                    <a:lnTo>
                      <a:pt x="165" y="77"/>
                    </a:lnTo>
                    <a:lnTo>
                      <a:pt x="168" y="79"/>
                    </a:lnTo>
                    <a:lnTo>
                      <a:pt x="171" y="79"/>
                    </a:lnTo>
                    <a:lnTo>
                      <a:pt x="176" y="79"/>
                    </a:lnTo>
                    <a:lnTo>
                      <a:pt x="179" y="76"/>
                    </a:lnTo>
                    <a:lnTo>
                      <a:pt x="179" y="79"/>
                    </a:lnTo>
                    <a:lnTo>
                      <a:pt x="183" y="79"/>
                    </a:lnTo>
                    <a:lnTo>
                      <a:pt x="187" y="79"/>
                    </a:lnTo>
                    <a:lnTo>
                      <a:pt x="190" y="79"/>
                    </a:lnTo>
                    <a:lnTo>
                      <a:pt x="194" y="79"/>
                    </a:lnTo>
                    <a:lnTo>
                      <a:pt x="197" y="76"/>
                    </a:lnTo>
                    <a:lnTo>
                      <a:pt x="198" y="79"/>
                    </a:lnTo>
                    <a:lnTo>
                      <a:pt x="202" y="79"/>
                    </a:lnTo>
                    <a:lnTo>
                      <a:pt x="205" y="79"/>
                    </a:lnTo>
                    <a:lnTo>
                      <a:pt x="210" y="76"/>
                    </a:lnTo>
                    <a:lnTo>
                      <a:pt x="213" y="72"/>
                    </a:lnTo>
                    <a:lnTo>
                      <a:pt x="210" y="77"/>
                    </a:lnTo>
                    <a:lnTo>
                      <a:pt x="213" y="79"/>
                    </a:lnTo>
                    <a:lnTo>
                      <a:pt x="217" y="79"/>
                    </a:lnTo>
                    <a:lnTo>
                      <a:pt x="221" y="79"/>
                    </a:lnTo>
                    <a:lnTo>
                      <a:pt x="224" y="79"/>
                    </a:lnTo>
                    <a:lnTo>
                      <a:pt x="229" y="79"/>
                    </a:lnTo>
                    <a:lnTo>
                      <a:pt x="232" y="77"/>
                    </a:lnTo>
                    <a:lnTo>
                      <a:pt x="240" y="77"/>
                    </a:lnTo>
                    <a:lnTo>
                      <a:pt x="243" y="77"/>
                    </a:lnTo>
                    <a:lnTo>
                      <a:pt x="246" y="76"/>
                    </a:lnTo>
                    <a:lnTo>
                      <a:pt x="254" y="72"/>
                    </a:lnTo>
                    <a:lnTo>
                      <a:pt x="254" y="68"/>
                    </a:lnTo>
                    <a:lnTo>
                      <a:pt x="257" y="66"/>
                    </a:lnTo>
                    <a:lnTo>
                      <a:pt x="262" y="69"/>
                    </a:lnTo>
                    <a:lnTo>
                      <a:pt x="259" y="72"/>
                    </a:lnTo>
                    <a:lnTo>
                      <a:pt x="257" y="76"/>
                    </a:lnTo>
                    <a:lnTo>
                      <a:pt x="262" y="79"/>
                    </a:lnTo>
                    <a:lnTo>
                      <a:pt x="265" y="79"/>
                    </a:lnTo>
                    <a:lnTo>
                      <a:pt x="268" y="79"/>
                    </a:lnTo>
                    <a:lnTo>
                      <a:pt x="273" y="79"/>
                    </a:lnTo>
                    <a:lnTo>
                      <a:pt x="276" y="79"/>
                    </a:lnTo>
                    <a:lnTo>
                      <a:pt x="286" y="80"/>
                    </a:lnTo>
                    <a:lnTo>
                      <a:pt x="294" y="79"/>
                    </a:lnTo>
                    <a:lnTo>
                      <a:pt x="303" y="76"/>
                    </a:lnTo>
                    <a:lnTo>
                      <a:pt x="313" y="77"/>
                    </a:lnTo>
                    <a:lnTo>
                      <a:pt x="321" y="77"/>
                    </a:lnTo>
                    <a:lnTo>
                      <a:pt x="324" y="76"/>
                    </a:lnTo>
                    <a:lnTo>
                      <a:pt x="328" y="74"/>
                    </a:lnTo>
                    <a:lnTo>
                      <a:pt x="333" y="71"/>
                    </a:lnTo>
                    <a:lnTo>
                      <a:pt x="332" y="66"/>
                    </a:lnTo>
                    <a:lnTo>
                      <a:pt x="335" y="65"/>
                    </a:lnTo>
                    <a:lnTo>
                      <a:pt x="338" y="65"/>
                    </a:lnTo>
                    <a:lnTo>
                      <a:pt x="340" y="68"/>
                    </a:lnTo>
                    <a:lnTo>
                      <a:pt x="343" y="69"/>
                    </a:lnTo>
                    <a:lnTo>
                      <a:pt x="346" y="68"/>
                    </a:lnTo>
                    <a:lnTo>
                      <a:pt x="351" y="68"/>
                    </a:lnTo>
                    <a:lnTo>
                      <a:pt x="354" y="68"/>
                    </a:lnTo>
                    <a:lnTo>
                      <a:pt x="357" y="66"/>
                    </a:lnTo>
                    <a:lnTo>
                      <a:pt x="355" y="63"/>
                    </a:lnTo>
                    <a:lnTo>
                      <a:pt x="352" y="61"/>
                    </a:lnTo>
                    <a:lnTo>
                      <a:pt x="347" y="63"/>
                    </a:lnTo>
                    <a:lnTo>
                      <a:pt x="344" y="63"/>
                    </a:lnTo>
                    <a:lnTo>
                      <a:pt x="344" y="63"/>
                    </a:lnTo>
                    <a:lnTo>
                      <a:pt x="341" y="65"/>
                    </a:lnTo>
                    <a:lnTo>
                      <a:pt x="336" y="65"/>
                    </a:lnTo>
                    <a:lnTo>
                      <a:pt x="338" y="61"/>
                    </a:lnTo>
                    <a:lnTo>
                      <a:pt x="341" y="61"/>
                    </a:lnTo>
                    <a:lnTo>
                      <a:pt x="346" y="60"/>
                    </a:lnTo>
                    <a:lnTo>
                      <a:pt x="347" y="60"/>
                    </a:lnTo>
                    <a:lnTo>
                      <a:pt x="351" y="58"/>
                    </a:lnTo>
                    <a:lnTo>
                      <a:pt x="355" y="57"/>
                    </a:lnTo>
                    <a:lnTo>
                      <a:pt x="360" y="57"/>
                    </a:lnTo>
                    <a:lnTo>
                      <a:pt x="363" y="55"/>
                    </a:lnTo>
                    <a:lnTo>
                      <a:pt x="368" y="52"/>
                    </a:lnTo>
                    <a:lnTo>
                      <a:pt x="365" y="49"/>
                    </a:lnTo>
                    <a:lnTo>
                      <a:pt x="362" y="47"/>
                    </a:lnTo>
                    <a:lnTo>
                      <a:pt x="359" y="47"/>
                    </a:lnTo>
                    <a:lnTo>
                      <a:pt x="352" y="49"/>
                    </a:lnTo>
                    <a:lnTo>
                      <a:pt x="355" y="47"/>
                    </a:lnTo>
                    <a:lnTo>
                      <a:pt x="362" y="47"/>
                    </a:lnTo>
                    <a:lnTo>
                      <a:pt x="362" y="46"/>
                    </a:lnTo>
                    <a:lnTo>
                      <a:pt x="359" y="44"/>
                    </a:lnTo>
                    <a:lnTo>
                      <a:pt x="354" y="42"/>
                    </a:lnTo>
                    <a:lnTo>
                      <a:pt x="351" y="42"/>
                    </a:lnTo>
                    <a:lnTo>
                      <a:pt x="347" y="42"/>
                    </a:lnTo>
                    <a:lnTo>
                      <a:pt x="343" y="42"/>
                    </a:lnTo>
                    <a:lnTo>
                      <a:pt x="340" y="42"/>
                    </a:lnTo>
                    <a:lnTo>
                      <a:pt x="336" y="42"/>
                    </a:lnTo>
                    <a:lnTo>
                      <a:pt x="340" y="39"/>
                    </a:lnTo>
                    <a:lnTo>
                      <a:pt x="325" y="38"/>
                    </a:lnTo>
                    <a:lnTo>
                      <a:pt x="311" y="38"/>
                    </a:lnTo>
                    <a:lnTo>
                      <a:pt x="308" y="38"/>
                    </a:lnTo>
                    <a:lnTo>
                      <a:pt x="303" y="38"/>
                    </a:lnTo>
                    <a:lnTo>
                      <a:pt x="300" y="39"/>
                    </a:lnTo>
                    <a:lnTo>
                      <a:pt x="297" y="39"/>
                    </a:lnTo>
                    <a:lnTo>
                      <a:pt x="287" y="39"/>
                    </a:lnTo>
                    <a:lnTo>
                      <a:pt x="278" y="38"/>
                    </a:lnTo>
                    <a:lnTo>
                      <a:pt x="275" y="38"/>
                    </a:lnTo>
                    <a:lnTo>
                      <a:pt x="267" y="39"/>
                    </a:lnTo>
                    <a:lnTo>
                      <a:pt x="262" y="41"/>
                    </a:lnTo>
                    <a:lnTo>
                      <a:pt x="259" y="41"/>
                    </a:lnTo>
                    <a:lnTo>
                      <a:pt x="256" y="41"/>
                    </a:lnTo>
                    <a:lnTo>
                      <a:pt x="251" y="42"/>
                    </a:lnTo>
                    <a:lnTo>
                      <a:pt x="248" y="42"/>
                    </a:lnTo>
                    <a:lnTo>
                      <a:pt x="244" y="42"/>
                    </a:lnTo>
                    <a:lnTo>
                      <a:pt x="241" y="44"/>
                    </a:lnTo>
                    <a:lnTo>
                      <a:pt x="236" y="44"/>
                    </a:lnTo>
                    <a:lnTo>
                      <a:pt x="233" y="46"/>
                    </a:lnTo>
                    <a:lnTo>
                      <a:pt x="224" y="46"/>
                    </a:lnTo>
                    <a:lnTo>
                      <a:pt x="214" y="47"/>
                    </a:lnTo>
                    <a:lnTo>
                      <a:pt x="219" y="49"/>
                    </a:lnTo>
                    <a:lnTo>
                      <a:pt x="222" y="50"/>
                    </a:lnTo>
                    <a:lnTo>
                      <a:pt x="211" y="50"/>
                    </a:lnTo>
                    <a:lnTo>
                      <a:pt x="198" y="52"/>
                    </a:lnTo>
                    <a:lnTo>
                      <a:pt x="202" y="50"/>
                    </a:lnTo>
                    <a:lnTo>
                      <a:pt x="198" y="47"/>
                    </a:lnTo>
                    <a:lnTo>
                      <a:pt x="195" y="47"/>
                    </a:lnTo>
                    <a:lnTo>
                      <a:pt x="190" y="44"/>
                    </a:lnTo>
                    <a:lnTo>
                      <a:pt x="187" y="44"/>
                    </a:lnTo>
                    <a:lnTo>
                      <a:pt x="184" y="44"/>
                    </a:lnTo>
                    <a:lnTo>
                      <a:pt x="181" y="46"/>
                    </a:lnTo>
                    <a:lnTo>
                      <a:pt x="176" y="49"/>
                    </a:lnTo>
                    <a:lnTo>
                      <a:pt x="178" y="46"/>
                    </a:lnTo>
                    <a:lnTo>
                      <a:pt x="175" y="46"/>
                    </a:lnTo>
                    <a:lnTo>
                      <a:pt x="170" y="46"/>
                    </a:lnTo>
                    <a:lnTo>
                      <a:pt x="167" y="47"/>
                    </a:lnTo>
                    <a:lnTo>
                      <a:pt x="164" y="47"/>
                    </a:lnTo>
                    <a:lnTo>
                      <a:pt x="159" y="47"/>
                    </a:lnTo>
                    <a:lnTo>
                      <a:pt x="164" y="47"/>
                    </a:lnTo>
                    <a:lnTo>
                      <a:pt x="159" y="44"/>
                    </a:lnTo>
                    <a:lnTo>
                      <a:pt x="156" y="42"/>
                    </a:lnTo>
                    <a:lnTo>
                      <a:pt x="152" y="44"/>
                    </a:lnTo>
                    <a:lnTo>
                      <a:pt x="149" y="44"/>
                    </a:lnTo>
                    <a:lnTo>
                      <a:pt x="148" y="47"/>
                    </a:lnTo>
                    <a:lnTo>
                      <a:pt x="144" y="49"/>
                    </a:lnTo>
                    <a:lnTo>
                      <a:pt x="141" y="47"/>
                    </a:lnTo>
                    <a:lnTo>
                      <a:pt x="140" y="44"/>
                    </a:lnTo>
                    <a:lnTo>
                      <a:pt x="137" y="44"/>
                    </a:lnTo>
                    <a:lnTo>
                      <a:pt x="132" y="46"/>
                    </a:lnTo>
                    <a:lnTo>
                      <a:pt x="129" y="46"/>
                    </a:lnTo>
                    <a:lnTo>
                      <a:pt x="132" y="46"/>
                    </a:lnTo>
                    <a:lnTo>
                      <a:pt x="129" y="44"/>
                    </a:lnTo>
                    <a:lnTo>
                      <a:pt x="132" y="44"/>
                    </a:lnTo>
                    <a:lnTo>
                      <a:pt x="137" y="44"/>
                    </a:lnTo>
                    <a:lnTo>
                      <a:pt x="140" y="42"/>
                    </a:lnTo>
                    <a:lnTo>
                      <a:pt x="143" y="42"/>
                    </a:lnTo>
                    <a:lnTo>
                      <a:pt x="148" y="39"/>
                    </a:lnTo>
                    <a:lnTo>
                      <a:pt x="144" y="36"/>
                    </a:lnTo>
                    <a:lnTo>
                      <a:pt x="141" y="36"/>
                    </a:lnTo>
                    <a:lnTo>
                      <a:pt x="138" y="38"/>
                    </a:lnTo>
                    <a:lnTo>
                      <a:pt x="140" y="34"/>
                    </a:lnTo>
                    <a:lnTo>
                      <a:pt x="137" y="31"/>
                    </a:lnTo>
                    <a:lnTo>
                      <a:pt x="133" y="33"/>
                    </a:lnTo>
                    <a:lnTo>
                      <a:pt x="130" y="33"/>
                    </a:lnTo>
                    <a:lnTo>
                      <a:pt x="127" y="33"/>
                    </a:lnTo>
                    <a:lnTo>
                      <a:pt x="122" y="34"/>
                    </a:lnTo>
                    <a:lnTo>
                      <a:pt x="119" y="33"/>
                    </a:lnTo>
                    <a:lnTo>
                      <a:pt x="116" y="33"/>
                    </a:lnTo>
                    <a:lnTo>
                      <a:pt x="111" y="34"/>
                    </a:lnTo>
                    <a:lnTo>
                      <a:pt x="108" y="34"/>
                    </a:lnTo>
                    <a:lnTo>
                      <a:pt x="105" y="36"/>
                    </a:lnTo>
                    <a:lnTo>
                      <a:pt x="108" y="34"/>
                    </a:lnTo>
                    <a:lnTo>
                      <a:pt x="113" y="33"/>
                    </a:lnTo>
                    <a:lnTo>
                      <a:pt x="116" y="31"/>
                    </a:lnTo>
                    <a:lnTo>
                      <a:pt x="121" y="31"/>
                    </a:lnTo>
                    <a:lnTo>
                      <a:pt x="124" y="30"/>
                    </a:lnTo>
                    <a:lnTo>
                      <a:pt x="130" y="30"/>
                    </a:lnTo>
                    <a:lnTo>
                      <a:pt x="133" y="30"/>
                    </a:lnTo>
                    <a:lnTo>
                      <a:pt x="130" y="30"/>
                    </a:lnTo>
                    <a:lnTo>
                      <a:pt x="127" y="28"/>
                    </a:lnTo>
                    <a:lnTo>
                      <a:pt x="124" y="30"/>
                    </a:lnTo>
                    <a:lnTo>
                      <a:pt x="119" y="30"/>
                    </a:lnTo>
                    <a:lnTo>
                      <a:pt x="122" y="28"/>
                    </a:lnTo>
                    <a:lnTo>
                      <a:pt x="119" y="26"/>
                    </a:lnTo>
                    <a:lnTo>
                      <a:pt x="116" y="26"/>
                    </a:lnTo>
                    <a:lnTo>
                      <a:pt x="111" y="26"/>
                    </a:lnTo>
                    <a:lnTo>
                      <a:pt x="108" y="26"/>
                    </a:lnTo>
                    <a:lnTo>
                      <a:pt x="113" y="26"/>
                    </a:lnTo>
                    <a:lnTo>
                      <a:pt x="108" y="23"/>
                    </a:lnTo>
                    <a:lnTo>
                      <a:pt x="113" y="23"/>
                    </a:lnTo>
                    <a:lnTo>
                      <a:pt x="116" y="25"/>
                    </a:lnTo>
                    <a:lnTo>
                      <a:pt x="119" y="25"/>
                    </a:lnTo>
                    <a:lnTo>
                      <a:pt x="124" y="26"/>
                    </a:lnTo>
                    <a:lnTo>
                      <a:pt x="127" y="26"/>
                    </a:lnTo>
                    <a:lnTo>
                      <a:pt x="130" y="26"/>
                    </a:lnTo>
                    <a:lnTo>
                      <a:pt x="135" y="28"/>
                    </a:lnTo>
                    <a:lnTo>
                      <a:pt x="138" y="28"/>
                    </a:lnTo>
                    <a:lnTo>
                      <a:pt x="133" y="26"/>
                    </a:lnTo>
                    <a:lnTo>
                      <a:pt x="148" y="26"/>
                    </a:lnTo>
                    <a:lnTo>
                      <a:pt x="162" y="25"/>
                    </a:lnTo>
                    <a:lnTo>
                      <a:pt x="159" y="22"/>
                    </a:lnTo>
                    <a:lnTo>
                      <a:pt x="154" y="22"/>
                    </a:lnTo>
                    <a:lnTo>
                      <a:pt x="151" y="20"/>
                    </a:lnTo>
                    <a:lnTo>
                      <a:pt x="149" y="20"/>
                    </a:lnTo>
                    <a:lnTo>
                      <a:pt x="146" y="20"/>
                    </a:lnTo>
                    <a:lnTo>
                      <a:pt x="143" y="19"/>
                    </a:lnTo>
                    <a:lnTo>
                      <a:pt x="132" y="19"/>
                    </a:lnTo>
                    <a:lnTo>
                      <a:pt x="121" y="17"/>
                    </a:lnTo>
                    <a:lnTo>
                      <a:pt x="124" y="15"/>
                    </a:lnTo>
                    <a:lnTo>
                      <a:pt x="127" y="17"/>
                    </a:lnTo>
                    <a:lnTo>
                      <a:pt x="132" y="15"/>
                    </a:lnTo>
                    <a:lnTo>
                      <a:pt x="135" y="17"/>
                    </a:lnTo>
                    <a:lnTo>
                      <a:pt x="138" y="17"/>
                    </a:lnTo>
                    <a:lnTo>
                      <a:pt x="143" y="17"/>
                    </a:lnTo>
                    <a:lnTo>
                      <a:pt x="140" y="14"/>
                    </a:lnTo>
                    <a:lnTo>
                      <a:pt x="137" y="11"/>
                    </a:lnTo>
                    <a:lnTo>
                      <a:pt x="133" y="11"/>
                    </a:lnTo>
                    <a:lnTo>
                      <a:pt x="130" y="11"/>
                    </a:lnTo>
                    <a:lnTo>
                      <a:pt x="125" y="11"/>
                    </a:lnTo>
                    <a:lnTo>
                      <a:pt x="116" y="11"/>
                    </a:lnTo>
                    <a:lnTo>
                      <a:pt x="106" y="12"/>
                    </a:lnTo>
                    <a:lnTo>
                      <a:pt x="98" y="12"/>
                    </a:lnTo>
                    <a:lnTo>
                      <a:pt x="89" y="12"/>
                    </a:lnTo>
                    <a:lnTo>
                      <a:pt x="86" y="12"/>
                    </a:lnTo>
                    <a:lnTo>
                      <a:pt x="81" y="14"/>
                    </a:lnTo>
                    <a:lnTo>
                      <a:pt x="78" y="15"/>
                    </a:lnTo>
                    <a:lnTo>
                      <a:pt x="75" y="17"/>
                    </a:lnTo>
                    <a:lnTo>
                      <a:pt x="70" y="17"/>
                    </a:lnTo>
                    <a:lnTo>
                      <a:pt x="67" y="19"/>
                    </a:lnTo>
                    <a:lnTo>
                      <a:pt x="72" y="15"/>
                    </a:lnTo>
                    <a:lnTo>
                      <a:pt x="78" y="14"/>
                    </a:lnTo>
                    <a:lnTo>
                      <a:pt x="84" y="12"/>
                    </a:lnTo>
                    <a:lnTo>
                      <a:pt x="87" y="7"/>
                    </a:lnTo>
                    <a:lnTo>
                      <a:pt x="83" y="6"/>
                    </a:lnTo>
                    <a:lnTo>
                      <a:pt x="79" y="3"/>
                    </a:lnTo>
                    <a:lnTo>
                      <a:pt x="76" y="3"/>
                    </a:lnTo>
                    <a:lnTo>
                      <a:pt x="73" y="4"/>
                    </a:lnTo>
                    <a:lnTo>
                      <a:pt x="68" y="4"/>
                    </a:lnTo>
                    <a:lnTo>
                      <a:pt x="60" y="1"/>
                    </a:lnTo>
                    <a:lnTo>
                      <a:pt x="51" y="1"/>
                    </a:lnTo>
                    <a:lnTo>
                      <a:pt x="48" y="0"/>
                    </a:lnTo>
                    <a:lnTo>
                      <a:pt x="43" y="0"/>
                    </a:lnTo>
                    <a:lnTo>
                      <a:pt x="40" y="0"/>
                    </a:lnTo>
                    <a:lnTo>
                      <a:pt x="37" y="0"/>
                    </a:lnTo>
                    <a:lnTo>
                      <a:pt x="32" y="0"/>
                    </a:lnTo>
                    <a:lnTo>
                      <a:pt x="29" y="0"/>
                    </a:lnTo>
                    <a:lnTo>
                      <a:pt x="24" y="0"/>
                    </a:lnTo>
                    <a:lnTo>
                      <a:pt x="21" y="1"/>
                    </a:lnTo>
                    <a:lnTo>
                      <a:pt x="14" y="1"/>
                    </a:lnTo>
                    <a:lnTo>
                      <a:pt x="10" y="3"/>
                    </a:lnTo>
                    <a:lnTo>
                      <a:pt x="11" y="6"/>
                    </a:lnTo>
                    <a:lnTo>
                      <a:pt x="14" y="6"/>
                    </a:lnTo>
                    <a:lnTo>
                      <a:pt x="11" y="7"/>
                    </a:lnTo>
                    <a:lnTo>
                      <a:pt x="8" y="9"/>
                    </a:lnTo>
                    <a:lnTo>
                      <a:pt x="3" y="6"/>
                    </a:lnTo>
                    <a:lnTo>
                      <a:pt x="0" y="9"/>
                    </a:lnTo>
                    <a:lnTo>
                      <a:pt x="3" y="11"/>
                    </a:lnTo>
                    <a:lnTo>
                      <a:pt x="8" y="11"/>
                    </a:lnTo>
                    <a:lnTo>
                      <a:pt x="11" y="12"/>
                    </a:lnTo>
                    <a:lnTo>
                      <a:pt x="14" y="14"/>
                    </a:lnTo>
                    <a:lnTo>
                      <a:pt x="19" y="14"/>
                    </a:lnTo>
                    <a:lnTo>
                      <a:pt x="22" y="14"/>
                    </a:lnTo>
                    <a:lnTo>
                      <a:pt x="26" y="12"/>
                    </a:lnTo>
                    <a:lnTo>
                      <a:pt x="22" y="14"/>
                    </a:lnTo>
                    <a:lnTo>
                      <a:pt x="19" y="15"/>
                    </a:lnTo>
                    <a:lnTo>
                      <a:pt x="14" y="15"/>
                    </a:lnTo>
                    <a:lnTo>
                      <a:pt x="11" y="15"/>
                    </a:lnTo>
                    <a:lnTo>
                      <a:pt x="11" y="19"/>
                    </a:lnTo>
                    <a:lnTo>
                      <a:pt x="16" y="20"/>
                    </a:lnTo>
                    <a:lnTo>
                      <a:pt x="19" y="20"/>
                    </a:lnTo>
                    <a:lnTo>
                      <a:pt x="22" y="19"/>
                    </a:lnTo>
                    <a:lnTo>
                      <a:pt x="27" y="20"/>
                    </a:lnTo>
                    <a:lnTo>
                      <a:pt x="30" y="20"/>
                    </a:lnTo>
                    <a:lnTo>
                      <a:pt x="33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2" y="23"/>
                    </a:lnTo>
                    <a:lnTo>
                      <a:pt x="19" y="23"/>
                    </a:lnTo>
                    <a:lnTo>
                      <a:pt x="22" y="25"/>
                    </a:lnTo>
                    <a:lnTo>
                      <a:pt x="26" y="23"/>
                    </a:lnTo>
                    <a:lnTo>
                      <a:pt x="30" y="23"/>
                    </a:lnTo>
                    <a:lnTo>
                      <a:pt x="33" y="22"/>
                    </a:lnTo>
                    <a:lnTo>
                      <a:pt x="43" y="23"/>
                    </a:lnTo>
                    <a:lnTo>
                      <a:pt x="52" y="2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91" name="Freeform 694"/>
              <p:cNvSpPr>
                <a:spLocks/>
              </p:cNvSpPr>
              <p:nvPr/>
            </p:nvSpPr>
            <p:spPr bwMode="auto">
              <a:xfrm>
                <a:off x="1519" y="1097"/>
                <a:ext cx="8" cy="3"/>
              </a:xfrm>
              <a:custGeom>
                <a:avLst/>
                <a:gdLst>
                  <a:gd name="T0" fmla="*/ 0 w 18"/>
                  <a:gd name="T1" fmla="*/ 5 h 6"/>
                  <a:gd name="T2" fmla="*/ 8 w 18"/>
                  <a:gd name="T3" fmla="*/ 6 h 6"/>
                  <a:gd name="T4" fmla="*/ 18 w 18"/>
                  <a:gd name="T5" fmla="*/ 5 h 6"/>
                  <a:gd name="T6" fmla="*/ 18 w 18"/>
                  <a:gd name="T7" fmla="*/ 2 h 6"/>
                  <a:gd name="T8" fmla="*/ 10 w 18"/>
                  <a:gd name="T9" fmla="*/ 2 h 6"/>
                  <a:gd name="T10" fmla="*/ 7 w 18"/>
                  <a:gd name="T11" fmla="*/ 0 h 6"/>
                  <a:gd name="T12" fmla="*/ 3 w 18"/>
                  <a:gd name="T13" fmla="*/ 2 h 6"/>
                  <a:gd name="T14" fmla="*/ 0 w 18"/>
                  <a:gd name="T15" fmla="*/ 2 h 6"/>
                  <a:gd name="T16" fmla="*/ 0 w 18"/>
                  <a:gd name="T17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" h="6">
                    <a:moveTo>
                      <a:pt x="0" y="5"/>
                    </a:moveTo>
                    <a:lnTo>
                      <a:pt x="8" y="6"/>
                    </a:lnTo>
                    <a:lnTo>
                      <a:pt x="18" y="5"/>
                    </a:lnTo>
                    <a:lnTo>
                      <a:pt x="18" y="2"/>
                    </a:lnTo>
                    <a:lnTo>
                      <a:pt x="10" y="2"/>
                    </a:lnTo>
                    <a:lnTo>
                      <a:pt x="7" y="0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92" name="Freeform 695"/>
              <p:cNvSpPr>
                <a:spLocks/>
              </p:cNvSpPr>
              <p:nvPr/>
            </p:nvSpPr>
            <p:spPr bwMode="auto">
              <a:xfrm>
                <a:off x="1537" y="974"/>
                <a:ext cx="39" cy="4"/>
              </a:xfrm>
              <a:custGeom>
                <a:avLst/>
                <a:gdLst>
                  <a:gd name="T0" fmla="*/ 77 w 77"/>
                  <a:gd name="T1" fmla="*/ 2 h 10"/>
                  <a:gd name="T2" fmla="*/ 68 w 77"/>
                  <a:gd name="T3" fmla="*/ 0 h 10"/>
                  <a:gd name="T4" fmla="*/ 60 w 77"/>
                  <a:gd name="T5" fmla="*/ 0 h 10"/>
                  <a:gd name="T6" fmla="*/ 50 w 77"/>
                  <a:gd name="T7" fmla="*/ 0 h 10"/>
                  <a:gd name="T8" fmla="*/ 41 w 77"/>
                  <a:gd name="T9" fmla="*/ 0 h 10"/>
                  <a:gd name="T10" fmla="*/ 30 w 77"/>
                  <a:gd name="T11" fmla="*/ 0 h 10"/>
                  <a:gd name="T12" fmla="*/ 22 w 77"/>
                  <a:gd name="T13" fmla="*/ 0 h 10"/>
                  <a:gd name="T14" fmla="*/ 11 w 77"/>
                  <a:gd name="T15" fmla="*/ 2 h 10"/>
                  <a:gd name="T16" fmla="*/ 0 w 77"/>
                  <a:gd name="T17" fmla="*/ 5 h 10"/>
                  <a:gd name="T18" fmla="*/ 3 w 77"/>
                  <a:gd name="T19" fmla="*/ 10 h 10"/>
                  <a:gd name="T20" fmla="*/ 6 w 77"/>
                  <a:gd name="T21" fmla="*/ 10 h 10"/>
                  <a:gd name="T22" fmla="*/ 17 w 77"/>
                  <a:gd name="T23" fmla="*/ 10 h 10"/>
                  <a:gd name="T24" fmla="*/ 27 w 77"/>
                  <a:gd name="T25" fmla="*/ 10 h 10"/>
                  <a:gd name="T26" fmla="*/ 38 w 77"/>
                  <a:gd name="T27" fmla="*/ 10 h 10"/>
                  <a:gd name="T28" fmla="*/ 46 w 77"/>
                  <a:gd name="T29" fmla="*/ 10 h 10"/>
                  <a:gd name="T30" fmla="*/ 55 w 77"/>
                  <a:gd name="T31" fmla="*/ 10 h 10"/>
                  <a:gd name="T32" fmla="*/ 58 w 77"/>
                  <a:gd name="T33" fmla="*/ 10 h 10"/>
                  <a:gd name="T34" fmla="*/ 63 w 77"/>
                  <a:gd name="T35" fmla="*/ 8 h 10"/>
                  <a:gd name="T36" fmla="*/ 66 w 77"/>
                  <a:gd name="T37" fmla="*/ 7 h 10"/>
                  <a:gd name="T38" fmla="*/ 70 w 77"/>
                  <a:gd name="T39" fmla="*/ 5 h 10"/>
                  <a:gd name="T40" fmla="*/ 74 w 77"/>
                  <a:gd name="T41" fmla="*/ 5 h 10"/>
                  <a:gd name="T42" fmla="*/ 77 w 77"/>
                  <a:gd name="T43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77" h="10">
                    <a:moveTo>
                      <a:pt x="77" y="2"/>
                    </a:moveTo>
                    <a:lnTo>
                      <a:pt x="68" y="0"/>
                    </a:lnTo>
                    <a:lnTo>
                      <a:pt x="60" y="0"/>
                    </a:lnTo>
                    <a:lnTo>
                      <a:pt x="50" y="0"/>
                    </a:lnTo>
                    <a:lnTo>
                      <a:pt x="41" y="0"/>
                    </a:lnTo>
                    <a:lnTo>
                      <a:pt x="30" y="0"/>
                    </a:lnTo>
                    <a:lnTo>
                      <a:pt x="22" y="0"/>
                    </a:lnTo>
                    <a:lnTo>
                      <a:pt x="11" y="2"/>
                    </a:lnTo>
                    <a:lnTo>
                      <a:pt x="0" y="5"/>
                    </a:lnTo>
                    <a:lnTo>
                      <a:pt x="3" y="10"/>
                    </a:lnTo>
                    <a:lnTo>
                      <a:pt x="6" y="10"/>
                    </a:lnTo>
                    <a:lnTo>
                      <a:pt x="17" y="10"/>
                    </a:lnTo>
                    <a:lnTo>
                      <a:pt x="27" y="10"/>
                    </a:lnTo>
                    <a:lnTo>
                      <a:pt x="38" y="10"/>
                    </a:lnTo>
                    <a:lnTo>
                      <a:pt x="46" y="10"/>
                    </a:lnTo>
                    <a:lnTo>
                      <a:pt x="55" y="10"/>
                    </a:lnTo>
                    <a:lnTo>
                      <a:pt x="58" y="10"/>
                    </a:lnTo>
                    <a:lnTo>
                      <a:pt x="63" y="8"/>
                    </a:lnTo>
                    <a:lnTo>
                      <a:pt x="66" y="7"/>
                    </a:lnTo>
                    <a:lnTo>
                      <a:pt x="70" y="5"/>
                    </a:lnTo>
                    <a:lnTo>
                      <a:pt x="74" y="5"/>
                    </a:lnTo>
                    <a:lnTo>
                      <a:pt x="77" y="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93" name="Freeform 696"/>
              <p:cNvSpPr>
                <a:spLocks/>
              </p:cNvSpPr>
              <p:nvPr/>
            </p:nvSpPr>
            <p:spPr bwMode="auto">
              <a:xfrm>
                <a:off x="1541" y="939"/>
                <a:ext cx="18" cy="6"/>
              </a:xfrm>
              <a:custGeom>
                <a:avLst/>
                <a:gdLst>
                  <a:gd name="T0" fmla="*/ 0 w 36"/>
                  <a:gd name="T1" fmla="*/ 7 h 12"/>
                  <a:gd name="T2" fmla="*/ 3 w 36"/>
                  <a:gd name="T3" fmla="*/ 7 h 12"/>
                  <a:gd name="T4" fmla="*/ 8 w 36"/>
                  <a:gd name="T5" fmla="*/ 7 h 12"/>
                  <a:gd name="T6" fmla="*/ 11 w 36"/>
                  <a:gd name="T7" fmla="*/ 7 h 12"/>
                  <a:gd name="T8" fmla="*/ 16 w 36"/>
                  <a:gd name="T9" fmla="*/ 7 h 12"/>
                  <a:gd name="T10" fmla="*/ 16 w 36"/>
                  <a:gd name="T11" fmla="*/ 11 h 12"/>
                  <a:gd name="T12" fmla="*/ 19 w 36"/>
                  <a:gd name="T13" fmla="*/ 12 h 12"/>
                  <a:gd name="T14" fmla="*/ 22 w 36"/>
                  <a:gd name="T15" fmla="*/ 12 h 12"/>
                  <a:gd name="T16" fmla="*/ 27 w 36"/>
                  <a:gd name="T17" fmla="*/ 11 h 12"/>
                  <a:gd name="T18" fmla="*/ 30 w 36"/>
                  <a:gd name="T19" fmla="*/ 9 h 12"/>
                  <a:gd name="T20" fmla="*/ 31 w 36"/>
                  <a:gd name="T21" fmla="*/ 6 h 12"/>
                  <a:gd name="T22" fmla="*/ 36 w 36"/>
                  <a:gd name="T23" fmla="*/ 4 h 12"/>
                  <a:gd name="T24" fmla="*/ 35 w 36"/>
                  <a:gd name="T25" fmla="*/ 1 h 12"/>
                  <a:gd name="T26" fmla="*/ 23 w 36"/>
                  <a:gd name="T27" fmla="*/ 0 h 12"/>
                  <a:gd name="T28" fmla="*/ 16 w 36"/>
                  <a:gd name="T29" fmla="*/ 0 h 12"/>
                  <a:gd name="T30" fmla="*/ 8 w 36"/>
                  <a:gd name="T31" fmla="*/ 3 h 12"/>
                  <a:gd name="T32" fmla="*/ 0 w 36"/>
                  <a:gd name="T33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6" h="12">
                    <a:moveTo>
                      <a:pt x="0" y="7"/>
                    </a:moveTo>
                    <a:lnTo>
                      <a:pt x="3" y="7"/>
                    </a:lnTo>
                    <a:lnTo>
                      <a:pt x="8" y="7"/>
                    </a:lnTo>
                    <a:lnTo>
                      <a:pt x="11" y="7"/>
                    </a:lnTo>
                    <a:lnTo>
                      <a:pt x="16" y="7"/>
                    </a:lnTo>
                    <a:lnTo>
                      <a:pt x="16" y="11"/>
                    </a:lnTo>
                    <a:lnTo>
                      <a:pt x="19" y="12"/>
                    </a:lnTo>
                    <a:lnTo>
                      <a:pt x="22" y="12"/>
                    </a:lnTo>
                    <a:lnTo>
                      <a:pt x="27" y="11"/>
                    </a:lnTo>
                    <a:lnTo>
                      <a:pt x="30" y="9"/>
                    </a:lnTo>
                    <a:lnTo>
                      <a:pt x="31" y="6"/>
                    </a:lnTo>
                    <a:lnTo>
                      <a:pt x="36" y="4"/>
                    </a:lnTo>
                    <a:lnTo>
                      <a:pt x="35" y="1"/>
                    </a:lnTo>
                    <a:lnTo>
                      <a:pt x="23" y="0"/>
                    </a:lnTo>
                    <a:lnTo>
                      <a:pt x="16" y="0"/>
                    </a:lnTo>
                    <a:lnTo>
                      <a:pt x="8" y="3"/>
                    </a:lnTo>
                    <a:lnTo>
                      <a:pt x="0" y="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94" name="Freeform 697"/>
              <p:cNvSpPr>
                <a:spLocks/>
              </p:cNvSpPr>
              <p:nvPr/>
            </p:nvSpPr>
            <p:spPr bwMode="auto">
              <a:xfrm>
                <a:off x="1545" y="1214"/>
                <a:ext cx="12" cy="7"/>
              </a:xfrm>
              <a:custGeom>
                <a:avLst/>
                <a:gdLst>
                  <a:gd name="T0" fmla="*/ 11 w 23"/>
                  <a:gd name="T1" fmla="*/ 0 h 14"/>
                  <a:gd name="T2" fmla="*/ 6 w 23"/>
                  <a:gd name="T3" fmla="*/ 0 h 14"/>
                  <a:gd name="T4" fmla="*/ 3 w 23"/>
                  <a:gd name="T5" fmla="*/ 1 h 14"/>
                  <a:gd name="T6" fmla="*/ 0 w 23"/>
                  <a:gd name="T7" fmla="*/ 1 h 14"/>
                  <a:gd name="T8" fmla="*/ 0 w 23"/>
                  <a:gd name="T9" fmla="*/ 6 h 14"/>
                  <a:gd name="T10" fmla="*/ 1 w 23"/>
                  <a:gd name="T11" fmla="*/ 9 h 14"/>
                  <a:gd name="T12" fmla="*/ 4 w 23"/>
                  <a:gd name="T13" fmla="*/ 13 h 14"/>
                  <a:gd name="T14" fmla="*/ 8 w 23"/>
                  <a:gd name="T15" fmla="*/ 14 h 14"/>
                  <a:gd name="T16" fmla="*/ 11 w 23"/>
                  <a:gd name="T17" fmla="*/ 14 h 14"/>
                  <a:gd name="T18" fmla="*/ 15 w 23"/>
                  <a:gd name="T19" fmla="*/ 13 h 14"/>
                  <a:gd name="T20" fmla="*/ 20 w 23"/>
                  <a:gd name="T21" fmla="*/ 11 h 14"/>
                  <a:gd name="T22" fmla="*/ 22 w 23"/>
                  <a:gd name="T23" fmla="*/ 9 h 14"/>
                  <a:gd name="T24" fmla="*/ 23 w 23"/>
                  <a:gd name="T25" fmla="*/ 8 h 14"/>
                  <a:gd name="T26" fmla="*/ 23 w 23"/>
                  <a:gd name="T27" fmla="*/ 6 h 14"/>
                  <a:gd name="T28" fmla="*/ 23 w 23"/>
                  <a:gd name="T29" fmla="*/ 3 h 14"/>
                  <a:gd name="T30" fmla="*/ 19 w 23"/>
                  <a:gd name="T31" fmla="*/ 3 h 14"/>
                  <a:gd name="T32" fmla="*/ 15 w 23"/>
                  <a:gd name="T33" fmla="*/ 1 h 14"/>
                  <a:gd name="T34" fmla="*/ 12 w 23"/>
                  <a:gd name="T35" fmla="*/ 1 h 14"/>
                  <a:gd name="T36" fmla="*/ 11 w 23"/>
                  <a:gd name="T37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3" h="14">
                    <a:moveTo>
                      <a:pt x="11" y="0"/>
                    </a:moveTo>
                    <a:lnTo>
                      <a:pt x="6" y="0"/>
                    </a:lnTo>
                    <a:lnTo>
                      <a:pt x="3" y="1"/>
                    </a:lnTo>
                    <a:lnTo>
                      <a:pt x="0" y="1"/>
                    </a:lnTo>
                    <a:lnTo>
                      <a:pt x="0" y="6"/>
                    </a:lnTo>
                    <a:lnTo>
                      <a:pt x="1" y="9"/>
                    </a:lnTo>
                    <a:lnTo>
                      <a:pt x="4" y="13"/>
                    </a:lnTo>
                    <a:lnTo>
                      <a:pt x="8" y="14"/>
                    </a:lnTo>
                    <a:lnTo>
                      <a:pt x="11" y="14"/>
                    </a:lnTo>
                    <a:lnTo>
                      <a:pt x="15" y="13"/>
                    </a:lnTo>
                    <a:lnTo>
                      <a:pt x="20" y="11"/>
                    </a:lnTo>
                    <a:lnTo>
                      <a:pt x="22" y="9"/>
                    </a:lnTo>
                    <a:lnTo>
                      <a:pt x="23" y="8"/>
                    </a:lnTo>
                    <a:lnTo>
                      <a:pt x="23" y="6"/>
                    </a:lnTo>
                    <a:lnTo>
                      <a:pt x="23" y="3"/>
                    </a:lnTo>
                    <a:lnTo>
                      <a:pt x="19" y="3"/>
                    </a:lnTo>
                    <a:lnTo>
                      <a:pt x="15" y="1"/>
                    </a:lnTo>
                    <a:lnTo>
                      <a:pt x="12" y="1"/>
                    </a:lnTo>
                    <a:lnTo>
                      <a:pt x="11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95" name="Freeform 698"/>
              <p:cNvSpPr>
                <a:spLocks/>
              </p:cNvSpPr>
              <p:nvPr/>
            </p:nvSpPr>
            <p:spPr bwMode="auto">
              <a:xfrm>
                <a:off x="1545" y="1214"/>
                <a:ext cx="1" cy="1"/>
              </a:xfrm>
              <a:custGeom>
                <a:avLst/>
                <a:gdLst>
                  <a:gd name="T0" fmla="*/ 3 w 3"/>
                  <a:gd name="T1" fmla="*/ 0 h 1"/>
                  <a:gd name="T2" fmla="*/ 3 w 3"/>
                  <a:gd name="T3" fmla="*/ 0 h 1"/>
                  <a:gd name="T4" fmla="*/ 0 w 3"/>
                  <a:gd name="T5" fmla="*/ 1 h 1"/>
                  <a:gd name="T6" fmla="*/ 3 w 3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lnTo>
                      <a:pt x="3" y="0"/>
                    </a:lnTo>
                    <a:lnTo>
                      <a:pt x="0" y="1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96" name="Freeform 699"/>
              <p:cNvSpPr>
                <a:spLocks/>
              </p:cNvSpPr>
              <p:nvPr/>
            </p:nvSpPr>
            <p:spPr bwMode="auto">
              <a:xfrm>
                <a:off x="1562" y="1211"/>
                <a:ext cx="11" cy="5"/>
              </a:xfrm>
              <a:custGeom>
                <a:avLst/>
                <a:gdLst>
                  <a:gd name="T0" fmla="*/ 18 w 21"/>
                  <a:gd name="T1" fmla="*/ 7 h 12"/>
                  <a:gd name="T2" fmla="*/ 20 w 21"/>
                  <a:gd name="T3" fmla="*/ 4 h 12"/>
                  <a:gd name="T4" fmla="*/ 15 w 21"/>
                  <a:gd name="T5" fmla="*/ 2 h 12"/>
                  <a:gd name="T6" fmla="*/ 10 w 21"/>
                  <a:gd name="T7" fmla="*/ 0 h 12"/>
                  <a:gd name="T8" fmla="*/ 5 w 21"/>
                  <a:gd name="T9" fmla="*/ 0 h 12"/>
                  <a:gd name="T10" fmla="*/ 0 w 21"/>
                  <a:gd name="T11" fmla="*/ 2 h 12"/>
                  <a:gd name="T12" fmla="*/ 2 w 21"/>
                  <a:gd name="T13" fmla="*/ 5 h 12"/>
                  <a:gd name="T14" fmla="*/ 7 w 21"/>
                  <a:gd name="T15" fmla="*/ 8 h 12"/>
                  <a:gd name="T16" fmla="*/ 10 w 21"/>
                  <a:gd name="T17" fmla="*/ 10 h 12"/>
                  <a:gd name="T18" fmla="*/ 13 w 21"/>
                  <a:gd name="T19" fmla="*/ 12 h 12"/>
                  <a:gd name="T20" fmla="*/ 16 w 21"/>
                  <a:gd name="T21" fmla="*/ 10 h 12"/>
                  <a:gd name="T22" fmla="*/ 21 w 21"/>
                  <a:gd name="T23" fmla="*/ 8 h 12"/>
                  <a:gd name="T24" fmla="*/ 18 w 21"/>
                  <a:gd name="T25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1" h="12">
                    <a:moveTo>
                      <a:pt x="18" y="7"/>
                    </a:moveTo>
                    <a:lnTo>
                      <a:pt x="20" y="4"/>
                    </a:lnTo>
                    <a:lnTo>
                      <a:pt x="15" y="2"/>
                    </a:lnTo>
                    <a:lnTo>
                      <a:pt x="10" y="0"/>
                    </a:lnTo>
                    <a:lnTo>
                      <a:pt x="5" y="0"/>
                    </a:lnTo>
                    <a:lnTo>
                      <a:pt x="0" y="2"/>
                    </a:lnTo>
                    <a:lnTo>
                      <a:pt x="2" y="5"/>
                    </a:lnTo>
                    <a:lnTo>
                      <a:pt x="7" y="8"/>
                    </a:lnTo>
                    <a:lnTo>
                      <a:pt x="10" y="10"/>
                    </a:lnTo>
                    <a:lnTo>
                      <a:pt x="13" y="12"/>
                    </a:lnTo>
                    <a:lnTo>
                      <a:pt x="16" y="10"/>
                    </a:lnTo>
                    <a:lnTo>
                      <a:pt x="21" y="8"/>
                    </a:lnTo>
                    <a:lnTo>
                      <a:pt x="18" y="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97" name="Freeform 700"/>
              <p:cNvSpPr>
                <a:spLocks/>
              </p:cNvSpPr>
              <p:nvPr/>
            </p:nvSpPr>
            <p:spPr bwMode="auto">
              <a:xfrm>
                <a:off x="1580" y="923"/>
                <a:ext cx="121" cy="45"/>
              </a:xfrm>
              <a:custGeom>
                <a:avLst/>
                <a:gdLst>
                  <a:gd name="T0" fmla="*/ 5 w 241"/>
                  <a:gd name="T1" fmla="*/ 39 h 90"/>
                  <a:gd name="T2" fmla="*/ 13 w 241"/>
                  <a:gd name="T3" fmla="*/ 46 h 90"/>
                  <a:gd name="T4" fmla="*/ 25 w 241"/>
                  <a:gd name="T5" fmla="*/ 47 h 90"/>
                  <a:gd name="T6" fmla="*/ 9 w 241"/>
                  <a:gd name="T7" fmla="*/ 57 h 90"/>
                  <a:gd name="T8" fmla="*/ 29 w 241"/>
                  <a:gd name="T9" fmla="*/ 54 h 90"/>
                  <a:gd name="T10" fmla="*/ 33 w 241"/>
                  <a:gd name="T11" fmla="*/ 55 h 90"/>
                  <a:gd name="T12" fmla="*/ 44 w 241"/>
                  <a:gd name="T13" fmla="*/ 55 h 90"/>
                  <a:gd name="T14" fmla="*/ 55 w 241"/>
                  <a:gd name="T15" fmla="*/ 54 h 90"/>
                  <a:gd name="T16" fmla="*/ 78 w 241"/>
                  <a:gd name="T17" fmla="*/ 52 h 90"/>
                  <a:gd name="T18" fmla="*/ 86 w 241"/>
                  <a:gd name="T19" fmla="*/ 55 h 90"/>
                  <a:gd name="T20" fmla="*/ 71 w 241"/>
                  <a:gd name="T21" fmla="*/ 59 h 90"/>
                  <a:gd name="T22" fmla="*/ 103 w 241"/>
                  <a:gd name="T23" fmla="*/ 59 h 90"/>
                  <a:gd name="T24" fmla="*/ 41 w 241"/>
                  <a:gd name="T25" fmla="*/ 60 h 90"/>
                  <a:gd name="T26" fmla="*/ 27 w 241"/>
                  <a:gd name="T27" fmla="*/ 70 h 90"/>
                  <a:gd name="T28" fmla="*/ 22 w 241"/>
                  <a:gd name="T29" fmla="*/ 71 h 90"/>
                  <a:gd name="T30" fmla="*/ 33 w 241"/>
                  <a:gd name="T31" fmla="*/ 76 h 90"/>
                  <a:gd name="T32" fmla="*/ 25 w 241"/>
                  <a:gd name="T33" fmla="*/ 81 h 90"/>
                  <a:gd name="T34" fmla="*/ 41 w 241"/>
                  <a:gd name="T35" fmla="*/ 87 h 90"/>
                  <a:gd name="T36" fmla="*/ 59 w 241"/>
                  <a:gd name="T37" fmla="*/ 90 h 90"/>
                  <a:gd name="T38" fmla="*/ 81 w 241"/>
                  <a:gd name="T39" fmla="*/ 84 h 90"/>
                  <a:gd name="T40" fmla="*/ 97 w 241"/>
                  <a:gd name="T41" fmla="*/ 82 h 90"/>
                  <a:gd name="T42" fmla="*/ 101 w 241"/>
                  <a:gd name="T43" fmla="*/ 84 h 90"/>
                  <a:gd name="T44" fmla="*/ 121 w 241"/>
                  <a:gd name="T45" fmla="*/ 84 h 90"/>
                  <a:gd name="T46" fmla="*/ 136 w 241"/>
                  <a:gd name="T47" fmla="*/ 81 h 90"/>
                  <a:gd name="T48" fmla="*/ 149 w 241"/>
                  <a:gd name="T49" fmla="*/ 70 h 90"/>
                  <a:gd name="T50" fmla="*/ 168 w 241"/>
                  <a:gd name="T51" fmla="*/ 63 h 90"/>
                  <a:gd name="T52" fmla="*/ 151 w 241"/>
                  <a:gd name="T53" fmla="*/ 73 h 90"/>
                  <a:gd name="T54" fmla="*/ 170 w 241"/>
                  <a:gd name="T55" fmla="*/ 70 h 90"/>
                  <a:gd name="T56" fmla="*/ 187 w 241"/>
                  <a:gd name="T57" fmla="*/ 66 h 90"/>
                  <a:gd name="T58" fmla="*/ 211 w 241"/>
                  <a:gd name="T59" fmla="*/ 62 h 90"/>
                  <a:gd name="T60" fmla="*/ 233 w 241"/>
                  <a:gd name="T61" fmla="*/ 47 h 90"/>
                  <a:gd name="T62" fmla="*/ 222 w 241"/>
                  <a:gd name="T63" fmla="*/ 46 h 90"/>
                  <a:gd name="T64" fmla="*/ 203 w 241"/>
                  <a:gd name="T65" fmla="*/ 47 h 90"/>
                  <a:gd name="T66" fmla="*/ 200 w 241"/>
                  <a:gd name="T67" fmla="*/ 47 h 90"/>
                  <a:gd name="T68" fmla="*/ 219 w 241"/>
                  <a:gd name="T69" fmla="*/ 38 h 90"/>
                  <a:gd name="T70" fmla="*/ 211 w 241"/>
                  <a:gd name="T71" fmla="*/ 39 h 90"/>
                  <a:gd name="T72" fmla="*/ 206 w 241"/>
                  <a:gd name="T73" fmla="*/ 35 h 90"/>
                  <a:gd name="T74" fmla="*/ 217 w 241"/>
                  <a:gd name="T75" fmla="*/ 28 h 90"/>
                  <a:gd name="T76" fmla="*/ 201 w 241"/>
                  <a:gd name="T77" fmla="*/ 25 h 90"/>
                  <a:gd name="T78" fmla="*/ 189 w 241"/>
                  <a:gd name="T79" fmla="*/ 33 h 90"/>
                  <a:gd name="T80" fmla="*/ 186 w 241"/>
                  <a:gd name="T81" fmla="*/ 25 h 90"/>
                  <a:gd name="T82" fmla="*/ 173 w 241"/>
                  <a:gd name="T83" fmla="*/ 22 h 90"/>
                  <a:gd name="T84" fmla="*/ 159 w 241"/>
                  <a:gd name="T85" fmla="*/ 20 h 90"/>
                  <a:gd name="T86" fmla="*/ 151 w 241"/>
                  <a:gd name="T87" fmla="*/ 8 h 90"/>
                  <a:gd name="T88" fmla="*/ 140 w 241"/>
                  <a:gd name="T89" fmla="*/ 1 h 90"/>
                  <a:gd name="T90" fmla="*/ 122 w 241"/>
                  <a:gd name="T91" fmla="*/ 1 h 90"/>
                  <a:gd name="T92" fmla="*/ 105 w 241"/>
                  <a:gd name="T93" fmla="*/ 1 h 90"/>
                  <a:gd name="T94" fmla="*/ 127 w 241"/>
                  <a:gd name="T95" fmla="*/ 5 h 90"/>
                  <a:gd name="T96" fmla="*/ 101 w 241"/>
                  <a:gd name="T97" fmla="*/ 6 h 90"/>
                  <a:gd name="T98" fmla="*/ 98 w 241"/>
                  <a:gd name="T99" fmla="*/ 9 h 90"/>
                  <a:gd name="T100" fmla="*/ 68 w 241"/>
                  <a:gd name="T101" fmla="*/ 11 h 90"/>
                  <a:gd name="T102" fmla="*/ 71 w 241"/>
                  <a:gd name="T103" fmla="*/ 14 h 90"/>
                  <a:gd name="T104" fmla="*/ 84 w 241"/>
                  <a:gd name="T105" fmla="*/ 17 h 90"/>
                  <a:gd name="T106" fmla="*/ 75 w 241"/>
                  <a:gd name="T107" fmla="*/ 20 h 90"/>
                  <a:gd name="T108" fmla="*/ 43 w 241"/>
                  <a:gd name="T109" fmla="*/ 20 h 90"/>
                  <a:gd name="T110" fmla="*/ 30 w 241"/>
                  <a:gd name="T111" fmla="*/ 25 h 90"/>
                  <a:gd name="T112" fmla="*/ 43 w 241"/>
                  <a:gd name="T113" fmla="*/ 30 h 90"/>
                  <a:gd name="T114" fmla="*/ 48 w 241"/>
                  <a:gd name="T115" fmla="*/ 32 h 90"/>
                  <a:gd name="T116" fmla="*/ 67 w 241"/>
                  <a:gd name="T117" fmla="*/ 32 h 90"/>
                  <a:gd name="T118" fmla="*/ 44 w 241"/>
                  <a:gd name="T119" fmla="*/ 35 h 90"/>
                  <a:gd name="T120" fmla="*/ 6 w 241"/>
                  <a:gd name="T121" fmla="*/ 35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41" h="90">
                    <a:moveTo>
                      <a:pt x="5" y="36"/>
                    </a:moveTo>
                    <a:lnTo>
                      <a:pt x="8" y="38"/>
                    </a:lnTo>
                    <a:lnTo>
                      <a:pt x="11" y="38"/>
                    </a:lnTo>
                    <a:lnTo>
                      <a:pt x="8" y="39"/>
                    </a:lnTo>
                    <a:lnTo>
                      <a:pt x="5" y="39"/>
                    </a:lnTo>
                    <a:lnTo>
                      <a:pt x="0" y="39"/>
                    </a:lnTo>
                    <a:lnTo>
                      <a:pt x="5" y="39"/>
                    </a:lnTo>
                    <a:lnTo>
                      <a:pt x="3" y="43"/>
                    </a:lnTo>
                    <a:lnTo>
                      <a:pt x="6" y="46"/>
                    </a:lnTo>
                    <a:lnTo>
                      <a:pt x="13" y="46"/>
                    </a:lnTo>
                    <a:lnTo>
                      <a:pt x="17" y="46"/>
                    </a:lnTo>
                    <a:lnTo>
                      <a:pt x="24" y="46"/>
                    </a:lnTo>
                    <a:lnTo>
                      <a:pt x="38" y="44"/>
                    </a:lnTo>
                    <a:lnTo>
                      <a:pt x="48" y="43"/>
                    </a:lnTo>
                    <a:lnTo>
                      <a:pt x="25" y="47"/>
                    </a:lnTo>
                    <a:lnTo>
                      <a:pt x="2" y="51"/>
                    </a:lnTo>
                    <a:lnTo>
                      <a:pt x="6" y="54"/>
                    </a:lnTo>
                    <a:lnTo>
                      <a:pt x="9" y="54"/>
                    </a:lnTo>
                    <a:lnTo>
                      <a:pt x="6" y="57"/>
                    </a:lnTo>
                    <a:lnTo>
                      <a:pt x="9" y="57"/>
                    </a:lnTo>
                    <a:lnTo>
                      <a:pt x="14" y="57"/>
                    </a:lnTo>
                    <a:lnTo>
                      <a:pt x="17" y="55"/>
                    </a:lnTo>
                    <a:lnTo>
                      <a:pt x="21" y="55"/>
                    </a:lnTo>
                    <a:lnTo>
                      <a:pt x="25" y="55"/>
                    </a:lnTo>
                    <a:lnTo>
                      <a:pt x="29" y="54"/>
                    </a:lnTo>
                    <a:lnTo>
                      <a:pt x="33" y="54"/>
                    </a:lnTo>
                    <a:lnTo>
                      <a:pt x="36" y="54"/>
                    </a:lnTo>
                    <a:lnTo>
                      <a:pt x="41" y="54"/>
                    </a:lnTo>
                    <a:lnTo>
                      <a:pt x="36" y="54"/>
                    </a:lnTo>
                    <a:lnTo>
                      <a:pt x="33" y="55"/>
                    </a:lnTo>
                    <a:lnTo>
                      <a:pt x="29" y="57"/>
                    </a:lnTo>
                    <a:lnTo>
                      <a:pt x="33" y="57"/>
                    </a:lnTo>
                    <a:lnTo>
                      <a:pt x="36" y="57"/>
                    </a:lnTo>
                    <a:lnTo>
                      <a:pt x="41" y="57"/>
                    </a:lnTo>
                    <a:lnTo>
                      <a:pt x="44" y="55"/>
                    </a:lnTo>
                    <a:lnTo>
                      <a:pt x="48" y="55"/>
                    </a:lnTo>
                    <a:lnTo>
                      <a:pt x="51" y="54"/>
                    </a:lnTo>
                    <a:lnTo>
                      <a:pt x="55" y="52"/>
                    </a:lnTo>
                    <a:lnTo>
                      <a:pt x="51" y="55"/>
                    </a:lnTo>
                    <a:lnTo>
                      <a:pt x="55" y="54"/>
                    </a:lnTo>
                    <a:lnTo>
                      <a:pt x="59" y="54"/>
                    </a:lnTo>
                    <a:lnTo>
                      <a:pt x="62" y="51"/>
                    </a:lnTo>
                    <a:lnTo>
                      <a:pt x="67" y="54"/>
                    </a:lnTo>
                    <a:lnTo>
                      <a:pt x="73" y="52"/>
                    </a:lnTo>
                    <a:lnTo>
                      <a:pt x="78" y="52"/>
                    </a:lnTo>
                    <a:lnTo>
                      <a:pt x="81" y="52"/>
                    </a:lnTo>
                    <a:lnTo>
                      <a:pt x="78" y="52"/>
                    </a:lnTo>
                    <a:lnTo>
                      <a:pt x="75" y="54"/>
                    </a:lnTo>
                    <a:lnTo>
                      <a:pt x="70" y="54"/>
                    </a:lnTo>
                    <a:lnTo>
                      <a:pt x="86" y="55"/>
                    </a:lnTo>
                    <a:lnTo>
                      <a:pt x="101" y="54"/>
                    </a:lnTo>
                    <a:lnTo>
                      <a:pt x="82" y="55"/>
                    </a:lnTo>
                    <a:lnTo>
                      <a:pt x="63" y="57"/>
                    </a:lnTo>
                    <a:lnTo>
                      <a:pt x="68" y="59"/>
                    </a:lnTo>
                    <a:lnTo>
                      <a:pt x="71" y="59"/>
                    </a:lnTo>
                    <a:lnTo>
                      <a:pt x="84" y="59"/>
                    </a:lnTo>
                    <a:lnTo>
                      <a:pt x="87" y="59"/>
                    </a:lnTo>
                    <a:lnTo>
                      <a:pt x="100" y="59"/>
                    </a:lnTo>
                    <a:lnTo>
                      <a:pt x="114" y="57"/>
                    </a:lnTo>
                    <a:lnTo>
                      <a:pt x="103" y="59"/>
                    </a:lnTo>
                    <a:lnTo>
                      <a:pt x="89" y="60"/>
                    </a:lnTo>
                    <a:lnTo>
                      <a:pt x="76" y="60"/>
                    </a:lnTo>
                    <a:lnTo>
                      <a:pt x="63" y="60"/>
                    </a:lnTo>
                    <a:lnTo>
                      <a:pt x="52" y="60"/>
                    </a:lnTo>
                    <a:lnTo>
                      <a:pt x="41" y="60"/>
                    </a:lnTo>
                    <a:lnTo>
                      <a:pt x="30" y="63"/>
                    </a:lnTo>
                    <a:lnTo>
                      <a:pt x="16" y="65"/>
                    </a:lnTo>
                    <a:lnTo>
                      <a:pt x="19" y="70"/>
                    </a:lnTo>
                    <a:lnTo>
                      <a:pt x="22" y="70"/>
                    </a:lnTo>
                    <a:lnTo>
                      <a:pt x="27" y="70"/>
                    </a:lnTo>
                    <a:lnTo>
                      <a:pt x="30" y="70"/>
                    </a:lnTo>
                    <a:lnTo>
                      <a:pt x="33" y="71"/>
                    </a:lnTo>
                    <a:lnTo>
                      <a:pt x="30" y="73"/>
                    </a:lnTo>
                    <a:lnTo>
                      <a:pt x="25" y="71"/>
                    </a:lnTo>
                    <a:lnTo>
                      <a:pt x="22" y="71"/>
                    </a:lnTo>
                    <a:lnTo>
                      <a:pt x="17" y="71"/>
                    </a:lnTo>
                    <a:lnTo>
                      <a:pt x="22" y="74"/>
                    </a:lnTo>
                    <a:lnTo>
                      <a:pt x="25" y="78"/>
                    </a:lnTo>
                    <a:lnTo>
                      <a:pt x="29" y="78"/>
                    </a:lnTo>
                    <a:lnTo>
                      <a:pt x="33" y="76"/>
                    </a:lnTo>
                    <a:lnTo>
                      <a:pt x="36" y="76"/>
                    </a:lnTo>
                    <a:lnTo>
                      <a:pt x="48" y="78"/>
                    </a:lnTo>
                    <a:lnTo>
                      <a:pt x="59" y="78"/>
                    </a:lnTo>
                    <a:lnTo>
                      <a:pt x="41" y="79"/>
                    </a:lnTo>
                    <a:lnTo>
                      <a:pt x="25" y="81"/>
                    </a:lnTo>
                    <a:lnTo>
                      <a:pt x="29" y="84"/>
                    </a:lnTo>
                    <a:lnTo>
                      <a:pt x="32" y="85"/>
                    </a:lnTo>
                    <a:lnTo>
                      <a:pt x="36" y="85"/>
                    </a:lnTo>
                    <a:lnTo>
                      <a:pt x="36" y="89"/>
                    </a:lnTo>
                    <a:lnTo>
                      <a:pt x="41" y="87"/>
                    </a:lnTo>
                    <a:lnTo>
                      <a:pt x="44" y="89"/>
                    </a:lnTo>
                    <a:lnTo>
                      <a:pt x="48" y="89"/>
                    </a:lnTo>
                    <a:lnTo>
                      <a:pt x="51" y="89"/>
                    </a:lnTo>
                    <a:lnTo>
                      <a:pt x="55" y="89"/>
                    </a:lnTo>
                    <a:lnTo>
                      <a:pt x="59" y="90"/>
                    </a:lnTo>
                    <a:lnTo>
                      <a:pt x="70" y="90"/>
                    </a:lnTo>
                    <a:lnTo>
                      <a:pt x="73" y="90"/>
                    </a:lnTo>
                    <a:lnTo>
                      <a:pt x="78" y="87"/>
                    </a:lnTo>
                    <a:lnTo>
                      <a:pt x="73" y="85"/>
                    </a:lnTo>
                    <a:lnTo>
                      <a:pt x="81" y="84"/>
                    </a:lnTo>
                    <a:lnTo>
                      <a:pt x="84" y="85"/>
                    </a:lnTo>
                    <a:lnTo>
                      <a:pt x="89" y="87"/>
                    </a:lnTo>
                    <a:lnTo>
                      <a:pt x="94" y="90"/>
                    </a:lnTo>
                    <a:lnTo>
                      <a:pt x="95" y="87"/>
                    </a:lnTo>
                    <a:lnTo>
                      <a:pt x="97" y="82"/>
                    </a:lnTo>
                    <a:lnTo>
                      <a:pt x="94" y="81"/>
                    </a:lnTo>
                    <a:lnTo>
                      <a:pt x="97" y="78"/>
                    </a:lnTo>
                    <a:lnTo>
                      <a:pt x="98" y="76"/>
                    </a:lnTo>
                    <a:lnTo>
                      <a:pt x="98" y="79"/>
                    </a:lnTo>
                    <a:lnTo>
                      <a:pt x="101" y="84"/>
                    </a:lnTo>
                    <a:lnTo>
                      <a:pt x="103" y="87"/>
                    </a:lnTo>
                    <a:lnTo>
                      <a:pt x="106" y="90"/>
                    </a:lnTo>
                    <a:lnTo>
                      <a:pt x="111" y="89"/>
                    </a:lnTo>
                    <a:lnTo>
                      <a:pt x="114" y="87"/>
                    </a:lnTo>
                    <a:lnTo>
                      <a:pt x="121" y="84"/>
                    </a:lnTo>
                    <a:lnTo>
                      <a:pt x="125" y="82"/>
                    </a:lnTo>
                    <a:lnTo>
                      <a:pt x="125" y="79"/>
                    </a:lnTo>
                    <a:lnTo>
                      <a:pt x="128" y="76"/>
                    </a:lnTo>
                    <a:lnTo>
                      <a:pt x="135" y="79"/>
                    </a:lnTo>
                    <a:lnTo>
                      <a:pt x="136" y="81"/>
                    </a:lnTo>
                    <a:lnTo>
                      <a:pt x="140" y="81"/>
                    </a:lnTo>
                    <a:lnTo>
                      <a:pt x="146" y="78"/>
                    </a:lnTo>
                    <a:lnTo>
                      <a:pt x="143" y="74"/>
                    </a:lnTo>
                    <a:lnTo>
                      <a:pt x="146" y="71"/>
                    </a:lnTo>
                    <a:lnTo>
                      <a:pt x="149" y="70"/>
                    </a:lnTo>
                    <a:lnTo>
                      <a:pt x="154" y="66"/>
                    </a:lnTo>
                    <a:lnTo>
                      <a:pt x="157" y="65"/>
                    </a:lnTo>
                    <a:lnTo>
                      <a:pt x="162" y="65"/>
                    </a:lnTo>
                    <a:lnTo>
                      <a:pt x="165" y="63"/>
                    </a:lnTo>
                    <a:lnTo>
                      <a:pt x="168" y="63"/>
                    </a:lnTo>
                    <a:lnTo>
                      <a:pt x="165" y="65"/>
                    </a:lnTo>
                    <a:lnTo>
                      <a:pt x="160" y="65"/>
                    </a:lnTo>
                    <a:lnTo>
                      <a:pt x="157" y="68"/>
                    </a:lnTo>
                    <a:lnTo>
                      <a:pt x="154" y="70"/>
                    </a:lnTo>
                    <a:lnTo>
                      <a:pt x="151" y="73"/>
                    </a:lnTo>
                    <a:lnTo>
                      <a:pt x="155" y="76"/>
                    </a:lnTo>
                    <a:lnTo>
                      <a:pt x="159" y="74"/>
                    </a:lnTo>
                    <a:lnTo>
                      <a:pt x="163" y="73"/>
                    </a:lnTo>
                    <a:lnTo>
                      <a:pt x="166" y="71"/>
                    </a:lnTo>
                    <a:lnTo>
                      <a:pt x="170" y="70"/>
                    </a:lnTo>
                    <a:lnTo>
                      <a:pt x="173" y="70"/>
                    </a:lnTo>
                    <a:lnTo>
                      <a:pt x="178" y="68"/>
                    </a:lnTo>
                    <a:lnTo>
                      <a:pt x="181" y="68"/>
                    </a:lnTo>
                    <a:lnTo>
                      <a:pt x="184" y="63"/>
                    </a:lnTo>
                    <a:lnTo>
                      <a:pt x="187" y="66"/>
                    </a:lnTo>
                    <a:lnTo>
                      <a:pt x="192" y="65"/>
                    </a:lnTo>
                    <a:lnTo>
                      <a:pt x="195" y="63"/>
                    </a:lnTo>
                    <a:lnTo>
                      <a:pt x="200" y="63"/>
                    </a:lnTo>
                    <a:lnTo>
                      <a:pt x="203" y="62"/>
                    </a:lnTo>
                    <a:lnTo>
                      <a:pt x="211" y="62"/>
                    </a:lnTo>
                    <a:lnTo>
                      <a:pt x="225" y="60"/>
                    </a:lnTo>
                    <a:lnTo>
                      <a:pt x="241" y="57"/>
                    </a:lnTo>
                    <a:lnTo>
                      <a:pt x="239" y="54"/>
                    </a:lnTo>
                    <a:lnTo>
                      <a:pt x="236" y="51"/>
                    </a:lnTo>
                    <a:lnTo>
                      <a:pt x="233" y="47"/>
                    </a:lnTo>
                    <a:lnTo>
                      <a:pt x="230" y="49"/>
                    </a:lnTo>
                    <a:lnTo>
                      <a:pt x="225" y="51"/>
                    </a:lnTo>
                    <a:lnTo>
                      <a:pt x="222" y="52"/>
                    </a:lnTo>
                    <a:lnTo>
                      <a:pt x="225" y="49"/>
                    </a:lnTo>
                    <a:lnTo>
                      <a:pt x="222" y="46"/>
                    </a:lnTo>
                    <a:lnTo>
                      <a:pt x="217" y="46"/>
                    </a:lnTo>
                    <a:lnTo>
                      <a:pt x="214" y="46"/>
                    </a:lnTo>
                    <a:lnTo>
                      <a:pt x="211" y="47"/>
                    </a:lnTo>
                    <a:lnTo>
                      <a:pt x="206" y="49"/>
                    </a:lnTo>
                    <a:lnTo>
                      <a:pt x="203" y="47"/>
                    </a:lnTo>
                    <a:lnTo>
                      <a:pt x="200" y="49"/>
                    </a:lnTo>
                    <a:lnTo>
                      <a:pt x="197" y="51"/>
                    </a:lnTo>
                    <a:lnTo>
                      <a:pt x="192" y="49"/>
                    </a:lnTo>
                    <a:lnTo>
                      <a:pt x="197" y="47"/>
                    </a:lnTo>
                    <a:lnTo>
                      <a:pt x="200" y="47"/>
                    </a:lnTo>
                    <a:lnTo>
                      <a:pt x="205" y="46"/>
                    </a:lnTo>
                    <a:lnTo>
                      <a:pt x="208" y="44"/>
                    </a:lnTo>
                    <a:lnTo>
                      <a:pt x="211" y="43"/>
                    </a:lnTo>
                    <a:lnTo>
                      <a:pt x="214" y="41"/>
                    </a:lnTo>
                    <a:lnTo>
                      <a:pt x="219" y="38"/>
                    </a:lnTo>
                    <a:lnTo>
                      <a:pt x="211" y="39"/>
                    </a:lnTo>
                    <a:lnTo>
                      <a:pt x="208" y="41"/>
                    </a:lnTo>
                    <a:lnTo>
                      <a:pt x="203" y="41"/>
                    </a:lnTo>
                    <a:lnTo>
                      <a:pt x="206" y="39"/>
                    </a:lnTo>
                    <a:lnTo>
                      <a:pt x="211" y="39"/>
                    </a:lnTo>
                    <a:lnTo>
                      <a:pt x="214" y="38"/>
                    </a:lnTo>
                    <a:lnTo>
                      <a:pt x="217" y="38"/>
                    </a:lnTo>
                    <a:lnTo>
                      <a:pt x="217" y="36"/>
                    </a:lnTo>
                    <a:lnTo>
                      <a:pt x="214" y="35"/>
                    </a:lnTo>
                    <a:lnTo>
                      <a:pt x="206" y="35"/>
                    </a:lnTo>
                    <a:lnTo>
                      <a:pt x="203" y="35"/>
                    </a:lnTo>
                    <a:lnTo>
                      <a:pt x="206" y="32"/>
                    </a:lnTo>
                    <a:lnTo>
                      <a:pt x="211" y="32"/>
                    </a:lnTo>
                    <a:lnTo>
                      <a:pt x="214" y="32"/>
                    </a:lnTo>
                    <a:lnTo>
                      <a:pt x="217" y="28"/>
                    </a:lnTo>
                    <a:lnTo>
                      <a:pt x="217" y="25"/>
                    </a:lnTo>
                    <a:lnTo>
                      <a:pt x="212" y="24"/>
                    </a:lnTo>
                    <a:lnTo>
                      <a:pt x="209" y="24"/>
                    </a:lnTo>
                    <a:lnTo>
                      <a:pt x="206" y="24"/>
                    </a:lnTo>
                    <a:lnTo>
                      <a:pt x="201" y="25"/>
                    </a:lnTo>
                    <a:lnTo>
                      <a:pt x="198" y="25"/>
                    </a:lnTo>
                    <a:lnTo>
                      <a:pt x="195" y="27"/>
                    </a:lnTo>
                    <a:lnTo>
                      <a:pt x="198" y="30"/>
                    </a:lnTo>
                    <a:lnTo>
                      <a:pt x="193" y="33"/>
                    </a:lnTo>
                    <a:lnTo>
                      <a:pt x="189" y="33"/>
                    </a:lnTo>
                    <a:lnTo>
                      <a:pt x="186" y="32"/>
                    </a:lnTo>
                    <a:lnTo>
                      <a:pt x="181" y="28"/>
                    </a:lnTo>
                    <a:lnTo>
                      <a:pt x="184" y="27"/>
                    </a:lnTo>
                    <a:lnTo>
                      <a:pt x="189" y="25"/>
                    </a:lnTo>
                    <a:lnTo>
                      <a:pt x="186" y="25"/>
                    </a:lnTo>
                    <a:lnTo>
                      <a:pt x="189" y="24"/>
                    </a:lnTo>
                    <a:lnTo>
                      <a:pt x="184" y="20"/>
                    </a:lnTo>
                    <a:lnTo>
                      <a:pt x="181" y="22"/>
                    </a:lnTo>
                    <a:lnTo>
                      <a:pt x="178" y="22"/>
                    </a:lnTo>
                    <a:lnTo>
                      <a:pt x="173" y="22"/>
                    </a:lnTo>
                    <a:lnTo>
                      <a:pt x="173" y="22"/>
                    </a:lnTo>
                    <a:lnTo>
                      <a:pt x="170" y="20"/>
                    </a:lnTo>
                    <a:lnTo>
                      <a:pt x="166" y="20"/>
                    </a:lnTo>
                    <a:lnTo>
                      <a:pt x="162" y="20"/>
                    </a:lnTo>
                    <a:lnTo>
                      <a:pt x="159" y="20"/>
                    </a:lnTo>
                    <a:lnTo>
                      <a:pt x="162" y="19"/>
                    </a:lnTo>
                    <a:lnTo>
                      <a:pt x="159" y="16"/>
                    </a:lnTo>
                    <a:lnTo>
                      <a:pt x="157" y="13"/>
                    </a:lnTo>
                    <a:lnTo>
                      <a:pt x="154" y="9"/>
                    </a:lnTo>
                    <a:lnTo>
                      <a:pt x="151" y="8"/>
                    </a:lnTo>
                    <a:lnTo>
                      <a:pt x="154" y="6"/>
                    </a:lnTo>
                    <a:lnTo>
                      <a:pt x="152" y="3"/>
                    </a:lnTo>
                    <a:lnTo>
                      <a:pt x="147" y="3"/>
                    </a:lnTo>
                    <a:lnTo>
                      <a:pt x="144" y="1"/>
                    </a:lnTo>
                    <a:lnTo>
                      <a:pt x="140" y="1"/>
                    </a:lnTo>
                    <a:lnTo>
                      <a:pt x="136" y="0"/>
                    </a:lnTo>
                    <a:lnTo>
                      <a:pt x="133" y="0"/>
                    </a:lnTo>
                    <a:lnTo>
                      <a:pt x="132" y="0"/>
                    </a:lnTo>
                    <a:lnTo>
                      <a:pt x="127" y="0"/>
                    </a:lnTo>
                    <a:lnTo>
                      <a:pt x="122" y="1"/>
                    </a:lnTo>
                    <a:lnTo>
                      <a:pt x="119" y="0"/>
                    </a:lnTo>
                    <a:lnTo>
                      <a:pt x="116" y="0"/>
                    </a:lnTo>
                    <a:lnTo>
                      <a:pt x="111" y="0"/>
                    </a:lnTo>
                    <a:lnTo>
                      <a:pt x="108" y="0"/>
                    </a:lnTo>
                    <a:lnTo>
                      <a:pt x="105" y="1"/>
                    </a:lnTo>
                    <a:lnTo>
                      <a:pt x="108" y="5"/>
                    </a:lnTo>
                    <a:lnTo>
                      <a:pt x="113" y="5"/>
                    </a:lnTo>
                    <a:lnTo>
                      <a:pt x="116" y="3"/>
                    </a:lnTo>
                    <a:lnTo>
                      <a:pt x="124" y="3"/>
                    </a:lnTo>
                    <a:lnTo>
                      <a:pt x="127" y="5"/>
                    </a:lnTo>
                    <a:lnTo>
                      <a:pt x="124" y="6"/>
                    </a:lnTo>
                    <a:lnTo>
                      <a:pt x="121" y="8"/>
                    </a:lnTo>
                    <a:lnTo>
                      <a:pt x="113" y="8"/>
                    </a:lnTo>
                    <a:lnTo>
                      <a:pt x="109" y="6"/>
                    </a:lnTo>
                    <a:lnTo>
                      <a:pt x="101" y="6"/>
                    </a:lnTo>
                    <a:lnTo>
                      <a:pt x="98" y="6"/>
                    </a:lnTo>
                    <a:lnTo>
                      <a:pt x="101" y="8"/>
                    </a:lnTo>
                    <a:lnTo>
                      <a:pt x="105" y="8"/>
                    </a:lnTo>
                    <a:lnTo>
                      <a:pt x="101" y="8"/>
                    </a:lnTo>
                    <a:lnTo>
                      <a:pt x="98" y="9"/>
                    </a:lnTo>
                    <a:lnTo>
                      <a:pt x="94" y="9"/>
                    </a:lnTo>
                    <a:lnTo>
                      <a:pt x="90" y="9"/>
                    </a:lnTo>
                    <a:lnTo>
                      <a:pt x="87" y="8"/>
                    </a:lnTo>
                    <a:lnTo>
                      <a:pt x="78" y="9"/>
                    </a:lnTo>
                    <a:lnTo>
                      <a:pt x="68" y="11"/>
                    </a:lnTo>
                    <a:lnTo>
                      <a:pt x="71" y="13"/>
                    </a:lnTo>
                    <a:lnTo>
                      <a:pt x="68" y="13"/>
                    </a:lnTo>
                    <a:lnTo>
                      <a:pt x="63" y="13"/>
                    </a:lnTo>
                    <a:lnTo>
                      <a:pt x="68" y="14"/>
                    </a:lnTo>
                    <a:lnTo>
                      <a:pt x="71" y="14"/>
                    </a:lnTo>
                    <a:lnTo>
                      <a:pt x="75" y="14"/>
                    </a:lnTo>
                    <a:lnTo>
                      <a:pt x="71" y="14"/>
                    </a:lnTo>
                    <a:lnTo>
                      <a:pt x="79" y="16"/>
                    </a:lnTo>
                    <a:lnTo>
                      <a:pt x="87" y="17"/>
                    </a:lnTo>
                    <a:lnTo>
                      <a:pt x="84" y="17"/>
                    </a:lnTo>
                    <a:lnTo>
                      <a:pt x="76" y="17"/>
                    </a:lnTo>
                    <a:lnTo>
                      <a:pt x="81" y="19"/>
                    </a:lnTo>
                    <a:lnTo>
                      <a:pt x="84" y="20"/>
                    </a:lnTo>
                    <a:lnTo>
                      <a:pt x="87" y="20"/>
                    </a:lnTo>
                    <a:lnTo>
                      <a:pt x="75" y="20"/>
                    </a:lnTo>
                    <a:lnTo>
                      <a:pt x="62" y="19"/>
                    </a:lnTo>
                    <a:lnTo>
                      <a:pt x="59" y="20"/>
                    </a:lnTo>
                    <a:lnTo>
                      <a:pt x="51" y="20"/>
                    </a:lnTo>
                    <a:lnTo>
                      <a:pt x="48" y="20"/>
                    </a:lnTo>
                    <a:lnTo>
                      <a:pt x="43" y="20"/>
                    </a:lnTo>
                    <a:lnTo>
                      <a:pt x="40" y="22"/>
                    </a:lnTo>
                    <a:lnTo>
                      <a:pt x="36" y="22"/>
                    </a:lnTo>
                    <a:lnTo>
                      <a:pt x="40" y="24"/>
                    </a:lnTo>
                    <a:lnTo>
                      <a:pt x="43" y="25"/>
                    </a:lnTo>
                    <a:lnTo>
                      <a:pt x="30" y="25"/>
                    </a:lnTo>
                    <a:lnTo>
                      <a:pt x="17" y="27"/>
                    </a:lnTo>
                    <a:lnTo>
                      <a:pt x="21" y="27"/>
                    </a:lnTo>
                    <a:lnTo>
                      <a:pt x="17" y="28"/>
                    </a:lnTo>
                    <a:lnTo>
                      <a:pt x="30" y="30"/>
                    </a:lnTo>
                    <a:lnTo>
                      <a:pt x="43" y="30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40" y="33"/>
                    </a:lnTo>
                    <a:lnTo>
                      <a:pt x="44" y="32"/>
                    </a:lnTo>
                    <a:lnTo>
                      <a:pt x="48" y="32"/>
                    </a:lnTo>
                    <a:lnTo>
                      <a:pt x="51" y="32"/>
                    </a:lnTo>
                    <a:lnTo>
                      <a:pt x="55" y="32"/>
                    </a:lnTo>
                    <a:lnTo>
                      <a:pt x="59" y="30"/>
                    </a:lnTo>
                    <a:lnTo>
                      <a:pt x="63" y="30"/>
                    </a:lnTo>
                    <a:lnTo>
                      <a:pt x="67" y="32"/>
                    </a:lnTo>
                    <a:lnTo>
                      <a:pt x="63" y="32"/>
                    </a:lnTo>
                    <a:lnTo>
                      <a:pt x="59" y="32"/>
                    </a:lnTo>
                    <a:lnTo>
                      <a:pt x="51" y="33"/>
                    </a:lnTo>
                    <a:lnTo>
                      <a:pt x="54" y="36"/>
                    </a:lnTo>
                    <a:lnTo>
                      <a:pt x="44" y="35"/>
                    </a:lnTo>
                    <a:lnTo>
                      <a:pt x="33" y="35"/>
                    </a:lnTo>
                    <a:lnTo>
                      <a:pt x="19" y="33"/>
                    </a:lnTo>
                    <a:lnTo>
                      <a:pt x="6" y="33"/>
                    </a:lnTo>
                    <a:lnTo>
                      <a:pt x="9" y="35"/>
                    </a:lnTo>
                    <a:lnTo>
                      <a:pt x="6" y="35"/>
                    </a:lnTo>
                    <a:lnTo>
                      <a:pt x="5" y="36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98" name="Freeform 701"/>
              <p:cNvSpPr>
                <a:spLocks/>
              </p:cNvSpPr>
              <p:nvPr/>
            </p:nvSpPr>
            <p:spPr bwMode="auto">
              <a:xfrm>
                <a:off x="1588" y="988"/>
                <a:ext cx="11" cy="5"/>
              </a:xfrm>
              <a:custGeom>
                <a:avLst/>
                <a:gdLst>
                  <a:gd name="T0" fmla="*/ 5 w 22"/>
                  <a:gd name="T1" fmla="*/ 11 h 11"/>
                  <a:gd name="T2" fmla="*/ 8 w 22"/>
                  <a:gd name="T3" fmla="*/ 9 h 11"/>
                  <a:gd name="T4" fmla="*/ 11 w 22"/>
                  <a:gd name="T5" fmla="*/ 9 h 11"/>
                  <a:gd name="T6" fmla="*/ 15 w 22"/>
                  <a:gd name="T7" fmla="*/ 6 h 11"/>
                  <a:gd name="T8" fmla="*/ 19 w 22"/>
                  <a:gd name="T9" fmla="*/ 5 h 11"/>
                  <a:gd name="T10" fmla="*/ 22 w 22"/>
                  <a:gd name="T11" fmla="*/ 3 h 11"/>
                  <a:gd name="T12" fmla="*/ 19 w 22"/>
                  <a:gd name="T13" fmla="*/ 0 h 11"/>
                  <a:gd name="T14" fmla="*/ 18 w 22"/>
                  <a:gd name="T15" fmla="*/ 0 h 11"/>
                  <a:gd name="T16" fmla="*/ 15 w 22"/>
                  <a:gd name="T17" fmla="*/ 0 h 11"/>
                  <a:gd name="T18" fmla="*/ 11 w 22"/>
                  <a:gd name="T19" fmla="*/ 0 h 11"/>
                  <a:gd name="T20" fmla="*/ 8 w 22"/>
                  <a:gd name="T21" fmla="*/ 0 h 11"/>
                  <a:gd name="T22" fmla="*/ 3 w 22"/>
                  <a:gd name="T23" fmla="*/ 1 h 11"/>
                  <a:gd name="T24" fmla="*/ 0 w 22"/>
                  <a:gd name="T25" fmla="*/ 5 h 11"/>
                  <a:gd name="T26" fmla="*/ 2 w 22"/>
                  <a:gd name="T27" fmla="*/ 8 h 11"/>
                  <a:gd name="T28" fmla="*/ 5 w 22"/>
                  <a:gd name="T29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2" h="11">
                    <a:moveTo>
                      <a:pt x="5" y="11"/>
                    </a:moveTo>
                    <a:lnTo>
                      <a:pt x="8" y="9"/>
                    </a:lnTo>
                    <a:lnTo>
                      <a:pt x="11" y="9"/>
                    </a:lnTo>
                    <a:lnTo>
                      <a:pt x="15" y="6"/>
                    </a:lnTo>
                    <a:lnTo>
                      <a:pt x="19" y="5"/>
                    </a:lnTo>
                    <a:lnTo>
                      <a:pt x="22" y="3"/>
                    </a:lnTo>
                    <a:lnTo>
                      <a:pt x="19" y="0"/>
                    </a:lnTo>
                    <a:lnTo>
                      <a:pt x="18" y="0"/>
                    </a:lnTo>
                    <a:lnTo>
                      <a:pt x="15" y="0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3" y="1"/>
                    </a:lnTo>
                    <a:lnTo>
                      <a:pt x="0" y="5"/>
                    </a:lnTo>
                    <a:lnTo>
                      <a:pt x="2" y="8"/>
                    </a:lnTo>
                    <a:lnTo>
                      <a:pt x="5" y="1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99" name="Freeform 702"/>
              <p:cNvSpPr>
                <a:spLocks/>
              </p:cNvSpPr>
              <p:nvPr/>
            </p:nvSpPr>
            <p:spPr bwMode="auto">
              <a:xfrm>
                <a:off x="1594" y="975"/>
                <a:ext cx="17" cy="7"/>
              </a:xfrm>
              <a:custGeom>
                <a:avLst/>
                <a:gdLst>
                  <a:gd name="T0" fmla="*/ 19 w 33"/>
                  <a:gd name="T1" fmla="*/ 14 h 14"/>
                  <a:gd name="T2" fmla="*/ 27 w 33"/>
                  <a:gd name="T3" fmla="*/ 11 h 14"/>
                  <a:gd name="T4" fmla="*/ 30 w 33"/>
                  <a:gd name="T5" fmla="*/ 11 h 14"/>
                  <a:gd name="T6" fmla="*/ 33 w 33"/>
                  <a:gd name="T7" fmla="*/ 7 h 14"/>
                  <a:gd name="T8" fmla="*/ 32 w 33"/>
                  <a:gd name="T9" fmla="*/ 3 h 14"/>
                  <a:gd name="T10" fmla="*/ 32 w 33"/>
                  <a:gd name="T11" fmla="*/ 3 h 14"/>
                  <a:gd name="T12" fmla="*/ 28 w 33"/>
                  <a:gd name="T13" fmla="*/ 1 h 14"/>
                  <a:gd name="T14" fmla="*/ 24 w 33"/>
                  <a:gd name="T15" fmla="*/ 1 h 14"/>
                  <a:gd name="T16" fmla="*/ 21 w 33"/>
                  <a:gd name="T17" fmla="*/ 1 h 14"/>
                  <a:gd name="T18" fmla="*/ 17 w 33"/>
                  <a:gd name="T19" fmla="*/ 0 h 14"/>
                  <a:gd name="T20" fmla="*/ 14 w 33"/>
                  <a:gd name="T21" fmla="*/ 0 h 14"/>
                  <a:gd name="T22" fmla="*/ 9 w 33"/>
                  <a:gd name="T23" fmla="*/ 1 h 14"/>
                  <a:gd name="T24" fmla="*/ 6 w 33"/>
                  <a:gd name="T25" fmla="*/ 1 h 14"/>
                  <a:gd name="T26" fmla="*/ 3 w 33"/>
                  <a:gd name="T27" fmla="*/ 4 h 14"/>
                  <a:gd name="T28" fmla="*/ 0 w 33"/>
                  <a:gd name="T29" fmla="*/ 7 h 14"/>
                  <a:gd name="T30" fmla="*/ 0 w 33"/>
                  <a:gd name="T31" fmla="*/ 11 h 14"/>
                  <a:gd name="T32" fmla="*/ 5 w 33"/>
                  <a:gd name="T33" fmla="*/ 11 h 14"/>
                  <a:gd name="T34" fmla="*/ 8 w 33"/>
                  <a:gd name="T35" fmla="*/ 12 h 14"/>
                  <a:gd name="T36" fmla="*/ 11 w 33"/>
                  <a:gd name="T37" fmla="*/ 14 h 14"/>
                  <a:gd name="T38" fmla="*/ 16 w 33"/>
                  <a:gd name="T39" fmla="*/ 14 h 14"/>
                  <a:gd name="T40" fmla="*/ 19 w 33"/>
                  <a:gd name="T4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3" h="14">
                    <a:moveTo>
                      <a:pt x="19" y="14"/>
                    </a:moveTo>
                    <a:lnTo>
                      <a:pt x="27" y="11"/>
                    </a:lnTo>
                    <a:lnTo>
                      <a:pt x="30" y="11"/>
                    </a:lnTo>
                    <a:lnTo>
                      <a:pt x="33" y="7"/>
                    </a:lnTo>
                    <a:lnTo>
                      <a:pt x="32" y="3"/>
                    </a:lnTo>
                    <a:lnTo>
                      <a:pt x="32" y="3"/>
                    </a:lnTo>
                    <a:lnTo>
                      <a:pt x="28" y="1"/>
                    </a:lnTo>
                    <a:lnTo>
                      <a:pt x="24" y="1"/>
                    </a:lnTo>
                    <a:lnTo>
                      <a:pt x="21" y="1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9" y="1"/>
                    </a:lnTo>
                    <a:lnTo>
                      <a:pt x="6" y="1"/>
                    </a:lnTo>
                    <a:lnTo>
                      <a:pt x="3" y="4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5" y="11"/>
                    </a:lnTo>
                    <a:lnTo>
                      <a:pt x="8" y="12"/>
                    </a:lnTo>
                    <a:lnTo>
                      <a:pt x="11" y="14"/>
                    </a:lnTo>
                    <a:lnTo>
                      <a:pt x="16" y="14"/>
                    </a:lnTo>
                    <a:lnTo>
                      <a:pt x="19" y="1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00" name="Freeform 703"/>
              <p:cNvSpPr>
                <a:spLocks/>
              </p:cNvSpPr>
              <p:nvPr/>
            </p:nvSpPr>
            <p:spPr bwMode="auto">
              <a:xfrm>
                <a:off x="1596" y="1102"/>
                <a:ext cx="20" cy="6"/>
              </a:xfrm>
              <a:custGeom>
                <a:avLst/>
                <a:gdLst>
                  <a:gd name="T0" fmla="*/ 16 w 39"/>
                  <a:gd name="T1" fmla="*/ 11 h 11"/>
                  <a:gd name="T2" fmla="*/ 19 w 39"/>
                  <a:gd name="T3" fmla="*/ 8 h 11"/>
                  <a:gd name="T4" fmla="*/ 20 w 39"/>
                  <a:gd name="T5" fmla="*/ 7 h 11"/>
                  <a:gd name="T6" fmla="*/ 23 w 39"/>
                  <a:gd name="T7" fmla="*/ 8 h 11"/>
                  <a:gd name="T8" fmla="*/ 27 w 39"/>
                  <a:gd name="T9" fmla="*/ 8 h 11"/>
                  <a:gd name="T10" fmla="*/ 30 w 39"/>
                  <a:gd name="T11" fmla="*/ 7 h 11"/>
                  <a:gd name="T12" fmla="*/ 35 w 39"/>
                  <a:gd name="T13" fmla="*/ 7 h 11"/>
                  <a:gd name="T14" fmla="*/ 38 w 39"/>
                  <a:gd name="T15" fmla="*/ 5 h 11"/>
                  <a:gd name="T16" fmla="*/ 39 w 39"/>
                  <a:gd name="T17" fmla="*/ 2 h 11"/>
                  <a:gd name="T18" fmla="*/ 35 w 39"/>
                  <a:gd name="T19" fmla="*/ 0 h 11"/>
                  <a:gd name="T20" fmla="*/ 31 w 39"/>
                  <a:gd name="T21" fmla="*/ 2 h 11"/>
                  <a:gd name="T22" fmla="*/ 28 w 39"/>
                  <a:gd name="T23" fmla="*/ 3 h 11"/>
                  <a:gd name="T24" fmla="*/ 23 w 39"/>
                  <a:gd name="T25" fmla="*/ 3 h 11"/>
                  <a:gd name="T26" fmla="*/ 22 w 39"/>
                  <a:gd name="T27" fmla="*/ 3 h 11"/>
                  <a:gd name="T28" fmla="*/ 19 w 39"/>
                  <a:gd name="T29" fmla="*/ 3 h 11"/>
                  <a:gd name="T30" fmla="*/ 16 w 39"/>
                  <a:gd name="T31" fmla="*/ 2 h 11"/>
                  <a:gd name="T32" fmla="*/ 12 w 39"/>
                  <a:gd name="T33" fmla="*/ 2 h 11"/>
                  <a:gd name="T34" fmla="*/ 11 w 39"/>
                  <a:gd name="T35" fmla="*/ 5 h 11"/>
                  <a:gd name="T36" fmla="*/ 6 w 39"/>
                  <a:gd name="T37" fmla="*/ 3 h 11"/>
                  <a:gd name="T38" fmla="*/ 3 w 39"/>
                  <a:gd name="T39" fmla="*/ 3 h 11"/>
                  <a:gd name="T40" fmla="*/ 0 w 39"/>
                  <a:gd name="T41" fmla="*/ 5 h 11"/>
                  <a:gd name="T42" fmla="*/ 4 w 39"/>
                  <a:gd name="T43" fmla="*/ 5 h 11"/>
                  <a:gd name="T44" fmla="*/ 8 w 39"/>
                  <a:gd name="T45" fmla="*/ 5 h 11"/>
                  <a:gd name="T46" fmla="*/ 9 w 39"/>
                  <a:gd name="T47" fmla="*/ 10 h 11"/>
                  <a:gd name="T48" fmla="*/ 12 w 39"/>
                  <a:gd name="T49" fmla="*/ 8 h 11"/>
                  <a:gd name="T50" fmla="*/ 14 w 39"/>
                  <a:gd name="T51" fmla="*/ 11 h 11"/>
                  <a:gd name="T52" fmla="*/ 16 w 39"/>
                  <a:gd name="T53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9" h="11">
                    <a:moveTo>
                      <a:pt x="16" y="11"/>
                    </a:moveTo>
                    <a:lnTo>
                      <a:pt x="19" y="8"/>
                    </a:lnTo>
                    <a:lnTo>
                      <a:pt x="20" y="7"/>
                    </a:lnTo>
                    <a:lnTo>
                      <a:pt x="23" y="8"/>
                    </a:lnTo>
                    <a:lnTo>
                      <a:pt x="27" y="8"/>
                    </a:lnTo>
                    <a:lnTo>
                      <a:pt x="30" y="7"/>
                    </a:lnTo>
                    <a:lnTo>
                      <a:pt x="35" y="7"/>
                    </a:lnTo>
                    <a:lnTo>
                      <a:pt x="38" y="5"/>
                    </a:lnTo>
                    <a:lnTo>
                      <a:pt x="39" y="2"/>
                    </a:lnTo>
                    <a:lnTo>
                      <a:pt x="35" y="0"/>
                    </a:lnTo>
                    <a:lnTo>
                      <a:pt x="31" y="2"/>
                    </a:lnTo>
                    <a:lnTo>
                      <a:pt x="28" y="3"/>
                    </a:lnTo>
                    <a:lnTo>
                      <a:pt x="23" y="3"/>
                    </a:lnTo>
                    <a:lnTo>
                      <a:pt x="22" y="3"/>
                    </a:lnTo>
                    <a:lnTo>
                      <a:pt x="19" y="3"/>
                    </a:lnTo>
                    <a:lnTo>
                      <a:pt x="16" y="2"/>
                    </a:lnTo>
                    <a:lnTo>
                      <a:pt x="12" y="2"/>
                    </a:lnTo>
                    <a:lnTo>
                      <a:pt x="11" y="5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0" y="5"/>
                    </a:lnTo>
                    <a:lnTo>
                      <a:pt x="4" y="5"/>
                    </a:lnTo>
                    <a:lnTo>
                      <a:pt x="8" y="5"/>
                    </a:lnTo>
                    <a:lnTo>
                      <a:pt x="9" y="10"/>
                    </a:lnTo>
                    <a:lnTo>
                      <a:pt x="12" y="8"/>
                    </a:lnTo>
                    <a:lnTo>
                      <a:pt x="14" y="11"/>
                    </a:lnTo>
                    <a:lnTo>
                      <a:pt x="16" y="1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01" name="Freeform 704"/>
              <p:cNvSpPr>
                <a:spLocks/>
              </p:cNvSpPr>
              <p:nvPr/>
            </p:nvSpPr>
            <p:spPr bwMode="auto">
              <a:xfrm>
                <a:off x="1599" y="1127"/>
                <a:ext cx="4" cy="4"/>
              </a:xfrm>
              <a:custGeom>
                <a:avLst/>
                <a:gdLst>
                  <a:gd name="T0" fmla="*/ 5 w 8"/>
                  <a:gd name="T1" fmla="*/ 0 h 6"/>
                  <a:gd name="T2" fmla="*/ 4 w 8"/>
                  <a:gd name="T3" fmla="*/ 0 h 6"/>
                  <a:gd name="T4" fmla="*/ 0 w 8"/>
                  <a:gd name="T5" fmla="*/ 3 h 6"/>
                  <a:gd name="T6" fmla="*/ 2 w 8"/>
                  <a:gd name="T7" fmla="*/ 6 h 6"/>
                  <a:gd name="T8" fmla="*/ 5 w 8"/>
                  <a:gd name="T9" fmla="*/ 5 h 6"/>
                  <a:gd name="T10" fmla="*/ 8 w 8"/>
                  <a:gd name="T11" fmla="*/ 3 h 6"/>
                  <a:gd name="T12" fmla="*/ 8 w 8"/>
                  <a:gd name="T13" fmla="*/ 0 h 6"/>
                  <a:gd name="T14" fmla="*/ 5 w 8"/>
                  <a:gd name="T1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6">
                    <a:moveTo>
                      <a:pt x="5" y="0"/>
                    </a:moveTo>
                    <a:lnTo>
                      <a:pt x="4" y="0"/>
                    </a:lnTo>
                    <a:lnTo>
                      <a:pt x="0" y="3"/>
                    </a:lnTo>
                    <a:lnTo>
                      <a:pt x="2" y="6"/>
                    </a:lnTo>
                    <a:lnTo>
                      <a:pt x="5" y="5"/>
                    </a:lnTo>
                    <a:lnTo>
                      <a:pt x="8" y="3"/>
                    </a:lnTo>
                    <a:lnTo>
                      <a:pt x="8" y="0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02" name="Freeform 705"/>
              <p:cNvSpPr>
                <a:spLocks/>
              </p:cNvSpPr>
              <p:nvPr/>
            </p:nvSpPr>
            <p:spPr bwMode="auto">
              <a:xfrm>
                <a:off x="1604" y="1109"/>
                <a:ext cx="21" cy="10"/>
              </a:xfrm>
              <a:custGeom>
                <a:avLst/>
                <a:gdLst>
                  <a:gd name="T0" fmla="*/ 38 w 41"/>
                  <a:gd name="T1" fmla="*/ 0 h 19"/>
                  <a:gd name="T2" fmla="*/ 34 w 41"/>
                  <a:gd name="T3" fmla="*/ 1 h 19"/>
                  <a:gd name="T4" fmla="*/ 30 w 41"/>
                  <a:gd name="T5" fmla="*/ 3 h 19"/>
                  <a:gd name="T6" fmla="*/ 27 w 41"/>
                  <a:gd name="T7" fmla="*/ 4 h 19"/>
                  <a:gd name="T8" fmla="*/ 23 w 41"/>
                  <a:gd name="T9" fmla="*/ 6 h 19"/>
                  <a:gd name="T10" fmla="*/ 20 w 41"/>
                  <a:gd name="T11" fmla="*/ 9 h 19"/>
                  <a:gd name="T12" fmla="*/ 14 w 41"/>
                  <a:gd name="T13" fmla="*/ 11 h 19"/>
                  <a:gd name="T14" fmla="*/ 9 w 41"/>
                  <a:gd name="T15" fmla="*/ 11 h 19"/>
                  <a:gd name="T16" fmla="*/ 4 w 41"/>
                  <a:gd name="T17" fmla="*/ 14 h 19"/>
                  <a:gd name="T18" fmla="*/ 0 w 41"/>
                  <a:gd name="T19" fmla="*/ 19 h 19"/>
                  <a:gd name="T20" fmla="*/ 3 w 41"/>
                  <a:gd name="T21" fmla="*/ 19 h 19"/>
                  <a:gd name="T22" fmla="*/ 7 w 41"/>
                  <a:gd name="T23" fmla="*/ 19 h 19"/>
                  <a:gd name="T24" fmla="*/ 11 w 41"/>
                  <a:gd name="T25" fmla="*/ 17 h 19"/>
                  <a:gd name="T26" fmla="*/ 14 w 41"/>
                  <a:gd name="T27" fmla="*/ 17 h 19"/>
                  <a:gd name="T28" fmla="*/ 19 w 41"/>
                  <a:gd name="T29" fmla="*/ 15 h 19"/>
                  <a:gd name="T30" fmla="*/ 22 w 41"/>
                  <a:gd name="T31" fmla="*/ 12 h 19"/>
                  <a:gd name="T32" fmla="*/ 25 w 41"/>
                  <a:gd name="T33" fmla="*/ 11 h 19"/>
                  <a:gd name="T34" fmla="*/ 28 w 41"/>
                  <a:gd name="T35" fmla="*/ 9 h 19"/>
                  <a:gd name="T36" fmla="*/ 31 w 41"/>
                  <a:gd name="T37" fmla="*/ 7 h 19"/>
                  <a:gd name="T38" fmla="*/ 36 w 41"/>
                  <a:gd name="T39" fmla="*/ 6 h 19"/>
                  <a:gd name="T40" fmla="*/ 39 w 41"/>
                  <a:gd name="T41" fmla="*/ 4 h 19"/>
                  <a:gd name="T42" fmla="*/ 41 w 41"/>
                  <a:gd name="T43" fmla="*/ 1 h 19"/>
                  <a:gd name="T44" fmla="*/ 38 w 41"/>
                  <a:gd name="T45" fmla="*/ 0 h 19"/>
                  <a:gd name="T46" fmla="*/ 38 w 41"/>
                  <a:gd name="T47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1" h="19">
                    <a:moveTo>
                      <a:pt x="38" y="0"/>
                    </a:moveTo>
                    <a:lnTo>
                      <a:pt x="34" y="1"/>
                    </a:lnTo>
                    <a:lnTo>
                      <a:pt x="30" y="3"/>
                    </a:lnTo>
                    <a:lnTo>
                      <a:pt x="27" y="4"/>
                    </a:lnTo>
                    <a:lnTo>
                      <a:pt x="23" y="6"/>
                    </a:lnTo>
                    <a:lnTo>
                      <a:pt x="20" y="9"/>
                    </a:lnTo>
                    <a:lnTo>
                      <a:pt x="14" y="11"/>
                    </a:lnTo>
                    <a:lnTo>
                      <a:pt x="9" y="11"/>
                    </a:lnTo>
                    <a:lnTo>
                      <a:pt x="4" y="14"/>
                    </a:lnTo>
                    <a:lnTo>
                      <a:pt x="0" y="19"/>
                    </a:lnTo>
                    <a:lnTo>
                      <a:pt x="3" y="19"/>
                    </a:lnTo>
                    <a:lnTo>
                      <a:pt x="7" y="19"/>
                    </a:lnTo>
                    <a:lnTo>
                      <a:pt x="11" y="17"/>
                    </a:lnTo>
                    <a:lnTo>
                      <a:pt x="14" y="17"/>
                    </a:lnTo>
                    <a:lnTo>
                      <a:pt x="19" y="15"/>
                    </a:lnTo>
                    <a:lnTo>
                      <a:pt x="22" y="12"/>
                    </a:lnTo>
                    <a:lnTo>
                      <a:pt x="25" y="11"/>
                    </a:lnTo>
                    <a:lnTo>
                      <a:pt x="28" y="9"/>
                    </a:lnTo>
                    <a:lnTo>
                      <a:pt x="31" y="7"/>
                    </a:lnTo>
                    <a:lnTo>
                      <a:pt x="36" y="6"/>
                    </a:lnTo>
                    <a:lnTo>
                      <a:pt x="39" y="4"/>
                    </a:lnTo>
                    <a:lnTo>
                      <a:pt x="41" y="1"/>
                    </a:lnTo>
                    <a:lnTo>
                      <a:pt x="38" y="0"/>
                    </a:lnTo>
                    <a:lnTo>
                      <a:pt x="38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03" name="Freeform 706"/>
              <p:cNvSpPr>
                <a:spLocks/>
              </p:cNvSpPr>
              <p:nvPr/>
            </p:nvSpPr>
            <p:spPr bwMode="auto">
              <a:xfrm>
                <a:off x="1604" y="1122"/>
                <a:ext cx="7" cy="4"/>
              </a:xfrm>
              <a:custGeom>
                <a:avLst/>
                <a:gdLst>
                  <a:gd name="T0" fmla="*/ 3 w 14"/>
                  <a:gd name="T1" fmla="*/ 8 h 8"/>
                  <a:gd name="T2" fmla="*/ 7 w 14"/>
                  <a:gd name="T3" fmla="*/ 8 h 8"/>
                  <a:gd name="T4" fmla="*/ 11 w 14"/>
                  <a:gd name="T5" fmla="*/ 3 h 8"/>
                  <a:gd name="T6" fmla="*/ 14 w 14"/>
                  <a:gd name="T7" fmla="*/ 1 h 8"/>
                  <a:gd name="T8" fmla="*/ 11 w 14"/>
                  <a:gd name="T9" fmla="*/ 0 h 8"/>
                  <a:gd name="T10" fmla="*/ 6 w 14"/>
                  <a:gd name="T11" fmla="*/ 1 h 8"/>
                  <a:gd name="T12" fmla="*/ 11 w 14"/>
                  <a:gd name="T13" fmla="*/ 3 h 8"/>
                  <a:gd name="T14" fmla="*/ 3 w 14"/>
                  <a:gd name="T15" fmla="*/ 5 h 8"/>
                  <a:gd name="T16" fmla="*/ 0 w 14"/>
                  <a:gd name="T17" fmla="*/ 6 h 8"/>
                  <a:gd name="T18" fmla="*/ 3 w 14"/>
                  <a:gd name="T1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8">
                    <a:moveTo>
                      <a:pt x="3" y="8"/>
                    </a:moveTo>
                    <a:lnTo>
                      <a:pt x="7" y="8"/>
                    </a:lnTo>
                    <a:lnTo>
                      <a:pt x="11" y="3"/>
                    </a:lnTo>
                    <a:lnTo>
                      <a:pt x="14" y="1"/>
                    </a:lnTo>
                    <a:lnTo>
                      <a:pt x="11" y="0"/>
                    </a:lnTo>
                    <a:lnTo>
                      <a:pt x="6" y="1"/>
                    </a:lnTo>
                    <a:lnTo>
                      <a:pt x="11" y="3"/>
                    </a:lnTo>
                    <a:lnTo>
                      <a:pt x="3" y="5"/>
                    </a:lnTo>
                    <a:lnTo>
                      <a:pt x="0" y="6"/>
                    </a:lnTo>
                    <a:lnTo>
                      <a:pt x="3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04" name="Freeform 707"/>
              <p:cNvSpPr>
                <a:spLocks/>
              </p:cNvSpPr>
              <p:nvPr/>
            </p:nvSpPr>
            <p:spPr bwMode="auto">
              <a:xfrm>
                <a:off x="1614" y="1127"/>
                <a:ext cx="38" cy="20"/>
              </a:xfrm>
              <a:custGeom>
                <a:avLst/>
                <a:gdLst>
                  <a:gd name="T0" fmla="*/ 1 w 76"/>
                  <a:gd name="T1" fmla="*/ 33 h 40"/>
                  <a:gd name="T2" fmla="*/ 0 w 76"/>
                  <a:gd name="T3" fmla="*/ 36 h 40"/>
                  <a:gd name="T4" fmla="*/ 3 w 76"/>
                  <a:gd name="T5" fmla="*/ 40 h 40"/>
                  <a:gd name="T6" fmla="*/ 6 w 76"/>
                  <a:gd name="T7" fmla="*/ 40 h 40"/>
                  <a:gd name="T8" fmla="*/ 11 w 76"/>
                  <a:gd name="T9" fmla="*/ 40 h 40"/>
                  <a:gd name="T10" fmla="*/ 14 w 76"/>
                  <a:gd name="T11" fmla="*/ 40 h 40"/>
                  <a:gd name="T12" fmla="*/ 17 w 76"/>
                  <a:gd name="T13" fmla="*/ 40 h 40"/>
                  <a:gd name="T14" fmla="*/ 22 w 76"/>
                  <a:gd name="T15" fmla="*/ 38 h 40"/>
                  <a:gd name="T16" fmla="*/ 33 w 76"/>
                  <a:gd name="T17" fmla="*/ 38 h 40"/>
                  <a:gd name="T18" fmla="*/ 42 w 76"/>
                  <a:gd name="T19" fmla="*/ 35 h 40"/>
                  <a:gd name="T20" fmla="*/ 46 w 76"/>
                  <a:gd name="T21" fmla="*/ 35 h 40"/>
                  <a:gd name="T22" fmla="*/ 50 w 76"/>
                  <a:gd name="T23" fmla="*/ 33 h 40"/>
                  <a:gd name="T24" fmla="*/ 54 w 76"/>
                  <a:gd name="T25" fmla="*/ 32 h 40"/>
                  <a:gd name="T26" fmla="*/ 57 w 76"/>
                  <a:gd name="T27" fmla="*/ 30 h 40"/>
                  <a:gd name="T28" fmla="*/ 60 w 76"/>
                  <a:gd name="T29" fmla="*/ 27 h 40"/>
                  <a:gd name="T30" fmla="*/ 63 w 76"/>
                  <a:gd name="T31" fmla="*/ 24 h 40"/>
                  <a:gd name="T32" fmla="*/ 65 w 76"/>
                  <a:gd name="T33" fmla="*/ 21 h 40"/>
                  <a:gd name="T34" fmla="*/ 66 w 76"/>
                  <a:gd name="T35" fmla="*/ 17 h 40"/>
                  <a:gd name="T36" fmla="*/ 68 w 76"/>
                  <a:gd name="T37" fmla="*/ 14 h 40"/>
                  <a:gd name="T38" fmla="*/ 71 w 76"/>
                  <a:gd name="T39" fmla="*/ 11 h 40"/>
                  <a:gd name="T40" fmla="*/ 76 w 76"/>
                  <a:gd name="T41" fmla="*/ 9 h 40"/>
                  <a:gd name="T42" fmla="*/ 76 w 76"/>
                  <a:gd name="T43" fmla="*/ 5 h 40"/>
                  <a:gd name="T44" fmla="*/ 68 w 76"/>
                  <a:gd name="T45" fmla="*/ 2 h 40"/>
                  <a:gd name="T46" fmla="*/ 58 w 76"/>
                  <a:gd name="T47" fmla="*/ 0 h 40"/>
                  <a:gd name="T48" fmla="*/ 55 w 76"/>
                  <a:gd name="T49" fmla="*/ 2 h 40"/>
                  <a:gd name="T50" fmla="*/ 50 w 76"/>
                  <a:gd name="T51" fmla="*/ 2 h 40"/>
                  <a:gd name="T52" fmla="*/ 47 w 76"/>
                  <a:gd name="T53" fmla="*/ 0 h 40"/>
                  <a:gd name="T54" fmla="*/ 44 w 76"/>
                  <a:gd name="T55" fmla="*/ 2 h 40"/>
                  <a:gd name="T56" fmla="*/ 41 w 76"/>
                  <a:gd name="T57" fmla="*/ 2 h 40"/>
                  <a:gd name="T58" fmla="*/ 36 w 76"/>
                  <a:gd name="T59" fmla="*/ 3 h 40"/>
                  <a:gd name="T60" fmla="*/ 27 w 76"/>
                  <a:gd name="T61" fmla="*/ 8 h 40"/>
                  <a:gd name="T62" fmla="*/ 15 w 76"/>
                  <a:gd name="T63" fmla="*/ 14 h 40"/>
                  <a:gd name="T64" fmla="*/ 8 w 76"/>
                  <a:gd name="T65" fmla="*/ 19 h 40"/>
                  <a:gd name="T66" fmla="*/ 4 w 76"/>
                  <a:gd name="T67" fmla="*/ 22 h 40"/>
                  <a:gd name="T68" fmla="*/ 3 w 76"/>
                  <a:gd name="T69" fmla="*/ 25 h 40"/>
                  <a:gd name="T70" fmla="*/ 0 w 76"/>
                  <a:gd name="T71" fmla="*/ 32 h 40"/>
                  <a:gd name="T72" fmla="*/ 1 w 76"/>
                  <a:gd name="T73" fmla="*/ 33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" h="40">
                    <a:moveTo>
                      <a:pt x="1" y="33"/>
                    </a:moveTo>
                    <a:lnTo>
                      <a:pt x="0" y="36"/>
                    </a:lnTo>
                    <a:lnTo>
                      <a:pt x="3" y="40"/>
                    </a:lnTo>
                    <a:lnTo>
                      <a:pt x="6" y="40"/>
                    </a:lnTo>
                    <a:lnTo>
                      <a:pt x="11" y="40"/>
                    </a:lnTo>
                    <a:lnTo>
                      <a:pt x="14" y="40"/>
                    </a:lnTo>
                    <a:lnTo>
                      <a:pt x="17" y="40"/>
                    </a:lnTo>
                    <a:lnTo>
                      <a:pt x="22" y="38"/>
                    </a:lnTo>
                    <a:lnTo>
                      <a:pt x="33" y="38"/>
                    </a:lnTo>
                    <a:lnTo>
                      <a:pt x="42" y="35"/>
                    </a:lnTo>
                    <a:lnTo>
                      <a:pt x="46" y="35"/>
                    </a:lnTo>
                    <a:lnTo>
                      <a:pt x="50" y="33"/>
                    </a:lnTo>
                    <a:lnTo>
                      <a:pt x="54" y="32"/>
                    </a:lnTo>
                    <a:lnTo>
                      <a:pt x="57" y="30"/>
                    </a:lnTo>
                    <a:lnTo>
                      <a:pt x="60" y="27"/>
                    </a:lnTo>
                    <a:lnTo>
                      <a:pt x="63" y="24"/>
                    </a:lnTo>
                    <a:lnTo>
                      <a:pt x="65" y="21"/>
                    </a:lnTo>
                    <a:lnTo>
                      <a:pt x="66" y="17"/>
                    </a:lnTo>
                    <a:lnTo>
                      <a:pt x="68" y="14"/>
                    </a:lnTo>
                    <a:lnTo>
                      <a:pt x="71" y="11"/>
                    </a:lnTo>
                    <a:lnTo>
                      <a:pt x="76" y="9"/>
                    </a:lnTo>
                    <a:lnTo>
                      <a:pt x="76" y="5"/>
                    </a:lnTo>
                    <a:lnTo>
                      <a:pt x="68" y="2"/>
                    </a:lnTo>
                    <a:lnTo>
                      <a:pt x="58" y="0"/>
                    </a:lnTo>
                    <a:lnTo>
                      <a:pt x="55" y="2"/>
                    </a:lnTo>
                    <a:lnTo>
                      <a:pt x="50" y="2"/>
                    </a:lnTo>
                    <a:lnTo>
                      <a:pt x="47" y="0"/>
                    </a:lnTo>
                    <a:lnTo>
                      <a:pt x="44" y="2"/>
                    </a:lnTo>
                    <a:lnTo>
                      <a:pt x="41" y="2"/>
                    </a:lnTo>
                    <a:lnTo>
                      <a:pt x="36" y="3"/>
                    </a:lnTo>
                    <a:lnTo>
                      <a:pt x="27" y="8"/>
                    </a:lnTo>
                    <a:lnTo>
                      <a:pt x="15" y="14"/>
                    </a:lnTo>
                    <a:lnTo>
                      <a:pt x="8" y="19"/>
                    </a:lnTo>
                    <a:lnTo>
                      <a:pt x="4" y="22"/>
                    </a:lnTo>
                    <a:lnTo>
                      <a:pt x="3" y="25"/>
                    </a:lnTo>
                    <a:lnTo>
                      <a:pt x="0" y="32"/>
                    </a:lnTo>
                    <a:lnTo>
                      <a:pt x="1" y="3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05" name="Freeform 708"/>
              <p:cNvSpPr>
                <a:spLocks/>
              </p:cNvSpPr>
              <p:nvPr/>
            </p:nvSpPr>
            <p:spPr bwMode="auto">
              <a:xfrm>
                <a:off x="1619" y="1104"/>
                <a:ext cx="14" cy="4"/>
              </a:xfrm>
              <a:custGeom>
                <a:avLst/>
                <a:gdLst>
                  <a:gd name="T0" fmla="*/ 25 w 27"/>
                  <a:gd name="T1" fmla="*/ 0 h 8"/>
                  <a:gd name="T2" fmla="*/ 22 w 27"/>
                  <a:gd name="T3" fmla="*/ 0 h 8"/>
                  <a:gd name="T4" fmla="*/ 17 w 27"/>
                  <a:gd name="T5" fmla="*/ 2 h 8"/>
                  <a:gd name="T6" fmla="*/ 14 w 27"/>
                  <a:gd name="T7" fmla="*/ 4 h 8"/>
                  <a:gd name="T8" fmla="*/ 11 w 27"/>
                  <a:gd name="T9" fmla="*/ 4 h 8"/>
                  <a:gd name="T10" fmla="*/ 6 w 27"/>
                  <a:gd name="T11" fmla="*/ 5 h 8"/>
                  <a:gd name="T12" fmla="*/ 3 w 27"/>
                  <a:gd name="T13" fmla="*/ 7 h 8"/>
                  <a:gd name="T14" fmla="*/ 0 w 27"/>
                  <a:gd name="T15" fmla="*/ 8 h 8"/>
                  <a:gd name="T16" fmla="*/ 3 w 27"/>
                  <a:gd name="T17" fmla="*/ 8 h 8"/>
                  <a:gd name="T18" fmla="*/ 6 w 27"/>
                  <a:gd name="T19" fmla="*/ 8 h 8"/>
                  <a:gd name="T20" fmla="*/ 11 w 27"/>
                  <a:gd name="T21" fmla="*/ 8 h 8"/>
                  <a:gd name="T22" fmla="*/ 17 w 27"/>
                  <a:gd name="T23" fmla="*/ 7 h 8"/>
                  <a:gd name="T24" fmla="*/ 22 w 27"/>
                  <a:gd name="T25" fmla="*/ 5 h 8"/>
                  <a:gd name="T26" fmla="*/ 25 w 27"/>
                  <a:gd name="T27" fmla="*/ 4 h 8"/>
                  <a:gd name="T28" fmla="*/ 27 w 27"/>
                  <a:gd name="T29" fmla="*/ 0 h 8"/>
                  <a:gd name="T30" fmla="*/ 25 w 27"/>
                  <a:gd name="T31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7" h="8">
                    <a:moveTo>
                      <a:pt x="25" y="0"/>
                    </a:moveTo>
                    <a:lnTo>
                      <a:pt x="22" y="0"/>
                    </a:lnTo>
                    <a:lnTo>
                      <a:pt x="17" y="2"/>
                    </a:lnTo>
                    <a:lnTo>
                      <a:pt x="14" y="4"/>
                    </a:lnTo>
                    <a:lnTo>
                      <a:pt x="11" y="4"/>
                    </a:lnTo>
                    <a:lnTo>
                      <a:pt x="6" y="5"/>
                    </a:lnTo>
                    <a:lnTo>
                      <a:pt x="3" y="7"/>
                    </a:lnTo>
                    <a:lnTo>
                      <a:pt x="0" y="8"/>
                    </a:lnTo>
                    <a:lnTo>
                      <a:pt x="3" y="8"/>
                    </a:lnTo>
                    <a:lnTo>
                      <a:pt x="6" y="8"/>
                    </a:lnTo>
                    <a:lnTo>
                      <a:pt x="11" y="8"/>
                    </a:lnTo>
                    <a:lnTo>
                      <a:pt x="17" y="7"/>
                    </a:lnTo>
                    <a:lnTo>
                      <a:pt x="22" y="5"/>
                    </a:lnTo>
                    <a:lnTo>
                      <a:pt x="25" y="4"/>
                    </a:lnTo>
                    <a:lnTo>
                      <a:pt x="27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06" name="Freeform 709"/>
              <p:cNvSpPr>
                <a:spLocks/>
              </p:cNvSpPr>
              <p:nvPr/>
            </p:nvSpPr>
            <p:spPr bwMode="auto">
              <a:xfrm>
                <a:off x="1635" y="1108"/>
                <a:ext cx="11" cy="6"/>
              </a:xfrm>
              <a:custGeom>
                <a:avLst/>
                <a:gdLst>
                  <a:gd name="T0" fmla="*/ 13 w 21"/>
                  <a:gd name="T1" fmla="*/ 0 h 11"/>
                  <a:gd name="T2" fmla="*/ 12 w 21"/>
                  <a:gd name="T3" fmla="*/ 0 h 11"/>
                  <a:gd name="T4" fmla="*/ 8 w 21"/>
                  <a:gd name="T5" fmla="*/ 2 h 11"/>
                  <a:gd name="T6" fmla="*/ 4 w 21"/>
                  <a:gd name="T7" fmla="*/ 5 h 11"/>
                  <a:gd name="T8" fmla="*/ 0 w 21"/>
                  <a:gd name="T9" fmla="*/ 8 h 11"/>
                  <a:gd name="T10" fmla="*/ 2 w 21"/>
                  <a:gd name="T11" fmla="*/ 11 h 11"/>
                  <a:gd name="T12" fmla="*/ 7 w 21"/>
                  <a:gd name="T13" fmla="*/ 11 h 11"/>
                  <a:gd name="T14" fmla="*/ 10 w 21"/>
                  <a:gd name="T15" fmla="*/ 11 h 11"/>
                  <a:gd name="T16" fmla="*/ 13 w 21"/>
                  <a:gd name="T17" fmla="*/ 8 h 11"/>
                  <a:gd name="T18" fmla="*/ 16 w 21"/>
                  <a:gd name="T19" fmla="*/ 6 h 11"/>
                  <a:gd name="T20" fmla="*/ 19 w 21"/>
                  <a:gd name="T21" fmla="*/ 5 h 11"/>
                  <a:gd name="T22" fmla="*/ 21 w 21"/>
                  <a:gd name="T23" fmla="*/ 2 h 11"/>
                  <a:gd name="T24" fmla="*/ 16 w 21"/>
                  <a:gd name="T25" fmla="*/ 2 h 11"/>
                  <a:gd name="T26" fmla="*/ 13 w 21"/>
                  <a:gd name="T2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1" h="11">
                    <a:moveTo>
                      <a:pt x="13" y="0"/>
                    </a:moveTo>
                    <a:lnTo>
                      <a:pt x="12" y="0"/>
                    </a:lnTo>
                    <a:lnTo>
                      <a:pt x="8" y="2"/>
                    </a:lnTo>
                    <a:lnTo>
                      <a:pt x="4" y="5"/>
                    </a:lnTo>
                    <a:lnTo>
                      <a:pt x="0" y="8"/>
                    </a:lnTo>
                    <a:lnTo>
                      <a:pt x="2" y="11"/>
                    </a:lnTo>
                    <a:lnTo>
                      <a:pt x="7" y="11"/>
                    </a:lnTo>
                    <a:lnTo>
                      <a:pt x="10" y="11"/>
                    </a:lnTo>
                    <a:lnTo>
                      <a:pt x="13" y="8"/>
                    </a:lnTo>
                    <a:lnTo>
                      <a:pt x="16" y="6"/>
                    </a:lnTo>
                    <a:lnTo>
                      <a:pt x="19" y="5"/>
                    </a:lnTo>
                    <a:lnTo>
                      <a:pt x="21" y="2"/>
                    </a:lnTo>
                    <a:lnTo>
                      <a:pt x="16" y="2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07" name="Freeform 710"/>
              <p:cNvSpPr>
                <a:spLocks/>
              </p:cNvSpPr>
              <p:nvPr/>
            </p:nvSpPr>
            <p:spPr bwMode="auto">
              <a:xfrm>
                <a:off x="1649" y="1036"/>
                <a:ext cx="53" cy="17"/>
              </a:xfrm>
              <a:custGeom>
                <a:avLst/>
                <a:gdLst>
                  <a:gd name="T0" fmla="*/ 6 w 105"/>
                  <a:gd name="T1" fmla="*/ 30 h 33"/>
                  <a:gd name="T2" fmla="*/ 13 w 105"/>
                  <a:gd name="T3" fmla="*/ 33 h 33"/>
                  <a:gd name="T4" fmla="*/ 16 w 105"/>
                  <a:gd name="T5" fmla="*/ 33 h 33"/>
                  <a:gd name="T6" fmla="*/ 21 w 105"/>
                  <a:gd name="T7" fmla="*/ 33 h 33"/>
                  <a:gd name="T8" fmla="*/ 28 w 105"/>
                  <a:gd name="T9" fmla="*/ 33 h 33"/>
                  <a:gd name="T10" fmla="*/ 43 w 105"/>
                  <a:gd name="T11" fmla="*/ 30 h 33"/>
                  <a:gd name="T12" fmla="*/ 55 w 105"/>
                  <a:gd name="T13" fmla="*/ 28 h 33"/>
                  <a:gd name="T14" fmla="*/ 68 w 105"/>
                  <a:gd name="T15" fmla="*/ 28 h 33"/>
                  <a:gd name="T16" fmla="*/ 81 w 105"/>
                  <a:gd name="T17" fmla="*/ 30 h 33"/>
                  <a:gd name="T18" fmla="*/ 87 w 105"/>
                  <a:gd name="T19" fmla="*/ 30 h 33"/>
                  <a:gd name="T20" fmla="*/ 94 w 105"/>
                  <a:gd name="T21" fmla="*/ 31 h 33"/>
                  <a:gd name="T22" fmla="*/ 100 w 105"/>
                  <a:gd name="T23" fmla="*/ 30 h 33"/>
                  <a:gd name="T24" fmla="*/ 105 w 105"/>
                  <a:gd name="T25" fmla="*/ 28 h 33"/>
                  <a:gd name="T26" fmla="*/ 101 w 105"/>
                  <a:gd name="T27" fmla="*/ 27 h 33"/>
                  <a:gd name="T28" fmla="*/ 105 w 105"/>
                  <a:gd name="T29" fmla="*/ 23 h 33"/>
                  <a:gd name="T30" fmla="*/ 101 w 105"/>
                  <a:gd name="T31" fmla="*/ 20 h 33"/>
                  <a:gd name="T32" fmla="*/ 101 w 105"/>
                  <a:gd name="T33" fmla="*/ 17 h 33"/>
                  <a:gd name="T34" fmla="*/ 98 w 105"/>
                  <a:gd name="T35" fmla="*/ 14 h 33"/>
                  <a:gd name="T36" fmla="*/ 95 w 105"/>
                  <a:gd name="T37" fmla="*/ 11 h 33"/>
                  <a:gd name="T38" fmla="*/ 92 w 105"/>
                  <a:gd name="T39" fmla="*/ 8 h 33"/>
                  <a:gd name="T40" fmla="*/ 89 w 105"/>
                  <a:gd name="T41" fmla="*/ 6 h 33"/>
                  <a:gd name="T42" fmla="*/ 86 w 105"/>
                  <a:gd name="T43" fmla="*/ 6 h 33"/>
                  <a:gd name="T44" fmla="*/ 81 w 105"/>
                  <a:gd name="T45" fmla="*/ 4 h 33"/>
                  <a:gd name="T46" fmla="*/ 78 w 105"/>
                  <a:gd name="T47" fmla="*/ 3 h 33"/>
                  <a:gd name="T48" fmla="*/ 74 w 105"/>
                  <a:gd name="T49" fmla="*/ 3 h 33"/>
                  <a:gd name="T50" fmla="*/ 70 w 105"/>
                  <a:gd name="T51" fmla="*/ 3 h 33"/>
                  <a:gd name="T52" fmla="*/ 67 w 105"/>
                  <a:gd name="T53" fmla="*/ 3 h 33"/>
                  <a:gd name="T54" fmla="*/ 60 w 105"/>
                  <a:gd name="T55" fmla="*/ 3 h 33"/>
                  <a:gd name="T56" fmla="*/ 55 w 105"/>
                  <a:gd name="T57" fmla="*/ 4 h 33"/>
                  <a:gd name="T58" fmla="*/ 44 w 105"/>
                  <a:gd name="T59" fmla="*/ 4 h 33"/>
                  <a:gd name="T60" fmla="*/ 32 w 105"/>
                  <a:gd name="T61" fmla="*/ 1 h 33"/>
                  <a:gd name="T62" fmla="*/ 28 w 105"/>
                  <a:gd name="T63" fmla="*/ 1 h 33"/>
                  <a:gd name="T64" fmla="*/ 25 w 105"/>
                  <a:gd name="T65" fmla="*/ 0 h 33"/>
                  <a:gd name="T66" fmla="*/ 22 w 105"/>
                  <a:gd name="T67" fmla="*/ 0 h 33"/>
                  <a:gd name="T68" fmla="*/ 17 w 105"/>
                  <a:gd name="T69" fmla="*/ 0 h 33"/>
                  <a:gd name="T70" fmla="*/ 14 w 105"/>
                  <a:gd name="T71" fmla="*/ 0 h 33"/>
                  <a:gd name="T72" fmla="*/ 11 w 105"/>
                  <a:gd name="T73" fmla="*/ 3 h 33"/>
                  <a:gd name="T74" fmla="*/ 6 w 105"/>
                  <a:gd name="T75" fmla="*/ 4 h 33"/>
                  <a:gd name="T76" fmla="*/ 6 w 105"/>
                  <a:gd name="T77" fmla="*/ 9 h 33"/>
                  <a:gd name="T78" fmla="*/ 3 w 105"/>
                  <a:gd name="T79" fmla="*/ 9 h 33"/>
                  <a:gd name="T80" fmla="*/ 0 w 105"/>
                  <a:gd name="T81" fmla="*/ 12 h 33"/>
                  <a:gd name="T82" fmla="*/ 3 w 105"/>
                  <a:gd name="T83" fmla="*/ 15 h 33"/>
                  <a:gd name="T84" fmla="*/ 6 w 105"/>
                  <a:gd name="T85" fmla="*/ 17 h 33"/>
                  <a:gd name="T86" fmla="*/ 9 w 105"/>
                  <a:gd name="T87" fmla="*/ 17 h 33"/>
                  <a:gd name="T88" fmla="*/ 11 w 105"/>
                  <a:gd name="T89" fmla="*/ 20 h 33"/>
                  <a:gd name="T90" fmla="*/ 8 w 105"/>
                  <a:gd name="T91" fmla="*/ 23 h 33"/>
                  <a:gd name="T92" fmla="*/ 8 w 105"/>
                  <a:gd name="T93" fmla="*/ 28 h 33"/>
                  <a:gd name="T94" fmla="*/ 6 w 105"/>
                  <a:gd name="T95" fmla="*/ 3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05" h="33">
                    <a:moveTo>
                      <a:pt x="6" y="30"/>
                    </a:moveTo>
                    <a:lnTo>
                      <a:pt x="13" y="33"/>
                    </a:lnTo>
                    <a:lnTo>
                      <a:pt x="16" y="33"/>
                    </a:lnTo>
                    <a:lnTo>
                      <a:pt x="21" y="33"/>
                    </a:lnTo>
                    <a:lnTo>
                      <a:pt x="28" y="33"/>
                    </a:lnTo>
                    <a:lnTo>
                      <a:pt x="43" y="30"/>
                    </a:lnTo>
                    <a:lnTo>
                      <a:pt x="55" y="28"/>
                    </a:lnTo>
                    <a:lnTo>
                      <a:pt x="68" y="28"/>
                    </a:lnTo>
                    <a:lnTo>
                      <a:pt x="81" y="30"/>
                    </a:lnTo>
                    <a:lnTo>
                      <a:pt x="87" y="30"/>
                    </a:lnTo>
                    <a:lnTo>
                      <a:pt x="94" y="31"/>
                    </a:lnTo>
                    <a:lnTo>
                      <a:pt x="100" y="30"/>
                    </a:lnTo>
                    <a:lnTo>
                      <a:pt x="105" y="28"/>
                    </a:lnTo>
                    <a:lnTo>
                      <a:pt x="101" y="27"/>
                    </a:lnTo>
                    <a:lnTo>
                      <a:pt x="105" y="23"/>
                    </a:lnTo>
                    <a:lnTo>
                      <a:pt x="101" y="20"/>
                    </a:lnTo>
                    <a:lnTo>
                      <a:pt x="101" y="17"/>
                    </a:lnTo>
                    <a:lnTo>
                      <a:pt x="98" y="14"/>
                    </a:lnTo>
                    <a:lnTo>
                      <a:pt x="95" y="11"/>
                    </a:lnTo>
                    <a:lnTo>
                      <a:pt x="92" y="8"/>
                    </a:lnTo>
                    <a:lnTo>
                      <a:pt x="89" y="6"/>
                    </a:lnTo>
                    <a:lnTo>
                      <a:pt x="86" y="6"/>
                    </a:lnTo>
                    <a:lnTo>
                      <a:pt x="81" y="4"/>
                    </a:lnTo>
                    <a:lnTo>
                      <a:pt x="78" y="3"/>
                    </a:lnTo>
                    <a:lnTo>
                      <a:pt x="74" y="3"/>
                    </a:lnTo>
                    <a:lnTo>
                      <a:pt x="70" y="3"/>
                    </a:lnTo>
                    <a:lnTo>
                      <a:pt x="67" y="3"/>
                    </a:lnTo>
                    <a:lnTo>
                      <a:pt x="60" y="3"/>
                    </a:lnTo>
                    <a:lnTo>
                      <a:pt x="55" y="4"/>
                    </a:lnTo>
                    <a:lnTo>
                      <a:pt x="44" y="4"/>
                    </a:lnTo>
                    <a:lnTo>
                      <a:pt x="32" y="1"/>
                    </a:lnTo>
                    <a:lnTo>
                      <a:pt x="28" y="1"/>
                    </a:lnTo>
                    <a:lnTo>
                      <a:pt x="25" y="0"/>
                    </a:lnTo>
                    <a:lnTo>
                      <a:pt x="22" y="0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1" y="3"/>
                    </a:lnTo>
                    <a:lnTo>
                      <a:pt x="6" y="4"/>
                    </a:lnTo>
                    <a:lnTo>
                      <a:pt x="6" y="9"/>
                    </a:lnTo>
                    <a:lnTo>
                      <a:pt x="3" y="9"/>
                    </a:lnTo>
                    <a:lnTo>
                      <a:pt x="0" y="12"/>
                    </a:lnTo>
                    <a:lnTo>
                      <a:pt x="3" y="15"/>
                    </a:lnTo>
                    <a:lnTo>
                      <a:pt x="6" y="17"/>
                    </a:lnTo>
                    <a:lnTo>
                      <a:pt x="9" y="17"/>
                    </a:lnTo>
                    <a:lnTo>
                      <a:pt x="11" y="20"/>
                    </a:lnTo>
                    <a:lnTo>
                      <a:pt x="8" y="23"/>
                    </a:lnTo>
                    <a:lnTo>
                      <a:pt x="8" y="28"/>
                    </a:lnTo>
                    <a:lnTo>
                      <a:pt x="6" y="3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08" name="Freeform 711"/>
              <p:cNvSpPr>
                <a:spLocks/>
              </p:cNvSpPr>
              <p:nvPr/>
            </p:nvSpPr>
            <p:spPr bwMode="auto">
              <a:xfrm>
                <a:off x="1652" y="1121"/>
                <a:ext cx="8" cy="6"/>
              </a:xfrm>
              <a:custGeom>
                <a:avLst/>
                <a:gdLst>
                  <a:gd name="T0" fmla="*/ 6 w 16"/>
                  <a:gd name="T1" fmla="*/ 13 h 13"/>
                  <a:gd name="T2" fmla="*/ 8 w 16"/>
                  <a:gd name="T3" fmla="*/ 13 h 13"/>
                  <a:gd name="T4" fmla="*/ 11 w 16"/>
                  <a:gd name="T5" fmla="*/ 13 h 13"/>
                  <a:gd name="T6" fmla="*/ 12 w 16"/>
                  <a:gd name="T7" fmla="*/ 10 h 13"/>
                  <a:gd name="T8" fmla="*/ 16 w 16"/>
                  <a:gd name="T9" fmla="*/ 8 h 13"/>
                  <a:gd name="T10" fmla="*/ 14 w 16"/>
                  <a:gd name="T11" fmla="*/ 5 h 13"/>
                  <a:gd name="T12" fmla="*/ 12 w 16"/>
                  <a:gd name="T13" fmla="*/ 2 h 13"/>
                  <a:gd name="T14" fmla="*/ 9 w 16"/>
                  <a:gd name="T15" fmla="*/ 0 h 13"/>
                  <a:gd name="T16" fmla="*/ 6 w 16"/>
                  <a:gd name="T17" fmla="*/ 2 h 13"/>
                  <a:gd name="T18" fmla="*/ 1 w 16"/>
                  <a:gd name="T19" fmla="*/ 3 h 13"/>
                  <a:gd name="T20" fmla="*/ 0 w 16"/>
                  <a:gd name="T21" fmla="*/ 8 h 13"/>
                  <a:gd name="T22" fmla="*/ 3 w 16"/>
                  <a:gd name="T23" fmla="*/ 10 h 13"/>
                  <a:gd name="T24" fmla="*/ 6 w 16"/>
                  <a:gd name="T2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13">
                    <a:moveTo>
                      <a:pt x="6" y="13"/>
                    </a:moveTo>
                    <a:lnTo>
                      <a:pt x="8" y="13"/>
                    </a:lnTo>
                    <a:lnTo>
                      <a:pt x="11" y="13"/>
                    </a:lnTo>
                    <a:lnTo>
                      <a:pt x="12" y="10"/>
                    </a:lnTo>
                    <a:lnTo>
                      <a:pt x="16" y="8"/>
                    </a:lnTo>
                    <a:lnTo>
                      <a:pt x="14" y="5"/>
                    </a:lnTo>
                    <a:lnTo>
                      <a:pt x="12" y="2"/>
                    </a:lnTo>
                    <a:lnTo>
                      <a:pt x="9" y="0"/>
                    </a:lnTo>
                    <a:lnTo>
                      <a:pt x="6" y="2"/>
                    </a:lnTo>
                    <a:lnTo>
                      <a:pt x="1" y="3"/>
                    </a:lnTo>
                    <a:lnTo>
                      <a:pt x="0" y="8"/>
                    </a:lnTo>
                    <a:lnTo>
                      <a:pt x="3" y="10"/>
                    </a:lnTo>
                    <a:lnTo>
                      <a:pt x="6" y="1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09" name="Freeform 712"/>
              <p:cNvSpPr>
                <a:spLocks/>
              </p:cNvSpPr>
              <p:nvPr/>
            </p:nvSpPr>
            <p:spPr bwMode="auto">
              <a:xfrm>
                <a:off x="1653" y="1131"/>
                <a:ext cx="18" cy="7"/>
              </a:xfrm>
              <a:custGeom>
                <a:avLst/>
                <a:gdLst>
                  <a:gd name="T0" fmla="*/ 30 w 35"/>
                  <a:gd name="T1" fmla="*/ 7 h 15"/>
                  <a:gd name="T2" fmla="*/ 27 w 35"/>
                  <a:gd name="T3" fmla="*/ 7 h 15"/>
                  <a:gd name="T4" fmla="*/ 24 w 35"/>
                  <a:gd name="T5" fmla="*/ 5 h 15"/>
                  <a:gd name="T6" fmla="*/ 19 w 35"/>
                  <a:gd name="T7" fmla="*/ 3 h 15"/>
                  <a:gd name="T8" fmla="*/ 16 w 35"/>
                  <a:gd name="T9" fmla="*/ 3 h 15"/>
                  <a:gd name="T10" fmla="*/ 17 w 35"/>
                  <a:gd name="T11" fmla="*/ 0 h 15"/>
                  <a:gd name="T12" fmla="*/ 14 w 35"/>
                  <a:gd name="T13" fmla="*/ 2 h 15"/>
                  <a:gd name="T14" fmla="*/ 9 w 35"/>
                  <a:gd name="T15" fmla="*/ 3 h 15"/>
                  <a:gd name="T16" fmla="*/ 6 w 35"/>
                  <a:gd name="T17" fmla="*/ 3 h 15"/>
                  <a:gd name="T18" fmla="*/ 3 w 35"/>
                  <a:gd name="T19" fmla="*/ 3 h 15"/>
                  <a:gd name="T20" fmla="*/ 0 w 35"/>
                  <a:gd name="T21" fmla="*/ 7 h 15"/>
                  <a:gd name="T22" fmla="*/ 0 w 35"/>
                  <a:gd name="T23" fmla="*/ 11 h 15"/>
                  <a:gd name="T24" fmla="*/ 3 w 35"/>
                  <a:gd name="T25" fmla="*/ 13 h 15"/>
                  <a:gd name="T26" fmla="*/ 6 w 35"/>
                  <a:gd name="T27" fmla="*/ 15 h 15"/>
                  <a:gd name="T28" fmla="*/ 11 w 35"/>
                  <a:gd name="T29" fmla="*/ 15 h 15"/>
                  <a:gd name="T30" fmla="*/ 14 w 35"/>
                  <a:gd name="T31" fmla="*/ 13 h 15"/>
                  <a:gd name="T32" fmla="*/ 17 w 35"/>
                  <a:gd name="T33" fmla="*/ 13 h 15"/>
                  <a:gd name="T34" fmla="*/ 22 w 35"/>
                  <a:gd name="T35" fmla="*/ 15 h 15"/>
                  <a:gd name="T36" fmla="*/ 25 w 35"/>
                  <a:gd name="T37" fmla="*/ 15 h 15"/>
                  <a:gd name="T38" fmla="*/ 28 w 35"/>
                  <a:gd name="T39" fmla="*/ 15 h 15"/>
                  <a:gd name="T40" fmla="*/ 32 w 35"/>
                  <a:gd name="T41" fmla="*/ 13 h 15"/>
                  <a:gd name="T42" fmla="*/ 35 w 35"/>
                  <a:gd name="T43" fmla="*/ 7 h 15"/>
                  <a:gd name="T44" fmla="*/ 32 w 35"/>
                  <a:gd name="T45" fmla="*/ 5 h 15"/>
                  <a:gd name="T46" fmla="*/ 30 w 35"/>
                  <a:gd name="T47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5" h="15">
                    <a:moveTo>
                      <a:pt x="30" y="7"/>
                    </a:moveTo>
                    <a:lnTo>
                      <a:pt x="27" y="7"/>
                    </a:lnTo>
                    <a:lnTo>
                      <a:pt x="24" y="5"/>
                    </a:lnTo>
                    <a:lnTo>
                      <a:pt x="19" y="3"/>
                    </a:lnTo>
                    <a:lnTo>
                      <a:pt x="16" y="3"/>
                    </a:lnTo>
                    <a:lnTo>
                      <a:pt x="17" y="0"/>
                    </a:lnTo>
                    <a:lnTo>
                      <a:pt x="14" y="2"/>
                    </a:lnTo>
                    <a:lnTo>
                      <a:pt x="9" y="3"/>
                    </a:lnTo>
                    <a:lnTo>
                      <a:pt x="6" y="3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0" y="11"/>
                    </a:lnTo>
                    <a:lnTo>
                      <a:pt x="3" y="13"/>
                    </a:lnTo>
                    <a:lnTo>
                      <a:pt x="6" y="15"/>
                    </a:lnTo>
                    <a:lnTo>
                      <a:pt x="11" y="15"/>
                    </a:lnTo>
                    <a:lnTo>
                      <a:pt x="14" y="13"/>
                    </a:lnTo>
                    <a:lnTo>
                      <a:pt x="17" y="13"/>
                    </a:lnTo>
                    <a:lnTo>
                      <a:pt x="22" y="15"/>
                    </a:lnTo>
                    <a:lnTo>
                      <a:pt x="25" y="15"/>
                    </a:lnTo>
                    <a:lnTo>
                      <a:pt x="28" y="15"/>
                    </a:lnTo>
                    <a:lnTo>
                      <a:pt x="32" y="13"/>
                    </a:lnTo>
                    <a:lnTo>
                      <a:pt x="35" y="7"/>
                    </a:lnTo>
                    <a:lnTo>
                      <a:pt x="32" y="5"/>
                    </a:lnTo>
                    <a:lnTo>
                      <a:pt x="30" y="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10" name="Freeform 713"/>
              <p:cNvSpPr>
                <a:spLocks/>
              </p:cNvSpPr>
              <p:nvPr/>
            </p:nvSpPr>
            <p:spPr bwMode="auto">
              <a:xfrm>
                <a:off x="1661" y="1122"/>
                <a:ext cx="3" cy="2"/>
              </a:xfrm>
              <a:custGeom>
                <a:avLst/>
                <a:gdLst>
                  <a:gd name="T0" fmla="*/ 3 w 6"/>
                  <a:gd name="T1" fmla="*/ 0 h 3"/>
                  <a:gd name="T2" fmla="*/ 2 w 6"/>
                  <a:gd name="T3" fmla="*/ 0 h 3"/>
                  <a:gd name="T4" fmla="*/ 0 w 6"/>
                  <a:gd name="T5" fmla="*/ 3 h 3"/>
                  <a:gd name="T6" fmla="*/ 3 w 6"/>
                  <a:gd name="T7" fmla="*/ 3 h 3"/>
                  <a:gd name="T8" fmla="*/ 6 w 6"/>
                  <a:gd name="T9" fmla="*/ 3 h 3"/>
                  <a:gd name="T10" fmla="*/ 3 w 6"/>
                  <a:gd name="T11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">
                    <a:moveTo>
                      <a:pt x="3" y="0"/>
                    </a:moveTo>
                    <a:lnTo>
                      <a:pt x="2" y="0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6" y="3"/>
                    </a:lnTo>
                    <a:lnTo>
                      <a:pt x="3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11" name="Freeform 714"/>
              <p:cNvSpPr>
                <a:spLocks/>
              </p:cNvSpPr>
              <p:nvPr/>
            </p:nvSpPr>
            <p:spPr bwMode="auto">
              <a:xfrm>
                <a:off x="1664" y="1126"/>
                <a:ext cx="3" cy="3"/>
              </a:xfrm>
              <a:custGeom>
                <a:avLst/>
                <a:gdLst>
                  <a:gd name="T0" fmla="*/ 4 w 7"/>
                  <a:gd name="T1" fmla="*/ 0 h 6"/>
                  <a:gd name="T2" fmla="*/ 2 w 7"/>
                  <a:gd name="T3" fmla="*/ 0 h 6"/>
                  <a:gd name="T4" fmla="*/ 0 w 7"/>
                  <a:gd name="T5" fmla="*/ 3 h 6"/>
                  <a:gd name="T6" fmla="*/ 4 w 7"/>
                  <a:gd name="T7" fmla="*/ 6 h 6"/>
                  <a:gd name="T8" fmla="*/ 7 w 7"/>
                  <a:gd name="T9" fmla="*/ 3 h 6"/>
                  <a:gd name="T10" fmla="*/ 4 w 7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6">
                    <a:moveTo>
                      <a:pt x="4" y="0"/>
                    </a:moveTo>
                    <a:lnTo>
                      <a:pt x="2" y="0"/>
                    </a:lnTo>
                    <a:lnTo>
                      <a:pt x="0" y="3"/>
                    </a:lnTo>
                    <a:lnTo>
                      <a:pt x="4" y="6"/>
                    </a:lnTo>
                    <a:lnTo>
                      <a:pt x="7" y="3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12" name="Freeform 715"/>
              <p:cNvSpPr>
                <a:spLocks/>
              </p:cNvSpPr>
              <p:nvPr/>
            </p:nvSpPr>
            <p:spPr bwMode="auto">
              <a:xfrm>
                <a:off x="1703" y="999"/>
                <a:ext cx="13" cy="5"/>
              </a:xfrm>
              <a:custGeom>
                <a:avLst/>
                <a:gdLst>
                  <a:gd name="T0" fmla="*/ 25 w 25"/>
                  <a:gd name="T1" fmla="*/ 0 h 10"/>
                  <a:gd name="T2" fmla="*/ 25 w 25"/>
                  <a:gd name="T3" fmla="*/ 0 h 10"/>
                  <a:gd name="T4" fmla="*/ 20 w 25"/>
                  <a:gd name="T5" fmla="*/ 0 h 10"/>
                  <a:gd name="T6" fmla="*/ 17 w 25"/>
                  <a:gd name="T7" fmla="*/ 2 h 10"/>
                  <a:gd name="T8" fmla="*/ 14 w 25"/>
                  <a:gd name="T9" fmla="*/ 3 h 10"/>
                  <a:gd name="T10" fmla="*/ 9 w 25"/>
                  <a:gd name="T11" fmla="*/ 3 h 10"/>
                  <a:gd name="T12" fmla="*/ 6 w 25"/>
                  <a:gd name="T13" fmla="*/ 5 h 10"/>
                  <a:gd name="T14" fmla="*/ 3 w 25"/>
                  <a:gd name="T15" fmla="*/ 6 h 10"/>
                  <a:gd name="T16" fmla="*/ 0 w 25"/>
                  <a:gd name="T17" fmla="*/ 10 h 10"/>
                  <a:gd name="T18" fmla="*/ 3 w 25"/>
                  <a:gd name="T19" fmla="*/ 10 h 10"/>
                  <a:gd name="T20" fmla="*/ 6 w 25"/>
                  <a:gd name="T21" fmla="*/ 8 h 10"/>
                  <a:gd name="T22" fmla="*/ 9 w 25"/>
                  <a:gd name="T23" fmla="*/ 8 h 10"/>
                  <a:gd name="T24" fmla="*/ 14 w 25"/>
                  <a:gd name="T25" fmla="*/ 8 h 10"/>
                  <a:gd name="T26" fmla="*/ 17 w 25"/>
                  <a:gd name="T27" fmla="*/ 8 h 10"/>
                  <a:gd name="T28" fmla="*/ 14 w 25"/>
                  <a:gd name="T29" fmla="*/ 5 h 10"/>
                  <a:gd name="T30" fmla="*/ 19 w 25"/>
                  <a:gd name="T31" fmla="*/ 3 h 10"/>
                  <a:gd name="T32" fmla="*/ 22 w 25"/>
                  <a:gd name="T33" fmla="*/ 3 h 10"/>
                  <a:gd name="T34" fmla="*/ 25 w 25"/>
                  <a:gd name="T3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5" h="10">
                    <a:moveTo>
                      <a:pt x="25" y="0"/>
                    </a:moveTo>
                    <a:lnTo>
                      <a:pt x="25" y="0"/>
                    </a:lnTo>
                    <a:lnTo>
                      <a:pt x="20" y="0"/>
                    </a:lnTo>
                    <a:lnTo>
                      <a:pt x="17" y="2"/>
                    </a:lnTo>
                    <a:lnTo>
                      <a:pt x="14" y="3"/>
                    </a:lnTo>
                    <a:lnTo>
                      <a:pt x="9" y="3"/>
                    </a:lnTo>
                    <a:lnTo>
                      <a:pt x="6" y="5"/>
                    </a:lnTo>
                    <a:lnTo>
                      <a:pt x="3" y="6"/>
                    </a:lnTo>
                    <a:lnTo>
                      <a:pt x="0" y="10"/>
                    </a:lnTo>
                    <a:lnTo>
                      <a:pt x="3" y="10"/>
                    </a:lnTo>
                    <a:lnTo>
                      <a:pt x="6" y="8"/>
                    </a:lnTo>
                    <a:lnTo>
                      <a:pt x="9" y="8"/>
                    </a:lnTo>
                    <a:lnTo>
                      <a:pt x="14" y="8"/>
                    </a:lnTo>
                    <a:lnTo>
                      <a:pt x="17" y="8"/>
                    </a:lnTo>
                    <a:lnTo>
                      <a:pt x="14" y="5"/>
                    </a:lnTo>
                    <a:lnTo>
                      <a:pt x="19" y="3"/>
                    </a:lnTo>
                    <a:lnTo>
                      <a:pt x="22" y="3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13" name="Freeform 716"/>
              <p:cNvSpPr>
                <a:spLocks/>
              </p:cNvSpPr>
              <p:nvPr/>
            </p:nvSpPr>
            <p:spPr bwMode="auto">
              <a:xfrm>
                <a:off x="1724" y="1082"/>
                <a:ext cx="11" cy="3"/>
              </a:xfrm>
              <a:custGeom>
                <a:avLst/>
                <a:gdLst>
                  <a:gd name="T0" fmla="*/ 14 w 22"/>
                  <a:gd name="T1" fmla="*/ 0 h 8"/>
                  <a:gd name="T2" fmla="*/ 11 w 22"/>
                  <a:gd name="T3" fmla="*/ 0 h 8"/>
                  <a:gd name="T4" fmla="*/ 8 w 22"/>
                  <a:gd name="T5" fmla="*/ 2 h 8"/>
                  <a:gd name="T6" fmla="*/ 5 w 22"/>
                  <a:gd name="T7" fmla="*/ 3 h 8"/>
                  <a:gd name="T8" fmla="*/ 0 w 22"/>
                  <a:gd name="T9" fmla="*/ 5 h 8"/>
                  <a:gd name="T10" fmla="*/ 3 w 22"/>
                  <a:gd name="T11" fmla="*/ 8 h 8"/>
                  <a:gd name="T12" fmla="*/ 6 w 22"/>
                  <a:gd name="T13" fmla="*/ 6 h 8"/>
                  <a:gd name="T14" fmla="*/ 10 w 22"/>
                  <a:gd name="T15" fmla="*/ 6 h 8"/>
                  <a:gd name="T16" fmla="*/ 14 w 22"/>
                  <a:gd name="T17" fmla="*/ 5 h 8"/>
                  <a:gd name="T18" fmla="*/ 17 w 22"/>
                  <a:gd name="T19" fmla="*/ 5 h 8"/>
                  <a:gd name="T20" fmla="*/ 21 w 22"/>
                  <a:gd name="T21" fmla="*/ 5 h 8"/>
                  <a:gd name="T22" fmla="*/ 22 w 22"/>
                  <a:gd name="T23" fmla="*/ 0 h 8"/>
                  <a:gd name="T24" fmla="*/ 19 w 22"/>
                  <a:gd name="T25" fmla="*/ 0 h 8"/>
                  <a:gd name="T26" fmla="*/ 14 w 22"/>
                  <a:gd name="T2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2" h="8">
                    <a:moveTo>
                      <a:pt x="14" y="0"/>
                    </a:moveTo>
                    <a:lnTo>
                      <a:pt x="11" y="0"/>
                    </a:lnTo>
                    <a:lnTo>
                      <a:pt x="8" y="2"/>
                    </a:lnTo>
                    <a:lnTo>
                      <a:pt x="5" y="3"/>
                    </a:lnTo>
                    <a:lnTo>
                      <a:pt x="0" y="5"/>
                    </a:lnTo>
                    <a:lnTo>
                      <a:pt x="3" y="8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4" y="5"/>
                    </a:lnTo>
                    <a:lnTo>
                      <a:pt x="17" y="5"/>
                    </a:lnTo>
                    <a:lnTo>
                      <a:pt x="21" y="5"/>
                    </a:lnTo>
                    <a:lnTo>
                      <a:pt x="22" y="0"/>
                    </a:lnTo>
                    <a:lnTo>
                      <a:pt x="19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14" name="Freeform 717"/>
              <p:cNvSpPr>
                <a:spLocks/>
              </p:cNvSpPr>
              <p:nvPr/>
            </p:nvSpPr>
            <p:spPr bwMode="auto">
              <a:xfrm>
                <a:off x="1499" y="1151"/>
                <a:ext cx="12" cy="4"/>
              </a:xfrm>
              <a:custGeom>
                <a:avLst/>
                <a:gdLst>
                  <a:gd name="T0" fmla="*/ 20 w 25"/>
                  <a:gd name="T1" fmla="*/ 0 h 7"/>
                  <a:gd name="T2" fmla="*/ 23 w 25"/>
                  <a:gd name="T3" fmla="*/ 3 h 7"/>
                  <a:gd name="T4" fmla="*/ 25 w 25"/>
                  <a:gd name="T5" fmla="*/ 6 h 7"/>
                  <a:gd name="T6" fmla="*/ 22 w 25"/>
                  <a:gd name="T7" fmla="*/ 6 h 7"/>
                  <a:gd name="T8" fmla="*/ 22 w 25"/>
                  <a:gd name="T9" fmla="*/ 7 h 7"/>
                  <a:gd name="T10" fmla="*/ 17 w 25"/>
                  <a:gd name="T11" fmla="*/ 7 h 7"/>
                  <a:gd name="T12" fmla="*/ 14 w 25"/>
                  <a:gd name="T13" fmla="*/ 6 h 7"/>
                  <a:gd name="T14" fmla="*/ 17 w 25"/>
                  <a:gd name="T15" fmla="*/ 6 h 7"/>
                  <a:gd name="T16" fmla="*/ 14 w 25"/>
                  <a:gd name="T17" fmla="*/ 3 h 7"/>
                  <a:gd name="T18" fmla="*/ 17 w 25"/>
                  <a:gd name="T19" fmla="*/ 3 h 7"/>
                  <a:gd name="T20" fmla="*/ 14 w 25"/>
                  <a:gd name="T21" fmla="*/ 1 h 7"/>
                  <a:gd name="T22" fmla="*/ 11 w 25"/>
                  <a:gd name="T23" fmla="*/ 3 h 7"/>
                  <a:gd name="T24" fmla="*/ 8 w 25"/>
                  <a:gd name="T25" fmla="*/ 3 h 7"/>
                  <a:gd name="T26" fmla="*/ 3 w 25"/>
                  <a:gd name="T27" fmla="*/ 4 h 7"/>
                  <a:gd name="T28" fmla="*/ 0 w 25"/>
                  <a:gd name="T29" fmla="*/ 4 h 7"/>
                  <a:gd name="T30" fmla="*/ 3 w 25"/>
                  <a:gd name="T31" fmla="*/ 3 h 7"/>
                  <a:gd name="T32" fmla="*/ 8 w 25"/>
                  <a:gd name="T33" fmla="*/ 1 h 7"/>
                  <a:gd name="T34" fmla="*/ 14 w 25"/>
                  <a:gd name="T35" fmla="*/ 0 h 7"/>
                  <a:gd name="T36" fmla="*/ 17 w 25"/>
                  <a:gd name="T37" fmla="*/ 0 h 7"/>
                  <a:gd name="T38" fmla="*/ 14 w 25"/>
                  <a:gd name="T39" fmla="*/ 0 h 7"/>
                  <a:gd name="T40" fmla="*/ 17 w 25"/>
                  <a:gd name="T41" fmla="*/ 0 h 7"/>
                  <a:gd name="T42" fmla="*/ 22 w 25"/>
                  <a:gd name="T43" fmla="*/ 0 h 7"/>
                  <a:gd name="T44" fmla="*/ 25 w 25"/>
                  <a:gd name="T45" fmla="*/ 0 h 7"/>
                  <a:gd name="T46" fmla="*/ 22 w 25"/>
                  <a:gd name="T47" fmla="*/ 1 h 7"/>
                  <a:gd name="T48" fmla="*/ 20 w 25"/>
                  <a:gd name="T4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25" h="7">
                    <a:moveTo>
                      <a:pt x="20" y="0"/>
                    </a:moveTo>
                    <a:lnTo>
                      <a:pt x="23" y="3"/>
                    </a:lnTo>
                    <a:lnTo>
                      <a:pt x="25" y="6"/>
                    </a:lnTo>
                    <a:lnTo>
                      <a:pt x="22" y="6"/>
                    </a:lnTo>
                    <a:lnTo>
                      <a:pt x="22" y="7"/>
                    </a:lnTo>
                    <a:lnTo>
                      <a:pt x="17" y="7"/>
                    </a:lnTo>
                    <a:lnTo>
                      <a:pt x="14" y="6"/>
                    </a:lnTo>
                    <a:lnTo>
                      <a:pt x="17" y="6"/>
                    </a:lnTo>
                    <a:lnTo>
                      <a:pt x="14" y="3"/>
                    </a:lnTo>
                    <a:lnTo>
                      <a:pt x="17" y="3"/>
                    </a:lnTo>
                    <a:lnTo>
                      <a:pt x="14" y="1"/>
                    </a:lnTo>
                    <a:lnTo>
                      <a:pt x="11" y="3"/>
                    </a:lnTo>
                    <a:lnTo>
                      <a:pt x="8" y="3"/>
                    </a:lnTo>
                    <a:lnTo>
                      <a:pt x="3" y="4"/>
                    </a:lnTo>
                    <a:lnTo>
                      <a:pt x="0" y="4"/>
                    </a:lnTo>
                    <a:lnTo>
                      <a:pt x="3" y="3"/>
                    </a:lnTo>
                    <a:lnTo>
                      <a:pt x="8" y="1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14" y="0"/>
                    </a:lnTo>
                    <a:lnTo>
                      <a:pt x="17" y="0"/>
                    </a:lnTo>
                    <a:lnTo>
                      <a:pt x="22" y="0"/>
                    </a:lnTo>
                    <a:lnTo>
                      <a:pt x="25" y="0"/>
                    </a:lnTo>
                    <a:lnTo>
                      <a:pt x="22" y="1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15" name="Freeform 718"/>
              <p:cNvSpPr>
                <a:spLocks/>
              </p:cNvSpPr>
              <p:nvPr/>
            </p:nvSpPr>
            <p:spPr bwMode="auto">
              <a:xfrm>
                <a:off x="862" y="1104"/>
                <a:ext cx="42" cy="17"/>
              </a:xfrm>
              <a:custGeom>
                <a:avLst/>
                <a:gdLst>
                  <a:gd name="T0" fmla="*/ 0 w 84"/>
                  <a:gd name="T1" fmla="*/ 25 h 33"/>
                  <a:gd name="T2" fmla="*/ 2 w 84"/>
                  <a:gd name="T3" fmla="*/ 22 h 33"/>
                  <a:gd name="T4" fmla="*/ 5 w 84"/>
                  <a:gd name="T5" fmla="*/ 24 h 33"/>
                  <a:gd name="T6" fmla="*/ 8 w 84"/>
                  <a:gd name="T7" fmla="*/ 24 h 33"/>
                  <a:gd name="T8" fmla="*/ 11 w 84"/>
                  <a:gd name="T9" fmla="*/ 24 h 33"/>
                  <a:gd name="T10" fmla="*/ 14 w 84"/>
                  <a:gd name="T11" fmla="*/ 22 h 33"/>
                  <a:gd name="T12" fmla="*/ 13 w 84"/>
                  <a:gd name="T13" fmla="*/ 22 h 33"/>
                  <a:gd name="T14" fmla="*/ 10 w 84"/>
                  <a:gd name="T15" fmla="*/ 24 h 33"/>
                  <a:gd name="T16" fmla="*/ 8 w 84"/>
                  <a:gd name="T17" fmla="*/ 19 h 33"/>
                  <a:gd name="T18" fmla="*/ 11 w 84"/>
                  <a:gd name="T19" fmla="*/ 16 h 33"/>
                  <a:gd name="T20" fmla="*/ 14 w 84"/>
                  <a:gd name="T21" fmla="*/ 16 h 33"/>
                  <a:gd name="T22" fmla="*/ 18 w 84"/>
                  <a:gd name="T23" fmla="*/ 19 h 33"/>
                  <a:gd name="T24" fmla="*/ 21 w 84"/>
                  <a:gd name="T25" fmla="*/ 19 h 33"/>
                  <a:gd name="T26" fmla="*/ 18 w 84"/>
                  <a:gd name="T27" fmla="*/ 17 h 33"/>
                  <a:gd name="T28" fmla="*/ 16 w 84"/>
                  <a:gd name="T29" fmla="*/ 14 h 33"/>
                  <a:gd name="T30" fmla="*/ 19 w 84"/>
                  <a:gd name="T31" fmla="*/ 13 h 33"/>
                  <a:gd name="T32" fmla="*/ 24 w 84"/>
                  <a:gd name="T33" fmla="*/ 14 h 33"/>
                  <a:gd name="T34" fmla="*/ 27 w 84"/>
                  <a:gd name="T35" fmla="*/ 13 h 33"/>
                  <a:gd name="T36" fmla="*/ 33 w 84"/>
                  <a:gd name="T37" fmla="*/ 14 h 33"/>
                  <a:gd name="T38" fmla="*/ 37 w 84"/>
                  <a:gd name="T39" fmla="*/ 11 h 33"/>
                  <a:gd name="T40" fmla="*/ 40 w 84"/>
                  <a:gd name="T41" fmla="*/ 8 h 33"/>
                  <a:gd name="T42" fmla="*/ 43 w 84"/>
                  <a:gd name="T43" fmla="*/ 8 h 33"/>
                  <a:gd name="T44" fmla="*/ 46 w 84"/>
                  <a:gd name="T45" fmla="*/ 6 h 33"/>
                  <a:gd name="T46" fmla="*/ 52 w 84"/>
                  <a:gd name="T47" fmla="*/ 6 h 33"/>
                  <a:gd name="T48" fmla="*/ 56 w 84"/>
                  <a:gd name="T49" fmla="*/ 8 h 33"/>
                  <a:gd name="T50" fmla="*/ 59 w 84"/>
                  <a:gd name="T51" fmla="*/ 8 h 33"/>
                  <a:gd name="T52" fmla="*/ 62 w 84"/>
                  <a:gd name="T53" fmla="*/ 5 h 33"/>
                  <a:gd name="T54" fmla="*/ 65 w 84"/>
                  <a:gd name="T55" fmla="*/ 3 h 33"/>
                  <a:gd name="T56" fmla="*/ 70 w 84"/>
                  <a:gd name="T57" fmla="*/ 2 h 33"/>
                  <a:gd name="T58" fmla="*/ 73 w 84"/>
                  <a:gd name="T59" fmla="*/ 0 h 33"/>
                  <a:gd name="T60" fmla="*/ 76 w 84"/>
                  <a:gd name="T61" fmla="*/ 2 h 33"/>
                  <a:gd name="T62" fmla="*/ 73 w 84"/>
                  <a:gd name="T63" fmla="*/ 3 h 33"/>
                  <a:gd name="T64" fmla="*/ 76 w 84"/>
                  <a:gd name="T65" fmla="*/ 6 h 33"/>
                  <a:gd name="T66" fmla="*/ 79 w 84"/>
                  <a:gd name="T67" fmla="*/ 5 h 33"/>
                  <a:gd name="T68" fmla="*/ 84 w 84"/>
                  <a:gd name="T69" fmla="*/ 3 h 33"/>
                  <a:gd name="T70" fmla="*/ 70 w 84"/>
                  <a:gd name="T71" fmla="*/ 11 h 33"/>
                  <a:gd name="T72" fmla="*/ 54 w 84"/>
                  <a:gd name="T73" fmla="*/ 17 h 33"/>
                  <a:gd name="T74" fmla="*/ 51 w 84"/>
                  <a:gd name="T75" fmla="*/ 19 h 33"/>
                  <a:gd name="T76" fmla="*/ 48 w 84"/>
                  <a:gd name="T77" fmla="*/ 19 h 33"/>
                  <a:gd name="T78" fmla="*/ 43 w 84"/>
                  <a:gd name="T79" fmla="*/ 19 h 33"/>
                  <a:gd name="T80" fmla="*/ 40 w 84"/>
                  <a:gd name="T81" fmla="*/ 22 h 33"/>
                  <a:gd name="T82" fmla="*/ 37 w 84"/>
                  <a:gd name="T83" fmla="*/ 22 h 33"/>
                  <a:gd name="T84" fmla="*/ 35 w 84"/>
                  <a:gd name="T85" fmla="*/ 24 h 33"/>
                  <a:gd name="T86" fmla="*/ 35 w 84"/>
                  <a:gd name="T87" fmla="*/ 27 h 33"/>
                  <a:gd name="T88" fmla="*/ 33 w 84"/>
                  <a:gd name="T89" fmla="*/ 30 h 33"/>
                  <a:gd name="T90" fmla="*/ 33 w 84"/>
                  <a:gd name="T91" fmla="*/ 33 h 33"/>
                  <a:gd name="T92" fmla="*/ 30 w 84"/>
                  <a:gd name="T93" fmla="*/ 32 h 33"/>
                  <a:gd name="T94" fmla="*/ 32 w 84"/>
                  <a:gd name="T95" fmla="*/ 25 h 33"/>
                  <a:gd name="T96" fmla="*/ 29 w 84"/>
                  <a:gd name="T97" fmla="*/ 24 h 33"/>
                  <a:gd name="T98" fmla="*/ 25 w 84"/>
                  <a:gd name="T99" fmla="*/ 27 h 33"/>
                  <a:gd name="T100" fmla="*/ 22 w 84"/>
                  <a:gd name="T101" fmla="*/ 27 h 33"/>
                  <a:gd name="T102" fmla="*/ 14 w 84"/>
                  <a:gd name="T103" fmla="*/ 24 h 33"/>
                  <a:gd name="T104" fmla="*/ 14 w 84"/>
                  <a:gd name="T105" fmla="*/ 24 h 33"/>
                  <a:gd name="T106" fmla="*/ 10 w 84"/>
                  <a:gd name="T107" fmla="*/ 25 h 33"/>
                  <a:gd name="T108" fmla="*/ 6 w 84"/>
                  <a:gd name="T109" fmla="*/ 27 h 33"/>
                  <a:gd name="T110" fmla="*/ 3 w 84"/>
                  <a:gd name="T111" fmla="*/ 27 h 33"/>
                  <a:gd name="T112" fmla="*/ 0 w 84"/>
                  <a:gd name="T113" fmla="*/ 25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84" h="33">
                    <a:moveTo>
                      <a:pt x="0" y="25"/>
                    </a:moveTo>
                    <a:lnTo>
                      <a:pt x="2" y="22"/>
                    </a:lnTo>
                    <a:lnTo>
                      <a:pt x="5" y="24"/>
                    </a:lnTo>
                    <a:lnTo>
                      <a:pt x="8" y="24"/>
                    </a:lnTo>
                    <a:lnTo>
                      <a:pt x="11" y="24"/>
                    </a:lnTo>
                    <a:lnTo>
                      <a:pt x="14" y="22"/>
                    </a:lnTo>
                    <a:lnTo>
                      <a:pt x="13" y="22"/>
                    </a:lnTo>
                    <a:lnTo>
                      <a:pt x="10" y="24"/>
                    </a:lnTo>
                    <a:lnTo>
                      <a:pt x="8" y="19"/>
                    </a:lnTo>
                    <a:lnTo>
                      <a:pt x="11" y="16"/>
                    </a:lnTo>
                    <a:lnTo>
                      <a:pt x="14" y="16"/>
                    </a:lnTo>
                    <a:lnTo>
                      <a:pt x="18" y="19"/>
                    </a:lnTo>
                    <a:lnTo>
                      <a:pt x="21" y="19"/>
                    </a:lnTo>
                    <a:lnTo>
                      <a:pt x="18" y="17"/>
                    </a:lnTo>
                    <a:lnTo>
                      <a:pt x="16" y="14"/>
                    </a:lnTo>
                    <a:lnTo>
                      <a:pt x="19" y="13"/>
                    </a:lnTo>
                    <a:lnTo>
                      <a:pt x="24" y="14"/>
                    </a:lnTo>
                    <a:lnTo>
                      <a:pt x="27" y="13"/>
                    </a:lnTo>
                    <a:lnTo>
                      <a:pt x="33" y="14"/>
                    </a:lnTo>
                    <a:lnTo>
                      <a:pt x="37" y="11"/>
                    </a:lnTo>
                    <a:lnTo>
                      <a:pt x="40" y="8"/>
                    </a:lnTo>
                    <a:lnTo>
                      <a:pt x="43" y="8"/>
                    </a:lnTo>
                    <a:lnTo>
                      <a:pt x="46" y="6"/>
                    </a:lnTo>
                    <a:lnTo>
                      <a:pt x="52" y="6"/>
                    </a:lnTo>
                    <a:lnTo>
                      <a:pt x="56" y="8"/>
                    </a:lnTo>
                    <a:lnTo>
                      <a:pt x="59" y="8"/>
                    </a:lnTo>
                    <a:lnTo>
                      <a:pt x="62" y="5"/>
                    </a:lnTo>
                    <a:lnTo>
                      <a:pt x="65" y="3"/>
                    </a:lnTo>
                    <a:lnTo>
                      <a:pt x="70" y="2"/>
                    </a:lnTo>
                    <a:lnTo>
                      <a:pt x="73" y="0"/>
                    </a:lnTo>
                    <a:lnTo>
                      <a:pt x="76" y="2"/>
                    </a:lnTo>
                    <a:lnTo>
                      <a:pt x="73" y="3"/>
                    </a:lnTo>
                    <a:lnTo>
                      <a:pt x="76" y="6"/>
                    </a:lnTo>
                    <a:lnTo>
                      <a:pt x="79" y="5"/>
                    </a:lnTo>
                    <a:lnTo>
                      <a:pt x="84" y="3"/>
                    </a:lnTo>
                    <a:lnTo>
                      <a:pt x="70" y="11"/>
                    </a:lnTo>
                    <a:lnTo>
                      <a:pt x="54" y="17"/>
                    </a:lnTo>
                    <a:lnTo>
                      <a:pt x="51" y="19"/>
                    </a:lnTo>
                    <a:lnTo>
                      <a:pt x="48" y="19"/>
                    </a:lnTo>
                    <a:lnTo>
                      <a:pt x="43" y="19"/>
                    </a:lnTo>
                    <a:lnTo>
                      <a:pt x="40" y="22"/>
                    </a:lnTo>
                    <a:lnTo>
                      <a:pt x="37" y="22"/>
                    </a:lnTo>
                    <a:lnTo>
                      <a:pt x="35" y="24"/>
                    </a:lnTo>
                    <a:lnTo>
                      <a:pt x="35" y="27"/>
                    </a:lnTo>
                    <a:lnTo>
                      <a:pt x="33" y="30"/>
                    </a:lnTo>
                    <a:lnTo>
                      <a:pt x="33" y="33"/>
                    </a:lnTo>
                    <a:lnTo>
                      <a:pt x="30" y="32"/>
                    </a:lnTo>
                    <a:lnTo>
                      <a:pt x="32" y="25"/>
                    </a:lnTo>
                    <a:lnTo>
                      <a:pt x="29" y="24"/>
                    </a:lnTo>
                    <a:lnTo>
                      <a:pt x="25" y="27"/>
                    </a:lnTo>
                    <a:lnTo>
                      <a:pt x="22" y="27"/>
                    </a:lnTo>
                    <a:lnTo>
                      <a:pt x="14" y="24"/>
                    </a:lnTo>
                    <a:lnTo>
                      <a:pt x="14" y="24"/>
                    </a:lnTo>
                    <a:lnTo>
                      <a:pt x="10" y="25"/>
                    </a:lnTo>
                    <a:lnTo>
                      <a:pt x="6" y="27"/>
                    </a:lnTo>
                    <a:lnTo>
                      <a:pt x="3" y="27"/>
                    </a:lnTo>
                    <a:lnTo>
                      <a:pt x="0" y="2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16" name="Freeform 719"/>
              <p:cNvSpPr>
                <a:spLocks/>
              </p:cNvSpPr>
              <p:nvPr/>
            </p:nvSpPr>
            <p:spPr bwMode="auto">
              <a:xfrm>
                <a:off x="619" y="1454"/>
                <a:ext cx="50" cy="51"/>
              </a:xfrm>
              <a:custGeom>
                <a:avLst/>
                <a:gdLst>
                  <a:gd name="T0" fmla="*/ 19 w 100"/>
                  <a:gd name="T1" fmla="*/ 42 h 102"/>
                  <a:gd name="T2" fmla="*/ 25 w 100"/>
                  <a:gd name="T3" fmla="*/ 40 h 102"/>
                  <a:gd name="T4" fmla="*/ 30 w 100"/>
                  <a:gd name="T5" fmla="*/ 43 h 102"/>
                  <a:gd name="T6" fmla="*/ 31 w 100"/>
                  <a:gd name="T7" fmla="*/ 46 h 102"/>
                  <a:gd name="T8" fmla="*/ 39 w 100"/>
                  <a:gd name="T9" fmla="*/ 49 h 102"/>
                  <a:gd name="T10" fmla="*/ 28 w 100"/>
                  <a:gd name="T11" fmla="*/ 51 h 102"/>
                  <a:gd name="T12" fmla="*/ 20 w 100"/>
                  <a:gd name="T13" fmla="*/ 59 h 102"/>
                  <a:gd name="T14" fmla="*/ 35 w 100"/>
                  <a:gd name="T15" fmla="*/ 61 h 102"/>
                  <a:gd name="T16" fmla="*/ 38 w 100"/>
                  <a:gd name="T17" fmla="*/ 61 h 102"/>
                  <a:gd name="T18" fmla="*/ 43 w 100"/>
                  <a:gd name="T19" fmla="*/ 62 h 102"/>
                  <a:gd name="T20" fmla="*/ 41 w 100"/>
                  <a:gd name="T21" fmla="*/ 69 h 102"/>
                  <a:gd name="T22" fmla="*/ 38 w 100"/>
                  <a:gd name="T23" fmla="*/ 75 h 102"/>
                  <a:gd name="T24" fmla="*/ 47 w 100"/>
                  <a:gd name="T25" fmla="*/ 75 h 102"/>
                  <a:gd name="T26" fmla="*/ 50 w 100"/>
                  <a:gd name="T27" fmla="*/ 76 h 102"/>
                  <a:gd name="T28" fmla="*/ 62 w 100"/>
                  <a:gd name="T29" fmla="*/ 75 h 102"/>
                  <a:gd name="T30" fmla="*/ 71 w 100"/>
                  <a:gd name="T31" fmla="*/ 65 h 102"/>
                  <a:gd name="T32" fmla="*/ 62 w 100"/>
                  <a:gd name="T33" fmla="*/ 75 h 102"/>
                  <a:gd name="T34" fmla="*/ 52 w 100"/>
                  <a:gd name="T35" fmla="*/ 80 h 102"/>
                  <a:gd name="T36" fmla="*/ 50 w 100"/>
                  <a:gd name="T37" fmla="*/ 88 h 102"/>
                  <a:gd name="T38" fmla="*/ 62 w 100"/>
                  <a:gd name="T39" fmla="*/ 94 h 102"/>
                  <a:gd name="T40" fmla="*/ 70 w 100"/>
                  <a:gd name="T41" fmla="*/ 97 h 102"/>
                  <a:gd name="T42" fmla="*/ 81 w 100"/>
                  <a:gd name="T43" fmla="*/ 100 h 102"/>
                  <a:gd name="T44" fmla="*/ 92 w 100"/>
                  <a:gd name="T45" fmla="*/ 99 h 102"/>
                  <a:gd name="T46" fmla="*/ 98 w 100"/>
                  <a:gd name="T47" fmla="*/ 92 h 102"/>
                  <a:gd name="T48" fmla="*/ 93 w 100"/>
                  <a:gd name="T49" fmla="*/ 92 h 102"/>
                  <a:gd name="T50" fmla="*/ 98 w 100"/>
                  <a:gd name="T51" fmla="*/ 83 h 102"/>
                  <a:gd name="T52" fmla="*/ 98 w 100"/>
                  <a:gd name="T53" fmla="*/ 73 h 102"/>
                  <a:gd name="T54" fmla="*/ 93 w 100"/>
                  <a:gd name="T55" fmla="*/ 65 h 102"/>
                  <a:gd name="T56" fmla="*/ 84 w 100"/>
                  <a:gd name="T57" fmla="*/ 59 h 102"/>
                  <a:gd name="T58" fmla="*/ 79 w 100"/>
                  <a:gd name="T59" fmla="*/ 49 h 102"/>
                  <a:gd name="T60" fmla="*/ 79 w 100"/>
                  <a:gd name="T61" fmla="*/ 40 h 102"/>
                  <a:gd name="T62" fmla="*/ 81 w 100"/>
                  <a:gd name="T63" fmla="*/ 35 h 102"/>
                  <a:gd name="T64" fmla="*/ 79 w 100"/>
                  <a:gd name="T65" fmla="*/ 21 h 102"/>
                  <a:gd name="T66" fmla="*/ 70 w 100"/>
                  <a:gd name="T67" fmla="*/ 19 h 102"/>
                  <a:gd name="T68" fmla="*/ 58 w 100"/>
                  <a:gd name="T69" fmla="*/ 16 h 102"/>
                  <a:gd name="T70" fmla="*/ 49 w 100"/>
                  <a:gd name="T71" fmla="*/ 13 h 102"/>
                  <a:gd name="T72" fmla="*/ 38 w 100"/>
                  <a:gd name="T73" fmla="*/ 11 h 102"/>
                  <a:gd name="T74" fmla="*/ 24 w 100"/>
                  <a:gd name="T75" fmla="*/ 0 h 102"/>
                  <a:gd name="T76" fmla="*/ 4 w 100"/>
                  <a:gd name="T77" fmla="*/ 5 h 102"/>
                  <a:gd name="T78" fmla="*/ 3 w 100"/>
                  <a:gd name="T79" fmla="*/ 13 h 102"/>
                  <a:gd name="T80" fmla="*/ 12 w 100"/>
                  <a:gd name="T81" fmla="*/ 16 h 102"/>
                  <a:gd name="T82" fmla="*/ 22 w 100"/>
                  <a:gd name="T83" fmla="*/ 11 h 102"/>
                  <a:gd name="T84" fmla="*/ 27 w 100"/>
                  <a:gd name="T85" fmla="*/ 11 h 102"/>
                  <a:gd name="T86" fmla="*/ 22 w 100"/>
                  <a:gd name="T87" fmla="*/ 16 h 102"/>
                  <a:gd name="T88" fmla="*/ 17 w 100"/>
                  <a:gd name="T89" fmla="*/ 16 h 102"/>
                  <a:gd name="T90" fmla="*/ 8 w 100"/>
                  <a:gd name="T91" fmla="*/ 19 h 102"/>
                  <a:gd name="T92" fmla="*/ 8 w 100"/>
                  <a:gd name="T93" fmla="*/ 26 h 102"/>
                  <a:gd name="T94" fmla="*/ 4 w 100"/>
                  <a:gd name="T95" fmla="*/ 32 h 102"/>
                  <a:gd name="T96" fmla="*/ 14 w 100"/>
                  <a:gd name="T97" fmla="*/ 30 h 102"/>
                  <a:gd name="T98" fmla="*/ 22 w 100"/>
                  <a:gd name="T99" fmla="*/ 32 h 102"/>
                  <a:gd name="T100" fmla="*/ 19 w 100"/>
                  <a:gd name="T101" fmla="*/ 35 h 1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00" h="102">
                    <a:moveTo>
                      <a:pt x="19" y="35"/>
                    </a:moveTo>
                    <a:lnTo>
                      <a:pt x="16" y="38"/>
                    </a:lnTo>
                    <a:lnTo>
                      <a:pt x="19" y="42"/>
                    </a:lnTo>
                    <a:lnTo>
                      <a:pt x="24" y="40"/>
                    </a:lnTo>
                    <a:lnTo>
                      <a:pt x="25" y="37"/>
                    </a:lnTo>
                    <a:lnTo>
                      <a:pt x="25" y="40"/>
                    </a:lnTo>
                    <a:lnTo>
                      <a:pt x="28" y="38"/>
                    </a:lnTo>
                    <a:lnTo>
                      <a:pt x="31" y="40"/>
                    </a:lnTo>
                    <a:lnTo>
                      <a:pt x="30" y="43"/>
                    </a:lnTo>
                    <a:lnTo>
                      <a:pt x="28" y="46"/>
                    </a:lnTo>
                    <a:lnTo>
                      <a:pt x="33" y="46"/>
                    </a:lnTo>
                    <a:lnTo>
                      <a:pt x="31" y="46"/>
                    </a:lnTo>
                    <a:lnTo>
                      <a:pt x="36" y="49"/>
                    </a:lnTo>
                    <a:lnTo>
                      <a:pt x="43" y="48"/>
                    </a:lnTo>
                    <a:lnTo>
                      <a:pt x="39" y="49"/>
                    </a:lnTo>
                    <a:lnTo>
                      <a:pt x="36" y="49"/>
                    </a:lnTo>
                    <a:lnTo>
                      <a:pt x="33" y="49"/>
                    </a:lnTo>
                    <a:lnTo>
                      <a:pt x="28" y="51"/>
                    </a:lnTo>
                    <a:lnTo>
                      <a:pt x="25" y="51"/>
                    </a:lnTo>
                    <a:lnTo>
                      <a:pt x="24" y="56"/>
                    </a:lnTo>
                    <a:lnTo>
                      <a:pt x="20" y="59"/>
                    </a:lnTo>
                    <a:lnTo>
                      <a:pt x="30" y="59"/>
                    </a:lnTo>
                    <a:lnTo>
                      <a:pt x="38" y="57"/>
                    </a:lnTo>
                    <a:lnTo>
                      <a:pt x="35" y="61"/>
                    </a:lnTo>
                    <a:lnTo>
                      <a:pt x="38" y="61"/>
                    </a:lnTo>
                    <a:lnTo>
                      <a:pt x="43" y="57"/>
                    </a:lnTo>
                    <a:lnTo>
                      <a:pt x="38" y="61"/>
                    </a:lnTo>
                    <a:lnTo>
                      <a:pt x="35" y="64"/>
                    </a:lnTo>
                    <a:lnTo>
                      <a:pt x="38" y="64"/>
                    </a:lnTo>
                    <a:lnTo>
                      <a:pt x="43" y="62"/>
                    </a:lnTo>
                    <a:lnTo>
                      <a:pt x="41" y="65"/>
                    </a:lnTo>
                    <a:lnTo>
                      <a:pt x="46" y="67"/>
                    </a:lnTo>
                    <a:lnTo>
                      <a:pt x="41" y="69"/>
                    </a:lnTo>
                    <a:lnTo>
                      <a:pt x="38" y="70"/>
                    </a:lnTo>
                    <a:lnTo>
                      <a:pt x="35" y="70"/>
                    </a:lnTo>
                    <a:lnTo>
                      <a:pt x="38" y="75"/>
                    </a:lnTo>
                    <a:lnTo>
                      <a:pt x="39" y="78"/>
                    </a:lnTo>
                    <a:lnTo>
                      <a:pt x="43" y="76"/>
                    </a:lnTo>
                    <a:lnTo>
                      <a:pt x="47" y="75"/>
                    </a:lnTo>
                    <a:lnTo>
                      <a:pt x="50" y="73"/>
                    </a:lnTo>
                    <a:lnTo>
                      <a:pt x="47" y="76"/>
                    </a:lnTo>
                    <a:lnTo>
                      <a:pt x="50" y="76"/>
                    </a:lnTo>
                    <a:lnTo>
                      <a:pt x="54" y="75"/>
                    </a:lnTo>
                    <a:lnTo>
                      <a:pt x="57" y="75"/>
                    </a:lnTo>
                    <a:lnTo>
                      <a:pt x="62" y="75"/>
                    </a:lnTo>
                    <a:lnTo>
                      <a:pt x="65" y="72"/>
                    </a:lnTo>
                    <a:lnTo>
                      <a:pt x="68" y="69"/>
                    </a:lnTo>
                    <a:lnTo>
                      <a:pt x="71" y="65"/>
                    </a:lnTo>
                    <a:lnTo>
                      <a:pt x="70" y="69"/>
                    </a:lnTo>
                    <a:lnTo>
                      <a:pt x="66" y="72"/>
                    </a:lnTo>
                    <a:lnTo>
                      <a:pt x="62" y="75"/>
                    </a:lnTo>
                    <a:lnTo>
                      <a:pt x="58" y="76"/>
                    </a:lnTo>
                    <a:lnTo>
                      <a:pt x="55" y="78"/>
                    </a:lnTo>
                    <a:lnTo>
                      <a:pt x="52" y="80"/>
                    </a:lnTo>
                    <a:lnTo>
                      <a:pt x="49" y="81"/>
                    </a:lnTo>
                    <a:lnTo>
                      <a:pt x="47" y="86"/>
                    </a:lnTo>
                    <a:lnTo>
                      <a:pt x="50" y="88"/>
                    </a:lnTo>
                    <a:lnTo>
                      <a:pt x="54" y="89"/>
                    </a:lnTo>
                    <a:lnTo>
                      <a:pt x="57" y="92"/>
                    </a:lnTo>
                    <a:lnTo>
                      <a:pt x="62" y="94"/>
                    </a:lnTo>
                    <a:lnTo>
                      <a:pt x="65" y="92"/>
                    </a:lnTo>
                    <a:lnTo>
                      <a:pt x="66" y="95"/>
                    </a:lnTo>
                    <a:lnTo>
                      <a:pt x="70" y="97"/>
                    </a:lnTo>
                    <a:lnTo>
                      <a:pt x="73" y="99"/>
                    </a:lnTo>
                    <a:lnTo>
                      <a:pt x="76" y="100"/>
                    </a:lnTo>
                    <a:lnTo>
                      <a:pt x="81" y="100"/>
                    </a:lnTo>
                    <a:lnTo>
                      <a:pt x="84" y="102"/>
                    </a:lnTo>
                    <a:lnTo>
                      <a:pt x="87" y="100"/>
                    </a:lnTo>
                    <a:lnTo>
                      <a:pt x="92" y="99"/>
                    </a:lnTo>
                    <a:lnTo>
                      <a:pt x="95" y="99"/>
                    </a:lnTo>
                    <a:lnTo>
                      <a:pt x="98" y="95"/>
                    </a:lnTo>
                    <a:lnTo>
                      <a:pt x="98" y="92"/>
                    </a:lnTo>
                    <a:lnTo>
                      <a:pt x="100" y="89"/>
                    </a:lnTo>
                    <a:lnTo>
                      <a:pt x="96" y="89"/>
                    </a:lnTo>
                    <a:lnTo>
                      <a:pt x="93" y="92"/>
                    </a:lnTo>
                    <a:lnTo>
                      <a:pt x="95" y="89"/>
                    </a:lnTo>
                    <a:lnTo>
                      <a:pt x="95" y="86"/>
                    </a:lnTo>
                    <a:lnTo>
                      <a:pt x="98" y="83"/>
                    </a:lnTo>
                    <a:lnTo>
                      <a:pt x="98" y="80"/>
                    </a:lnTo>
                    <a:lnTo>
                      <a:pt x="95" y="75"/>
                    </a:lnTo>
                    <a:lnTo>
                      <a:pt x="98" y="73"/>
                    </a:lnTo>
                    <a:lnTo>
                      <a:pt x="100" y="70"/>
                    </a:lnTo>
                    <a:lnTo>
                      <a:pt x="98" y="67"/>
                    </a:lnTo>
                    <a:lnTo>
                      <a:pt x="93" y="65"/>
                    </a:lnTo>
                    <a:lnTo>
                      <a:pt x="90" y="62"/>
                    </a:lnTo>
                    <a:lnTo>
                      <a:pt x="87" y="61"/>
                    </a:lnTo>
                    <a:lnTo>
                      <a:pt x="84" y="59"/>
                    </a:lnTo>
                    <a:lnTo>
                      <a:pt x="79" y="57"/>
                    </a:lnTo>
                    <a:lnTo>
                      <a:pt x="79" y="53"/>
                    </a:lnTo>
                    <a:lnTo>
                      <a:pt x="79" y="49"/>
                    </a:lnTo>
                    <a:lnTo>
                      <a:pt x="82" y="48"/>
                    </a:lnTo>
                    <a:lnTo>
                      <a:pt x="81" y="43"/>
                    </a:lnTo>
                    <a:lnTo>
                      <a:pt x="79" y="40"/>
                    </a:lnTo>
                    <a:lnTo>
                      <a:pt x="79" y="37"/>
                    </a:lnTo>
                    <a:lnTo>
                      <a:pt x="81" y="35"/>
                    </a:lnTo>
                    <a:lnTo>
                      <a:pt x="81" y="35"/>
                    </a:lnTo>
                    <a:lnTo>
                      <a:pt x="81" y="27"/>
                    </a:lnTo>
                    <a:lnTo>
                      <a:pt x="82" y="24"/>
                    </a:lnTo>
                    <a:lnTo>
                      <a:pt x="79" y="21"/>
                    </a:lnTo>
                    <a:lnTo>
                      <a:pt x="76" y="21"/>
                    </a:lnTo>
                    <a:lnTo>
                      <a:pt x="73" y="19"/>
                    </a:lnTo>
                    <a:lnTo>
                      <a:pt x="70" y="19"/>
                    </a:lnTo>
                    <a:lnTo>
                      <a:pt x="66" y="18"/>
                    </a:lnTo>
                    <a:lnTo>
                      <a:pt x="62" y="16"/>
                    </a:lnTo>
                    <a:lnTo>
                      <a:pt x="58" y="16"/>
                    </a:lnTo>
                    <a:lnTo>
                      <a:pt x="55" y="16"/>
                    </a:lnTo>
                    <a:lnTo>
                      <a:pt x="52" y="16"/>
                    </a:lnTo>
                    <a:lnTo>
                      <a:pt x="49" y="13"/>
                    </a:lnTo>
                    <a:lnTo>
                      <a:pt x="44" y="13"/>
                    </a:lnTo>
                    <a:lnTo>
                      <a:pt x="41" y="11"/>
                    </a:lnTo>
                    <a:lnTo>
                      <a:pt x="38" y="11"/>
                    </a:lnTo>
                    <a:lnTo>
                      <a:pt x="33" y="7"/>
                    </a:lnTo>
                    <a:lnTo>
                      <a:pt x="28" y="3"/>
                    </a:lnTo>
                    <a:lnTo>
                      <a:pt x="24" y="0"/>
                    </a:lnTo>
                    <a:lnTo>
                      <a:pt x="17" y="0"/>
                    </a:lnTo>
                    <a:lnTo>
                      <a:pt x="11" y="2"/>
                    </a:lnTo>
                    <a:lnTo>
                      <a:pt x="4" y="5"/>
                    </a:lnTo>
                    <a:lnTo>
                      <a:pt x="3" y="7"/>
                    </a:lnTo>
                    <a:lnTo>
                      <a:pt x="1" y="8"/>
                    </a:lnTo>
                    <a:lnTo>
                      <a:pt x="3" y="13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9" y="15"/>
                    </a:lnTo>
                    <a:lnTo>
                      <a:pt x="22" y="11"/>
                    </a:lnTo>
                    <a:lnTo>
                      <a:pt x="19" y="11"/>
                    </a:lnTo>
                    <a:lnTo>
                      <a:pt x="22" y="11"/>
                    </a:lnTo>
                    <a:lnTo>
                      <a:pt x="27" y="11"/>
                    </a:lnTo>
                    <a:lnTo>
                      <a:pt x="30" y="11"/>
                    </a:lnTo>
                    <a:lnTo>
                      <a:pt x="27" y="13"/>
                    </a:lnTo>
                    <a:lnTo>
                      <a:pt x="22" y="16"/>
                    </a:lnTo>
                    <a:lnTo>
                      <a:pt x="22" y="19"/>
                    </a:lnTo>
                    <a:lnTo>
                      <a:pt x="22" y="16"/>
                    </a:lnTo>
                    <a:lnTo>
                      <a:pt x="17" y="16"/>
                    </a:lnTo>
                    <a:lnTo>
                      <a:pt x="14" y="16"/>
                    </a:lnTo>
                    <a:lnTo>
                      <a:pt x="11" y="16"/>
                    </a:lnTo>
                    <a:lnTo>
                      <a:pt x="8" y="19"/>
                    </a:lnTo>
                    <a:lnTo>
                      <a:pt x="6" y="23"/>
                    </a:lnTo>
                    <a:lnTo>
                      <a:pt x="9" y="23"/>
                    </a:lnTo>
                    <a:lnTo>
                      <a:pt x="8" y="26"/>
                    </a:lnTo>
                    <a:lnTo>
                      <a:pt x="4" y="29"/>
                    </a:lnTo>
                    <a:lnTo>
                      <a:pt x="0" y="30"/>
                    </a:lnTo>
                    <a:lnTo>
                      <a:pt x="4" y="32"/>
                    </a:lnTo>
                    <a:lnTo>
                      <a:pt x="8" y="29"/>
                    </a:lnTo>
                    <a:lnTo>
                      <a:pt x="11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9" y="32"/>
                    </a:lnTo>
                    <a:lnTo>
                      <a:pt x="22" y="32"/>
                    </a:lnTo>
                    <a:lnTo>
                      <a:pt x="25" y="30"/>
                    </a:lnTo>
                    <a:lnTo>
                      <a:pt x="22" y="32"/>
                    </a:lnTo>
                    <a:lnTo>
                      <a:pt x="19" y="3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617" name="Freeform 720"/>
              <p:cNvSpPr>
                <a:spLocks/>
              </p:cNvSpPr>
              <p:nvPr/>
            </p:nvSpPr>
            <p:spPr bwMode="auto">
              <a:xfrm>
                <a:off x="596" y="1390"/>
                <a:ext cx="31" cy="40"/>
              </a:xfrm>
              <a:custGeom>
                <a:avLst/>
                <a:gdLst>
                  <a:gd name="T0" fmla="*/ 5 w 64"/>
                  <a:gd name="T1" fmla="*/ 22 h 79"/>
                  <a:gd name="T2" fmla="*/ 10 w 64"/>
                  <a:gd name="T3" fmla="*/ 27 h 79"/>
                  <a:gd name="T4" fmla="*/ 8 w 64"/>
                  <a:gd name="T5" fmla="*/ 32 h 79"/>
                  <a:gd name="T6" fmla="*/ 8 w 64"/>
                  <a:gd name="T7" fmla="*/ 32 h 79"/>
                  <a:gd name="T8" fmla="*/ 2 w 64"/>
                  <a:gd name="T9" fmla="*/ 35 h 79"/>
                  <a:gd name="T10" fmla="*/ 5 w 64"/>
                  <a:gd name="T11" fmla="*/ 40 h 79"/>
                  <a:gd name="T12" fmla="*/ 11 w 64"/>
                  <a:gd name="T13" fmla="*/ 40 h 79"/>
                  <a:gd name="T14" fmla="*/ 3 w 64"/>
                  <a:gd name="T15" fmla="*/ 40 h 79"/>
                  <a:gd name="T16" fmla="*/ 3 w 64"/>
                  <a:gd name="T17" fmla="*/ 44 h 79"/>
                  <a:gd name="T18" fmla="*/ 11 w 64"/>
                  <a:gd name="T19" fmla="*/ 46 h 79"/>
                  <a:gd name="T20" fmla="*/ 3 w 64"/>
                  <a:gd name="T21" fmla="*/ 47 h 79"/>
                  <a:gd name="T22" fmla="*/ 2 w 64"/>
                  <a:gd name="T23" fmla="*/ 54 h 79"/>
                  <a:gd name="T24" fmla="*/ 2 w 64"/>
                  <a:gd name="T25" fmla="*/ 57 h 79"/>
                  <a:gd name="T26" fmla="*/ 5 w 64"/>
                  <a:gd name="T27" fmla="*/ 63 h 79"/>
                  <a:gd name="T28" fmla="*/ 7 w 64"/>
                  <a:gd name="T29" fmla="*/ 71 h 79"/>
                  <a:gd name="T30" fmla="*/ 8 w 64"/>
                  <a:gd name="T31" fmla="*/ 78 h 79"/>
                  <a:gd name="T32" fmla="*/ 10 w 64"/>
                  <a:gd name="T33" fmla="*/ 79 h 79"/>
                  <a:gd name="T34" fmla="*/ 16 w 64"/>
                  <a:gd name="T35" fmla="*/ 78 h 79"/>
                  <a:gd name="T36" fmla="*/ 18 w 64"/>
                  <a:gd name="T37" fmla="*/ 73 h 79"/>
                  <a:gd name="T38" fmla="*/ 11 w 64"/>
                  <a:gd name="T39" fmla="*/ 70 h 79"/>
                  <a:gd name="T40" fmla="*/ 10 w 64"/>
                  <a:gd name="T41" fmla="*/ 63 h 79"/>
                  <a:gd name="T42" fmla="*/ 11 w 64"/>
                  <a:gd name="T43" fmla="*/ 57 h 79"/>
                  <a:gd name="T44" fmla="*/ 14 w 64"/>
                  <a:gd name="T45" fmla="*/ 51 h 79"/>
                  <a:gd name="T46" fmla="*/ 14 w 64"/>
                  <a:gd name="T47" fmla="*/ 49 h 79"/>
                  <a:gd name="T48" fmla="*/ 19 w 64"/>
                  <a:gd name="T49" fmla="*/ 43 h 79"/>
                  <a:gd name="T50" fmla="*/ 26 w 64"/>
                  <a:gd name="T51" fmla="*/ 44 h 79"/>
                  <a:gd name="T52" fmla="*/ 29 w 64"/>
                  <a:gd name="T53" fmla="*/ 36 h 79"/>
                  <a:gd name="T54" fmla="*/ 21 w 64"/>
                  <a:gd name="T55" fmla="*/ 38 h 79"/>
                  <a:gd name="T56" fmla="*/ 14 w 64"/>
                  <a:gd name="T57" fmla="*/ 40 h 79"/>
                  <a:gd name="T58" fmla="*/ 16 w 64"/>
                  <a:gd name="T59" fmla="*/ 38 h 79"/>
                  <a:gd name="T60" fmla="*/ 24 w 64"/>
                  <a:gd name="T61" fmla="*/ 35 h 79"/>
                  <a:gd name="T62" fmla="*/ 30 w 64"/>
                  <a:gd name="T63" fmla="*/ 30 h 79"/>
                  <a:gd name="T64" fmla="*/ 37 w 64"/>
                  <a:gd name="T65" fmla="*/ 22 h 79"/>
                  <a:gd name="T66" fmla="*/ 43 w 64"/>
                  <a:gd name="T67" fmla="*/ 17 h 79"/>
                  <a:gd name="T68" fmla="*/ 49 w 64"/>
                  <a:gd name="T69" fmla="*/ 11 h 79"/>
                  <a:gd name="T70" fmla="*/ 60 w 64"/>
                  <a:gd name="T71" fmla="*/ 5 h 79"/>
                  <a:gd name="T72" fmla="*/ 60 w 64"/>
                  <a:gd name="T73" fmla="*/ 3 h 79"/>
                  <a:gd name="T74" fmla="*/ 49 w 64"/>
                  <a:gd name="T75" fmla="*/ 6 h 79"/>
                  <a:gd name="T76" fmla="*/ 43 w 64"/>
                  <a:gd name="T77" fmla="*/ 9 h 79"/>
                  <a:gd name="T78" fmla="*/ 43 w 64"/>
                  <a:gd name="T79" fmla="*/ 8 h 79"/>
                  <a:gd name="T80" fmla="*/ 40 w 64"/>
                  <a:gd name="T81" fmla="*/ 3 h 79"/>
                  <a:gd name="T82" fmla="*/ 33 w 64"/>
                  <a:gd name="T83" fmla="*/ 5 h 79"/>
                  <a:gd name="T84" fmla="*/ 33 w 64"/>
                  <a:gd name="T85" fmla="*/ 5 h 79"/>
                  <a:gd name="T86" fmla="*/ 30 w 64"/>
                  <a:gd name="T87" fmla="*/ 1 h 79"/>
                  <a:gd name="T88" fmla="*/ 24 w 64"/>
                  <a:gd name="T89" fmla="*/ 0 h 79"/>
                  <a:gd name="T90" fmla="*/ 18 w 64"/>
                  <a:gd name="T91" fmla="*/ 5 h 79"/>
                  <a:gd name="T92" fmla="*/ 11 w 64"/>
                  <a:gd name="T93" fmla="*/ 9 h 79"/>
                  <a:gd name="T94" fmla="*/ 10 w 64"/>
                  <a:gd name="T95" fmla="*/ 17 h 79"/>
                  <a:gd name="T96" fmla="*/ 8 w 64"/>
                  <a:gd name="T97" fmla="*/ 22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64" h="79">
                    <a:moveTo>
                      <a:pt x="8" y="22"/>
                    </a:moveTo>
                    <a:lnTo>
                      <a:pt x="5" y="22"/>
                    </a:lnTo>
                    <a:lnTo>
                      <a:pt x="7" y="25"/>
                    </a:lnTo>
                    <a:lnTo>
                      <a:pt x="10" y="27"/>
                    </a:lnTo>
                    <a:lnTo>
                      <a:pt x="11" y="30"/>
                    </a:lnTo>
                    <a:lnTo>
                      <a:pt x="8" y="32"/>
                    </a:lnTo>
                    <a:lnTo>
                      <a:pt x="5" y="32"/>
                    </a:lnTo>
                    <a:lnTo>
                      <a:pt x="8" y="32"/>
                    </a:lnTo>
                    <a:lnTo>
                      <a:pt x="5" y="35"/>
                    </a:lnTo>
                    <a:lnTo>
                      <a:pt x="2" y="35"/>
                    </a:lnTo>
                    <a:lnTo>
                      <a:pt x="5" y="36"/>
                    </a:lnTo>
                    <a:lnTo>
                      <a:pt x="5" y="40"/>
                    </a:lnTo>
                    <a:lnTo>
                      <a:pt x="10" y="40"/>
                    </a:lnTo>
                    <a:lnTo>
                      <a:pt x="11" y="40"/>
                    </a:lnTo>
                    <a:lnTo>
                      <a:pt x="7" y="40"/>
                    </a:lnTo>
                    <a:lnTo>
                      <a:pt x="3" y="40"/>
                    </a:lnTo>
                    <a:lnTo>
                      <a:pt x="0" y="44"/>
                    </a:lnTo>
                    <a:lnTo>
                      <a:pt x="3" y="44"/>
                    </a:lnTo>
                    <a:lnTo>
                      <a:pt x="7" y="44"/>
                    </a:lnTo>
                    <a:lnTo>
                      <a:pt x="11" y="46"/>
                    </a:lnTo>
                    <a:lnTo>
                      <a:pt x="7" y="47"/>
                    </a:lnTo>
                    <a:lnTo>
                      <a:pt x="3" y="47"/>
                    </a:lnTo>
                    <a:lnTo>
                      <a:pt x="2" y="51"/>
                    </a:lnTo>
                    <a:lnTo>
                      <a:pt x="2" y="54"/>
                    </a:lnTo>
                    <a:lnTo>
                      <a:pt x="5" y="54"/>
                    </a:lnTo>
                    <a:lnTo>
                      <a:pt x="2" y="57"/>
                    </a:lnTo>
                    <a:lnTo>
                      <a:pt x="3" y="60"/>
                    </a:lnTo>
                    <a:lnTo>
                      <a:pt x="5" y="63"/>
                    </a:lnTo>
                    <a:lnTo>
                      <a:pt x="7" y="68"/>
                    </a:lnTo>
                    <a:lnTo>
                      <a:pt x="7" y="71"/>
                    </a:lnTo>
                    <a:lnTo>
                      <a:pt x="7" y="74"/>
                    </a:lnTo>
                    <a:lnTo>
                      <a:pt x="8" y="78"/>
                    </a:lnTo>
                    <a:lnTo>
                      <a:pt x="11" y="76"/>
                    </a:lnTo>
                    <a:lnTo>
                      <a:pt x="10" y="79"/>
                    </a:lnTo>
                    <a:lnTo>
                      <a:pt x="13" y="78"/>
                    </a:lnTo>
                    <a:lnTo>
                      <a:pt x="16" y="78"/>
                    </a:lnTo>
                    <a:lnTo>
                      <a:pt x="16" y="76"/>
                    </a:lnTo>
                    <a:lnTo>
                      <a:pt x="18" y="73"/>
                    </a:lnTo>
                    <a:lnTo>
                      <a:pt x="14" y="73"/>
                    </a:lnTo>
                    <a:lnTo>
                      <a:pt x="11" y="70"/>
                    </a:lnTo>
                    <a:lnTo>
                      <a:pt x="13" y="65"/>
                    </a:lnTo>
                    <a:lnTo>
                      <a:pt x="10" y="63"/>
                    </a:lnTo>
                    <a:lnTo>
                      <a:pt x="11" y="60"/>
                    </a:lnTo>
                    <a:lnTo>
                      <a:pt x="11" y="57"/>
                    </a:lnTo>
                    <a:lnTo>
                      <a:pt x="14" y="54"/>
                    </a:lnTo>
                    <a:lnTo>
                      <a:pt x="14" y="51"/>
                    </a:lnTo>
                    <a:lnTo>
                      <a:pt x="11" y="51"/>
                    </a:lnTo>
                    <a:lnTo>
                      <a:pt x="14" y="49"/>
                    </a:lnTo>
                    <a:lnTo>
                      <a:pt x="16" y="46"/>
                    </a:lnTo>
                    <a:lnTo>
                      <a:pt x="19" y="43"/>
                    </a:lnTo>
                    <a:lnTo>
                      <a:pt x="22" y="43"/>
                    </a:lnTo>
                    <a:lnTo>
                      <a:pt x="26" y="44"/>
                    </a:lnTo>
                    <a:lnTo>
                      <a:pt x="29" y="40"/>
                    </a:lnTo>
                    <a:lnTo>
                      <a:pt x="29" y="36"/>
                    </a:lnTo>
                    <a:lnTo>
                      <a:pt x="26" y="36"/>
                    </a:lnTo>
                    <a:lnTo>
                      <a:pt x="21" y="38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3" y="40"/>
                    </a:lnTo>
                    <a:lnTo>
                      <a:pt x="16" y="38"/>
                    </a:lnTo>
                    <a:lnTo>
                      <a:pt x="19" y="35"/>
                    </a:lnTo>
                    <a:lnTo>
                      <a:pt x="24" y="35"/>
                    </a:lnTo>
                    <a:lnTo>
                      <a:pt x="27" y="33"/>
                    </a:lnTo>
                    <a:lnTo>
                      <a:pt x="30" y="30"/>
                    </a:lnTo>
                    <a:lnTo>
                      <a:pt x="33" y="27"/>
                    </a:lnTo>
                    <a:lnTo>
                      <a:pt x="37" y="22"/>
                    </a:lnTo>
                    <a:lnTo>
                      <a:pt x="40" y="20"/>
                    </a:lnTo>
                    <a:lnTo>
                      <a:pt x="43" y="17"/>
                    </a:lnTo>
                    <a:lnTo>
                      <a:pt x="46" y="14"/>
                    </a:lnTo>
                    <a:lnTo>
                      <a:pt x="49" y="11"/>
                    </a:lnTo>
                    <a:lnTo>
                      <a:pt x="57" y="8"/>
                    </a:lnTo>
                    <a:lnTo>
                      <a:pt x="60" y="5"/>
                    </a:lnTo>
                    <a:lnTo>
                      <a:pt x="64" y="1"/>
                    </a:lnTo>
                    <a:lnTo>
                      <a:pt x="60" y="3"/>
                    </a:lnTo>
                    <a:lnTo>
                      <a:pt x="52" y="5"/>
                    </a:lnTo>
                    <a:lnTo>
                      <a:pt x="49" y="6"/>
                    </a:lnTo>
                    <a:lnTo>
                      <a:pt x="46" y="6"/>
                    </a:lnTo>
                    <a:lnTo>
                      <a:pt x="43" y="9"/>
                    </a:lnTo>
                    <a:lnTo>
                      <a:pt x="41" y="11"/>
                    </a:lnTo>
                    <a:lnTo>
                      <a:pt x="43" y="8"/>
                    </a:lnTo>
                    <a:lnTo>
                      <a:pt x="45" y="5"/>
                    </a:lnTo>
                    <a:lnTo>
                      <a:pt x="40" y="3"/>
                    </a:lnTo>
                    <a:lnTo>
                      <a:pt x="37" y="5"/>
                    </a:lnTo>
                    <a:lnTo>
                      <a:pt x="33" y="5"/>
                    </a:lnTo>
                    <a:lnTo>
                      <a:pt x="29" y="8"/>
                    </a:lnTo>
                    <a:lnTo>
                      <a:pt x="33" y="5"/>
                    </a:lnTo>
                    <a:lnTo>
                      <a:pt x="35" y="1"/>
                    </a:lnTo>
                    <a:lnTo>
                      <a:pt x="30" y="1"/>
                    </a:lnTo>
                    <a:lnTo>
                      <a:pt x="27" y="1"/>
                    </a:lnTo>
                    <a:lnTo>
                      <a:pt x="24" y="0"/>
                    </a:lnTo>
                    <a:lnTo>
                      <a:pt x="21" y="1"/>
                    </a:lnTo>
                    <a:lnTo>
                      <a:pt x="18" y="5"/>
                    </a:lnTo>
                    <a:lnTo>
                      <a:pt x="14" y="6"/>
                    </a:lnTo>
                    <a:lnTo>
                      <a:pt x="11" y="9"/>
                    </a:lnTo>
                    <a:lnTo>
                      <a:pt x="10" y="13"/>
                    </a:lnTo>
                    <a:lnTo>
                      <a:pt x="10" y="17"/>
                    </a:lnTo>
                    <a:lnTo>
                      <a:pt x="8" y="20"/>
                    </a:lnTo>
                    <a:lnTo>
                      <a:pt x="8" y="2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grpSp>
          <p:nvGrpSpPr>
            <p:cNvPr id="373" name="Group 721"/>
            <p:cNvGrpSpPr>
              <a:grpSpLocks/>
            </p:cNvGrpSpPr>
            <p:nvPr/>
          </p:nvGrpSpPr>
          <p:grpSpPr bwMode="auto">
            <a:xfrm>
              <a:off x="2343380" y="3128024"/>
              <a:ext cx="1461529" cy="832669"/>
              <a:chOff x="542" y="1484"/>
              <a:chExt cx="994" cy="492"/>
            </a:xfrm>
            <a:solidFill>
              <a:srgbClr val="A6A6A6"/>
            </a:solidFill>
          </p:grpSpPr>
          <p:sp>
            <p:nvSpPr>
              <p:cNvPr id="545" name="Freeform 722"/>
              <p:cNvSpPr>
                <a:spLocks/>
              </p:cNvSpPr>
              <p:nvPr/>
            </p:nvSpPr>
            <p:spPr bwMode="auto">
              <a:xfrm>
                <a:off x="542" y="1484"/>
                <a:ext cx="994" cy="492"/>
              </a:xfrm>
              <a:custGeom>
                <a:avLst/>
                <a:gdLst>
                  <a:gd name="T0" fmla="*/ 46 w 1987"/>
                  <a:gd name="T1" fmla="*/ 317 h 983"/>
                  <a:gd name="T2" fmla="*/ 128 w 1987"/>
                  <a:gd name="T3" fmla="*/ 182 h 983"/>
                  <a:gd name="T4" fmla="*/ 187 w 1987"/>
                  <a:gd name="T5" fmla="*/ 106 h 983"/>
                  <a:gd name="T6" fmla="*/ 247 w 1987"/>
                  <a:gd name="T7" fmla="*/ 47 h 983"/>
                  <a:gd name="T8" fmla="*/ 249 w 1987"/>
                  <a:gd name="T9" fmla="*/ 74 h 983"/>
                  <a:gd name="T10" fmla="*/ 274 w 1987"/>
                  <a:gd name="T11" fmla="*/ 44 h 983"/>
                  <a:gd name="T12" fmla="*/ 1167 w 1987"/>
                  <a:gd name="T13" fmla="*/ 17 h 983"/>
                  <a:gd name="T14" fmla="*/ 1248 w 1987"/>
                  <a:gd name="T15" fmla="*/ 52 h 983"/>
                  <a:gd name="T16" fmla="*/ 1232 w 1987"/>
                  <a:gd name="T17" fmla="*/ 99 h 983"/>
                  <a:gd name="T18" fmla="*/ 1346 w 1987"/>
                  <a:gd name="T19" fmla="*/ 99 h 983"/>
                  <a:gd name="T20" fmla="*/ 1448 w 1987"/>
                  <a:gd name="T21" fmla="*/ 120 h 983"/>
                  <a:gd name="T22" fmla="*/ 1358 w 1987"/>
                  <a:gd name="T23" fmla="*/ 145 h 983"/>
                  <a:gd name="T24" fmla="*/ 1310 w 1987"/>
                  <a:gd name="T25" fmla="*/ 191 h 983"/>
                  <a:gd name="T26" fmla="*/ 1266 w 1987"/>
                  <a:gd name="T27" fmla="*/ 310 h 983"/>
                  <a:gd name="T28" fmla="*/ 1372 w 1987"/>
                  <a:gd name="T29" fmla="*/ 174 h 983"/>
                  <a:gd name="T30" fmla="*/ 1446 w 1987"/>
                  <a:gd name="T31" fmla="*/ 157 h 983"/>
                  <a:gd name="T32" fmla="*/ 1449 w 1987"/>
                  <a:gd name="T33" fmla="*/ 212 h 983"/>
                  <a:gd name="T34" fmla="*/ 1407 w 1987"/>
                  <a:gd name="T35" fmla="*/ 314 h 983"/>
                  <a:gd name="T36" fmla="*/ 1562 w 1987"/>
                  <a:gd name="T37" fmla="*/ 252 h 983"/>
                  <a:gd name="T38" fmla="*/ 1683 w 1987"/>
                  <a:gd name="T39" fmla="*/ 199 h 983"/>
                  <a:gd name="T40" fmla="*/ 1894 w 1987"/>
                  <a:gd name="T41" fmla="*/ 125 h 983"/>
                  <a:gd name="T42" fmla="*/ 1970 w 1987"/>
                  <a:gd name="T43" fmla="*/ 149 h 983"/>
                  <a:gd name="T44" fmla="*/ 1925 w 1987"/>
                  <a:gd name="T45" fmla="*/ 193 h 983"/>
                  <a:gd name="T46" fmla="*/ 1875 w 1987"/>
                  <a:gd name="T47" fmla="*/ 215 h 983"/>
                  <a:gd name="T48" fmla="*/ 1817 w 1987"/>
                  <a:gd name="T49" fmla="*/ 287 h 983"/>
                  <a:gd name="T50" fmla="*/ 1797 w 1987"/>
                  <a:gd name="T51" fmla="*/ 315 h 983"/>
                  <a:gd name="T52" fmla="*/ 1692 w 1987"/>
                  <a:gd name="T53" fmla="*/ 339 h 983"/>
                  <a:gd name="T54" fmla="*/ 1640 w 1987"/>
                  <a:gd name="T55" fmla="*/ 415 h 983"/>
                  <a:gd name="T56" fmla="*/ 1622 w 1987"/>
                  <a:gd name="T57" fmla="*/ 431 h 983"/>
                  <a:gd name="T58" fmla="*/ 1589 w 1987"/>
                  <a:gd name="T59" fmla="*/ 456 h 983"/>
                  <a:gd name="T60" fmla="*/ 1603 w 1987"/>
                  <a:gd name="T61" fmla="*/ 401 h 983"/>
                  <a:gd name="T62" fmla="*/ 1570 w 1987"/>
                  <a:gd name="T63" fmla="*/ 440 h 983"/>
                  <a:gd name="T64" fmla="*/ 1546 w 1987"/>
                  <a:gd name="T65" fmla="*/ 444 h 983"/>
                  <a:gd name="T66" fmla="*/ 1551 w 1987"/>
                  <a:gd name="T67" fmla="*/ 478 h 983"/>
                  <a:gd name="T68" fmla="*/ 1568 w 1987"/>
                  <a:gd name="T69" fmla="*/ 540 h 983"/>
                  <a:gd name="T70" fmla="*/ 1534 w 1987"/>
                  <a:gd name="T71" fmla="*/ 531 h 983"/>
                  <a:gd name="T72" fmla="*/ 1522 w 1987"/>
                  <a:gd name="T73" fmla="*/ 561 h 983"/>
                  <a:gd name="T74" fmla="*/ 1503 w 1987"/>
                  <a:gd name="T75" fmla="*/ 589 h 983"/>
                  <a:gd name="T76" fmla="*/ 1399 w 1987"/>
                  <a:gd name="T77" fmla="*/ 662 h 983"/>
                  <a:gd name="T78" fmla="*/ 1343 w 1987"/>
                  <a:gd name="T79" fmla="*/ 700 h 983"/>
                  <a:gd name="T80" fmla="*/ 1307 w 1987"/>
                  <a:gd name="T81" fmla="*/ 780 h 983"/>
                  <a:gd name="T82" fmla="*/ 1310 w 1987"/>
                  <a:gd name="T83" fmla="*/ 954 h 983"/>
                  <a:gd name="T84" fmla="*/ 1258 w 1987"/>
                  <a:gd name="T85" fmla="*/ 921 h 983"/>
                  <a:gd name="T86" fmla="*/ 1242 w 1987"/>
                  <a:gd name="T87" fmla="*/ 872 h 983"/>
                  <a:gd name="T88" fmla="*/ 1196 w 1987"/>
                  <a:gd name="T89" fmla="*/ 788 h 983"/>
                  <a:gd name="T90" fmla="*/ 1132 w 1987"/>
                  <a:gd name="T91" fmla="*/ 767 h 983"/>
                  <a:gd name="T92" fmla="*/ 1102 w 1987"/>
                  <a:gd name="T93" fmla="*/ 767 h 983"/>
                  <a:gd name="T94" fmla="*/ 1034 w 1987"/>
                  <a:gd name="T95" fmla="*/ 770 h 983"/>
                  <a:gd name="T96" fmla="*/ 1018 w 1987"/>
                  <a:gd name="T97" fmla="*/ 797 h 983"/>
                  <a:gd name="T98" fmla="*/ 991 w 1987"/>
                  <a:gd name="T99" fmla="*/ 821 h 983"/>
                  <a:gd name="T100" fmla="*/ 912 w 1987"/>
                  <a:gd name="T101" fmla="*/ 802 h 983"/>
                  <a:gd name="T102" fmla="*/ 839 w 1987"/>
                  <a:gd name="T103" fmla="*/ 802 h 983"/>
                  <a:gd name="T104" fmla="*/ 779 w 1987"/>
                  <a:gd name="T105" fmla="*/ 840 h 983"/>
                  <a:gd name="T106" fmla="*/ 734 w 1987"/>
                  <a:gd name="T107" fmla="*/ 872 h 983"/>
                  <a:gd name="T108" fmla="*/ 709 w 1987"/>
                  <a:gd name="T109" fmla="*/ 951 h 983"/>
                  <a:gd name="T110" fmla="*/ 644 w 1987"/>
                  <a:gd name="T111" fmla="*/ 880 h 983"/>
                  <a:gd name="T112" fmla="*/ 576 w 1987"/>
                  <a:gd name="T113" fmla="*/ 789 h 983"/>
                  <a:gd name="T114" fmla="*/ 477 w 1987"/>
                  <a:gd name="T115" fmla="*/ 739 h 983"/>
                  <a:gd name="T116" fmla="*/ 231 w 1987"/>
                  <a:gd name="T117" fmla="*/ 702 h 983"/>
                  <a:gd name="T118" fmla="*/ 62 w 1987"/>
                  <a:gd name="T119" fmla="*/ 616 h 983"/>
                  <a:gd name="T120" fmla="*/ 8 w 1987"/>
                  <a:gd name="T121" fmla="*/ 529 h 983"/>
                  <a:gd name="T122" fmla="*/ 30 w 1987"/>
                  <a:gd name="T123" fmla="*/ 455 h 9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987" h="983">
                    <a:moveTo>
                      <a:pt x="8" y="445"/>
                    </a:moveTo>
                    <a:lnTo>
                      <a:pt x="9" y="440"/>
                    </a:lnTo>
                    <a:lnTo>
                      <a:pt x="8" y="437"/>
                    </a:lnTo>
                    <a:lnTo>
                      <a:pt x="5" y="434"/>
                    </a:lnTo>
                    <a:lnTo>
                      <a:pt x="3" y="431"/>
                    </a:lnTo>
                    <a:lnTo>
                      <a:pt x="3" y="428"/>
                    </a:lnTo>
                    <a:lnTo>
                      <a:pt x="1" y="425"/>
                    </a:lnTo>
                    <a:lnTo>
                      <a:pt x="0" y="420"/>
                    </a:lnTo>
                    <a:lnTo>
                      <a:pt x="1" y="417"/>
                    </a:lnTo>
                    <a:lnTo>
                      <a:pt x="3" y="413"/>
                    </a:lnTo>
                    <a:lnTo>
                      <a:pt x="5" y="410"/>
                    </a:lnTo>
                    <a:lnTo>
                      <a:pt x="5" y="406"/>
                    </a:lnTo>
                    <a:lnTo>
                      <a:pt x="5" y="402"/>
                    </a:lnTo>
                    <a:lnTo>
                      <a:pt x="11" y="393"/>
                    </a:lnTo>
                    <a:lnTo>
                      <a:pt x="14" y="385"/>
                    </a:lnTo>
                    <a:lnTo>
                      <a:pt x="14" y="380"/>
                    </a:lnTo>
                    <a:lnTo>
                      <a:pt x="13" y="375"/>
                    </a:lnTo>
                    <a:lnTo>
                      <a:pt x="11" y="371"/>
                    </a:lnTo>
                    <a:lnTo>
                      <a:pt x="8" y="366"/>
                    </a:lnTo>
                    <a:lnTo>
                      <a:pt x="9" y="361"/>
                    </a:lnTo>
                    <a:lnTo>
                      <a:pt x="9" y="358"/>
                    </a:lnTo>
                    <a:lnTo>
                      <a:pt x="13" y="355"/>
                    </a:lnTo>
                    <a:lnTo>
                      <a:pt x="16" y="352"/>
                    </a:lnTo>
                    <a:lnTo>
                      <a:pt x="17" y="350"/>
                    </a:lnTo>
                    <a:lnTo>
                      <a:pt x="21" y="347"/>
                    </a:lnTo>
                    <a:lnTo>
                      <a:pt x="24" y="344"/>
                    </a:lnTo>
                    <a:lnTo>
                      <a:pt x="28" y="342"/>
                    </a:lnTo>
                    <a:lnTo>
                      <a:pt x="24" y="344"/>
                    </a:lnTo>
                    <a:lnTo>
                      <a:pt x="28" y="341"/>
                    </a:lnTo>
                    <a:lnTo>
                      <a:pt x="32" y="337"/>
                    </a:lnTo>
                    <a:lnTo>
                      <a:pt x="33" y="333"/>
                    </a:lnTo>
                    <a:lnTo>
                      <a:pt x="33" y="329"/>
                    </a:lnTo>
                    <a:lnTo>
                      <a:pt x="38" y="326"/>
                    </a:lnTo>
                    <a:lnTo>
                      <a:pt x="40" y="323"/>
                    </a:lnTo>
                    <a:lnTo>
                      <a:pt x="43" y="320"/>
                    </a:lnTo>
                    <a:lnTo>
                      <a:pt x="46" y="317"/>
                    </a:lnTo>
                    <a:lnTo>
                      <a:pt x="46" y="314"/>
                    </a:lnTo>
                    <a:lnTo>
                      <a:pt x="47" y="309"/>
                    </a:lnTo>
                    <a:lnTo>
                      <a:pt x="47" y="306"/>
                    </a:lnTo>
                    <a:lnTo>
                      <a:pt x="47" y="302"/>
                    </a:lnTo>
                    <a:lnTo>
                      <a:pt x="51" y="299"/>
                    </a:lnTo>
                    <a:lnTo>
                      <a:pt x="52" y="296"/>
                    </a:lnTo>
                    <a:lnTo>
                      <a:pt x="52" y="295"/>
                    </a:lnTo>
                    <a:lnTo>
                      <a:pt x="52" y="291"/>
                    </a:lnTo>
                    <a:lnTo>
                      <a:pt x="52" y="285"/>
                    </a:lnTo>
                    <a:lnTo>
                      <a:pt x="54" y="282"/>
                    </a:lnTo>
                    <a:lnTo>
                      <a:pt x="55" y="279"/>
                    </a:lnTo>
                    <a:lnTo>
                      <a:pt x="59" y="274"/>
                    </a:lnTo>
                    <a:lnTo>
                      <a:pt x="62" y="264"/>
                    </a:lnTo>
                    <a:lnTo>
                      <a:pt x="67" y="256"/>
                    </a:lnTo>
                    <a:lnTo>
                      <a:pt x="70" y="253"/>
                    </a:lnTo>
                    <a:lnTo>
                      <a:pt x="73" y="250"/>
                    </a:lnTo>
                    <a:lnTo>
                      <a:pt x="76" y="247"/>
                    </a:lnTo>
                    <a:lnTo>
                      <a:pt x="79" y="242"/>
                    </a:lnTo>
                    <a:lnTo>
                      <a:pt x="82" y="239"/>
                    </a:lnTo>
                    <a:lnTo>
                      <a:pt x="82" y="242"/>
                    </a:lnTo>
                    <a:lnTo>
                      <a:pt x="84" y="239"/>
                    </a:lnTo>
                    <a:lnTo>
                      <a:pt x="87" y="239"/>
                    </a:lnTo>
                    <a:lnTo>
                      <a:pt x="89" y="236"/>
                    </a:lnTo>
                    <a:lnTo>
                      <a:pt x="86" y="237"/>
                    </a:lnTo>
                    <a:lnTo>
                      <a:pt x="89" y="234"/>
                    </a:lnTo>
                    <a:lnTo>
                      <a:pt x="92" y="231"/>
                    </a:lnTo>
                    <a:lnTo>
                      <a:pt x="95" y="228"/>
                    </a:lnTo>
                    <a:lnTo>
                      <a:pt x="97" y="226"/>
                    </a:lnTo>
                    <a:lnTo>
                      <a:pt x="100" y="225"/>
                    </a:lnTo>
                    <a:lnTo>
                      <a:pt x="98" y="225"/>
                    </a:lnTo>
                    <a:lnTo>
                      <a:pt x="97" y="226"/>
                    </a:lnTo>
                    <a:lnTo>
                      <a:pt x="109" y="209"/>
                    </a:lnTo>
                    <a:lnTo>
                      <a:pt x="122" y="190"/>
                    </a:lnTo>
                    <a:lnTo>
                      <a:pt x="125" y="188"/>
                    </a:lnTo>
                    <a:lnTo>
                      <a:pt x="127" y="185"/>
                    </a:lnTo>
                    <a:lnTo>
                      <a:pt x="128" y="182"/>
                    </a:lnTo>
                    <a:lnTo>
                      <a:pt x="132" y="177"/>
                    </a:lnTo>
                    <a:lnTo>
                      <a:pt x="135" y="174"/>
                    </a:lnTo>
                    <a:lnTo>
                      <a:pt x="143" y="164"/>
                    </a:lnTo>
                    <a:lnTo>
                      <a:pt x="151" y="153"/>
                    </a:lnTo>
                    <a:lnTo>
                      <a:pt x="154" y="153"/>
                    </a:lnTo>
                    <a:lnTo>
                      <a:pt x="154" y="150"/>
                    </a:lnTo>
                    <a:lnTo>
                      <a:pt x="157" y="145"/>
                    </a:lnTo>
                    <a:lnTo>
                      <a:pt x="157" y="142"/>
                    </a:lnTo>
                    <a:lnTo>
                      <a:pt x="160" y="139"/>
                    </a:lnTo>
                    <a:lnTo>
                      <a:pt x="162" y="136"/>
                    </a:lnTo>
                    <a:lnTo>
                      <a:pt x="165" y="133"/>
                    </a:lnTo>
                    <a:lnTo>
                      <a:pt x="166" y="130"/>
                    </a:lnTo>
                    <a:lnTo>
                      <a:pt x="168" y="126"/>
                    </a:lnTo>
                    <a:lnTo>
                      <a:pt x="171" y="126"/>
                    </a:lnTo>
                    <a:lnTo>
                      <a:pt x="176" y="125"/>
                    </a:lnTo>
                    <a:lnTo>
                      <a:pt x="179" y="125"/>
                    </a:lnTo>
                    <a:lnTo>
                      <a:pt x="182" y="125"/>
                    </a:lnTo>
                    <a:lnTo>
                      <a:pt x="185" y="126"/>
                    </a:lnTo>
                    <a:lnTo>
                      <a:pt x="190" y="128"/>
                    </a:lnTo>
                    <a:lnTo>
                      <a:pt x="193" y="126"/>
                    </a:lnTo>
                    <a:lnTo>
                      <a:pt x="190" y="126"/>
                    </a:lnTo>
                    <a:lnTo>
                      <a:pt x="187" y="123"/>
                    </a:lnTo>
                    <a:lnTo>
                      <a:pt x="184" y="122"/>
                    </a:lnTo>
                    <a:lnTo>
                      <a:pt x="178" y="122"/>
                    </a:lnTo>
                    <a:lnTo>
                      <a:pt x="174" y="123"/>
                    </a:lnTo>
                    <a:lnTo>
                      <a:pt x="170" y="120"/>
                    </a:lnTo>
                    <a:lnTo>
                      <a:pt x="171" y="117"/>
                    </a:lnTo>
                    <a:lnTo>
                      <a:pt x="174" y="114"/>
                    </a:lnTo>
                    <a:lnTo>
                      <a:pt x="176" y="111"/>
                    </a:lnTo>
                    <a:lnTo>
                      <a:pt x="174" y="114"/>
                    </a:lnTo>
                    <a:lnTo>
                      <a:pt x="173" y="117"/>
                    </a:lnTo>
                    <a:lnTo>
                      <a:pt x="176" y="115"/>
                    </a:lnTo>
                    <a:lnTo>
                      <a:pt x="179" y="112"/>
                    </a:lnTo>
                    <a:lnTo>
                      <a:pt x="181" y="109"/>
                    </a:lnTo>
                    <a:lnTo>
                      <a:pt x="184" y="106"/>
                    </a:lnTo>
                    <a:lnTo>
                      <a:pt x="187" y="106"/>
                    </a:lnTo>
                    <a:lnTo>
                      <a:pt x="184" y="104"/>
                    </a:lnTo>
                    <a:lnTo>
                      <a:pt x="181" y="104"/>
                    </a:lnTo>
                    <a:lnTo>
                      <a:pt x="181" y="101"/>
                    </a:lnTo>
                    <a:lnTo>
                      <a:pt x="182" y="98"/>
                    </a:lnTo>
                    <a:lnTo>
                      <a:pt x="185" y="96"/>
                    </a:lnTo>
                    <a:lnTo>
                      <a:pt x="190" y="96"/>
                    </a:lnTo>
                    <a:lnTo>
                      <a:pt x="193" y="95"/>
                    </a:lnTo>
                    <a:lnTo>
                      <a:pt x="195" y="95"/>
                    </a:lnTo>
                    <a:lnTo>
                      <a:pt x="190" y="95"/>
                    </a:lnTo>
                    <a:lnTo>
                      <a:pt x="187" y="92"/>
                    </a:lnTo>
                    <a:lnTo>
                      <a:pt x="184" y="95"/>
                    </a:lnTo>
                    <a:lnTo>
                      <a:pt x="185" y="90"/>
                    </a:lnTo>
                    <a:lnTo>
                      <a:pt x="187" y="87"/>
                    </a:lnTo>
                    <a:lnTo>
                      <a:pt x="189" y="84"/>
                    </a:lnTo>
                    <a:lnTo>
                      <a:pt x="190" y="80"/>
                    </a:lnTo>
                    <a:lnTo>
                      <a:pt x="190" y="79"/>
                    </a:lnTo>
                    <a:lnTo>
                      <a:pt x="190" y="76"/>
                    </a:lnTo>
                    <a:lnTo>
                      <a:pt x="193" y="73"/>
                    </a:lnTo>
                    <a:lnTo>
                      <a:pt x="195" y="69"/>
                    </a:lnTo>
                    <a:lnTo>
                      <a:pt x="197" y="65"/>
                    </a:lnTo>
                    <a:lnTo>
                      <a:pt x="197" y="61"/>
                    </a:lnTo>
                    <a:lnTo>
                      <a:pt x="195" y="58"/>
                    </a:lnTo>
                    <a:lnTo>
                      <a:pt x="195" y="55"/>
                    </a:lnTo>
                    <a:lnTo>
                      <a:pt x="197" y="50"/>
                    </a:lnTo>
                    <a:lnTo>
                      <a:pt x="198" y="47"/>
                    </a:lnTo>
                    <a:lnTo>
                      <a:pt x="201" y="44"/>
                    </a:lnTo>
                    <a:lnTo>
                      <a:pt x="204" y="41"/>
                    </a:lnTo>
                    <a:lnTo>
                      <a:pt x="204" y="38"/>
                    </a:lnTo>
                    <a:lnTo>
                      <a:pt x="216" y="42"/>
                    </a:lnTo>
                    <a:lnTo>
                      <a:pt x="225" y="47"/>
                    </a:lnTo>
                    <a:lnTo>
                      <a:pt x="230" y="47"/>
                    </a:lnTo>
                    <a:lnTo>
                      <a:pt x="233" y="47"/>
                    </a:lnTo>
                    <a:lnTo>
                      <a:pt x="236" y="47"/>
                    </a:lnTo>
                    <a:lnTo>
                      <a:pt x="239" y="49"/>
                    </a:lnTo>
                    <a:lnTo>
                      <a:pt x="243" y="49"/>
                    </a:lnTo>
                    <a:lnTo>
                      <a:pt x="247" y="47"/>
                    </a:lnTo>
                    <a:lnTo>
                      <a:pt x="249" y="50"/>
                    </a:lnTo>
                    <a:lnTo>
                      <a:pt x="252" y="49"/>
                    </a:lnTo>
                    <a:lnTo>
                      <a:pt x="254" y="52"/>
                    </a:lnTo>
                    <a:lnTo>
                      <a:pt x="255" y="49"/>
                    </a:lnTo>
                    <a:lnTo>
                      <a:pt x="258" y="47"/>
                    </a:lnTo>
                    <a:lnTo>
                      <a:pt x="257" y="50"/>
                    </a:lnTo>
                    <a:lnTo>
                      <a:pt x="258" y="55"/>
                    </a:lnTo>
                    <a:lnTo>
                      <a:pt x="257" y="58"/>
                    </a:lnTo>
                    <a:lnTo>
                      <a:pt x="254" y="60"/>
                    </a:lnTo>
                    <a:lnTo>
                      <a:pt x="250" y="63"/>
                    </a:lnTo>
                    <a:lnTo>
                      <a:pt x="246" y="66"/>
                    </a:lnTo>
                    <a:lnTo>
                      <a:pt x="249" y="61"/>
                    </a:lnTo>
                    <a:lnTo>
                      <a:pt x="238" y="69"/>
                    </a:lnTo>
                    <a:lnTo>
                      <a:pt x="228" y="77"/>
                    </a:lnTo>
                    <a:lnTo>
                      <a:pt x="231" y="79"/>
                    </a:lnTo>
                    <a:lnTo>
                      <a:pt x="235" y="77"/>
                    </a:lnTo>
                    <a:lnTo>
                      <a:pt x="238" y="76"/>
                    </a:lnTo>
                    <a:lnTo>
                      <a:pt x="235" y="76"/>
                    </a:lnTo>
                    <a:lnTo>
                      <a:pt x="231" y="77"/>
                    </a:lnTo>
                    <a:lnTo>
                      <a:pt x="231" y="74"/>
                    </a:lnTo>
                    <a:lnTo>
                      <a:pt x="235" y="73"/>
                    </a:lnTo>
                    <a:lnTo>
                      <a:pt x="238" y="69"/>
                    </a:lnTo>
                    <a:lnTo>
                      <a:pt x="241" y="68"/>
                    </a:lnTo>
                    <a:lnTo>
                      <a:pt x="246" y="66"/>
                    </a:lnTo>
                    <a:lnTo>
                      <a:pt x="249" y="65"/>
                    </a:lnTo>
                    <a:lnTo>
                      <a:pt x="252" y="61"/>
                    </a:lnTo>
                    <a:lnTo>
                      <a:pt x="255" y="60"/>
                    </a:lnTo>
                    <a:lnTo>
                      <a:pt x="260" y="57"/>
                    </a:lnTo>
                    <a:lnTo>
                      <a:pt x="260" y="61"/>
                    </a:lnTo>
                    <a:lnTo>
                      <a:pt x="255" y="63"/>
                    </a:lnTo>
                    <a:lnTo>
                      <a:pt x="252" y="63"/>
                    </a:lnTo>
                    <a:lnTo>
                      <a:pt x="252" y="66"/>
                    </a:lnTo>
                    <a:lnTo>
                      <a:pt x="247" y="68"/>
                    </a:lnTo>
                    <a:lnTo>
                      <a:pt x="246" y="71"/>
                    </a:lnTo>
                    <a:lnTo>
                      <a:pt x="249" y="71"/>
                    </a:lnTo>
                    <a:lnTo>
                      <a:pt x="249" y="74"/>
                    </a:lnTo>
                    <a:lnTo>
                      <a:pt x="246" y="77"/>
                    </a:lnTo>
                    <a:lnTo>
                      <a:pt x="244" y="80"/>
                    </a:lnTo>
                    <a:lnTo>
                      <a:pt x="241" y="82"/>
                    </a:lnTo>
                    <a:lnTo>
                      <a:pt x="243" y="79"/>
                    </a:lnTo>
                    <a:lnTo>
                      <a:pt x="239" y="79"/>
                    </a:lnTo>
                    <a:lnTo>
                      <a:pt x="233" y="85"/>
                    </a:lnTo>
                    <a:lnTo>
                      <a:pt x="235" y="82"/>
                    </a:lnTo>
                    <a:lnTo>
                      <a:pt x="238" y="79"/>
                    </a:lnTo>
                    <a:lnTo>
                      <a:pt x="235" y="80"/>
                    </a:lnTo>
                    <a:lnTo>
                      <a:pt x="231" y="82"/>
                    </a:lnTo>
                    <a:lnTo>
                      <a:pt x="230" y="82"/>
                    </a:lnTo>
                    <a:lnTo>
                      <a:pt x="227" y="85"/>
                    </a:lnTo>
                    <a:lnTo>
                      <a:pt x="224" y="87"/>
                    </a:lnTo>
                    <a:lnTo>
                      <a:pt x="227" y="87"/>
                    </a:lnTo>
                    <a:lnTo>
                      <a:pt x="224" y="90"/>
                    </a:lnTo>
                    <a:lnTo>
                      <a:pt x="227" y="88"/>
                    </a:lnTo>
                    <a:lnTo>
                      <a:pt x="227" y="92"/>
                    </a:lnTo>
                    <a:lnTo>
                      <a:pt x="228" y="88"/>
                    </a:lnTo>
                    <a:lnTo>
                      <a:pt x="231" y="85"/>
                    </a:lnTo>
                    <a:lnTo>
                      <a:pt x="235" y="88"/>
                    </a:lnTo>
                    <a:lnTo>
                      <a:pt x="239" y="85"/>
                    </a:lnTo>
                    <a:lnTo>
                      <a:pt x="243" y="84"/>
                    </a:lnTo>
                    <a:lnTo>
                      <a:pt x="246" y="82"/>
                    </a:lnTo>
                    <a:lnTo>
                      <a:pt x="249" y="80"/>
                    </a:lnTo>
                    <a:lnTo>
                      <a:pt x="252" y="79"/>
                    </a:lnTo>
                    <a:lnTo>
                      <a:pt x="254" y="76"/>
                    </a:lnTo>
                    <a:lnTo>
                      <a:pt x="255" y="71"/>
                    </a:lnTo>
                    <a:lnTo>
                      <a:pt x="258" y="69"/>
                    </a:lnTo>
                    <a:lnTo>
                      <a:pt x="258" y="66"/>
                    </a:lnTo>
                    <a:lnTo>
                      <a:pt x="262" y="61"/>
                    </a:lnTo>
                    <a:lnTo>
                      <a:pt x="265" y="58"/>
                    </a:lnTo>
                    <a:lnTo>
                      <a:pt x="270" y="55"/>
                    </a:lnTo>
                    <a:lnTo>
                      <a:pt x="273" y="53"/>
                    </a:lnTo>
                    <a:lnTo>
                      <a:pt x="271" y="50"/>
                    </a:lnTo>
                    <a:lnTo>
                      <a:pt x="273" y="47"/>
                    </a:lnTo>
                    <a:lnTo>
                      <a:pt x="274" y="44"/>
                    </a:lnTo>
                    <a:lnTo>
                      <a:pt x="276" y="41"/>
                    </a:lnTo>
                    <a:lnTo>
                      <a:pt x="274" y="39"/>
                    </a:lnTo>
                    <a:lnTo>
                      <a:pt x="271" y="38"/>
                    </a:lnTo>
                    <a:lnTo>
                      <a:pt x="271" y="38"/>
                    </a:lnTo>
                    <a:lnTo>
                      <a:pt x="271" y="38"/>
                    </a:lnTo>
                    <a:lnTo>
                      <a:pt x="270" y="38"/>
                    </a:lnTo>
                    <a:lnTo>
                      <a:pt x="271" y="34"/>
                    </a:lnTo>
                    <a:lnTo>
                      <a:pt x="274" y="34"/>
                    </a:lnTo>
                    <a:lnTo>
                      <a:pt x="277" y="33"/>
                    </a:lnTo>
                    <a:lnTo>
                      <a:pt x="281" y="31"/>
                    </a:lnTo>
                    <a:lnTo>
                      <a:pt x="282" y="28"/>
                    </a:lnTo>
                    <a:lnTo>
                      <a:pt x="284" y="23"/>
                    </a:lnTo>
                    <a:lnTo>
                      <a:pt x="281" y="23"/>
                    </a:lnTo>
                    <a:lnTo>
                      <a:pt x="281" y="20"/>
                    </a:lnTo>
                    <a:lnTo>
                      <a:pt x="281" y="17"/>
                    </a:lnTo>
                    <a:lnTo>
                      <a:pt x="284" y="14"/>
                    </a:lnTo>
                    <a:lnTo>
                      <a:pt x="392" y="14"/>
                    </a:lnTo>
                    <a:lnTo>
                      <a:pt x="501" y="14"/>
                    </a:lnTo>
                    <a:lnTo>
                      <a:pt x="611" y="14"/>
                    </a:lnTo>
                    <a:lnTo>
                      <a:pt x="718" y="14"/>
                    </a:lnTo>
                    <a:lnTo>
                      <a:pt x="828" y="14"/>
                    </a:lnTo>
                    <a:lnTo>
                      <a:pt x="937" y="14"/>
                    </a:lnTo>
                    <a:lnTo>
                      <a:pt x="1045" y="14"/>
                    </a:lnTo>
                    <a:lnTo>
                      <a:pt x="1155" y="14"/>
                    </a:lnTo>
                    <a:lnTo>
                      <a:pt x="1156" y="9"/>
                    </a:lnTo>
                    <a:lnTo>
                      <a:pt x="1158" y="8"/>
                    </a:lnTo>
                    <a:lnTo>
                      <a:pt x="1161" y="3"/>
                    </a:lnTo>
                    <a:lnTo>
                      <a:pt x="1162" y="0"/>
                    </a:lnTo>
                    <a:lnTo>
                      <a:pt x="1162" y="0"/>
                    </a:lnTo>
                    <a:lnTo>
                      <a:pt x="1166" y="0"/>
                    </a:lnTo>
                    <a:lnTo>
                      <a:pt x="1170" y="0"/>
                    </a:lnTo>
                    <a:lnTo>
                      <a:pt x="1170" y="3"/>
                    </a:lnTo>
                    <a:lnTo>
                      <a:pt x="1170" y="6"/>
                    </a:lnTo>
                    <a:lnTo>
                      <a:pt x="1169" y="11"/>
                    </a:lnTo>
                    <a:lnTo>
                      <a:pt x="1167" y="14"/>
                    </a:lnTo>
                    <a:lnTo>
                      <a:pt x="1167" y="17"/>
                    </a:lnTo>
                    <a:lnTo>
                      <a:pt x="1166" y="19"/>
                    </a:lnTo>
                    <a:lnTo>
                      <a:pt x="1164" y="23"/>
                    </a:lnTo>
                    <a:lnTo>
                      <a:pt x="1167" y="25"/>
                    </a:lnTo>
                    <a:lnTo>
                      <a:pt x="1170" y="25"/>
                    </a:lnTo>
                    <a:lnTo>
                      <a:pt x="1174" y="25"/>
                    </a:lnTo>
                    <a:lnTo>
                      <a:pt x="1177" y="28"/>
                    </a:lnTo>
                    <a:lnTo>
                      <a:pt x="1180" y="28"/>
                    </a:lnTo>
                    <a:lnTo>
                      <a:pt x="1185" y="28"/>
                    </a:lnTo>
                    <a:lnTo>
                      <a:pt x="1188" y="28"/>
                    </a:lnTo>
                    <a:lnTo>
                      <a:pt x="1188" y="33"/>
                    </a:lnTo>
                    <a:lnTo>
                      <a:pt x="1191" y="33"/>
                    </a:lnTo>
                    <a:lnTo>
                      <a:pt x="1194" y="33"/>
                    </a:lnTo>
                    <a:lnTo>
                      <a:pt x="1197" y="31"/>
                    </a:lnTo>
                    <a:lnTo>
                      <a:pt x="1202" y="30"/>
                    </a:lnTo>
                    <a:lnTo>
                      <a:pt x="1202" y="30"/>
                    </a:lnTo>
                    <a:lnTo>
                      <a:pt x="1202" y="30"/>
                    </a:lnTo>
                    <a:lnTo>
                      <a:pt x="1204" y="30"/>
                    </a:lnTo>
                    <a:lnTo>
                      <a:pt x="1207" y="28"/>
                    </a:lnTo>
                    <a:lnTo>
                      <a:pt x="1210" y="28"/>
                    </a:lnTo>
                    <a:lnTo>
                      <a:pt x="1213" y="28"/>
                    </a:lnTo>
                    <a:lnTo>
                      <a:pt x="1218" y="30"/>
                    </a:lnTo>
                    <a:lnTo>
                      <a:pt x="1221" y="31"/>
                    </a:lnTo>
                    <a:lnTo>
                      <a:pt x="1224" y="33"/>
                    </a:lnTo>
                    <a:lnTo>
                      <a:pt x="1223" y="36"/>
                    </a:lnTo>
                    <a:lnTo>
                      <a:pt x="1227" y="38"/>
                    </a:lnTo>
                    <a:lnTo>
                      <a:pt x="1226" y="41"/>
                    </a:lnTo>
                    <a:lnTo>
                      <a:pt x="1227" y="44"/>
                    </a:lnTo>
                    <a:lnTo>
                      <a:pt x="1229" y="44"/>
                    </a:lnTo>
                    <a:lnTo>
                      <a:pt x="1232" y="39"/>
                    </a:lnTo>
                    <a:lnTo>
                      <a:pt x="1235" y="39"/>
                    </a:lnTo>
                    <a:lnTo>
                      <a:pt x="1239" y="42"/>
                    </a:lnTo>
                    <a:lnTo>
                      <a:pt x="1242" y="46"/>
                    </a:lnTo>
                    <a:lnTo>
                      <a:pt x="1245" y="47"/>
                    </a:lnTo>
                    <a:lnTo>
                      <a:pt x="1245" y="49"/>
                    </a:lnTo>
                    <a:lnTo>
                      <a:pt x="1246" y="50"/>
                    </a:lnTo>
                    <a:lnTo>
                      <a:pt x="1248" y="52"/>
                    </a:lnTo>
                    <a:lnTo>
                      <a:pt x="1251" y="52"/>
                    </a:lnTo>
                    <a:lnTo>
                      <a:pt x="1251" y="52"/>
                    </a:lnTo>
                    <a:lnTo>
                      <a:pt x="1256" y="50"/>
                    </a:lnTo>
                    <a:lnTo>
                      <a:pt x="1266" y="47"/>
                    </a:lnTo>
                    <a:lnTo>
                      <a:pt x="1275" y="44"/>
                    </a:lnTo>
                    <a:lnTo>
                      <a:pt x="1275" y="46"/>
                    </a:lnTo>
                    <a:lnTo>
                      <a:pt x="1273" y="46"/>
                    </a:lnTo>
                    <a:lnTo>
                      <a:pt x="1273" y="47"/>
                    </a:lnTo>
                    <a:lnTo>
                      <a:pt x="1275" y="50"/>
                    </a:lnTo>
                    <a:lnTo>
                      <a:pt x="1278" y="49"/>
                    </a:lnTo>
                    <a:lnTo>
                      <a:pt x="1283" y="50"/>
                    </a:lnTo>
                    <a:lnTo>
                      <a:pt x="1286" y="50"/>
                    </a:lnTo>
                    <a:lnTo>
                      <a:pt x="1289" y="49"/>
                    </a:lnTo>
                    <a:lnTo>
                      <a:pt x="1292" y="49"/>
                    </a:lnTo>
                    <a:lnTo>
                      <a:pt x="1297" y="50"/>
                    </a:lnTo>
                    <a:lnTo>
                      <a:pt x="1297" y="52"/>
                    </a:lnTo>
                    <a:lnTo>
                      <a:pt x="1300" y="53"/>
                    </a:lnTo>
                    <a:lnTo>
                      <a:pt x="1304" y="52"/>
                    </a:lnTo>
                    <a:lnTo>
                      <a:pt x="1308" y="53"/>
                    </a:lnTo>
                    <a:lnTo>
                      <a:pt x="1310" y="53"/>
                    </a:lnTo>
                    <a:lnTo>
                      <a:pt x="1297" y="58"/>
                    </a:lnTo>
                    <a:lnTo>
                      <a:pt x="1283" y="63"/>
                    </a:lnTo>
                    <a:lnTo>
                      <a:pt x="1270" y="66"/>
                    </a:lnTo>
                    <a:lnTo>
                      <a:pt x="1258" y="73"/>
                    </a:lnTo>
                    <a:lnTo>
                      <a:pt x="1243" y="80"/>
                    </a:lnTo>
                    <a:lnTo>
                      <a:pt x="1229" y="88"/>
                    </a:lnTo>
                    <a:lnTo>
                      <a:pt x="1216" y="96"/>
                    </a:lnTo>
                    <a:lnTo>
                      <a:pt x="1204" y="103"/>
                    </a:lnTo>
                    <a:lnTo>
                      <a:pt x="1207" y="106"/>
                    </a:lnTo>
                    <a:lnTo>
                      <a:pt x="1212" y="106"/>
                    </a:lnTo>
                    <a:lnTo>
                      <a:pt x="1215" y="104"/>
                    </a:lnTo>
                    <a:lnTo>
                      <a:pt x="1218" y="104"/>
                    </a:lnTo>
                    <a:lnTo>
                      <a:pt x="1221" y="103"/>
                    </a:lnTo>
                    <a:lnTo>
                      <a:pt x="1224" y="103"/>
                    </a:lnTo>
                    <a:lnTo>
                      <a:pt x="1227" y="101"/>
                    </a:lnTo>
                    <a:lnTo>
                      <a:pt x="1232" y="99"/>
                    </a:lnTo>
                    <a:lnTo>
                      <a:pt x="1235" y="98"/>
                    </a:lnTo>
                    <a:lnTo>
                      <a:pt x="1239" y="98"/>
                    </a:lnTo>
                    <a:lnTo>
                      <a:pt x="1242" y="96"/>
                    </a:lnTo>
                    <a:lnTo>
                      <a:pt x="1246" y="96"/>
                    </a:lnTo>
                    <a:lnTo>
                      <a:pt x="1250" y="95"/>
                    </a:lnTo>
                    <a:lnTo>
                      <a:pt x="1248" y="99"/>
                    </a:lnTo>
                    <a:lnTo>
                      <a:pt x="1245" y="101"/>
                    </a:lnTo>
                    <a:lnTo>
                      <a:pt x="1243" y="104"/>
                    </a:lnTo>
                    <a:lnTo>
                      <a:pt x="1239" y="107"/>
                    </a:lnTo>
                    <a:lnTo>
                      <a:pt x="1242" y="109"/>
                    </a:lnTo>
                    <a:lnTo>
                      <a:pt x="1246" y="106"/>
                    </a:lnTo>
                    <a:lnTo>
                      <a:pt x="1250" y="109"/>
                    </a:lnTo>
                    <a:lnTo>
                      <a:pt x="1253" y="111"/>
                    </a:lnTo>
                    <a:lnTo>
                      <a:pt x="1254" y="111"/>
                    </a:lnTo>
                    <a:lnTo>
                      <a:pt x="1258" y="109"/>
                    </a:lnTo>
                    <a:lnTo>
                      <a:pt x="1261" y="107"/>
                    </a:lnTo>
                    <a:lnTo>
                      <a:pt x="1272" y="104"/>
                    </a:lnTo>
                    <a:lnTo>
                      <a:pt x="1281" y="99"/>
                    </a:lnTo>
                    <a:lnTo>
                      <a:pt x="1288" y="99"/>
                    </a:lnTo>
                    <a:lnTo>
                      <a:pt x="1292" y="99"/>
                    </a:lnTo>
                    <a:lnTo>
                      <a:pt x="1296" y="98"/>
                    </a:lnTo>
                    <a:lnTo>
                      <a:pt x="1302" y="95"/>
                    </a:lnTo>
                    <a:lnTo>
                      <a:pt x="1313" y="90"/>
                    </a:lnTo>
                    <a:lnTo>
                      <a:pt x="1323" y="84"/>
                    </a:lnTo>
                    <a:lnTo>
                      <a:pt x="1323" y="88"/>
                    </a:lnTo>
                    <a:lnTo>
                      <a:pt x="1324" y="92"/>
                    </a:lnTo>
                    <a:lnTo>
                      <a:pt x="1326" y="95"/>
                    </a:lnTo>
                    <a:lnTo>
                      <a:pt x="1323" y="98"/>
                    </a:lnTo>
                    <a:lnTo>
                      <a:pt x="1321" y="103"/>
                    </a:lnTo>
                    <a:lnTo>
                      <a:pt x="1324" y="99"/>
                    </a:lnTo>
                    <a:lnTo>
                      <a:pt x="1332" y="96"/>
                    </a:lnTo>
                    <a:lnTo>
                      <a:pt x="1329" y="99"/>
                    </a:lnTo>
                    <a:lnTo>
                      <a:pt x="1332" y="98"/>
                    </a:lnTo>
                    <a:lnTo>
                      <a:pt x="1335" y="96"/>
                    </a:lnTo>
                    <a:lnTo>
                      <a:pt x="1343" y="98"/>
                    </a:lnTo>
                    <a:lnTo>
                      <a:pt x="1346" y="99"/>
                    </a:lnTo>
                    <a:lnTo>
                      <a:pt x="1350" y="106"/>
                    </a:lnTo>
                    <a:lnTo>
                      <a:pt x="1351" y="111"/>
                    </a:lnTo>
                    <a:lnTo>
                      <a:pt x="1353" y="112"/>
                    </a:lnTo>
                    <a:lnTo>
                      <a:pt x="1354" y="114"/>
                    </a:lnTo>
                    <a:lnTo>
                      <a:pt x="1358" y="114"/>
                    </a:lnTo>
                    <a:lnTo>
                      <a:pt x="1362" y="112"/>
                    </a:lnTo>
                    <a:lnTo>
                      <a:pt x="1365" y="115"/>
                    </a:lnTo>
                    <a:lnTo>
                      <a:pt x="1369" y="114"/>
                    </a:lnTo>
                    <a:lnTo>
                      <a:pt x="1372" y="115"/>
                    </a:lnTo>
                    <a:lnTo>
                      <a:pt x="1375" y="114"/>
                    </a:lnTo>
                    <a:lnTo>
                      <a:pt x="1377" y="114"/>
                    </a:lnTo>
                    <a:lnTo>
                      <a:pt x="1380" y="112"/>
                    </a:lnTo>
                    <a:lnTo>
                      <a:pt x="1386" y="109"/>
                    </a:lnTo>
                    <a:lnTo>
                      <a:pt x="1389" y="107"/>
                    </a:lnTo>
                    <a:lnTo>
                      <a:pt x="1394" y="106"/>
                    </a:lnTo>
                    <a:lnTo>
                      <a:pt x="1397" y="106"/>
                    </a:lnTo>
                    <a:lnTo>
                      <a:pt x="1400" y="106"/>
                    </a:lnTo>
                    <a:lnTo>
                      <a:pt x="1404" y="106"/>
                    </a:lnTo>
                    <a:lnTo>
                      <a:pt x="1408" y="106"/>
                    </a:lnTo>
                    <a:lnTo>
                      <a:pt x="1411" y="106"/>
                    </a:lnTo>
                    <a:lnTo>
                      <a:pt x="1415" y="106"/>
                    </a:lnTo>
                    <a:lnTo>
                      <a:pt x="1424" y="103"/>
                    </a:lnTo>
                    <a:lnTo>
                      <a:pt x="1432" y="103"/>
                    </a:lnTo>
                    <a:lnTo>
                      <a:pt x="1430" y="104"/>
                    </a:lnTo>
                    <a:lnTo>
                      <a:pt x="1429" y="107"/>
                    </a:lnTo>
                    <a:lnTo>
                      <a:pt x="1427" y="111"/>
                    </a:lnTo>
                    <a:lnTo>
                      <a:pt x="1426" y="114"/>
                    </a:lnTo>
                    <a:lnTo>
                      <a:pt x="1430" y="114"/>
                    </a:lnTo>
                    <a:lnTo>
                      <a:pt x="1434" y="115"/>
                    </a:lnTo>
                    <a:lnTo>
                      <a:pt x="1437" y="114"/>
                    </a:lnTo>
                    <a:lnTo>
                      <a:pt x="1440" y="117"/>
                    </a:lnTo>
                    <a:lnTo>
                      <a:pt x="1445" y="114"/>
                    </a:lnTo>
                    <a:lnTo>
                      <a:pt x="1446" y="114"/>
                    </a:lnTo>
                    <a:lnTo>
                      <a:pt x="1446" y="114"/>
                    </a:lnTo>
                    <a:lnTo>
                      <a:pt x="1449" y="117"/>
                    </a:lnTo>
                    <a:lnTo>
                      <a:pt x="1448" y="120"/>
                    </a:lnTo>
                    <a:lnTo>
                      <a:pt x="1448" y="123"/>
                    </a:lnTo>
                    <a:lnTo>
                      <a:pt x="1445" y="125"/>
                    </a:lnTo>
                    <a:lnTo>
                      <a:pt x="1448" y="126"/>
                    </a:lnTo>
                    <a:lnTo>
                      <a:pt x="1449" y="130"/>
                    </a:lnTo>
                    <a:lnTo>
                      <a:pt x="1453" y="133"/>
                    </a:lnTo>
                    <a:lnTo>
                      <a:pt x="1449" y="134"/>
                    </a:lnTo>
                    <a:lnTo>
                      <a:pt x="1445" y="134"/>
                    </a:lnTo>
                    <a:lnTo>
                      <a:pt x="1442" y="134"/>
                    </a:lnTo>
                    <a:lnTo>
                      <a:pt x="1438" y="133"/>
                    </a:lnTo>
                    <a:lnTo>
                      <a:pt x="1435" y="133"/>
                    </a:lnTo>
                    <a:lnTo>
                      <a:pt x="1430" y="131"/>
                    </a:lnTo>
                    <a:lnTo>
                      <a:pt x="1427" y="131"/>
                    </a:lnTo>
                    <a:lnTo>
                      <a:pt x="1424" y="136"/>
                    </a:lnTo>
                    <a:lnTo>
                      <a:pt x="1424" y="139"/>
                    </a:lnTo>
                    <a:lnTo>
                      <a:pt x="1421" y="139"/>
                    </a:lnTo>
                    <a:lnTo>
                      <a:pt x="1418" y="134"/>
                    </a:lnTo>
                    <a:lnTo>
                      <a:pt x="1418" y="133"/>
                    </a:lnTo>
                    <a:lnTo>
                      <a:pt x="1413" y="131"/>
                    </a:lnTo>
                    <a:lnTo>
                      <a:pt x="1410" y="131"/>
                    </a:lnTo>
                    <a:lnTo>
                      <a:pt x="1407" y="130"/>
                    </a:lnTo>
                    <a:lnTo>
                      <a:pt x="1404" y="130"/>
                    </a:lnTo>
                    <a:lnTo>
                      <a:pt x="1399" y="131"/>
                    </a:lnTo>
                    <a:lnTo>
                      <a:pt x="1396" y="134"/>
                    </a:lnTo>
                    <a:lnTo>
                      <a:pt x="1392" y="134"/>
                    </a:lnTo>
                    <a:lnTo>
                      <a:pt x="1389" y="134"/>
                    </a:lnTo>
                    <a:lnTo>
                      <a:pt x="1384" y="136"/>
                    </a:lnTo>
                    <a:lnTo>
                      <a:pt x="1381" y="134"/>
                    </a:lnTo>
                    <a:lnTo>
                      <a:pt x="1378" y="134"/>
                    </a:lnTo>
                    <a:lnTo>
                      <a:pt x="1375" y="136"/>
                    </a:lnTo>
                    <a:lnTo>
                      <a:pt x="1372" y="139"/>
                    </a:lnTo>
                    <a:lnTo>
                      <a:pt x="1370" y="141"/>
                    </a:lnTo>
                    <a:lnTo>
                      <a:pt x="1367" y="142"/>
                    </a:lnTo>
                    <a:lnTo>
                      <a:pt x="1362" y="144"/>
                    </a:lnTo>
                    <a:lnTo>
                      <a:pt x="1359" y="147"/>
                    </a:lnTo>
                    <a:lnTo>
                      <a:pt x="1356" y="149"/>
                    </a:lnTo>
                    <a:lnTo>
                      <a:pt x="1358" y="145"/>
                    </a:lnTo>
                    <a:lnTo>
                      <a:pt x="1361" y="142"/>
                    </a:lnTo>
                    <a:lnTo>
                      <a:pt x="1365" y="139"/>
                    </a:lnTo>
                    <a:lnTo>
                      <a:pt x="1361" y="139"/>
                    </a:lnTo>
                    <a:lnTo>
                      <a:pt x="1358" y="139"/>
                    </a:lnTo>
                    <a:lnTo>
                      <a:pt x="1351" y="145"/>
                    </a:lnTo>
                    <a:lnTo>
                      <a:pt x="1348" y="145"/>
                    </a:lnTo>
                    <a:lnTo>
                      <a:pt x="1348" y="142"/>
                    </a:lnTo>
                    <a:lnTo>
                      <a:pt x="1351" y="139"/>
                    </a:lnTo>
                    <a:lnTo>
                      <a:pt x="1346" y="141"/>
                    </a:lnTo>
                    <a:lnTo>
                      <a:pt x="1345" y="144"/>
                    </a:lnTo>
                    <a:lnTo>
                      <a:pt x="1342" y="147"/>
                    </a:lnTo>
                    <a:lnTo>
                      <a:pt x="1337" y="150"/>
                    </a:lnTo>
                    <a:lnTo>
                      <a:pt x="1334" y="153"/>
                    </a:lnTo>
                    <a:lnTo>
                      <a:pt x="1326" y="161"/>
                    </a:lnTo>
                    <a:lnTo>
                      <a:pt x="1316" y="168"/>
                    </a:lnTo>
                    <a:lnTo>
                      <a:pt x="1316" y="169"/>
                    </a:lnTo>
                    <a:lnTo>
                      <a:pt x="1313" y="172"/>
                    </a:lnTo>
                    <a:lnTo>
                      <a:pt x="1313" y="174"/>
                    </a:lnTo>
                    <a:lnTo>
                      <a:pt x="1310" y="176"/>
                    </a:lnTo>
                    <a:lnTo>
                      <a:pt x="1305" y="176"/>
                    </a:lnTo>
                    <a:lnTo>
                      <a:pt x="1304" y="179"/>
                    </a:lnTo>
                    <a:lnTo>
                      <a:pt x="1300" y="182"/>
                    </a:lnTo>
                    <a:lnTo>
                      <a:pt x="1296" y="185"/>
                    </a:lnTo>
                    <a:lnTo>
                      <a:pt x="1292" y="188"/>
                    </a:lnTo>
                    <a:lnTo>
                      <a:pt x="1292" y="191"/>
                    </a:lnTo>
                    <a:lnTo>
                      <a:pt x="1296" y="191"/>
                    </a:lnTo>
                    <a:lnTo>
                      <a:pt x="1299" y="188"/>
                    </a:lnTo>
                    <a:lnTo>
                      <a:pt x="1302" y="187"/>
                    </a:lnTo>
                    <a:lnTo>
                      <a:pt x="1305" y="184"/>
                    </a:lnTo>
                    <a:lnTo>
                      <a:pt x="1310" y="180"/>
                    </a:lnTo>
                    <a:lnTo>
                      <a:pt x="1313" y="179"/>
                    </a:lnTo>
                    <a:lnTo>
                      <a:pt x="1316" y="179"/>
                    </a:lnTo>
                    <a:lnTo>
                      <a:pt x="1319" y="182"/>
                    </a:lnTo>
                    <a:lnTo>
                      <a:pt x="1316" y="185"/>
                    </a:lnTo>
                    <a:lnTo>
                      <a:pt x="1313" y="188"/>
                    </a:lnTo>
                    <a:lnTo>
                      <a:pt x="1310" y="191"/>
                    </a:lnTo>
                    <a:lnTo>
                      <a:pt x="1307" y="196"/>
                    </a:lnTo>
                    <a:lnTo>
                      <a:pt x="1305" y="199"/>
                    </a:lnTo>
                    <a:lnTo>
                      <a:pt x="1302" y="203"/>
                    </a:lnTo>
                    <a:lnTo>
                      <a:pt x="1302" y="206"/>
                    </a:lnTo>
                    <a:lnTo>
                      <a:pt x="1299" y="209"/>
                    </a:lnTo>
                    <a:lnTo>
                      <a:pt x="1294" y="210"/>
                    </a:lnTo>
                    <a:lnTo>
                      <a:pt x="1291" y="215"/>
                    </a:lnTo>
                    <a:lnTo>
                      <a:pt x="1289" y="218"/>
                    </a:lnTo>
                    <a:lnTo>
                      <a:pt x="1288" y="222"/>
                    </a:lnTo>
                    <a:lnTo>
                      <a:pt x="1286" y="225"/>
                    </a:lnTo>
                    <a:lnTo>
                      <a:pt x="1283" y="228"/>
                    </a:lnTo>
                    <a:lnTo>
                      <a:pt x="1280" y="231"/>
                    </a:lnTo>
                    <a:lnTo>
                      <a:pt x="1278" y="236"/>
                    </a:lnTo>
                    <a:lnTo>
                      <a:pt x="1275" y="239"/>
                    </a:lnTo>
                    <a:lnTo>
                      <a:pt x="1272" y="242"/>
                    </a:lnTo>
                    <a:lnTo>
                      <a:pt x="1270" y="245"/>
                    </a:lnTo>
                    <a:lnTo>
                      <a:pt x="1267" y="252"/>
                    </a:lnTo>
                    <a:lnTo>
                      <a:pt x="1267" y="256"/>
                    </a:lnTo>
                    <a:lnTo>
                      <a:pt x="1267" y="260"/>
                    </a:lnTo>
                    <a:lnTo>
                      <a:pt x="1267" y="263"/>
                    </a:lnTo>
                    <a:lnTo>
                      <a:pt x="1266" y="266"/>
                    </a:lnTo>
                    <a:lnTo>
                      <a:pt x="1262" y="269"/>
                    </a:lnTo>
                    <a:lnTo>
                      <a:pt x="1261" y="272"/>
                    </a:lnTo>
                    <a:lnTo>
                      <a:pt x="1261" y="276"/>
                    </a:lnTo>
                    <a:lnTo>
                      <a:pt x="1259" y="279"/>
                    </a:lnTo>
                    <a:lnTo>
                      <a:pt x="1256" y="282"/>
                    </a:lnTo>
                    <a:lnTo>
                      <a:pt x="1256" y="285"/>
                    </a:lnTo>
                    <a:lnTo>
                      <a:pt x="1256" y="288"/>
                    </a:lnTo>
                    <a:lnTo>
                      <a:pt x="1258" y="293"/>
                    </a:lnTo>
                    <a:lnTo>
                      <a:pt x="1256" y="296"/>
                    </a:lnTo>
                    <a:lnTo>
                      <a:pt x="1256" y="299"/>
                    </a:lnTo>
                    <a:lnTo>
                      <a:pt x="1256" y="302"/>
                    </a:lnTo>
                    <a:lnTo>
                      <a:pt x="1256" y="306"/>
                    </a:lnTo>
                    <a:lnTo>
                      <a:pt x="1259" y="309"/>
                    </a:lnTo>
                    <a:lnTo>
                      <a:pt x="1262" y="310"/>
                    </a:lnTo>
                    <a:lnTo>
                      <a:pt x="1266" y="310"/>
                    </a:lnTo>
                    <a:lnTo>
                      <a:pt x="1273" y="307"/>
                    </a:lnTo>
                    <a:lnTo>
                      <a:pt x="1280" y="304"/>
                    </a:lnTo>
                    <a:lnTo>
                      <a:pt x="1286" y="301"/>
                    </a:lnTo>
                    <a:lnTo>
                      <a:pt x="1292" y="296"/>
                    </a:lnTo>
                    <a:lnTo>
                      <a:pt x="1305" y="283"/>
                    </a:lnTo>
                    <a:lnTo>
                      <a:pt x="1315" y="268"/>
                    </a:lnTo>
                    <a:lnTo>
                      <a:pt x="1318" y="264"/>
                    </a:lnTo>
                    <a:lnTo>
                      <a:pt x="1319" y="261"/>
                    </a:lnTo>
                    <a:lnTo>
                      <a:pt x="1319" y="258"/>
                    </a:lnTo>
                    <a:lnTo>
                      <a:pt x="1321" y="255"/>
                    </a:lnTo>
                    <a:lnTo>
                      <a:pt x="1321" y="252"/>
                    </a:lnTo>
                    <a:lnTo>
                      <a:pt x="1321" y="249"/>
                    </a:lnTo>
                    <a:lnTo>
                      <a:pt x="1324" y="244"/>
                    </a:lnTo>
                    <a:lnTo>
                      <a:pt x="1326" y="244"/>
                    </a:lnTo>
                    <a:lnTo>
                      <a:pt x="1321" y="241"/>
                    </a:lnTo>
                    <a:lnTo>
                      <a:pt x="1321" y="237"/>
                    </a:lnTo>
                    <a:lnTo>
                      <a:pt x="1323" y="233"/>
                    </a:lnTo>
                    <a:lnTo>
                      <a:pt x="1323" y="230"/>
                    </a:lnTo>
                    <a:lnTo>
                      <a:pt x="1324" y="226"/>
                    </a:lnTo>
                    <a:lnTo>
                      <a:pt x="1327" y="223"/>
                    </a:lnTo>
                    <a:lnTo>
                      <a:pt x="1331" y="220"/>
                    </a:lnTo>
                    <a:lnTo>
                      <a:pt x="1331" y="217"/>
                    </a:lnTo>
                    <a:lnTo>
                      <a:pt x="1331" y="214"/>
                    </a:lnTo>
                    <a:lnTo>
                      <a:pt x="1334" y="210"/>
                    </a:lnTo>
                    <a:lnTo>
                      <a:pt x="1337" y="207"/>
                    </a:lnTo>
                    <a:lnTo>
                      <a:pt x="1343" y="201"/>
                    </a:lnTo>
                    <a:lnTo>
                      <a:pt x="1346" y="198"/>
                    </a:lnTo>
                    <a:lnTo>
                      <a:pt x="1348" y="193"/>
                    </a:lnTo>
                    <a:lnTo>
                      <a:pt x="1351" y="190"/>
                    </a:lnTo>
                    <a:lnTo>
                      <a:pt x="1351" y="187"/>
                    </a:lnTo>
                    <a:lnTo>
                      <a:pt x="1354" y="184"/>
                    </a:lnTo>
                    <a:lnTo>
                      <a:pt x="1358" y="184"/>
                    </a:lnTo>
                    <a:lnTo>
                      <a:pt x="1362" y="177"/>
                    </a:lnTo>
                    <a:lnTo>
                      <a:pt x="1365" y="176"/>
                    </a:lnTo>
                    <a:lnTo>
                      <a:pt x="1370" y="176"/>
                    </a:lnTo>
                    <a:lnTo>
                      <a:pt x="1372" y="174"/>
                    </a:lnTo>
                    <a:lnTo>
                      <a:pt x="1377" y="171"/>
                    </a:lnTo>
                    <a:lnTo>
                      <a:pt x="1380" y="168"/>
                    </a:lnTo>
                    <a:lnTo>
                      <a:pt x="1383" y="166"/>
                    </a:lnTo>
                    <a:lnTo>
                      <a:pt x="1378" y="174"/>
                    </a:lnTo>
                    <a:lnTo>
                      <a:pt x="1373" y="180"/>
                    </a:lnTo>
                    <a:lnTo>
                      <a:pt x="1377" y="179"/>
                    </a:lnTo>
                    <a:lnTo>
                      <a:pt x="1380" y="176"/>
                    </a:lnTo>
                    <a:lnTo>
                      <a:pt x="1380" y="179"/>
                    </a:lnTo>
                    <a:lnTo>
                      <a:pt x="1377" y="182"/>
                    </a:lnTo>
                    <a:lnTo>
                      <a:pt x="1381" y="179"/>
                    </a:lnTo>
                    <a:lnTo>
                      <a:pt x="1386" y="174"/>
                    </a:lnTo>
                    <a:lnTo>
                      <a:pt x="1388" y="169"/>
                    </a:lnTo>
                    <a:lnTo>
                      <a:pt x="1391" y="163"/>
                    </a:lnTo>
                    <a:lnTo>
                      <a:pt x="1394" y="161"/>
                    </a:lnTo>
                    <a:lnTo>
                      <a:pt x="1397" y="160"/>
                    </a:lnTo>
                    <a:lnTo>
                      <a:pt x="1400" y="158"/>
                    </a:lnTo>
                    <a:lnTo>
                      <a:pt x="1405" y="158"/>
                    </a:lnTo>
                    <a:lnTo>
                      <a:pt x="1405" y="158"/>
                    </a:lnTo>
                    <a:lnTo>
                      <a:pt x="1408" y="157"/>
                    </a:lnTo>
                    <a:lnTo>
                      <a:pt x="1407" y="157"/>
                    </a:lnTo>
                    <a:lnTo>
                      <a:pt x="1405" y="153"/>
                    </a:lnTo>
                    <a:lnTo>
                      <a:pt x="1407" y="149"/>
                    </a:lnTo>
                    <a:lnTo>
                      <a:pt x="1410" y="147"/>
                    </a:lnTo>
                    <a:lnTo>
                      <a:pt x="1411" y="147"/>
                    </a:lnTo>
                    <a:lnTo>
                      <a:pt x="1413" y="144"/>
                    </a:lnTo>
                    <a:lnTo>
                      <a:pt x="1416" y="142"/>
                    </a:lnTo>
                    <a:lnTo>
                      <a:pt x="1421" y="142"/>
                    </a:lnTo>
                    <a:lnTo>
                      <a:pt x="1424" y="144"/>
                    </a:lnTo>
                    <a:lnTo>
                      <a:pt x="1427" y="147"/>
                    </a:lnTo>
                    <a:lnTo>
                      <a:pt x="1430" y="147"/>
                    </a:lnTo>
                    <a:lnTo>
                      <a:pt x="1432" y="147"/>
                    </a:lnTo>
                    <a:lnTo>
                      <a:pt x="1435" y="149"/>
                    </a:lnTo>
                    <a:lnTo>
                      <a:pt x="1437" y="152"/>
                    </a:lnTo>
                    <a:lnTo>
                      <a:pt x="1440" y="153"/>
                    </a:lnTo>
                    <a:lnTo>
                      <a:pt x="1443" y="155"/>
                    </a:lnTo>
                    <a:lnTo>
                      <a:pt x="1446" y="157"/>
                    </a:lnTo>
                    <a:lnTo>
                      <a:pt x="1449" y="158"/>
                    </a:lnTo>
                    <a:lnTo>
                      <a:pt x="1453" y="160"/>
                    </a:lnTo>
                    <a:lnTo>
                      <a:pt x="1456" y="163"/>
                    </a:lnTo>
                    <a:lnTo>
                      <a:pt x="1454" y="166"/>
                    </a:lnTo>
                    <a:lnTo>
                      <a:pt x="1456" y="169"/>
                    </a:lnTo>
                    <a:lnTo>
                      <a:pt x="1451" y="171"/>
                    </a:lnTo>
                    <a:lnTo>
                      <a:pt x="1448" y="174"/>
                    </a:lnTo>
                    <a:lnTo>
                      <a:pt x="1449" y="177"/>
                    </a:lnTo>
                    <a:lnTo>
                      <a:pt x="1449" y="180"/>
                    </a:lnTo>
                    <a:lnTo>
                      <a:pt x="1448" y="184"/>
                    </a:lnTo>
                    <a:lnTo>
                      <a:pt x="1446" y="188"/>
                    </a:lnTo>
                    <a:lnTo>
                      <a:pt x="1445" y="191"/>
                    </a:lnTo>
                    <a:lnTo>
                      <a:pt x="1443" y="195"/>
                    </a:lnTo>
                    <a:lnTo>
                      <a:pt x="1442" y="198"/>
                    </a:lnTo>
                    <a:lnTo>
                      <a:pt x="1440" y="201"/>
                    </a:lnTo>
                    <a:lnTo>
                      <a:pt x="1437" y="203"/>
                    </a:lnTo>
                    <a:lnTo>
                      <a:pt x="1432" y="203"/>
                    </a:lnTo>
                    <a:lnTo>
                      <a:pt x="1430" y="206"/>
                    </a:lnTo>
                    <a:lnTo>
                      <a:pt x="1427" y="210"/>
                    </a:lnTo>
                    <a:lnTo>
                      <a:pt x="1424" y="212"/>
                    </a:lnTo>
                    <a:lnTo>
                      <a:pt x="1421" y="214"/>
                    </a:lnTo>
                    <a:lnTo>
                      <a:pt x="1418" y="214"/>
                    </a:lnTo>
                    <a:lnTo>
                      <a:pt x="1413" y="217"/>
                    </a:lnTo>
                    <a:lnTo>
                      <a:pt x="1411" y="220"/>
                    </a:lnTo>
                    <a:lnTo>
                      <a:pt x="1410" y="225"/>
                    </a:lnTo>
                    <a:lnTo>
                      <a:pt x="1410" y="228"/>
                    </a:lnTo>
                    <a:lnTo>
                      <a:pt x="1411" y="228"/>
                    </a:lnTo>
                    <a:lnTo>
                      <a:pt x="1415" y="230"/>
                    </a:lnTo>
                    <a:lnTo>
                      <a:pt x="1418" y="228"/>
                    </a:lnTo>
                    <a:lnTo>
                      <a:pt x="1421" y="226"/>
                    </a:lnTo>
                    <a:lnTo>
                      <a:pt x="1426" y="225"/>
                    </a:lnTo>
                    <a:lnTo>
                      <a:pt x="1432" y="218"/>
                    </a:lnTo>
                    <a:lnTo>
                      <a:pt x="1435" y="215"/>
                    </a:lnTo>
                    <a:lnTo>
                      <a:pt x="1442" y="214"/>
                    </a:lnTo>
                    <a:lnTo>
                      <a:pt x="1446" y="212"/>
                    </a:lnTo>
                    <a:lnTo>
                      <a:pt x="1449" y="212"/>
                    </a:lnTo>
                    <a:lnTo>
                      <a:pt x="1453" y="214"/>
                    </a:lnTo>
                    <a:lnTo>
                      <a:pt x="1454" y="218"/>
                    </a:lnTo>
                    <a:lnTo>
                      <a:pt x="1453" y="222"/>
                    </a:lnTo>
                    <a:lnTo>
                      <a:pt x="1453" y="225"/>
                    </a:lnTo>
                    <a:lnTo>
                      <a:pt x="1449" y="239"/>
                    </a:lnTo>
                    <a:lnTo>
                      <a:pt x="1446" y="253"/>
                    </a:lnTo>
                    <a:lnTo>
                      <a:pt x="1446" y="253"/>
                    </a:lnTo>
                    <a:lnTo>
                      <a:pt x="1446" y="256"/>
                    </a:lnTo>
                    <a:lnTo>
                      <a:pt x="1443" y="258"/>
                    </a:lnTo>
                    <a:lnTo>
                      <a:pt x="1438" y="266"/>
                    </a:lnTo>
                    <a:lnTo>
                      <a:pt x="1437" y="269"/>
                    </a:lnTo>
                    <a:lnTo>
                      <a:pt x="1434" y="272"/>
                    </a:lnTo>
                    <a:lnTo>
                      <a:pt x="1430" y="272"/>
                    </a:lnTo>
                    <a:lnTo>
                      <a:pt x="1432" y="269"/>
                    </a:lnTo>
                    <a:lnTo>
                      <a:pt x="1430" y="266"/>
                    </a:lnTo>
                    <a:lnTo>
                      <a:pt x="1427" y="268"/>
                    </a:lnTo>
                    <a:lnTo>
                      <a:pt x="1424" y="272"/>
                    </a:lnTo>
                    <a:lnTo>
                      <a:pt x="1423" y="276"/>
                    </a:lnTo>
                    <a:lnTo>
                      <a:pt x="1421" y="279"/>
                    </a:lnTo>
                    <a:lnTo>
                      <a:pt x="1416" y="280"/>
                    </a:lnTo>
                    <a:lnTo>
                      <a:pt x="1413" y="282"/>
                    </a:lnTo>
                    <a:lnTo>
                      <a:pt x="1413" y="282"/>
                    </a:lnTo>
                    <a:lnTo>
                      <a:pt x="1411" y="283"/>
                    </a:lnTo>
                    <a:lnTo>
                      <a:pt x="1408" y="287"/>
                    </a:lnTo>
                    <a:lnTo>
                      <a:pt x="1405" y="290"/>
                    </a:lnTo>
                    <a:lnTo>
                      <a:pt x="1404" y="295"/>
                    </a:lnTo>
                    <a:lnTo>
                      <a:pt x="1400" y="298"/>
                    </a:lnTo>
                    <a:lnTo>
                      <a:pt x="1397" y="299"/>
                    </a:lnTo>
                    <a:lnTo>
                      <a:pt x="1394" y="302"/>
                    </a:lnTo>
                    <a:lnTo>
                      <a:pt x="1391" y="306"/>
                    </a:lnTo>
                    <a:lnTo>
                      <a:pt x="1391" y="307"/>
                    </a:lnTo>
                    <a:lnTo>
                      <a:pt x="1394" y="307"/>
                    </a:lnTo>
                    <a:lnTo>
                      <a:pt x="1397" y="309"/>
                    </a:lnTo>
                    <a:lnTo>
                      <a:pt x="1400" y="310"/>
                    </a:lnTo>
                    <a:lnTo>
                      <a:pt x="1404" y="314"/>
                    </a:lnTo>
                    <a:lnTo>
                      <a:pt x="1407" y="314"/>
                    </a:lnTo>
                    <a:lnTo>
                      <a:pt x="1411" y="314"/>
                    </a:lnTo>
                    <a:lnTo>
                      <a:pt x="1407" y="315"/>
                    </a:lnTo>
                    <a:lnTo>
                      <a:pt x="1404" y="315"/>
                    </a:lnTo>
                    <a:lnTo>
                      <a:pt x="1400" y="317"/>
                    </a:lnTo>
                    <a:lnTo>
                      <a:pt x="1404" y="318"/>
                    </a:lnTo>
                    <a:lnTo>
                      <a:pt x="1407" y="317"/>
                    </a:lnTo>
                    <a:lnTo>
                      <a:pt x="1411" y="317"/>
                    </a:lnTo>
                    <a:lnTo>
                      <a:pt x="1415" y="318"/>
                    </a:lnTo>
                    <a:lnTo>
                      <a:pt x="1418" y="320"/>
                    </a:lnTo>
                    <a:lnTo>
                      <a:pt x="1421" y="318"/>
                    </a:lnTo>
                    <a:lnTo>
                      <a:pt x="1424" y="317"/>
                    </a:lnTo>
                    <a:lnTo>
                      <a:pt x="1427" y="317"/>
                    </a:lnTo>
                    <a:lnTo>
                      <a:pt x="1432" y="315"/>
                    </a:lnTo>
                    <a:lnTo>
                      <a:pt x="1435" y="314"/>
                    </a:lnTo>
                    <a:lnTo>
                      <a:pt x="1438" y="315"/>
                    </a:lnTo>
                    <a:lnTo>
                      <a:pt x="1442" y="315"/>
                    </a:lnTo>
                    <a:lnTo>
                      <a:pt x="1446" y="314"/>
                    </a:lnTo>
                    <a:lnTo>
                      <a:pt x="1449" y="312"/>
                    </a:lnTo>
                    <a:lnTo>
                      <a:pt x="1453" y="310"/>
                    </a:lnTo>
                    <a:lnTo>
                      <a:pt x="1465" y="304"/>
                    </a:lnTo>
                    <a:lnTo>
                      <a:pt x="1480" y="299"/>
                    </a:lnTo>
                    <a:lnTo>
                      <a:pt x="1495" y="295"/>
                    </a:lnTo>
                    <a:lnTo>
                      <a:pt x="1508" y="288"/>
                    </a:lnTo>
                    <a:lnTo>
                      <a:pt x="1508" y="290"/>
                    </a:lnTo>
                    <a:lnTo>
                      <a:pt x="1522" y="283"/>
                    </a:lnTo>
                    <a:lnTo>
                      <a:pt x="1537" y="276"/>
                    </a:lnTo>
                    <a:lnTo>
                      <a:pt x="1540" y="274"/>
                    </a:lnTo>
                    <a:lnTo>
                      <a:pt x="1545" y="272"/>
                    </a:lnTo>
                    <a:lnTo>
                      <a:pt x="1548" y="271"/>
                    </a:lnTo>
                    <a:lnTo>
                      <a:pt x="1551" y="268"/>
                    </a:lnTo>
                    <a:lnTo>
                      <a:pt x="1554" y="264"/>
                    </a:lnTo>
                    <a:lnTo>
                      <a:pt x="1557" y="263"/>
                    </a:lnTo>
                    <a:lnTo>
                      <a:pt x="1561" y="260"/>
                    </a:lnTo>
                    <a:lnTo>
                      <a:pt x="1561" y="256"/>
                    </a:lnTo>
                    <a:lnTo>
                      <a:pt x="1562" y="253"/>
                    </a:lnTo>
                    <a:lnTo>
                      <a:pt x="1562" y="252"/>
                    </a:lnTo>
                    <a:lnTo>
                      <a:pt x="1557" y="250"/>
                    </a:lnTo>
                    <a:lnTo>
                      <a:pt x="1557" y="250"/>
                    </a:lnTo>
                    <a:lnTo>
                      <a:pt x="1559" y="247"/>
                    </a:lnTo>
                    <a:lnTo>
                      <a:pt x="1561" y="244"/>
                    </a:lnTo>
                    <a:lnTo>
                      <a:pt x="1573" y="241"/>
                    </a:lnTo>
                    <a:lnTo>
                      <a:pt x="1584" y="239"/>
                    </a:lnTo>
                    <a:lnTo>
                      <a:pt x="1587" y="239"/>
                    </a:lnTo>
                    <a:lnTo>
                      <a:pt x="1591" y="239"/>
                    </a:lnTo>
                    <a:lnTo>
                      <a:pt x="1595" y="239"/>
                    </a:lnTo>
                    <a:lnTo>
                      <a:pt x="1599" y="239"/>
                    </a:lnTo>
                    <a:lnTo>
                      <a:pt x="1602" y="239"/>
                    </a:lnTo>
                    <a:lnTo>
                      <a:pt x="1605" y="241"/>
                    </a:lnTo>
                    <a:lnTo>
                      <a:pt x="1608" y="244"/>
                    </a:lnTo>
                    <a:lnTo>
                      <a:pt x="1613" y="244"/>
                    </a:lnTo>
                    <a:lnTo>
                      <a:pt x="1616" y="242"/>
                    </a:lnTo>
                    <a:lnTo>
                      <a:pt x="1619" y="242"/>
                    </a:lnTo>
                    <a:lnTo>
                      <a:pt x="1622" y="242"/>
                    </a:lnTo>
                    <a:lnTo>
                      <a:pt x="1627" y="242"/>
                    </a:lnTo>
                    <a:lnTo>
                      <a:pt x="1630" y="244"/>
                    </a:lnTo>
                    <a:lnTo>
                      <a:pt x="1633" y="242"/>
                    </a:lnTo>
                    <a:lnTo>
                      <a:pt x="1637" y="241"/>
                    </a:lnTo>
                    <a:lnTo>
                      <a:pt x="1640" y="239"/>
                    </a:lnTo>
                    <a:lnTo>
                      <a:pt x="1643" y="237"/>
                    </a:lnTo>
                    <a:lnTo>
                      <a:pt x="1649" y="234"/>
                    </a:lnTo>
                    <a:lnTo>
                      <a:pt x="1653" y="233"/>
                    </a:lnTo>
                    <a:lnTo>
                      <a:pt x="1656" y="233"/>
                    </a:lnTo>
                    <a:lnTo>
                      <a:pt x="1660" y="225"/>
                    </a:lnTo>
                    <a:lnTo>
                      <a:pt x="1670" y="214"/>
                    </a:lnTo>
                    <a:lnTo>
                      <a:pt x="1670" y="214"/>
                    </a:lnTo>
                    <a:lnTo>
                      <a:pt x="1665" y="214"/>
                    </a:lnTo>
                    <a:lnTo>
                      <a:pt x="1667" y="210"/>
                    </a:lnTo>
                    <a:lnTo>
                      <a:pt x="1664" y="212"/>
                    </a:lnTo>
                    <a:lnTo>
                      <a:pt x="1664" y="209"/>
                    </a:lnTo>
                    <a:lnTo>
                      <a:pt x="1670" y="206"/>
                    </a:lnTo>
                    <a:lnTo>
                      <a:pt x="1676" y="203"/>
                    </a:lnTo>
                    <a:lnTo>
                      <a:pt x="1683" y="199"/>
                    </a:lnTo>
                    <a:lnTo>
                      <a:pt x="1687" y="193"/>
                    </a:lnTo>
                    <a:lnTo>
                      <a:pt x="1700" y="185"/>
                    </a:lnTo>
                    <a:lnTo>
                      <a:pt x="1713" y="179"/>
                    </a:lnTo>
                    <a:lnTo>
                      <a:pt x="1719" y="176"/>
                    </a:lnTo>
                    <a:lnTo>
                      <a:pt x="1724" y="174"/>
                    </a:lnTo>
                    <a:lnTo>
                      <a:pt x="1729" y="174"/>
                    </a:lnTo>
                    <a:lnTo>
                      <a:pt x="1733" y="174"/>
                    </a:lnTo>
                    <a:lnTo>
                      <a:pt x="1744" y="174"/>
                    </a:lnTo>
                    <a:lnTo>
                      <a:pt x="1757" y="174"/>
                    </a:lnTo>
                    <a:lnTo>
                      <a:pt x="1776" y="172"/>
                    </a:lnTo>
                    <a:lnTo>
                      <a:pt x="1797" y="172"/>
                    </a:lnTo>
                    <a:lnTo>
                      <a:pt x="1816" y="172"/>
                    </a:lnTo>
                    <a:lnTo>
                      <a:pt x="1836" y="172"/>
                    </a:lnTo>
                    <a:lnTo>
                      <a:pt x="1838" y="169"/>
                    </a:lnTo>
                    <a:lnTo>
                      <a:pt x="1841" y="166"/>
                    </a:lnTo>
                    <a:lnTo>
                      <a:pt x="1844" y="163"/>
                    </a:lnTo>
                    <a:lnTo>
                      <a:pt x="1848" y="163"/>
                    </a:lnTo>
                    <a:lnTo>
                      <a:pt x="1852" y="163"/>
                    </a:lnTo>
                    <a:lnTo>
                      <a:pt x="1854" y="161"/>
                    </a:lnTo>
                    <a:lnTo>
                      <a:pt x="1857" y="160"/>
                    </a:lnTo>
                    <a:lnTo>
                      <a:pt x="1859" y="163"/>
                    </a:lnTo>
                    <a:lnTo>
                      <a:pt x="1862" y="160"/>
                    </a:lnTo>
                    <a:lnTo>
                      <a:pt x="1863" y="157"/>
                    </a:lnTo>
                    <a:lnTo>
                      <a:pt x="1867" y="158"/>
                    </a:lnTo>
                    <a:lnTo>
                      <a:pt x="1868" y="153"/>
                    </a:lnTo>
                    <a:lnTo>
                      <a:pt x="1870" y="152"/>
                    </a:lnTo>
                    <a:lnTo>
                      <a:pt x="1873" y="149"/>
                    </a:lnTo>
                    <a:lnTo>
                      <a:pt x="1876" y="147"/>
                    </a:lnTo>
                    <a:lnTo>
                      <a:pt x="1881" y="145"/>
                    </a:lnTo>
                    <a:lnTo>
                      <a:pt x="1884" y="141"/>
                    </a:lnTo>
                    <a:lnTo>
                      <a:pt x="1887" y="139"/>
                    </a:lnTo>
                    <a:lnTo>
                      <a:pt x="1890" y="136"/>
                    </a:lnTo>
                    <a:lnTo>
                      <a:pt x="1890" y="133"/>
                    </a:lnTo>
                    <a:lnTo>
                      <a:pt x="1892" y="130"/>
                    </a:lnTo>
                    <a:lnTo>
                      <a:pt x="1894" y="130"/>
                    </a:lnTo>
                    <a:lnTo>
                      <a:pt x="1894" y="125"/>
                    </a:lnTo>
                    <a:lnTo>
                      <a:pt x="1897" y="122"/>
                    </a:lnTo>
                    <a:lnTo>
                      <a:pt x="1902" y="119"/>
                    </a:lnTo>
                    <a:lnTo>
                      <a:pt x="1905" y="117"/>
                    </a:lnTo>
                    <a:lnTo>
                      <a:pt x="1905" y="115"/>
                    </a:lnTo>
                    <a:lnTo>
                      <a:pt x="1906" y="112"/>
                    </a:lnTo>
                    <a:lnTo>
                      <a:pt x="1909" y="109"/>
                    </a:lnTo>
                    <a:lnTo>
                      <a:pt x="1911" y="106"/>
                    </a:lnTo>
                    <a:lnTo>
                      <a:pt x="1911" y="104"/>
                    </a:lnTo>
                    <a:lnTo>
                      <a:pt x="1914" y="103"/>
                    </a:lnTo>
                    <a:lnTo>
                      <a:pt x="1922" y="96"/>
                    </a:lnTo>
                    <a:lnTo>
                      <a:pt x="1935" y="85"/>
                    </a:lnTo>
                    <a:lnTo>
                      <a:pt x="1948" y="74"/>
                    </a:lnTo>
                    <a:lnTo>
                      <a:pt x="1951" y="76"/>
                    </a:lnTo>
                    <a:lnTo>
                      <a:pt x="1952" y="79"/>
                    </a:lnTo>
                    <a:lnTo>
                      <a:pt x="1951" y="82"/>
                    </a:lnTo>
                    <a:lnTo>
                      <a:pt x="1954" y="85"/>
                    </a:lnTo>
                    <a:lnTo>
                      <a:pt x="1954" y="85"/>
                    </a:lnTo>
                    <a:lnTo>
                      <a:pt x="1959" y="85"/>
                    </a:lnTo>
                    <a:lnTo>
                      <a:pt x="1962" y="84"/>
                    </a:lnTo>
                    <a:lnTo>
                      <a:pt x="1965" y="82"/>
                    </a:lnTo>
                    <a:lnTo>
                      <a:pt x="1968" y="80"/>
                    </a:lnTo>
                    <a:lnTo>
                      <a:pt x="1973" y="82"/>
                    </a:lnTo>
                    <a:lnTo>
                      <a:pt x="1976" y="79"/>
                    </a:lnTo>
                    <a:lnTo>
                      <a:pt x="1979" y="80"/>
                    </a:lnTo>
                    <a:lnTo>
                      <a:pt x="1982" y="84"/>
                    </a:lnTo>
                    <a:lnTo>
                      <a:pt x="1984" y="87"/>
                    </a:lnTo>
                    <a:lnTo>
                      <a:pt x="1987" y="90"/>
                    </a:lnTo>
                    <a:lnTo>
                      <a:pt x="1987" y="90"/>
                    </a:lnTo>
                    <a:lnTo>
                      <a:pt x="1986" y="95"/>
                    </a:lnTo>
                    <a:lnTo>
                      <a:pt x="1982" y="104"/>
                    </a:lnTo>
                    <a:lnTo>
                      <a:pt x="1978" y="115"/>
                    </a:lnTo>
                    <a:lnTo>
                      <a:pt x="1974" y="126"/>
                    </a:lnTo>
                    <a:lnTo>
                      <a:pt x="1970" y="138"/>
                    </a:lnTo>
                    <a:lnTo>
                      <a:pt x="1968" y="142"/>
                    </a:lnTo>
                    <a:lnTo>
                      <a:pt x="1967" y="145"/>
                    </a:lnTo>
                    <a:lnTo>
                      <a:pt x="1970" y="149"/>
                    </a:lnTo>
                    <a:lnTo>
                      <a:pt x="1976" y="150"/>
                    </a:lnTo>
                    <a:lnTo>
                      <a:pt x="1976" y="150"/>
                    </a:lnTo>
                    <a:lnTo>
                      <a:pt x="1973" y="153"/>
                    </a:lnTo>
                    <a:lnTo>
                      <a:pt x="1973" y="157"/>
                    </a:lnTo>
                    <a:lnTo>
                      <a:pt x="1971" y="161"/>
                    </a:lnTo>
                    <a:lnTo>
                      <a:pt x="1971" y="164"/>
                    </a:lnTo>
                    <a:lnTo>
                      <a:pt x="1973" y="168"/>
                    </a:lnTo>
                    <a:lnTo>
                      <a:pt x="1976" y="166"/>
                    </a:lnTo>
                    <a:lnTo>
                      <a:pt x="1978" y="166"/>
                    </a:lnTo>
                    <a:lnTo>
                      <a:pt x="1979" y="169"/>
                    </a:lnTo>
                    <a:lnTo>
                      <a:pt x="1979" y="171"/>
                    </a:lnTo>
                    <a:lnTo>
                      <a:pt x="1979" y="174"/>
                    </a:lnTo>
                    <a:lnTo>
                      <a:pt x="1976" y="176"/>
                    </a:lnTo>
                    <a:lnTo>
                      <a:pt x="1976" y="179"/>
                    </a:lnTo>
                    <a:lnTo>
                      <a:pt x="1979" y="177"/>
                    </a:lnTo>
                    <a:lnTo>
                      <a:pt x="1979" y="182"/>
                    </a:lnTo>
                    <a:lnTo>
                      <a:pt x="1974" y="184"/>
                    </a:lnTo>
                    <a:lnTo>
                      <a:pt x="1971" y="187"/>
                    </a:lnTo>
                    <a:lnTo>
                      <a:pt x="1968" y="187"/>
                    </a:lnTo>
                    <a:lnTo>
                      <a:pt x="1965" y="187"/>
                    </a:lnTo>
                    <a:lnTo>
                      <a:pt x="1960" y="188"/>
                    </a:lnTo>
                    <a:lnTo>
                      <a:pt x="1957" y="188"/>
                    </a:lnTo>
                    <a:lnTo>
                      <a:pt x="1954" y="191"/>
                    </a:lnTo>
                    <a:lnTo>
                      <a:pt x="1951" y="193"/>
                    </a:lnTo>
                    <a:lnTo>
                      <a:pt x="1951" y="193"/>
                    </a:lnTo>
                    <a:lnTo>
                      <a:pt x="1951" y="190"/>
                    </a:lnTo>
                    <a:lnTo>
                      <a:pt x="1948" y="191"/>
                    </a:lnTo>
                    <a:lnTo>
                      <a:pt x="1944" y="195"/>
                    </a:lnTo>
                    <a:lnTo>
                      <a:pt x="1940" y="195"/>
                    </a:lnTo>
                    <a:lnTo>
                      <a:pt x="1940" y="198"/>
                    </a:lnTo>
                    <a:lnTo>
                      <a:pt x="1936" y="199"/>
                    </a:lnTo>
                    <a:lnTo>
                      <a:pt x="1936" y="193"/>
                    </a:lnTo>
                    <a:lnTo>
                      <a:pt x="1933" y="193"/>
                    </a:lnTo>
                    <a:lnTo>
                      <a:pt x="1930" y="195"/>
                    </a:lnTo>
                    <a:lnTo>
                      <a:pt x="1927" y="198"/>
                    </a:lnTo>
                    <a:lnTo>
                      <a:pt x="1925" y="193"/>
                    </a:lnTo>
                    <a:lnTo>
                      <a:pt x="1925" y="198"/>
                    </a:lnTo>
                    <a:lnTo>
                      <a:pt x="1922" y="196"/>
                    </a:lnTo>
                    <a:lnTo>
                      <a:pt x="1921" y="201"/>
                    </a:lnTo>
                    <a:lnTo>
                      <a:pt x="1921" y="204"/>
                    </a:lnTo>
                    <a:lnTo>
                      <a:pt x="1919" y="203"/>
                    </a:lnTo>
                    <a:lnTo>
                      <a:pt x="1916" y="201"/>
                    </a:lnTo>
                    <a:lnTo>
                      <a:pt x="1916" y="198"/>
                    </a:lnTo>
                    <a:lnTo>
                      <a:pt x="1916" y="195"/>
                    </a:lnTo>
                    <a:lnTo>
                      <a:pt x="1916" y="190"/>
                    </a:lnTo>
                    <a:lnTo>
                      <a:pt x="1916" y="193"/>
                    </a:lnTo>
                    <a:lnTo>
                      <a:pt x="1911" y="195"/>
                    </a:lnTo>
                    <a:lnTo>
                      <a:pt x="1908" y="198"/>
                    </a:lnTo>
                    <a:lnTo>
                      <a:pt x="1906" y="201"/>
                    </a:lnTo>
                    <a:lnTo>
                      <a:pt x="1903" y="204"/>
                    </a:lnTo>
                    <a:lnTo>
                      <a:pt x="1902" y="209"/>
                    </a:lnTo>
                    <a:lnTo>
                      <a:pt x="1898" y="212"/>
                    </a:lnTo>
                    <a:lnTo>
                      <a:pt x="1897" y="214"/>
                    </a:lnTo>
                    <a:lnTo>
                      <a:pt x="1895" y="214"/>
                    </a:lnTo>
                    <a:lnTo>
                      <a:pt x="1892" y="214"/>
                    </a:lnTo>
                    <a:lnTo>
                      <a:pt x="1889" y="214"/>
                    </a:lnTo>
                    <a:lnTo>
                      <a:pt x="1886" y="217"/>
                    </a:lnTo>
                    <a:lnTo>
                      <a:pt x="1882" y="220"/>
                    </a:lnTo>
                    <a:lnTo>
                      <a:pt x="1881" y="218"/>
                    </a:lnTo>
                    <a:lnTo>
                      <a:pt x="1881" y="215"/>
                    </a:lnTo>
                    <a:lnTo>
                      <a:pt x="1878" y="218"/>
                    </a:lnTo>
                    <a:lnTo>
                      <a:pt x="1879" y="215"/>
                    </a:lnTo>
                    <a:lnTo>
                      <a:pt x="1879" y="214"/>
                    </a:lnTo>
                    <a:lnTo>
                      <a:pt x="1878" y="215"/>
                    </a:lnTo>
                    <a:lnTo>
                      <a:pt x="1875" y="218"/>
                    </a:lnTo>
                    <a:lnTo>
                      <a:pt x="1873" y="222"/>
                    </a:lnTo>
                    <a:lnTo>
                      <a:pt x="1875" y="218"/>
                    </a:lnTo>
                    <a:lnTo>
                      <a:pt x="1875" y="214"/>
                    </a:lnTo>
                    <a:lnTo>
                      <a:pt x="1878" y="210"/>
                    </a:lnTo>
                    <a:lnTo>
                      <a:pt x="1875" y="212"/>
                    </a:lnTo>
                    <a:lnTo>
                      <a:pt x="1873" y="215"/>
                    </a:lnTo>
                    <a:lnTo>
                      <a:pt x="1875" y="215"/>
                    </a:lnTo>
                    <a:lnTo>
                      <a:pt x="1873" y="218"/>
                    </a:lnTo>
                    <a:lnTo>
                      <a:pt x="1873" y="222"/>
                    </a:lnTo>
                    <a:lnTo>
                      <a:pt x="1870" y="225"/>
                    </a:lnTo>
                    <a:lnTo>
                      <a:pt x="1870" y="225"/>
                    </a:lnTo>
                    <a:lnTo>
                      <a:pt x="1868" y="222"/>
                    </a:lnTo>
                    <a:lnTo>
                      <a:pt x="1865" y="223"/>
                    </a:lnTo>
                    <a:lnTo>
                      <a:pt x="1868" y="220"/>
                    </a:lnTo>
                    <a:lnTo>
                      <a:pt x="1865" y="223"/>
                    </a:lnTo>
                    <a:lnTo>
                      <a:pt x="1865" y="223"/>
                    </a:lnTo>
                    <a:lnTo>
                      <a:pt x="1865" y="220"/>
                    </a:lnTo>
                    <a:lnTo>
                      <a:pt x="1867" y="220"/>
                    </a:lnTo>
                    <a:lnTo>
                      <a:pt x="1867" y="218"/>
                    </a:lnTo>
                    <a:lnTo>
                      <a:pt x="1865" y="220"/>
                    </a:lnTo>
                    <a:lnTo>
                      <a:pt x="1860" y="222"/>
                    </a:lnTo>
                    <a:lnTo>
                      <a:pt x="1857" y="225"/>
                    </a:lnTo>
                    <a:lnTo>
                      <a:pt x="1854" y="228"/>
                    </a:lnTo>
                    <a:lnTo>
                      <a:pt x="1854" y="231"/>
                    </a:lnTo>
                    <a:lnTo>
                      <a:pt x="1851" y="233"/>
                    </a:lnTo>
                    <a:lnTo>
                      <a:pt x="1849" y="236"/>
                    </a:lnTo>
                    <a:lnTo>
                      <a:pt x="1846" y="237"/>
                    </a:lnTo>
                    <a:lnTo>
                      <a:pt x="1843" y="239"/>
                    </a:lnTo>
                    <a:lnTo>
                      <a:pt x="1838" y="242"/>
                    </a:lnTo>
                    <a:lnTo>
                      <a:pt x="1836" y="245"/>
                    </a:lnTo>
                    <a:lnTo>
                      <a:pt x="1833" y="250"/>
                    </a:lnTo>
                    <a:lnTo>
                      <a:pt x="1830" y="252"/>
                    </a:lnTo>
                    <a:lnTo>
                      <a:pt x="1830" y="252"/>
                    </a:lnTo>
                    <a:lnTo>
                      <a:pt x="1824" y="260"/>
                    </a:lnTo>
                    <a:lnTo>
                      <a:pt x="1822" y="261"/>
                    </a:lnTo>
                    <a:lnTo>
                      <a:pt x="1824" y="263"/>
                    </a:lnTo>
                    <a:lnTo>
                      <a:pt x="1824" y="266"/>
                    </a:lnTo>
                    <a:lnTo>
                      <a:pt x="1825" y="269"/>
                    </a:lnTo>
                    <a:lnTo>
                      <a:pt x="1817" y="274"/>
                    </a:lnTo>
                    <a:lnTo>
                      <a:pt x="1810" y="282"/>
                    </a:lnTo>
                    <a:lnTo>
                      <a:pt x="1811" y="285"/>
                    </a:lnTo>
                    <a:lnTo>
                      <a:pt x="1814" y="283"/>
                    </a:lnTo>
                    <a:lnTo>
                      <a:pt x="1817" y="287"/>
                    </a:lnTo>
                    <a:lnTo>
                      <a:pt x="1817" y="290"/>
                    </a:lnTo>
                    <a:lnTo>
                      <a:pt x="1817" y="293"/>
                    </a:lnTo>
                    <a:lnTo>
                      <a:pt x="1817" y="296"/>
                    </a:lnTo>
                    <a:lnTo>
                      <a:pt x="1819" y="299"/>
                    </a:lnTo>
                    <a:lnTo>
                      <a:pt x="1819" y="304"/>
                    </a:lnTo>
                    <a:lnTo>
                      <a:pt x="1822" y="306"/>
                    </a:lnTo>
                    <a:lnTo>
                      <a:pt x="1825" y="307"/>
                    </a:lnTo>
                    <a:lnTo>
                      <a:pt x="1829" y="304"/>
                    </a:lnTo>
                    <a:lnTo>
                      <a:pt x="1832" y="304"/>
                    </a:lnTo>
                    <a:lnTo>
                      <a:pt x="1836" y="302"/>
                    </a:lnTo>
                    <a:lnTo>
                      <a:pt x="1836" y="301"/>
                    </a:lnTo>
                    <a:lnTo>
                      <a:pt x="1836" y="299"/>
                    </a:lnTo>
                    <a:lnTo>
                      <a:pt x="1838" y="298"/>
                    </a:lnTo>
                    <a:lnTo>
                      <a:pt x="1835" y="298"/>
                    </a:lnTo>
                    <a:lnTo>
                      <a:pt x="1836" y="295"/>
                    </a:lnTo>
                    <a:lnTo>
                      <a:pt x="1833" y="291"/>
                    </a:lnTo>
                    <a:lnTo>
                      <a:pt x="1836" y="291"/>
                    </a:lnTo>
                    <a:lnTo>
                      <a:pt x="1838" y="295"/>
                    </a:lnTo>
                    <a:lnTo>
                      <a:pt x="1838" y="298"/>
                    </a:lnTo>
                    <a:lnTo>
                      <a:pt x="1836" y="302"/>
                    </a:lnTo>
                    <a:lnTo>
                      <a:pt x="1836" y="306"/>
                    </a:lnTo>
                    <a:lnTo>
                      <a:pt x="1833" y="309"/>
                    </a:lnTo>
                    <a:lnTo>
                      <a:pt x="1832" y="309"/>
                    </a:lnTo>
                    <a:lnTo>
                      <a:pt x="1829" y="309"/>
                    </a:lnTo>
                    <a:lnTo>
                      <a:pt x="1825" y="309"/>
                    </a:lnTo>
                    <a:lnTo>
                      <a:pt x="1821" y="309"/>
                    </a:lnTo>
                    <a:lnTo>
                      <a:pt x="1817" y="312"/>
                    </a:lnTo>
                    <a:lnTo>
                      <a:pt x="1814" y="312"/>
                    </a:lnTo>
                    <a:lnTo>
                      <a:pt x="1811" y="312"/>
                    </a:lnTo>
                    <a:lnTo>
                      <a:pt x="1813" y="309"/>
                    </a:lnTo>
                    <a:lnTo>
                      <a:pt x="1814" y="306"/>
                    </a:lnTo>
                    <a:lnTo>
                      <a:pt x="1810" y="307"/>
                    </a:lnTo>
                    <a:lnTo>
                      <a:pt x="1806" y="309"/>
                    </a:lnTo>
                    <a:lnTo>
                      <a:pt x="1803" y="309"/>
                    </a:lnTo>
                    <a:lnTo>
                      <a:pt x="1802" y="314"/>
                    </a:lnTo>
                    <a:lnTo>
                      <a:pt x="1797" y="315"/>
                    </a:lnTo>
                    <a:lnTo>
                      <a:pt x="1794" y="315"/>
                    </a:lnTo>
                    <a:lnTo>
                      <a:pt x="1792" y="315"/>
                    </a:lnTo>
                    <a:lnTo>
                      <a:pt x="1792" y="312"/>
                    </a:lnTo>
                    <a:lnTo>
                      <a:pt x="1794" y="307"/>
                    </a:lnTo>
                    <a:lnTo>
                      <a:pt x="1797" y="304"/>
                    </a:lnTo>
                    <a:lnTo>
                      <a:pt x="1790" y="309"/>
                    </a:lnTo>
                    <a:lnTo>
                      <a:pt x="1789" y="304"/>
                    </a:lnTo>
                    <a:lnTo>
                      <a:pt x="1787" y="309"/>
                    </a:lnTo>
                    <a:lnTo>
                      <a:pt x="1786" y="312"/>
                    </a:lnTo>
                    <a:lnTo>
                      <a:pt x="1784" y="315"/>
                    </a:lnTo>
                    <a:lnTo>
                      <a:pt x="1781" y="318"/>
                    </a:lnTo>
                    <a:lnTo>
                      <a:pt x="1778" y="320"/>
                    </a:lnTo>
                    <a:lnTo>
                      <a:pt x="1775" y="321"/>
                    </a:lnTo>
                    <a:lnTo>
                      <a:pt x="1768" y="321"/>
                    </a:lnTo>
                    <a:lnTo>
                      <a:pt x="1765" y="321"/>
                    </a:lnTo>
                    <a:lnTo>
                      <a:pt x="1762" y="321"/>
                    </a:lnTo>
                    <a:lnTo>
                      <a:pt x="1754" y="323"/>
                    </a:lnTo>
                    <a:lnTo>
                      <a:pt x="1751" y="323"/>
                    </a:lnTo>
                    <a:lnTo>
                      <a:pt x="1751" y="320"/>
                    </a:lnTo>
                    <a:lnTo>
                      <a:pt x="1751" y="323"/>
                    </a:lnTo>
                    <a:lnTo>
                      <a:pt x="1749" y="325"/>
                    </a:lnTo>
                    <a:lnTo>
                      <a:pt x="1746" y="325"/>
                    </a:lnTo>
                    <a:lnTo>
                      <a:pt x="1743" y="323"/>
                    </a:lnTo>
                    <a:lnTo>
                      <a:pt x="1740" y="325"/>
                    </a:lnTo>
                    <a:lnTo>
                      <a:pt x="1735" y="325"/>
                    </a:lnTo>
                    <a:lnTo>
                      <a:pt x="1732" y="323"/>
                    </a:lnTo>
                    <a:lnTo>
                      <a:pt x="1722" y="328"/>
                    </a:lnTo>
                    <a:lnTo>
                      <a:pt x="1711" y="333"/>
                    </a:lnTo>
                    <a:lnTo>
                      <a:pt x="1706" y="334"/>
                    </a:lnTo>
                    <a:lnTo>
                      <a:pt x="1703" y="336"/>
                    </a:lnTo>
                    <a:lnTo>
                      <a:pt x="1702" y="337"/>
                    </a:lnTo>
                    <a:lnTo>
                      <a:pt x="1699" y="339"/>
                    </a:lnTo>
                    <a:lnTo>
                      <a:pt x="1695" y="342"/>
                    </a:lnTo>
                    <a:lnTo>
                      <a:pt x="1692" y="342"/>
                    </a:lnTo>
                    <a:lnTo>
                      <a:pt x="1689" y="345"/>
                    </a:lnTo>
                    <a:lnTo>
                      <a:pt x="1692" y="339"/>
                    </a:lnTo>
                    <a:lnTo>
                      <a:pt x="1695" y="334"/>
                    </a:lnTo>
                    <a:lnTo>
                      <a:pt x="1699" y="329"/>
                    </a:lnTo>
                    <a:lnTo>
                      <a:pt x="1697" y="323"/>
                    </a:lnTo>
                    <a:lnTo>
                      <a:pt x="1697" y="325"/>
                    </a:lnTo>
                    <a:lnTo>
                      <a:pt x="1697" y="328"/>
                    </a:lnTo>
                    <a:lnTo>
                      <a:pt x="1695" y="333"/>
                    </a:lnTo>
                    <a:lnTo>
                      <a:pt x="1695" y="336"/>
                    </a:lnTo>
                    <a:lnTo>
                      <a:pt x="1694" y="337"/>
                    </a:lnTo>
                    <a:lnTo>
                      <a:pt x="1691" y="341"/>
                    </a:lnTo>
                    <a:lnTo>
                      <a:pt x="1687" y="345"/>
                    </a:lnTo>
                    <a:lnTo>
                      <a:pt x="1687" y="347"/>
                    </a:lnTo>
                    <a:lnTo>
                      <a:pt x="1684" y="348"/>
                    </a:lnTo>
                    <a:lnTo>
                      <a:pt x="1683" y="347"/>
                    </a:lnTo>
                    <a:lnTo>
                      <a:pt x="1683" y="348"/>
                    </a:lnTo>
                    <a:lnTo>
                      <a:pt x="1679" y="352"/>
                    </a:lnTo>
                    <a:lnTo>
                      <a:pt x="1676" y="355"/>
                    </a:lnTo>
                    <a:lnTo>
                      <a:pt x="1678" y="358"/>
                    </a:lnTo>
                    <a:lnTo>
                      <a:pt x="1681" y="358"/>
                    </a:lnTo>
                    <a:lnTo>
                      <a:pt x="1684" y="358"/>
                    </a:lnTo>
                    <a:lnTo>
                      <a:pt x="1679" y="371"/>
                    </a:lnTo>
                    <a:lnTo>
                      <a:pt x="1673" y="383"/>
                    </a:lnTo>
                    <a:lnTo>
                      <a:pt x="1676" y="375"/>
                    </a:lnTo>
                    <a:lnTo>
                      <a:pt x="1673" y="375"/>
                    </a:lnTo>
                    <a:lnTo>
                      <a:pt x="1673" y="379"/>
                    </a:lnTo>
                    <a:lnTo>
                      <a:pt x="1670" y="383"/>
                    </a:lnTo>
                    <a:lnTo>
                      <a:pt x="1668" y="387"/>
                    </a:lnTo>
                    <a:lnTo>
                      <a:pt x="1665" y="390"/>
                    </a:lnTo>
                    <a:lnTo>
                      <a:pt x="1662" y="391"/>
                    </a:lnTo>
                    <a:lnTo>
                      <a:pt x="1662" y="393"/>
                    </a:lnTo>
                    <a:lnTo>
                      <a:pt x="1660" y="396"/>
                    </a:lnTo>
                    <a:lnTo>
                      <a:pt x="1657" y="396"/>
                    </a:lnTo>
                    <a:lnTo>
                      <a:pt x="1654" y="399"/>
                    </a:lnTo>
                    <a:lnTo>
                      <a:pt x="1653" y="402"/>
                    </a:lnTo>
                    <a:lnTo>
                      <a:pt x="1649" y="404"/>
                    </a:lnTo>
                    <a:lnTo>
                      <a:pt x="1643" y="410"/>
                    </a:lnTo>
                    <a:lnTo>
                      <a:pt x="1640" y="415"/>
                    </a:lnTo>
                    <a:lnTo>
                      <a:pt x="1637" y="417"/>
                    </a:lnTo>
                    <a:lnTo>
                      <a:pt x="1633" y="418"/>
                    </a:lnTo>
                    <a:lnTo>
                      <a:pt x="1630" y="420"/>
                    </a:lnTo>
                    <a:lnTo>
                      <a:pt x="1632" y="415"/>
                    </a:lnTo>
                    <a:lnTo>
                      <a:pt x="1635" y="412"/>
                    </a:lnTo>
                    <a:lnTo>
                      <a:pt x="1633" y="409"/>
                    </a:lnTo>
                    <a:lnTo>
                      <a:pt x="1630" y="409"/>
                    </a:lnTo>
                    <a:lnTo>
                      <a:pt x="1627" y="406"/>
                    </a:lnTo>
                    <a:lnTo>
                      <a:pt x="1622" y="402"/>
                    </a:lnTo>
                    <a:lnTo>
                      <a:pt x="1619" y="396"/>
                    </a:lnTo>
                    <a:lnTo>
                      <a:pt x="1621" y="394"/>
                    </a:lnTo>
                    <a:lnTo>
                      <a:pt x="1621" y="391"/>
                    </a:lnTo>
                    <a:lnTo>
                      <a:pt x="1624" y="388"/>
                    </a:lnTo>
                    <a:lnTo>
                      <a:pt x="1627" y="383"/>
                    </a:lnTo>
                    <a:lnTo>
                      <a:pt x="1629" y="383"/>
                    </a:lnTo>
                    <a:lnTo>
                      <a:pt x="1632" y="382"/>
                    </a:lnTo>
                    <a:lnTo>
                      <a:pt x="1637" y="382"/>
                    </a:lnTo>
                    <a:lnTo>
                      <a:pt x="1637" y="380"/>
                    </a:lnTo>
                    <a:lnTo>
                      <a:pt x="1635" y="382"/>
                    </a:lnTo>
                    <a:lnTo>
                      <a:pt x="1630" y="382"/>
                    </a:lnTo>
                    <a:lnTo>
                      <a:pt x="1627" y="383"/>
                    </a:lnTo>
                    <a:lnTo>
                      <a:pt x="1624" y="387"/>
                    </a:lnTo>
                    <a:lnTo>
                      <a:pt x="1621" y="390"/>
                    </a:lnTo>
                    <a:lnTo>
                      <a:pt x="1619" y="393"/>
                    </a:lnTo>
                    <a:lnTo>
                      <a:pt x="1618" y="396"/>
                    </a:lnTo>
                    <a:lnTo>
                      <a:pt x="1618" y="399"/>
                    </a:lnTo>
                    <a:lnTo>
                      <a:pt x="1619" y="404"/>
                    </a:lnTo>
                    <a:lnTo>
                      <a:pt x="1621" y="407"/>
                    </a:lnTo>
                    <a:lnTo>
                      <a:pt x="1619" y="410"/>
                    </a:lnTo>
                    <a:lnTo>
                      <a:pt x="1618" y="413"/>
                    </a:lnTo>
                    <a:lnTo>
                      <a:pt x="1619" y="417"/>
                    </a:lnTo>
                    <a:lnTo>
                      <a:pt x="1619" y="421"/>
                    </a:lnTo>
                    <a:lnTo>
                      <a:pt x="1622" y="425"/>
                    </a:lnTo>
                    <a:lnTo>
                      <a:pt x="1624" y="428"/>
                    </a:lnTo>
                    <a:lnTo>
                      <a:pt x="1621" y="431"/>
                    </a:lnTo>
                    <a:lnTo>
                      <a:pt x="1622" y="431"/>
                    </a:lnTo>
                    <a:lnTo>
                      <a:pt x="1619" y="434"/>
                    </a:lnTo>
                    <a:lnTo>
                      <a:pt x="1622" y="436"/>
                    </a:lnTo>
                    <a:lnTo>
                      <a:pt x="1621" y="439"/>
                    </a:lnTo>
                    <a:lnTo>
                      <a:pt x="1619" y="442"/>
                    </a:lnTo>
                    <a:lnTo>
                      <a:pt x="1621" y="439"/>
                    </a:lnTo>
                    <a:lnTo>
                      <a:pt x="1619" y="439"/>
                    </a:lnTo>
                    <a:lnTo>
                      <a:pt x="1618" y="440"/>
                    </a:lnTo>
                    <a:lnTo>
                      <a:pt x="1618" y="445"/>
                    </a:lnTo>
                    <a:lnTo>
                      <a:pt x="1614" y="447"/>
                    </a:lnTo>
                    <a:lnTo>
                      <a:pt x="1607" y="455"/>
                    </a:lnTo>
                    <a:lnTo>
                      <a:pt x="1600" y="463"/>
                    </a:lnTo>
                    <a:lnTo>
                      <a:pt x="1597" y="466"/>
                    </a:lnTo>
                    <a:lnTo>
                      <a:pt x="1594" y="471"/>
                    </a:lnTo>
                    <a:lnTo>
                      <a:pt x="1591" y="474"/>
                    </a:lnTo>
                    <a:lnTo>
                      <a:pt x="1589" y="477"/>
                    </a:lnTo>
                    <a:lnTo>
                      <a:pt x="1586" y="478"/>
                    </a:lnTo>
                    <a:lnTo>
                      <a:pt x="1583" y="480"/>
                    </a:lnTo>
                    <a:lnTo>
                      <a:pt x="1580" y="485"/>
                    </a:lnTo>
                    <a:lnTo>
                      <a:pt x="1578" y="488"/>
                    </a:lnTo>
                    <a:lnTo>
                      <a:pt x="1576" y="491"/>
                    </a:lnTo>
                    <a:lnTo>
                      <a:pt x="1573" y="491"/>
                    </a:lnTo>
                    <a:lnTo>
                      <a:pt x="1573" y="488"/>
                    </a:lnTo>
                    <a:lnTo>
                      <a:pt x="1573" y="485"/>
                    </a:lnTo>
                    <a:lnTo>
                      <a:pt x="1576" y="482"/>
                    </a:lnTo>
                    <a:lnTo>
                      <a:pt x="1578" y="478"/>
                    </a:lnTo>
                    <a:lnTo>
                      <a:pt x="1580" y="475"/>
                    </a:lnTo>
                    <a:lnTo>
                      <a:pt x="1583" y="471"/>
                    </a:lnTo>
                    <a:lnTo>
                      <a:pt x="1586" y="469"/>
                    </a:lnTo>
                    <a:lnTo>
                      <a:pt x="1587" y="466"/>
                    </a:lnTo>
                    <a:lnTo>
                      <a:pt x="1591" y="464"/>
                    </a:lnTo>
                    <a:lnTo>
                      <a:pt x="1591" y="461"/>
                    </a:lnTo>
                    <a:lnTo>
                      <a:pt x="1594" y="459"/>
                    </a:lnTo>
                    <a:lnTo>
                      <a:pt x="1594" y="458"/>
                    </a:lnTo>
                    <a:lnTo>
                      <a:pt x="1591" y="458"/>
                    </a:lnTo>
                    <a:lnTo>
                      <a:pt x="1586" y="459"/>
                    </a:lnTo>
                    <a:lnTo>
                      <a:pt x="1589" y="456"/>
                    </a:lnTo>
                    <a:lnTo>
                      <a:pt x="1592" y="455"/>
                    </a:lnTo>
                    <a:lnTo>
                      <a:pt x="1591" y="452"/>
                    </a:lnTo>
                    <a:lnTo>
                      <a:pt x="1587" y="450"/>
                    </a:lnTo>
                    <a:lnTo>
                      <a:pt x="1591" y="447"/>
                    </a:lnTo>
                    <a:lnTo>
                      <a:pt x="1591" y="444"/>
                    </a:lnTo>
                    <a:lnTo>
                      <a:pt x="1587" y="445"/>
                    </a:lnTo>
                    <a:lnTo>
                      <a:pt x="1586" y="444"/>
                    </a:lnTo>
                    <a:lnTo>
                      <a:pt x="1584" y="448"/>
                    </a:lnTo>
                    <a:lnTo>
                      <a:pt x="1583" y="444"/>
                    </a:lnTo>
                    <a:lnTo>
                      <a:pt x="1580" y="442"/>
                    </a:lnTo>
                    <a:lnTo>
                      <a:pt x="1581" y="439"/>
                    </a:lnTo>
                    <a:lnTo>
                      <a:pt x="1584" y="436"/>
                    </a:lnTo>
                    <a:lnTo>
                      <a:pt x="1583" y="432"/>
                    </a:lnTo>
                    <a:lnTo>
                      <a:pt x="1586" y="432"/>
                    </a:lnTo>
                    <a:lnTo>
                      <a:pt x="1589" y="434"/>
                    </a:lnTo>
                    <a:lnTo>
                      <a:pt x="1591" y="432"/>
                    </a:lnTo>
                    <a:lnTo>
                      <a:pt x="1586" y="429"/>
                    </a:lnTo>
                    <a:lnTo>
                      <a:pt x="1586" y="426"/>
                    </a:lnTo>
                    <a:lnTo>
                      <a:pt x="1581" y="428"/>
                    </a:lnTo>
                    <a:lnTo>
                      <a:pt x="1584" y="423"/>
                    </a:lnTo>
                    <a:lnTo>
                      <a:pt x="1587" y="425"/>
                    </a:lnTo>
                    <a:lnTo>
                      <a:pt x="1591" y="421"/>
                    </a:lnTo>
                    <a:lnTo>
                      <a:pt x="1587" y="418"/>
                    </a:lnTo>
                    <a:lnTo>
                      <a:pt x="1586" y="420"/>
                    </a:lnTo>
                    <a:lnTo>
                      <a:pt x="1583" y="421"/>
                    </a:lnTo>
                    <a:lnTo>
                      <a:pt x="1586" y="417"/>
                    </a:lnTo>
                    <a:lnTo>
                      <a:pt x="1589" y="417"/>
                    </a:lnTo>
                    <a:lnTo>
                      <a:pt x="1592" y="415"/>
                    </a:lnTo>
                    <a:lnTo>
                      <a:pt x="1592" y="415"/>
                    </a:lnTo>
                    <a:lnTo>
                      <a:pt x="1594" y="410"/>
                    </a:lnTo>
                    <a:lnTo>
                      <a:pt x="1591" y="413"/>
                    </a:lnTo>
                    <a:lnTo>
                      <a:pt x="1591" y="410"/>
                    </a:lnTo>
                    <a:lnTo>
                      <a:pt x="1594" y="407"/>
                    </a:lnTo>
                    <a:lnTo>
                      <a:pt x="1597" y="402"/>
                    </a:lnTo>
                    <a:lnTo>
                      <a:pt x="1600" y="401"/>
                    </a:lnTo>
                    <a:lnTo>
                      <a:pt x="1603" y="401"/>
                    </a:lnTo>
                    <a:lnTo>
                      <a:pt x="1608" y="401"/>
                    </a:lnTo>
                    <a:lnTo>
                      <a:pt x="1603" y="398"/>
                    </a:lnTo>
                    <a:lnTo>
                      <a:pt x="1608" y="396"/>
                    </a:lnTo>
                    <a:lnTo>
                      <a:pt x="1610" y="393"/>
                    </a:lnTo>
                    <a:lnTo>
                      <a:pt x="1607" y="394"/>
                    </a:lnTo>
                    <a:lnTo>
                      <a:pt x="1603" y="398"/>
                    </a:lnTo>
                    <a:lnTo>
                      <a:pt x="1607" y="393"/>
                    </a:lnTo>
                    <a:lnTo>
                      <a:pt x="1605" y="393"/>
                    </a:lnTo>
                    <a:lnTo>
                      <a:pt x="1602" y="393"/>
                    </a:lnTo>
                    <a:lnTo>
                      <a:pt x="1600" y="396"/>
                    </a:lnTo>
                    <a:lnTo>
                      <a:pt x="1599" y="401"/>
                    </a:lnTo>
                    <a:lnTo>
                      <a:pt x="1594" y="401"/>
                    </a:lnTo>
                    <a:lnTo>
                      <a:pt x="1595" y="398"/>
                    </a:lnTo>
                    <a:lnTo>
                      <a:pt x="1594" y="399"/>
                    </a:lnTo>
                    <a:lnTo>
                      <a:pt x="1594" y="401"/>
                    </a:lnTo>
                    <a:lnTo>
                      <a:pt x="1592" y="404"/>
                    </a:lnTo>
                    <a:lnTo>
                      <a:pt x="1591" y="401"/>
                    </a:lnTo>
                    <a:lnTo>
                      <a:pt x="1589" y="401"/>
                    </a:lnTo>
                    <a:lnTo>
                      <a:pt x="1589" y="404"/>
                    </a:lnTo>
                    <a:lnTo>
                      <a:pt x="1584" y="404"/>
                    </a:lnTo>
                    <a:lnTo>
                      <a:pt x="1584" y="407"/>
                    </a:lnTo>
                    <a:lnTo>
                      <a:pt x="1581" y="406"/>
                    </a:lnTo>
                    <a:lnTo>
                      <a:pt x="1581" y="409"/>
                    </a:lnTo>
                    <a:lnTo>
                      <a:pt x="1584" y="412"/>
                    </a:lnTo>
                    <a:lnTo>
                      <a:pt x="1581" y="413"/>
                    </a:lnTo>
                    <a:lnTo>
                      <a:pt x="1583" y="417"/>
                    </a:lnTo>
                    <a:lnTo>
                      <a:pt x="1580" y="415"/>
                    </a:lnTo>
                    <a:lnTo>
                      <a:pt x="1578" y="418"/>
                    </a:lnTo>
                    <a:lnTo>
                      <a:pt x="1576" y="423"/>
                    </a:lnTo>
                    <a:lnTo>
                      <a:pt x="1575" y="426"/>
                    </a:lnTo>
                    <a:lnTo>
                      <a:pt x="1575" y="429"/>
                    </a:lnTo>
                    <a:lnTo>
                      <a:pt x="1573" y="432"/>
                    </a:lnTo>
                    <a:lnTo>
                      <a:pt x="1573" y="436"/>
                    </a:lnTo>
                    <a:lnTo>
                      <a:pt x="1575" y="440"/>
                    </a:lnTo>
                    <a:lnTo>
                      <a:pt x="1573" y="444"/>
                    </a:lnTo>
                    <a:lnTo>
                      <a:pt x="1570" y="440"/>
                    </a:lnTo>
                    <a:lnTo>
                      <a:pt x="1568" y="437"/>
                    </a:lnTo>
                    <a:lnTo>
                      <a:pt x="1568" y="434"/>
                    </a:lnTo>
                    <a:lnTo>
                      <a:pt x="1570" y="429"/>
                    </a:lnTo>
                    <a:lnTo>
                      <a:pt x="1572" y="444"/>
                    </a:lnTo>
                    <a:lnTo>
                      <a:pt x="1572" y="453"/>
                    </a:lnTo>
                    <a:lnTo>
                      <a:pt x="1570" y="450"/>
                    </a:lnTo>
                    <a:lnTo>
                      <a:pt x="1567" y="448"/>
                    </a:lnTo>
                    <a:lnTo>
                      <a:pt x="1564" y="447"/>
                    </a:lnTo>
                    <a:lnTo>
                      <a:pt x="1561" y="445"/>
                    </a:lnTo>
                    <a:lnTo>
                      <a:pt x="1561" y="442"/>
                    </a:lnTo>
                    <a:lnTo>
                      <a:pt x="1559" y="442"/>
                    </a:lnTo>
                    <a:lnTo>
                      <a:pt x="1559" y="445"/>
                    </a:lnTo>
                    <a:lnTo>
                      <a:pt x="1556" y="444"/>
                    </a:lnTo>
                    <a:lnTo>
                      <a:pt x="1554" y="439"/>
                    </a:lnTo>
                    <a:lnTo>
                      <a:pt x="1551" y="440"/>
                    </a:lnTo>
                    <a:lnTo>
                      <a:pt x="1548" y="439"/>
                    </a:lnTo>
                    <a:lnTo>
                      <a:pt x="1548" y="436"/>
                    </a:lnTo>
                    <a:lnTo>
                      <a:pt x="1553" y="432"/>
                    </a:lnTo>
                    <a:lnTo>
                      <a:pt x="1556" y="429"/>
                    </a:lnTo>
                    <a:lnTo>
                      <a:pt x="1559" y="428"/>
                    </a:lnTo>
                    <a:lnTo>
                      <a:pt x="1559" y="425"/>
                    </a:lnTo>
                    <a:lnTo>
                      <a:pt x="1561" y="421"/>
                    </a:lnTo>
                    <a:lnTo>
                      <a:pt x="1559" y="420"/>
                    </a:lnTo>
                    <a:lnTo>
                      <a:pt x="1559" y="423"/>
                    </a:lnTo>
                    <a:lnTo>
                      <a:pt x="1559" y="425"/>
                    </a:lnTo>
                    <a:lnTo>
                      <a:pt x="1557" y="428"/>
                    </a:lnTo>
                    <a:lnTo>
                      <a:pt x="1554" y="429"/>
                    </a:lnTo>
                    <a:lnTo>
                      <a:pt x="1554" y="431"/>
                    </a:lnTo>
                    <a:lnTo>
                      <a:pt x="1553" y="431"/>
                    </a:lnTo>
                    <a:lnTo>
                      <a:pt x="1553" y="431"/>
                    </a:lnTo>
                    <a:lnTo>
                      <a:pt x="1549" y="432"/>
                    </a:lnTo>
                    <a:lnTo>
                      <a:pt x="1548" y="436"/>
                    </a:lnTo>
                    <a:lnTo>
                      <a:pt x="1546" y="437"/>
                    </a:lnTo>
                    <a:lnTo>
                      <a:pt x="1545" y="440"/>
                    </a:lnTo>
                    <a:lnTo>
                      <a:pt x="1543" y="440"/>
                    </a:lnTo>
                    <a:lnTo>
                      <a:pt x="1546" y="444"/>
                    </a:lnTo>
                    <a:lnTo>
                      <a:pt x="1549" y="444"/>
                    </a:lnTo>
                    <a:lnTo>
                      <a:pt x="1553" y="444"/>
                    </a:lnTo>
                    <a:lnTo>
                      <a:pt x="1554" y="447"/>
                    </a:lnTo>
                    <a:lnTo>
                      <a:pt x="1556" y="450"/>
                    </a:lnTo>
                    <a:lnTo>
                      <a:pt x="1556" y="450"/>
                    </a:lnTo>
                    <a:lnTo>
                      <a:pt x="1559" y="450"/>
                    </a:lnTo>
                    <a:lnTo>
                      <a:pt x="1562" y="452"/>
                    </a:lnTo>
                    <a:lnTo>
                      <a:pt x="1565" y="452"/>
                    </a:lnTo>
                    <a:lnTo>
                      <a:pt x="1567" y="455"/>
                    </a:lnTo>
                    <a:lnTo>
                      <a:pt x="1568" y="456"/>
                    </a:lnTo>
                    <a:lnTo>
                      <a:pt x="1570" y="459"/>
                    </a:lnTo>
                    <a:lnTo>
                      <a:pt x="1573" y="461"/>
                    </a:lnTo>
                    <a:lnTo>
                      <a:pt x="1573" y="463"/>
                    </a:lnTo>
                    <a:lnTo>
                      <a:pt x="1570" y="466"/>
                    </a:lnTo>
                    <a:lnTo>
                      <a:pt x="1568" y="469"/>
                    </a:lnTo>
                    <a:lnTo>
                      <a:pt x="1565" y="472"/>
                    </a:lnTo>
                    <a:lnTo>
                      <a:pt x="1562" y="471"/>
                    </a:lnTo>
                    <a:lnTo>
                      <a:pt x="1561" y="466"/>
                    </a:lnTo>
                    <a:lnTo>
                      <a:pt x="1557" y="463"/>
                    </a:lnTo>
                    <a:lnTo>
                      <a:pt x="1556" y="459"/>
                    </a:lnTo>
                    <a:lnTo>
                      <a:pt x="1553" y="456"/>
                    </a:lnTo>
                    <a:lnTo>
                      <a:pt x="1553" y="455"/>
                    </a:lnTo>
                    <a:lnTo>
                      <a:pt x="1556" y="464"/>
                    </a:lnTo>
                    <a:lnTo>
                      <a:pt x="1561" y="472"/>
                    </a:lnTo>
                    <a:lnTo>
                      <a:pt x="1564" y="472"/>
                    </a:lnTo>
                    <a:lnTo>
                      <a:pt x="1564" y="477"/>
                    </a:lnTo>
                    <a:lnTo>
                      <a:pt x="1568" y="477"/>
                    </a:lnTo>
                    <a:lnTo>
                      <a:pt x="1567" y="480"/>
                    </a:lnTo>
                    <a:lnTo>
                      <a:pt x="1567" y="482"/>
                    </a:lnTo>
                    <a:lnTo>
                      <a:pt x="1564" y="483"/>
                    </a:lnTo>
                    <a:lnTo>
                      <a:pt x="1561" y="482"/>
                    </a:lnTo>
                    <a:lnTo>
                      <a:pt x="1562" y="486"/>
                    </a:lnTo>
                    <a:lnTo>
                      <a:pt x="1557" y="486"/>
                    </a:lnTo>
                    <a:lnTo>
                      <a:pt x="1554" y="485"/>
                    </a:lnTo>
                    <a:lnTo>
                      <a:pt x="1554" y="482"/>
                    </a:lnTo>
                    <a:lnTo>
                      <a:pt x="1551" y="478"/>
                    </a:lnTo>
                    <a:lnTo>
                      <a:pt x="1553" y="482"/>
                    </a:lnTo>
                    <a:lnTo>
                      <a:pt x="1554" y="486"/>
                    </a:lnTo>
                    <a:lnTo>
                      <a:pt x="1557" y="490"/>
                    </a:lnTo>
                    <a:lnTo>
                      <a:pt x="1561" y="491"/>
                    </a:lnTo>
                    <a:lnTo>
                      <a:pt x="1562" y="494"/>
                    </a:lnTo>
                    <a:lnTo>
                      <a:pt x="1559" y="498"/>
                    </a:lnTo>
                    <a:lnTo>
                      <a:pt x="1556" y="499"/>
                    </a:lnTo>
                    <a:lnTo>
                      <a:pt x="1554" y="496"/>
                    </a:lnTo>
                    <a:lnTo>
                      <a:pt x="1551" y="493"/>
                    </a:lnTo>
                    <a:lnTo>
                      <a:pt x="1551" y="490"/>
                    </a:lnTo>
                    <a:lnTo>
                      <a:pt x="1541" y="486"/>
                    </a:lnTo>
                    <a:lnTo>
                      <a:pt x="1532" y="485"/>
                    </a:lnTo>
                    <a:lnTo>
                      <a:pt x="1534" y="486"/>
                    </a:lnTo>
                    <a:lnTo>
                      <a:pt x="1537" y="486"/>
                    </a:lnTo>
                    <a:lnTo>
                      <a:pt x="1540" y="486"/>
                    </a:lnTo>
                    <a:lnTo>
                      <a:pt x="1543" y="490"/>
                    </a:lnTo>
                    <a:lnTo>
                      <a:pt x="1546" y="491"/>
                    </a:lnTo>
                    <a:lnTo>
                      <a:pt x="1549" y="493"/>
                    </a:lnTo>
                    <a:lnTo>
                      <a:pt x="1551" y="496"/>
                    </a:lnTo>
                    <a:lnTo>
                      <a:pt x="1553" y="501"/>
                    </a:lnTo>
                    <a:lnTo>
                      <a:pt x="1551" y="504"/>
                    </a:lnTo>
                    <a:lnTo>
                      <a:pt x="1554" y="502"/>
                    </a:lnTo>
                    <a:lnTo>
                      <a:pt x="1557" y="504"/>
                    </a:lnTo>
                    <a:lnTo>
                      <a:pt x="1557" y="502"/>
                    </a:lnTo>
                    <a:lnTo>
                      <a:pt x="1559" y="501"/>
                    </a:lnTo>
                    <a:lnTo>
                      <a:pt x="1568" y="502"/>
                    </a:lnTo>
                    <a:lnTo>
                      <a:pt x="1570" y="512"/>
                    </a:lnTo>
                    <a:lnTo>
                      <a:pt x="1568" y="520"/>
                    </a:lnTo>
                    <a:lnTo>
                      <a:pt x="1568" y="523"/>
                    </a:lnTo>
                    <a:lnTo>
                      <a:pt x="1568" y="528"/>
                    </a:lnTo>
                    <a:lnTo>
                      <a:pt x="1568" y="531"/>
                    </a:lnTo>
                    <a:lnTo>
                      <a:pt x="1568" y="534"/>
                    </a:lnTo>
                    <a:lnTo>
                      <a:pt x="1570" y="537"/>
                    </a:lnTo>
                    <a:lnTo>
                      <a:pt x="1570" y="540"/>
                    </a:lnTo>
                    <a:lnTo>
                      <a:pt x="1570" y="545"/>
                    </a:lnTo>
                    <a:lnTo>
                      <a:pt x="1568" y="540"/>
                    </a:lnTo>
                    <a:lnTo>
                      <a:pt x="1568" y="537"/>
                    </a:lnTo>
                    <a:lnTo>
                      <a:pt x="1568" y="534"/>
                    </a:lnTo>
                    <a:lnTo>
                      <a:pt x="1568" y="531"/>
                    </a:lnTo>
                    <a:lnTo>
                      <a:pt x="1567" y="528"/>
                    </a:lnTo>
                    <a:lnTo>
                      <a:pt x="1568" y="523"/>
                    </a:lnTo>
                    <a:lnTo>
                      <a:pt x="1568" y="520"/>
                    </a:lnTo>
                    <a:lnTo>
                      <a:pt x="1568" y="517"/>
                    </a:lnTo>
                    <a:lnTo>
                      <a:pt x="1567" y="513"/>
                    </a:lnTo>
                    <a:lnTo>
                      <a:pt x="1565" y="517"/>
                    </a:lnTo>
                    <a:lnTo>
                      <a:pt x="1564" y="517"/>
                    </a:lnTo>
                    <a:lnTo>
                      <a:pt x="1564" y="515"/>
                    </a:lnTo>
                    <a:lnTo>
                      <a:pt x="1564" y="517"/>
                    </a:lnTo>
                    <a:lnTo>
                      <a:pt x="1564" y="517"/>
                    </a:lnTo>
                    <a:lnTo>
                      <a:pt x="1564" y="521"/>
                    </a:lnTo>
                    <a:lnTo>
                      <a:pt x="1564" y="524"/>
                    </a:lnTo>
                    <a:lnTo>
                      <a:pt x="1565" y="528"/>
                    </a:lnTo>
                    <a:lnTo>
                      <a:pt x="1565" y="531"/>
                    </a:lnTo>
                    <a:lnTo>
                      <a:pt x="1564" y="536"/>
                    </a:lnTo>
                    <a:lnTo>
                      <a:pt x="1564" y="531"/>
                    </a:lnTo>
                    <a:lnTo>
                      <a:pt x="1562" y="528"/>
                    </a:lnTo>
                    <a:lnTo>
                      <a:pt x="1559" y="531"/>
                    </a:lnTo>
                    <a:lnTo>
                      <a:pt x="1556" y="529"/>
                    </a:lnTo>
                    <a:lnTo>
                      <a:pt x="1557" y="532"/>
                    </a:lnTo>
                    <a:lnTo>
                      <a:pt x="1554" y="534"/>
                    </a:lnTo>
                    <a:lnTo>
                      <a:pt x="1549" y="531"/>
                    </a:lnTo>
                    <a:lnTo>
                      <a:pt x="1551" y="536"/>
                    </a:lnTo>
                    <a:lnTo>
                      <a:pt x="1548" y="534"/>
                    </a:lnTo>
                    <a:lnTo>
                      <a:pt x="1545" y="532"/>
                    </a:lnTo>
                    <a:lnTo>
                      <a:pt x="1548" y="536"/>
                    </a:lnTo>
                    <a:lnTo>
                      <a:pt x="1545" y="536"/>
                    </a:lnTo>
                    <a:lnTo>
                      <a:pt x="1540" y="539"/>
                    </a:lnTo>
                    <a:lnTo>
                      <a:pt x="1537" y="537"/>
                    </a:lnTo>
                    <a:lnTo>
                      <a:pt x="1535" y="534"/>
                    </a:lnTo>
                    <a:lnTo>
                      <a:pt x="1535" y="531"/>
                    </a:lnTo>
                    <a:lnTo>
                      <a:pt x="1537" y="528"/>
                    </a:lnTo>
                    <a:lnTo>
                      <a:pt x="1534" y="531"/>
                    </a:lnTo>
                    <a:lnTo>
                      <a:pt x="1534" y="534"/>
                    </a:lnTo>
                    <a:lnTo>
                      <a:pt x="1534" y="537"/>
                    </a:lnTo>
                    <a:lnTo>
                      <a:pt x="1534" y="542"/>
                    </a:lnTo>
                    <a:lnTo>
                      <a:pt x="1535" y="542"/>
                    </a:lnTo>
                    <a:lnTo>
                      <a:pt x="1538" y="542"/>
                    </a:lnTo>
                    <a:lnTo>
                      <a:pt x="1541" y="540"/>
                    </a:lnTo>
                    <a:lnTo>
                      <a:pt x="1545" y="542"/>
                    </a:lnTo>
                    <a:lnTo>
                      <a:pt x="1549" y="540"/>
                    </a:lnTo>
                    <a:lnTo>
                      <a:pt x="1553" y="539"/>
                    </a:lnTo>
                    <a:lnTo>
                      <a:pt x="1556" y="542"/>
                    </a:lnTo>
                    <a:lnTo>
                      <a:pt x="1553" y="545"/>
                    </a:lnTo>
                    <a:lnTo>
                      <a:pt x="1553" y="550"/>
                    </a:lnTo>
                    <a:lnTo>
                      <a:pt x="1551" y="553"/>
                    </a:lnTo>
                    <a:lnTo>
                      <a:pt x="1554" y="551"/>
                    </a:lnTo>
                    <a:lnTo>
                      <a:pt x="1556" y="547"/>
                    </a:lnTo>
                    <a:lnTo>
                      <a:pt x="1556" y="543"/>
                    </a:lnTo>
                    <a:lnTo>
                      <a:pt x="1559" y="543"/>
                    </a:lnTo>
                    <a:lnTo>
                      <a:pt x="1564" y="542"/>
                    </a:lnTo>
                    <a:lnTo>
                      <a:pt x="1564" y="545"/>
                    </a:lnTo>
                    <a:lnTo>
                      <a:pt x="1564" y="548"/>
                    </a:lnTo>
                    <a:lnTo>
                      <a:pt x="1561" y="551"/>
                    </a:lnTo>
                    <a:lnTo>
                      <a:pt x="1561" y="555"/>
                    </a:lnTo>
                    <a:lnTo>
                      <a:pt x="1556" y="555"/>
                    </a:lnTo>
                    <a:lnTo>
                      <a:pt x="1554" y="558"/>
                    </a:lnTo>
                    <a:lnTo>
                      <a:pt x="1551" y="561"/>
                    </a:lnTo>
                    <a:lnTo>
                      <a:pt x="1548" y="564"/>
                    </a:lnTo>
                    <a:lnTo>
                      <a:pt x="1545" y="566"/>
                    </a:lnTo>
                    <a:lnTo>
                      <a:pt x="1541" y="566"/>
                    </a:lnTo>
                    <a:lnTo>
                      <a:pt x="1538" y="563"/>
                    </a:lnTo>
                    <a:lnTo>
                      <a:pt x="1535" y="563"/>
                    </a:lnTo>
                    <a:lnTo>
                      <a:pt x="1532" y="561"/>
                    </a:lnTo>
                    <a:lnTo>
                      <a:pt x="1534" y="558"/>
                    </a:lnTo>
                    <a:lnTo>
                      <a:pt x="1530" y="559"/>
                    </a:lnTo>
                    <a:lnTo>
                      <a:pt x="1530" y="564"/>
                    </a:lnTo>
                    <a:lnTo>
                      <a:pt x="1527" y="563"/>
                    </a:lnTo>
                    <a:lnTo>
                      <a:pt x="1522" y="561"/>
                    </a:lnTo>
                    <a:lnTo>
                      <a:pt x="1519" y="561"/>
                    </a:lnTo>
                    <a:lnTo>
                      <a:pt x="1516" y="559"/>
                    </a:lnTo>
                    <a:lnTo>
                      <a:pt x="1519" y="561"/>
                    </a:lnTo>
                    <a:lnTo>
                      <a:pt x="1522" y="564"/>
                    </a:lnTo>
                    <a:lnTo>
                      <a:pt x="1526" y="566"/>
                    </a:lnTo>
                    <a:lnTo>
                      <a:pt x="1530" y="567"/>
                    </a:lnTo>
                    <a:lnTo>
                      <a:pt x="1530" y="570"/>
                    </a:lnTo>
                    <a:lnTo>
                      <a:pt x="1527" y="572"/>
                    </a:lnTo>
                    <a:lnTo>
                      <a:pt x="1527" y="575"/>
                    </a:lnTo>
                    <a:lnTo>
                      <a:pt x="1524" y="577"/>
                    </a:lnTo>
                    <a:lnTo>
                      <a:pt x="1521" y="580"/>
                    </a:lnTo>
                    <a:lnTo>
                      <a:pt x="1519" y="580"/>
                    </a:lnTo>
                    <a:lnTo>
                      <a:pt x="1516" y="580"/>
                    </a:lnTo>
                    <a:lnTo>
                      <a:pt x="1515" y="578"/>
                    </a:lnTo>
                    <a:lnTo>
                      <a:pt x="1511" y="575"/>
                    </a:lnTo>
                    <a:lnTo>
                      <a:pt x="1513" y="580"/>
                    </a:lnTo>
                    <a:lnTo>
                      <a:pt x="1513" y="580"/>
                    </a:lnTo>
                    <a:lnTo>
                      <a:pt x="1516" y="582"/>
                    </a:lnTo>
                    <a:lnTo>
                      <a:pt x="1519" y="583"/>
                    </a:lnTo>
                    <a:lnTo>
                      <a:pt x="1524" y="580"/>
                    </a:lnTo>
                    <a:lnTo>
                      <a:pt x="1527" y="580"/>
                    </a:lnTo>
                    <a:lnTo>
                      <a:pt x="1530" y="580"/>
                    </a:lnTo>
                    <a:lnTo>
                      <a:pt x="1530" y="582"/>
                    </a:lnTo>
                    <a:lnTo>
                      <a:pt x="1534" y="580"/>
                    </a:lnTo>
                    <a:lnTo>
                      <a:pt x="1535" y="580"/>
                    </a:lnTo>
                    <a:lnTo>
                      <a:pt x="1534" y="582"/>
                    </a:lnTo>
                    <a:lnTo>
                      <a:pt x="1530" y="585"/>
                    </a:lnTo>
                    <a:lnTo>
                      <a:pt x="1527" y="588"/>
                    </a:lnTo>
                    <a:lnTo>
                      <a:pt x="1524" y="591"/>
                    </a:lnTo>
                    <a:lnTo>
                      <a:pt x="1519" y="589"/>
                    </a:lnTo>
                    <a:lnTo>
                      <a:pt x="1516" y="589"/>
                    </a:lnTo>
                    <a:lnTo>
                      <a:pt x="1518" y="591"/>
                    </a:lnTo>
                    <a:lnTo>
                      <a:pt x="1515" y="591"/>
                    </a:lnTo>
                    <a:lnTo>
                      <a:pt x="1510" y="591"/>
                    </a:lnTo>
                    <a:lnTo>
                      <a:pt x="1507" y="593"/>
                    </a:lnTo>
                    <a:lnTo>
                      <a:pt x="1503" y="589"/>
                    </a:lnTo>
                    <a:lnTo>
                      <a:pt x="1500" y="594"/>
                    </a:lnTo>
                    <a:lnTo>
                      <a:pt x="1497" y="596"/>
                    </a:lnTo>
                    <a:lnTo>
                      <a:pt x="1494" y="596"/>
                    </a:lnTo>
                    <a:lnTo>
                      <a:pt x="1494" y="593"/>
                    </a:lnTo>
                    <a:lnTo>
                      <a:pt x="1491" y="596"/>
                    </a:lnTo>
                    <a:lnTo>
                      <a:pt x="1492" y="599"/>
                    </a:lnTo>
                    <a:lnTo>
                      <a:pt x="1484" y="602"/>
                    </a:lnTo>
                    <a:lnTo>
                      <a:pt x="1478" y="609"/>
                    </a:lnTo>
                    <a:lnTo>
                      <a:pt x="1472" y="615"/>
                    </a:lnTo>
                    <a:lnTo>
                      <a:pt x="1469" y="621"/>
                    </a:lnTo>
                    <a:lnTo>
                      <a:pt x="1469" y="618"/>
                    </a:lnTo>
                    <a:lnTo>
                      <a:pt x="1469" y="615"/>
                    </a:lnTo>
                    <a:lnTo>
                      <a:pt x="1467" y="618"/>
                    </a:lnTo>
                    <a:lnTo>
                      <a:pt x="1465" y="621"/>
                    </a:lnTo>
                    <a:lnTo>
                      <a:pt x="1462" y="624"/>
                    </a:lnTo>
                    <a:lnTo>
                      <a:pt x="1459" y="624"/>
                    </a:lnTo>
                    <a:lnTo>
                      <a:pt x="1456" y="624"/>
                    </a:lnTo>
                    <a:lnTo>
                      <a:pt x="1448" y="624"/>
                    </a:lnTo>
                    <a:lnTo>
                      <a:pt x="1445" y="626"/>
                    </a:lnTo>
                    <a:lnTo>
                      <a:pt x="1445" y="626"/>
                    </a:lnTo>
                    <a:lnTo>
                      <a:pt x="1443" y="626"/>
                    </a:lnTo>
                    <a:lnTo>
                      <a:pt x="1440" y="628"/>
                    </a:lnTo>
                    <a:lnTo>
                      <a:pt x="1434" y="632"/>
                    </a:lnTo>
                    <a:lnTo>
                      <a:pt x="1430" y="634"/>
                    </a:lnTo>
                    <a:lnTo>
                      <a:pt x="1421" y="642"/>
                    </a:lnTo>
                    <a:lnTo>
                      <a:pt x="1415" y="651"/>
                    </a:lnTo>
                    <a:lnTo>
                      <a:pt x="1413" y="648"/>
                    </a:lnTo>
                    <a:lnTo>
                      <a:pt x="1416" y="645"/>
                    </a:lnTo>
                    <a:lnTo>
                      <a:pt x="1413" y="648"/>
                    </a:lnTo>
                    <a:lnTo>
                      <a:pt x="1413" y="651"/>
                    </a:lnTo>
                    <a:lnTo>
                      <a:pt x="1413" y="655"/>
                    </a:lnTo>
                    <a:lnTo>
                      <a:pt x="1410" y="655"/>
                    </a:lnTo>
                    <a:lnTo>
                      <a:pt x="1408" y="658"/>
                    </a:lnTo>
                    <a:lnTo>
                      <a:pt x="1405" y="661"/>
                    </a:lnTo>
                    <a:lnTo>
                      <a:pt x="1402" y="659"/>
                    </a:lnTo>
                    <a:lnTo>
                      <a:pt x="1399" y="662"/>
                    </a:lnTo>
                    <a:lnTo>
                      <a:pt x="1397" y="666"/>
                    </a:lnTo>
                    <a:lnTo>
                      <a:pt x="1394" y="667"/>
                    </a:lnTo>
                    <a:lnTo>
                      <a:pt x="1391" y="670"/>
                    </a:lnTo>
                    <a:lnTo>
                      <a:pt x="1386" y="670"/>
                    </a:lnTo>
                    <a:lnTo>
                      <a:pt x="1384" y="667"/>
                    </a:lnTo>
                    <a:lnTo>
                      <a:pt x="1384" y="667"/>
                    </a:lnTo>
                    <a:lnTo>
                      <a:pt x="1386" y="672"/>
                    </a:lnTo>
                    <a:lnTo>
                      <a:pt x="1384" y="675"/>
                    </a:lnTo>
                    <a:lnTo>
                      <a:pt x="1381" y="677"/>
                    </a:lnTo>
                    <a:lnTo>
                      <a:pt x="1381" y="677"/>
                    </a:lnTo>
                    <a:lnTo>
                      <a:pt x="1380" y="677"/>
                    </a:lnTo>
                    <a:lnTo>
                      <a:pt x="1380" y="677"/>
                    </a:lnTo>
                    <a:lnTo>
                      <a:pt x="1375" y="678"/>
                    </a:lnTo>
                    <a:lnTo>
                      <a:pt x="1369" y="681"/>
                    </a:lnTo>
                    <a:lnTo>
                      <a:pt x="1365" y="683"/>
                    </a:lnTo>
                    <a:lnTo>
                      <a:pt x="1362" y="681"/>
                    </a:lnTo>
                    <a:lnTo>
                      <a:pt x="1359" y="681"/>
                    </a:lnTo>
                    <a:lnTo>
                      <a:pt x="1362" y="683"/>
                    </a:lnTo>
                    <a:lnTo>
                      <a:pt x="1359" y="683"/>
                    </a:lnTo>
                    <a:lnTo>
                      <a:pt x="1362" y="686"/>
                    </a:lnTo>
                    <a:lnTo>
                      <a:pt x="1359" y="688"/>
                    </a:lnTo>
                    <a:lnTo>
                      <a:pt x="1362" y="688"/>
                    </a:lnTo>
                    <a:lnTo>
                      <a:pt x="1358" y="691"/>
                    </a:lnTo>
                    <a:lnTo>
                      <a:pt x="1354" y="689"/>
                    </a:lnTo>
                    <a:lnTo>
                      <a:pt x="1354" y="686"/>
                    </a:lnTo>
                    <a:lnTo>
                      <a:pt x="1353" y="689"/>
                    </a:lnTo>
                    <a:lnTo>
                      <a:pt x="1351" y="686"/>
                    </a:lnTo>
                    <a:lnTo>
                      <a:pt x="1351" y="683"/>
                    </a:lnTo>
                    <a:lnTo>
                      <a:pt x="1351" y="686"/>
                    </a:lnTo>
                    <a:lnTo>
                      <a:pt x="1350" y="689"/>
                    </a:lnTo>
                    <a:lnTo>
                      <a:pt x="1353" y="693"/>
                    </a:lnTo>
                    <a:lnTo>
                      <a:pt x="1350" y="696"/>
                    </a:lnTo>
                    <a:lnTo>
                      <a:pt x="1346" y="697"/>
                    </a:lnTo>
                    <a:lnTo>
                      <a:pt x="1348" y="694"/>
                    </a:lnTo>
                    <a:lnTo>
                      <a:pt x="1346" y="697"/>
                    </a:lnTo>
                    <a:lnTo>
                      <a:pt x="1343" y="700"/>
                    </a:lnTo>
                    <a:lnTo>
                      <a:pt x="1345" y="702"/>
                    </a:lnTo>
                    <a:lnTo>
                      <a:pt x="1342" y="704"/>
                    </a:lnTo>
                    <a:lnTo>
                      <a:pt x="1340" y="707"/>
                    </a:lnTo>
                    <a:lnTo>
                      <a:pt x="1337" y="707"/>
                    </a:lnTo>
                    <a:lnTo>
                      <a:pt x="1332" y="708"/>
                    </a:lnTo>
                    <a:lnTo>
                      <a:pt x="1334" y="712"/>
                    </a:lnTo>
                    <a:lnTo>
                      <a:pt x="1331" y="713"/>
                    </a:lnTo>
                    <a:lnTo>
                      <a:pt x="1327" y="713"/>
                    </a:lnTo>
                    <a:lnTo>
                      <a:pt x="1327" y="716"/>
                    </a:lnTo>
                    <a:lnTo>
                      <a:pt x="1331" y="715"/>
                    </a:lnTo>
                    <a:lnTo>
                      <a:pt x="1329" y="718"/>
                    </a:lnTo>
                    <a:lnTo>
                      <a:pt x="1326" y="720"/>
                    </a:lnTo>
                    <a:lnTo>
                      <a:pt x="1323" y="721"/>
                    </a:lnTo>
                    <a:lnTo>
                      <a:pt x="1326" y="724"/>
                    </a:lnTo>
                    <a:lnTo>
                      <a:pt x="1323" y="727"/>
                    </a:lnTo>
                    <a:lnTo>
                      <a:pt x="1321" y="726"/>
                    </a:lnTo>
                    <a:lnTo>
                      <a:pt x="1323" y="729"/>
                    </a:lnTo>
                    <a:lnTo>
                      <a:pt x="1319" y="729"/>
                    </a:lnTo>
                    <a:lnTo>
                      <a:pt x="1315" y="729"/>
                    </a:lnTo>
                    <a:lnTo>
                      <a:pt x="1318" y="729"/>
                    </a:lnTo>
                    <a:lnTo>
                      <a:pt x="1321" y="734"/>
                    </a:lnTo>
                    <a:lnTo>
                      <a:pt x="1318" y="735"/>
                    </a:lnTo>
                    <a:lnTo>
                      <a:pt x="1315" y="737"/>
                    </a:lnTo>
                    <a:lnTo>
                      <a:pt x="1312" y="742"/>
                    </a:lnTo>
                    <a:lnTo>
                      <a:pt x="1312" y="745"/>
                    </a:lnTo>
                    <a:lnTo>
                      <a:pt x="1310" y="748"/>
                    </a:lnTo>
                    <a:lnTo>
                      <a:pt x="1308" y="751"/>
                    </a:lnTo>
                    <a:lnTo>
                      <a:pt x="1308" y="754"/>
                    </a:lnTo>
                    <a:lnTo>
                      <a:pt x="1310" y="758"/>
                    </a:lnTo>
                    <a:lnTo>
                      <a:pt x="1307" y="761"/>
                    </a:lnTo>
                    <a:lnTo>
                      <a:pt x="1308" y="764"/>
                    </a:lnTo>
                    <a:lnTo>
                      <a:pt x="1308" y="769"/>
                    </a:lnTo>
                    <a:lnTo>
                      <a:pt x="1308" y="770"/>
                    </a:lnTo>
                    <a:lnTo>
                      <a:pt x="1307" y="773"/>
                    </a:lnTo>
                    <a:lnTo>
                      <a:pt x="1307" y="777"/>
                    </a:lnTo>
                    <a:lnTo>
                      <a:pt x="1307" y="780"/>
                    </a:lnTo>
                    <a:lnTo>
                      <a:pt x="1307" y="785"/>
                    </a:lnTo>
                    <a:lnTo>
                      <a:pt x="1307" y="785"/>
                    </a:lnTo>
                    <a:lnTo>
                      <a:pt x="1308" y="799"/>
                    </a:lnTo>
                    <a:lnTo>
                      <a:pt x="1310" y="813"/>
                    </a:lnTo>
                    <a:lnTo>
                      <a:pt x="1313" y="827"/>
                    </a:lnTo>
                    <a:lnTo>
                      <a:pt x="1318" y="840"/>
                    </a:lnTo>
                    <a:lnTo>
                      <a:pt x="1318" y="851"/>
                    </a:lnTo>
                    <a:lnTo>
                      <a:pt x="1318" y="872"/>
                    </a:lnTo>
                    <a:lnTo>
                      <a:pt x="1315" y="864"/>
                    </a:lnTo>
                    <a:lnTo>
                      <a:pt x="1315" y="857"/>
                    </a:lnTo>
                    <a:lnTo>
                      <a:pt x="1316" y="851"/>
                    </a:lnTo>
                    <a:lnTo>
                      <a:pt x="1318" y="845"/>
                    </a:lnTo>
                    <a:lnTo>
                      <a:pt x="1316" y="842"/>
                    </a:lnTo>
                    <a:lnTo>
                      <a:pt x="1313" y="840"/>
                    </a:lnTo>
                    <a:lnTo>
                      <a:pt x="1312" y="837"/>
                    </a:lnTo>
                    <a:lnTo>
                      <a:pt x="1312" y="851"/>
                    </a:lnTo>
                    <a:lnTo>
                      <a:pt x="1315" y="867"/>
                    </a:lnTo>
                    <a:lnTo>
                      <a:pt x="1318" y="875"/>
                    </a:lnTo>
                    <a:lnTo>
                      <a:pt x="1318" y="884"/>
                    </a:lnTo>
                    <a:lnTo>
                      <a:pt x="1318" y="888"/>
                    </a:lnTo>
                    <a:lnTo>
                      <a:pt x="1319" y="891"/>
                    </a:lnTo>
                    <a:lnTo>
                      <a:pt x="1319" y="894"/>
                    </a:lnTo>
                    <a:lnTo>
                      <a:pt x="1319" y="899"/>
                    </a:lnTo>
                    <a:lnTo>
                      <a:pt x="1318" y="899"/>
                    </a:lnTo>
                    <a:lnTo>
                      <a:pt x="1319" y="899"/>
                    </a:lnTo>
                    <a:lnTo>
                      <a:pt x="1319" y="899"/>
                    </a:lnTo>
                    <a:lnTo>
                      <a:pt x="1323" y="907"/>
                    </a:lnTo>
                    <a:lnTo>
                      <a:pt x="1323" y="911"/>
                    </a:lnTo>
                    <a:lnTo>
                      <a:pt x="1321" y="922"/>
                    </a:lnTo>
                    <a:lnTo>
                      <a:pt x="1318" y="932"/>
                    </a:lnTo>
                    <a:lnTo>
                      <a:pt x="1318" y="935"/>
                    </a:lnTo>
                    <a:lnTo>
                      <a:pt x="1316" y="940"/>
                    </a:lnTo>
                    <a:lnTo>
                      <a:pt x="1315" y="943"/>
                    </a:lnTo>
                    <a:lnTo>
                      <a:pt x="1315" y="946"/>
                    </a:lnTo>
                    <a:lnTo>
                      <a:pt x="1313" y="951"/>
                    </a:lnTo>
                    <a:lnTo>
                      <a:pt x="1310" y="954"/>
                    </a:lnTo>
                    <a:lnTo>
                      <a:pt x="1305" y="964"/>
                    </a:lnTo>
                    <a:lnTo>
                      <a:pt x="1302" y="973"/>
                    </a:lnTo>
                    <a:lnTo>
                      <a:pt x="1299" y="976"/>
                    </a:lnTo>
                    <a:lnTo>
                      <a:pt x="1296" y="981"/>
                    </a:lnTo>
                    <a:lnTo>
                      <a:pt x="1292" y="978"/>
                    </a:lnTo>
                    <a:lnTo>
                      <a:pt x="1289" y="981"/>
                    </a:lnTo>
                    <a:lnTo>
                      <a:pt x="1286" y="983"/>
                    </a:lnTo>
                    <a:lnTo>
                      <a:pt x="1281" y="981"/>
                    </a:lnTo>
                    <a:lnTo>
                      <a:pt x="1278" y="983"/>
                    </a:lnTo>
                    <a:lnTo>
                      <a:pt x="1275" y="983"/>
                    </a:lnTo>
                    <a:lnTo>
                      <a:pt x="1272" y="981"/>
                    </a:lnTo>
                    <a:lnTo>
                      <a:pt x="1272" y="978"/>
                    </a:lnTo>
                    <a:lnTo>
                      <a:pt x="1273" y="975"/>
                    </a:lnTo>
                    <a:lnTo>
                      <a:pt x="1275" y="978"/>
                    </a:lnTo>
                    <a:lnTo>
                      <a:pt x="1278" y="980"/>
                    </a:lnTo>
                    <a:lnTo>
                      <a:pt x="1280" y="976"/>
                    </a:lnTo>
                    <a:lnTo>
                      <a:pt x="1275" y="973"/>
                    </a:lnTo>
                    <a:lnTo>
                      <a:pt x="1273" y="970"/>
                    </a:lnTo>
                    <a:lnTo>
                      <a:pt x="1272" y="967"/>
                    </a:lnTo>
                    <a:lnTo>
                      <a:pt x="1272" y="962"/>
                    </a:lnTo>
                    <a:lnTo>
                      <a:pt x="1270" y="959"/>
                    </a:lnTo>
                    <a:lnTo>
                      <a:pt x="1269" y="954"/>
                    </a:lnTo>
                    <a:lnTo>
                      <a:pt x="1264" y="951"/>
                    </a:lnTo>
                    <a:lnTo>
                      <a:pt x="1256" y="949"/>
                    </a:lnTo>
                    <a:lnTo>
                      <a:pt x="1258" y="946"/>
                    </a:lnTo>
                    <a:lnTo>
                      <a:pt x="1256" y="943"/>
                    </a:lnTo>
                    <a:lnTo>
                      <a:pt x="1256" y="940"/>
                    </a:lnTo>
                    <a:lnTo>
                      <a:pt x="1256" y="937"/>
                    </a:lnTo>
                    <a:lnTo>
                      <a:pt x="1256" y="934"/>
                    </a:lnTo>
                    <a:lnTo>
                      <a:pt x="1256" y="929"/>
                    </a:lnTo>
                    <a:lnTo>
                      <a:pt x="1251" y="926"/>
                    </a:lnTo>
                    <a:lnTo>
                      <a:pt x="1254" y="926"/>
                    </a:lnTo>
                    <a:lnTo>
                      <a:pt x="1254" y="926"/>
                    </a:lnTo>
                    <a:lnTo>
                      <a:pt x="1254" y="926"/>
                    </a:lnTo>
                    <a:lnTo>
                      <a:pt x="1254" y="924"/>
                    </a:lnTo>
                    <a:lnTo>
                      <a:pt x="1258" y="921"/>
                    </a:lnTo>
                    <a:lnTo>
                      <a:pt x="1261" y="919"/>
                    </a:lnTo>
                    <a:lnTo>
                      <a:pt x="1259" y="919"/>
                    </a:lnTo>
                    <a:lnTo>
                      <a:pt x="1256" y="922"/>
                    </a:lnTo>
                    <a:lnTo>
                      <a:pt x="1254" y="926"/>
                    </a:lnTo>
                    <a:lnTo>
                      <a:pt x="1254" y="926"/>
                    </a:lnTo>
                    <a:lnTo>
                      <a:pt x="1251" y="926"/>
                    </a:lnTo>
                    <a:lnTo>
                      <a:pt x="1251" y="919"/>
                    </a:lnTo>
                    <a:lnTo>
                      <a:pt x="1253" y="915"/>
                    </a:lnTo>
                    <a:lnTo>
                      <a:pt x="1251" y="911"/>
                    </a:lnTo>
                    <a:lnTo>
                      <a:pt x="1254" y="908"/>
                    </a:lnTo>
                    <a:lnTo>
                      <a:pt x="1251" y="910"/>
                    </a:lnTo>
                    <a:lnTo>
                      <a:pt x="1246" y="908"/>
                    </a:lnTo>
                    <a:lnTo>
                      <a:pt x="1250" y="911"/>
                    </a:lnTo>
                    <a:lnTo>
                      <a:pt x="1248" y="915"/>
                    </a:lnTo>
                    <a:lnTo>
                      <a:pt x="1245" y="913"/>
                    </a:lnTo>
                    <a:lnTo>
                      <a:pt x="1242" y="910"/>
                    </a:lnTo>
                    <a:lnTo>
                      <a:pt x="1242" y="908"/>
                    </a:lnTo>
                    <a:lnTo>
                      <a:pt x="1240" y="903"/>
                    </a:lnTo>
                    <a:lnTo>
                      <a:pt x="1240" y="900"/>
                    </a:lnTo>
                    <a:lnTo>
                      <a:pt x="1240" y="897"/>
                    </a:lnTo>
                    <a:lnTo>
                      <a:pt x="1240" y="894"/>
                    </a:lnTo>
                    <a:lnTo>
                      <a:pt x="1239" y="891"/>
                    </a:lnTo>
                    <a:lnTo>
                      <a:pt x="1235" y="886"/>
                    </a:lnTo>
                    <a:lnTo>
                      <a:pt x="1239" y="886"/>
                    </a:lnTo>
                    <a:lnTo>
                      <a:pt x="1242" y="883"/>
                    </a:lnTo>
                    <a:lnTo>
                      <a:pt x="1242" y="881"/>
                    </a:lnTo>
                    <a:lnTo>
                      <a:pt x="1245" y="878"/>
                    </a:lnTo>
                    <a:lnTo>
                      <a:pt x="1248" y="875"/>
                    </a:lnTo>
                    <a:lnTo>
                      <a:pt x="1250" y="872"/>
                    </a:lnTo>
                    <a:lnTo>
                      <a:pt x="1248" y="869"/>
                    </a:lnTo>
                    <a:lnTo>
                      <a:pt x="1245" y="872"/>
                    </a:lnTo>
                    <a:lnTo>
                      <a:pt x="1245" y="867"/>
                    </a:lnTo>
                    <a:lnTo>
                      <a:pt x="1240" y="864"/>
                    </a:lnTo>
                    <a:lnTo>
                      <a:pt x="1240" y="865"/>
                    </a:lnTo>
                    <a:lnTo>
                      <a:pt x="1239" y="869"/>
                    </a:lnTo>
                    <a:lnTo>
                      <a:pt x="1242" y="872"/>
                    </a:lnTo>
                    <a:lnTo>
                      <a:pt x="1240" y="875"/>
                    </a:lnTo>
                    <a:lnTo>
                      <a:pt x="1239" y="878"/>
                    </a:lnTo>
                    <a:lnTo>
                      <a:pt x="1235" y="875"/>
                    </a:lnTo>
                    <a:lnTo>
                      <a:pt x="1235" y="878"/>
                    </a:lnTo>
                    <a:lnTo>
                      <a:pt x="1235" y="875"/>
                    </a:lnTo>
                    <a:lnTo>
                      <a:pt x="1234" y="872"/>
                    </a:lnTo>
                    <a:lnTo>
                      <a:pt x="1234" y="870"/>
                    </a:lnTo>
                    <a:lnTo>
                      <a:pt x="1237" y="867"/>
                    </a:lnTo>
                    <a:lnTo>
                      <a:pt x="1237" y="864"/>
                    </a:lnTo>
                    <a:lnTo>
                      <a:pt x="1239" y="861"/>
                    </a:lnTo>
                    <a:lnTo>
                      <a:pt x="1240" y="856"/>
                    </a:lnTo>
                    <a:lnTo>
                      <a:pt x="1245" y="848"/>
                    </a:lnTo>
                    <a:lnTo>
                      <a:pt x="1250" y="835"/>
                    </a:lnTo>
                    <a:lnTo>
                      <a:pt x="1250" y="832"/>
                    </a:lnTo>
                    <a:lnTo>
                      <a:pt x="1250" y="829"/>
                    </a:lnTo>
                    <a:lnTo>
                      <a:pt x="1248" y="826"/>
                    </a:lnTo>
                    <a:lnTo>
                      <a:pt x="1248" y="821"/>
                    </a:lnTo>
                    <a:lnTo>
                      <a:pt x="1245" y="818"/>
                    </a:lnTo>
                    <a:lnTo>
                      <a:pt x="1239" y="816"/>
                    </a:lnTo>
                    <a:lnTo>
                      <a:pt x="1237" y="813"/>
                    </a:lnTo>
                    <a:lnTo>
                      <a:pt x="1235" y="810"/>
                    </a:lnTo>
                    <a:lnTo>
                      <a:pt x="1231" y="804"/>
                    </a:lnTo>
                    <a:lnTo>
                      <a:pt x="1231" y="800"/>
                    </a:lnTo>
                    <a:lnTo>
                      <a:pt x="1229" y="797"/>
                    </a:lnTo>
                    <a:lnTo>
                      <a:pt x="1226" y="794"/>
                    </a:lnTo>
                    <a:lnTo>
                      <a:pt x="1226" y="789"/>
                    </a:lnTo>
                    <a:lnTo>
                      <a:pt x="1223" y="786"/>
                    </a:lnTo>
                    <a:lnTo>
                      <a:pt x="1220" y="785"/>
                    </a:lnTo>
                    <a:lnTo>
                      <a:pt x="1218" y="783"/>
                    </a:lnTo>
                    <a:lnTo>
                      <a:pt x="1215" y="780"/>
                    </a:lnTo>
                    <a:lnTo>
                      <a:pt x="1207" y="780"/>
                    </a:lnTo>
                    <a:lnTo>
                      <a:pt x="1204" y="781"/>
                    </a:lnTo>
                    <a:lnTo>
                      <a:pt x="1200" y="785"/>
                    </a:lnTo>
                    <a:lnTo>
                      <a:pt x="1197" y="785"/>
                    </a:lnTo>
                    <a:lnTo>
                      <a:pt x="1199" y="788"/>
                    </a:lnTo>
                    <a:lnTo>
                      <a:pt x="1196" y="788"/>
                    </a:lnTo>
                    <a:lnTo>
                      <a:pt x="1193" y="789"/>
                    </a:lnTo>
                    <a:lnTo>
                      <a:pt x="1188" y="791"/>
                    </a:lnTo>
                    <a:lnTo>
                      <a:pt x="1185" y="794"/>
                    </a:lnTo>
                    <a:lnTo>
                      <a:pt x="1181" y="794"/>
                    </a:lnTo>
                    <a:lnTo>
                      <a:pt x="1181" y="792"/>
                    </a:lnTo>
                    <a:lnTo>
                      <a:pt x="1178" y="794"/>
                    </a:lnTo>
                    <a:lnTo>
                      <a:pt x="1177" y="794"/>
                    </a:lnTo>
                    <a:lnTo>
                      <a:pt x="1177" y="796"/>
                    </a:lnTo>
                    <a:lnTo>
                      <a:pt x="1174" y="796"/>
                    </a:lnTo>
                    <a:lnTo>
                      <a:pt x="1170" y="796"/>
                    </a:lnTo>
                    <a:lnTo>
                      <a:pt x="1167" y="797"/>
                    </a:lnTo>
                    <a:lnTo>
                      <a:pt x="1164" y="797"/>
                    </a:lnTo>
                    <a:lnTo>
                      <a:pt x="1166" y="794"/>
                    </a:lnTo>
                    <a:lnTo>
                      <a:pt x="1166" y="789"/>
                    </a:lnTo>
                    <a:lnTo>
                      <a:pt x="1164" y="786"/>
                    </a:lnTo>
                    <a:lnTo>
                      <a:pt x="1161" y="785"/>
                    </a:lnTo>
                    <a:lnTo>
                      <a:pt x="1161" y="785"/>
                    </a:lnTo>
                    <a:lnTo>
                      <a:pt x="1161" y="783"/>
                    </a:lnTo>
                    <a:lnTo>
                      <a:pt x="1159" y="780"/>
                    </a:lnTo>
                    <a:lnTo>
                      <a:pt x="1162" y="781"/>
                    </a:lnTo>
                    <a:lnTo>
                      <a:pt x="1164" y="778"/>
                    </a:lnTo>
                    <a:lnTo>
                      <a:pt x="1159" y="778"/>
                    </a:lnTo>
                    <a:lnTo>
                      <a:pt x="1158" y="777"/>
                    </a:lnTo>
                    <a:lnTo>
                      <a:pt x="1159" y="773"/>
                    </a:lnTo>
                    <a:lnTo>
                      <a:pt x="1162" y="772"/>
                    </a:lnTo>
                    <a:lnTo>
                      <a:pt x="1159" y="772"/>
                    </a:lnTo>
                    <a:lnTo>
                      <a:pt x="1156" y="772"/>
                    </a:lnTo>
                    <a:lnTo>
                      <a:pt x="1153" y="772"/>
                    </a:lnTo>
                    <a:lnTo>
                      <a:pt x="1153" y="772"/>
                    </a:lnTo>
                    <a:lnTo>
                      <a:pt x="1156" y="777"/>
                    </a:lnTo>
                    <a:lnTo>
                      <a:pt x="1153" y="777"/>
                    </a:lnTo>
                    <a:lnTo>
                      <a:pt x="1150" y="773"/>
                    </a:lnTo>
                    <a:lnTo>
                      <a:pt x="1143" y="770"/>
                    </a:lnTo>
                    <a:lnTo>
                      <a:pt x="1139" y="769"/>
                    </a:lnTo>
                    <a:lnTo>
                      <a:pt x="1135" y="769"/>
                    </a:lnTo>
                    <a:lnTo>
                      <a:pt x="1132" y="767"/>
                    </a:lnTo>
                    <a:lnTo>
                      <a:pt x="1134" y="767"/>
                    </a:lnTo>
                    <a:lnTo>
                      <a:pt x="1134" y="767"/>
                    </a:lnTo>
                    <a:lnTo>
                      <a:pt x="1137" y="767"/>
                    </a:lnTo>
                    <a:lnTo>
                      <a:pt x="1143" y="767"/>
                    </a:lnTo>
                    <a:lnTo>
                      <a:pt x="1145" y="766"/>
                    </a:lnTo>
                    <a:lnTo>
                      <a:pt x="1142" y="764"/>
                    </a:lnTo>
                    <a:lnTo>
                      <a:pt x="1139" y="764"/>
                    </a:lnTo>
                    <a:lnTo>
                      <a:pt x="1135" y="762"/>
                    </a:lnTo>
                    <a:lnTo>
                      <a:pt x="1132" y="766"/>
                    </a:lnTo>
                    <a:lnTo>
                      <a:pt x="1129" y="767"/>
                    </a:lnTo>
                    <a:lnTo>
                      <a:pt x="1128" y="767"/>
                    </a:lnTo>
                    <a:lnTo>
                      <a:pt x="1123" y="767"/>
                    </a:lnTo>
                    <a:lnTo>
                      <a:pt x="1120" y="767"/>
                    </a:lnTo>
                    <a:lnTo>
                      <a:pt x="1116" y="767"/>
                    </a:lnTo>
                    <a:lnTo>
                      <a:pt x="1113" y="769"/>
                    </a:lnTo>
                    <a:lnTo>
                      <a:pt x="1110" y="769"/>
                    </a:lnTo>
                    <a:lnTo>
                      <a:pt x="1113" y="767"/>
                    </a:lnTo>
                    <a:lnTo>
                      <a:pt x="1115" y="767"/>
                    </a:lnTo>
                    <a:lnTo>
                      <a:pt x="1115" y="767"/>
                    </a:lnTo>
                    <a:lnTo>
                      <a:pt x="1118" y="766"/>
                    </a:lnTo>
                    <a:lnTo>
                      <a:pt x="1115" y="762"/>
                    </a:lnTo>
                    <a:lnTo>
                      <a:pt x="1116" y="759"/>
                    </a:lnTo>
                    <a:lnTo>
                      <a:pt x="1115" y="761"/>
                    </a:lnTo>
                    <a:lnTo>
                      <a:pt x="1115" y="762"/>
                    </a:lnTo>
                    <a:lnTo>
                      <a:pt x="1112" y="766"/>
                    </a:lnTo>
                    <a:lnTo>
                      <a:pt x="1112" y="761"/>
                    </a:lnTo>
                    <a:lnTo>
                      <a:pt x="1110" y="762"/>
                    </a:lnTo>
                    <a:lnTo>
                      <a:pt x="1110" y="762"/>
                    </a:lnTo>
                    <a:lnTo>
                      <a:pt x="1110" y="762"/>
                    </a:lnTo>
                    <a:lnTo>
                      <a:pt x="1109" y="767"/>
                    </a:lnTo>
                    <a:lnTo>
                      <a:pt x="1105" y="767"/>
                    </a:lnTo>
                    <a:lnTo>
                      <a:pt x="1102" y="770"/>
                    </a:lnTo>
                    <a:lnTo>
                      <a:pt x="1099" y="772"/>
                    </a:lnTo>
                    <a:lnTo>
                      <a:pt x="1096" y="772"/>
                    </a:lnTo>
                    <a:lnTo>
                      <a:pt x="1099" y="770"/>
                    </a:lnTo>
                    <a:lnTo>
                      <a:pt x="1102" y="767"/>
                    </a:lnTo>
                    <a:lnTo>
                      <a:pt x="1101" y="764"/>
                    </a:lnTo>
                    <a:lnTo>
                      <a:pt x="1099" y="767"/>
                    </a:lnTo>
                    <a:lnTo>
                      <a:pt x="1097" y="770"/>
                    </a:lnTo>
                    <a:lnTo>
                      <a:pt x="1091" y="773"/>
                    </a:lnTo>
                    <a:lnTo>
                      <a:pt x="1086" y="775"/>
                    </a:lnTo>
                    <a:lnTo>
                      <a:pt x="1083" y="775"/>
                    </a:lnTo>
                    <a:lnTo>
                      <a:pt x="1080" y="773"/>
                    </a:lnTo>
                    <a:lnTo>
                      <a:pt x="1083" y="773"/>
                    </a:lnTo>
                    <a:lnTo>
                      <a:pt x="1086" y="770"/>
                    </a:lnTo>
                    <a:lnTo>
                      <a:pt x="1083" y="767"/>
                    </a:lnTo>
                    <a:lnTo>
                      <a:pt x="1083" y="764"/>
                    </a:lnTo>
                    <a:lnTo>
                      <a:pt x="1085" y="761"/>
                    </a:lnTo>
                    <a:lnTo>
                      <a:pt x="1085" y="756"/>
                    </a:lnTo>
                    <a:lnTo>
                      <a:pt x="1083" y="756"/>
                    </a:lnTo>
                    <a:lnTo>
                      <a:pt x="1083" y="756"/>
                    </a:lnTo>
                    <a:lnTo>
                      <a:pt x="1083" y="754"/>
                    </a:lnTo>
                    <a:lnTo>
                      <a:pt x="1080" y="759"/>
                    </a:lnTo>
                    <a:lnTo>
                      <a:pt x="1077" y="767"/>
                    </a:lnTo>
                    <a:lnTo>
                      <a:pt x="1072" y="769"/>
                    </a:lnTo>
                    <a:lnTo>
                      <a:pt x="1069" y="767"/>
                    </a:lnTo>
                    <a:lnTo>
                      <a:pt x="1066" y="769"/>
                    </a:lnTo>
                    <a:lnTo>
                      <a:pt x="1063" y="770"/>
                    </a:lnTo>
                    <a:lnTo>
                      <a:pt x="1059" y="769"/>
                    </a:lnTo>
                    <a:lnTo>
                      <a:pt x="1059" y="769"/>
                    </a:lnTo>
                    <a:lnTo>
                      <a:pt x="1058" y="769"/>
                    </a:lnTo>
                    <a:lnTo>
                      <a:pt x="1055" y="770"/>
                    </a:lnTo>
                    <a:lnTo>
                      <a:pt x="1051" y="767"/>
                    </a:lnTo>
                    <a:lnTo>
                      <a:pt x="1050" y="767"/>
                    </a:lnTo>
                    <a:lnTo>
                      <a:pt x="1048" y="767"/>
                    </a:lnTo>
                    <a:lnTo>
                      <a:pt x="1050" y="767"/>
                    </a:lnTo>
                    <a:lnTo>
                      <a:pt x="1048" y="767"/>
                    </a:lnTo>
                    <a:lnTo>
                      <a:pt x="1045" y="769"/>
                    </a:lnTo>
                    <a:lnTo>
                      <a:pt x="1042" y="769"/>
                    </a:lnTo>
                    <a:lnTo>
                      <a:pt x="1039" y="770"/>
                    </a:lnTo>
                    <a:lnTo>
                      <a:pt x="1034" y="770"/>
                    </a:lnTo>
                    <a:lnTo>
                      <a:pt x="1034" y="770"/>
                    </a:lnTo>
                    <a:lnTo>
                      <a:pt x="1031" y="772"/>
                    </a:lnTo>
                    <a:lnTo>
                      <a:pt x="1028" y="775"/>
                    </a:lnTo>
                    <a:lnTo>
                      <a:pt x="1024" y="777"/>
                    </a:lnTo>
                    <a:lnTo>
                      <a:pt x="1021" y="777"/>
                    </a:lnTo>
                    <a:lnTo>
                      <a:pt x="1021" y="777"/>
                    </a:lnTo>
                    <a:lnTo>
                      <a:pt x="1020" y="777"/>
                    </a:lnTo>
                    <a:lnTo>
                      <a:pt x="1017" y="775"/>
                    </a:lnTo>
                    <a:lnTo>
                      <a:pt x="1015" y="775"/>
                    </a:lnTo>
                    <a:lnTo>
                      <a:pt x="1007" y="770"/>
                    </a:lnTo>
                    <a:lnTo>
                      <a:pt x="1002" y="769"/>
                    </a:lnTo>
                    <a:lnTo>
                      <a:pt x="999" y="772"/>
                    </a:lnTo>
                    <a:lnTo>
                      <a:pt x="993" y="778"/>
                    </a:lnTo>
                    <a:lnTo>
                      <a:pt x="996" y="781"/>
                    </a:lnTo>
                    <a:lnTo>
                      <a:pt x="1002" y="781"/>
                    </a:lnTo>
                    <a:lnTo>
                      <a:pt x="1007" y="781"/>
                    </a:lnTo>
                    <a:lnTo>
                      <a:pt x="1007" y="781"/>
                    </a:lnTo>
                    <a:lnTo>
                      <a:pt x="1009" y="780"/>
                    </a:lnTo>
                    <a:lnTo>
                      <a:pt x="1012" y="778"/>
                    </a:lnTo>
                    <a:lnTo>
                      <a:pt x="1013" y="778"/>
                    </a:lnTo>
                    <a:lnTo>
                      <a:pt x="1017" y="780"/>
                    </a:lnTo>
                    <a:lnTo>
                      <a:pt x="1020" y="778"/>
                    </a:lnTo>
                    <a:lnTo>
                      <a:pt x="1018" y="780"/>
                    </a:lnTo>
                    <a:lnTo>
                      <a:pt x="1015" y="783"/>
                    </a:lnTo>
                    <a:lnTo>
                      <a:pt x="1012" y="785"/>
                    </a:lnTo>
                    <a:lnTo>
                      <a:pt x="1012" y="786"/>
                    </a:lnTo>
                    <a:lnTo>
                      <a:pt x="1017" y="789"/>
                    </a:lnTo>
                    <a:lnTo>
                      <a:pt x="1020" y="788"/>
                    </a:lnTo>
                    <a:lnTo>
                      <a:pt x="1021" y="785"/>
                    </a:lnTo>
                    <a:lnTo>
                      <a:pt x="1023" y="783"/>
                    </a:lnTo>
                    <a:lnTo>
                      <a:pt x="1026" y="785"/>
                    </a:lnTo>
                    <a:lnTo>
                      <a:pt x="1028" y="786"/>
                    </a:lnTo>
                    <a:lnTo>
                      <a:pt x="1026" y="789"/>
                    </a:lnTo>
                    <a:lnTo>
                      <a:pt x="1024" y="792"/>
                    </a:lnTo>
                    <a:lnTo>
                      <a:pt x="1021" y="792"/>
                    </a:lnTo>
                    <a:lnTo>
                      <a:pt x="1018" y="794"/>
                    </a:lnTo>
                    <a:lnTo>
                      <a:pt x="1018" y="797"/>
                    </a:lnTo>
                    <a:lnTo>
                      <a:pt x="1013" y="797"/>
                    </a:lnTo>
                    <a:lnTo>
                      <a:pt x="1012" y="802"/>
                    </a:lnTo>
                    <a:lnTo>
                      <a:pt x="1013" y="805"/>
                    </a:lnTo>
                    <a:lnTo>
                      <a:pt x="1017" y="805"/>
                    </a:lnTo>
                    <a:lnTo>
                      <a:pt x="1017" y="808"/>
                    </a:lnTo>
                    <a:lnTo>
                      <a:pt x="1020" y="808"/>
                    </a:lnTo>
                    <a:lnTo>
                      <a:pt x="1023" y="810"/>
                    </a:lnTo>
                    <a:lnTo>
                      <a:pt x="1028" y="811"/>
                    </a:lnTo>
                    <a:lnTo>
                      <a:pt x="1028" y="811"/>
                    </a:lnTo>
                    <a:lnTo>
                      <a:pt x="1028" y="816"/>
                    </a:lnTo>
                    <a:lnTo>
                      <a:pt x="1031" y="818"/>
                    </a:lnTo>
                    <a:lnTo>
                      <a:pt x="1031" y="821"/>
                    </a:lnTo>
                    <a:lnTo>
                      <a:pt x="1026" y="823"/>
                    </a:lnTo>
                    <a:lnTo>
                      <a:pt x="1026" y="826"/>
                    </a:lnTo>
                    <a:lnTo>
                      <a:pt x="1021" y="823"/>
                    </a:lnTo>
                    <a:lnTo>
                      <a:pt x="1015" y="827"/>
                    </a:lnTo>
                    <a:lnTo>
                      <a:pt x="1017" y="827"/>
                    </a:lnTo>
                    <a:lnTo>
                      <a:pt x="1018" y="823"/>
                    </a:lnTo>
                    <a:lnTo>
                      <a:pt x="1020" y="819"/>
                    </a:lnTo>
                    <a:lnTo>
                      <a:pt x="1017" y="818"/>
                    </a:lnTo>
                    <a:lnTo>
                      <a:pt x="1017" y="815"/>
                    </a:lnTo>
                    <a:lnTo>
                      <a:pt x="1013" y="815"/>
                    </a:lnTo>
                    <a:lnTo>
                      <a:pt x="1010" y="811"/>
                    </a:lnTo>
                    <a:lnTo>
                      <a:pt x="1007" y="811"/>
                    </a:lnTo>
                    <a:lnTo>
                      <a:pt x="1007" y="808"/>
                    </a:lnTo>
                    <a:lnTo>
                      <a:pt x="1004" y="807"/>
                    </a:lnTo>
                    <a:lnTo>
                      <a:pt x="1001" y="805"/>
                    </a:lnTo>
                    <a:lnTo>
                      <a:pt x="999" y="804"/>
                    </a:lnTo>
                    <a:lnTo>
                      <a:pt x="994" y="802"/>
                    </a:lnTo>
                    <a:lnTo>
                      <a:pt x="994" y="802"/>
                    </a:lnTo>
                    <a:lnTo>
                      <a:pt x="996" y="805"/>
                    </a:lnTo>
                    <a:lnTo>
                      <a:pt x="997" y="808"/>
                    </a:lnTo>
                    <a:lnTo>
                      <a:pt x="996" y="813"/>
                    </a:lnTo>
                    <a:lnTo>
                      <a:pt x="996" y="816"/>
                    </a:lnTo>
                    <a:lnTo>
                      <a:pt x="994" y="818"/>
                    </a:lnTo>
                    <a:lnTo>
                      <a:pt x="991" y="821"/>
                    </a:lnTo>
                    <a:lnTo>
                      <a:pt x="988" y="821"/>
                    </a:lnTo>
                    <a:lnTo>
                      <a:pt x="988" y="818"/>
                    </a:lnTo>
                    <a:lnTo>
                      <a:pt x="988" y="815"/>
                    </a:lnTo>
                    <a:lnTo>
                      <a:pt x="985" y="813"/>
                    </a:lnTo>
                    <a:lnTo>
                      <a:pt x="982" y="813"/>
                    </a:lnTo>
                    <a:lnTo>
                      <a:pt x="978" y="811"/>
                    </a:lnTo>
                    <a:lnTo>
                      <a:pt x="975" y="816"/>
                    </a:lnTo>
                    <a:lnTo>
                      <a:pt x="975" y="819"/>
                    </a:lnTo>
                    <a:lnTo>
                      <a:pt x="974" y="819"/>
                    </a:lnTo>
                    <a:lnTo>
                      <a:pt x="969" y="818"/>
                    </a:lnTo>
                    <a:lnTo>
                      <a:pt x="966" y="819"/>
                    </a:lnTo>
                    <a:lnTo>
                      <a:pt x="963" y="816"/>
                    </a:lnTo>
                    <a:lnTo>
                      <a:pt x="959" y="816"/>
                    </a:lnTo>
                    <a:lnTo>
                      <a:pt x="959" y="813"/>
                    </a:lnTo>
                    <a:lnTo>
                      <a:pt x="959" y="810"/>
                    </a:lnTo>
                    <a:lnTo>
                      <a:pt x="956" y="807"/>
                    </a:lnTo>
                    <a:lnTo>
                      <a:pt x="958" y="804"/>
                    </a:lnTo>
                    <a:lnTo>
                      <a:pt x="958" y="802"/>
                    </a:lnTo>
                    <a:lnTo>
                      <a:pt x="955" y="805"/>
                    </a:lnTo>
                    <a:lnTo>
                      <a:pt x="951" y="802"/>
                    </a:lnTo>
                    <a:lnTo>
                      <a:pt x="948" y="802"/>
                    </a:lnTo>
                    <a:lnTo>
                      <a:pt x="945" y="797"/>
                    </a:lnTo>
                    <a:lnTo>
                      <a:pt x="945" y="794"/>
                    </a:lnTo>
                    <a:lnTo>
                      <a:pt x="942" y="794"/>
                    </a:lnTo>
                    <a:lnTo>
                      <a:pt x="939" y="794"/>
                    </a:lnTo>
                    <a:lnTo>
                      <a:pt x="940" y="791"/>
                    </a:lnTo>
                    <a:lnTo>
                      <a:pt x="937" y="791"/>
                    </a:lnTo>
                    <a:lnTo>
                      <a:pt x="932" y="792"/>
                    </a:lnTo>
                    <a:lnTo>
                      <a:pt x="929" y="796"/>
                    </a:lnTo>
                    <a:lnTo>
                      <a:pt x="929" y="799"/>
                    </a:lnTo>
                    <a:lnTo>
                      <a:pt x="929" y="800"/>
                    </a:lnTo>
                    <a:lnTo>
                      <a:pt x="926" y="800"/>
                    </a:lnTo>
                    <a:lnTo>
                      <a:pt x="923" y="802"/>
                    </a:lnTo>
                    <a:lnTo>
                      <a:pt x="920" y="802"/>
                    </a:lnTo>
                    <a:lnTo>
                      <a:pt x="915" y="802"/>
                    </a:lnTo>
                    <a:lnTo>
                      <a:pt x="912" y="802"/>
                    </a:lnTo>
                    <a:lnTo>
                      <a:pt x="909" y="800"/>
                    </a:lnTo>
                    <a:lnTo>
                      <a:pt x="899" y="796"/>
                    </a:lnTo>
                    <a:lnTo>
                      <a:pt x="888" y="792"/>
                    </a:lnTo>
                    <a:lnTo>
                      <a:pt x="890" y="791"/>
                    </a:lnTo>
                    <a:lnTo>
                      <a:pt x="893" y="788"/>
                    </a:lnTo>
                    <a:lnTo>
                      <a:pt x="893" y="785"/>
                    </a:lnTo>
                    <a:lnTo>
                      <a:pt x="891" y="780"/>
                    </a:lnTo>
                    <a:lnTo>
                      <a:pt x="888" y="788"/>
                    </a:lnTo>
                    <a:lnTo>
                      <a:pt x="886" y="794"/>
                    </a:lnTo>
                    <a:lnTo>
                      <a:pt x="879" y="794"/>
                    </a:lnTo>
                    <a:lnTo>
                      <a:pt x="875" y="794"/>
                    </a:lnTo>
                    <a:lnTo>
                      <a:pt x="872" y="794"/>
                    </a:lnTo>
                    <a:lnTo>
                      <a:pt x="869" y="794"/>
                    </a:lnTo>
                    <a:lnTo>
                      <a:pt x="871" y="791"/>
                    </a:lnTo>
                    <a:lnTo>
                      <a:pt x="874" y="788"/>
                    </a:lnTo>
                    <a:lnTo>
                      <a:pt x="874" y="785"/>
                    </a:lnTo>
                    <a:lnTo>
                      <a:pt x="874" y="785"/>
                    </a:lnTo>
                    <a:lnTo>
                      <a:pt x="869" y="788"/>
                    </a:lnTo>
                    <a:lnTo>
                      <a:pt x="867" y="791"/>
                    </a:lnTo>
                    <a:lnTo>
                      <a:pt x="867" y="794"/>
                    </a:lnTo>
                    <a:lnTo>
                      <a:pt x="869" y="797"/>
                    </a:lnTo>
                    <a:lnTo>
                      <a:pt x="858" y="799"/>
                    </a:lnTo>
                    <a:lnTo>
                      <a:pt x="848" y="802"/>
                    </a:lnTo>
                    <a:lnTo>
                      <a:pt x="844" y="804"/>
                    </a:lnTo>
                    <a:lnTo>
                      <a:pt x="840" y="805"/>
                    </a:lnTo>
                    <a:lnTo>
                      <a:pt x="837" y="807"/>
                    </a:lnTo>
                    <a:lnTo>
                      <a:pt x="834" y="810"/>
                    </a:lnTo>
                    <a:lnTo>
                      <a:pt x="834" y="810"/>
                    </a:lnTo>
                    <a:lnTo>
                      <a:pt x="833" y="810"/>
                    </a:lnTo>
                    <a:lnTo>
                      <a:pt x="836" y="807"/>
                    </a:lnTo>
                    <a:lnTo>
                      <a:pt x="840" y="805"/>
                    </a:lnTo>
                    <a:lnTo>
                      <a:pt x="842" y="804"/>
                    </a:lnTo>
                    <a:lnTo>
                      <a:pt x="845" y="802"/>
                    </a:lnTo>
                    <a:lnTo>
                      <a:pt x="845" y="802"/>
                    </a:lnTo>
                    <a:lnTo>
                      <a:pt x="842" y="802"/>
                    </a:lnTo>
                    <a:lnTo>
                      <a:pt x="839" y="802"/>
                    </a:lnTo>
                    <a:lnTo>
                      <a:pt x="836" y="804"/>
                    </a:lnTo>
                    <a:lnTo>
                      <a:pt x="837" y="800"/>
                    </a:lnTo>
                    <a:lnTo>
                      <a:pt x="839" y="797"/>
                    </a:lnTo>
                    <a:lnTo>
                      <a:pt x="839" y="792"/>
                    </a:lnTo>
                    <a:lnTo>
                      <a:pt x="836" y="794"/>
                    </a:lnTo>
                    <a:lnTo>
                      <a:pt x="833" y="797"/>
                    </a:lnTo>
                    <a:lnTo>
                      <a:pt x="829" y="796"/>
                    </a:lnTo>
                    <a:lnTo>
                      <a:pt x="829" y="796"/>
                    </a:lnTo>
                    <a:lnTo>
                      <a:pt x="828" y="797"/>
                    </a:lnTo>
                    <a:lnTo>
                      <a:pt x="829" y="800"/>
                    </a:lnTo>
                    <a:lnTo>
                      <a:pt x="828" y="804"/>
                    </a:lnTo>
                    <a:lnTo>
                      <a:pt x="828" y="807"/>
                    </a:lnTo>
                    <a:lnTo>
                      <a:pt x="831" y="810"/>
                    </a:lnTo>
                    <a:lnTo>
                      <a:pt x="828" y="811"/>
                    </a:lnTo>
                    <a:lnTo>
                      <a:pt x="828" y="811"/>
                    </a:lnTo>
                    <a:lnTo>
                      <a:pt x="825" y="813"/>
                    </a:lnTo>
                    <a:lnTo>
                      <a:pt x="821" y="816"/>
                    </a:lnTo>
                    <a:lnTo>
                      <a:pt x="818" y="819"/>
                    </a:lnTo>
                    <a:lnTo>
                      <a:pt x="817" y="823"/>
                    </a:lnTo>
                    <a:lnTo>
                      <a:pt x="814" y="824"/>
                    </a:lnTo>
                    <a:lnTo>
                      <a:pt x="810" y="827"/>
                    </a:lnTo>
                    <a:lnTo>
                      <a:pt x="807" y="831"/>
                    </a:lnTo>
                    <a:lnTo>
                      <a:pt x="806" y="831"/>
                    </a:lnTo>
                    <a:lnTo>
                      <a:pt x="802" y="832"/>
                    </a:lnTo>
                    <a:lnTo>
                      <a:pt x="798" y="834"/>
                    </a:lnTo>
                    <a:lnTo>
                      <a:pt x="794" y="835"/>
                    </a:lnTo>
                    <a:lnTo>
                      <a:pt x="791" y="835"/>
                    </a:lnTo>
                    <a:lnTo>
                      <a:pt x="788" y="837"/>
                    </a:lnTo>
                    <a:lnTo>
                      <a:pt x="785" y="840"/>
                    </a:lnTo>
                    <a:lnTo>
                      <a:pt x="791" y="838"/>
                    </a:lnTo>
                    <a:lnTo>
                      <a:pt x="782" y="842"/>
                    </a:lnTo>
                    <a:lnTo>
                      <a:pt x="774" y="846"/>
                    </a:lnTo>
                    <a:lnTo>
                      <a:pt x="775" y="845"/>
                    </a:lnTo>
                    <a:lnTo>
                      <a:pt x="779" y="842"/>
                    </a:lnTo>
                    <a:lnTo>
                      <a:pt x="783" y="840"/>
                    </a:lnTo>
                    <a:lnTo>
                      <a:pt x="779" y="840"/>
                    </a:lnTo>
                    <a:lnTo>
                      <a:pt x="775" y="842"/>
                    </a:lnTo>
                    <a:lnTo>
                      <a:pt x="777" y="842"/>
                    </a:lnTo>
                    <a:lnTo>
                      <a:pt x="779" y="840"/>
                    </a:lnTo>
                    <a:lnTo>
                      <a:pt x="777" y="840"/>
                    </a:lnTo>
                    <a:lnTo>
                      <a:pt x="774" y="838"/>
                    </a:lnTo>
                    <a:lnTo>
                      <a:pt x="771" y="838"/>
                    </a:lnTo>
                    <a:lnTo>
                      <a:pt x="769" y="835"/>
                    </a:lnTo>
                    <a:lnTo>
                      <a:pt x="769" y="835"/>
                    </a:lnTo>
                    <a:lnTo>
                      <a:pt x="769" y="838"/>
                    </a:lnTo>
                    <a:lnTo>
                      <a:pt x="766" y="842"/>
                    </a:lnTo>
                    <a:lnTo>
                      <a:pt x="768" y="840"/>
                    </a:lnTo>
                    <a:lnTo>
                      <a:pt x="764" y="838"/>
                    </a:lnTo>
                    <a:lnTo>
                      <a:pt x="761" y="840"/>
                    </a:lnTo>
                    <a:lnTo>
                      <a:pt x="763" y="843"/>
                    </a:lnTo>
                    <a:lnTo>
                      <a:pt x="763" y="846"/>
                    </a:lnTo>
                    <a:lnTo>
                      <a:pt x="766" y="846"/>
                    </a:lnTo>
                    <a:lnTo>
                      <a:pt x="766" y="848"/>
                    </a:lnTo>
                    <a:lnTo>
                      <a:pt x="763" y="850"/>
                    </a:lnTo>
                    <a:lnTo>
                      <a:pt x="760" y="851"/>
                    </a:lnTo>
                    <a:lnTo>
                      <a:pt x="755" y="850"/>
                    </a:lnTo>
                    <a:lnTo>
                      <a:pt x="753" y="846"/>
                    </a:lnTo>
                    <a:lnTo>
                      <a:pt x="753" y="848"/>
                    </a:lnTo>
                    <a:lnTo>
                      <a:pt x="752" y="851"/>
                    </a:lnTo>
                    <a:lnTo>
                      <a:pt x="752" y="854"/>
                    </a:lnTo>
                    <a:lnTo>
                      <a:pt x="748" y="859"/>
                    </a:lnTo>
                    <a:lnTo>
                      <a:pt x="745" y="861"/>
                    </a:lnTo>
                    <a:lnTo>
                      <a:pt x="745" y="857"/>
                    </a:lnTo>
                    <a:lnTo>
                      <a:pt x="742" y="861"/>
                    </a:lnTo>
                    <a:lnTo>
                      <a:pt x="741" y="859"/>
                    </a:lnTo>
                    <a:lnTo>
                      <a:pt x="737" y="859"/>
                    </a:lnTo>
                    <a:lnTo>
                      <a:pt x="734" y="864"/>
                    </a:lnTo>
                    <a:lnTo>
                      <a:pt x="737" y="864"/>
                    </a:lnTo>
                    <a:lnTo>
                      <a:pt x="742" y="861"/>
                    </a:lnTo>
                    <a:lnTo>
                      <a:pt x="741" y="864"/>
                    </a:lnTo>
                    <a:lnTo>
                      <a:pt x="737" y="867"/>
                    </a:lnTo>
                    <a:lnTo>
                      <a:pt x="734" y="872"/>
                    </a:lnTo>
                    <a:lnTo>
                      <a:pt x="728" y="872"/>
                    </a:lnTo>
                    <a:lnTo>
                      <a:pt x="722" y="872"/>
                    </a:lnTo>
                    <a:lnTo>
                      <a:pt x="723" y="873"/>
                    </a:lnTo>
                    <a:lnTo>
                      <a:pt x="726" y="872"/>
                    </a:lnTo>
                    <a:lnTo>
                      <a:pt x="726" y="872"/>
                    </a:lnTo>
                    <a:lnTo>
                      <a:pt x="726" y="877"/>
                    </a:lnTo>
                    <a:lnTo>
                      <a:pt x="728" y="880"/>
                    </a:lnTo>
                    <a:lnTo>
                      <a:pt x="726" y="883"/>
                    </a:lnTo>
                    <a:lnTo>
                      <a:pt x="725" y="886"/>
                    </a:lnTo>
                    <a:lnTo>
                      <a:pt x="722" y="891"/>
                    </a:lnTo>
                    <a:lnTo>
                      <a:pt x="720" y="894"/>
                    </a:lnTo>
                    <a:lnTo>
                      <a:pt x="718" y="894"/>
                    </a:lnTo>
                    <a:lnTo>
                      <a:pt x="715" y="892"/>
                    </a:lnTo>
                    <a:lnTo>
                      <a:pt x="712" y="892"/>
                    </a:lnTo>
                    <a:lnTo>
                      <a:pt x="709" y="889"/>
                    </a:lnTo>
                    <a:lnTo>
                      <a:pt x="710" y="892"/>
                    </a:lnTo>
                    <a:lnTo>
                      <a:pt x="709" y="896"/>
                    </a:lnTo>
                    <a:lnTo>
                      <a:pt x="712" y="897"/>
                    </a:lnTo>
                    <a:lnTo>
                      <a:pt x="715" y="897"/>
                    </a:lnTo>
                    <a:lnTo>
                      <a:pt x="718" y="896"/>
                    </a:lnTo>
                    <a:lnTo>
                      <a:pt x="717" y="899"/>
                    </a:lnTo>
                    <a:lnTo>
                      <a:pt x="715" y="902"/>
                    </a:lnTo>
                    <a:lnTo>
                      <a:pt x="715" y="907"/>
                    </a:lnTo>
                    <a:lnTo>
                      <a:pt x="712" y="908"/>
                    </a:lnTo>
                    <a:lnTo>
                      <a:pt x="712" y="916"/>
                    </a:lnTo>
                    <a:lnTo>
                      <a:pt x="712" y="927"/>
                    </a:lnTo>
                    <a:lnTo>
                      <a:pt x="712" y="930"/>
                    </a:lnTo>
                    <a:lnTo>
                      <a:pt x="712" y="934"/>
                    </a:lnTo>
                    <a:lnTo>
                      <a:pt x="712" y="938"/>
                    </a:lnTo>
                    <a:lnTo>
                      <a:pt x="712" y="942"/>
                    </a:lnTo>
                    <a:lnTo>
                      <a:pt x="712" y="945"/>
                    </a:lnTo>
                    <a:lnTo>
                      <a:pt x="714" y="948"/>
                    </a:lnTo>
                    <a:lnTo>
                      <a:pt x="717" y="946"/>
                    </a:lnTo>
                    <a:lnTo>
                      <a:pt x="717" y="949"/>
                    </a:lnTo>
                    <a:lnTo>
                      <a:pt x="714" y="949"/>
                    </a:lnTo>
                    <a:lnTo>
                      <a:pt x="709" y="951"/>
                    </a:lnTo>
                    <a:lnTo>
                      <a:pt x="707" y="954"/>
                    </a:lnTo>
                    <a:lnTo>
                      <a:pt x="701" y="949"/>
                    </a:lnTo>
                    <a:lnTo>
                      <a:pt x="693" y="945"/>
                    </a:lnTo>
                    <a:lnTo>
                      <a:pt x="687" y="945"/>
                    </a:lnTo>
                    <a:lnTo>
                      <a:pt x="683" y="945"/>
                    </a:lnTo>
                    <a:lnTo>
                      <a:pt x="679" y="945"/>
                    </a:lnTo>
                    <a:lnTo>
                      <a:pt x="677" y="943"/>
                    </a:lnTo>
                    <a:lnTo>
                      <a:pt x="676" y="940"/>
                    </a:lnTo>
                    <a:lnTo>
                      <a:pt x="672" y="938"/>
                    </a:lnTo>
                    <a:lnTo>
                      <a:pt x="668" y="937"/>
                    </a:lnTo>
                    <a:lnTo>
                      <a:pt x="664" y="937"/>
                    </a:lnTo>
                    <a:lnTo>
                      <a:pt x="663" y="934"/>
                    </a:lnTo>
                    <a:lnTo>
                      <a:pt x="660" y="934"/>
                    </a:lnTo>
                    <a:lnTo>
                      <a:pt x="657" y="932"/>
                    </a:lnTo>
                    <a:lnTo>
                      <a:pt x="653" y="930"/>
                    </a:lnTo>
                    <a:lnTo>
                      <a:pt x="652" y="930"/>
                    </a:lnTo>
                    <a:lnTo>
                      <a:pt x="653" y="927"/>
                    </a:lnTo>
                    <a:lnTo>
                      <a:pt x="652" y="926"/>
                    </a:lnTo>
                    <a:lnTo>
                      <a:pt x="650" y="926"/>
                    </a:lnTo>
                    <a:lnTo>
                      <a:pt x="652" y="921"/>
                    </a:lnTo>
                    <a:lnTo>
                      <a:pt x="652" y="918"/>
                    </a:lnTo>
                    <a:lnTo>
                      <a:pt x="650" y="915"/>
                    </a:lnTo>
                    <a:lnTo>
                      <a:pt x="649" y="911"/>
                    </a:lnTo>
                    <a:lnTo>
                      <a:pt x="649" y="910"/>
                    </a:lnTo>
                    <a:lnTo>
                      <a:pt x="647" y="907"/>
                    </a:lnTo>
                    <a:lnTo>
                      <a:pt x="647" y="902"/>
                    </a:lnTo>
                    <a:lnTo>
                      <a:pt x="649" y="899"/>
                    </a:lnTo>
                    <a:lnTo>
                      <a:pt x="647" y="896"/>
                    </a:lnTo>
                    <a:lnTo>
                      <a:pt x="647" y="892"/>
                    </a:lnTo>
                    <a:lnTo>
                      <a:pt x="649" y="888"/>
                    </a:lnTo>
                    <a:lnTo>
                      <a:pt x="649" y="886"/>
                    </a:lnTo>
                    <a:lnTo>
                      <a:pt x="649" y="886"/>
                    </a:lnTo>
                    <a:lnTo>
                      <a:pt x="649" y="883"/>
                    </a:lnTo>
                    <a:lnTo>
                      <a:pt x="649" y="883"/>
                    </a:lnTo>
                    <a:lnTo>
                      <a:pt x="645" y="881"/>
                    </a:lnTo>
                    <a:lnTo>
                      <a:pt x="644" y="880"/>
                    </a:lnTo>
                    <a:lnTo>
                      <a:pt x="641" y="877"/>
                    </a:lnTo>
                    <a:lnTo>
                      <a:pt x="641" y="875"/>
                    </a:lnTo>
                    <a:lnTo>
                      <a:pt x="639" y="872"/>
                    </a:lnTo>
                    <a:lnTo>
                      <a:pt x="639" y="869"/>
                    </a:lnTo>
                    <a:lnTo>
                      <a:pt x="637" y="865"/>
                    </a:lnTo>
                    <a:lnTo>
                      <a:pt x="636" y="862"/>
                    </a:lnTo>
                    <a:lnTo>
                      <a:pt x="636" y="859"/>
                    </a:lnTo>
                    <a:lnTo>
                      <a:pt x="631" y="856"/>
                    </a:lnTo>
                    <a:lnTo>
                      <a:pt x="630" y="853"/>
                    </a:lnTo>
                    <a:lnTo>
                      <a:pt x="630" y="850"/>
                    </a:lnTo>
                    <a:lnTo>
                      <a:pt x="630" y="845"/>
                    </a:lnTo>
                    <a:lnTo>
                      <a:pt x="630" y="842"/>
                    </a:lnTo>
                    <a:lnTo>
                      <a:pt x="626" y="838"/>
                    </a:lnTo>
                    <a:lnTo>
                      <a:pt x="626" y="832"/>
                    </a:lnTo>
                    <a:lnTo>
                      <a:pt x="626" y="829"/>
                    </a:lnTo>
                    <a:lnTo>
                      <a:pt x="625" y="829"/>
                    </a:lnTo>
                    <a:lnTo>
                      <a:pt x="626" y="826"/>
                    </a:lnTo>
                    <a:lnTo>
                      <a:pt x="625" y="821"/>
                    </a:lnTo>
                    <a:lnTo>
                      <a:pt x="623" y="818"/>
                    </a:lnTo>
                    <a:lnTo>
                      <a:pt x="623" y="815"/>
                    </a:lnTo>
                    <a:lnTo>
                      <a:pt x="620" y="811"/>
                    </a:lnTo>
                    <a:lnTo>
                      <a:pt x="618" y="810"/>
                    </a:lnTo>
                    <a:lnTo>
                      <a:pt x="617" y="810"/>
                    </a:lnTo>
                    <a:lnTo>
                      <a:pt x="617" y="807"/>
                    </a:lnTo>
                    <a:lnTo>
                      <a:pt x="614" y="805"/>
                    </a:lnTo>
                    <a:lnTo>
                      <a:pt x="612" y="800"/>
                    </a:lnTo>
                    <a:lnTo>
                      <a:pt x="609" y="799"/>
                    </a:lnTo>
                    <a:lnTo>
                      <a:pt x="607" y="797"/>
                    </a:lnTo>
                    <a:lnTo>
                      <a:pt x="607" y="794"/>
                    </a:lnTo>
                    <a:lnTo>
                      <a:pt x="601" y="794"/>
                    </a:lnTo>
                    <a:lnTo>
                      <a:pt x="596" y="792"/>
                    </a:lnTo>
                    <a:lnTo>
                      <a:pt x="593" y="792"/>
                    </a:lnTo>
                    <a:lnTo>
                      <a:pt x="590" y="792"/>
                    </a:lnTo>
                    <a:lnTo>
                      <a:pt x="584" y="792"/>
                    </a:lnTo>
                    <a:lnTo>
                      <a:pt x="579" y="789"/>
                    </a:lnTo>
                    <a:lnTo>
                      <a:pt x="576" y="789"/>
                    </a:lnTo>
                    <a:lnTo>
                      <a:pt x="574" y="794"/>
                    </a:lnTo>
                    <a:lnTo>
                      <a:pt x="569" y="792"/>
                    </a:lnTo>
                    <a:lnTo>
                      <a:pt x="566" y="794"/>
                    </a:lnTo>
                    <a:lnTo>
                      <a:pt x="563" y="796"/>
                    </a:lnTo>
                    <a:lnTo>
                      <a:pt x="561" y="797"/>
                    </a:lnTo>
                    <a:lnTo>
                      <a:pt x="555" y="805"/>
                    </a:lnTo>
                    <a:lnTo>
                      <a:pt x="550" y="815"/>
                    </a:lnTo>
                    <a:lnTo>
                      <a:pt x="545" y="818"/>
                    </a:lnTo>
                    <a:lnTo>
                      <a:pt x="544" y="821"/>
                    </a:lnTo>
                    <a:lnTo>
                      <a:pt x="536" y="826"/>
                    </a:lnTo>
                    <a:lnTo>
                      <a:pt x="528" y="821"/>
                    </a:lnTo>
                    <a:lnTo>
                      <a:pt x="523" y="818"/>
                    </a:lnTo>
                    <a:lnTo>
                      <a:pt x="519" y="816"/>
                    </a:lnTo>
                    <a:lnTo>
                      <a:pt x="515" y="813"/>
                    </a:lnTo>
                    <a:lnTo>
                      <a:pt x="512" y="811"/>
                    </a:lnTo>
                    <a:lnTo>
                      <a:pt x="509" y="808"/>
                    </a:lnTo>
                    <a:lnTo>
                      <a:pt x="507" y="807"/>
                    </a:lnTo>
                    <a:lnTo>
                      <a:pt x="504" y="804"/>
                    </a:lnTo>
                    <a:lnTo>
                      <a:pt x="503" y="802"/>
                    </a:lnTo>
                    <a:lnTo>
                      <a:pt x="501" y="802"/>
                    </a:lnTo>
                    <a:lnTo>
                      <a:pt x="499" y="800"/>
                    </a:lnTo>
                    <a:lnTo>
                      <a:pt x="496" y="788"/>
                    </a:lnTo>
                    <a:lnTo>
                      <a:pt x="496" y="783"/>
                    </a:lnTo>
                    <a:lnTo>
                      <a:pt x="498" y="778"/>
                    </a:lnTo>
                    <a:lnTo>
                      <a:pt x="498" y="773"/>
                    </a:lnTo>
                    <a:lnTo>
                      <a:pt x="496" y="770"/>
                    </a:lnTo>
                    <a:lnTo>
                      <a:pt x="496" y="767"/>
                    </a:lnTo>
                    <a:lnTo>
                      <a:pt x="496" y="762"/>
                    </a:lnTo>
                    <a:lnTo>
                      <a:pt x="496" y="759"/>
                    </a:lnTo>
                    <a:lnTo>
                      <a:pt x="495" y="756"/>
                    </a:lnTo>
                    <a:lnTo>
                      <a:pt x="490" y="753"/>
                    </a:lnTo>
                    <a:lnTo>
                      <a:pt x="487" y="751"/>
                    </a:lnTo>
                    <a:lnTo>
                      <a:pt x="484" y="750"/>
                    </a:lnTo>
                    <a:lnTo>
                      <a:pt x="480" y="745"/>
                    </a:lnTo>
                    <a:lnTo>
                      <a:pt x="479" y="742"/>
                    </a:lnTo>
                    <a:lnTo>
                      <a:pt x="477" y="739"/>
                    </a:lnTo>
                    <a:lnTo>
                      <a:pt x="474" y="735"/>
                    </a:lnTo>
                    <a:lnTo>
                      <a:pt x="473" y="732"/>
                    </a:lnTo>
                    <a:lnTo>
                      <a:pt x="471" y="729"/>
                    </a:lnTo>
                    <a:lnTo>
                      <a:pt x="466" y="727"/>
                    </a:lnTo>
                    <a:lnTo>
                      <a:pt x="463" y="724"/>
                    </a:lnTo>
                    <a:lnTo>
                      <a:pt x="463" y="721"/>
                    </a:lnTo>
                    <a:lnTo>
                      <a:pt x="461" y="718"/>
                    </a:lnTo>
                    <a:lnTo>
                      <a:pt x="461" y="713"/>
                    </a:lnTo>
                    <a:lnTo>
                      <a:pt x="458" y="713"/>
                    </a:lnTo>
                    <a:lnTo>
                      <a:pt x="458" y="713"/>
                    </a:lnTo>
                    <a:lnTo>
                      <a:pt x="457" y="712"/>
                    </a:lnTo>
                    <a:lnTo>
                      <a:pt x="457" y="712"/>
                    </a:lnTo>
                    <a:lnTo>
                      <a:pt x="441" y="712"/>
                    </a:lnTo>
                    <a:lnTo>
                      <a:pt x="427" y="712"/>
                    </a:lnTo>
                    <a:lnTo>
                      <a:pt x="411" y="712"/>
                    </a:lnTo>
                    <a:lnTo>
                      <a:pt x="404" y="710"/>
                    </a:lnTo>
                    <a:lnTo>
                      <a:pt x="400" y="712"/>
                    </a:lnTo>
                    <a:lnTo>
                      <a:pt x="396" y="715"/>
                    </a:lnTo>
                    <a:lnTo>
                      <a:pt x="396" y="720"/>
                    </a:lnTo>
                    <a:lnTo>
                      <a:pt x="395" y="723"/>
                    </a:lnTo>
                    <a:lnTo>
                      <a:pt x="393" y="726"/>
                    </a:lnTo>
                    <a:lnTo>
                      <a:pt x="390" y="729"/>
                    </a:lnTo>
                    <a:lnTo>
                      <a:pt x="385" y="729"/>
                    </a:lnTo>
                    <a:lnTo>
                      <a:pt x="371" y="729"/>
                    </a:lnTo>
                    <a:lnTo>
                      <a:pt x="355" y="729"/>
                    </a:lnTo>
                    <a:lnTo>
                      <a:pt x="342" y="729"/>
                    </a:lnTo>
                    <a:lnTo>
                      <a:pt x="328" y="729"/>
                    </a:lnTo>
                    <a:lnTo>
                      <a:pt x="316" y="729"/>
                    </a:lnTo>
                    <a:lnTo>
                      <a:pt x="303" y="729"/>
                    </a:lnTo>
                    <a:lnTo>
                      <a:pt x="295" y="729"/>
                    </a:lnTo>
                    <a:lnTo>
                      <a:pt x="290" y="727"/>
                    </a:lnTo>
                    <a:lnTo>
                      <a:pt x="285" y="726"/>
                    </a:lnTo>
                    <a:lnTo>
                      <a:pt x="279" y="723"/>
                    </a:lnTo>
                    <a:lnTo>
                      <a:pt x="263" y="716"/>
                    </a:lnTo>
                    <a:lnTo>
                      <a:pt x="247" y="708"/>
                    </a:lnTo>
                    <a:lnTo>
                      <a:pt x="231" y="702"/>
                    </a:lnTo>
                    <a:lnTo>
                      <a:pt x="214" y="696"/>
                    </a:lnTo>
                    <a:lnTo>
                      <a:pt x="198" y="688"/>
                    </a:lnTo>
                    <a:lnTo>
                      <a:pt x="182" y="681"/>
                    </a:lnTo>
                    <a:lnTo>
                      <a:pt x="184" y="678"/>
                    </a:lnTo>
                    <a:lnTo>
                      <a:pt x="189" y="674"/>
                    </a:lnTo>
                    <a:lnTo>
                      <a:pt x="189" y="674"/>
                    </a:lnTo>
                    <a:lnTo>
                      <a:pt x="166" y="675"/>
                    </a:lnTo>
                    <a:lnTo>
                      <a:pt x="146" y="677"/>
                    </a:lnTo>
                    <a:lnTo>
                      <a:pt x="125" y="678"/>
                    </a:lnTo>
                    <a:lnTo>
                      <a:pt x="103" y="680"/>
                    </a:lnTo>
                    <a:lnTo>
                      <a:pt x="103" y="675"/>
                    </a:lnTo>
                    <a:lnTo>
                      <a:pt x="103" y="672"/>
                    </a:lnTo>
                    <a:lnTo>
                      <a:pt x="103" y="669"/>
                    </a:lnTo>
                    <a:lnTo>
                      <a:pt x="105" y="666"/>
                    </a:lnTo>
                    <a:lnTo>
                      <a:pt x="105" y="662"/>
                    </a:lnTo>
                    <a:lnTo>
                      <a:pt x="106" y="658"/>
                    </a:lnTo>
                    <a:lnTo>
                      <a:pt x="105" y="655"/>
                    </a:lnTo>
                    <a:lnTo>
                      <a:pt x="105" y="651"/>
                    </a:lnTo>
                    <a:lnTo>
                      <a:pt x="103" y="648"/>
                    </a:lnTo>
                    <a:lnTo>
                      <a:pt x="101" y="645"/>
                    </a:lnTo>
                    <a:lnTo>
                      <a:pt x="98" y="642"/>
                    </a:lnTo>
                    <a:lnTo>
                      <a:pt x="95" y="637"/>
                    </a:lnTo>
                    <a:lnTo>
                      <a:pt x="92" y="635"/>
                    </a:lnTo>
                    <a:lnTo>
                      <a:pt x="90" y="631"/>
                    </a:lnTo>
                    <a:lnTo>
                      <a:pt x="87" y="631"/>
                    </a:lnTo>
                    <a:lnTo>
                      <a:pt x="84" y="632"/>
                    </a:lnTo>
                    <a:lnTo>
                      <a:pt x="82" y="632"/>
                    </a:lnTo>
                    <a:lnTo>
                      <a:pt x="79" y="629"/>
                    </a:lnTo>
                    <a:lnTo>
                      <a:pt x="81" y="626"/>
                    </a:lnTo>
                    <a:lnTo>
                      <a:pt x="81" y="623"/>
                    </a:lnTo>
                    <a:lnTo>
                      <a:pt x="81" y="620"/>
                    </a:lnTo>
                    <a:lnTo>
                      <a:pt x="76" y="618"/>
                    </a:lnTo>
                    <a:lnTo>
                      <a:pt x="73" y="620"/>
                    </a:lnTo>
                    <a:lnTo>
                      <a:pt x="70" y="620"/>
                    </a:lnTo>
                    <a:lnTo>
                      <a:pt x="67" y="618"/>
                    </a:lnTo>
                    <a:lnTo>
                      <a:pt x="62" y="616"/>
                    </a:lnTo>
                    <a:lnTo>
                      <a:pt x="59" y="615"/>
                    </a:lnTo>
                    <a:lnTo>
                      <a:pt x="59" y="612"/>
                    </a:lnTo>
                    <a:lnTo>
                      <a:pt x="57" y="607"/>
                    </a:lnTo>
                    <a:lnTo>
                      <a:pt x="52" y="604"/>
                    </a:lnTo>
                    <a:lnTo>
                      <a:pt x="49" y="604"/>
                    </a:lnTo>
                    <a:lnTo>
                      <a:pt x="46" y="604"/>
                    </a:lnTo>
                    <a:lnTo>
                      <a:pt x="43" y="604"/>
                    </a:lnTo>
                    <a:lnTo>
                      <a:pt x="40" y="602"/>
                    </a:lnTo>
                    <a:lnTo>
                      <a:pt x="36" y="602"/>
                    </a:lnTo>
                    <a:lnTo>
                      <a:pt x="33" y="601"/>
                    </a:lnTo>
                    <a:lnTo>
                      <a:pt x="27" y="601"/>
                    </a:lnTo>
                    <a:lnTo>
                      <a:pt x="22" y="602"/>
                    </a:lnTo>
                    <a:lnTo>
                      <a:pt x="21" y="599"/>
                    </a:lnTo>
                    <a:lnTo>
                      <a:pt x="19" y="594"/>
                    </a:lnTo>
                    <a:lnTo>
                      <a:pt x="22" y="591"/>
                    </a:lnTo>
                    <a:lnTo>
                      <a:pt x="22" y="588"/>
                    </a:lnTo>
                    <a:lnTo>
                      <a:pt x="24" y="585"/>
                    </a:lnTo>
                    <a:lnTo>
                      <a:pt x="24" y="580"/>
                    </a:lnTo>
                    <a:lnTo>
                      <a:pt x="27" y="577"/>
                    </a:lnTo>
                    <a:lnTo>
                      <a:pt x="27" y="577"/>
                    </a:lnTo>
                    <a:lnTo>
                      <a:pt x="28" y="574"/>
                    </a:lnTo>
                    <a:lnTo>
                      <a:pt x="24" y="574"/>
                    </a:lnTo>
                    <a:lnTo>
                      <a:pt x="22" y="569"/>
                    </a:lnTo>
                    <a:lnTo>
                      <a:pt x="24" y="566"/>
                    </a:lnTo>
                    <a:lnTo>
                      <a:pt x="25" y="563"/>
                    </a:lnTo>
                    <a:lnTo>
                      <a:pt x="22" y="561"/>
                    </a:lnTo>
                    <a:lnTo>
                      <a:pt x="21" y="556"/>
                    </a:lnTo>
                    <a:lnTo>
                      <a:pt x="21" y="553"/>
                    </a:lnTo>
                    <a:lnTo>
                      <a:pt x="16" y="553"/>
                    </a:lnTo>
                    <a:lnTo>
                      <a:pt x="17" y="548"/>
                    </a:lnTo>
                    <a:lnTo>
                      <a:pt x="16" y="545"/>
                    </a:lnTo>
                    <a:lnTo>
                      <a:pt x="14" y="542"/>
                    </a:lnTo>
                    <a:lnTo>
                      <a:pt x="14" y="539"/>
                    </a:lnTo>
                    <a:lnTo>
                      <a:pt x="13" y="536"/>
                    </a:lnTo>
                    <a:lnTo>
                      <a:pt x="13" y="531"/>
                    </a:lnTo>
                    <a:lnTo>
                      <a:pt x="8" y="529"/>
                    </a:lnTo>
                    <a:lnTo>
                      <a:pt x="8" y="524"/>
                    </a:lnTo>
                    <a:lnTo>
                      <a:pt x="9" y="521"/>
                    </a:lnTo>
                    <a:lnTo>
                      <a:pt x="9" y="518"/>
                    </a:lnTo>
                    <a:lnTo>
                      <a:pt x="11" y="515"/>
                    </a:lnTo>
                    <a:lnTo>
                      <a:pt x="14" y="513"/>
                    </a:lnTo>
                    <a:lnTo>
                      <a:pt x="17" y="510"/>
                    </a:lnTo>
                    <a:lnTo>
                      <a:pt x="19" y="509"/>
                    </a:lnTo>
                    <a:lnTo>
                      <a:pt x="21" y="509"/>
                    </a:lnTo>
                    <a:lnTo>
                      <a:pt x="21" y="505"/>
                    </a:lnTo>
                    <a:lnTo>
                      <a:pt x="21" y="502"/>
                    </a:lnTo>
                    <a:lnTo>
                      <a:pt x="17" y="499"/>
                    </a:lnTo>
                    <a:lnTo>
                      <a:pt x="14" y="499"/>
                    </a:lnTo>
                    <a:lnTo>
                      <a:pt x="11" y="498"/>
                    </a:lnTo>
                    <a:lnTo>
                      <a:pt x="9" y="494"/>
                    </a:lnTo>
                    <a:lnTo>
                      <a:pt x="8" y="491"/>
                    </a:lnTo>
                    <a:lnTo>
                      <a:pt x="9" y="486"/>
                    </a:lnTo>
                    <a:lnTo>
                      <a:pt x="11" y="483"/>
                    </a:lnTo>
                    <a:lnTo>
                      <a:pt x="11" y="480"/>
                    </a:lnTo>
                    <a:lnTo>
                      <a:pt x="11" y="477"/>
                    </a:lnTo>
                    <a:lnTo>
                      <a:pt x="13" y="474"/>
                    </a:lnTo>
                    <a:lnTo>
                      <a:pt x="14" y="471"/>
                    </a:lnTo>
                    <a:lnTo>
                      <a:pt x="16" y="466"/>
                    </a:lnTo>
                    <a:lnTo>
                      <a:pt x="19" y="466"/>
                    </a:lnTo>
                    <a:lnTo>
                      <a:pt x="19" y="469"/>
                    </a:lnTo>
                    <a:lnTo>
                      <a:pt x="17" y="472"/>
                    </a:lnTo>
                    <a:lnTo>
                      <a:pt x="21" y="475"/>
                    </a:lnTo>
                    <a:lnTo>
                      <a:pt x="24" y="478"/>
                    </a:lnTo>
                    <a:lnTo>
                      <a:pt x="24" y="475"/>
                    </a:lnTo>
                    <a:lnTo>
                      <a:pt x="25" y="472"/>
                    </a:lnTo>
                    <a:lnTo>
                      <a:pt x="24" y="469"/>
                    </a:lnTo>
                    <a:lnTo>
                      <a:pt x="22" y="464"/>
                    </a:lnTo>
                    <a:lnTo>
                      <a:pt x="25" y="461"/>
                    </a:lnTo>
                    <a:lnTo>
                      <a:pt x="24" y="458"/>
                    </a:lnTo>
                    <a:lnTo>
                      <a:pt x="28" y="456"/>
                    </a:lnTo>
                    <a:lnTo>
                      <a:pt x="32" y="455"/>
                    </a:lnTo>
                    <a:lnTo>
                      <a:pt x="30" y="455"/>
                    </a:lnTo>
                    <a:lnTo>
                      <a:pt x="27" y="450"/>
                    </a:lnTo>
                    <a:lnTo>
                      <a:pt x="24" y="452"/>
                    </a:lnTo>
                    <a:lnTo>
                      <a:pt x="22" y="456"/>
                    </a:lnTo>
                    <a:lnTo>
                      <a:pt x="21" y="459"/>
                    </a:lnTo>
                    <a:lnTo>
                      <a:pt x="19" y="463"/>
                    </a:lnTo>
                    <a:lnTo>
                      <a:pt x="16" y="463"/>
                    </a:lnTo>
                    <a:lnTo>
                      <a:pt x="11" y="461"/>
                    </a:lnTo>
                    <a:lnTo>
                      <a:pt x="11" y="458"/>
                    </a:lnTo>
                    <a:lnTo>
                      <a:pt x="6" y="455"/>
                    </a:lnTo>
                    <a:lnTo>
                      <a:pt x="3" y="458"/>
                    </a:lnTo>
                    <a:lnTo>
                      <a:pt x="6" y="453"/>
                    </a:lnTo>
                    <a:lnTo>
                      <a:pt x="9" y="450"/>
                    </a:lnTo>
                    <a:lnTo>
                      <a:pt x="11" y="453"/>
                    </a:lnTo>
                    <a:lnTo>
                      <a:pt x="11" y="450"/>
                    </a:lnTo>
                    <a:lnTo>
                      <a:pt x="9" y="447"/>
                    </a:lnTo>
                    <a:lnTo>
                      <a:pt x="8" y="445"/>
                    </a:lnTo>
                    <a:close/>
                  </a:path>
                </a:pathLst>
              </a:custGeom>
              <a:solidFill>
                <a:srgbClr val="1F497D"/>
              </a:solidFill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46" name="Freeform 723"/>
              <p:cNvSpPr>
                <a:spLocks/>
              </p:cNvSpPr>
              <p:nvPr/>
            </p:nvSpPr>
            <p:spPr bwMode="auto">
              <a:xfrm>
                <a:off x="1385" y="1648"/>
                <a:ext cx="38" cy="13"/>
              </a:xfrm>
              <a:custGeom>
                <a:avLst/>
                <a:gdLst>
                  <a:gd name="T0" fmla="*/ 20 w 76"/>
                  <a:gd name="T1" fmla="*/ 20 h 25"/>
                  <a:gd name="T2" fmla="*/ 11 w 76"/>
                  <a:gd name="T3" fmla="*/ 22 h 25"/>
                  <a:gd name="T4" fmla="*/ 14 w 76"/>
                  <a:gd name="T5" fmla="*/ 24 h 25"/>
                  <a:gd name="T6" fmla="*/ 9 w 76"/>
                  <a:gd name="T7" fmla="*/ 24 h 25"/>
                  <a:gd name="T8" fmla="*/ 6 w 76"/>
                  <a:gd name="T9" fmla="*/ 24 h 25"/>
                  <a:gd name="T10" fmla="*/ 3 w 76"/>
                  <a:gd name="T11" fmla="*/ 25 h 25"/>
                  <a:gd name="T12" fmla="*/ 6 w 76"/>
                  <a:gd name="T13" fmla="*/ 24 h 25"/>
                  <a:gd name="T14" fmla="*/ 3 w 76"/>
                  <a:gd name="T15" fmla="*/ 24 h 25"/>
                  <a:gd name="T16" fmla="*/ 0 w 76"/>
                  <a:gd name="T17" fmla="*/ 22 h 25"/>
                  <a:gd name="T18" fmla="*/ 1 w 76"/>
                  <a:gd name="T19" fmla="*/ 19 h 25"/>
                  <a:gd name="T20" fmla="*/ 6 w 76"/>
                  <a:gd name="T21" fmla="*/ 16 h 25"/>
                  <a:gd name="T22" fmla="*/ 9 w 76"/>
                  <a:gd name="T23" fmla="*/ 16 h 25"/>
                  <a:gd name="T24" fmla="*/ 13 w 76"/>
                  <a:gd name="T25" fmla="*/ 14 h 25"/>
                  <a:gd name="T26" fmla="*/ 16 w 76"/>
                  <a:gd name="T27" fmla="*/ 11 h 25"/>
                  <a:gd name="T28" fmla="*/ 20 w 76"/>
                  <a:gd name="T29" fmla="*/ 11 h 25"/>
                  <a:gd name="T30" fmla="*/ 24 w 76"/>
                  <a:gd name="T31" fmla="*/ 9 h 25"/>
                  <a:gd name="T32" fmla="*/ 27 w 76"/>
                  <a:gd name="T33" fmla="*/ 9 h 25"/>
                  <a:gd name="T34" fmla="*/ 30 w 76"/>
                  <a:gd name="T35" fmla="*/ 11 h 25"/>
                  <a:gd name="T36" fmla="*/ 33 w 76"/>
                  <a:gd name="T37" fmla="*/ 8 h 25"/>
                  <a:gd name="T38" fmla="*/ 44 w 76"/>
                  <a:gd name="T39" fmla="*/ 8 h 25"/>
                  <a:gd name="T40" fmla="*/ 47 w 76"/>
                  <a:gd name="T41" fmla="*/ 8 h 25"/>
                  <a:gd name="T42" fmla="*/ 52 w 76"/>
                  <a:gd name="T43" fmla="*/ 8 h 25"/>
                  <a:gd name="T44" fmla="*/ 58 w 76"/>
                  <a:gd name="T45" fmla="*/ 3 h 25"/>
                  <a:gd name="T46" fmla="*/ 62 w 76"/>
                  <a:gd name="T47" fmla="*/ 1 h 25"/>
                  <a:gd name="T48" fmla="*/ 66 w 76"/>
                  <a:gd name="T49" fmla="*/ 0 h 25"/>
                  <a:gd name="T50" fmla="*/ 62 w 76"/>
                  <a:gd name="T51" fmla="*/ 3 h 25"/>
                  <a:gd name="T52" fmla="*/ 58 w 76"/>
                  <a:gd name="T53" fmla="*/ 6 h 25"/>
                  <a:gd name="T54" fmla="*/ 55 w 76"/>
                  <a:gd name="T55" fmla="*/ 8 h 25"/>
                  <a:gd name="T56" fmla="*/ 52 w 76"/>
                  <a:gd name="T57" fmla="*/ 9 h 25"/>
                  <a:gd name="T58" fmla="*/ 55 w 76"/>
                  <a:gd name="T59" fmla="*/ 11 h 25"/>
                  <a:gd name="T60" fmla="*/ 58 w 76"/>
                  <a:gd name="T61" fmla="*/ 8 h 25"/>
                  <a:gd name="T62" fmla="*/ 62 w 76"/>
                  <a:gd name="T63" fmla="*/ 6 h 25"/>
                  <a:gd name="T64" fmla="*/ 66 w 76"/>
                  <a:gd name="T65" fmla="*/ 6 h 25"/>
                  <a:gd name="T66" fmla="*/ 70 w 76"/>
                  <a:gd name="T67" fmla="*/ 6 h 25"/>
                  <a:gd name="T68" fmla="*/ 73 w 76"/>
                  <a:gd name="T69" fmla="*/ 5 h 25"/>
                  <a:gd name="T70" fmla="*/ 76 w 76"/>
                  <a:gd name="T71" fmla="*/ 5 h 25"/>
                  <a:gd name="T72" fmla="*/ 63 w 76"/>
                  <a:gd name="T73" fmla="*/ 11 h 25"/>
                  <a:gd name="T74" fmla="*/ 47 w 76"/>
                  <a:gd name="T75" fmla="*/ 16 h 25"/>
                  <a:gd name="T76" fmla="*/ 35 w 76"/>
                  <a:gd name="T77" fmla="*/ 17 h 25"/>
                  <a:gd name="T78" fmla="*/ 20 w 76"/>
                  <a:gd name="T79" fmla="*/ 2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76" h="25">
                    <a:moveTo>
                      <a:pt x="20" y="20"/>
                    </a:moveTo>
                    <a:lnTo>
                      <a:pt x="11" y="22"/>
                    </a:lnTo>
                    <a:lnTo>
                      <a:pt x="14" y="24"/>
                    </a:lnTo>
                    <a:lnTo>
                      <a:pt x="9" y="24"/>
                    </a:lnTo>
                    <a:lnTo>
                      <a:pt x="6" y="24"/>
                    </a:lnTo>
                    <a:lnTo>
                      <a:pt x="3" y="25"/>
                    </a:lnTo>
                    <a:lnTo>
                      <a:pt x="6" y="24"/>
                    </a:lnTo>
                    <a:lnTo>
                      <a:pt x="3" y="24"/>
                    </a:lnTo>
                    <a:lnTo>
                      <a:pt x="0" y="22"/>
                    </a:lnTo>
                    <a:lnTo>
                      <a:pt x="1" y="19"/>
                    </a:lnTo>
                    <a:lnTo>
                      <a:pt x="6" y="16"/>
                    </a:lnTo>
                    <a:lnTo>
                      <a:pt x="9" y="16"/>
                    </a:lnTo>
                    <a:lnTo>
                      <a:pt x="13" y="14"/>
                    </a:lnTo>
                    <a:lnTo>
                      <a:pt x="16" y="11"/>
                    </a:lnTo>
                    <a:lnTo>
                      <a:pt x="20" y="11"/>
                    </a:lnTo>
                    <a:lnTo>
                      <a:pt x="24" y="9"/>
                    </a:lnTo>
                    <a:lnTo>
                      <a:pt x="27" y="9"/>
                    </a:lnTo>
                    <a:lnTo>
                      <a:pt x="30" y="11"/>
                    </a:lnTo>
                    <a:lnTo>
                      <a:pt x="33" y="8"/>
                    </a:lnTo>
                    <a:lnTo>
                      <a:pt x="44" y="8"/>
                    </a:lnTo>
                    <a:lnTo>
                      <a:pt x="47" y="8"/>
                    </a:lnTo>
                    <a:lnTo>
                      <a:pt x="52" y="8"/>
                    </a:lnTo>
                    <a:lnTo>
                      <a:pt x="58" y="3"/>
                    </a:lnTo>
                    <a:lnTo>
                      <a:pt x="62" y="1"/>
                    </a:lnTo>
                    <a:lnTo>
                      <a:pt x="66" y="0"/>
                    </a:lnTo>
                    <a:lnTo>
                      <a:pt x="62" y="3"/>
                    </a:lnTo>
                    <a:lnTo>
                      <a:pt x="58" y="6"/>
                    </a:lnTo>
                    <a:lnTo>
                      <a:pt x="55" y="8"/>
                    </a:lnTo>
                    <a:lnTo>
                      <a:pt x="52" y="9"/>
                    </a:lnTo>
                    <a:lnTo>
                      <a:pt x="55" y="11"/>
                    </a:lnTo>
                    <a:lnTo>
                      <a:pt x="58" y="8"/>
                    </a:lnTo>
                    <a:lnTo>
                      <a:pt x="62" y="6"/>
                    </a:lnTo>
                    <a:lnTo>
                      <a:pt x="66" y="6"/>
                    </a:lnTo>
                    <a:lnTo>
                      <a:pt x="70" y="6"/>
                    </a:lnTo>
                    <a:lnTo>
                      <a:pt x="73" y="5"/>
                    </a:lnTo>
                    <a:lnTo>
                      <a:pt x="76" y="5"/>
                    </a:lnTo>
                    <a:lnTo>
                      <a:pt x="63" y="11"/>
                    </a:lnTo>
                    <a:lnTo>
                      <a:pt x="47" y="16"/>
                    </a:lnTo>
                    <a:lnTo>
                      <a:pt x="35" y="17"/>
                    </a:lnTo>
                    <a:lnTo>
                      <a:pt x="20" y="2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grpSp>
          <p:nvGrpSpPr>
            <p:cNvPr id="374" name="Group 724"/>
            <p:cNvGrpSpPr>
              <a:grpSpLocks/>
            </p:cNvGrpSpPr>
            <p:nvPr/>
          </p:nvGrpSpPr>
          <p:grpSpPr bwMode="auto">
            <a:xfrm>
              <a:off x="2418373" y="3698372"/>
              <a:ext cx="905742" cy="881750"/>
              <a:chOff x="593" y="1821"/>
              <a:chExt cx="616" cy="521"/>
            </a:xfrm>
            <a:solidFill>
              <a:srgbClr val="A6A6A6"/>
            </a:solidFill>
          </p:grpSpPr>
          <p:grpSp>
            <p:nvGrpSpPr>
              <p:cNvPr id="527" name="Group 725"/>
              <p:cNvGrpSpPr>
                <a:grpSpLocks/>
              </p:cNvGrpSpPr>
              <p:nvPr/>
            </p:nvGrpSpPr>
            <p:grpSpPr bwMode="auto">
              <a:xfrm>
                <a:off x="593" y="1821"/>
                <a:ext cx="473" cy="371"/>
                <a:chOff x="593" y="1821"/>
                <a:chExt cx="473" cy="371"/>
              </a:xfrm>
              <a:grpFill/>
            </p:grpSpPr>
            <p:sp>
              <p:nvSpPr>
                <p:cNvPr id="535" name="Freeform 726"/>
                <p:cNvSpPr>
                  <a:spLocks/>
                </p:cNvSpPr>
                <p:nvPr/>
              </p:nvSpPr>
              <p:spPr bwMode="auto">
                <a:xfrm>
                  <a:off x="594" y="1909"/>
                  <a:ext cx="4" cy="7"/>
                </a:xfrm>
                <a:custGeom>
                  <a:avLst/>
                  <a:gdLst>
                    <a:gd name="T0" fmla="*/ 8 w 8"/>
                    <a:gd name="T1" fmla="*/ 0 h 14"/>
                    <a:gd name="T2" fmla="*/ 6 w 8"/>
                    <a:gd name="T3" fmla="*/ 1 h 14"/>
                    <a:gd name="T4" fmla="*/ 5 w 8"/>
                    <a:gd name="T5" fmla="*/ 4 h 14"/>
                    <a:gd name="T6" fmla="*/ 3 w 8"/>
                    <a:gd name="T7" fmla="*/ 7 h 14"/>
                    <a:gd name="T8" fmla="*/ 0 w 8"/>
                    <a:gd name="T9" fmla="*/ 12 h 14"/>
                    <a:gd name="T10" fmla="*/ 5 w 8"/>
                    <a:gd name="T11" fmla="*/ 14 h 14"/>
                    <a:gd name="T12" fmla="*/ 6 w 8"/>
                    <a:gd name="T13" fmla="*/ 11 h 14"/>
                    <a:gd name="T14" fmla="*/ 8 w 8"/>
                    <a:gd name="T15" fmla="*/ 7 h 14"/>
                    <a:gd name="T16" fmla="*/ 8 w 8"/>
                    <a:gd name="T17" fmla="*/ 4 h 14"/>
                    <a:gd name="T18" fmla="*/ 8 w 8"/>
                    <a:gd name="T19" fmla="*/ 0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" h="14">
                      <a:moveTo>
                        <a:pt x="8" y="0"/>
                      </a:moveTo>
                      <a:lnTo>
                        <a:pt x="6" y="1"/>
                      </a:lnTo>
                      <a:lnTo>
                        <a:pt x="5" y="4"/>
                      </a:lnTo>
                      <a:lnTo>
                        <a:pt x="3" y="7"/>
                      </a:lnTo>
                      <a:lnTo>
                        <a:pt x="0" y="12"/>
                      </a:lnTo>
                      <a:lnTo>
                        <a:pt x="5" y="14"/>
                      </a:lnTo>
                      <a:lnTo>
                        <a:pt x="6" y="11"/>
                      </a:lnTo>
                      <a:lnTo>
                        <a:pt x="8" y="7"/>
                      </a:lnTo>
                      <a:lnTo>
                        <a:pt x="8" y="4"/>
                      </a:lnTo>
                      <a:lnTo>
                        <a:pt x="8" y="0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536" name="Freeform 727"/>
                <p:cNvSpPr>
                  <a:spLocks/>
                </p:cNvSpPr>
                <p:nvPr/>
              </p:nvSpPr>
              <p:spPr bwMode="auto">
                <a:xfrm>
                  <a:off x="628" y="1840"/>
                  <a:ext cx="2" cy="2"/>
                </a:xfrm>
                <a:custGeom>
                  <a:avLst/>
                  <a:gdLst>
                    <a:gd name="T0" fmla="*/ 3 w 5"/>
                    <a:gd name="T1" fmla="*/ 5 h 5"/>
                    <a:gd name="T2" fmla="*/ 5 w 5"/>
                    <a:gd name="T3" fmla="*/ 3 h 5"/>
                    <a:gd name="T4" fmla="*/ 0 w 5"/>
                    <a:gd name="T5" fmla="*/ 0 h 5"/>
                    <a:gd name="T6" fmla="*/ 0 w 5"/>
                    <a:gd name="T7" fmla="*/ 5 h 5"/>
                    <a:gd name="T8" fmla="*/ 3 w 5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5">
                      <a:moveTo>
                        <a:pt x="3" y="5"/>
                      </a:moveTo>
                      <a:lnTo>
                        <a:pt x="5" y="3"/>
                      </a:lnTo>
                      <a:lnTo>
                        <a:pt x="0" y="0"/>
                      </a:lnTo>
                      <a:lnTo>
                        <a:pt x="0" y="5"/>
                      </a:lnTo>
                      <a:lnTo>
                        <a:pt x="3" y="5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537" name="Freeform 728"/>
                <p:cNvSpPr>
                  <a:spLocks/>
                </p:cNvSpPr>
                <p:nvPr/>
              </p:nvSpPr>
              <p:spPr bwMode="auto">
                <a:xfrm>
                  <a:off x="633" y="1886"/>
                  <a:ext cx="5" cy="11"/>
                </a:xfrm>
                <a:custGeom>
                  <a:avLst/>
                  <a:gdLst>
                    <a:gd name="T0" fmla="*/ 9 w 11"/>
                    <a:gd name="T1" fmla="*/ 20 h 20"/>
                    <a:gd name="T2" fmla="*/ 11 w 11"/>
                    <a:gd name="T3" fmla="*/ 19 h 20"/>
                    <a:gd name="T4" fmla="*/ 9 w 11"/>
                    <a:gd name="T5" fmla="*/ 15 h 20"/>
                    <a:gd name="T6" fmla="*/ 11 w 11"/>
                    <a:gd name="T7" fmla="*/ 12 h 20"/>
                    <a:gd name="T8" fmla="*/ 9 w 11"/>
                    <a:gd name="T9" fmla="*/ 9 h 20"/>
                    <a:gd name="T10" fmla="*/ 6 w 11"/>
                    <a:gd name="T11" fmla="*/ 6 h 20"/>
                    <a:gd name="T12" fmla="*/ 6 w 11"/>
                    <a:gd name="T13" fmla="*/ 3 h 20"/>
                    <a:gd name="T14" fmla="*/ 4 w 11"/>
                    <a:gd name="T15" fmla="*/ 0 h 20"/>
                    <a:gd name="T16" fmla="*/ 1 w 11"/>
                    <a:gd name="T17" fmla="*/ 0 h 20"/>
                    <a:gd name="T18" fmla="*/ 0 w 11"/>
                    <a:gd name="T19" fmla="*/ 3 h 20"/>
                    <a:gd name="T20" fmla="*/ 0 w 11"/>
                    <a:gd name="T21" fmla="*/ 6 h 20"/>
                    <a:gd name="T22" fmla="*/ 3 w 11"/>
                    <a:gd name="T23" fmla="*/ 9 h 20"/>
                    <a:gd name="T24" fmla="*/ 4 w 11"/>
                    <a:gd name="T25" fmla="*/ 14 h 20"/>
                    <a:gd name="T26" fmla="*/ 6 w 11"/>
                    <a:gd name="T27" fmla="*/ 17 h 20"/>
                    <a:gd name="T28" fmla="*/ 9 w 11"/>
                    <a:gd name="T29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1" h="20">
                      <a:moveTo>
                        <a:pt x="9" y="20"/>
                      </a:moveTo>
                      <a:lnTo>
                        <a:pt x="11" y="19"/>
                      </a:lnTo>
                      <a:lnTo>
                        <a:pt x="9" y="15"/>
                      </a:lnTo>
                      <a:lnTo>
                        <a:pt x="11" y="12"/>
                      </a:lnTo>
                      <a:lnTo>
                        <a:pt x="9" y="9"/>
                      </a:lnTo>
                      <a:lnTo>
                        <a:pt x="6" y="6"/>
                      </a:lnTo>
                      <a:lnTo>
                        <a:pt x="6" y="3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3" y="9"/>
                      </a:lnTo>
                      <a:lnTo>
                        <a:pt x="4" y="14"/>
                      </a:lnTo>
                      <a:lnTo>
                        <a:pt x="6" y="17"/>
                      </a:lnTo>
                      <a:lnTo>
                        <a:pt x="9" y="20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538" name="Freeform 729"/>
                <p:cNvSpPr>
                  <a:spLocks/>
                </p:cNvSpPr>
                <p:nvPr/>
              </p:nvSpPr>
              <p:spPr bwMode="auto">
                <a:xfrm>
                  <a:off x="647" y="1892"/>
                  <a:ext cx="7" cy="10"/>
                </a:xfrm>
                <a:custGeom>
                  <a:avLst/>
                  <a:gdLst>
                    <a:gd name="T0" fmla="*/ 8 w 15"/>
                    <a:gd name="T1" fmla="*/ 20 h 20"/>
                    <a:gd name="T2" fmla="*/ 10 w 15"/>
                    <a:gd name="T3" fmla="*/ 17 h 20"/>
                    <a:gd name="T4" fmla="*/ 11 w 15"/>
                    <a:gd name="T5" fmla="*/ 14 h 20"/>
                    <a:gd name="T6" fmla="*/ 15 w 15"/>
                    <a:gd name="T7" fmla="*/ 11 h 20"/>
                    <a:gd name="T8" fmla="*/ 15 w 15"/>
                    <a:gd name="T9" fmla="*/ 6 h 20"/>
                    <a:gd name="T10" fmla="*/ 15 w 15"/>
                    <a:gd name="T11" fmla="*/ 3 h 20"/>
                    <a:gd name="T12" fmla="*/ 15 w 15"/>
                    <a:gd name="T13" fmla="*/ 0 h 20"/>
                    <a:gd name="T14" fmla="*/ 11 w 15"/>
                    <a:gd name="T15" fmla="*/ 1 h 20"/>
                    <a:gd name="T16" fmla="*/ 8 w 15"/>
                    <a:gd name="T17" fmla="*/ 1 h 20"/>
                    <a:gd name="T18" fmla="*/ 7 w 15"/>
                    <a:gd name="T19" fmla="*/ 3 h 20"/>
                    <a:gd name="T20" fmla="*/ 5 w 15"/>
                    <a:gd name="T21" fmla="*/ 6 h 20"/>
                    <a:gd name="T22" fmla="*/ 3 w 15"/>
                    <a:gd name="T23" fmla="*/ 11 h 20"/>
                    <a:gd name="T24" fmla="*/ 0 w 15"/>
                    <a:gd name="T25" fmla="*/ 16 h 20"/>
                    <a:gd name="T26" fmla="*/ 3 w 15"/>
                    <a:gd name="T27" fmla="*/ 17 h 20"/>
                    <a:gd name="T28" fmla="*/ 8 w 15"/>
                    <a:gd name="T29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5" h="20">
                      <a:moveTo>
                        <a:pt x="8" y="20"/>
                      </a:moveTo>
                      <a:lnTo>
                        <a:pt x="10" y="17"/>
                      </a:lnTo>
                      <a:lnTo>
                        <a:pt x="11" y="14"/>
                      </a:lnTo>
                      <a:lnTo>
                        <a:pt x="15" y="11"/>
                      </a:lnTo>
                      <a:lnTo>
                        <a:pt x="15" y="6"/>
                      </a:lnTo>
                      <a:lnTo>
                        <a:pt x="15" y="3"/>
                      </a:lnTo>
                      <a:lnTo>
                        <a:pt x="15" y="0"/>
                      </a:lnTo>
                      <a:lnTo>
                        <a:pt x="11" y="1"/>
                      </a:lnTo>
                      <a:lnTo>
                        <a:pt x="8" y="1"/>
                      </a:lnTo>
                      <a:lnTo>
                        <a:pt x="7" y="3"/>
                      </a:lnTo>
                      <a:lnTo>
                        <a:pt x="5" y="6"/>
                      </a:lnTo>
                      <a:lnTo>
                        <a:pt x="3" y="11"/>
                      </a:lnTo>
                      <a:lnTo>
                        <a:pt x="0" y="16"/>
                      </a:lnTo>
                      <a:lnTo>
                        <a:pt x="3" y="17"/>
                      </a:lnTo>
                      <a:lnTo>
                        <a:pt x="8" y="20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539" name="Freeform 730"/>
                <p:cNvSpPr>
                  <a:spLocks/>
                </p:cNvSpPr>
                <p:nvPr/>
              </p:nvSpPr>
              <p:spPr bwMode="auto">
                <a:xfrm>
                  <a:off x="653" y="1957"/>
                  <a:ext cx="4" cy="5"/>
                </a:xfrm>
                <a:custGeom>
                  <a:avLst/>
                  <a:gdLst>
                    <a:gd name="T0" fmla="*/ 6 w 6"/>
                    <a:gd name="T1" fmla="*/ 0 h 9"/>
                    <a:gd name="T2" fmla="*/ 6 w 6"/>
                    <a:gd name="T3" fmla="*/ 0 h 9"/>
                    <a:gd name="T4" fmla="*/ 3 w 6"/>
                    <a:gd name="T5" fmla="*/ 1 h 9"/>
                    <a:gd name="T6" fmla="*/ 2 w 6"/>
                    <a:gd name="T7" fmla="*/ 6 h 9"/>
                    <a:gd name="T8" fmla="*/ 0 w 6"/>
                    <a:gd name="T9" fmla="*/ 9 h 9"/>
                    <a:gd name="T10" fmla="*/ 3 w 6"/>
                    <a:gd name="T11" fmla="*/ 4 h 9"/>
                    <a:gd name="T12" fmla="*/ 6 w 6"/>
                    <a:gd name="T13" fmla="*/ 3 h 9"/>
                    <a:gd name="T14" fmla="*/ 6 w 6"/>
                    <a:gd name="T15" fmla="*/ 0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6" h="9">
                      <a:moveTo>
                        <a:pt x="6" y="0"/>
                      </a:moveTo>
                      <a:lnTo>
                        <a:pt x="6" y="0"/>
                      </a:lnTo>
                      <a:lnTo>
                        <a:pt x="3" y="1"/>
                      </a:lnTo>
                      <a:lnTo>
                        <a:pt x="2" y="6"/>
                      </a:lnTo>
                      <a:lnTo>
                        <a:pt x="0" y="9"/>
                      </a:lnTo>
                      <a:lnTo>
                        <a:pt x="3" y="4"/>
                      </a:lnTo>
                      <a:lnTo>
                        <a:pt x="6" y="3"/>
                      </a:lnTo>
                      <a:lnTo>
                        <a:pt x="6" y="0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540" name="Freeform 731"/>
                <p:cNvSpPr>
                  <a:spLocks/>
                </p:cNvSpPr>
                <p:nvPr/>
              </p:nvSpPr>
              <p:spPr bwMode="auto">
                <a:xfrm>
                  <a:off x="658" y="1977"/>
                  <a:ext cx="3" cy="4"/>
                </a:xfrm>
                <a:custGeom>
                  <a:avLst/>
                  <a:gdLst>
                    <a:gd name="T0" fmla="*/ 0 w 5"/>
                    <a:gd name="T1" fmla="*/ 0 h 10"/>
                    <a:gd name="T2" fmla="*/ 0 w 5"/>
                    <a:gd name="T3" fmla="*/ 4 h 10"/>
                    <a:gd name="T4" fmla="*/ 0 w 5"/>
                    <a:gd name="T5" fmla="*/ 7 h 10"/>
                    <a:gd name="T6" fmla="*/ 2 w 5"/>
                    <a:gd name="T7" fmla="*/ 10 h 10"/>
                    <a:gd name="T8" fmla="*/ 5 w 5"/>
                    <a:gd name="T9" fmla="*/ 7 h 10"/>
                    <a:gd name="T10" fmla="*/ 4 w 5"/>
                    <a:gd name="T11" fmla="*/ 4 h 10"/>
                    <a:gd name="T12" fmla="*/ 0 w 5"/>
                    <a:gd name="T13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10">
                      <a:moveTo>
                        <a:pt x="0" y="0"/>
                      </a:moveTo>
                      <a:lnTo>
                        <a:pt x="0" y="4"/>
                      </a:lnTo>
                      <a:lnTo>
                        <a:pt x="0" y="7"/>
                      </a:lnTo>
                      <a:lnTo>
                        <a:pt x="2" y="10"/>
                      </a:lnTo>
                      <a:lnTo>
                        <a:pt x="5" y="7"/>
                      </a:lnTo>
                      <a:lnTo>
                        <a:pt x="4" y="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541" name="Freeform 732"/>
                <p:cNvSpPr>
                  <a:spLocks/>
                </p:cNvSpPr>
                <p:nvPr/>
              </p:nvSpPr>
              <p:spPr bwMode="auto">
                <a:xfrm>
                  <a:off x="669" y="1993"/>
                  <a:ext cx="1" cy="3"/>
                </a:xfrm>
                <a:custGeom>
                  <a:avLst/>
                  <a:gdLst>
                    <a:gd name="T0" fmla="*/ 1 w 1"/>
                    <a:gd name="T1" fmla="*/ 6 h 6"/>
                    <a:gd name="T2" fmla="*/ 1 w 1"/>
                    <a:gd name="T3" fmla="*/ 3 h 6"/>
                    <a:gd name="T4" fmla="*/ 0 w 1"/>
                    <a:gd name="T5" fmla="*/ 0 h 6"/>
                    <a:gd name="T6" fmla="*/ 0 w 1"/>
                    <a:gd name="T7" fmla="*/ 3 h 6"/>
                    <a:gd name="T8" fmla="*/ 1 w 1"/>
                    <a:gd name="T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6">
                      <a:moveTo>
                        <a:pt x="1" y="6"/>
                      </a:moveTo>
                      <a:lnTo>
                        <a:pt x="1" y="3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1" y="6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542" name="Freeform 733"/>
                <p:cNvSpPr>
                  <a:spLocks/>
                </p:cNvSpPr>
                <p:nvPr/>
              </p:nvSpPr>
              <p:spPr bwMode="auto">
                <a:xfrm>
                  <a:off x="593" y="1821"/>
                  <a:ext cx="473" cy="371"/>
                </a:xfrm>
                <a:custGeom>
                  <a:avLst/>
                  <a:gdLst>
                    <a:gd name="T0" fmla="*/ 192 w 946"/>
                    <a:gd name="T1" fmla="*/ 55 h 742"/>
                    <a:gd name="T2" fmla="*/ 356 w 946"/>
                    <a:gd name="T3" fmla="*/ 38 h 742"/>
                    <a:gd name="T4" fmla="*/ 395 w 946"/>
                    <a:gd name="T5" fmla="*/ 92 h 742"/>
                    <a:gd name="T6" fmla="*/ 433 w 946"/>
                    <a:gd name="T7" fmla="*/ 152 h 742"/>
                    <a:gd name="T8" fmla="*/ 495 w 946"/>
                    <a:gd name="T9" fmla="*/ 118 h 742"/>
                    <a:gd name="T10" fmla="*/ 529 w 946"/>
                    <a:gd name="T11" fmla="*/ 168 h 742"/>
                    <a:gd name="T12" fmla="*/ 546 w 946"/>
                    <a:gd name="T13" fmla="*/ 218 h 742"/>
                    <a:gd name="T14" fmla="*/ 567 w 946"/>
                    <a:gd name="T15" fmla="*/ 263 h 742"/>
                    <a:gd name="T16" fmla="*/ 578 w 946"/>
                    <a:gd name="T17" fmla="*/ 364 h 742"/>
                    <a:gd name="T18" fmla="*/ 563 w 946"/>
                    <a:gd name="T19" fmla="*/ 420 h 742"/>
                    <a:gd name="T20" fmla="*/ 573 w 946"/>
                    <a:gd name="T21" fmla="*/ 456 h 742"/>
                    <a:gd name="T22" fmla="*/ 573 w 946"/>
                    <a:gd name="T23" fmla="*/ 480 h 742"/>
                    <a:gd name="T24" fmla="*/ 597 w 946"/>
                    <a:gd name="T25" fmla="*/ 547 h 742"/>
                    <a:gd name="T26" fmla="*/ 603 w 946"/>
                    <a:gd name="T27" fmla="*/ 578 h 742"/>
                    <a:gd name="T28" fmla="*/ 651 w 946"/>
                    <a:gd name="T29" fmla="*/ 593 h 742"/>
                    <a:gd name="T30" fmla="*/ 684 w 946"/>
                    <a:gd name="T31" fmla="*/ 585 h 742"/>
                    <a:gd name="T32" fmla="*/ 746 w 946"/>
                    <a:gd name="T33" fmla="*/ 577 h 742"/>
                    <a:gd name="T34" fmla="*/ 766 w 946"/>
                    <a:gd name="T35" fmla="*/ 564 h 742"/>
                    <a:gd name="T36" fmla="*/ 808 w 946"/>
                    <a:gd name="T37" fmla="*/ 512 h 742"/>
                    <a:gd name="T38" fmla="*/ 824 w 946"/>
                    <a:gd name="T39" fmla="*/ 474 h 742"/>
                    <a:gd name="T40" fmla="*/ 916 w 946"/>
                    <a:gd name="T41" fmla="*/ 458 h 742"/>
                    <a:gd name="T42" fmla="*/ 946 w 946"/>
                    <a:gd name="T43" fmla="*/ 475 h 742"/>
                    <a:gd name="T44" fmla="*/ 906 w 946"/>
                    <a:gd name="T45" fmla="*/ 534 h 742"/>
                    <a:gd name="T46" fmla="*/ 890 w 946"/>
                    <a:gd name="T47" fmla="*/ 593 h 742"/>
                    <a:gd name="T48" fmla="*/ 860 w 946"/>
                    <a:gd name="T49" fmla="*/ 596 h 742"/>
                    <a:gd name="T50" fmla="*/ 771 w 946"/>
                    <a:gd name="T51" fmla="*/ 631 h 742"/>
                    <a:gd name="T52" fmla="*/ 785 w 946"/>
                    <a:gd name="T53" fmla="*/ 680 h 742"/>
                    <a:gd name="T54" fmla="*/ 717 w 946"/>
                    <a:gd name="T55" fmla="*/ 729 h 742"/>
                    <a:gd name="T56" fmla="*/ 673 w 946"/>
                    <a:gd name="T57" fmla="*/ 691 h 742"/>
                    <a:gd name="T58" fmla="*/ 640 w 946"/>
                    <a:gd name="T59" fmla="*/ 669 h 742"/>
                    <a:gd name="T60" fmla="*/ 608 w 946"/>
                    <a:gd name="T61" fmla="*/ 683 h 742"/>
                    <a:gd name="T62" fmla="*/ 546 w 946"/>
                    <a:gd name="T63" fmla="*/ 688 h 742"/>
                    <a:gd name="T64" fmla="*/ 464 w 946"/>
                    <a:gd name="T65" fmla="*/ 653 h 742"/>
                    <a:gd name="T66" fmla="*/ 383 w 946"/>
                    <a:gd name="T67" fmla="*/ 602 h 742"/>
                    <a:gd name="T68" fmla="*/ 311 w 946"/>
                    <a:gd name="T69" fmla="*/ 559 h 742"/>
                    <a:gd name="T70" fmla="*/ 272 w 946"/>
                    <a:gd name="T71" fmla="*/ 502 h 742"/>
                    <a:gd name="T72" fmla="*/ 289 w 946"/>
                    <a:gd name="T73" fmla="*/ 451 h 742"/>
                    <a:gd name="T74" fmla="*/ 264 w 946"/>
                    <a:gd name="T75" fmla="*/ 379 h 742"/>
                    <a:gd name="T76" fmla="*/ 224 w 946"/>
                    <a:gd name="T77" fmla="*/ 323 h 742"/>
                    <a:gd name="T78" fmla="*/ 200 w 946"/>
                    <a:gd name="T79" fmla="*/ 291 h 742"/>
                    <a:gd name="T80" fmla="*/ 186 w 946"/>
                    <a:gd name="T81" fmla="*/ 272 h 742"/>
                    <a:gd name="T82" fmla="*/ 180 w 946"/>
                    <a:gd name="T83" fmla="*/ 244 h 742"/>
                    <a:gd name="T84" fmla="*/ 164 w 946"/>
                    <a:gd name="T85" fmla="*/ 198 h 742"/>
                    <a:gd name="T86" fmla="*/ 124 w 946"/>
                    <a:gd name="T87" fmla="*/ 141 h 742"/>
                    <a:gd name="T88" fmla="*/ 116 w 946"/>
                    <a:gd name="T89" fmla="*/ 74 h 742"/>
                    <a:gd name="T90" fmla="*/ 84 w 946"/>
                    <a:gd name="T91" fmla="*/ 46 h 742"/>
                    <a:gd name="T92" fmla="*/ 61 w 946"/>
                    <a:gd name="T93" fmla="*/ 74 h 742"/>
                    <a:gd name="T94" fmla="*/ 77 w 946"/>
                    <a:gd name="T95" fmla="*/ 147 h 742"/>
                    <a:gd name="T96" fmla="*/ 91 w 946"/>
                    <a:gd name="T97" fmla="*/ 203 h 742"/>
                    <a:gd name="T98" fmla="*/ 108 w 946"/>
                    <a:gd name="T99" fmla="*/ 237 h 742"/>
                    <a:gd name="T100" fmla="*/ 124 w 946"/>
                    <a:gd name="T101" fmla="*/ 310 h 742"/>
                    <a:gd name="T102" fmla="*/ 146 w 946"/>
                    <a:gd name="T103" fmla="*/ 347 h 742"/>
                    <a:gd name="T104" fmla="*/ 142 w 946"/>
                    <a:gd name="T105" fmla="*/ 401 h 742"/>
                    <a:gd name="T106" fmla="*/ 92 w 946"/>
                    <a:gd name="T107" fmla="*/ 336 h 742"/>
                    <a:gd name="T108" fmla="*/ 88 w 946"/>
                    <a:gd name="T109" fmla="*/ 274 h 742"/>
                    <a:gd name="T110" fmla="*/ 51 w 946"/>
                    <a:gd name="T111" fmla="*/ 242 h 742"/>
                    <a:gd name="T112" fmla="*/ 8 w 946"/>
                    <a:gd name="T113" fmla="*/ 199 h 742"/>
                    <a:gd name="T114" fmla="*/ 38 w 946"/>
                    <a:gd name="T115" fmla="*/ 201 h 742"/>
                    <a:gd name="T116" fmla="*/ 34 w 946"/>
                    <a:gd name="T117" fmla="*/ 142 h 742"/>
                    <a:gd name="T118" fmla="*/ 8 w 946"/>
                    <a:gd name="T119" fmla="*/ 95 h 742"/>
                    <a:gd name="T120" fmla="*/ 4 w 946"/>
                    <a:gd name="T121" fmla="*/ 26 h 7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946" h="742">
                      <a:moveTo>
                        <a:pt x="2" y="6"/>
                      </a:moveTo>
                      <a:lnTo>
                        <a:pt x="24" y="4"/>
                      </a:lnTo>
                      <a:lnTo>
                        <a:pt x="45" y="3"/>
                      </a:lnTo>
                      <a:lnTo>
                        <a:pt x="65" y="1"/>
                      </a:lnTo>
                      <a:lnTo>
                        <a:pt x="88" y="0"/>
                      </a:lnTo>
                      <a:lnTo>
                        <a:pt x="88" y="0"/>
                      </a:lnTo>
                      <a:lnTo>
                        <a:pt x="83" y="4"/>
                      </a:lnTo>
                      <a:lnTo>
                        <a:pt x="81" y="7"/>
                      </a:lnTo>
                      <a:lnTo>
                        <a:pt x="97" y="14"/>
                      </a:lnTo>
                      <a:lnTo>
                        <a:pt x="111" y="20"/>
                      </a:lnTo>
                      <a:lnTo>
                        <a:pt x="127" y="26"/>
                      </a:lnTo>
                      <a:lnTo>
                        <a:pt x="143" y="33"/>
                      </a:lnTo>
                      <a:lnTo>
                        <a:pt x="159" y="41"/>
                      </a:lnTo>
                      <a:lnTo>
                        <a:pt x="175" y="47"/>
                      </a:lnTo>
                      <a:lnTo>
                        <a:pt x="178" y="49"/>
                      </a:lnTo>
                      <a:lnTo>
                        <a:pt x="180" y="50"/>
                      </a:lnTo>
                      <a:lnTo>
                        <a:pt x="184" y="52"/>
                      </a:lnTo>
                      <a:lnTo>
                        <a:pt x="188" y="53"/>
                      </a:lnTo>
                      <a:lnTo>
                        <a:pt x="192" y="55"/>
                      </a:lnTo>
                      <a:lnTo>
                        <a:pt x="197" y="55"/>
                      </a:lnTo>
                      <a:lnTo>
                        <a:pt x="211" y="55"/>
                      </a:lnTo>
                      <a:lnTo>
                        <a:pt x="224" y="55"/>
                      </a:lnTo>
                      <a:lnTo>
                        <a:pt x="238" y="55"/>
                      </a:lnTo>
                      <a:lnTo>
                        <a:pt x="251" y="55"/>
                      </a:lnTo>
                      <a:lnTo>
                        <a:pt x="265" y="55"/>
                      </a:lnTo>
                      <a:lnTo>
                        <a:pt x="281" y="55"/>
                      </a:lnTo>
                      <a:lnTo>
                        <a:pt x="287" y="55"/>
                      </a:lnTo>
                      <a:lnTo>
                        <a:pt x="292" y="53"/>
                      </a:lnTo>
                      <a:lnTo>
                        <a:pt x="294" y="50"/>
                      </a:lnTo>
                      <a:lnTo>
                        <a:pt x="294" y="46"/>
                      </a:lnTo>
                      <a:lnTo>
                        <a:pt x="295" y="42"/>
                      </a:lnTo>
                      <a:lnTo>
                        <a:pt x="297" y="39"/>
                      </a:lnTo>
                      <a:lnTo>
                        <a:pt x="300" y="38"/>
                      </a:lnTo>
                      <a:lnTo>
                        <a:pt x="306" y="38"/>
                      </a:lnTo>
                      <a:lnTo>
                        <a:pt x="322" y="38"/>
                      </a:lnTo>
                      <a:lnTo>
                        <a:pt x="337" y="38"/>
                      </a:lnTo>
                      <a:lnTo>
                        <a:pt x="356" y="38"/>
                      </a:lnTo>
                      <a:lnTo>
                        <a:pt x="356" y="38"/>
                      </a:lnTo>
                      <a:lnTo>
                        <a:pt x="357" y="39"/>
                      </a:lnTo>
                      <a:lnTo>
                        <a:pt x="357" y="39"/>
                      </a:lnTo>
                      <a:lnTo>
                        <a:pt x="360" y="39"/>
                      </a:lnTo>
                      <a:lnTo>
                        <a:pt x="360" y="44"/>
                      </a:lnTo>
                      <a:lnTo>
                        <a:pt x="362" y="47"/>
                      </a:lnTo>
                      <a:lnTo>
                        <a:pt x="362" y="50"/>
                      </a:lnTo>
                      <a:lnTo>
                        <a:pt x="365" y="53"/>
                      </a:lnTo>
                      <a:lnTo>
                        <a:pt x="370" y="55"/>
                      </a:lnTo>
                      <a:lnTo>
                        <a:pt x="372" y="58"/>
                      </a:lnTo>
                      <a:lnTo>
                        <a:pt x="373" y="61"/>
                      </a:lnTo>
                      <a:lnTo>
                        <a:pt x="376" y="65"/>
                      </a:lnTo>
                      <a:lnTo>
                        <a:pt x="378" y="68"/>
                      </a:lnTo>
                      <a:lnTo>
                        <a:pt x="379" y="71"/>
                      </a:lnTo>
                      <a:lnTo>
                        <a:pt x="383" y="76"/>
                      </a:lnTo>
                      <a:lnTo>
                        <a:pt x="386" y="77"/>
                      </a:lnTo>
                      <a:lnTo>
                        <a:pt x="389" y="79"/>
                      </a:lnTo>
                      <a:lnTo>
                        <a:pt x="394" y="84"/>
                      </a:lnTo>
                      <a:lnTo>
                        <a:pt x="395" y="87"/>
                      </a:lnTo>
                      <a:lnTo>
                        <a:pt x="395" y="92"/>
                      </a:lnTo>
                      <a:lnTo>
                        <a:pt x="395" y="96"/>
                      </a:lnTo>
                      <a:lnTo>
                        <a:pt x="397" y="104"/>
                      </a:lnTo>
                      <a:lnTo>
                        <a:pt x="397" y="107"/>
                      </a:lnTo>
                      <a:lnTo>
                        <a:pt x="395" y="112"/>
                      </a:lnTo>
                      <a:lnTo>
                        <a:pt x="398" y="125"/>
                      </a:lnTo>
                      <a:lnTo>
                        <a:pt x="398" y="126"/>
                      </a:lnTo>
                      <a:lnTo>
                        <a:pt x="400" y="128"/>
                      </a:lnTo>
                      <a:lnTo>
                        <a:pt x="402" y="128"/>
                      </a:lnTo>
                      <a:lnTo>
                        <a:pt x="403" y="130"/>
                      </a:lnTo>
                      <a:lnTo>
                        <a:pt x="406" y="133"/>
                      </a:lnTo>
                      <a:lnTo>
                        <a:pt x="408" y="134"/>
                      </a:lnTo>
                      <a:lnTo>
                        <a:pt x="411" y="137"/>
                      </a:lnTo>
                      <a:lnTo>
                        <a:pt x="414" y="139"/>
                      </a:lnTo>
                      <a:lnTo>
                        <a:pt x="418" y="142"/>
                      </a:lnTo>
                      <a:lnTo>
                        <a:pt x="422" y="144"/>
                      </a:lnTo>
                      <a:lnTo>
                        <a:pt x="425" y="145"/>
                      </a:lnTo>
                      <a:lnTo>
                        <a:pt x="429" y="149"/>
                      </a:lnTo>
                      <a:lnTo>
                        <a:pt x="432" y="150"/>
                      </a:lnTo>
                      <a:lnTo>
                        <a:pt x="433" y="152"/>
                      </a:lnTo>
                      <a:lnTo>
                        <a:pt x="435" y="152"/>
                      </a:lnTo>
                      <a:lnTo>
                        <a:pt x="443" y="147"/>
                      </a:lnTo>
                      <a:lnTo>
                        <a:pt x="444" y="144"/>
                      </a:lnTo>
                      <a:lnTo>
                        <a:pt x="449" y="141"/>
                      </a:lnTo>
                      <a:lnTo>
                        <a:pt x="451" y="137"/>
                      </a:lnTo>
                      <a:lnTo>
                        <a:pt x="454" y="133"/>
                      </a:lnTo>
                      <a:lnTo>
                        <a:pt x="456" y="130"/>
                      </a:lnTo>
                      <a:lnTo>
                        <a:pt x="459" y="126"/>
                      </a:lnTo>
                      <a:lnTo>
                        <a:pt x="460" y="123"/>
                      </a:lnTo>
                      <a:lnTo>
                        <a:pt x="462" y="122"/>
                      </a:lnTo>
                      <a:lnTo>
                        <a:pt x="465" y="120"/>
                      </a:lnTo>
                      <a:lnTo>
                        <a:pt x="468" y="118"/>
                      </a:lnTo>
                      <a:lnTo>
                        <a:pt x="473" y="120"/>
                      </a:lnTo>
                      <a:lnTo>
                        <a:pt x="475" y="115"/>
                      </a:lnTo>
                      <a:lnTo>
                        <a:pt x="478" y="115"/>
                      </a:lnTo>
                      <a:lnTo>
                        <a:pt x="483" y="118"/>
                      </a:lnTo>
                      <a:lnTo>
                        <a:pt x="489" y="118"/>
                      </a:lnTo>
                      <a:lnTo>
                        <a:pt x="492" y="118"/>
                      </a:lnTo>
                      <a:lnTo>
                        <a:pt x="495" y="118"/>
                      </a:lnTo>
                      <a:lnTo>
                        <a:pt x="500" y="120"/>
                      </a:lnTo>
                      <a:lnTo>
                        <a:pt x="506" y="120"/>
                      </a:lnTo>
                      <a:lnTo>
                        <a:pt x="506" y="123"/>
                      </a:lnTo>
                      <a:lnTo>
                        <a:pt x="508" y="125"/>
                      </a:lnTo>
                      <a:lnTo>
                        <a:pt x="511" y="126"/>
                      </a:lnTo>
                      <a:lnTo>
                        <a:pt x="513" y="131"/>
                      </a:lnTo>
                      <a:lnTo>
                        <a:pt x="516" y="133"/>
                      </a:lnTo>
                      <a:lnTo>
                        <a:pt x="516" y="136"/>
                      </a:lnTo>
                      <a:lnTo>
                        <a:pt x="517" y="136"/>
                      </a:lnTo>
                      <a:lnTo>
                        <a:pt x="519" y="137"/>
                      </a:lnTo>
                      <a:lnTo>
                        <a:pt x="522" y="141"/>
                      </a:lnTo>
                      <a:lnTo>
                        <a:pt x="522" y="144"/>
                      </a:lnTo>
                      <a:lnTo>
                        <a:pt x="524" y="147"/>
                      </a:lnTo>
                      <a:lnTo>
                        <a:pt x="525" y="152"/>
                      </a:lnTo>
                      <a:lnTo>
                        <a:pt x="524" y="155"/>
                      </a:lnTo>
                      <a:lnTo>
                        <a:pt x="525" y="155"/>
                      </a:lnTo>
                      <a:lnTo>
                        <a:pt x="525" y="158"/>
                      </a:lnTo>
                      <a:lnTo>
                        <a:pt x="525" y="164"/>
                      </a:lnTo>
                      <a:lnTo>
                        <a:pt x="529" y="168"/>
                      </a:lnTo>
                      <a:lnTo>
                        <a:pt x="529" y="171"/>
                      </a:lnTo>
                      <a:lnTo>
                        <a:pt x="529" y="176"/>
                      </a:lnTo>
                      <a:lnTo>
                        <a:pt x="529" y="179"/>
                      </a:lnTo>
                      <a:lnTo>
                        <a:pt x="530" y="182"/>
                      </a:lnTo>
                      <a:lnTo>
                        <a:pt x="535" y="185"/>
                      </a:lnTo>
                      <a:lnTo>
                        <a:pt x="535" y="188"/>
                      </a:lnTo>
                      <a:lnTo>
                        <a:pt x="536" y="191"/>
                      </a:lnTo>
                      <a:lnTo>
                        <a:pt x="538" y="195"/>
                      </a:lnTo>
                      <a:lnTo>
                        <a:pt x="538" y="198"/>
                      </a:lnTo>
                      <a:lnTo>
                        <a:pt x="540" y="201"/>
                      </a:lnTo>
                      <a:lnTo>
                        <a:pt x="540" y="203"/>
                      </a:lnTo>
                      <a:lnTo>
                        <a:pt x="543" y="206"/>
                      </a:lnTo>
                      <a:lnTo>
                        <a:pt x="544" y="207"/>
                      </a:lnTo>
                      <a:lnTo>
                        <a:pt x="548" y="209"/>
                      </a:lnTo>
                      <a:lnTo>
                        <a:pt x="548" y="209"/>
                      </a:lnTo>
                      <a:lnTo>
                        <a:pt x="548" y="212"/>
                      </a:lnTo>
                      <a:lnTo>
                        <a:pt x="548" y="212"/>
                      </a:lnTo>
                      <a:lnTo>
                        <a:pt x="548" y="214"/>
                      </a:lnTo>
                      <a:lnTo>
                        <a:pt x="546" y="218"/>
                      </a:lnTo>
                      <a:lnTo>
                        <a:pt x="546" y="222"/>
                      </a:lnTo>
                      <a:lnTo>
                        <a:pt x="548" y="225"/>
                      </a:lnTo>
                      <a:lnTo>
                        <a:pt x="546" y="228"/>
                      </a:lnTo>
                      <a:lnTo>
                        <a:pt x="546" y="233"/>
                      </a:lnTo>
                      <a:lnTo>
                        <a:pt x="548" y="236"/>
                      </a:lnTo>
                      <a:lnTo>
                        <a:pt x="548" y="237"/>
                      </a:lnTo>
                      <a:lnTo>
                        <a:pt x="549" y="241"/>
                      </a:lnTo>
                      <a:lnTo>
                        <a:pt x="551" y="244"/>
                      </a:lnTo>
                      <a:lnTo>
                        <a:pt x="551" y="247"/>
                      </a:lnTo>
                      <a:lnTo>
                        <a:pt x="549" y="252"/>
                      </a:lnTo>
                      <a:lnTo>
                        <a:pt x="551" y="252"/>
                      </a:lnTo>
                      <a:lnTo>
                        <a:pt x="552" y="253"/>
                      </a:lnTo>
                      <a:lnTo>
                        <a:pt x="551" y="256"/>
                      </a:lnTo>
                      <a:lnTo>
                        <a:pt x="552" y="256"/>
                      </a:lnTo>
                      <a:lnTo>
                        <a:pt x="556" y="258"/>
                      </a:lnTo>
                      <a:lnTo>
                        <a:pt x="559" y="260"/>
                      </a:lnTo>
                      <a:lnTo>
                        <a:pt x="562" y="260"/>
                      </a:lnTo>
                      <a:lnTo>
                        <a:pt x="563" y="263"/>
                      </a:lnTo>
                      <a:lnTo>
                        <a:pt x="567" y="263"/>
                      </a:lnTo>
                      <a:lnTo>
                        <a:pt x="571" y="264"/>
                      </a:lnTo>
                      <a:lnTo>
                        <a:pt x="575" y="266"/>
                      </a:lnTo>
                      <a:lnTo>
                        <a:pt x="576" y="269"/>
                      </a:lnTo>
                      <a:lnTo>
                        <a:pt x="578" y="271"/>
                      </a:lnTo>
                      <a:lnTo>
                        <a:pt x="582" y="271"/>
                      </a:lnTo>
                      <a:lnTo>
                        <a:pt x="586" y="271"/>
                      </a:lnTo>
                      <a:lnTo>
                        <a:pt x="592" y="271"/>
                      </a:lnTo>
                      <a:lnTo>
                        <a:pt x="595" y="272"/>
                      </a:lnTo>
                      <a:lnTo>
                        <a:pt x="600" y="274"/>
                      </a:lnTo>
                      <a:lnTo>
                        <a:pt x="601" y="279"/>
                      </a:lnTo>
                      <a:lnTo>
                        <a:pt x="603" y="279"/>
                      </a:lnTo>
                      <a:lnTo>
                        <a:pt x="606" y="280"/>
                      </a:lnTo>
                      <a:lnTo>
                        <a:pt x="608" y="277"/>
                      </a:lnTo>
                      <a:lnTo>
                        <a:pt x="613" y="275"/>
                      </a:lnTo>
                      <a:lnTo>
                        <a:pt x="616" y="275"/>
                      </a:lnTo>
                      <a:lnTo>
                        <a:pt x="605" y="298"/>
                      </a:lnTo>
                      <a:lnTo>
                        <a:pt x="592" y="318"/>
                      </a:lnTo>
                      <a:lnTo>
                        <a:pt x="584" y="340"/>
                      </a:lnTo>
                      <a:lnTo>
                        <a:pt x="578" y="364"/>
                      </a:lnTo>
                      <a:lnTo>
                        <a:pt x="575" y="364"/>
                      </a:lnTo>
                      <a:lnTo>
                        <a:pt x="576" y="367"/>
                      </a:lnTo>
                      <a:lnTo>
                        <a:pt x="576" y="371"/>
                      </a:lnTo>
                      <a:lnTo>
                        <a:pt x="575" y="375"/>
                      </a:lnTo>
                      <a:lnTo>
                        <a:pt x="573" y="379"/>
                      </a:lnTo>
                      <a:lnTo>
                        <a:pt x="573" y="379"/>
                      </a:lnTo>
                      <a:lnTo>
                        <a:pt x="573" y="382"/>
                      </a:lnTo>
                      <a:lnTo>
                        <a:pt x="571" y="385"/>
                      </a:lnTo>
                      <a:lnTo>
                        <a:pt x="571" y="390"/>
                      </a:lnTo>
                      <a:lnTo>
                        <a:pt x="571" y="393"/>
                      </a:lnTo>
                      <a:lnTo>
                        <a:pt x="571" y="393"/>
                      </a:lnTo>
                      <a:lnTo>
                        <a:pt x="571" y="396"/>
                      </a:lnTo>
                      <a:lnTo>
                        <a:pt x="570" y="401"/>
                      </a:lnTo>
                      <a:lnTo>
                        <a:pt x="568" y="404"/>
                      </a:lnTo>
                      <a:lnTo>
                        <a:pt x="565" y="407"/>
                      </a:lnTo>
                      <a:lnTo>
                        <a:pt x="565" y="409"/>
                      </a:lnTo>
                      <a:lnTo>
                        <a:pt x="565" y="412"/>
                      </a:lnTo>
                      <a:lnTo>
                        <a:pt x="563" y="415"/>
                      </a:lnTo>
                      <a:lnTo>
                        <a:pt x="563" y="420"/>
                      </a:lnTo>
                      <a:lnTo>
                        <a:pt x="563" y="423"/>
                      </a:lnTo>
                      <a:lnTo>
                        <a:pt x="565" y="426"/>
                      </a:lnTo>
                      <a:lnTo>
                        <a:pt x="563" y="429"/>
                      </a:lnTo>
                      <a:lnTo>
                        <a:pt x="563" y="431"/>
                      </a:lnTo>
                      <a:lnTo>
                        <a:pt x="563" y="434"/>
                      </a:lnTo>
                      <a:lnTo>
                        <a:pt x="565" y="437"/>
                      </a:lnTo>
                      <a:lnTo>
                        <a:pt x="567" y="440"/>
                      </a:lnTo>
                      <a:lnTo>
                        <a:pt x="568" y="445"/>
                      </a:lnTo>
                      <a:lnTo>
                        <a:pt x="570" y="448"/>
                      </a:lnTo>
                      <a:lnTo>
                        <a:pt x="573" y="451"/>
                      </a:lnTo>
                      <a:lnTo>
                        <a:pt x="576" y="455"/>
                      </a:lnTo>
                      <a:lnTo>
                        <a:pt x="575" y="458"/>
                      </a:lnTo>
                      <a:lnTo>
                        <a:pt x="573" y="461"/>
                      </a:lnTo>
                      <a:lnTo>
                        <a:pt x="571" y="464"/>
                      </a:lnTo>
                      <a:lnTo>
                        <a:pt x="570" y="467"/>
                      </a:lnTo>
                      <a:lnTo>
                        <a:pt x="570" y="464"/>
                      </a:lnTo>
                      <a:lnTo>
                        <a:pt x="571" y="459"/>
                      </a:lnTo>
                      <a:lnTo>
                        <a:pt x="573" y="456"/>
                      </a:lnTo>
                      <a:lnTo>
                        <a:pt x="573" y="456"/>
                      </a:lnTo>
                      <a:lnTo>
                        <a:pt x="571" y="453"/>
                      </a:lnTo>
                      <a:lnTo>
                        <a:pt x="568" y="450"/>
                      </a:lnTo>
                      <a:lnTo>
                        <a:pt x="567" y="445"/>
                      </a:lnTo>
                      <a:lnTo>
                        <a:pt x="567" y="442"/>
                      </a:lnTo>
                      <a:lnTo>
                        <a:pt x="565" y="439"/>
                      </a:lnTo>
                      <a:lnTo>
                        <a:pt x="563" y="436"/>
                      </a:lnTo>
                      <a:lnTo>
                        <a:pt x="563" y="439"/>
                      </a:lnTo>
                      <a:lnTo>
                        <a:pt x="563" y="450"/>
                      </a:lnTo>
                      <a:lnTo>
                        <a:pt x="565" y="453"/>
                      </a:lnTo>
                      <a:lnTo>
                        <a:pt x="565" y="453"/>
                      </a:lnTo>
                      <a:lnTo>
                        <a:pt x="565" y="456"/>
                      </a:lnTo>
                      <a:lnTo>
                        <a:pt x="570" y="458"/>
                      </a:lnTo>
                      <a:lnTo>
                        <a:pt x="570" y="459"/>
                      </a:lnTo>
                      <a:lnTo>
                        <a:pt x="568" y="463"/>
                      </a:lnTo>
                      <a:lnTo>
                        <a:pt x="570" y="466"/>
                      </a:lnTo>
                      <a:lnTo>
                        <a:pt x="570" y="469"/>
                      </a:lnTo>
                      <a:lnTo>
                        <a:pt x="571" y="474"/>
                      </a:lnTo>
                      <a:lnTo>
                        <a:pt x="571" y="477"/>
                      </a:lnTo>
                      <a:lnTo>
                        <a:pt x="573" y="480"/>
                      </a:lnTo>
                      <a:lnTo>
                        <a:pt x="573" y="480"/>
                      </a:lnTo>
                      <a:lnTo>
                        <a:pt x="573" y="483"/>
                      </a:lnTo>
                      <a:lnTo>
                        <a:pt x="575" y="486"/>
                      </a:lnTo>
                      <a:lnTo>
                        <a:pt x="575" y="491"/>
                      </a:lnTo>
                      <a:lnTo>
                        <a:pt x="579" y="499"/>
                      </a:lnTo>
                      <a:lnTo>
                        <a:pt x="584" y="505"/>
                      </a:lnTo>
                      <a:lnTo>
                        <a:pt x="586" y="509"/>
                      </a:lnTo>
                      <a:lnTo>
                        <a:pt x="587" y="512"/>
                      </a:lnTo>
                      <a:lnTo>
                        <a:pt x="589" y="515"/>
                      </a:lnTo>
                      <a:lnTo>
                        <a:pt x="592" y="518"/>
                      </a:lnTo>
                      <a:lnTo>
                        <a:pt x="592" y="520"/>
                      </a:lnTo>
                      <a:lnTo>
                        <a:pt x="594" y="523"/>
                      </a:lnTo>
                      <a:lnTo>
                        <a:pt x="595" y="526"/>
                      </a:lnTo>
                      <a:lnTo>
                        <a:pt x="595" y="529"/>
                      </a:lnTo>
                      <a:lnTo>
                        <a:pt x="595" y="532"/>
                      </a:lnTo>
                      <a:lnTo>
                        <a:pt x="595" y="537"/>
                      </a:lnTo>
                      <a:lnTo>
                        <a:pt x="597" y="540"/>
                      </a:lnTo>
                      <a:lnTo>
                        <a:pt x="597" y="543"/>
                      </a:lnTo>
                      <a:lnTo>
                        <a:pt x="597" y="547"/>
                      </a:lnTo>
                      <a:lnTo>
                        <a:pt x="597" y="547"/>
                      </a:lnTo>
                      <a:lnTo>
                        <a:pt x="600" y="550"/>
                      </a:lnTo>
                      <a:lnTo>
                        <a:pt x="603" y="555"/>
                      </a:lnTo>
                      <a:lnTo>
                        <a:pt x="603" y="555"/>
                      </a:lnTo>
                      <a:lnTo>
                        <a:pt x="605" y="561"/>
                      </a:lnTo>
                      <a:lnTo>
                        <a:pt x="605" y="562"/>
                      </a:lnTo>
                      <a:lnTo>
                        <a:pt x="606" y="566"/>
                      </a:lnTo>
                      <a:lnTo>
                        <a:pt x="611" y="569"/>
                      </a:lnTo>
                      <a:lnTo>
                        <a:pt x="609" y="569"/>
                      </a:lnTo>
                      <a:lnTo>
                        <a:pt x="606" y="566"/>
                      </a:lnTo>
                      <a:lnTo>
                        <a:pt x="605" y="567"/>
                      </a:lnTo>
                      <a:lnTo>
                        <a:pt x="608" y="569"/>
                      </a:lnTo>
                      <a:lnTo>
                        <a:pt x="608" y="570"/>
                      </a:lnTo>
                      <a:lnTo>
                        <a:pt x="606" y="572"/>
                      </a:lnTo>
                      <a:lnTo>
                        <a:pt x="606" y="572"/>
                      </a:lnTo>
                      <a:lnTo>
                        <a:pt x="606" y="574"/>
                      </a:lnTo>
                      <a:lnTo>
                        <a:pt x="605" y="574"/>
                      </a:lnTo>
                      <a:lnTo>
                        <a:pt x="605" y="575"/>
                      </a:lnTo>
                      <a:lnTo>
                        <a:pt x="603" y="578"/>
                      </a:lnTo>
                      <a:lnTo>
                        <a:pt x="606" y="578"/>
                      </a:lnTo>
                      <a:lnTo>
                        <a:pt x="606" y="575"/>
                      </a:lnTo>
                      <a:lnTo>
                        <a:pt x="606" y="574"/>
                      </a:lnTo>
                      <a:lnTo>
                        <a:pt x="606" y="572"/>
                      </a:lnTo>
                      <a:lnTo>
                        <a:pt x="608" y="572"/>
                      </a:lnTo>
                      <a:lnTo>
                        <a:pt x="611" y="570"/>
                      </a:lnTo>
                      <a:lnTo>
                        <a:pt x="611" y="569"/>
                      </a:lnTo>
                      <a:lnTo>
                        <a:pt x="619" y="572"/>
                      </a:lnTo>
                      <a:lnTo>
                        <a:pt x="625" y="572"/>
                      </a:lnTo>
                      <a:lnTo>
                        <a:pt x="628" y="572"/>
                      </a:lnTo>
                      <a:lnTo>
                        <a:pt x="632" y="572"/>
                      </a:lnTo>
                      <a:lnTo>
                        <a:pt x="636" y="575"/>
                      </a:lnTo>
                      <a:lnTo>
                        <a:pt x="638" y="578"/>
                      </a:lnTo>
                      <a:lnTo>
                        <a:pt x="644" y="580"/>
                      </a:lnTo>
                      <a:lnTo>
                        <a:pt x="646" y="583"/>
                      </a:lnTo>
                      <a:lnTo>
                        <a:pt x="647" y="586"/>
                      </a:lnTo>
                      <a:lnTo>
                        <a:pt x="649" y="589"/>
                      </a:lnTo>
                      <a:lnTo>
                        <a:pt x="651" y="591"/>
                      </a:lnTo>
                      <a:lnTo>
                        <a:pt x="651" y="593"/>
                      </a:lnTo>
                      <a:lnTo>
                        <a:pt x="654" y="594"/>
                      </a:lnTo>
                      <a:lnTo>
                        <a:pt x="655" y="594"/>
                      </a:lnTo>
                      <a:lnTo>
                        <a:pt x="657" y="594"/>
                      </a:lnTo>
                      <a:lnTo>
                        <a:pt x="657" y="594"/>
                      </a:lnTo>
                      <a:lnTo>
                        <a:pt x="660" y="594"/>
                      </a:lnTo>
                      <a:lnTo>
                        <a:pt x="663" y="593"/>
                      </a:lnTo>
                      <a:lnTo>
                        <a:pt x="668" y="591"/>
                      </a:lnTo>
                      <a:lnTo>
                        <a:pt x="673" y="589"/>
                      </a:lnTo>
                      <a:lnTo>
                        <a:pt x="676" y="589"/>
                      </a:lnTo>
                      <a:lnTo>
                        <a:pt x="678" y="591"/>
                      </a:lnTo>
                      <a:lnTo>
                        <a:pt x="681" y="586"/>
                      </a:lnTo>
                      <a:lnTo>
                        <a:pt x="684" y="586"/>
                      </a:lnTo>
                      <a:lnTo>
                        <a:pt x="687" y="585"/>
                      </a:lnTo>
                      <a:lnTo>
                        <a:pt x="687" y="585"/>
                      </a:lnTo>
                      <a:lnTo>
                        <a:pt x="684" y="586"/>
                      </a:lnTo>
                      <a:lnTo>
                        <a:pt x="681" y="586"/>
                      </a:lnTo>
                      <a:lnTo>
                        <a:pt x="678" y="588"/>
                      </a:lnTo>
                      <a:lnTo>
                        <a:pt x="679" y="586"/>
                      </a:lnTo>
                      <a:lnTo>
                        <a:pt x="684" y="585"/>
                      </a:lnTo>
                      <a:lnTo>
                        <a:pt x="687" y="583"/>
                      </a:lnTo>
                      <a:lnTo>
                        <a:pt x="690" y="583"/>
                      </a:lnTo>
                      <a:lnTo>
                        <a:pt x="693" y="583"/>
                      </a:lnTo>
                      <a:lnTo>
                        <a:pt x="697" y="583"/>
                      </a:lnTo>
                      <a:lnTo>
                        <a:pt x="701" y="583"/>
                      </a:lnTo>
                      <a:lnTo>
                        <a:pt x="701" y="583"/>
                      </a:lnTo>
                      <a:lnTo>
                        <a:pt x="709" y="582"/>
                      </a:lnTo>
                      <a:lnTo>
                        <a:pt x="717" y="578"/>
                      </a:lnTo>
                      <a:lnTo>
                        <a:pt x="720" y="582"/>
                      </a:lnTo>
                      <a:lnTo>
                        <a:pt x="720" y="582"/>
                      </a:lnTo>
                      <a:lnTo>
                        <a:pt x="720" y="582"/>
                      </a:lnTo>
                      <a:lnTo>
                        <a:pt x="720" y="577"/>
                      </a:lnTo>
                      <a:lnTo>
                        <a:pt x="733" y="574"/>
                      </a:lnTo>
                      <a:lnTo>
                        <a:pt x="747" y="572"/>
                      </a:lnTo>
                      <a:lnTo>
                        <a:pt x="749" y="575"/>
                      </a:lnTo>
                      <a:lnTo>
                        <a:pt x="749" y="575"/>
                      </a:lnTo>
                      <a:lnTo>
                        <a:pt x="746" y="575"/>
                      </a:lnTo>
                      <a:lnTo>
                        <a:pt x="746" y="575"/>
                      </a:lnTo>
                      <a:lnTo>
                        <a:pt x="746" y="577"/>
                      </a:lnTo>
                      <a:lnTo>
                        <a:pt x="749" y="580"/>
                      </a:lnTo>
                      <a:lnTo>
                        <a:pt x="749" y="583"/>
                      </a:lnTo>
                      <a:lnTo>
                        <a:pt x="749" y="583"/>
                      </a:lnTo>
                      <a:lnTo>
                        <a:pt x="752" y="582"/>
                      </a:lnTo>
                      <a:lnTo>
                        <a:pt x="757" y="582"/>
                      </a:lnTo>
                      <a:lnTo>
                        <a:pt x="760" y="583"/>
                      </a:lnTo>
                      <a:lnTo>
                        <a:pt x="762" y="583"/>
                      </a:lnTo>
                      <a:lnTo>
                        <a:pt x="763" y="580"/>
                      </a:lnTo>
                      <a:lnTo>
                        <a:pt x="766" y="578"/>
                      </a:lnTo>
                      <a:lnTo>
                        <a:pt x="770" y="575"/>
                      </a:lnTo>
                      <a:lnTo>
                        <a:pt x="771" y="575"/>
                      </a:lnTo>
                      <a:lnTo>
                        <a:pt x="771" y="572"/>
                      </a:lnTo>
                      <a:lnTo>
                        <a:pt x="770" y="569"/>
                      </a:lnTo>
                      <a:lnTo>
                        <a:pt x="766" y="567"/>
                      </a:lnTo>
                      <a:lnTo>
                        <a:pt x="770" y="564"/>
                      </a:lnTo>
                      <a:lnTo>
                        <a:pt x="774" y="562"/>
                      </a:lnTo>
                      <a:lnTo>
                        <a:pt x="766" y="566"/>
                      </a:lnTo>
                      <a:lnTo>
                        <a:pt x="763" y="567"/>
                      </a:lnTo>
                      <a:lnTo>
                        <a:pt x="766" y="564"/>
                      </a:lnTo>
                      <a:lnTo>
                        <a:pt x="770" y="562"/>
                      </a:lnTo>
                      <a:lnTo>
                        <a:pt x="773" y="561"/>
                      </a:lnTo>
                      <a:lnTo>
                        <a:pt x="778" y="559"/>
                      </a:lnTo>
                      <a:lnTo>
                        <a:pt x="781" y="556"/>
                      </a:lnTo>
                      <a:lnTo>
                        <a:pt x="784" y="555"/>
                      </a:lnTo>
                      <a:lnTo>
                        <a:pt x="787" y="551"/>
                      </a:lnTo>
                      <a:lnTo>
                        <a:pt x="789" y="550"/>
                      </a:lnTo>
                      <a:lnTo>
                        <a:pt x="792" y="548"/>
                      </a:lnTo>
                      <a:lnTo>
                        <a:pt x="795" y="545"/>
                      </a:lnTo>
                      <a:lnTo>
                        <a:pt x="795" y="540"/>
                      </a:lnTo>
                      <a:lnTo>
                        <a:pt x="797" y="537"/>
                      </a:lnTo>
                      <a:lnTo>
                        <a:pt x="798" y="534"/>
                      </a:lnTo>
                      <a:lnTo>
                        <a:pt x="798" y="531"/>
                      </a:lnTo>
                      <a:lnTo>
                        <a:pt x="801" y="526"/>
                      </a:lnTo>
                      <a:lnTo>
                        <a:pt x="805" y="524"/>
                      </a:lnTo>
                      <a:lnTo>
                        <a:pt x="808" y="521"/>
                      </a:lnTo>
                      <a:lnTo>
                        <a:pt x="808" y="520"/>
                      </a:lnTo>
                      <a:lnTo>
                        <a:pt x="808" y="515"/>
                      </a:lnTo>
                      <a:lnTo>
                        <a:pt x="808" y="512"/>
                      </a:lnTo>
                      <a:lnTo>
                        <a:pt x="808" y="512"/>
                      </a:lnTo>
                      <a:lnTo>
                        <a:pt x="809" y="507"/>
                      </a:lnTo>
                      <a:lnTo>
                        <a:pt x="809" y="504"/>
                      </a:lnTo>
                      <a:lnTo>
                        <a:pt x="811" y="501"/>
                      </a:lnTo>
                      <a:lnTo>
                        <a:pt x="811" y="497"/>
                      </a:lnTo>
                      <a:lnTo>
                        <a:pt x="811" y="496"/>
                      </a:lnTo>
                      <a:lnTo>
                        <a:pt x="812" y="493"/>
                      </a:lnTo>
                      <a:lnTo>
                        <a:pt x="812" y="490"/>
                      </a:lnTo>
                      <a:lnTo>
                        <a:pt x="816" y="485"/>
                      </a:lnTo>
                      <a:lnTo>
                        <a:pt x="817" y="485"/>
                      </a:lnTo>
                      <a:lnTo>
                        <a:pt x="817" y="483"/>
                      </a:lnTo>
                      <a:lnTo>
                        <a:pt x="819" y="480"/>
                      </a:lnTo>
                      <a:lnTo>
                        <a:pt x="817" y="483"/>
                      </a:lnTo>
                      <a:lnTo>
                        <a:pt x="817" y="483"/>
                      </a:lnTo>
                      <a:lnTo>
                        <a:pt x="816" y="483"/>
                      </a:lnTo>
                      <a:lnTo>
                        <a:pt x="816" y="483"/>
                      </a:lnTo>
                      <a:lnTo>
                        <a:pt x="817" y="480"/>
                      </a:lnTo>
                      <a:lnTo>
                        <a:pt x="820" y="477"/>
                      </a:lnTo>
                      <a:lnTo>
                        <a:pt x="824" y="474"/>
                      </a:lnTo>
                      <a:lnTo>
                        <a:pt x="831" y="471"/>
                      </a:lnTo>
                      <a:lnTo>
                        <a:pt x="831" y="471"/>
                      </a:lnTo>
                      <a:lnTo>
                        <a:pt x="836" y="469"/>
                      </a:lnTo>
                      <a:lnTo>
                        <a:pt x="849" y="466"/>
                      </a:lnTo>
                      <a:lnTo>
                        <a:pt x="863" y="463"/>
                      </a:lnTo>
                      <a:lnTo>
                        <a:pt x="868" y="463"/>
                      </a:lnTo>
                      <a:lnTo>
                        <a:pt x="874" y="461"/>
                      </a:lnTo>
                      <a:lnTo>
                        <a:pt x="877" y="459"/>
                      </a:lnTo>
                      <a:lnTo>
                        <a:pt x="881" y="458"/>
                      </a:lnTo>
                      <a:lnTo>
                        <a:pt x="884" y="456"/>
                      </a:lnTo>
                      <a:lnTo>
                        <a:pt x="889" y="455"/>
                      </a:lnTo>
                      <a:lnTo>
                        <a:pt x="892" y="455"/>
                      </a:lnTo>
                      <a:lnTo>
                        <a:pt x="893" y="455"/>
                      </a:lnTo>
                      <a:lnTo>
                        <a:pt x="898" y="455"/>
                      </a:lnTo>
                      <a:lnTo>
                        <a:pt x="901" y="455"/>
                      </a:lnTo>
                      <a:lnTo>
                        <a:pt x="906" y="455"/>
                      </a:lnTo>
                      <a:lnTo>
                        <a:pt x="909" y="455"/>
                      </a:lnTo>
                      <a:lnTo>
                        <a:pt x="912" y="458"/>
                      </a:lnTo>
                      <a:lnTo>
                        <a:pt x="916" y="458"/>
                      </a:lnTo>
                      <a:lnTo>
                        <a:pt x="919" y="458"/>
                      </a:lnTo>
                      <a:lnTo>
                        <a:pt x="916" y="458"/>
                      </a:lnTo>
                      <a:lnTo>
                        <a:pt x="912" y="456"/>
                      </a:lnTo>
                      <a:lnTo>
                        <a:pt x="916" y="456"/>
                      </a:lnTo>
                      <a:lnTo>
                        <a:pt x="916" y="456"/>
                      </a:lnTo>
                      <a:lnTo>
                        <a:pt x="919" y="458"/>
                      </a:lnTo>
                      <a:lnTo>
                        <a:pt x="920" y="458"/>
                      </a:lnTo>
                      <a:lnTo>
                        <a:pt x="925" y="459"/>
                      </a:lnTo>
                      <a:lnTo>
                        <a:pt x="928" y="461"/>
                      </a:lnTo>
                      <a:lnTo>
                        <a:pt x="925" y="459"/>
                      </a:lnTo>
                      <a:lnTo>
                        <a:pt x="928" y="455"/>
                      </a:lnTo>
                      <a:lnTo>
                        <a:pt x="931" y="456"/>
                      </a:lnTo>
                      <a:lnTo>
                        <a:pt x="935" y="455"/>
                      </a:lnTo>
                      <a:lnTo>
                        <a:pt x="939" y="455"/>
                      </a:lnTo>
                      <a:lnTo>
                        <a:pt x="942" y="458"/>
                      </a:lnTo>
                      <a:lnTo>
                        <a:pt x="946" y="461"/>
                      </a:lnTo>
                      <a:lnTo>
                        <a:pt x="946" y="464"/>
                      </a:lnTo>
                      <a:lnTo>
                        <a:pt x="944" y="471"/>
                      </a:lnTo>
                      <a:lnTo>
                        <a:pt x="946" y="475"/>
                      </a:lnTo>
                      <a:lnTo>
                        <a:pt x="944" y="478"/>
                      </a:lnTo>
                      <a:lnTo>
                        <a:pt x="942" y="482"/>
                      </a:lnTo>
                      <a:lnTo>
                        <a:pt x="941" y="485"/>
                      </a:lnTo>
                      <a:lnTo>
                        <a:pt x="938" y="488"/>
                      </a:lnTo>
                      <a:lnTo>
                        <a:pt x="935" y="491"/>
                      </a:lnTo>
                      <a:lnTo>
                        <a:pt x="928" y="496"/>
                      </a:lnTo>
                      <a:lnTo>
                        <a:pt x="920" y="507"/>
                      </a:lnTo>
                      <a:lnTo>
                        <a:pt x="917" y="510"/>
                      </a:lnTo>
                      <a:lnTo>
                        <a:pt x="916" y="513"/>
                      </a:lnTo>
                      <a:lnTo>
                        <a:pt x="916" y="516"/>
                      </a:lnTo>
                      <a:lnTo>
                        <a:pt x="914" y="520"/>
                      </a:lnTo>
                      <a:lnTo>
                        <a:pt x="916" y="523"/>
                      </a:lnTo>
                      <a:lnTo>
                        <a:pt x="914" y="524"/>
                      </a:lnTo>
                      <a:lnTo>
                        <a:pt x="914" y="521"/>
                      </a:lnTo>
                      <a:lnTo>
                        <a:pt x="914" y="521"/>
                      </a:lnTo>
                      <a:lnTo>
                        <a:pt x="914" y="524"/>
                      </a:lnTo>
                      <a:lnTo>
                        <a:pt x="909" y="528"/>
                      </a:lnTo>
                      <a:lnTo>
                        <a:pt x="908" y="531"/>
                      </a:lnTo>
                      <a:lnTo>
                        <a:pt x="906" y="534"/>
                      </a:lnTo>
                      <a:lnTo>
                        <a:pt x="904" y="537"/>
                      </a:lnTo>
                      <a:lnTo>
                        <a:pt x="908" y="537"/>
                      </a:lnTo>
                      <a:lnTo>
                        <a:pt x="912" y="537"/>
                      </a:lnTo>
                      <a:lnTo>
                        <a:pt x="912" y="540"/>
                      </a:lnTo>
                      <a:lnTo>
                        <a:pt x="909" y="543"/>
                      </a:lnTo>
                      <a:lnTo>
                        <a:pt x="906" y="543"/>
                      </a:lnTo>
                      <a:lnTo>
                        <a:pt x="903" y="547"/>
                      </a:lnTo>
                      <a:lnTo>
                        <a:pt x="903" y="550"/>
                      </a:lnTo>
                      <a:lnTo>
                        <a:pt x="903" y="551"/>
                      </a:lnTo>
                      <a:lnTo>
                        <a:pt x="906" y="548"/>
                      </a:lnTo>
                      <a:lnTo>
                        <a:pt x="909" y="547"/>
                      </a:lnTo>
                      <a:lnTo>
                        <a:pt x="904" y="559"/>
                      </a:lnTo>
                      <a:lnTo>
                        <a:pt x="898" y="572"/>
                      </a:lnTo>
                      <a:lnTo>
                        <a:pt x="896" y="575"/>
                      </a:lnTo>
                      <a:lnTo>
                        <a:pt x="896" y="578"/>
                      </a:lnTo>
                      <a:lnTo>
                        <a:pt x="895" y="582"/>
                      </a:lnTo>
                      <a:lnTo>
                        <a:pt x="892" y="589"/>
                      </a:lnTo>
                      <a:lnTo>
                        <a:pt x="890" y="593"/>
                      </a:lnTo>
                      <a:lnTo>
                        <a:pt x="890" y="593"/>
                      </a:lnTo>
                      <a:lnTo>
                        <a:pt x="889" y="589"/>
                      </a:lnTo>
                      <a:lnTo>
                        <a:pt x="889" y="586"/>
                      </a:lnTo>
                      <a:lnTo>
                        <a:pt x="885" y="582"/>
                      </a:lnTo>
                      <a:lnTo>
                        <a:pt x="885" y="578"/>
                      </a:lnTo>
                      <a:lnTo>
                        <a:pt x="887" y="575"/>
                      </a:lnTo>
                      <a:lnTo>
                        <a:pt x="887" y="572"/>
                      </a:lnTo>
                      <a:lnTo>
                        <a:pt x="887" y="567"/>
                      </a:lnTo>
                      <a:lnTo>
                        <a:pt x="882" y="570"/>
                      </a:lnTo>
                      <a:lnTo>
                        <a:pt x="879" y="572"/>
                      </a:lnTo>
                      <a:lnTo>
                        <a:pt x="879" y="577"/>
                      </a:lnTo>
                      <a:lnTo>
                        <a:pt x="877" y="580"/>
                      </a:lnTo>
                      <a:lnTo>
                        <a:pt x="876" y="580"/>
                      </a:lnTo>
                      <a:lnTo>
                        <a:pt x="874" y="580"/>
                      </a:lnTo>
                      <a:lnTo>
                        <a:pt x="871" y="580"/>
                      </a:lnTo>
                      <a:lnTo>
                        <a:pt x="870" y="582"/>
                      </a:lnTo>
                      <a:lnTo>
                        <a:pt x="866" y="585"/>
                      </a:lnTo>
                      <a:lnTo>
                        <a:pt x="863" y="591"/>
                      </a:lnTo>
                      <a:lnTo>
                        <a:pt x="863" y="591"/>
                      </a:lnTo>
                      <a:lnTo>
                        <a:pt x="860" y="596"/>
                      </a:lnTo>
                      <a:lnTo>
                        <a:pt x="858" y="599"/>
                      </a:lnTo>
                      <a:lnTo>
                        <a:pt x="858" y="599"/>
                      </a:lnTo>
                      <a:lnTo>
                        <a:pt x="855" y="601"/>
                      </a:lnTo>
                      <a:lnTo>
                        <a:pt x="854" y="605"/>
                      </a:lnTo>
                      <a:lnTo>
                        <a:pt x="854" y="605"/>
                      </a:lnTo>
                      <a:lnTo>
                        <a:pt x="854" y="605"/>
                      </a:lnTo>
                      <a:lnTo>
                        <a:pt x="852" y="605"/>
                      </a:lnTo>
                      <a:lnTo>
                        <a:pt x="849" y="602"/>
                      </a:lnTo>
                      <a:lnTo>
                        <a:pt x="846" y="601"/>
                      </a:lnTo>
                      <a:lnTo>
                        <a:pt x="843" y="602"/>
                      </a:lnTo>
                      <a:lnTo>
                        <a:pt x="843" y="605"/>
                      </a:lnTo>
                      <a:lnTo>
                        <a:pt x="843" y="608"/>
                      </a:lnTo>
                      <a:lnTo>
                        <a:pt x="825" y="608"/>
                      </a:lnTo>
                      <a:lnTo>
                        <a:pt x="809" y="608"/>
                      </a:lnTo>
                      <a:lnTo>
                        <a:pt x="793" y="608"/>
                      </a:lnTo>
                      <a:lnTo>
                        <a:pt x="776" y="608"/>
                      </a:lnTo>
                      <a:lnTo>
                        <a:pt x="774" y="620"/>
                      </a:lnTo>
                      <a:lnTo>
                        <a:pt x="773" y="631"/>
                      </a:lnTo>
                      <a:lnTo>
                        <a:pt x="771" y="631"/>
                      </a:lnTo>
                      <a:lnTo>
                        <a:pt x="757" y="631"/>
                      </a:lnTo>
                      <a:lnTo>
                        <a:pt x="759" y="632"/>
                      </a:lnTo>
                      <a:lnTo>
                        <a:pt x="762" y="635"/>
                      </a:lnTo>
                      <a:lnTo>
                        <a:pt x="763" y="639"/>
                      </a:lnTo>
                      <a:lnTo>
                        <a:pt x="766" y="642"/>
                      </a:lnTo>
                      <a:lnTo>
                        <a:pt x="770" y="647"/>
                      </a:lnTo>
                      <a:lnTo>
                        <a:pt x="773" y="648"/>
                      </a:lnTo>
                      <a:lnTo>
                        <a:pt x="776" y="650"/>
                      </a:lnTo>
                      <a:lnTo>
                        <a:pt x="779" y="653"/>
                      </a:lnTo>
                      <a:lnTo>
                        <a:pt x="781" y="654"/>
                      </a:lnTo>
                      <a:lnTo>
                        <a:pt x="781" y="658"/>
                      </a:lnTo>
                      <a:lnTo>
                        <a:pt x="781" y="659"/>
                      </a:lnTo>
                      <a:lnTo>
                        <a:pt x="784" y="662"/>
                      </a:lnTo>
                      <a:lnTo>
                        <a:pt x="785" y="662"/>
                      </a:lnTo>
                      <a:lnTo>
                        <a:pt x="789" y="666"/>
                      </a:lnTo>
                      <a:lnTo>
                        <a:pt x="789" y="669"/>
                      </a:lnTo>
                      <a:lnTo>
                        <a:pt x="785" y="672"/>
                      </a:lnTo>
                      <a:lnTo>
                        <a:pt x="787" y="675"/>
                      </a:lnTo>
                      <a:lnTo>
                        <a:pt x="785" y="680"/>
                      </a:lnTo>
                      <a:lnTo>
                        <a:pt x="785" y="680"/>
                      </a:lnTo>
                      <a:lnTo>
                        <a:pt x="774" y="680"/>
                      </a:lnTo>
                      <a:lnTo>
                        <a:pt x="766" y="680"/>
                      </a:lnTo>
                      <a:lnTo>
                        <a:pt x="757" y="680"/>
                      </a:lnTo>
                      <a:lnTo>
                        <a:pt x="749" y="680"/>
                      </a:lnTo>
                      <a:lnTo>
                        <a:pt x="743" y="680"/>
                      </a:lnTo>
                      <a:lnTo>
                        <a:pt x="741" y="680"/>
                      </a:lnTo>
                      <a:lnTo>
                        <a:pt x="739" y="681"/>
                      </a:lnTo>
                      <a:lnTo>
                        <a:pt x="736" y="683"/>
                      </a:lnTo>
                      <a:lnTo>
                        <a:pt x="735" y="688"/>
                      </a:lnTo>
                      <a:lnTo>
                        <a:pt x="727" y="699"/>
                      </a:lnTo>
                      <a:lnTo>
                        <a:pt x="719" y="712"/>
                      </a:lnTo>
                      <a:lnTo>
                        <a:pt x="720" y="716"/>
                      </a:lnTo>
                      <a:lnTo>
                        <a:pt x="720" y="716"/>
                      </a:lnTo>
                      <a:lnTo>
                        <a:pt x="724" y="721"/>
                      </a:lnTo>
                      <a:lnTo>
                        <a:pt x="722" y="721"/>
                      </a:lnTo>
                      <a:lnTo>
                        <a:pt x="719" y="726"/>
                      </a:lnTo>
                      <a:lnTo>
                        <a:pt x="719" y="726"/>
                      </a:lnTo>
                      <a:lnTo>
                        <a:pt x="717" y="729"/>
                      </a:lnTo>
                      <a:lnTo>
                        <a:pt x="717" y="732"/>
                      </a:lnTo>
                      <a:lnTo>
                        <a:pt x="719" y="737"/>
                      </a:lnTo>
                      <a:lnTo>
                        <a:pt x="717" y="737"/>
                      </a:lnTo>
                      <a:lnTo>
                        <a:pt x="717" y="739"/>
                      </a:lnTo>
                      <a:lnTo>
                        <a:pt x="714" y="742"/>
                      </a:lnTo>
                      <a:lnTo>
                        <a:pt x="709" y="735"/>
                      </a:lnTo>
                      <a:lnTo>
                        <a:pt x="706" y="732"/>
                      </a:lnTo>
                      <a:lnTo>
                        <a:pt x="701" y="724"/>
                      </a:lnTo>
                      <a:lnTo>
                        <a:pt x="698" y="721"/>
                      </a:lnTo>
                      <a:lnTo>
                        <a:pt x="697" y="719"/>
                      </a:lnTo>
                      <a:lnTo>
                        <a:pt x="697" y="716"/>
                      </a:lnTo>
                      <a:lnTo>
                        <a:pt x="700" y="719"/>
                      </a:lnTo>
                      <a:lnTo>
                        <a:pt x="697" y="716"/>
                      </a:lnTo>
                      <a:lnTo>
                        <a:pt x="693" y="715"/>
                      </a:lnTo>
                      <a:lnTo>
                        <a:pt x="690" y="712"/>
                      </a:lnTo>
                      <a:lnTo>
                        <a:pt x="687" y="708"/>
                      </a:lnTo>
                      <a:lnTo>
                        <a:pt x="686" y="704"/>
                      </a:lnTo>
                      <a:lnTo>
                        <a:pt x="682" y="700"/>
                      </a:lnTo>
                      <a:lnTo>
                        <a:pt x="673" y="691"/>
                      </a:lnTo>
                      <a:lnTo>
                        <a:pt x="662" y="683"/>
                      </a:lnTo>
                      <a:lnTo>
                        <a:pt x="663" y="680"/>
                      </a:lnTo>
                      <a:lnTo>
                        <a:pt x="660" y="678"/>
                      </a:lnTo>
                      <a:lnTo>
                        <a:pt x="655" y="677"/>
                      </a:lnTo>
                      <a:lnTo>
                        <a:pt x="655" y="675"/>
                      </a:lnTo>
                      <a:lnTo>
                        <a:pt x="652" y="675"/>
                      </a:lnTo>
                      <a:lnTo>
                        <a:pt x="649" y="672"/>
                      </a:lnTo>
                      <a:lnTo>
                        <a:pt x="644" y="670"/>
                      </a:lnTo>
                      <a:lnTo>
                        <a:pt x="646" y="675"/>
                      </a:lnTo>
                      <a:lnTo>
                        <a:pt x="649" y="675"/>
                      </a:lnTo>
                      <a:lnTo>
                        <a:pt x="654" y="677"/>
                      </a:lnTo>
                      <a:lnTo>
                        <a:pt x="657" y="680"/>
                      </a:lnTo>
                      <a:lnTo>
                        <a:pt x="660" y="683"/>
                      </a:lnTo>
                      <a:lnTo>
                        <a:pt x="652" y="680"/>
                      </a:lnTo>
                      <a:lnTo>
                        <a:pt x="647" y="677"/>
                      </a:lnTo>
                      <a:lnTo>
                        <a:pt x="641" y="675"/>
                      </a:lnTo>
                      <a:lnTo>
                        <a:pt x="633" y="675"/>
                      </a:lnTo>
                      <a:lnTo>
                        <a:pt x="636" y="672"/>
                      </a:lnTo>
                      <a:lnTo>
                        <a:pt x="640" y="669"/>
                      </a:lnTo>
                      <a:lnTo>
                        <a:pt x="636" y="669"/>
                      </a:lnTo>
                      <a:lnTo>
                        <a:pt x="632" y="672"/>
                      </a:lnTo>
                      <a:lnTo>
                        <a:pt x="632" y="667"/>
                      </a:lnTo>
                      <a:lnTo>
                        <a:pt x="632" y="666"/>
                      </a:lnTo>
                      <a:lnTo>
                        <a:pt x="630" y="666"/>
                      </a:lnTo>
                      <a:lnTo>
                        <a:pt x="627" y="669"/>
                      </a:lnTo>
                      <a:lnTo>
                        <a:pt x="625" y="669"/>
                      </a:lnTo>
                      <a:lnTo>
                        <a:pt x="624" y="672"/>
                      </a:lnTo>
                      <a:lnTo>
                        <a:pt x="627" y="672"/>
                      </a:lnTo>
                      <a:lnTo>
                        <a:pt x="632" y="673"/>
                      </a:lnTo>
                      <a:lnTo>
                        <a:pt x="628" y="673"/>
                      </a:lnTo>
                      <a:lnTo>
                        <a:pt x="625" y="675"/>
                      </a:lnTo>
                      <a:lnTo>
                        <a:pt x="624" y="675"/>
                      </a:lnTo>
                      <a:lnTo>
                        <a:pt x="621" y="675"/>
                      </a:lnTo>
                      <a:lnTo>
                        <a:pt x="619" y="673"/>
                      </a:lnTo>
                      <a:lnTo>
                        <a:pt x="617" y="675"/>
                      </a:lnTo>
                      <a:lnTo>
                        <a:pt x="614" y="678"/>
                      </a:lnTo>
                      <a:lnTo>
                        <a:pt x="611" y="680"/>
                      </a:lnTo>
                      <a:lnTo>
                        <a:pt x="608" y="683"/>
                      </a:lnTo>
                      <a:lnTo>
                        <a:pt x="605" y="685"/>
                      </a:lnTo>
                      <a:lnTo>
                        <a:pt x="603" y="685"/>
                      </a:lnTo>
                      <a:lnTo>
                        <a:pt x="600" y="686"/>
                      </a:lnTo>
                      <a:lnTo>
                        <a:pt x="597" y="686"/>
                      </a:lnTo>
                      <a:lnTo>
                        <a:pt x="594" y="688"/>
                      </a:lnTo>
                      <a:lnTo>
                        <a:pt x="589" y="689"/>
                      </a:lnTo>
                      <a:lnTo>
                        <a:pt x="586" y="691"/>
                      </a:lnTo>
                      <a:lnTo>
                        <a:pt x="584" y="693"/>
                      </a:lnTo>
                      <a:lnTo>
                        <a:pt x="581" y="694"/>
                      </a:lnTo>
                      <a:lnTo>
                        <a:pt x="578" y="696"/>
                      </a:lnTo>
                      <a:lnTo>
                        <a:pt x="575" y="696"/>
                      </a:lnTo>
                      <a:lnTo>
                        <a:pt x="570" y="696"/>
                      </a:lnTo>
                      <a:lnTo>
                        <a:pt x="568" y="697"/>
                      </a:lnTo>
                      <a:lnTo>
                        <a:pt x="565" y="697"/>
                      </a:lnTo>
                      <a:lnTo>
                        <a:pt x="562" y="694"/>
                      </a:lnTo>
                      <a:lnTo>
                        <a:pt x="554" y="693"/>
                      </a:lnTo>
                      <a:lnTo>
                        <a:pt x="551" y="691"/>
                      </a:lnTo>
                      <a:lnTo>
                        <a:pt x="551" y="689"/>
                      </a:lnTo>
                      <a:lnTo>
                        <a:pt x="546" y="688"/>
                      </a:lnTo>
                      <a:lnTo>
                        <a:pt x="543" y="686"/>
                      </a:lnTo>
                      <a:lnTo>
                        <a:pt x="536" y="685"/>
                      </a:lnTo>
                      <a:lnTo>
                        <a:pt x="533" y="685"/>
                      </a:lnTo>
                      <a:lnTo>
                        <a:pt x="529" y="685"/>
                      </a:lnTo>
                      <a:lnTo>
                        <a:pt x="524" y="685"/>
                      </a:lnTo>
                      <a:lnTo>
                        <a:pt x="521" y="681"/>
                      </a:lnTo>
                      <a:lnTo>
                        <a:pt x="517" y="678"/>
                      </a:lnTo>
                      <a:lnTo>
                        <a:pt x="516" y="678"/>
                      </a:lnTo>
                      <a:lnTo>
                        <a:pt x="506" y="672"/>
                      </a:lnTo>
                      <a:lnTo>
                        <a:pt x="497" y="669"/>
                      </a:lnTo>
                      <a:lnTo>
                        <a:pt x="495" y="666"/>
                      </a:lnTo>
                      <a:lnTo>
                        <a:pt x="494" y="662"/>
                      </a:lnTo>
                      <a:lnTo>
                        <a:pt x="492" y="662"/>
                      </a:lnTo>
                      <a:lnTo>
                        <a:pt x="490" y="661"/>
                      </a:lnTo>
                      <a:lnTo>
                        <a:pt x="486" y="661"/>
                      </a:lnTo>
                      <a:lnTo>
                        <a:pt x="478" y="658"/>
                      </a:lnTo>
                      <a:lnTo>
                        <a:pt x="470" y="654"/>
                      </a:lnTo>
                      <a:lnTo>
                        <a:pt x="467" y="654"/>
                      </a:lnTo>
                      <a:lnTo>
                        <a:pt x="464" y="653"/>
                      </a:lnTo>
                      <a:lnTo>
                        <a:pt x="459" y="653"/>
                      </a:lnTo>
                      <a:lnTo>
                        <a:pt x="456" y="651"/>
                      </a:lnTo>
                      <a:lnTo>
                        <a:pt x="454" y="648"/>
                      </a:lnTo>
                      <a:lnTo>
                        <a:pt x="451" y="647"/>
                      </a:lnTo>
                      <a:lnTo>
                        <a:pt x="441" y="642"/>
                      </a:lnTo>
                      <a:lnTo>
                        <a:pt x="432" y="639"/>
                      </a:lnTo>
                      <a:lnTo>
                        <a:pt x="424" y="635"/>
                      </a:lnTo>
                      <a:lnTo>
                        <a:pt x="418" y="632"/>
                      </a:lnTo>
                      <a:lnTo>
                        <a:pt x="414" y="628"/>
                      </a:lnTo>
                      <a:lnTo>
                        <a:pt x="410" y="624"/>
                      </a:lnTo>
                      <a:lnTo>
                        <a:pt x="406" y="623"/>
                      </a:lnTo>
                      <a:lnTo>
                        <a:pt x="403" y="620"/>
                      </a:lnTo>
                      <a:lnTo>
                        <a:pt x="402" y="616"/>
                      </a:lnTo>
                      <a:lnTo>
                        <a:pt x="398" y="616"/>
                      </a:lnTo>
                      <a:lnTo>
                        <a:pt x="394" y="608"/>
                      </a:lnTo>
                      <a:lnTo>
                        <a:pt x="392" y="605"/>
                      </a:lnTo>
                      <a:lnTo>
                        <a:pt x="389" y="604"/>
                      </a:lnTo>
                      <a:lnTo>
                        <a:pt x="386" y="602"/>
                      </a:lnTo>
                      <a:lnTo>
                        <a:pt x="383" y="602"/>
                      </a:lnTo>
                      <a:lnTo>
                        <a:pt x="379" y="604"/>
                      </a:lnTo>
                      <a:lnTo>
                        <a:pt x="378" y="604"/>
                      </a:lnTo>
                      <a:lnTo>
                        <a:pt x="375" y="602"/>
                      </a:lnTo>
                      <a:lnTo>
                        <a:pt x="372" y="601"/>
                      </a:lnTo>
                      <a:lnTo>
                        <a:pt x="368" y="601"/>
                      </a:lnTo>
                      <a:lnTo>
                        <a:pt x="354" y="596"/>
                      </a:lnTo>
                      <a:lnTo>
                        <a:pt x="340" y="589"/>
                      </a:lnTo>
                      <a:lnTo>
                        <a:pt x="335" y="588"/>
                      </a:lnTo>
                      <a:lnTo>
                        <a:pt x="333" y="585"/>
                      </a:lnTo>
                      <a:lnTo>
                        <a:pt x="332" y="582"/>
                      </a:lnTo>
                      <a:lnTo>
                        <a:pt x="329" y="577"/>
                      </a:lnTo>
                      <a:lnTo>
                        <a:pt x="329" y="574"/>
                      </a:lnTo>
                      <a:lnTo>
                        <a:pt x="327" y="572"/>
                      </a:lnTo>
                      <a:lnTo>
                        <a:pt x="324" y="569"/>
                      </a:lnTo>
                      <a:lnTo>
                        <a:pt x="322" y="566"/>
                      </a:lnTo>
                      <a:lnTo>
                        <a:pt x="321" y="566"/>
                      </a:lnTo>
                      <a:lnTo>
                        <a:pt x="318" y="562"/>
                      </a:lnTo>
                      <a:lnTo>
                        <a:pt x="314" y="561"/>
                      </a:lnTo>
                      <a:lnTo>
                        <a:pt x="311" y="559"/>
                      </a:lnTo>
                      <a:lnTo>
                        <a:pt x="310" y="556"/>
                      </a:lnTo>
                      <a:lnTo>
                        <a:pt x="300" y="553"/>
                      </a:lnTo>
                      <a:lnTo>
                        <a:pt x="294" y="551"/>
                      </a:lnTo>
                      <a:lnTo>
                        <a:pt x="291" y="548"/>
                      </a:lnTo>
                      <a:lnTo>
                        <a:pt x="287" y="545"/>
                      </a:lnTo>
                      <a:lnTo>
                        <a:pt x="286" y="542"/>
                      </a:lnTo>
                      <a:lnTo>
                        <a:pt x="286" y="539"/>
                      </a:lnTo>
                      <a:lnTo>
                        <a:pt x="283" y="534"/>
                      </a:lnTo>
                      <a:lnTo>
                        <a:pt x="281" y="534"/>
                      </a:lnTo>
                      <a:lnTo>
                        <a:pt x="280" y="531"/>
                      </a:lnTo>
                      <a:lnTo>
                        <a:pt x="278" y="526"/>
                      </a:lnTo>
                      <a:lnTo>
                        <a:pt x="278" y="526"/>
                      </a:lnTo>
                      <a:lnTo>
                        <a:pt x="276" y="523"/>
                      </a:lnTo>
                      <a:lnTo>
                        <a:pt x="275" y="520"/>
                      </a:lnTo>
                      <a:lnTo>
                        <a:pt x="273" y="515"/>
                      </a:lnTo>
                      <a:lnTo>
                        <a:pt x="273" y="512"/>
                      </a:lnTo>
                      <a:lnTo>
                        <a:pt x="273" y="509"/>
                      </a:lnTo>
                      <a:lnTo>
                        <a:pt x="272" y="505"/>
                      </a:lnTo>
                      <a:lnTo>
                        <a:pt x="272" y="502"/>
                      </a:lnTo>
                      <a:lnTo>
                        <a:pt x="275" y="499"/>
                      </a:lnTo>
                      <a:lnTo>
                        <a:pt x="278" y="499"/>
                      </a:lnTo>
                      <a:lnTo>
                        <a:pt x="283" y="497"/>
                      </a:lnTo>
                      <a:lnTo>
                        <a:pt x="286" y="496"/>
                      </a:lnTo>
                      <a:lnTo>
                        <a:pt x="289" y="493"/>
                      </a:lnTo>
                      <a:lnTo>
                        <a:pt x="289" y="493"/>
                      </a:lnTo>
                      <a:lnTo>
                        <a:pt x="287" y="490"/>
                      </a:lnTo>
                      <a:lnTo>
                        <a:pt x="284" y="488"/>
                      </a:lnTo>
                      <a:lnTo>
                        <a:pt x="281" y="488"/>
                      </a:lnTo>
                      <a:lnTo>
                        <a:pt x="283" y="483"/>
                      </a:lnTo>
                      <a:lnTo>
                        <a:pt x="289" y="477"/>
                      </a:lnTo>
                      <a:lnTo>
                        <a:pt x="292" y="474"/>
                      </a:lnTo>
                      <a:lnTo>
                        <a:pt x="292" y="471"/>
                      </a:lnTo>
                      <a:lnTo>
                        <a:pt x="294" y="467"/>
                      </a:lnTo>
                      <a:lnTo>
                        <a:pt x="294" y="464"/>
                      </a:lnTo>
                      <a:lnTo>
                        <a:pt x="295" y="459"/>
                      </a:lnTo>
                      <a:lnTo>
                        <a:pt x="294" y="456"/>
                      </a:lnTo>
                      <a:lnTo>
                        <a:pt x="291" y="455"/>
                      </a:lnTo>
                      <a:lnTo>
                        <a:pt x="289" y="451"/>
                      </a:lnTo>
                      <a:lnTo>
                        <a:pt x="289" y="450"/>
                      </a:lnTo>
                      <a:lnTo>
                        <a:pt x="287" y="447"/>
                      </a:lnTo>
                      <a:lnTo>
                        <a:pt x="286" y="440"/>
                      </a:lnTo>
                      <a:lnTo>
                        <a:pt x="284" y="437"/>
                      </a:lnTo>
                      <a:lnTo>
                        <a:pt x="284" y="436"/>
                      </a:lnTo>
                      <a:lnTo>
                        <a:pt x="286" y="429"/>
                      </a:lnTo>
                      <a:lnTo>
                        <a:pt x="286" y="421"/>
                      </a:lnTo>
                      <a:lnTo>
                        <a:pt x="284" y="413"/>
                      </a:lnTo>
                      <a:lnTo>
                        <a:pt x="283" y="409"/>
                      </a:lnTo>
                      <a:lnTo>
                        <a:pt x="280" y="405"/>
                      </a:lnTo>
                      <a:lnTo>
                        <a:pt x="278" y="402"/>
                      </a:lnTo>
                      <a:lnTo>
                        <a:pt x="275" y="401"/>
                      </a:lnTo>
                      <a:lnTo>
                        <a:pt x="273" y="396"/>
                      </a:lnTo>
                      <a:lnTo>
                        <a:pt x="270" y="393"/>
                      </a:lnTo>
                      <a:lnTo>
                        <a:pt x="270" y="391"/>
                      </a:lnTo>
                      <a:lnTo>
                        <a:pt x="267" y="388"/>
                      </a:lnTo>
                      <a:lnTo>
                        <a:pt x="265" y="385"/>
                      </a:lnTo>
                      <a:lnTo>
                        <a:pt x="265" y="382"/>
                      </a:lnTo>
                      <a:lnTo>
                        <a:pt x="264" y="379"/>
                      </a:lnTo>
                      <a:lnTo>
                        <a:pt x="261" y="375"/>
                      </a:lnTo>
                      <a:lnTo>
                        <a:pt x="259" y="372"/>
                      </a:lnTo>
                      <a:lnTo>
                        <a:pt x="256" y="367"/>
                      </a:lnTo>
                      <a:lnTo>
                        <a:pt x="256" y="367"/>
                      </a:lnTo>
                      <a:lnTo>
                        <a:pt x="253" y="360"/>
                      </a:lnTo>
                      <a:lnTo>
                        <a:pt x="248" y="353"/>
                      </a:lnTo>
                      <a:lnTo>
                        <a:pt x="238" y="344"/>
                      </a:lnTo>
                      <a:lnTo>
                        <a:pt x="229" y="336"/>
                      </a:lnTo>
                      <a:lnTo>
                        <a:pt x="232" y="337"/>
                      </a:lnTo>
                      <a:lnTo>
                        <a:pt x="235" y="340"/>
                      </a:lnTo>
                      <a:lnTo>
                        <a:pt x="238" y="336"/>
                      </a:lnTo>
                      <a:lnTo>
                        <a:pt x="235" y="336"/>
                      </a:lnTo>
                      <a:lnTo>
                        <a:pt x="230" y="336"/>
                      </a:lnTo>
                      <a:lnTo>
                        <a:pt x="230" y="336"/>
                      </a:lnTo>
                      <a:lnTo>
                        <a:pt x="230" y="334"/>
                      </a:lnTo>
                      <a:lnTo>
                        <a:pt x="227" y="331"/>
                      </a:lnTo>
                      <a:lnTo>
                        <a:pt x="224" y="329"/>
                      </a:lnTo>
                      <a:lnTo>
                        <a:pt x="222" y="326"/>
                      </a:lnTo>
                      <a:lnTo>
                        <a:pt x="224" y="323"/>
                      </a:lnTo>
                      <a:lnTo>
                        <a:pt x="224" y="320"/>
                      </a:lnTo>
                      <a:lnTo>
                        <a:pt x="226" y="315"/>
                      </a:lnTo>
                      <a:lnTo>
                        <a:pt x="226" y="315"/>
                      </a:lnTo>
                      <a:lnTo>
                        <a:pt x="224" y="314"/>
                      </a:lnTo>
                      <a:lnTo>
                        <a:pt x="222" y="310"/>
                      </a:lnTo>
                      <a:lnTo>
                        <a:pt x="219" y="307"/>
                      </a:lnTo>
                      <a:lnTo>
                        <a:pt x="216" y="309"/>
                      </a:lnTo>
                      <a:lnTo>
                        <a:pt x="216" y="306"/>
                      </a:lnTo>
                      <a:lnTo>
                        <a:pt x="213" y="306"/>
                      </a:lnTo>
                      <a:lnTo>
                        <a:pt x="210" y="302"/>
                      </a:lnTo>
                      <a:lnTo>
                        <a:pt x="210" y="302"/>
                      </a:lnTo>
                      <a:lnTo>
                        <a:pt x="207" y="301"/>
                      </a:lnTo>
                      <a:lnTo>
                        <a:pt x="203" y="299"/>
                      </a:lnTo>
                      <a:lnTo>
                        <a:pt x="207" y="299"/>
                      </a:lnTo>
                      <a:lnTo>
                        <a:pt x="207" y="299"/>
                      </a:lnTo>
                      <a:lnTo>
                        <a:pt x="203" y="298"/>
                      </a:lnTo>
                      <a:lnTo>
                        <a:pt x="202" y="294"/>
                      </a:lnTo>
                      <a:lnTo>
                        <a:pt x="203" y="294"/>
                      </a:lnTo>
                      <a:lnTo>
                        <a:pt x="200" y="291"/>
                      </a:lnTo>
                      <a:lnTo>
                        <a:pt x="197" y="294"/>
                      </a:lnTo>
                      <a:lnTo>
                        <a:pt x="194" y="296"/>
                      </a:lnTo>
                      <a:lnTo>
                        <a:pt x="194" y="291"/>
                      </a:lnTo>
                      <a:lnTo>
                        <a:pt x="197" y="290"/>
                      </a:lnTo>
                      <a:lnTo>
                        <a:pt x="199" y="287"/>
                      </a:lnTo>
                      <a:lnTo>
                        <a:pt x="194" y="290"/>
                      </a:lnTo>
                      <a:lnTo>
                        <a:pt x="194" y="290"/>
                      </a:lnTo>
                      <a:lnTo>
                        <a:pt x="194" y="291"/>
                      </a:lnTo>
                      <a:lnTo>
                        <a:pt x="191" y="288"/>
                      </a:lnTo>
                      <a:lnTo>
                        <a:pt x="188" y="288"/>
                      </a:lnTo>
                      <a:lnTo>
                        <a:pt x="184" y="287"/>
                      </a:lnTo>
                      <a:lnTo>
                        <a:pt x="188" y="285"/>
                      </a:lnTo>
                      <a:lnTo>
                        <a:pt x="184" y="283"/>
                      </a:lnTo>
                      <a:lnTo>
                        <a:pt x="183" y="287"/>
                      </a:lnTo>
                      <a:lnTo>
                        <a:pt x="183" y="283"/>
                      </a:lnTo>
                      <a:lnTo>
                        <a:pt x="183" y="280"/>
                      </a:lnTo>
                      <a:lnTo>
                        <a:pt x="184" y="279"/>
                      </a:lnTo>
                      <a:lnTo>
                        <a:pt x="184" y="275"/>
                      </a:lnTo>
                      <a:lnTo>
                        <a:pt x="186" y="272"/>
                      </a:lnTo>
                      <a:lnTo>
                        <a:pt x="188" y="271"/>
                      </a:lnTo>
                      <a:lnTo>
                        <a:pt x="189" y="268"/>
                      </a:lnTo>
                      <a:lnTo>
                        <a:pt x="192" y="264"/>
                      </a:lnTo>
                      <a:lnTo>
                        <a:pt x="192" y="264"/>
                      </a:lnTo>
                      <a:lnTo>
                        <a:pt x="192" y="266"/>
                      </a:lnTo>
                      <a:lnTo>
                        <a:pt x="194" y="263"/>
                      </a:lnTo>
                      <a:lnTo>
                        <a:pt x="197" y="261"/>
                      </a:lnTo>
                      <a:lnTo>
                        <a:pt x="199" y="263"/>
                      </a:lnTo>
                      <a:lnTo>
                        <a:pt x="199" y="260"/>
                      </a:lnTo>
                      <a:lnTo>
                        <a:pt x="199" y="258"/>
                      </a:lnTo>
                      <a:lnTo>
                        <a:pt x="194" y="260"/>
                      </a:lnTo>
                      <a:lnTo>
                        <a:pt x="195" y="255"/>
                      </a:lnTo>
                      <a:lnTo>
                        <a:pt x="195" y="252"/>
                      </a:lnTo>
                      <a:lnTo>
                        <a:pt x="194" y="248"/>
                      </a:lnTo>
                      <a:lnTo>
                        <a:pt x="191" y="245"/>
                      </a:lnTo>
                      <a:lnTo>
                        <a:pt x="184" y="245"/>
                      </a:lnTo>
                      <a:lnTo>
                        <a:pt x="183" y="245"/>
                      </a:lnTo>
                      <a:lnTo>
                        <a:pt x="180" y="244"/>
                      </a:lnTo>
                      <a:lnTo>
                        <a:pt x="180" y="244"/>
                      </a:lnTo>
                      <a:lnTo>
                        <a:pt x="178" y="241"/>
                      </a:lnTo>
                      <a:lnTo>
                        <a:pt x="178" y="236"/>
                      </a:lnTo>
                      <a:lnTo>
                        <a:pt x="176" y="233"/>
                      </a:lnTo>
                      <a:lnTo>
                        <a:pt x="178" y="229"/>
                      </a:lnTo>
                      <a:lnTo>
                        <a:pt x="178" y="228"/>
                      </a:lnTo>
                      <a:lnTo>
                        <a:pt x="176" y="228"/>
                      </a:lnTo>
                      <a:lnTo>
                        <a:pt x="173" y="228"/>
                      </a:lnTo>
                      <a:lnTo>
                        <a:pt x="170" y="228"/>
                      </a:lnTo>
                      <a:lnTo>
                        <a:pt x="167" y="226"/>
                      </a:lnTo>
                      <a:lnTo>
                        <a:pt x="164" y="223"/>
                      </a:lnTo>
                      <a:lnTo>
                        <a:pt x="161" y="220"/>
                      </a:lnTo>
                      <a:lnTo>
                        <a:pt x="162" y="217"/>
                      </a:lnTo>
                      <a:lnTo>
                        <a:pt x="161" y="214"/>
                      </a:lnTo>
                      <a:lnTo>
                        <a:pt x="161" y="209"/>
                      </a:lnTo>
                      <a:lnTo>
                        <a:pt x="161" y="206"/>
                      </a:lnTo>
                      <a:lnTo>
                        <a:pt x="164" y="203"/>
                      </a:lnTo>
                      <a:lnTo>
                        <a:pt x="164" y="199"/>
                      </a:lnTo>
                      <a:lnTo>
                        <a:pt x="167" y="198"/>
                      </a:lnTo>
                      <a:lnTo>
                        <a:pt x="164" y="198"/>
                      </a:lnTo>
                      <a:lnTo>
                        <a:pt x="161" y="196"/>
                      </a:lnTo>
                      <a:lnTo>
                        <a:pt x="156" y="196"/>
                      </a:lnTo>
                      <a:lnTo>
                        <a:pt x="157" y="195"/>
                      </a:lnTo>
                      <a:lnTo>
                        <a:pt x="157" y="193"/>
                      </a:lnTo>
                      <a:lnTo>
                        <a:pt x="156" y="193"/>
                      </a:lnTo>
                      <a:lnTo>
                        <a:pt x="156" y="195"/>
                      </a:lnTo>
                      <a:lnTo>
                        <a:pt x="156" y="196"/>
                      </a:lnTo>
                      <a:lnTo>
                        <a:pt x="154" y="198"/>
                      </a:lnTo>
                      <a:lnTo>
                        <a:pt x="153" y="195"/>
                      </a:lnTo>
                      <a:lnTo>
                        <a:pt x="143" y="185"/>
                      </a:lnTo>
                      <a:lnTo>
                        <a:pt x="134" y="172"/>
                      </a:lnTo>
                      <a:lnTo>
                        <a:pt x="132" y="169"/>
                      </a:lnTo>
                      <a:lnTo>
                        <a:pt x="130" y="166"/>
                      </a:lnTo>
                      <a:lnTo>
                        <a:pt x="129" y="163"/>
                      </a:lnTo>
                      <a:lnTo>
                        <a:pt x="129" y="158"/>
                      </a:lnTo>
                      <a:lnTo>
                        <a:pt x="123" y="152"/>
                      </a:lnTo>
                      <a:lnTo>
                        <a:pt x="124" y="149"/>
                      </a:lnTo>
                      <a:lnTo>
                        <a:pt x="124" y="144"/>
                      </a:lnTo>
                      <a:lnTo>
                        <a:pt x="124" y="141"/>
                      </a:lnTo>
                      <a:lnTo>
                        <a:pt x="126" y="141"/>
                      </a:lnTo>
                      <a:lnTo>
                        <a:pt x="124" y="137"/>
                      </a:lnTo>
                      <a:lnTo>
                        <a:pt x="121" y="139"/>
                      </a:lnTo>
                      <a:lnTo>
                        <a:pt x="119" y="136"/>
                      </a:lnTo>
                      <a:lnTo>
                        <a:pt x="123" y="131"/>
                      </a:lnTo>
                      <a:lnTo>
                        <a:pt x="121" y="130"/>
                      </a:lnTo>
                      <a:lnTo>
                        <a:pt x="119" y="126"/>
                      </a:lnTo>
                      <a:lnTo>
                        <a:pt x="119" y="123"/>
                      </a:lnTo>
                      <a:lnTo>
                        <a:pt x="118" y="118"/>
                      </a:lnTo>
                      <a:lnTo>
                        <a:pt x="118" y="115"/>
                      </a:lnTo>
                      <a:lnTo>
                        <a:pt x="116" y="112"/>
                      </a:lnTo>
                      <a:lnTo>
                        <a:pt x="116" y="111"/>
                      </a:lnTo>
                      <a:lnTo>
                        <a:pt x="116" y="106"/>
                      </a:lnTo>
                      <a:lnTo>
                        <a:pt x="118" y="103"/>
                      </a:lnTo>
                      <a:lnTo>
                        <a:pt x="118" y="99"/>
                      </a:lnTo>
                      <a:lnTo>
                        <a:pt x="116" y="90"/>
                      </a:lnTo>
                      <a:lnTo>
                        <a:pt x="115" y="82"/>
                      </a:lnTo>
                      <a:lnTo>
                        <a:pt x="115" y="79"/>
                      </a:lnTo>
                      <a:lnTo>
                        <a:pt x="116" y="74"/>
                      </a:lnTo>
                      <a:lnTo>
                        <a:pt x="118" y="71"/>
                      </a:lnTo>
                      <a:lnTo>
                        <a:pt x="118" y="68"/>
                      </a:lnTo>
                      <a:lnTo>
                        <a:pt x="121" y="65"/>
                      </a:lnTo>
                      <a:lnTo>
                        <a:pt x="121" y="61"/>
                      </a:lnTo>
                      <a:lnTo>
                        <a:pt x="118" y="60"/>
                      </a:lnTo>
                      <a:lnTo>
                        <a:pt x="115" y="58"/>
                      </a:lnTo>
                      <a:lnTo>
                        <a:pt x="111" y="58"/>
                      </a:lnTo>
                      <a:lnTo>
                        <a:pt x="108" y="57"/>
                      </a:lnTo>
                      <a:lnTo>
                        <a:pt x="103" y="55"/>
                      </a:lnTo>
                      <a:lnTo>
                        <a:pt x="103" y="55"/>
                      </a:lnTo>
                      <a:lnTo>
                        <a:pt x="105" y="52"/>
                      </a:lnTo>
                      <a:lnTo>
                        <a:pt x="105" y="47"/>
                      </a:lnTo>
                      <a:lnTo>
                        <a:pt x="102" y="46"/>
                      </a:lnTo>
                      <a:lnTo>
                        <a:pt x="99" y="44"/>
                      </a:lnTo>
                      <a:lnTo>
                        <a:pt x="96" y="47"/>
                      </a:lnTo>
                      <a:lnTo>
                        <a:pt x="94" y="49"/>
                      </a:lnTo>
                      <a:lnTo>
                        <a:pt x="91" y="49"/>
                      </a:lnTo>
                      <a:lnTo>
                        <a:pt x="89" y="49"/>
                      </a:lnTo>
                      <a:lnTo>
                        <a:pt x="84" y="46"/>
                      </a:lnTo>
                      <a:lnTo>
                        <a:pt x="81" y="42"/>
                      </a:lnTo>
                      <a:lnTo>
                        <a:pt x="78" y="39"/>
                      </a:lnTo>
                      <a:lnTo>
                        <a:pt x="75" y="38"/>
                      </a:lnTo>
                      <a:lnTo>
                        <a:pt x="70" y="36"/>
                      </a:lnTo>
                      <a:lnTo>
                        <a:pt x="67" y="33"/>
                      </a:lnTo>
                      <a:lnTo>
                        <a:pt x="67" y="31"/>
                      </a:lnTo>
                      <a:lnTo>
                        <a:pt x="65" y="31"/>
                      </a:lnTo>
                      <a:lnTo>
                        <a:pt x="65" y="30"/>
                      </a:lnTo>
                      <a:lnTo>
                        <a:pt x="65" y="31"/>
                      </a:lnTo>
                      <a:lnTo>
                        <a:pt x="69" y="36"/>
                      </a:lnTo>
                      <a:lnTo>
                        <a:pt x="69" y="39"/>
                      </a:lnTo>
                      <a:lnTo>
                        <a:pt x="69" y="42"/>
                      </a:lnTo>
                      <a:lnTo>
                        <a:pt x="65" y="46"/>
                      </a:lnTo>
                      <a:lnTo>
                        <a:pt x="64" y="50"/>
                      </a:lnTo>
                      <a:lnTo>
                        <a:pt x="61" y="55"/>
                      </a:lnTo>
                      <a:lnTo>
                        <a:pt x="59" y="60"/>
                      </a:lnTo>
                      <a:lnTo>
                        <a:pt x="59" y="65"/>
                      </a:lnTo>
                      <a:lnTo>
                        <a:pt x="59" y="71"/>
                      </a:lnTo>
                      <a:lnTo>
                        <a:pt x="61" y="74"/>
                      </a:lnTo>
                      <a:lnTo>
                        <a:pt x="59" y="77"/>
                      </a:lnTo>
                      <a:lnTo>
                        <a:pt x="57" y="82"/>
                      </a:lnTo>
                      <a:lnTo>
                        <a:pt x="57" y="85"/>
                      </a:lnTo>
                      <a:lnTo>
                        <a:pt x="57" y="88"/>
                      </a:lnTo>
                      <a:lnTo>
                        <a:pt x="57" y="92"/>
                      </a:lnTo>
                      <a:lnTo>
                        <a:pt x="56" y="95"/>
                      </a:lnTo>
                      <a:lnTo>
                        <a:pt x="54" y="98"/>
                      </a:lnTo>
                      <a:lnTo>
                        <a:pt x="53" y="103"/>
                      </a:lnTo>
                      <a:lnTo>
                        <a:pt x="53" y="106"/>
                      </a:lnTo>
                      <a:lnTo>
                        <a:pt x="53" y="109"/>
                      </a:lnTo>
                      <a:lnTo>
                        <a:pt x="54" y="111"/>
                      </a:lnTo>
                      <a:lnTo>
                        <a:pt x="57" y="114"/>
                      </a:lnTo>
                      <a:lnTo>
                        <a:pt x="56" y="117"/>
                      </a:lnTo>
                      <a:lnTo>
                        <a:pt x="64" y="123"/>
                      </a:lnTo>
                      <a:lnTo>
                        <a:pt x="70" y="131"/>
                      </a:lnTo>
                      <a:lnTo>
                        <a:pt x="73" y="136"/>
                      </a:lnTo>
                      <a:lnTo>
                        <a:pt x="75" y="139"/>
                      </a:lnTo>
                      <a:lnTo>
                        <a:pt x="75" y="142"/>
                      </a:lnTo>
                      <a:lnTo>
                        <a:pt x="77" y="147"/>
                      </a:lnTo>
                      <a:lnTo>
                        <a:pt x="75" y="150"/>
                      </a:lnTo>
                      <a:lnTo>
                        <a:pt x="75" y="153"/>
                      </a:lnTo>
                      <a:lnTo>
                        <a:pt x="78" y="152"/>
                      </a:lnTo>
                      <a:lnTo>
                        <a:pt x="80" y="157"/>
                      </a:lnTo>
                      <a:lnTo>
                        <a:pt x="84" y="158"/>
                      </a:lnTo>
                      <a:lnTo>
                        <a:pt x="84" y="161"/>
                      </a:lnTo>
                      <a:lnTo>
                        <a:pt x="84" y="164"/>
                      </a:lnTo>
                      <a:lnTo>
                        <a:pt x="86" y="168"/>
                      </a:lnTo>
                      <a:lnTo>
                        <a:pt x="86" y="172"/>
                      </a:lnTo>
                      <a:lnTo>
                        <a:pt x="89" y="172"/>
                      </a:lnTo>
                      <a:lnTo>
                        <a:pt x="92" y="176"/>
                      </a:lnTo>
                      <a:lnTo>
                        <a:pt x="91" y="179"/>
                      </a:lnTo>
                      <a:lnTo>
                        <a:pt x="91" y="182"/>
                      </a:lnTo>
                      <a:lnTo>
                        <a:pt x="91" y="187"/>
                      </a:lnTo>
                      <a:lnTo>
                        <a:pt x="89" y="190"/>
                      </a:lnTo>
                      <a:lnTo>
                        <a:pt x="91" y="191"/>
                      </a:lnTo>
                      <a:lnTo>
                        <a:pt x="89" y="195"/>
                      </a:lnTo>
                      <a:lnTo>
                        <a:pt x="89" y="199"/>
                      </a:lnTo>
                      <a:lnTo>
                        <a:pt x="91" y="203"/>
                      </a:lnTo>
                      <a:lnTo>
                        <a:pt x="94" y="206"/>
                      </a:lnTo>
                      <a:lnTo>
                        <a:pt x="97" y="209"/>
                      </a:lnTo>
                      <a:lnTo>
                        <a:pt x="100" y="214"/>
                      </a:lnTo>
                      <a:lnTo>
                        <a:pt x="99" y="217"/>
                      </a:lnTo>
                      <a:lnTo>
                        <a:pt x="100" y="218"/>
                      </a:lnTo>
                      <a:lnTo>
                        <a:pt x="102" y="223"/>
                      </a:lnTo>
                      <a:lnTo>
                        <a:pt x="103" y="226"/>
                      </a:lnTo>
                      <a:lnTo>
                        <a:pt x="107" y="228"/>
                      </a:lnTo>
                      <a:lnTo>
                        <a:pt x="108" y="229"/>
                      </a:lnTo>
                      <a:lnTo>
                        <a:pt x="105" y="233"/>
                      </a:lnTo>
                      <a:lnTo>
                        <a:pt x="107" y="237"/>
                      </a:lnTo>
                      <a:lnTo>
                        <a:pt x="108" y="241"/>
                      </a:lnTo>
                      <a:lnTo>
                        <a:pt x="105" y="244"/>
                      </a:lnTo>
                      <a:lnTo>
                        <a:pt x="107" y="247"/>
                      </a:lnTo>
                      <a:lnTo>
                        <a:pt x="108" y="250"/>
                      </a:lnTo>
                      <a:lnTo>
                        <a:pt x="110" y="247"/>
                      </a:lnTo>
                      <a:lnTo>
                        <a:pt x="108" y="244"/>
                      </a:lnTo>
                      <a:lnTo>
                        <a:pt x="108" y="241"/>
                      </a:lnTo>
                      <a:lnTo>
                        <a:pt x="108" y="237"/>
                      </a:lnTo>
                      <a:lnTo>
                        <a:pt x="111" y="237"/>
                      </a:lnTo>
                      <a:lnTo>
                        <a:pt x="115" y="242"/>
                      </a:lnTo>
                      <a:lnTo>
                        <a:pt x="116" y="245"/>
                      </a:lnTo>
                      <a:lnTo>
                        <a:pt x="116" y="250"/>
                      </a:lnTo>
                      <a:lnTo>
                        <a:pt x="119" y="253"/>
                      </a:lnTo>
                      <a:lnTo>
                        <a:pt x="118" y="256"/>
                      </a:lnTo>
                      <a:lnTo>
                        <a:pt x="119" y="260"/>
                      </a:lnTo>
                      <a:lnTo>
                        <a:pt x="118" y="264"/>
                      </a:lnTo>
                      <a:lnTo>
                        <a:pt x="119" y="268"/>
                      </a:lnTo>
                      <a:lnTo>
                        <a:pt x="119" y="271"/>
                      </a:lnTo>
                      <a:lnTo>
                        <a:pt x="118" y="274"/>
                      </a:lnTo>
                      <a:lnTo>
                        <a:pt x="118" y="283"/>
                      </a:lnTo>
                      <a:lnTo>
                        <a:pt x="121" y="293"/>
                      </a:lnTo>
                      <a:lnTo>
                        <a:pt x="124" y="293"/>
                      </a:lnTo>
                      <a:lnTo>
                        <a:pt x="124" y="296"/>
                      </a:lnTo>
                      <a:lnTo>
                        <a:pt x="124" y="299"/>
                      </a:lnTo>
                      <a:lnTo>
                        <a:pt x="124" y="304"/>
                      </a:lnTo>
                      <a:lnTo>
                        <a:pt x="124" y="307"/>
                      </a:lnTo>
                      <a:lnTo>
                        <a:pt x="124" y="310"/>
                      </a:lnTo>
                      <a:lnTo>
                        <a:pt x="127" y="314"/>
                      </a:lnTo>
                      <a:lnTo>
                        <a:pt x="129" y="317"/>
                      </a:lnTo>
                      <a:lnTo>
                        <a:pt x="129" y="321"/>
                      </a:lnTo>
                      <a:lnTo>
                        <a:pt x="127" y="325"/>
                      </a:lnTo>
                      <a:lnTo>
                        <a:pt x="124" y="328"/>
                      </a:lnTo>
                      <a:lnTo>
                        <a:pt x="124" y="331"/>
                      </a:lnTo>
                      <a:lnTo>
                        <a:pt x="126" y="336"/>
                      </a:lnTo>
                      <a:lnTo>
                        <a:pt x="124" y="337"/>
                      </a:lnTo>
                      <a:lnTo>
                        <a:pt x="124" y="339"/>
                      </a:lnTo>
                      <a:lnTo>
                        <a:pt x="127" y="344"/>
                      </a:lnTo>
                      <a:lnTo>
                        <a:pt x="129" y="347"/>
                      </a:lnTo>
                      <a:lnTo>
                        <a:pt x="132" y="347"/>
                      </a:lnTo>
                      <a:lnTo>
                        <a:pt x="137" y="347"/>
                      </a:lnTo>
                      <a:lnTo>
                        <a:pt x="134" y="348"/>
                      </a:lnTo>
                      <a:lnTo>
                        <a:pt x="137" y="348"/>
                      </a:lnTo>
                      <a:lnTo>
                        <a:pt x="137" y="345"/>
                      </a:lnTo>
                      <a:lnTo>
                        <a:pt x="140" y="340"/>
                      </a:lnTo>
                      <a:lnTo>
                        <a:pt x="142" y="345"/>
                      </a:lnTo>
                      <a:lnTo>
                        <a:pt x="146" y="347"/>
                      </a:lnTo>
                      <a:lnTo>
                        <a:pt x="148" y="348"/>
                      </a:lnTo>
                      <a:lnTo>
                        <a:pt x="148" y="352"/>
                      </a:lnTo>
                      <a:lnTo>
                        <a:pt x="151" y="353"/>
                      </a:lnTo>
                      <a:lnTo>
                        <a:pt x="153" y="355"/>
                      </a:lnTo>
                      <a:lnTo>
                        <a:pt x="153" y="360"/>
                      </a:lnTo>
                      <a:lnTo>
                        <a:pt x="154" y="363"/>
                      </a:lnTo>
                      <a:lnTo>
                        <a:pt x="154" y="369"/>
                      </a:lnTo>
                      <a:lnTo>
                        <a:pt x="159" y="371"/>
                      </a:lnTo>
                      <a:lnTo>
                        <a:pt x="161" y="375"/>
                      </a:lnTo>
                      <a:lnTo>
                        <a:pt x="162" y="379"/>
                      </a:lnTo>
                      <a:lnTo>
                        <a:pt x="162" y="379"/>
                      </a:lnTo>
                      <a:lnTo>
                        <a:pt x="161" y="382"/>
                      </a:lnTo>
                      <a:lnTo>
                        <a:pt x="161" y="386"/>
                      </a:lnTo>
                      <a:lnTo>
                        <a:pt x="157" y="390"/>
                      </a:lnTo>
                      <a:lnTo>
                        <a:pt x="154" y="393"/>
                      </a:lnTo>
                      <a:lnTo>
                        <a:pt x="151" y="393"/>
                      </a:lnTo>
                      <a:lnTo>
                        <a:pt x="146" y="396"/>
                      </a:lnTo>
                      <a:lnTo>
                        <a:pt x="143" y="399"/>
                      </a:lnTo>
                      <a:lnTo>
                        <a:pt x="142" y="401"/>
                      </a:lnTo>
                      <a:lnTo>
                        <a:pt x="138" y="399"/>
                      </a:lnTo>
                      <a:lnTo>
                        <a:pt x="137" y="399"/>
                      </a:lnTo>
                      <a:lnTo>
                        <a:pt x="135" y="396"/>
                      </a:lnTo>
                      <a:lnTo>
                        <a:pt x="135" y="385"/>
                      </a:lnTo>
                      <a:lnTo>
                        <a:pt x="132" y="374"/>
                      </a:lnTo>
                      <a:lnTo>
                        <a:pt x="129" y="371"/>
                      </a:lnTo>
                      <a:lnTo>
                        <a:pt x="126" y="369"/>
                      </a:lnTo>
                      <a:lnTo>
                        <a:pt x="121" y="366"/>
                      </a:lnTo>
                      <a:lnTo>
                        <a:pt x="119" y="363"/>
                      </a:lnTo>
                      <a:lnTo>
                        <a:pt x="118" y="360"/>
                      </a:lnTo>
                      <a:lnTo>
                        <a:pt x="115" y="356"/>
                      </a:lnTo>
                      <a:lnTo>
                        <a:pt x="111" y="352"/>
                      </a:lnTo>
                      <a:lnTo>
                        <a:pt x="111" y="352"/>
                      </a:lnTo>
                      <a:lnTo>
                        <a:pt x="108" y="348"/>
                      </a:lnTo>
                      <a:lnTo>
                        <a:pt x="105" y="347"/>
                      </a:lnTo>
                      <a:lnTo>
                        <a:pt x="100" y="344"/>
                      </a:lnTo>
                      <a:lnTo>
                        <a:pt x="97" y="340"/>
                      </a:lnTo>
                      <a:lnTo>
                        <a:pt x="94" y="337"/>
                      </a:lnTo>
                      <a:lnTo>
                        <a:pt x="92" y="336"/>
                      </a:lnTo>
                      <a:lnTo>
                        <a:pt x="91" y="333"/>
                      </a:lnTo>
                      <a:lnTo>
                        <a:pt x="88" y="331"/>
                      </a:lnTo>
                      <a:lnTo>
                        <a:pt x="86" y="328"/>
                      </a:lnTo>
                      <a:lnTo>
                        <a:pt x="80" y="321"/>
                      </a:lnTo>
                      <a:lnTo>
                        <a:pt x="80" y="318"/>
                      </a:lnTo>
                      <a:lnTo>
                        <a:pt x="80" y="315"/>
                      </a:lnTo>
                      <a:lnTo>
                        <a:pt x="80" y="318"/>
                      </a:lnTo>
                      <a:lnTo>
                        <a:pt x="78" y="321"/>
                      </a:lnTo>
                      <a:lnTo>
                        <a:pt x="78" y="318"/>
                      </a:lnTo>
                      <a:lnTo>
                        <a:pt x="80" y="315"/>
                      </a:lnTo>
                      <a:lnTo>
                        <a:pt x="81" y="312"/>
                      </a:lnTo>
                      <a:lnTo>
                        <a:pt x="80" y="310"/>
                      </a:lnTo>
                      <a:lnTo>
                        <a:pt x="84" y="301"/>
                      </a:lnTo>
                      <a:lnTo>
                        <a:pt x="88" y="291"/>
                      </a:lnTo>
                      <a:lnTo>
                        <a:pt x="89" y="288"/>
                      </a:lnTo>
                      <a:lnTo>
                        <a:pt x="89" y="283"/>
                      </a:lnTo>
                      <a:lnTo>
                        <a:pt x="89" y="280"/>
                      </a:lnTo>
                      <a:lnTo>
                        <a:pt x="88" y="277"/>
                      </a:lnTo>
                      <a:lnTo>
                        <a:pt x="88" y="274"/>
                      </a:lnTo>
                      <a:lnTo>
                        <a:pt x="86" y="272"/>
                      </a:lnTo>
                      <a:lnTo>
                        <a:pt x="84" y="269"/>
                      </a:lnTo>
                      <a:lnTo>
                        <a:pt x="83" y="264"/>
                      </a:lnTo>
                      <a:lnTo>
                        <a:pt x="81" y="264"/>
                      </a:lnTo>
                      <a:lnTo>
                        <a:pt x="78" y="263"/>
                      </a:lnTo>
                      <a:lnTo>
                        <a:pt x="75" y="261"/>
                      </a:lnTo>
                      <a:lnTo>
                        <a:pt x="72" y="258"/>
                      </a:lnTo>
                      <a:lnTo>
                        <a:pt x="69" y="255"/>
                      </a:lnTo>
                      <a:lnTo>
                        <a:pt x="65" y="252"/>
                      </a:lnTo>
                      <a:lnTo>
                        <a:pt x="65" y="247"/>
                      </a:lnTo>
                      <a:lnTo>
                        <a:pt x="62" y="244"/>
                      </a:lnTo>
                      <a:lnTo>
                        <a:pt x="62" y="241"/>
                      </a:lnTo>
                      <a:lnTo>
                        <a:pt x="65" y="237"/>
                      </a:lnTo>
                      <a:lnTo>
                        <a:pt x="64" y="233"/>
                      </a:lnTo>
                      <a:lnTo>
                        <a:pt x="62" y="236"/>
                      </a:lnTo>
                      <a:lnTo>
                        <a:pt x="61" y="239"/>
                      </a:lnTo>
                      <a:lnTo>
                        <a:pt x="59" y="242"/>
                      </a:lnTo>
                      <a:lnTo>
                        <a:pt x="54" y="241"/>
                      </a:lnTo>
                      <a:lnTo>
                        <a:pt x="51" y="242"/>
                      </a:lnTo>
                      <a:lnTo>
                        <a:pt x="48" y="244"/>
                      </a:lnTo>
                      <a:lnTo>
                        <a:pt x="45" y="242"/>
                      </a:lnTo>
                      <a:lnTo>
                        <a:pt x="43" y="239"/>
                      </a:lnTo>
                      <a:lnTo>
                        <a:pt x="42" y="236"/>
                      </a:lnTo>
                      <a:lnTo>
                        <a:pt x="38" y="233"/>
                      </a:lnTo>
                      <a:lnTo>
                        <a:pt x="34" y="231"/>
                      </a:lnTo>
                      <a:lnTo>
                        <a:pt x="32" y="228"/>
                      </a:lnTo>
                      <a:lnTo>
                        <a:pt x="29" y="226"/>
                      </a:lnTo>
                      <a:lnTo>
                        <a:pt x="26" y="226"/>
                      </a:lnTo>
                      <a:lnTo>
                        <a:pt x="21" y="223"/>
                      </a:lnTo>
                      <a:lnTo>
                        <a:pt x="23" y="220"/>
                      </a:lnTo>
                      <a:lnTo>
                        <a:pt x="23" y="217"/>
                      </a:lnTo>
                      <a:lnTo>
                        <a:pt x="19" y="214"/>
                      </a:lnTo>
                      <a:lnTo>
                        <a:pt x="16" y="212"/>
                      </a:lnTo>
                      <a:lnTo>
                        <a:pt x="15" y="207"/>
                      </a:lnTo>
                      <a:lnTo>
                        <a:pt x="15" y="207"/>
                      </a:lnTo>
                      <a:lnTo>
                        <a:pt x="12" y="206"/>
                      </a:lnTo>
                      <a:lnTo>
                        <a:pt x="8" y="203"/>
                      </a:lnTo>
                      <a:lnTo>
                        <a:pt x="8" y="199"/>
                      </a:lnTo>
                      <a:lnTo>
                        <a:pt x="15" y="199"/>
                      </a:lnTo>
                      <a:lnTo>
                        <a:pt x="21" y="201"/>
                      </a:lnTo>
                      <a:lnTo>
                        <a:pt x="27" y="201"/>
                      </a:lnTo>
                      <a:lnTo>
                        <a:pt x="34" y="198"/>
                      </a:lnTo>
                      <a:lnTo>
                        <a:pt x="34" y="201"/>
                      </a:lnTo>
                      <a:lnTo>
                        <a:pt x="38" y="206"/>
                      </a:lnTo>
                      <a:lnTo>
                        <a:pt x="42" y="206"/>
                      </a:lnTo>
                      <a:lnTo>
                        <a:pt x="45" y="206"/>
                      </a:lnTo>
                      <a:lnTo>
                        <a:pt x="45" y="210"/>
                      </a:lnTo>
                      <a:lnTo>
                        <a:pt x="45" y="214"/>
                      </a:lnTo>
                      <a:lnTo>
                        <a:pt x="46" y="210"/>
                      </a:lnTo>
                      <a:lnTo>
                        <a:pt x="46" y="206"/>
                      </a:lnTo>
                      <a:lnTo>
                        <a:pt x="48" y="203"/>
                      </a:lnTo>
                      <a:lnTo>
                        <a:pt x="48" y="199"/>
                      </a:lnTo>
                      <a:lnTo>
                        <a:pt x="46" y="195"/>
                      </a:lnTo>
                      <a:lnTo>
                        <a:pt x="45" y="199"/>
                      </a:lnTo>
                      <a:lnTo>
                        <a:pt x="45" y="203"/>
                      </a:lnTo>
                      <a:lnTo>
                        <a:pt x="40" y="204"/>
                      </a:lnTo>
                      <a:lnTo>
                        <a:pt x="38" y="201"/>
                      </a:lnTo>
                      <a:lnTo>
                        <a:pt x="40" y="198"/>
                      </a:lnTo>
                      <a:lnTo>
                        <a:pt x="42" y="195"/>
                      </a:lnTo>
                      <a:lnTo>
                        <a:pt x="37" y="196"/>
                      </a:lnTo>
                      <a:lnTo>
                        <a:pt x="40" y="193"/>
                      </a:lnTo>
                      <a:lnTo>
                        <a:pt x="40" y="191"/>
                      </a:lnTo>
                      <a:lnTo>
                        <a:pt x="48" y="185"/>
                      </a:lnTo>
                      <a:lnTo>
                        <a:pt x="46" y="180"/>
                      </a:lnTo>
                      <a:lnTo>
                        <a:pt x="50" y="177"/>
                      </a:lnTo>
                      <a:lnTo>
                        <a:pt x="51" y="174"/>
                      </a:lnTo>
                      <a:lnTo>
                        <a:pt x="51" y="171"/>
                      </a:lnTo>
                      <a:lnTo>
                        <a:pt x="50" y="168"/>
                      </a:lnTo>
                      <a:lnTo>
                        <a:pt x="48" y="164"/>
                      </a:lnTo>
                      <a:lnTo>
                        <a:pt x="45" y="163"/>
                      </a:lnTo>
                      <a:lnTo>
                        <a:pt x="45" y="158"/>
                      </a:lnTo>
                      <a:lnTo>
                        <a:pt x="43" y="155"/>
                      </a:lnTo>
                      <a:lnTo>
                        <a:pt x="40" y="152"/>
                      </a:lnTo>
                      <a:lnTo>
                        <a:pt x="38" y="149"/>
                      </a:lnTo>
                      <a:lnTo>
                        <a:pt x="37" y="145"/>
                      </a:lnTo>
                      <a:lnTo>
                        <a:pt x="34" y="142"/>
                      </a:lnTo>
                      <a:lnTo>
                        <a:pt x="32" y="137"/>
                      </a:lnTo>
                      <a:lnTo>
                        <a:pt x="32" y="137"/>
                      </a:lnTo>
                      <a:lnTo>
                        <a:pt x="29" y="134"/>
                      </a:lnTo>
                      <a:lnTo>
                        <a:pt x="24" y="134"/>
                      </a:lnTo>
                      <a:lnTo>
                        <a:pt x="24" y="133"/>
                      </a:lnTo>
                      <a:lnTo>
                        <a:pt x="23" y="130"/>
                      </a:lnTo>
                      <a:lnTo>
                        <a:pt x="18" y="128"/>
                      </a:lnTo>
                      <a:lnTo>
                        <a:pt x="15" y="123"/>
                      </a:lnTo>
                      <a:lnTo>
                        <a:pt x="12" y="118"/>
                      </a:lnTo>
                      <a:lnTo>
                        <a:pt x="12" y="114"/>
                      </a:lnTo>
                      <a:lnTo>
                        <a:pt x="10" y="111"/>
                      </a:lnTo>
                      <a:lnTo>
                        <a:pt x="10" y="111"/>
                      </a:lnTo>
                      <a:lnTo>
                        <a:pt x="12" y="106"/>
                      </a:lnTo>
                      <a:lnTo>
                        <a:pt x="13" y="103"/>
                      </a:lnTo>
                      <a:lnTo>
                        <a:pt x="13" y="99"/>
                      </a:lnTo>
                      <a:lnTo>
                        <a:pt x="13" y="96"/>
                      </a:lnTo>
                      <a:lnTo>
                        <a:pt x="10" y="93"/>
                      </a:lnTo>
                      <a:lnTo>
                        <a:pt x="12" y="92"/>
                      </a:lnTo>
                      <a:lnTo>
                        <a:pt x="8" y="95"/>
                      </a:lnTo>
                      <a:lnTo>
                        <a:pt x="8" y="92"/>
                      </a:lnTo>
                      <a:lnTo>
                        <a:pt x="12" y="84"/>
                      </a:lnTo>
                      <a:lnTo>
                        <a:pt x="12" y="80"/>
                      </a:lnTo>
                      <a:lnTo>
                        <a:pt x="13" y="77"/>
                      </a:lnTo>
                      <a:lnTo>
                        <a:pt x="8" y="74"/>
                      </a:lnTo>
                      <a:lnTo>
                        <a:pt x="5" y="71"/>
                      </a:lnTo>
                      <a:lnTo>
                        <a:pt x="7" y="66"/>
                      </a:lnTo>
                      <a:lnTo>
                        <a:pt x="8" y="63"/>
                      </a:lnTo>
                      <a:lnTo>
                        <a:pt x="8" y="60"/>
                      </a:lnTo>
                      <a:lnTo>
                        <a:pt x="7" y="57"/>
                      </a:lnTo>
                      <a:lnTo>
                        <a:pt x="7" y="53"/>
                      </a:lnTo>
                      <a:lnTo>
                        <a:pt x="5" y="50"/>
                      </a:lnTo>
                      <a:lnTo>
                        <a:pt x="2" y="47"/>
                      </a:lnTo>
                      <a:lnTo>
                        <a:pt x="4" y="44"/>
                      </a:lnTo>
                      <a:lnTo>
                        <a:pt x="5" y="41"/>
                      </a:lnTo>
                      <a:lnTo>
                        <a:pt x="8" y="36"/>
                      </a:lnTo>
                      <a:lnTo>
                        <a:pt x="7" y="33"/>
                      </a:lnTo>
                      <a:lnTo>
                        <a:pt x="5" y="30"/>
                      </a:lnTo>
                      <a:lnTo>
                        <a:pt x="4" y="26"/>
                      </a:lnTo>
                      <a:lnTo>
                        <a:pt x="4" y="23"/>
                      </a:lnTo>
                      <a:lnTo>
                        <a:pt x="5" y="19"/>
                      </a:lnTo>
                      <a:lnTo>
                        <a:pt x="2" y="15"/>
                      </a:lnTo>
                      <a:lnTo>
                        <a:pt x="0" y="12"/>
                      </a:lnTo>
                      <a:lnTo>
                        <a:pt x="0" y="9"/>
                      </a:lnTo>
                      <a:lnTo>
                        <a:pt x="2" y="6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543" name="Freeform 734"/>
                <p:cNvSpPr>
                  <a:spLocks/>
                </p:cNvSpPr>
                <p:nvPr/>
              </p:nvSpPr>
              <p:spPr bwMode="auto">
                <a:xfrm>
                  <a:off x="1049" y="2084"/>
                  <a:ext cx="1" cy="1"/>
                </a:xfrm>
                <a:custGeom>
                  <a:avLst/>
                  <a:gdLst>
                    <a:gd name="T0" fmla="*/ 0 w 2"/>
                    <a:gd name="T1" fmla="*/ 4 h 4"/>
                    <a:gd name="T2" fmla="*/ 2 w 2"/>
                    <a:gd name="T3" fmla="*/ 2 h 4"/>
                    <a:gd name="T4" fmla="*/ 2 w 2"/>
                    <a:gd name="T5" fmla="*/ 0 h 4"/>
                    <a:gd name="T6" fmla="*/ 2 w 2"/>
                    <a:gd name="T7" fmla="*/ 0 h 4"/>
                    <a:gd name="T8" fmla="*/ 0 w 2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4">
                      <a:moveTo>
                        <a:pt x="0" y="4"/>
                      </a:move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lnTo>
                        <a:pt x="0" y="4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544" name="Freeform 735"/>
                <p:cNvSpPr>
                  <a:spLocks/>
                </p:cNvSpPr>
                <p:nvPr/>
              </p:nvSpPr>
              <p:spPr bwMode="auto">
                <a:xfrm>
                  <a:off x="1059" y="2069"/>
                  <a:ext cx="6" cy="7"/>
                </a:xfrm>
                <a:custGeom>
                  <a:avLst/>
                  <a:gdLst>
                    <a:gd name="T0" fmla="*/ 0 w 11"/>
                    <a:gd name="T1" fmla="*/ 15 h 15"/>
                    <a:gd name="T2" fmla="*/ 3 w 11"/>
                    <a:gd name="T3" fmla="*/ 11 h 15"/>
                    <a:gd name="T4" fmla="*/ 6 w 11"/>
                    <a:gd name="T5" fmla="*/ 8 h 15"/>
                    <a:gd name="T6" fmla="*/ 9 w 11"/>
                    <a:gd name="T7" fmla="*/ 5 h 15"/>
                    <a:gd name="T8" fmla="*/ 11 w 11"/>
                    <a:gd name="T9" fmla="*/ 0 h 15"/>
                    <a:gd name="T10" fmla="*/ 8 w 11"/>
                    <a:gd name="T11" fmla="*/ 3 h 15"/>
                    <a:gd name="T12" fmla="*/ 5 w 11"/>
                    <a:gd name="T13" fmla="*/ 2 h 15"/>
                    <a:gd name="T14" fmla="*/ 3 w 11"/>
                    <a:gd name="T15" fmla="*/ 3 h 15"/>
                    <a:gd name="T16" fmla="*/ 0 w 11"/>
                    <a:gd name="T17" fmla="*/ 8 h 15"/>
                    <a:gd name="T18" fmla="*/ 0 w 11"/>
                    <a:gd name="T19" fmla="*/ 11 h 15"/>
                    <a:gd name="T20" fmla="*/ 0 w 11"/>
                    <a:gd name="T21" fmla="*/ 15 h 15"/>
                    <a:gd name="T22" fmla="*/ 0 w 11"/>
                    <a:gd name="T23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1" h="15">
                      <a:moveTo>
                        <a:pt x="0" y="15"/>
                      </a:moveTo>
                      <a:lnTo>
                        <a:pt x="3" y="11"/>
                      </a:lnTo>
                      <a:lnTo>
                        <a:pt x="6" y="8"/>
                      </a:lnTo>
                      <a:lnTo>
                        <a:pt x="9" y="5"/>
                      </a:lnTo>
                      <a:lnTo>
                        <a:pt x="11" y="0"/>
                      </a:lnTo>
                      <a:lnTo>
                        <a:pt x="8" y="3"/>
                      </a:lnTo>
                      <a:lnTo>
                        <a:pt x="5" y="2"/>
                      </a:lnTo>
                      <a:lnTo>
                        <a:pt x="3" y="3"/>
                      </a:lnTo>
                      <a:lnTo>
                        <a:pt x="0" y="8"/>
                      </a:lnTo>
                      <a:lnTo>
                        <a:pt x="0" y="11"/>
                      </a:lnTo>
                      <a:lnTo>
                        <a:pt x="0" y="15"/>
                      </a:lnTo>
                      <a:lnTo>
                        <a:pt x="0" y="15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D9DCEB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</p:grpSp>
          <p:sp>
            <p:nvSpPr>
              <p:cNvPr id="528" name="Freeform 736"/>
              <p:cNvSpPr>
                <a:spLocks/>
              </p:cNvSpPr>
              <p:nvPr/>
            </p:nvSpPr>
            <p:spPr bwMode="auto">
              <a:xfrm>
                <a:off x="1007" y="2112"/>
                <a:ext cx="27" cy="53"/>
              </a:xfrm>
              <a:custGeom>
                <a:avLst/>
                <a:gdLst>
                  <a:gd name="T0" fmla="*/ 5 w 54"/>
                  <a:gd name="T1" fmla="*/ 82 h 106"/>
                  <a:gd name="T2" fmla="*/ 11 w 54"/>
                  <a:gd name="T3" fmla="*/ 49 h 106"/>
                  <a:gd name="T4" fmla="*/ 13 w 54"/>
                  <a:gd name="T5" fmla="*/ 36 h 106"/>
                  <a:gd name="T6" fmla="*/ 13 w 54"/>
                  <a:gd name="T7" fmla="*/ 30 h 106"/>
                  <a:gd name="T8" fmla="*/ 15 w 54"/>
                  <a:gd name="T9" fmla="*/ 23 h 106"/>
                  <a:gd name="T10" fmla="*/ 18 w 54"/>
                  <a:gd name="T11" fmla="*/ 19 h 106"/>
                  <a:gd name="T12" fmla="*/ 24 w 54"/>
                  <a:gd name="T13" fmla="*/ 23 h 106"/>
                  <a:gd name="T14" fmla="*/ 26 w 54"/>
                  <a:gd name="T15" fmla="*/ 23 h 106"/>
                  <a:gd name="T16" fmla="*/ 27 w 54"/>
                  <a:gd name="T17" fmla="*/ 19 h 106"/>
                  <a:gd name="T18" fmla="*/ 30 w 54"/>
                  <a:gd name="T19" fmla="*/ 17 h 106"/>
                  <a:gd name="T20" fmla="*/ 35 w 54"/>
                  <a:gd name="T21" fmla="*/ 9 h 106"/>
                  <a:gd name="T22" fmla="*/ 37 w 54"/>
                  <a:gd name="T23" fmla="*/ 6 h 106"/>
                  <a:gd name="T24" fmla="*/ 42 w 54"/>
                  <a:gd name="T25" fmla="*/ 0 h 106"/>
                  <a:gd name="T26" fmla="*/ 45 w 54"/>
                  <a:gd name="T27" fmla="*/ 3 h 106"/>
                  <a:gd name="T28" fmla="*/ 48 w 54"/>
                  <a:gd name="T29" fmla="*/ 4 h 106"/>
                  <a:gd name="T30" fmla="*/ 54 w 54"/>
                  <a:gd name="T31" fmla="*/ 7 h 106"/>
                  <a:gd name="T32" fmla="*/ 51 w 54"/>
                  <a:gd name="T33" fmla="*/ 15 h 106"/>
                  <a:gd name="T34" fmla="*/ 49 w 54"/>
                  <a:gd name="T35" fmla="*/ 20 h 106"/>
                  <a:gd name="T36" fmla="*/ 46 w 54"/>
                  <a:gd name="T37" fmla="*/ 28 h 106"/>
                  <a:gd name="T38" fmla="*/ 43 w 54"/>
                  <a:gd name="T39" fmla="*/ 34 h 106"/>
                  <a:gd name="T40" fmla="*/ 43 w 54"/>
                  <a:gd name="T41" fmla="*/ 41 h 106"/>
                  <a:gd name="T42" fmla="*/ 42 w 54"/>
                  <a:gd name="T43" fmla="*/ 49 h 106"/>
                  <a:gd name="T44" fmla="*/ 40 w 54"/>
                  <a:gd name="T45" fmla="*/ 55 h 106"/>
                  <a:gd name="T46" fmla="*/ 40 w 54"/>
                  <a:gd name="T47" fmla="*/ 63 h 106"/>
                  <a:gd name="T48" fmla="*/ 38 w 54"/>
                  <a:gd name="T49" fmla="*/ 69 h 106"/>
                  <a:gd name="T50" fmla="*/ 37 w 54"/>
                  <a:gd name="T51" fmla="*/ 76 h 106"/>
                  <a:gd name="T52" fmla="*/ 35 w 54"/>
                  <a:gd name="T53" fmla="*/ 76 h 106"/>
                  <a:gd name="T54" fmla="*/ 32 w 54"/>
                  <a:gd name="T55" fmla="*/ 82 h 106"/>
                  <a:gd name="T56" fmla="*/ 27 w 54"/>
                  <a:gd name="T57" fmla="*/ 88 h 106"/>
                  <a:gd name="T58" fmla="*/ 21 w 54"/>
                  <a:gd name="T59" fmla="*/ 91 h 106"/>
                  <a:gd name="T60" fmla="*/ 16 w 54"/>
                  <a:gd name="T61" fmla="*/ 96 h 106"/>
                  <a:gd name="T62" fmla="*/ 11 w 54"/>
                  <a:gd name="T63" fmla="*/ 104 h 106"/>
                  <a:gd name="T64" fmla="*/ 11 w 54"/>
                  <a:gd name="T65" fmla="*/ 106 h 106"/>
                  <a:gd name="T66" fmla="*/ 3 w 54"/>
                  <a:gd name="T67" fmla="*/ 10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54" h="106">
                    <a:moveTo>
                      <a:pt x="0" y="106"/>
                    </a:moveTo>
                    <a:lnTo>
                      <a:pt x="5" y="82"/>
                    </a:lnTo>
                    <a:lnTo>
                      <a:pt x="10" y="58"/>
                    </a:lnTo>
                    <a:lnTo>
                      <a:pt x="11" y="49"/>
                    </a:lnTo>
                    <a:lnTo>
                      <a:pt x="11" y="41"/>
                    </a:lnTo>
                    <a:lnTo>
                      <a:pt x="13" y="36"/>
                    </a:lnTo>
                    <a:lnTo>
                      <a:pt x="13" y="33"/>
                    </a:lnTo>
                    <a:lnTo>
                      <a:pt x="13" y="30"/>
                    </a:lnTo>
                    <a:lnTo>
                      <a:pt x="15" y="26"/>
                    </a:lnTo>
                    <a:lnTo>
                      <a:pt x="15" y="23"/>
                    </a:lnTo>
                    <a:lnTo>
                      <a:pt x="15" y="20"/>
                    </a:lnTo>
                    <a:lnTo>
                      <a:pt x="18" y="19"/>
                    </a:lnTo>
                    <a:lnTo>
                      <a:pt x="21" y="20"/>
                    </a:lnTo>
                    <a:lnTo>
                      <a:pt x="24" y="23"/>
                    </a:lnTo>
                    <a:lnTo>
                      <a:pt x="26" y="23"/>
                    </a:lnTo>
                    <a:lnTo>
                      <a:pt x="26" y="23"/>
                    </a:lnTo>
                    <a:lnTo>
                      <a:pt x="26" y="23"/>
                    </a:lnTo>
                    <a:lnTo>
                      <a:pt x="27" y="19"/>
                    </a:lnTo>
                    <a:lnTo>
                      <a:pt x="30" y="17"/>
                    </a:lnTo>
                    <a:lnTo>
                      <a:pt x="30" y="17"/>
                    </a:lnTo>
                    <a:lnTo>
                      <a:pt x="32" y="14"/>
                    </a:lnTo>
                    <a:lnTo>
                      <a:pt x="35" y="9"/>
                    </a:lnTo>
                    <a:lnTo>
                      <a:pt x="35" y="9"/>
                    </a:lnTo>
                    <a:lnTo>
                      <a:pt x="37" y="6"/>
                    </a:lnTo>
                    <a:lnTo>
                      <a:pt x="40" y="3"/>
                    </a:lnTo>
                    <a:lnTo>
                      <a:pt x="42" y="0"/>
                    </a:lnTo>
                    <a:lnTo>
                      <a:pt x="48" y="0"/>
                    </a:lnTo>
                    <a:lnTo>
                      <a:pt x="45" y="3"/>
                    </a:lnTo>
                    <a:lnTo>
                      <a:pt x="45" y="6"/>
                    </a:lnTo>
                    <a:lnTo>
                      <a:pt x="48" y="4"/>
                    </a:lnTo>
                    <a:lnTo>
                      <a:pt x="51" y="4"/>
                    </a:lnTo>
                    <a:lnTo>
                      <a:pt x="54" y="7"/>
                    </a:lnTo>
                    <a:lnTo>
                      <a:pt x="53" y="12"/>
                    </a:lnTo>
                    <a:lnTo>
                      <a:pt x="51" y="15"/>
                    </a:lnTo>
                    <a:lnTo>
                      <a:pt x="49" y="19"/>
                    </a:lnTo>
                    <a:lnTo>
                      <a:pt x="49" y="20"/>
                    </a:lnTo>
                    <a:lnTo>
                      <a:pt x="48" y="23"/>
                    </a:lnTo>
                    <a:lnTo>
                      <a:pt x="46" y="28"/>
                    </a:lnTo>
                    <a:lnTo>
                      <a:pt x="46" y="31"/>
                    </a:lnTo>
                    <a:lnTo>
                      <a:pt x="43" y="34"/>
                    </a:lnTo>
                    <a:lnTo>
                      <a:pt x="45" y="38"/>
                    </a:lnTo>
                    <a:lnTo>
                      <a:pt x="43" y="41"/>
                    </a:lnTo>
                    <a:lnTo>
                      <a:pt x="42" y="46"/>
                    </a:lnTo>
                    <a:lnTo>
                      <a:pt x="42" y="49"/>
                    </a:lnTo>
                    <a:lnTo>
                      <a:pt x="40" y="52"/>
                    </a:lnTo>
                    <a:lnTo>
                      <a:pt x="40" y="55"/>
                    </a:lnTo>
                    <a:lnTo>
                      <a:pt x="42" y="60"/>
                    </a:lnTo>
                    <a:lnTo>
                      <a:pt x="40" y="63"/>
                    </a:lnTo>
                    <a:lnTo>
                      <a:pt x="40" y="66"/>
                    </a:lnTo>
                    <a:lnTo>
                      <a:pt x="38" y="69"/>
                    </a:lnTo>
                    <a:lnTo>
                      <a:pt x="38" y="71"/>
                    </a:lnTo>
                    <a:lnTo>
                      <a:pt x="37" y="76"/>
                    </a:lnTo>
                    <a:lnTo>
                      <a:pt x="35" y="79"/>
                    </a:lnTo>
                    <a:lnTo>
                      <a:pt x="35" y="76"/>
                    </a:lnTo>
                    <a:lnTo>
                      <a:pt x="34" y="79"/>
                    </a:lnTo>
                    <a:lnTo>
                      <a:pt x="32" y="82"/>
                    </a:lnTo>
                    <a:lnTo>
                      <a:pt x="30" y="85"/>
                    </a:lnTo>
                    <a:lnTo>
                      <a:pt x="27" y="88"/>
                    </a:lnTo>
                    <a:lnTo>
                      <a:pt x="24" y="88"/>
                    </a:lnTo>
                    <a:lnTo>
                      <a:pt x="21" y="91"/>
                    </a:lnTo>
                    <a:lnTo>
                      <a:pt x="19" y="93"/>
                    </a:lnTo>
                    <a:lnTo>
                      <a:pt x="16" y="96"/>
                    </a:lnTo>
                    <a:lnTo>
                      <a:pt x="13" y="101"/>
                    </a:lnTo>
                    <a:lnTo>
                      <a:pt x="11" y="104"/>
                    </a:lnTo>
                    <a:lnTo>
                      <a:pt x="11" y="106"/>
                    </a:lnTo>
                    <a:lnTo>
                      <a:pt x="11" y="106"/>
                    </a:lnTo>
                    <a:lnTo>
                      <a:pt x="8" y="104"/>
                    </a:lnTo>
                    <a:lnTo>
                      <a:pt x="3" y="104"/>
                    </a:lnTo>
                    <a:lnTo>
                      <a:pt x="0" y="106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29" name="Freeform 737"/>
              <p:cNvSpPr>
                <a:spLocks/>
              </p:cNvSpPr>
              <p:nvPr/>
            </p:nvSpPr>
            <p:spPr bwMode="auto">
              <a:xfrm>
                <a:off x="950" y="2126"/>
                <a:ext cx="75" cy="83"/>
              </a:xfrm>
              <a:custGeom>
                <a:avLst/>
                <a:gdLst>
                  <a:gd name="T0" fmla="*/ 3 w 149"/>
                  <a:gd name="T1" fmla="*/ 131 h 167"/>
                  <a:gd name="T2" fmla="*/ 5 w 149"/>
                  <a:gd name="T3" fmla="*/ 129 h 167"/>
                  <a:gd name="T4" fmla="*/ 3 w 149"/>
                  <a:gd name="T5" fmla="*/ 121 h 167"/>
                  <a:gd name="T6" fmla="*/ 5 w 149"/>
                  <a:gd name="T7" fmla="*/ 118 h 167"/>
                  <a:gd name="T8" fmla="*/ 10 w 149"/>
                  <a:gd name="T9" fmla="*/ 113 h 167"/>
                  <a:gd name="T10" fmla="*/ 6 w 149"/>
                  <a:gd name="T11" fmla="*/ 108 h 167"/>
                  <a:gd name="T12" fmla="*/ 13 w 149"/>
                  <a:gd name="T13" fmla="*/ 94 h 167"/>
                  <a:gd name="T14" fmla="*/ 24 w 149"/>
                  <a:gd name="T15" fmla="*/ 75 h 167"/>
                  <a:gd name="T16" fmla="*/ 30 w 149"/>
                  <a:gd name="T17" fmla="*/ 72 h 167"/>
                  <a:gd name="T18" fmla="*/ 49 w 149"/>
                  <a:gd name="T19" fmla="*/ 72 h 167"/>
                  <a:gd name="T20" fmla="*/ 71 w 149"/>
                  <a:gd name="T21" fmla="*/ 72 h 167"/>
                  <a:gd name="T22" fmla="*/ 73 w 149"/>
                  <a:gd name="T23" fmla="*/ 67 h 167"/>
                  <a:gd name="T24" fmla="*/ 75 w 149"/>
                  <a:gd name="T25" fmla="*/ 61 h 167"/>
                  <a:gd name="T26" fmla="*/ 71 w 149"/>
                  <a:gd name="T27" fmla="*/ 54 h 167"/>
                  <a:gd name="T28" fmla="*/ 67 w 149"/>
                  <a:gd name="T29" fmla="*/ 51 h 167"/>
                  <a:gd name="T30" fmla="*/ 67 w 149"/>
                  <a:gd name="T31" fmla="*/ 46 h 167"/>
                  <a:gd name="T32" fmla="*/ 62 w 149"/>
                  <a:gd name="T33" fmla="*/ 42 h 167"/>
                  <a:gd name="T34" fmla="*/ 56 w 149"/>
                  <a:gd name="T35" fmla="*/ 39 h 167"/>
                  <a:gd name="T36" fmla="*/ 49 w 149"/>
                  <a:gd name="T37" fmla="*/ 31 h 167"/>
                  <a:gd name="T38" fmla="*/ 45 w 149"/>
                  <a:gd name="T39" fmla="*/ 24 h 167"/>
                  <a:gd name="T40" fmla="*/ 57 w 149"/>
                  <a:gd name="T41" fmla="*/ 23 h 167"/>
                  <a:gd name="T42" fmla="*/ 60 w 149"/>
                  <a:gd name="T43" fmla="*/ 12 h 167"/>
                  <a:gd name="T44" fmla="*/ 79 w 149"/>
                  <a:gd name="T45" fmla="*/ 0 h 167"/>
                  <a:gd name="T46" fmla="*/ 111 w 149"/>
                  <a:gd name="T47" fmla="*/ 0 h 167"/>
                  <a:gd name="T48" fmla="*/ 125 w 149"/>
                  <a:gd name="T49" fmla="*/ 20 h 167"/>
                  <a:gd name="T50" fmla="*/ 119 w 149"/>
                  <a:gd name="T51" fmla="*/ 59 h 167"/>
                  <a:gd name="T52" fmla="*/ 117 w 149"/>
                  <a:gd name="T53" fmla="*/ 78 h 167"/>
                  <a:gd name="T54" fmla="*/ 125 w 149"/>
                  <a:gd name="T55" fmla="*/ 80 h 167"/>
                  <a:gd name="T56" fmla="*/ 127 w 149"/>
                  <a:gd name="T57" fmla="*/ 80 h 167"/>
                  <a:gd name="T58" fmla="*/ 132 w 149"/>
                  <a:gd name="T59" fmla="*/ 81 h 167"/>
                  <a:gd name="T60" fmla="*/ 135 w 149"/>
                  <a:gd name="T61" fmla="*/ 85 h 167"/>
                  <a:gd name="T62" fmla="*/ 136 w 149"/>
                  <a:gd name="T63" fmla="*/ 85 h 167"/>
                  <a:gd name="T64" fmla="*/ 138 w 149"/>
                  <a:gd name="T65" fmla="*/ 81 h 167"/>
                  <a:gd name="T66" fmla="*/ 138 w 149"/>
                  <a:gd name="T67" fmla="*/ 78 h 167"/>
                  <a:gd name="T68" fmla="*/ 144 w 149"/>
                  <a:gd name="T69" fmla="*/ 81 h 167"/>
                  <a:gd name="T70" fmla="*/ 148 w 149"/>
                  <a:gd name="T71" fmla="*/ 85 h 167"/>
                  <a:gd name="T72" fmla="*/ 146 w 149"/>
                  <a:gd name="T73" fmla="*/ 88 h 167"/>
                  <a:gd name="T74" fmla="*/ 143 w 149"/>
                  <a:gd name="T75" fmla="*/ 91 h 167"/>
                  <a:gd name="T76" fmla="*/ 140 w 149"/>
                  <a:gd name="T77" fmla="*/ 94 h 167"/>
                  <a:gd name="T78" fmla="*/ 129 w 149"/>
                  <a:gd name="T79" fmla="*/ 104 h 167"/>
                  <a:gd name="T80" fmla="*/ 125 w 149"/>
                  <a:gd name="T81" fmla="*/ 105 h 167"/>
                  <a:gd name="T82" fmla="*/ 117 w 149"/>
                  <a:gd name="T83" fmla="*/ 110 h 167"/>
                  <a:gd name="T84" fmla="*/ 113 w 149"/>
                  <a:gd name="T85" fmla="*/ 113 h 167"/>
                  <a:gd name="T86" fmla="*/ 111 w 149"/>
                  <a:gd name="T87" fmla="*/ 119 h 167"/>
                  <a:gd name="T88" fmla="*/ 110 w 149"/>
                  <a:gd name="T89" fmla="*/ 123 h 167"/>
                  <a:gd name="T90" fmla="*/ 113 w 149"/>
                  <a:gd name="T91" fmla="*/ 127 h 167"/>
                  <a:gd name="T92" fmla="*/ 108 w 149"/>
                  <a:gd name="T93" fmla="*/ 132 h 167"/>
                  <a:gd name="T94" fmla="*/ 106 w 149"/>
                  <a:gd name="T95" fmla="*/ 134 h 167"/>
                  <a:gd name="T96" fmla="*/ 103 w 149"/>
                  <a:gd name="T97" fmla="*/ 138 h 167"/>
                  <a:gd name="T98" fmla="*/ 95 w 149"/>
                  <a:gd name="T99" fmla="*/ 142 h 167"/>
                  <a:gd name="T100" fmla="*/ 92 w 149"/>
                  <a:gd name="T101" fmla="*/ 148 h 167"/>
                  <a:gd name="T102" fmla="*/ 91 w 149"/>
                  <a:gd name="T103" fmla="*/ 148 h 167"/>
                  <a:gd name="T104" fmla="*/ 87 w 149"/>
                  <a:gd name="T105" fmla="*/ 154 h 167"/>
                  <a:gd name="T106" fmla="*/ 84 w 149"/>
                  <a:gd name="T107" fmla="*/ 154 h 167"/>
                  <a:gd name="T108" fmla="*/ 78 w 149"/>
                  <a:gd name="T109" fmla="*/ 157 h 167"/>
                  <a:gd name="T110" fmla="*/ 75 w 149"/>
                  <a:gd name="T111" fmla="*/ 162 h 167"/>
                  <a:gd name="T112" fmla="*/ 73 w 149"/>
                  <a:gd name="T113" fmla="*/ 167 h 167"/>
                  <a:gd name="T114" fmla="*/ 54 w 149"/>
                  <a:gd name="T115" fmla="*/ 159 h 167"/>
                  <a:gd name="T116" fmla="*/ 35 w 149"/>
                  <a:gd name="T117" fmla="*/ 159 h 167"/>
                  <a:gd name="T118" fmla="*/ 16 w 149"/>
                  <a:gd name="T119" fmla="*/ 150 h 167"/>
                  <a:gd name="T120" fmla="*/ 0 w 149"/>
                  <a:gd name="T121" fmla="*/ 134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49" h="167">
                    <a:moveTo>
                      <a:pt x="0" y="134"/>
                    </a:moveTo>
                    <a:lnTo>
                      <a:pt x="3" y="131"/>
                    </a:lnTo>
                    <a:lnTo>
                      <a:pt x="3" y="129"/>
                    </a:lnTo>
                    <a:lnTo>
                      <a:pt x="5" y="129"/>
                    </a:lnTo>
                    <a:lnTo>
                      <a:pt x="3" y="124"/>
                    </a:lnTo>
                    <a:lnTo>
                      <a:pt x="3" y="121"/>
                    </a:lnTo>
                    <a:lnTo>
                      <a:pt x="5" y="118"/>
                    </a:lnTo>
                    <a:lnTo>
                      <a:pt x="5" y="118"/>
                    </a:lnTo>
                    <a:lnTo>
                      <a:pt x="8" y="113"/>
                    </a:lnTo>
                    <a:lnTo>
                      <a:pt x="10" y="113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5" y="104"/>
                    </a:lnTo>
                    <a:lnTo>
                      <a:pt x="13" y="94"/>
                    </a:lnTo>
                    <a:lnTo>
                      <a:pt x="19" y="83"/>
                    </a:lnTo>
                    <a:lnTo>
                      <a:pt x="24" y="75"/>
                    </a:lnTo>
                    <a:lnTo>
                      <a:pt x="25" y="72"/>
                    </a:lnTo>
                    <a:lnTo>
                      <a:pt x="30" y="72"/>
                    </a:lnTo>
                    <a:lnTo>
                      <a:pt x="40" y="72"/>
                    </a:lnTo>
                    <a:lnTo>
                      <a:pt x="49" y="72"/>
                    </a:lnTo>
                    <a:lnTo>
                      <a:pt x="57" y="72"/>
                    </a:lnTo>
                    <a:lnTo>
                      <a:pt x="71" y="72"/>
                    </a:lnTo>
                    <a:lnTo>
                      <a:pt x="71" y="72"/>
                    </a:lnTo>
                    <a:lnTo>
                      <a:pt x="73" y="67"/>
                    </a:lnTo>
                    <a:lnTo>
                      <a:pt x="71" y="64"/>
                    </a:lnTo>
                    <a:lnTo>
                      <a:pt x="75" y="61"/>
                    </a:lnTo>
                    <a:lnTo>
                      <a:pt x="75" y="58"/>
                    </a:lnTo>
                    <a:lnTo>
                      <a:pt x="71" y="54"/>
                    </a:lnTo>
                    <a:lnTo>
                      <a:pt x="70" y="54"/>
                    </a:lnTo>
                    <a:lnTo>
                      <a:pt x="67" y="51"/>
                    </a:lnTo>
                    <a:lnTo>
                      <a:pt x="67" y="50"/>
                    </a:lnTo>
                    <a:lnTo>
                      <a:pt x="67" y="46"/>
                    </a:lnTo>
                    <a:lnTo>
                      <a:pt x="65" y="45"/>
                    </a:lnTo>
                    <a:lnTo>
                      <a:pt x="62" y="42"/>
                    </a:lnTo>
                    <a:lnTo>
                      <a:pt x="59" y="40"/>
                    </a:lnTo>
                    <a:lnTo>
                      <a:pt x="56" y="39"/>
                    </a:lnTo>
                    <a:lnTo>
                      <a:pt x="52" y="34"/>
                    </a:lnTo>
                    <a:lnTo>
                      <a:pt x="49" y="31"/>
                    </a:lnTo>
                    <a:lnTo>
                      <a:pt x="48" y="27"/>
                    </a:lnTo>
                    <a:lnTo>
                      <a:pt x="45" y="24"/>
                    </a:lnTo>
                    <a:lnTo>
                      <a:pt x="43" y="23"/>
                    </a:lnTo>
                    <a:lnTo>
                      <a:pt x="57" y="23"/>
                    </a:lnTo>
                    <a:lnTo>
                      <a:pt x="59" y="23"/>
                    </a:lnTo>
                    <a:lnTo>
                      <a:pt x="60" y="12"/>
                    </a:lnTo>
                    <a:lnTo>
                      <a:pt x="62" y="0"/>
                    </a:lnTo>
                    <a:lnTo>
                      <a:pt x="79" y="0"/>
                    </a:lnTo>
                    <a:lnTo>
                      <a:pt x="95" y="0"/>
                    </a:lnTo>
                    <a:lnTo>
                      <a:pt x="111" y="0"/>
                    </a:lnTo>
                    <a:lnTo>
                      <a:pt x="129" y="0"/>
                    </a:lnTo>
                    <a:lnTo>
                      <a:pt x="125" y="20"/>
                    </a:lnTo>
                    <a:lnTo>
                      <a:pt x="122" y="40"/>
                    </a:lnTo>
                    <a:lnTo>
                      <a:pt x="119" y="59"/>
                    </a:lnTo>
                    <a:lnTo>
                      <a:pt x="114" y="80"/>
                    </a:lnTo>
                    <a:lnTo>
                      <a:pt x="117" y="78"/>
                    </a:lnTo>
                    <a:lnTo>
                      <a:pt x="122" y="78"/>
                    </a:lnTo>
                    <a:lnTo>
                      <a:pt x="125" y="80"/>
                    </a:lnTo>
                    <a:lnTo>
                      <a:pt x="125" y="80"/>
                    </a:lnTo>
                    <a:lnTo>
                      <a:pt x="127" y="80"/>
                    </a:lnTo>
                    <a:lnTo>
                      <a:pt x="130" y="80"/>
                    </a:lnTo>
                    <a:lnTo>
                      <a:pt x="132" y="81"/>
                    </a:lnTo>
                    <a:lnTo>
                      <a:pt x="135" y="85"/>
                    </a:lnTo>
                    <a:lnTo>
                      <a:pt x="135" y="85"/>
                    </a:lnTo>
                    <a:lnTo>
                      <a:pt x="135" y="86"/>
                    </a:lnTo>
                    <a:lnTo>
                      <a:pt x="136" y="85"/>
                    </a:lnTo>
                    <a:lnTo>
                      <a:pt x="136" y="85"/>
                    </a:lnTo>
                    <a:lnTo>
                      <a:pt x="138" y="81"/>
                    </a:lnTo>
                    <a:lnTo>
                      <a:pt x="140" y="81"/>
                    </a:lnTo>
                    <a:lnTo>
                      <a:pt x="138" y="78"/>
                    </a:lnTo>
                    <a:lnTo>
                      <a:pt x="141" y="80"/>
                    </a:lnTo>
                    <a:lnTo>
                      <a:pt x="144" y="81"/>
                    </a:lnTo>
                    <a:lnTo>
                      <a:pt x="148" y="85"/>
                    </a:lnTo>
                    <a:lnTo>
                      <a:pt x="148" y="85"/>
                    </a:lnTo>
                    <a:lnTo>
                      <a:pt x="149" y="86"/>
                    </a:lnTo>
                    <a:lnTo>
                      <a:pt x="146" y="88"/>
                    </a:lnTo>
                    <a:lnTo>
                      <a:pt x="146" y="88"/>
                    </a:lnTo>
                    <a:lnTo>
                      <a:pt x="143" y="91"/>
                    </a:lnTo>
                    <a:lnTo>
                      <a:pt x="140" y="94"/>
                    </a:lnTo>
                    <a:lnTo>
                      <a:pt x="140" y="94"/>
                    </a:lnTo>
                    <a:lnTo>
                      <a:pt x="132" y="100"/>
                    </a:lnTo>
                    <a:lnTo>
                      <a:pt x="129" y="104"/>
                    </a:lnTo>
                    <a:lnTo>
                      <a:pt x="129" y="104"/>
                    </a:lnTo>
                    <a:lnTo>
                      <a:pt x="125" y="105"/>
                    </a:lnTo>
                    <a:lnTo>
                      <a:pt x="121" y="108"/>
                    </a:lnTo>
                    <a:lnTo>
                      <a:pt x="117" y="110"/>
                    </a:lnTo>
                    <a:lnTo>
                      <a:pt x="114" y="111"/>
                    </a:lnTo>
                    <a:lnTo>
                      <a:pt x="113" y="113"/>
                    </a:lnTo>
                    <a:lnTo>
                      <a:pt x="111" y="115"/>
                    </a:lnTo>
                    <a:lnTo>
                      <a:pt x="111" y="119"/>
                    </a:lnTo>
                    <a:lnTo>
                      <a:pt x="111" y="119"/>
                    </a:lnTo>
                    <a:lnTo>
                      <a:pt x="110" y="123"/>
                    </a:lnTo>
                    <a:lnTo>
                      <a:pt x="111" y="126"/>
                    </a:lnTo>
                    <a:lnTo>
                      <a:pt x="113" y="127"/>
                    </a:lnTo>
                    <a:lnTo>
                      <a:pt x="111" y="131"/>
                    </a:lnTo>
                    <a:lnTo>
                      <a:pt x="108" y="132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3" y="138"/>
                    </a:lnTo>
                    <a:lnTo>
                      <a:pt x="103" y="138"/>
                    </a:lnTo>
                    <a:lnTo>
                      <a:pt x="98" y="138"/>
                    </a:lnTo>
                    <a:lnTo>
                      <a:pt x="95" y="142"/>
                    </a:lnTo>
                    <a:lnTo>
                      <a:pt x="95" y="146"/>
                    </a:lnTo>
                    <a:lnTo>
                      <a:pt x="92" y="148"/>
                    </a:lnTo>
                    <a:lnTo>
                      <a:pt x="91" y="148"/>
                    </a:lnTo>
                    <a:lnTo>
                      <a:pt x="91" y="148"/>
                    </a:lnTo>
                    <a:lnTo>
                      <a:pt x="89" y="151"/>
                    </a:lnTo>
                    <a:lnTo>
                      <a:pt x="87" y="154"/>
                    </a:lnTo>
                    <a:lnTo>
                      <a:pt x="84" y="154"/>
                    </a:lnTo>
                    <a:lnTo>
                      <a:pt x="84" y="154"/>
                    </a:lnTo>
                    <a:lnTo>
                      <a:pt x="81" y="154"/>
                    </a:lnTo>
                    <a:lnTo>
                      <a:pt x="78" y="157"/>
                    </a:lnTo>
                    <a:lnTo>
                      <a:pt x="78" y="159"/>
                    </a:lnTo>
                    <a:lnTo>
                      <a:pt x="75" y="162"/>
                    </a:lnTo>
                    <a:lnTo>
                      <a:pt x="73" y="165"/>
                    </a:lnTo>
                    <a:lnTo>
                      <a:pt x="73" y="167"/>
                    </a:lnTo>
                    <a:lnTo>
                      <a:pt x="60" y="161"/>
                    </a:lnTo>
                    <a:lnTo>
                      <a:pt x="54" y="159"/>
                    </a:lnTo>
                    <a:lnTo>
                      <a:pt x="48" y="159"/>
                    </a:lnTo>
                    <a:lnTo>
                      <a:pt x="35" y="159"/>
                    </a:lnTo>
                    <a:lnTo>
                      <a:pt x="25" y="154"/>
                    </a:lnTo>
                    <a:lnTo>
                      <a:pt x="16" y="150"/>
                    </a:lnTo>
                    <a:lnTo>
                      <a:pt x="8" y="142"/>
                    </a:lnTo>
                    <a:lnTo>
                      <a:pt x="0" y="13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30" name="Freeform 738"/>
              <p:cNvSpPr>
                <a:spLocks/>
              </p:cNvSpPr>
              <p:nvPr/>
            </p:nvSpPr>
            <p:spPr bwMode="auto">
              <a:xfrm>
                <a:off x="987" y="2195"/>
                <a:ext cx="43" cy="26"/>
              </a:xfrm>
              <a:custGeom>
                <a:avLst/>
                <a:gdLst>
                  <a:gd name="T0" fmla="*/ 0 w 87"/>
                  <a:gd name="T1" fmla="*/ 27 h 53"/>
                  <a:gd name="T2" fmla="*/ 5 w 87"/>
                  <a:gd name="T3" fmla="*/ 21 h 53"/>
                  <a:gd name="T4" fmla="*/ 8 w 87"/>
                  <a:gd name="T5" fmla="*/ 16 h 53"/>
                  <a:gd name="T6" fmla="*/ 11 w 87"/>
                  <a:gd name="T7" fmla="*/ 16 h 53"/>
                  <a:gd name="T8" fmla="*/ 16 w 87"/>
                  <a:gd name="T9" fmla="*/ 13 h 53"/>
                  <a:gd name="T10" fmla="*/ 18 w 87"/>
                  <a:gd name="T11" fmla="*/ 10 h 53"/>
                  <a:gd name="T12" fmla="*/ 22 w 87"/>
                  <a:gd name="T13" fmla="*/ 8 h 53"/>
                  <a:gd name="T14" fmla="*/ 25 w 87"/>
                  <a:gd name="T15" fmla="*/ 0 h 53"/>
                  <a:gd name="T16" fmla="*/ 32 w 87"/>
                  <a:gd name="T17" fmla="*/ 2 h 53"/>
                  <a:gd name="T18" fmla="*/ 38 w 87"/>
                  <a:gd name="T19" fmla="*/ 5 h 53"/>
                  <a:gd name="T20" fmla="*/ 43 w 87"/>
                  <a:gd name="T21" fmla="*/ 8 h 53"/>
                  <a:gd name="T22" fmla="*/ 46 w 87"/>
                  <a:gd name="T23" fmla="*/ 12 h 53"/>
                  <a:gd name="T24" fmla="*/ 51 w 87"/>
                  <a:gd name="T25" fmla="*/ 13 h 53"/>
                  <a:gd name="T26" fmla="*/ 52 w 87"/>
                  <a:gd name="T27" fmla="*/ 18 h 53"/>
                  <a:gd name="T28" fmla="*/ 59 w 87"/>
                  <a:gd name="T29" fmla="*/ 19 h 53"/>
                  <a:gd name="T30" fmla="*/ 59 w 87"/>
                  <a:gd name="T31" fmla="*/ 24 h 53"/>
                  <a:gd name="T32" fmla="*/ 63 w 87"/>
                  <a:gd name="T33" fmla="*/ 24 h 53"/>
                  <a:gd name="T34" fmla="*/ 67 w 87"/>
                  <a:gd name="T35" fmla="*/ 23 h 53"/>
                  <a:gd name="T36" fmla="*/ 73 w 87"/>
                  <a:gd name="T37" fmla="*/ 19 h 53"/>
                  <a:gd name="T38" fmla="*/ 76 w 87"/>
                  <a:gd name="T39" fmla="*/ 24 h 53"/>
                  <a:gd name="T40" fmla="*/ 79 w 87"/>
                  <a:gd name="T41" fmla="*/ 23 h 53"/>
                  <a:gd name="T42" fmla="*/ 86 w 87"/>
                  <a:gd name="T43" fmla="*/ 24 h 53"/>
                  <a:gd name="T44" fmla="*/ 86 w 87"/>
                  <a:gd name="T45" fmla="*/ 29 h 53"/>
                  <a:gd name="T46" fmla="*/ 83 w 87"/>
                  <a:gd name="T47" fmla="*/ 35 h 53"/>
                  <a:gd name="T48" fmla="*/ 84 w 87"/>
                  <a:gd name="T49" fmla="*/ 40 h 53"/>
                  <a:gd name="T50" fmla="*/ 81 w 87"/>
                  <a:gd name="T51" fmla="*/ 42 h 53"/>
                  <a:gd name="T52" fmla="*/ 81 w 87"/>
                  <a:gd name="T53" fmla="*/ 42 h 53"/>
                  <a:gd name="T54" fmla="*/ 81 w 87"/>
                  <a:gd name="T55" fmla="*/ 48 h 53"/>
                  <a:gd name="T56" fmla="*/ 75 w 87"/>
                  <a:gd name="T57" fmla="*/ 53 h 53"/>
                  <a:gd name="T58" fmla="*/ 70 w 87"/>
                  <a:gd name="T59" fmla="*/ 53 h 53"/>
                  <a:gd name="T60" fmla="*/ 62 w 87"/>
                  <a:gd name="T61" fmla="*/ 51 h 53"/>
                  <a:gd name="T62" fmla="*/ 57 w 87"/>
                  <a:gd name="T63" fmla="*/ 48 h 53"/>
                  <a:gd name="T64" fmla="*/ 54 w 87"/>
                  <a:gd name="T65" fmla="*/ 48 h 53"/>
                  <a:gd name="T66" fmla="*/ 54 w 87"/>
                  <a:gd name="T67" fmla="*/ 50 h 53"/>
                  <a:gd name="T68" fmla="*/ 44 w 87"/>
                  <a:gd name="T69" fmla="*/ 48 h 53"/>
                  <a:gd name="T70" fmla="*/ 37 w 87"/>
                  <a:gd name="T71" fmla="*/ 45 h 53"/>
                  <a:gd name="T72" fmla="*/ 30 w 87"/>
                  <a:gd name="T73" fmla="*/ 40 h 53"/>
                  <a:gd name="T74" fmla="*/ 22 w 87"/>
                  <a:gd name="T75" fmla="*/ 38 h 53"/>
                  <a:gd name="T76" fmla="*/ 18 w 87"/>
                  <a:gd name="T77" fmla="*/ 38 h 53"/>
                  <a:gd name="T78" fmla="*/ 10 w 87"/>
                  <a:gd name="T79" fmla="*/ 37 h 53"/>
                  <a:gd name="T80" fmla="*/ 5 w 87"/>
                  <a:gd name="T81" fmla="*/ 32 h 53"/>
                  <a:gd name="T82" fmla="*/ 3 w 87"/>
                  <a:gd name="T83" fmla="*/ 31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7" h="53">
                    <a:moveTo>
                      <a:pt x="0" y="29"/>
                    </a:moveTo>
                    <a:lnTo>
                      <a:pt x="0" y="27"/>
                    </a:lnTo>
                    <a:lnTo>
                      <a:pt x="2" y="24"/>
                    </a:lnTo>
                    <a:lnTo>
                      <a:pt x="5" y="21"/>
                    </a:lnTo>
                    <a:lnTo>
                      <a:pt x="5" y="19"/>
                    </a:lnTo>
                    <a:lnTo>
                      <a:pt x="8" y="16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4" y="16"/>
                    </a:lnTo>
                    <a:lnTo>
                      <a:pt x="16" y="13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9" y="10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5" y="0"/>
                    </a:lnTo>
                    <a:lnTo>
                      <a:pt x="30" y="0"/>
                    </a:lnTo>
                    <a:lnTo>
                      <a:pt x="32" y="2"/>
                    </a:lnTo>
                    <a:lnTo>
                      <a:pt x="35" y="4"/>
                    </a:lnTo>
                    <a:lnTo>
                      <a:pt x="38" y="5"/>
                    </a:lnTo>
                    <a:lnTo>
                      <a:pt x="41" y="5"/>
                    </a:lnTo>
                    <a:lnTo>
                      <a:pt x="43" y="8"/>
                    </a:lnTo>
                    <a:lnTo>
                      <a:pt x="43" y="10"/>
                    </a:lnTo>
                    <a:lnTo>
                      <a:pt x="46" y="12"/>
                    </a:lnTo>
                    <a:lnTo>
                      <a:pt x="48" y="13"/>
                    </a:lnTo>
                    <a:lnTo>
                      <a:pt x="51" y="13"/>
                    </a:lnTo>
                    <a:lnTo>
                      <a:pt x="52" y="16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59" y="19"/>
                    </a:lnTo>
                    <a:lnTo>
                      <a:pt x="59" y="23"/>
                    </a:lnTo>
                    <a:lnTo>
                      <a:pt x="59" y="24"/>
                    </a:lnTo>
                    <a:lnTo>
                      <a:pt x="62" y="23"/>
                    </a:lnTo>
                    <a:lnTo>
                      <a:pt x="63" y="24"/>
                    </a:lnTo>
                    <a:lnTo>
                      <a:pt x="63" y="23"/>
                    </a:lnTo>
                    <a:lnTo>
                      <a:pt x="67" y="23"/>
                    </a:lnTo>
                    <a:lnTo>
                      <a:pt x="70" y="19"/>
                    </a:lnTo>
                    <a:lnTo>
                      <a:pt x="73" y="19"/>
                    </a:lnTo>
                    <a:lnTo>
                      <a:pt x="75" y="21"/>
                    </a:lnTo>
                    <a:lnTo>
                      <a:pt x="76" y="24"/>
                    </a:lnTo>
                    <a:lnTo>
                      <a:pt x="78" y="23"/>
                    </a:lnTo>
                    <a:lnTo>
                      <a:pt x="79" y="23"/>
                    </a:lnTo>
                    <a:lnTo>
                      <a:pt x="81" y="23"/>
                    </a:lnTo>
                    <a:lnTo>
                      <a:pt x="86" y="24"/>
                    </a:lnTo>
                    <a:lnTo>
                      <a:pt x="87" y="26"/>
                    </a:lnTo>
                    <a:lnTo>
                      <a:pt x="86" y="29"/>
                    </a:lnTo>
                    <a:lnTo>
                      <a:pt x="84" y="32"/>
                    </a:lnTo>
                    <a:lnTo>
                      <a:pt x="83" y="35"/>
                    </a:lnTo>
                    <a:lnTo>
                      <a:pt x="83" y="37"/>
                    </a:lnTo>
                    <a:lnTo>
                      <a:pt x="84" y="40"/>
                    </a:lnTo>
                    <a:lnTo>
                      <a:pt x="83" y="42"/>
                    </a:lnTo>
                    <a:lnTo>
                      <a:pt x="81" y="42"/>
                    </a:lnTo>
                    <a:lnTo>
                      <a:pt x="81" y="43"/>
                    </a:lnTo>
                    <a:lnTo>
                      <a:pt x="81" y="42"/>
                    </a:lnTo>
                    <a:lnTo>
                      <a:pt x="79" y="45"/>
                    </a:lnTo>
                    <a:lnTo>
                      <a:pt x="81" y="48"/>
                    </a:lnTo>
                    <a:lnTo>
                      <a:pt x="78" y="51"/>
                    </a:lnTo>
                    <a:lnTo>
                      <a:pt x="75" y="53"/>
                    </a:lnTo>
                    <a:lnTo>
                      <a:pt x="71" y="53"/>
                    </a:lnTo>
                    <a:lnTo>
                      <a:pt x="70" y="53"/>
                    </a:lnTo>
                    <a:lnTo>
                      <a:pt x="63" y="53"/>
                    </a:lnTo>
                    <a:lnTo>
                      <a:pt x="62" y="51"/>
                    </a:lnTo>
                    <a:lnTo>
                      <a:pt x="62" y="50"/>
                    </a:lnTo>
                    <a:lnTo>
                      <a:pt x="57" y="48"/>
                    </a:lnTo>
                    <a:lnTo>
                      <a:pt x="57" y="50"/>
                    </a:lnTo>
                    <a:lnTo>
                      <a:pt x="54" y="48"/>
                    </a:lnTo>
                    <a:lnTo>
                      <a:pt x="51" y="48"/>
                    </a:lnTo>
                    <a:lnTo>
                      <a:pt x="54" y="50"/>
                    </a:lnTo>
                    <a:lnTo>
                      <a:pt x="49" y="50"/>
                    </a:lnTo>
                    <a:lnTo>
                      <a:pt x="44" y="48"/>
                    </a:lnTo>
                    <a:lnTo>
                      <a:pt x="40" y="46"/>
                    </a:lnTo>
                    <a:lnTo>
                      <a:pt x="37" y="45"/>
                    </a:lnTo>
                    <a:lnTo>
                      <a:pt x="33" y="42"/>
                    </a:lnTo>
                    <a:lnTo>
                      <a:pt x="30" y="40"/>
                    </a:lnTo>
                    <a:lnTo>
                      <a:pt x="27" y="40"/>
                    </a:lnTo>
                    <a:lnTo>
                      <a:pt x="22" y="38"/>
                    </a:lnTo>
                    <a:lnTo>
                      <a:pt x="19" y="38"/>
                    </a:lnTo>
                    <a:lnTo>
                      <a:pt x="18" y="38"/>
                    </a:lnTo>
                    <a:lnTo>
                      <a:pt x="13" y="37"/>
                    </a:lnTo>
                    <a:lnTo>
                      <a:pt x="10" y="37"/>
                    </a:lnTo>
                    <a:lnTo>
                      <a:pt x="8" y="34"/>
                    </a:lnTo>
                    <a:lnTo>
                      <a:pt x="5" y="32"/>
                    </a:lnTo>
                    <a:lnTo>
                      <a:pt x="5" y="32"/>
                    </a:lnTo>
                    <a:lnTo>
                      <a:pt x="3" y="31"/>
                    </a:lnTo>
                    <a:lnTo>
                      <a:pt x="0" y="29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31" name="Freeform 739"/>
              <p:cNvSpPr>
                <a:spLocks/>
              </p:cNvSpPr>
              <p:nvPr/>
            </p:nvSpPr>
            <p:spPr bwMode="auto">
              <a:xfrm>
                <a:off x="1002" y="2162"/>
                <a:ext cx="112" cy="62"/>
              </a:xfrm>
              <a:custGeom>
                <a:avLst/>
                <a:gdLst>
                  <a:gd name="T0" fmla="*/ 3 w 225"/>
                  <a:gd name="T1" fmla="*/ 61 h 124"/>
                  <a:gd name="T2" fmla="*/ 8 w 225"/>
                  <a:gd name="T3" fmla="*/ 53 h 124"/>
                  <a:gd name="T4" fmla="*/ 8 w 225"/>
                  <a:gd name="T5" fmla="*/ 42 h 124"/>
                  <a:gd name="T6" fmla="*/ 26 w 225"/>
                  <a:gd name="T7" fmla="*/ 31 h 124"/>
                  <a:gd name="T8" fmla="*/ 40 w 225"/>
                  <a:gd name="T9" fmla="*/ 18 h 124"/>
                  <a:gd name="T10" fmla="*/ 51 w 225"/>
                  <a:gd name="T11" fmla="*/ 15 h 124"/>
                  <a:gd name="T12" fmla="*/ 64 w 225"/>
                  <a:gd name="T13" fmla="*/ 5 h 124"/>
                  <a:gd name="T14" fmla="*/ 78 w 225"/>
                  <a:gd name="T15" fmla="*/ 8 h 124"/>
                  <a:gd name="T16" fmla="*/ 92 w 225"/>
                  <a:gd name="T17" fmla="*/ 12 h 124"/>
                  <a:gd name="T18" fmla="*/ 105 w 225"/>
                  <a:gd name="T19" fmla="*/ 10 h 124"/>
                  <a:gd name="T20" fmla="*/ 113 w 225"/>
                  <a:gd name="T21" fmla="*/ 12 h 124"/>
                  <a:gd name="T22" fmla="*/ 127 w 225"/>
                  <a:gd name="T23" fmla="*/ 5 h 124"/>
                  <a:gd name="T24" fmla="*/ 140 w 225"/>
                  <a:gd name="T25" fmla="*/ 4 h 124"/>
                  <a:gd name="T26" fmla="*/ 164 w 225"/>
                  <a:gd name="T27" fmla="*/ 2 h 124"/>
                  <a:gd name="T28" fmla="*/ 171 w 225"/>
                  <a:gd name="T29" fmla="*/ 5 h 124"/>
                  <a:gd name="T30" fmla="*/ 179 w 225"/>
                  <a:gd name="T31" fmla="*/ 10 h 124"/>
                  <a:gd name="T32" fmla="*/ 192 w 225"/>
                  <a:gd name="T33" fmla="*/ 13 h 124"/>
                  <a:gd name="T34" fmla="*/ 205 w 225"/>
                  <a:gd name="T35" fmla="*/ 26 h 124"/>
                  <a:gd name="T36" fmla="*/ 195 w 225"/>
                  <a:gd name="T37" fmla="*/ 21 h 124"/>
                  <a:gd name="T38" fmla="*/ 192 w 225"/>
                  <a:gd name="T39" fmla="*/ 27 h 124"/>
                  <a:gd name="T40" fmla="*/ 198 w 225"/>
                  <a:gd name="T41" fmla="*/ 29 h 124"/>
                  <a:gd name="T42" fmla="*/ 203 w 225"/>
                  <a:gd name="T43" fmla="*/ 32 h 124"/>
                  <a:gd name="T44" fmla="*/ 210 w 225"/>
                  <a:gd name="T45" fmla="*/ 35 h 124"/>
                  <a:gd name="T46" fmla="*/ 208 w 225"/>
                  <a:gd name="T47" fmla="*/ 29 h 124"/>
                  <a:gd name="T48" fmla="*/ 219 w 225"/>
                  <a:gd name="T49" fmla="*/ 37 h 124"/>
                  <a:gd name="T50" fmla="*/ 217 w 225"/>
                  <a:gd name="T51" fmla="*/ 43 h 124"/>
                  <a:gd name="T52" fmla="*/ 200 w 225"/>
                  <a:gd name="T53" fmla="*/ 51 h 124"/>
                  <a:gd name="T54" fmla="*/ 187 w 225"/>
                  <a:gd name="T55" fmla="*/ 54 h 124"/>
                  <a:gd name="T56" fmla="*/ 176 w 225"/>
                  <a:gd name="T57" fmla="*/ 58 h 124"/>
                  <a:gd name="T58" fmla="*/ 165 w 225"/>
                  <a:gd name="T59" fmla="*/ 50 h 124"/>
                  <a:gd name="T60" fmla="*/ 156 w 225"/>
                  <a:gd name="T61" fmla="*/ 56 h 124"/>
                  <a:gd name="T62" fmla="*/ 151 w 225"/>
                  <a:gd name="T63" fmla="*/ 62 h 124"/>
                  <a:gd name="T64" fmla="*/ 145 w 225"/>
                  <a:gd name="T65" fmla="*/ 72 h 124"/>
                  <a:gd name="T66" fmla="*/ 133 w 225"/>
                  <a:gd name="T67" fmla="*/ 81 h 124"/>
                  <a:gd name="T68" fmla="*/ 125 w 225"/>
                  <a:gd name="T69" fmla="*/ 89 h 124"/>
                  <a:gd name="T70" fmla="*/ 110 w 225"/>
                  <a:gd name="T71" fmla="*/ 88 h 124"/>
                  <a:gd name="T72" fmla="*/ 97 w 225"/>
                  <a:gd name="T73" fmla="*/ 92 h 124"/>
                  <a:gd name="T74" fmla="*/ 91 w 225"/>
                  <a:gd name="T75" fmla="*/ 99 h 124"/>
                  <a:gd name="T76" fmla="*/ 91 w 225"/>
                  <a:gd name="T77" fmla="*/ 110 h 124"/>
                  <a:gd name="T78" fmla="*/ 83 w 225"/>
                  <a:gd name="T79" fmla="*/ 115 h 124"/>
                  <a:gd name="T80" fmla="*/ 79 w 225"/>
                  <a:gd name="T81" fmla="*/ 123 h 124"/>
                  <a:gd name="T82" fmla="*/ 67 w 225"/>
                  <a:gd name="T83" fmla="*/ 124 h 124"/>
                  <a:gd name="T84" fmla="*/ 64 w 225"/>
                  <a:gd name="T85" fmla="*/ 118 h 124"/>
                  <a:gd name="T86" fmla="*/ 62 w 225"/>
                  <a:gd name="T87" fmla="*/ 110 h 124"/>
                  <a:gd name="T88" fmla="*/ 56 w 225"/>
                  <a:gd name="T89" fmla="*/ 108 h 124"/>
                  <a:gd name="T90" fmla="*/ 51 w 225"/>
                  <a:gd name="T91" fmla="*/ 107 h 124"/>
                  <a:gd name="T92" fmla="*/ 53 w 225"/>
                  <a:gd name="T93" fmla="*/ 100 h 124"/>
                  <a:gd name="T94" fmla="*/ 56 w 225"/>
                  <a:gd name="T95" fmla="*/ 89 h 124"/>
                  <a:gd name="T96" fmla="*/ 46 w 225"/>
                  <a:gd name="T97" fmla="*/ 89 h 124"/>
                  <a:gd name="T98" fmla="*/ 37 w 225"/>
                  <a:gd name="T99" fmla="*/ 88 h 124"/>
                  <a:gd name="T100" fmla="*/ 29 w 225"/>
                  <a:gd name="T101" fmla="*/ 89 h 124"/>
                  <a:gd name="T102" fmla="*/ 22 w 225"/>
                  <a:gd name="T103" fmla="*/ 83 h 124"/>
                  <a:gd name="T104" fmla="*/ 16 w 225"/>
                  <a:gd name="T105" fmla="*/ 77 h 124"/>
                  <a:gd name="T106" fmla="*/ 8 w 225"/>
                  <a:gd name="T107" fmla="*/ 70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25" h="124">
                    <a:moveTo>
                      <a:pt x="0" y="65"/>
                    </a:moveTo>
                    <a:lnTo>
                      <a:pt x="0" y="65"/>
                    </a:lnTo>
                    <a:lnTo>
                      <a:pt x="3" y="61"/>
                    </a:lnTo>
                    <a:lnTo>
                      <a:pt x="3" y="61"/>
                    </a:lnTo>
                    <a:lnTo>
                      <a:pt x="5" y="59"/>
                    </a:lnTo>
                    <a:lnTo>
                      <a:pt x="8" y="58"/>
                    </a:lnTo>
                    <a:lnTo>
                      <a:pt x="10" y="54"/>
                    </a:lnTo>
                    <a:lnTo>
                      <a:pt x="8" y="53"/>
                    </a:lnTo>
                    <a:lnTo>
                      <a:pt x="7" y="50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10" y="40"/>
                    </a:lnTo>
                    <a:lnTo>
                      <a:pt x="18" y="35"/>
                    </a:lnTo>
                    <a:lnTo>
                      <a:pt x="26" y="31"/>
                    </a:lnTo>
                    <a:lnTo>
                      <a:pt x="26" y="31"/>
                    </a:lnTo>
                    <a:lnTo>
                      <a:pt x="29" y="27"/>
                    </a:lnTo>
                    <a:lnTo>
                      <a:pt x="37" y="21"/>
                    </a:lnTo>
                    <a:lnTo>
                      <a:pt x="37" y="21"/>
                    </a:lnTo>
                    <a:lnTo>
                      <a:pt x="40" y="18"/>
                    </a:lnTo>
                    <a:lnTo>
                      <a:pt x="43" y="15"/>
                    </a:lnTo>
                    <a:lnTo>
                      <a:pt x="43" y="15"/>
                    </a:lnTo>
                    <a:lnTo>
                      <a:pt x="46" y="13"/>
                    </a:lnTo>
                    <a:lnTo>
                      <a:pt x="51" y="15"/>
                    </a:lnTo>
                    <a:lnTo>
                      <a:pt x="53" y="12"/>
                    </a:lnTo>
                    <a:lnTo>
                      <a:pt x="57" y="10"/>
                    </a:lnTo>
                    <a:lnTo>
                      <a:pt x="60" y="7"/>
                    </a:lnTo>
                    <a:lnTo>
                      <a:pt x="64" y="5"/>
                    </a:lnTo>
                    <a:lnTo>
                      <a:pt x="65" y="5"/>
                    </a:lnTo>
                    <a:lnTo>
                      <a:pt x="68" y="7"/>
                    </a:lnTo>
                    <a:lnTo>
                      <a:pt x="72" y="10"/>
                    </a:lnTo>
                    <a:lnTo>
                      <a:pt x="78" y="8"/>
                    </a:lnTo>
                    <a:lnTo>
                      <a:pt x="79" y="8"/>
                    </a:lnTo>
                    <a:lnTo>
                      <a:pt x="81" y="8"/>
                    </a:lnTo>
                    <a:lnTo>
                      <a:pt x="89" y="10"/>
                    </a:lnTo>
                    <a:lnTo>
                      <a:pt x="92" y="12"/>
                    </a:lnTo>
                    <a:lnTo>
                      <a:pt x="95" y="12"/>
                    </a:lnTo>
                    <a:lnTo>
                      <a:pt x="99" y="10"/>
                    </a:lnTo>
                    <a:lnTo>
                      <a:pt x="102" y="10"/>
                    </a:lnTo>
                    <a:lnTo>
                      <a:pt x="105" y="10"/>
                    </a:lnTo>
                    <a:lnTo>
                      <a:pt x="110" y="10"/>
                    </a:lnTo>
                    <a:lnTo>
                      <a:pt x="111" y="12"/>
                    </a:lnTo>
                    <a:lnTo>
                      <a:pt x="113" y="12"/>
                    </a:lnTo>
                    <a:lnTo>
                      <a:pt x="113" y="12"/>
                    </a:lnTo>
                    <a:lnTo>
                      <a:pt x="116" y="10"/>
                    </a:lnTo>
                    <a:lnTo>
                      <a:pt x="119" y="7"/>
                    </a:lnTo>
                    <a:lnTo>
                      <a:pt x="124" y="5"/>
                    </a:lnTo>
                    <a:lnTo>
                      <a:pt x="127" y="5"/>
                    </a:lnTo>
                    <a:lnTo>
                      <a:pt x="130" y="4"/>
                    </a:lnTo>
                    <a:lnTo>
                      <a:pt x="130" y="2"/>
                    </a:lnTo>
                    <a:lnTo>
                      <a:pt x="127" y="0"/>
                    </a:lnTo>
                    <a:lnTo>
                      <a:pt x="140" y="4"/>
                    </a:lnTo>
                    <a:lnTo>
                      <a:pt x="152" y="5"/>
                    </a:lnTo>
                    <a:lnTo>
                      <a:pt x="156" y="5"/>
                    </a:lnTo>
                    <a:lnTo>
                      <a:pt x="159" y="4"/>
                    </a:lnTo>
                    <a:lnTo>
                      <a:pt x="164" y="2"/>
                    </a:lnTo>
                    <a:lnTo>
                      <a:pt x="164" y="2"/>
                    </a:lnTo>
                    <a:lnTo>
                      <a:pt x="167" y="4"/>
                    </a:lnTo>
                    <a:lnTo>
                      <a:pt x="168" y="4"/>
                    </a:lnTo>
                    <a:lnTo>
                      <a:pt x="171" y="5"/>
                    </a:lnTo>
                    <a:lnTo>
                      <a:pt x="175" y="7"/>
                    </a:lnTo>
                    <a:lnTo>
                      <a:pt x="176" y="10"/>
                    </a:lnTo>
                    <a:lnTo>
                      <a:pt x="179" y="10"/>
                    </a:lnTo>
                    <a:lnTo>
                      <a:pt x="179" y="10"/>
                    </a:lnTo>
                    <a:lnTo>
                      <a:pt x="184" y="8"/>
                    </a:lnTo>
                    <a:lnTo>
                      <a:pt x="187" y="8"/>
                    </a:lnTo>
                    <a:lnTo>
                      <a:pt x="189" y="10"/>
                    </a:lnTo>
                    <a:lnTo>
                      <a:pt x="192" y="13"/>
                    </a:lnTo>
                    <a:lnTo>
                      <a:pt x="192" y="13"/>
                    </a:lnTo>
                    <a:lnTo>
                      <a:pt x="195" y="16"/>
                    </a:lnTo>
                    <a:lnTo>
                      <a:pt x="202" y="24"/>
                    </a:lnTo>
                    <a:lnTo>
                      <a:pt x="205" y="26"/>
                    </a:lnTo>
                    <a:lnTo>
                      <a:pt x="205" y="27"/>
                    </a:lnTo>
                    <a:lnTo>
                      <a:pt x="202" y="24"/>
                    </a:lnTo>
                    <a:lnTo>
                      <a:pt x="198" y="21"/>
                    </a:lnTo>
                    <a:lnTo>
                      <a:pt x="195" y="21"/>
                    </a:lnTo>
                    <a:lnTo>
                      <a:pt x="192" y="23"/>
                    </a:lnTo>
                    <a:lnTo>
                      <a:pt x="189" y="19"/>
                    </a:lnTo>
                    <a:lnTo>
                      <a:pt x="192" y="23"/>
                    </a:lnTo>
                    <a:lnTo>
                      <a:pt x="192" y="27"/>
                    </a:lnTo>
                    <a:lnTo>
                      <a:pt x="195" y="27"/>
                    </a:lnTo>
                    <a:lnTo>
                      <a:pt x="197" y="32"/>
                    </a:lnTo>
                    <a:lnTo>
                      <a:pt x="198" y="32"/>
                    </a:lnTo>
                    <a:lnTo>
                      <a:pt x="198" y="29"/>
                    </a:lnTo>
                    <a:lnTo>
                      <a:pt x="195" y="27"/>
                    </a:lnTo>
                    <a:lnTo>
                      <a:pt x="197" y="26"/>
                    </a:lnTo>
                    <a:lnTo>
                      <a:pt x="202" y="29"/>
                    </a:lnTo>
                    <a:lnTo>
                      <a:pt x="203" y="32"/>
                    </a:lnTo>
                    <a:lnTo>
                      <a:pt x="206" y="32"/>
                    </a:lnTo>
                    <a:lnTo>
                      <a:pt x="211" y="31"/>
                    </a:lnTo>
                    <a:lnTo>
                      <a:pt x="211" y="34"/>
                    </a:lnTo>
                    <a:lnTo>
                      <a:pt x="210" y="35"/>
                    </a:lnTo>
                    <a:lnTo>
                      <a:pt x="214" y="34"/>
                    </a:lnTo>
                    <a:lnTo>
                      <a:pt x="213" y="31"/>
                    </a:lnTo>
                    <a:lnTo>
                      <a:pt x="211" y="31"/>
                    </a:lnTo>
                    <a:lnTo>
                      <a:pt x="208" y="29"/>
                    </a:lnTo>
                    <a:lnTo>
                      <a:pt x="211" y="29"/>
                    </a:lnTo>
                    <a:lnTo>
                      <a:pt x="214" y="31"/>
                    </a:lnTo>
                    <a:lnTo>
                      <a:pt x="217" y="32"/>
                    </a:lnTo>
                    <a:lnTo>
                      <a:pt x="219" y="37"/>
                    </a:lnTo>
                    <a:lnTo>
                      <a:pt x="221" y="40"/>
                    </a:lnTo>
                    <a:lnTo>
                      <a:pt x="224" y="42"/>
                    </a:lnTo>
                    <a:lnTo>
                      <a:pt x="225" y="43"/>
                    </a:lnTo>
                    <a:lnTo>
                      <a:pt x="217" y="43"/>
                    </a:lnTo>
                    <a:lnTo>
                      <a:pt x="214" y="43"/>
                    </a:lnTo>
                    <a:lnTo>
                      <a:pt x="211" y="45"/>
                    </a:lnTo>
                    <a:lnTo>
                      <a:pt x="203" y="48"/>
                    </a:lnTo>
                    <a:lnTo>
                      <a:pt x="200" y="51"/>
                    </a:lnTo>
                    <a:lnTo>
                      <a:pt x="197" y="51"/>
                    </a:lnTo>
                    <a:lnTo>
                      <a:pt x="192" y="53"/>
                    </a:lnTo>
                    <a:lnTo>
                      <a:pt x="189" y="53"/>
                    </a:lnTo>
                    <a:lnTo>
                      <a:pt x="187" y="54"/>
                    </a:lnTo>
                    <a:lnTo>
                      <a:pt x="184" y="53"/>
                    </a:lnTo>
                    <a:lnTo>
                      <a:pt x="184" y="53"/>
                    </a:lnTo>
                    <a:lnTo>
                      <a:pt x="179" y="54"/>
                    </a:lnTo>
                    <a:lnTo>
                      <a:pt x="176" y="58"/>
                    </a:lnTo>
                    <a:lnTo>
                      <a:pt x="173" y="56"/>
                    </a:lnTo>
                    <a:lnTo>
                      <a:pt x="170" y="56"/>
                    </a:lnTo>
                    <a:lnTo>
                      <a:pt x="167" y="53"/>
                    </a:lnTo>
                    <a:lnTo>
                      <a:pt x="165" y="50"/>
                    </a:lnTo>
                    <a:lnTo>
                      <a:pt x="160" y="50"/>
                    </a:lnTo>
                    <a:lnTo>
                      <a:pt x="157" y="53"/>
                    </a:lnTo>
                    <a:lnTo>
                      <a:pt x="157" y="54"/>
                    </a:lnTo>
                    <a:lnTo>
                      <a:pt x="156" y="56"/>
                    </a:lnTo>
                    <a:lnTo>
                      <a:pt x="156" y="59"/>
                    </a:lnTo>
                    <a:lnTo>
                      <a:pt x="156" y="61"/>
                    </a:lnTo>
                    <a:lnTo>
                      <a:pt x="154" y="61"/>
                    </a:lnTo>
                    <a:lnTo>
                      <a:pt x="151" y="62"/>
                    </a:lnTo>
                    <a:lnTo>
                      <a:pt x="149" y="65"/>
                    </a:lnTo>
                    <a:lnTo>
                      <a:pt x="149" y="70"/>
                    </a:lnTo>
                    <a:lnTo>
                      <a:pt x="148" y="72"/>
                    </a:lnTo>
                    <a:lnTo>
                      <a:pt x="145" y="72"/>
                    </a:lnTo>
                    <a:lnTo>
                      <a:pt x="141" y="75"/>
                    </a:lnTo>
                    <a:lnTo>
                      <a:pt x="138" y="78"/>
                    </a:lnTo>
                    <a:lnTo>
                      <a:pt x="135" y="81"/>
                    </a:lnTo>
                    <a:lnTo>
                      <a:pt x="133" y="81"/>
                    </a:lnTo>
                    <a:lnTo>
                      <a:pt x="130" y="84"/>
                    </a:lnTo>
                    <a:lnTo>
                      <a:pt x="127" y="88"/>
                    </a:lnTo>
                    <a:lnTo>
                      <a:pt x="127" y="91"/>
                    </a:lnTo>
                    <a:lnTo>
                      <a:pt x="125" y="89"/>
                    </a:lnTo>
                    <a:lnTo>
                      <a:pt x="122" y="86"/>
                    </a:lnTo>
                    <a:lnTo>
                      <a:pt x="119" y="84"/>
                    </a:lnTo>
                    <a:lnTo>
                      <a:pt x="116" y="81"/>
                    </a:lnTo>
                    <a:lnTo>
                      <a:pt x="110" y="88"/>
                    </a:lnTo>
                    <a:lnTo>
                      <a:pt x="106" y="91"/>
                    </a:lnTo>
                    <a:lnTo>
                      <a:pt x="103" y="92"/>
                    </a:lnTo>
                    <a:lnTo>
                      <a:pt x="97" y="92"/>
                    </a:lnTo>
                    <a:lnTo>
                      <a:pt x="97" y="92"/>
                    </a:lnTo>
                    <a:lnTo>
                      <a:pt x="94" y="92"/>
                    </a:lnTo>
                    <a:lnTo>
                      <a:pt x="89" y="94"/>
                    </a:lnTo>
                    <a:lnTo>
                      <a:pt x="89" y="96"/>
                    </a:lnTo>
                    <a:lnTo>
                      <a:pt x="91" y="99"/>
                    </a:lnTo>
                    <a:lnTo>
                      <a:pt x="89" y="102"/>
                    </a:lnTo>
                    <a:lnTo>
                      <a:pt x="91" y="105"/>
                    </a:lnTo>
                    <a:lnTo>
                      <a:pt x="91" y="107"/>
                    </a:lnTo>
                    <a:lnTo>
                      <a:pt x="91" y="110"/>
                    </a:lnTo>
                    <a:lnTo>
                      <a:pt x="89" y="113"/>
                    </a:lnTo>
                    <a:lnTo>
                      <a:pt x="89" y="113"/>
                    </a:lnTo>
                    <a:lnTo>
                      <a:pt x="86" y="111"/>
                    </a:lnTo>
                    <a:lnTo>
                      <a:pt x="83" y="115"/>
                    </a:lnTo>
                    <a:lnTo>
                      <a:pt x="83" y="118"/>
                    </a:lnTo>
                    <a:lnTo>
                      <a:pt x="81" y="121"/>
                    </a:lnTo>
                    <a:lnTo>
                      <a:pt x="81" y="121"/>
                    </a:lnTo>
                    <a:lnTo>
                      <a:pt x="79" y="123"/>
                    </a:lnTo>
                    <a:lnTo>
                      <a:pt x="76" y="124"/>
                    </a:lnTo>
                    <a:lnTo>
                      <a:pt x="75" y="124"/>
                    </a:lnTo>
                    <a:lnTo>
                      <a:pt x="72" y="124"/>
                    </a:lnTo>
                    <a:lnTo>
                      <a:pt x="67" y="124"/>
                    </a:lnTo>
                    <a:lnTo>
                      <a:pt x="68" y="123"/>
                    </a:lnTo>
                    <a:lnTo>
                      <a:pt x="67" y="119"/>
                    </a:lnTo>
                    <a:lnTo>
                      <a:pt x="65" y="119"/>
                    </a:lnTo>
                    <a:lnTo>
                      <a:pt x="64" y="118"/>
                    </a:lnTo>
                    <a:lnTo>
                      <a:pt x="62" y="115"/>
                    </a:lnTo>
                    <a:lnTo>
                      <a:pt x="62" y="111"/>
                    </a:lnTo>
                    <a:lnTo>
                      <a:pt x="67" y="108"/>
                    </a:lnTo>
                    <a:lnTo>
                      <a:pt x="62" y="110"/>
                    </a:lnTo>
                    <a:lnTo>
                      <a:pt x="59" y="108"/>
                    </a:lnTo>
                    <a:lnTo>
                      <a:pt x="59" y="108"/>
                    </a:lnTo>
                    <a:lnTo>
                      <a:pt x="57" y="105"/>
                    </a:lnTo>
                    <a:lnTo>
                      <a:pt x="56" y="108"/>
                    </a:lnTo>
                    <a:lnTo>
                      <a:pt x="56" y="110"/>
                    </a:lnTo>
                    <a:lnTo>
                      <a:pt x="51" y="108"/>
                    </a:lnTo>
                    <a:lnTo>
                      <a:pt x="51" y="108"/>
                    </a:lnTo>
                    <a:lnTo>
                      <a:pt x="51" y="107"/>
                    </a:lnTo>
                    <a:lnTo>
                      <a:pt x="53" y="107"/>
                    </a:lnTo>
                    <a:lnTo>
                      <a:pt x="54" y="105"/>
                    </a:lnTo>
                    <a:lnTo>
                      <a:pt x="53" y="102"/>
                    </a:lnTo>
                    <a:lnTo>
                      <a:pt x="53" y="100"/>
                    </a:lnTo>
                    <a:lnTo>
                      <a:pt x="54" y="97"/>
                    </a:lnTo>
                    <a:lnTo>
                      <a:pt x="56" y="94"/>
                    </a:lnTo>
                    <a:lnTo>
                      <a:pt x="57" y="91"/>
                    </a:lnTo>
                    <a:lnTo>
                      <a:pt x="56" y="89"/>
                    </a:lnTo>
                    <a:lnTo>
                      <a:pt x="51" y="88"/>
                    </a:lnTo>
                    <a:lnTo>
                      <a:pt x="49" y="88"/>
                    </a:lnTo>
                    <a:lnTo>
                      <a:pt x="48" y="88"/>
                    </a:lnTo>
                    <a:lnTo>
                      <a:pt x="46" y="89"/>
                    </a:lnTo>
                    <a:lnTo>
                      <a:pt x="45" y="86"/>
                    </a:lnTo>
                    <a:lnTo>
                      <a:pt x="43" y="84"/>
                    </a:lnTo>
                    <a:lnTo>
                      <a:pt x="40" y="84"/>
                    </a:lnTo>
                    <a:lnTo>
                      <a:pt x="37" y="88"/>
                    </a:lnTo>
                    <a:lnTo>
                      <a:pt x="33" y="88"/>
                    </a:lnTo>
                    <a:lnTo>
                      <a:pt x="33" y="89"/>
                    </a:lnTo>
                    <a:lnTo>
                      <a:pt x="32" y="88"/>
                    </a:lnTo>
                    <a:lnTo>
                      <a:pt x="29" y="89"/>
                    </a:lnTo>
                    <a:lnTo>
                      <a:pt x="29" y="88"/>
                    </a:lnTo>
                    <a:lnTo>
                      <a:pt x="29" y="84"/>
                    </a:lnTo>
                    <a:lnTo>
                      <a:pt x="26" y="83"/>
                    </a:lnTo>
                    <a:lnTo>
                      <a:pt x="22" y="83"/>
                    </a:lnTo>
                    <a:lnTo>
                      <a:pt x="22" y="81"/>
                    </a:lnTo>
                    <a:lnTo>
                      <a:pt x="21" y="78"/>
                    </a:lnTo>
                    <a:lnTo>
                      <a:pt x="18" y="78"/>
                    </a:lnTo>
                    <a:lnTo>
                      <a:pt x="16" y="77"/>
                    </a:lnTo>
                    <a:lnTo>
                      <a:pt x="13" y="75"/>
                    </a:lnTo>
                    <a:lnTo>
                      <a:pt x="13" y="73"/>
                    </a:lnTo>
                    <a:lnTo>
                      <a:pt x="11" y="70"/>
                    </a:lnTo>
                    <a:lnTo>
                      <a:pt x="8" y="70"/>
                    </a:lnTo>
                    <a:lnTo>
                      <a:pt x="5" y="69"/>
                    </a:lnTo>
                    <a:lnTo>
                      <a:pt x="2" y="67"/>
                    </a:lnTo>
                    <a:lnTo>
                      <a:pt x="0" y="6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32" name="Freeform 740"/>
              <p:cNvSpPr>
                <a:spLocks noEditPoints="1"/>
              </p:cNvSpPr>
              <p:nvPr/>
            </p:nvSpPr>
            <p:spPr bwMode="auto">
              <a:xfrm>
                <a:off x="1028" y="2183"/>
                <a:ext cx="86" cy="88"/>
              </a:xfrm>
              <a:custGeom>
                <a:avLst/>
                <a:gdLst>
                  <a:gd name="T0" fmla="*/ 12 w 172"/>
                  <a:gd name="T1" fmla="*/ 85 h 176"/>
                  <a:gd name="T2" fmla="*/ 22 w 172"/>
                  <a:gd name="T3" fmla="*/ 82 h 176"/>
                  <a:gd name="T4" fmla="*/ 28 w 172"/>
                  <a:gd name="T5" fmla="*/ 79 h 176"/>
                  <a:gd name="T6" fmla="*/ 36 w 172"/>
                  <a:gd name="T7" fmla="*/ 71 h 176"/>
                  <a:gd name="T8" fmla="*/ 38 w 172"/>
                  <a:gd name="T9" fmla="*/ 63 h 176"/>
                  <a:gd name="T10" fmla="*/ 36 w 172"/>
                  <a:gd name="T11" fmla="*/ 52 h 176"/>
                  <a:gd name="T12" fmla="*/ 50 w 172"/>
                  <a:gd name="T13" fmla="*/ 50 h 176"/>
                  <a:gd name="T14" fmla="*/ 66 w 172"/>
                  <a:gd name="T15" fmla="*/ 42 h 176"/>
                  <a:gd name="T16" fmla="*/ 74 w 172"/>
                  <a:gd name="T17" fmla="*/ 46 h 176"/>
                  <a:gd name="T18" fmla="*/ 85 w 172"/>
                  <a:gd name="T19" fmla="*/ 36 h 176"/>
                  <a:gd name="T20" fmla="*/ 96 w 172"/>
                  <a:gd name="T21" fmla="*/ 28 h 176"/>
                  <a:gd name="T22" fmla="*/ 103 w 172"/>
                  <a:gd name="T23" fmla="*/ 19 h 176"/>
                  <a:gd name="T24" fmla="*/ 104 w 172"/>
                  <a:gd name="T25" fmla="*/ 11 h 176"/>
                  <a:gd name="T26" fmla="*/ 117 w 172"/>
                  <a:gd name="T27" fmla="*/ 14 h 176"/>
                  <a:gd name="T28" fmla="*/ 131 w 172"/>
                  <a:gd name="T29" fmla="*/ 11 h 176"/>
                  <a:gd name="T30" fmla="*/ 139 w 172"/>
                  <a:gd name="T31" fmla="*/ 11 h 176"/>
                  <a:gd name="T32" fmla="*/ 153 w 172"/>
                  <a:gd name="T33" fmla="*/ 4 h 176"/>
                  <a:gd name="T34" fmla="*/ 164 w 172"/>
                  <a:gd name="T35" fmla="*/ 0 h 176"/>
                  <a:gd name="T36" fmla="*/ 169 w 172"/>
                  <a:gd name="T37" fmla="*/ 3 h 176"/>
                  <a:gd name="T38" fmla="*/ 164 w 172"/>
                  <a:gd name="T39" fmla="*/ 11 h 176"/>
                  <a:gd name="T40" fmla="*/ 168 w 172"/>
                  <a:gd name="T41" fmla="*/ 22 h 176"/>
                  <a:gd name="T42" fmla="*/ 163 w 172"/>
                  <a:gd name="T43" fmla="*/ 35 h 176"/>
                  <a:gd name="T44" fmla="*/ 153 w 172"/>
                  <a:gd name="T45" fmla="*/ 55 h 176"/>
                  <a:gd name="T46" fmla="*/ 150 w 172"/>
                  <a:gd name="T47" fmla="*/ 66 h 176"/>
                  <a:gd name="T48" fmla="*/ 150 w 172"/>
                  <a:gd name="T49" fmla="*/ 81 h 176"/>
                  <a:gd name="T50" fmla="*/ 149 w 172"/>
                  <a:gd name="T51" fmla="*/ 100 h 176"/>
                  <a:gd name="T52" fmla="*/ 144 w 172"/>
                  <a:gd name="T53" fmla="*/ 104 h 176"/>
                  <a:gd name="T54" fmla="*/ 147 w 172"/>
                  <a:gd name="T55" fmla="*/ 93 h 176"/>
                  <a:gd name="T56" fmla="*/ 147 w 172"/>
                  <a:gd name="T57" fmla="*/ 98 h 176"/>
                  <a:gd name="T58" fmla="*/ 141 w 172"/>
                  <a:gd name="T59" fmla="*/ 107 h 176"/>
                  <a:gd name="T60" fmla="*/ 141 w 172"/>
                  <a:gd name="T61" fmla="*/ 120 h 176"/>
                  <a:gd name="T62" fmla="*/ 139 w 172"/>
                  <a:gd name="T63" fmla="*/ 120 h 176"/>
                  <a:gd name="T64" fmla="*/ 139 w 172"/>
                  <a:gd name="T65" fmla="*/ 130 h 176"/>
                  <a:gd name="T66" fmla="*/ 133 w 172"/>
                  <a:gd name="T67" fmla="*/ 147 h 176"/>
                  <a:gd name="T68" fmla="*/ 133 w 172"/>
                  <a:gd name="T69" fmla="*/ 161 h 176"/>
                  <a:gd name="T70" fmla="*/ 139 w 172"/>
                  <a:gd name="T71" fmla="*/ 168 h 176"/>
                  <a:gd name="T72" fmla="*/ 131 w 172"/>
                  <a:gd name="T73" fmla="*/ 174 h 176"/>
                  <a:gd name="T74" fmla="*/ 120 w 172"/>
                  <a:gd name="T75" fmla="*/ 172 h 176"/>
                  <a:gd name="T76" fmla="*/ 112 w 172"/>
                  <a:gd name="T77" fmla="*/ 165 h 176"/>
                  <a:gd name="T78" fmla="*/ 99 w 172"/>
                  <a:gd name="T79" fmla="*/ 163 h 176"/>
                  <a:gd name="T80" fmla="*/ 87 w 172"/>
                  <a:gd name="T81" fmla="*/ 163 h 176"/>
                  <a:gd name="T82" fmla="*/ 76 w 172"/>
                  <a:gd name="T83" fmla="*/ 158 h 176"/>
                  <a:gd name="T84" fmla="*/ 65 w 172"/>
                  <a:gd name="T85" fmla="*/ 161 h 176"/>
                  <a:gd name="T86" fmla="*/ 55 w 172"/>
                  <a:gd name="T87" fmla="*/ 149 h 176"/>
                  <a:gd name="T88" fmla="*/ 39 w 172"/>
                  <a:gd name="T89" fmla="*/ 133 h 176"/>
                  <a:gd name="T90" fmla="*/ 31 w 172"/>
                  <a:gd name="T91" fmla="*/ 115 h 176"/>
                  <a:gd name="T92" fmla="*/ 20 w 172"/>
                  <a:gd name="T93" fmla="*/ 106 h 176"/>
                  <a:gd name="T94" fmla="*/ 11 w 172"/>
                  <a:gd name="T95" fmla="*/ 96 h 176"/>
                  <a:gd name="T96" fmla="*/ 0 w 172"/>
                  <a:gd name="T97" fmla="*/ 85 h 176"/>
                  <a:gd name="T98" fmla="*/ 63 w 172"/>
                  <a:gd name="T99" fmla="*/ 142 h 176"/>
                  <a:gd name="T100" fmla="*/ 77 w 172"/>
                  <a:gd name="T101" fmla="*/ 158 h 176"/>
                  <a:gd name="T102" fmla="*/ 90 w 172"/>
                  <a:gd name="T103" fmla="*/ 161 h 176"/>
                  <a:gd name="T104" fmla="*/ 98 w 172"/>
                  <a:gd name="T105" fmla="*/ 158 h 176"/>
                  <a:gd name="T106" fmla="*/ 96 w 172"/>
                  <a:gd name="T107" fmla="*/ 149 h 176"/>
                  <a:gd name="T108" fmla="*/ 90 w 172"/>
                  <a:gd name="T109" fmla="*/ 139 h 176"/>
                  <a:gd name="T110" fmla="*/ 82 w 172"/>
                  <a:gd name="T111" fmla="*/ 130 h 176"/>
                  <a:gd name="T112" fmla="*/ 69 w 172"/>
                  <a:gd name="T113" fmla="*/ 122 h 176"/>
                  <a:gd name="T114" fmla="*/ 60 w 172"/>
                  <a:gd name="T115" fmla="*/ 122 h 176"/>
                  <a:gd name="T116" fmla="*/ 60 w 172"/>
                  <a:gd name="T117" fmla="*/ 136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72" h="176">
                    <a:moveTo>
                      <a:pt x="4" y="79"/>
                    </a:moveTo>
                    <a:lnTo>
                      <a:pt x="7" y="82"/>
                    </a:lnTo>
                    <a:lnTo>
                      <a:pt x="9" y="85"/>
                    </a:lnTo>
                    <a:lnTo>
                      <a:pt x="12" y="85"/>
                    </a:lnTo>
                    <a:lnTo>
                      <a:pt x="14" y="85"/>
                    </a:lnTo>
                    <a:lnTo>
                      <a:pt x="14" y="82"/>
                    </a:lnTo>
                    <a:lnTo>
                      <a:pt x="19" y="82"/>
                    </a:lnTo>
                    <a:lnTo>
                      <a:pt x="22" y="82"/>
                    </a:lnTo>
                    <a:lnTo>
                      <a:pt x="23" y="82"/>
                    </a:lnTo>
                    <a:lnTo>
                      <a:pt x="26" y="81"/>
                    </a:lnTo>
                    <a:lnTo>
                      <a:pt x="28" y="79"/>
                    </a:lnTo>
                    <a:lnTo>
                      <a:pt x="28" y="79"/>
                    </a:lnTo>
                    <a:lnTo>
                      <a:pt x="30" y="76"/>
                    </a:lnTo>
                    <a:lnTo>
                      <a:pt x="30" y="73"/>
                    </a:lnTo>
                    <a:lnTo>
                      <a:pt x="33" y="69"/>
                    </a:lnTo>
                    <a:lnTo>
                      <a:pt x="36" y="71"/>
                    </a:lnTo>
                    <a:lnTo>
                      <a:pt x="36" y="71"/>
                    </a:lnTo>
                    <a:lnTo>
                      <a:pt x="38" y="68"/>
                    </a:lnTo>
                    <a:lnTo>
                      <a:pt x="38" y="65"/>
                    </a:lnTo>
                    <a:lnTo>
                      <a:pt x="38" y="63"/>
                    </a:lnTo>
                    <a:lnTo>
                      <a:pt x="36" y="60"/>
                    </a:lnTo>
                    <a:lnTo>
                      <a:pt x="38" y="57"/>
                    </a:lnTo>
                    <a:lnTo>
                      <a:pt x="36" y="54"/>
                    </a:lnTo>
                    <a:lnTo>
                      <a:pt x="36" y="52"/>
                    </a:lnTo>
                    <a:lnTo>
                      <a:pt x="41" y="50"/>
                    </a:lnTo>
                    <a:lnTo>
                      <a:pt x="44" y="50"/>
                    </a:lnTo>
                    <a:lnTo>
                      <a:pt x="44" y="50"/>
                    </a:lnTo>
                    <a:lnTo>
                      <a:pt x="50" y="50"/>
                    </a:lnTo>
                    <a:lnTo>
                      <a:pt x="53" y="49"/>
                    </a:lnTo>
                    <a:lnTo>
                      <a:pt x="57" y="46"/>
                    </a:lnTo>
                    <a:lnTo>
                      <a:pt x="63" y="39"/>
                    </a:lnTo>
                    <a:lnTo>
                      <a:pt x="66" y="42"/>
                    </a:lnTo>
                    <a:lnTo>
                      <a:pt x="69" y="44"/>
                    </a:lnTo>
                    <a:lnTo>
                      <a:pt x="72" y="47"/>
                    </a:lnTo>
                    <a:lnTo>
                      <a:pt x="74" y="49"/>
                    </a:lnTo>
                    <a:lnTo>
                      <a:pt x="74" y="46"/>
                    </a:lnTo>
                    <a:lnTo>
                      <a:pt x="77" y="42"/>
                    </a:lnTo>
                    <a:lnTo>
                      <a:pt x="80" y="39"/>
                    </a:lnTo>
                    <a:lnTo>
                      <a:pt x="82" y="39"/>
                    </a:lnTo>
                    <a:lnTo>
                      <a:pt x="85" y="36"/>
                    </a:lnTo>
                    <a:lnTo>
                      <a:pt x="88" y="33"/>
                    </a:lnTo>
                    <a:lnTo>
                      <a:pt x="92" y="30"/>
                    </a:lnTo>
                    <a:lnTo>
                      <a:pt x="95" y="30"/>
                    </a:lnTo>
                    <a:lnTo>
                      <a:pt x="96" y="28"/>
                    </a:lnTo>
                    <a:lnTo>
                      <a:pt x="96" y="23"/>
                    </a:lnTo>
                    <a:lnTo>
                      <a:pt x="98" y="20"/>
                    </a:lnTo>
                    <a:lnTo>
                      <a:pt x="101" y="19"/>
                    </a:lnTo>
                    <a:lnTo>
                      <a:pt x="103" y="19"/>
                    </a:lnTo>
                    <a:lnTo>
                      <a:pt x="103" y="17"/>
                    </a:lnTo>
                    <a:lnTo>
                      <a:pt x="103" y="14"/>
                    </a:lnTo>
                    <a:lnTo>
                      <a:pt x="104" y="12"/>
                    </a:lnTo>
                    <a:lnTo>
                      <a:pt x="104" y="11"/>
                    </a:lnTo>
                    <a:lnTo>
                      <a:pt x="107" y="8"/>
                    </a:lnTo>
                    <a:lnTo>
                      <a:pt x="112" y="8"/>
                    </a:lnTo>
                    <a:lnTo>
                      <a:pt x="114" y="11"/>
                    </a:lnTo>
                    <a:lnTo>
                      <a:pt x="117" y="14"/>
                    </a:lnTo>
                    <a:lnTo>
                      <a:pt x="120" y="14"/>
                    </a:lnTo>
                    <a:lnTo>
                      <a:pt x="123" y="16"/>
                    </a:lnTo>
                    <a:lnTo>
                      <a:pt x="126" y="12"/>
                    </a:lnTo>
                    <a:lnTo>
                      <a:pt x="131" y="11"/>
                    </a:lnTo>
                    <a:lnTo>
                      <a:pt x="131" y="11"/>
                    </a:lnTo>
                    <a:lnTo>
                      <a:pt x="134" y="12"/>
                    </a:lnTo>
                    <a:lnTo>
                      <a:pt x="136" y="11"/>
                    </a:lnTo>
                    <a:lnTo>
                      <a:pt x="139" y="11"/>
                    </a:lnTo>
                    <a:lnTo>
                      <a:pt x="144" y="9"/>
                    </a:lnTo>
                    <a:lnTo>
                      <a:pt x="147" y="9"/>
                    </a:lnTo>
                    <a:lnTo>
                      <a:pt x="150" y="6"/>
                    </a:lnTo>
                    <a:lnTo>
                      <a:pt x="153" y="4"/>
                    </a:lnTo>
                    <a:lnTo>
                      <a:pt x="157" y="3"/>
                    </a:lnTo>
                    <a:lnTo>
                      <a:pt x="161" y="1"/>
                    </a:lnTo>
                    <a:lnTo>
                      <a:pt x="161" y="1"/>
                    </a:lnTo>
                    <a:lnTo>
                      <a:pt x="164" y="0"/>
                    </a:lnTo>
                    <a:lnTo>
                      <a:pt x="168" y="1"/>
                    </a:lnTo>
                    <a:lnTo>
                      <a:pt x="171" y="1"/>
                    </a:lnTo>
                    <a:lnTo>
                      <a:pt x="172" y="1"/>
                    </a:lnTo>
                    <a:lnTo>
                      <a:pt x="169" y="3"/>
                    </a:lnTo>
                    <a:lnTo>
                      <a:pt x="166" y="8"/>
                    </a:lnTo>
                    <a:lnTo>
                      <a:pt x="163" y="4"/>
                    </a:lnTo>
                    <a:lnTo>
                      <a:pt x="163" y="9"/>
                    </a:lnTo>
                    <a:lnTo>
                      <a:pt x="164" y="11"/>
                    </a:lnTo>
                    <a:lnTo>
                      <a:pt x="166" y="14"/>
                    </a:lnTo>
                    <a:lnTo>
                      <a:pt x="166" y="17"/>
                    </a:lnTo>
                    <a:lnTo>
                      <a:pt x="166" y="22"/>
                    </a:lnTo>
                    <a:lnTo>
                      <a:pt x="168" y="22"/>
                    </a:lnTo>
                    <a:lnTo>
                      <a:pt x="168" y="23"/>
                    </a:lnTo>
                    <a:lnTo>
                      <a:pt x="168" y="28"/>
                    </a:lnTo>
                    <a:lnTo>
                      <a:pt x="166" y="31"/>
                    </a:lnTo>
                    <a:lnTo>
                      <a:pt x="163" y="35"/>
                    </a:lnTo>
                    <a:lnTo>
                      <a:pt x="163" y="36"/>
                    </a:lnTo>
                    <a:lnTo>
                      <a:pt x="158" y="42"/>
                    </a:lnTo>
                    <a:lnTo>
                      <a:pt x="153" y="52"/>
                    </a:lnTo>
                    <a:lnTo>
                      <a:pt x="153" y="55"/>
                    </a:lnTo>
                    <a:lnTo>
                      <a:pt x="152" y="60"/>
                    </a:lnTo>
                    <a:lnTo>
                      <a:pt x="152" y="60"/>
                    </a:lnTo>
                    <a:lnTo>
                      <a:pt x="152" y="63"/>
                    </a:lnTo>
                    <a:lnTo>
                      <a:pt x="150" y="66"/>
                    </a:lnTo>
                    <a:lnTo>
                      <a:pt x="150" y="69"/>
                    </a:lnTo>
                    <a:lnTo>
                      <a:pt x="149" y="73"/>
                    </a:lnTo>
                    <a:lnTo>
                      <a:pt x="150" y="77"/>
                    </a:lnTo>
                    <a:lnTo>
                      <a:pt x="150" y="81"/>
                    </a:lnTo>
                    <a:lnTo>
                      <a:pt x="150" y="84"/>
                    </a:lnTo>
                    <a:lnTo>
                      <a:pt x="150" y="87"/>
                    </a:lnTo>
                    <a:lnTo>
                      <a:pt x="149" y="90"/>
                    </a:lnTo>
                    <a:lnTo>
                      <a:pt x="149" y="100"/>
                    </a:lnTo>
                    <a:lnTo>
                      <a:pt x="149" y="106"/>
                    </a:lnTo>
                    <a:lnTo>
                      <a:pt x="145" y="107"/>
                    </a:lnTo>
                    <a:lnTo>
                      <a:pt x="144" y="107"/>
                    </a:lnTo>
                    <a:lnTo>
                      <a:pt x="144" y="104"/>
                    </a:lnTo>
                    <a:lnTo>
                      <a:pt x="144" y="101"/>
                    </a:lnTo>
                    <a:lnTo>
                      <a:pt x="147" y="100"/>
                    </a:lnTo>
                    <a:lnTo>
                      <a:pt x="147" y="96"/>
                    </a:lnTo>
                    <a:lnTo>
                      <a:pt x="147" y="93"/>
                    </a:lnTo>
                    <a:lnTo>
                      <a:pt x="147" y="90"/>
                    </a:lnTo>
                    <a:lnTo>
                      <a:pt x="144" y="90"/>
                    </a:lnTo>
                    <a:lnTo>
                      <a:pt x="145" y="95"/>
                    </a:lnTo>
                    <a:lnTo>
                      <a:pt x="147" y="98"/>
                    </a:lnTo>
                    <a:lnTo>
                      <a:pt x="142" y="100"/>
                    </a:lnTo>
                    <a:lnTo>
                      <a:pt x="139" y="101"/>
                    </a:lnTo>
                    <a:lnTo>
                      <a:pt x="141" y="104"/>
                    </a:lnTo>
                    <a:lnTo>
                      <a:pt x="141" y="107"/>
                    </a:lnTo>
                    <a:lnTo>
                      <a:pt x="142" y="111"/>
                    </a:lnTo>
                    <a:lnTo>
                      <a:pt x="142" y="114"/>
                    </a:lnTo>
                    <a:lnTo>
                      <a:pt x="141" y="117"/>
                    </a:lnTo>
                    <a:lnTo>
                      <a:pt x="141" y="120"/>
                    </a:lnTo>
                    <a:lnTo>
                      <a:pt x="141" y="123"/>
                    </a:lnTo>
                    <a:lnTo>
                      <a:pt x="139" y="120"/>
                    </a:lnTo>
                    <a:lnTo>
                      <a:pt x="139" y="117"/>
                    </a:lnTo>
                    <a:lnTo>
                      <a:pt x="139" y="120"/>
                    </a:lnTo>
                    <a:lnTo>
                      <a:pt x="138" y="123"/>
                    </a:lnTo>
                    <a:lnTo>
                      <a:pt x="136" y="127"/>
                    </a:lnTo>
                    <a:lnTo>
                      <a:pt x="136" y="130"/>
                    </a:lnTo>
                    <a:lnTo>
                      <a:pt x="139" y="130"/>
                    </a:lnTo>
                    <a:lnTo>
                      <a:pt x="141" y="133"/>
                    </a:lnTo>
                    <a:lnTo>
                      <a:pt x="141" y="138"/>
                    </a:lnTo>
                    <a:lnTo>
                      <a:pt x="136" y="144"/>
                    </a:lnTo>
                    <a:lnTo>
                      <a:pt x="133" y="147"/>
                    </a:lnTo>
                    <a:lnTo>
                      <a:pt x="131" y="150"/>
                    </a:lnTo>
                    <a:lnTo>
                      <a:pt x="131" y="153"/>
                    </a:lnTo>
                    <a:lnTo>
                      <a:pt x="131" y="158"/>
                    </a:lnTo>
                    <a:lnTo>
                      <a:pt x="133" y="161"/>
                    </a:lnTo>
                    <a:lnTo>
                      <a:pt x="134" y="163"/>
                    </a:lnTo>
                    <a:lnTo>
                      <a:pt x="136" y="166"/>
                    </a:lnTo>
                    <a:lnTo>
                      <a:pt x="136" y="166"/>
                    </a:lnTo>
                    <a:lnTo>
                      <a:pt x="139" y="168"/>
                    </a:lnTo>
                    <a:lnTo>
                      <a:pt x="138" y="169"/>
                    </a:lnTo>
                    <a:lnTo>
                      <a:pt x="138" y="172"/>
                    </a:lnTo>
                    <a:lnTo>
                      <a:pt x="134" y="172"/>
                    </a:lnTo>
                    <a:lnTo>
                      <a:pt x="131" y="174"/>
                    </a:lnTo>
                    <a:lnTo>
                      <a:pt x="128" y="176"/>
                    </a:lnTo>
                    <a:lnTo>
                      <a:pt x="126" y="174"/>
                    </a:lnTo>
                    <a:lnTo>
                      <a:pt x="123" y="174"/>
                    </a:lnTo>
                    <a:lnTo>
                      <a:pt x="120" y="172"/>
                    </a:lnTo>
                    <a:lnTo>
                      <a:pt x="118" y="172"/>
                    </a:lnTo>
                    <a:lnTo>
                      <a:pt x="117" y="171"/>
                    </a:lnTo>
                    <a:lnTo>
                      <a:pt x="115" y="168"/>
                    </a:lnTo>
                    <a:lnTo>
                      <a:pt x="112" y="165"/>
                    </a:lnTo>
                    <a:lnTo>
                      <a:pt x="111" y="166"/>
                    </a:lnTo>
                    <a:lnTo>
                      <a:pt x="106" y="163"/>
                    </a:lnTo>
                    <a:lnTo>
                      <a:pt x="103" y="161"/>
                    </a:lnTo>
                    <a:lnTo>
                      <a:pt x="99" y="163"/>
                    </a:lnTo>
                    <a:lnTo>
                      <a:pt x="96" y="165"/>
                    </a:lnTo>
                    <a:lnTo>
                      <a:pt x="93" y="166"/>
                    </a:lnTo>
                    <a:lnTo>
                      <a:pt x="90" y="165"/>
                    </a:lnTo>
                    <a:lnTo>
                      <a:pt x="87" y="163"/>
                    </a:lnTo>
                    <a:lnTo>
                      <a:pt x="84" y="163"/>
                    </a:lnTo>
                    <a:lnTo>
                      <a:pt x="82" y="161"/>
                    </a:lnTo>
                    <a:lnTo>
                      <a:pt x="79" y="160"/>
                    </a:lnTo>
                    <a:lnTo>
                      <a:pt x="76" y="158"/>
                    </a:lnTo>
                    <a:lnTo>
                      <a:pt x="72" y="158"/>
                    </a:lnTo>
                    <a:lnTo>
                      <a:pt x="69" y="155"/>
                    </a:lnTo>
                    <a:lnTo>
                      <a:pt x="68" y="155"/>
                    </a:lnTo>
                    <a:lnTo>
                      <a:pt x="65" y="161"/>
                    </a:lnTo>
                    <a:lnTo>
                      <a:pt x="61" y="158"/>
                    </a:lnTo>
                    <a:lnTo>
                      <a:pt x="60" y="155"/>
                    </a:lnTo>
                    <a:lnTo>
                      <a:pt x="58" y="152"/>
                    </a:lnTo>
                    <a:lnTo>
                      <a:pt x="55" y="149"/>
                    </a:lnTo>
                    <a:lnTo>
                      <a:pt x="52" y="146"/>
                    </a:lnTo>
                    <a:lnTo>
                      <a:pt x="49" y="142"/>
                    </a:lnTo>
                    <a:lnTo>
                      <a:pt x="46" y="139"/>
                    </a:lnTo>
                    <a:lnTo>
                      <a:pt x="39" y="133"/>
                    </a:lnTo>
                    <a:lnTo>
                      <a:pt x="33" y="123"/>
                    </a:lnTo>
                    <a:lnTo>
                      <a:pt x="31" y="120"/>
                    </a:lnTo>
                    <a:lnTo>
                      <a:pt x="31" y="115"/>
                    </a:lnTo>
                    <a:lnTo>
                      <a:pt x="31" y="115"/>
                    </a:lnTo>
                    <a:lnTo>
                      <a:pt x="26" y="112"/>
                    </a:lnTo>
                    <a:lnTo>
                      <a:pt x="23" y="109"/>
                    </a:lnTo>
                    <a:lnTo>
                      <a:pt x="20" y="107"/>
                    </a:lnTo>
                    <a:lnTo>
                      <a:pt x="20" y="106"/>
                    </a:lnTo>
                    <a:lnTo>
                      <a:pt x="19" y="104"/>
                    </a:lnTo>
                    <a:lnTo>
                      <a:pt x="17" y="103"/>
                    </a:lnTo>
                    <a:lnTo>
                      <a:pt x="14" y="100"/>
                    </a:lnTo>
                    <a:lnTo>
                      <a:pt x="11" y="96"/>
                    </a:lnTo>
                    <a:lnTo>
                      <a:pt x="9" y="93"/>
                    </a:lnTo>
                    <a:lnTo>
                      <a:pt x="6" y="90"/>
                    </a:lnTo>
                    <a:lnTo>
                      <a:pt x="3" y="88"/>
                    </a:lnTo>
                    <a:lnTo>
                      <a:pt x="0" y="85"/>
                    </a:lnTo>
                    <a:lnTo>
                      <a:pt x="3" y="82"/>
                    </a:lnTo>
                    <a:lnTo>
                      <a:pt x="4" y="79"/>
                    </a:lnTo>
                    <a:close/>
                    <a:moveTo>
                      <a:pt x="60" y="136"/>
                    </a:moveTo>
                    <a:lnTo>
                      <a:pt x="63" y="142"/>
                    </a:lnTo>
                    <a:lnTo>
                      <a:pt x="63" y="147"/>
                    </a:lnTo>
                    <a:lnTo>
                      <a:pt x="66" y="152"/>
                    </a:lnTo>
                    <a:lnTo>
                      <a:pt x="74" y="157"/>
                    </a:lnTo>
                    <a:lnTo>
                      <a:pt x="77" y="158"/>
                    </a:lnTo>
                    <a:lnTo>
                      <a:pt x="80" y="160"/>
                    </a:lnTo>
                    <a:lnTo>
                      <a:pt x="84" y="160"/>
                    </a:lnTo>
                    <a:lnTo>
                      <a:pt x="87" y="160"/>
                    </a:lnTo>
                    <a:lnTo>
                      <a:pt x="90" y="161"/>
                    </a:lnTo>
                    <a:lnTo>
                      <a:pt x="92" y="161"/>
                    </a:lnTo>
                    <a:lnTo>
                      <a:pt x="95" y="163"/>
                    </a:lnTo>
                    <a:lnTo>
                      <a:pt x="98" y="160"/>
                    </a:lnTo>
                    <a:lnTo>
                      <a:pt x="98" y="158"/>
                    </a:lnTo>
                    <a:lnTo>
                      <a:pt x="98" y="158"/>
                    </a:lnTo>
                    <a:lnTo>
                      <a:pt x="98" y="153"/>
                    </a:lnTo>
                    <a:lnTo>
                      <a:pt x="96" y="150"/>
                    </a:lnTo>
                    <a:lnTo>
                      <a:pt x="96" y="149"/>
                    </a:lnTo>
                    <a:lnTo>
                      <a:pt x="93" y="146"/>
                    </a:lnTo>
                    <a:lnTo>
                      <a:pt x="92" y="142"/>
                    </a:lnTo>
                    <a:lnTo>
                      <a:pt x="92" y="142"/>
                    </a:lnTo>
                    <a:lnTo>
                      <a:pt x="90" y="139"/>
                    </a:lnTo>
                    <a:lnTo>
                      <a:pt x="88" y="138"/>
                    </a:lnTo>
                    <a:lnTo>
                      <a:pt x="87" y="134"/>
                    </a:lnTo>
                    <a:lnTo>
                      <a:pt x="84" y="131"/>
                    </a:lnTo>
                    <a:lnTo>
                      <a:pt x="82" y="130"/>
                    </a:lnTo>
                    <a:lnTo>
                      <a:pt x="79" y="128"/>
                    </a:lnTo>
                    <a:lnTo>
                      <a:pt x="76" y="125"/>
                    </a:lnTo>
                    <a:lnTo>
                      <a:pt x="74" y="122"/>
                    </a:lnTo>
                    <a:lnTo>
                      <a:pt x="69" y="122"/>
                    </a:lnTo>
                    <a:lnTo>
                      <a:pt x="69" y="120"/>
                    </a:lnTo>
                    <a:lnTo>
                      <a:pt x="66" y="119"/>
                    </a:lnTo>
                    <a:lnTo>
                      <a:pt x="63" y="119"/>
                    </a:lnTo>
                    <a:lnTo>
                      <a:pt x="60" y="122"/>
                    </a:lnTo>
                    <a:lnTo>
                      <a:pt x="60" y="125"/>
                    </a:lnTo>
                    <a:lnTo>
                      <a:pt x="60" y="130"/>
                    </a:lnTo>
                    <a:lnTo>
                      <a:pt x="61" y="133"/>
                    </a:lnTo>
                    <a:lnTo>
                      <a:pt x="60" y="136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33" name="Freeform 741"/>
              <p:cNvSpPr>
                <a:spLocks/>
              </p:cNvSpPr>
              <p:nvPr/>
            </p:nvSpPr>
            <p:spPr bwMode="auto">
              <a:xfrm>
                <a:off x="1056" y="2261"/>
                <a:ext cx="59" cy="65"/>
              </a:xfrm>
              <a:custGeom>
                <a:avLst/>
                <a:gdLst>
                  <a:gd name="T0" fmla="*/ 3 w 117"/>
                  <a:gd name="T1" fmla="*/ 27 h 130"/>
                  <a:gd name="T2" fmla="*/ 8 w 117"/>
                  <a:gd name="T3" fmla="*/ 19 h 130"/>
                  <a:gd name="T4" fmla="*/ 3 w 117"/>
                  <a:gd name="T5" fmla="*/ 11 h 130"/>
                  <a:gd name="T6" fmla="*/ 8 w 117"/>
                  <a:gd name="T7" fmla="*/ 6 h 130"/>
                  <a:gd name="T8" fmla="*/ 20 w 117"/>
                  <a:gd name="T9" fmla="*/ 5 h 130"/>
                  <a:gd name="T10" fmla="*/ 36 w 117"/>
                  <a:gd name="T11" fmla="*/ 11 h 130"/>
                  <a:gd name="T12" fmla="*/ 46 w 117"/>
                  <a:gd name="T13" fmla="*/ 6 h 130"/>
                  <a:gd name="T14" fmla="*/ 55 w 117"/>
                  <a:gd name="T15" fmla="*/ 10 h 130"/>
                  <a:gd name="T16" fmla="*/ 61 w 117"/>
                  <a:gd name="T17" fmla="*/ 17 h 130"/>
                  <a:gd name="T18" fmla="*/ 69 w 117"/>
                  <a:gd name="T19" fmla="*/ 19 h 130"/>
                  <a:gd name="T20" fmla="*/ 77 w 117"/>
                  <a:gd name="T21" fmla="*/ 17 h 130"/>
                  <a:gd name="T22" fmla="*/ 82 w 117"/>
                  <a:gd name="T23" fmla="*/ 13 h 130"/>
                  <a:gd name="T24" fmla="*/ 81 w 117"/>
                  <a:gd name="T25" fmla="*/ 21 h 130"/>
                  <a:gd name="T26" fmla="*/ 85 w 117"/>
                  <a:gd name="T27" fmla="*/ 27 h 130"/>
                  <a:gd name="T28" fmla="*/ 95 w 117"/>
                  <a:gd name="T29" fmla="*/ 43 h 130"/>
                  <a:gd name="T30" fmla="*/ 103 w 117"/>
                  <a:gd name="T31" fmla="*/ 54 h 130"/>
                  <a:gd name="T32" fmla="*/ 107 w 117"/>
                  <a:gd name="T33" fmla="*/ 62 h 130"/>
                  <a:gd name="T34" fmla="*/ 117 w 117"/>
                  <a:gd name="T35" fmla="*/ 68 h 130"/>
                  <a:gd name="T36" fmla="*/ 109 w 117"/>
                  <a:gd name="T37" fmla="*/ 67 h 130"/>
                  <a:gd name="T38" fmla="*/ 106 w 117"/>
                  <a:gd name="T39" fmla="*/ 71 h 130"/>
                  <a:gd name="T40" fmla="*/ 103 w 117"/>
                  <a:gd name="T41" fmla="*/ 81 h 130"/>
                  <a:gd name="T42" fmla="*/ 106 w 117"/>
                  <a:gd name="T43" fmla="*/ 89 h 130"/>
                  <a:gd name="T44" fmla="*/ 106 w 117"/>
                  <a:gd name="T45" fmla="*/ 97 h 130"/>
                  <a:gd name="T46" fmla="*/ 103 w 117"/>
                  <a:gd name="T47" fmla="*/ 105 h 130"/>
                  <a:gd name="T48" fmla="*/ 104 w 117"/>
                  <a:gd name="T49" fmla="*/ 111 h 130"/>
                  <a:gd name="T50" fmla="*/ 101 w 117"/>
                  <a:gd name="T51" fmla="*/ 114 h 130"/>
                  <a:gd name="T52" fmla="*/ 98 w 117"/>
                  <a:gd name="T53" fmla="*/ 121 h 130"/>
                  <a:gd name="T54" fmla="*/ 101 w 117"/>
                  <a:gd name="T55" fmla="*/ 130 h 130"/>
                  <a:gd name="T56" fmla="*/ 96 w 117"/>
                  <a:gd name="T57" fmla="*/ 121 h 130"/>
                  <a:gd name="T58" fmla="*/ 93 w 117"/>
                  <a:gd name="T59" fmla="*/ 111 h 130"/>
                  <a:gd name="T60" fmla="*/ 85 w 117"/>
                  <a:gd name="T61" fmla="*/ 102 h 130"/>
                  <a:gd name="T62" fmla="*/ 82 w 117"/>
                  <a:gd name="T63" fmla="*/ 106 h 130"/>
                  <a:gd name="T64" fmla="*/ 87 w 117"/>
                  <a:gd name="T65" fmla="*/ 116 h 130"/>
                  <a:gd name="T66" fmla="*/ 77 w 117"/>
                  <a:gd name="T67" fmla="*/ 113 h 130"/>
                  <a:gd name="T68" fmla="*/ 76 w 117"/>
                  <a:gd name="T69" fmla="*/ 102 h 130"/>
                  <a:gd name="T70" fmla="*/ 77 w 117"/>
                  <a:gd name="T71" fmla="*/ 92 h 130"/>
                  <a:gd name="T72" fmla="*/ 63 w 117"/>
                  <a:gd name="T73" fmla="*/ 76 h 130"/>
                  <a:gd name="T74" fmla="*/ 57 w 117"/>
                  <a:gd name="T75" fmla="*/ 71 h 130"/>
                  <a:gd name="T76" fmla="*/ 49 w 117"/>
                  <a:gd name="T77" fmla="*/ 70 h 130"/>
                  <a:gd name="T78" fmla="*/ 41 w 117"/>
                  <a:gd name="T79" fmla="*/ 62 h 130"/>
                  <a:gd name="T80" fmla="*/ 41 w 117"/>
                  <a:gd name="T81" fmla="*/ 56 h 130"/>
                  <a:gd name="T82" fmla="*/ 35 w 117"/>
                  <a:gd name="T83" fmla="*/ 49 h 130"/>
                  <a:gd name="T84" fmla="*/ 28 w 117"/>
                  <a:gd name="T85" fmla="*/ 43 h 130"/>
                  <a:gd name="T86" fmla="*/ 22 w 117"/>
                  <a:gd name="T87" fmla="*/ 40 h 130"/>
                  <a:gd name="T88" fmla="*/ 25 w 117"/>
                  <a:gd name="T89" fmla="*/ 49 h 130"/>
                  <a:gd name="T90" fmla="*/ 33 w 117"/>
                  <a:gd name="T91" fmla="*/ 54 h 130"/>
                  <a:gd name="T92" fmla="*/ 25 w 117"/>
                  <a:gd name="T93" fmla="*/ 67 h 130"/>
                  <a:gd name="T94" fmla="*/ 20 w 117"/>
                  <a:gd name="T95" fmla="*/ 60 h 130"/>
                  <a:gd name="T96" fmla="*/ 11 w 117"/>
                  <a:gd name="T97" fmla="*/ 56 h 130"/>
                  <a:gd name="T98" fmla="*/ 1 w 117"/>
                  <a:gd name="T99" fmla="*/ 46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7" h="130">
                    <a:moveTo>
                      <a:pt x="0" y="35"/>
                    </a:moveTo>
                    <a:lnTo>
                      <a:pt x="3" y="32"/>
                    </a:lnTo>
                    <a:lnTo>
                      <a:pt x="3" y="27"/>
                    </a:lnTo>
                    <a:lnTo>
                      <a:pt x="8" y="27"/>
                    </a:lnTo>
                    <a:lnTo>
                      <a:pt x="8" y="22"/>
                    </a:lnTo>
                    <a:lnTo>
                      <a:pt x="8" y="19"/>
                    </a:lnTo>
                    <a:lnTo>
                      <a:pt x="4" y="17"/>
                    </a:lnTo>
                    <a:lnTo>
                      <a:pt x="1" y="14"/>
                    </a:lnTo>
                    <a:lnTo>
                      <a:pt x="3" y="11"/>
                    </a:lnTo>
                    <a:lnTo>
                      <a:pt x="6" y="11"/>
                    </a:lnTo>
                    <a:lnTo>
                      <a:pt x="6" y="8"/>
                    </a:lnTo>
                    <a:lnTo>
                      <a:pt x="8" y="6"/>
                    </a:lnTo>
                    <a:lnTo>
                      <a:pt x="11" y="0"/>
                    </a:lnTo>
                    <a:lnTo>
                      <a:pt x="12" y="0"/>
                    </a:lnTo>
                    <a:lnTo>
                      <a:pt x="20" y="5"/>
                    </a:lnTo>
                    <a:lnTo>
                      <a:pt x="30" y="8"/>
                    </a:lnTo>
                    <a:lnTo>
                      <a:pt x="33" y="10"/>
                    </a:lnTo>
                    <a:lnTo>
                      <a:pt x="36" y="11"/>
                    </a:lnTo>
                    <a:lnTo>
                      <a:pt x="39" y="10"/>
                    </a:lnTo>
                    <a:lnTo>
                      <a:pt x="42" y="8"/>
                    </a:lnTo>
                    <a:lnTo>
                      <a:pt x="46" y="6"/>
                    </a:lnTo>
                    <a:lnTo>
                      <a:pt x="49" y="8"/>
                    </a:lnTo>
                    <a:lnTo>
                      <a:pt x="54" y="11"/>
                    </a:lnTo>
                    <a:lnTo>
                      <a:pt x="55" y="10"/>
                    </a:lnTo>
                    <a:lnTo>
                      <a:pt x="58" y="13"/>
                    </a:lnTo>
                    <a:lnTo>
                      <a:pt x="60" y="16"/>
                    </a:lnTo>
                    <a:lnTo>
                      <a:pt x="61" y="17"/>
                    </a:lnTo>
                    <a:lnTo>
                      <a:pt x="63" y="17"/>
                    </a:lnTo>
                    <a:lnTo>
                      <a:pt x="66" y="19"/>
                    </a:lnTo>
                    <a:lnTo>
                      <a:pt x="69" y="19"/>
                    </a:lnTo>
                    <a:lnTo>
                      <a:pt x="71" y="21"/>
                    </a:lnTo>
                    <a:lnTo>
                      <a:pt x="74" y="19"/>
                    </a:lnTo>
                    <a:lnTo>
                      <a:pt x="77" y="17"/>
                    </a:lnTo>
                    <a:lnTo>
                      <a:pt x="81" y="17"/>
                    </a:lnTo>
                    <a:lnTo>
                      <a:pt x="81" y="14"/>
                    </a:lnTo>
                    <a:lnTo>
                      <a:pt x="82" y="13"/>
                    </a:lnTo>
                    <a:lnTo>
                      <a:pt x="82" y="16"/>
                    </a:lnTo>
                    <a:lnTo>
                      <a:pt x="82" y="19"/>
                    </a:lnTo>
                    <a:lnTo>
                      <a:pt x="81" y="21"/>
                    </a:lnTo>
                    <a:lnTo>
                      <a:pt x="85" y="24"/>
                    </a:lnTo>
                    <a:lnTo>
                      <a:pt x="85" y="25"/>
                    </a:lnTo>
                    <a:lnTo>
                      <a:pt x="85" y="27"/>
                    </a:lnTo>
                    <a:lnTo>
                      <a:pt x="88" y="33"/>
                    </a:lnTo>
                    <a:lnTo>
                      <a:pt x="90" y="38"/>
                    </a:lnTo>
                    <a:lnTo>
                      <a:pt x="95" y="43"/>
                    </a:lnTo>
                    <a:lnTo>
                      <a:pt x="98" y="49"/>
                    </a:lnTo>
                    <a:lnTo>
                      <a:pt x="101" y="49"/>
                    </a:lnTo>
                    <a:lnTo>
                      <a:pt x="103" y="54"/>
                    </a:lnTo>
                    <a:lnTo>
                      <a:pt x="104" y="57"/>
                    </a:lnTo>
                    <a:lnTo>
                      <a:pt x="104" y="59"/>
                    </a:lnTo>
                    <a:lnTo>
                      <a:pt x="107" y="62"/>
                    </a:lnTo>
                    <a:lnTo>
                      <a:pt x="111" y="65"/>
                    </a:lnTo>
                    <a:lnTo>
                      <a:pt x="115" y="67"/>
                    </a:lnTo>
                    <a:lnTo>
                      <a:pt x="117" y="68"/>
                    </a:lnTo>
                    <a:lnTo>
                      <a:pt x="114" y="70"/>
                    </a:lnTo>
                    <a:lnTo>
                      <a:pt x="112" y="70"/>
                    </a:lnTo>
                    <a:lnTo>
                      <a:pt x="109" y="67"/>
                    </a:lnTo>
                    <a:lnTo>
                      <a:pt x="104" y="68"/>
                    </a:lnTo>
                    <a:lnTo>
                      <a:pt x="106" y="70"/>
                    </a:lnTo>
                    <a:lnTo>
                      <a:pt x="106" y="71"/>
                    </a:lnTo>
                    <a:lnTo>
                      <a:pt x="103" y="75"/>
                    </a:lnTo>
                    <a:lnTo>
                      <a:pt x="103" y="78"/>
                    </a:lnTo>
                    <a:lnTo>
                      <a:pt x="103" y="81"/>
                    </a:lnTo>
                    <a:lnTo>
                      <a:pt x="101" y="84"/>
                    </a:lnTo>
                    <a:lnTo>
                      <a:pt x="101" y="87"/>
                    </a:lnTo>
                    <a:lnTo>
                      <a:pt x="106" y="89"/>
                    </a:lnTo>
                    <a:lnTo>
                      <a:pt x="109" y="92"/>
                    </a:lnTo>
                    <a:lnTo>
                      <a:pt x="109" y="95"/>
                    </a:lnTo>
                    <a:lnTo>
                      <a:pt x="106" y="97"/>
                    </a:lnTo>
                    <a:lnTo>
                      <a:pt x="104" y="97"/>
                    </a:lnTo>
                    <a:lnTo>
                      <a:pt x="101" y="100"/>
                    </a:lnTo>
                    <a:lnTo>
                      <a:pt x="103" y="105"/>
                    </a:lnTo>
                    <a:lnTo>
                      <a:pt x="104" y="108"/>
                    </a:lnTo>
                    <a:lnTo>
                      <a:pt x="104" y="109"/>
                    </a:lnTo>
                    <a:lnTo>
                      <a:pt x="104" y="111"/>
                    </a:lnTo>
                    <a:lnTo>
                      <a:pt x="104" y="113"/>
                    </a:lnTo>
                    <a:lnTo>
                      <a:pt x="104" y="113"/>
                    </a:lnTo>
                    <a:lnTo>
                      <a:pt x="101" y="114"/>
                    </a:lnTo>
                    <a:lnTo>
                      <a:pt x="98" y="117"/>
                    </a:lnTo>
                    <a:lnTo>
                      <a:pt x="98" y="121"/>
                    </a:lnTo>
                    <a:lnTo>
                      <a:pt x="98" y="121"/>
                    </a:lnTo>
                    <a:lnTo>
                      <a:pt x="100" y="124"/>
                    </a:lnTo>
                    <a:lnTo>
                      <a:pt x="101" y="127"/>
                    </a:lnTo>
                    <a:lnTo>
                      <a:pt x="101" y="130"/>
                    </a:lnTo>
                    <a:lnTo>
                      <a:pt x="101" y="127"/>
                    </a:lnTo>
                    <a:lnTo>
                      <a:pt x="100" y="124"/>
                    </a:lnTo>
                    <a:lnTo>
                      <a:pt x="96" y="121"/>
                    </a:lnTo>
                    <a:lnTo>
                      <a:pt x="93" y="117"/>
                    </a:lnTo>
                    <a:lnTo>
                      <a:pt x="95" y="114"/>
                    </a:lnTo>
                    <a:lnTo>
                      <a:pt x="93" y="111"/>
                    </a:lnTo>
                    <a:lnTo>
                      <a:pt x="92" y="106"/>
                    </a:lnTo>
                    <a:lnTo>
                      <a:pt x="88" y="105"/>
                    </a:lnTo>
                    <a:lnTo>
                      <a:pt x="85" y="102"/>
                    </a:lnTo>
                    <a:lnTo>
                      <a:pt x="85" y="102"/>
                    </a:lnTo>
                    <a:lnTo>
                      <a:pt x="81" y="103"/>
                    </a:lnTo>
                    <a:lnTo>
                      <a:pt x="82" y="106"/>
                    </a:lnTo>
                    <a:lnTo>
                      <a:pt x="85" y="109"/>
                    </a:lnTo>
                    <a:lnTo>
                      <a:pt x="87" y="113"/>
                    </a:lnTo>
                    <a:lnTo>
                      <a:pt x="87" y="116"/>
                    </a:lnTo>
                    <a:lnTo>
                      <a:pt x="87" y="116"/>
                    </a:lnTo>
                    <a:lnTo>
                      <a:pt x="79" y="113"/>
                    </a:lnTo>
                    <a:lnTo>
                      <a:pt x="77" y="113"/>
                    </a:lnTo>
                    <a:lnTo>
                      <a:pt x="76" y="113"/>
                    </a:lnTo>
                    <a:lnTo>
                      <a:pt x="71" y="106"/>
                    </a:lnTo>
                    <a:lnTo>
                      <a:pt x="76" y="102"/>
                    </a:lnTo>
                    <a:lnTo>
                      <a:pt x="77" y="98"/>
                    </a:lnTo>
                    <a:lnTo>
                      <a:pt x="77" y="95"/>
                    </a:lnTo>
                    <a:lnTo>
                      <a:pt x="77" y="92"/>
                    </a:lnTo>
                    <a:lnTo>
                      <a:pt x="74" y="86"/>
                    </a:lnTo>
                    <a:lnTo>
                      <a:pt x="66" y="79"/>
                    </a:lnTo>
                    <a:lnTo>
                      <a:pt x="63" y="76"/>
                    </a:lnTo>
                    <a:lnTo>
                      <a:pt x="63" y="76"/>
                    </a:lnTo>
                    <a:lnTo>
                      <a:pt x="60" y="75"/>
                    </a:lnTo>
                    <a:lnTo>
                      <a:pt x="57" y="71"/>
                    </a:lnTo>
                    <a:lnTo>
                      <a:pt x="54" y="71"/>
                    </a:lnTo>
                    <a:lnTo>
                      <a:pt x="52" y="71"/>
                    </a:lnTo>
                    <a:lnTo>
                      <a:pt x="49" y="70"/>
                    </a:lnTo>
                    <a:lnTo>
                      <a:pt x="46" y="70"/>
                    </a:lnTo>
                    <a:lnTo>
                      <a:pt x="42" y="67"/>
                    </a:lnTo>
                    <a:lnTo>
                      <a:pt x="41" y="62"/>
                    </a:lnTo>
                    <a:lnTo>
                      <a:pt x="42" y="59"/>
                    </a:lnTo>
                    <a:lnTo>
                      <a:pt x="42" y="59"/>
                    </a:lnTo>
                    <a:lnTo>
                      <a:pt x="41" y="56"/>
                    </a:lnTo>
                    <a:lnTo>
                      <a:pt x="39" y="52"/>
                    </a:lnTo>
                    <a:lnTo>
                      <a:pt x="36" y="51"/>
                    </a:lnTo>
                    <a:lnTo>
                      <a:pt x="35" y="49"/>
                    </a:lnTo>
                    <a:lnTo>
                      <a:pt x="31" y="46"/>
                    </a:lnTo>
                    <a:lnTo>
                      <a:pt x="30" y="46"/>
                    </a:lnTo>
                    <a:lnTo>
                      <a:pt x="28" y="43"/>
                    </a:lnTo>
                    <a:lnTo>
                      <a:pt x="25" y="43"/>
                    </a:lnTo>
                    <a:lnTo>
                      <a:pt x="22" y="41"/>
                    </a:lnTo>
                    <a:lnTo>
                      <a:pt x="22" y="40"/>
                    </a:lnTo>
                    <a:lnTo>
                      <a:pt x="20" y="38"/>
                    </a:lnTo>
                    <a:lnTo>
                      <a:pt x="22" y="44"/>
                    </a:lnTo>
                    <a:lnTo>
                      <a:pt x="25" y="49"/>
                    </a:lnTo>
                    <a:lnTo>
                      <a:pt x="30" y="51"/>
                    </a:lnTo>
                    <a:lnTo>
                      <a:pt x="31" y="52"/>
                    </a:lnTo>
                    <a:lnTo>
                      <a:pt x="33" y="54"/>
                    </a:lnTo>
                    <a:lnTo>
                      <a:pt x="33" y="57"/>
                    </a:lnTo>
                    <a:lnTo>
                      <a:pt x="30" y="60"/>
                    </a:lnTo>
                    <a:lnTo>
                      <a:pt x="25" y="67"/>
                    </a:lnTo>
                    <a:lnTo>
                      <a:pt x="22" y="63"/>
                    </a:lnTo>
                    <a:lnTo>
                      <a:pt x="20" y="62"/>
                    </a:lnTo>
                    <a:lnTo>
                      <a:pt x="20" y="60"/>
                    </a:lnTo>
                    <a:lnTo>
                      <a:pt x="17" y="57"/>
                    </a:lnTo>
                    <a:lnTo>
                      <a:pt x="14" y="56"/>
                    </a:lnTo>
                    <a:lnTo>
                      <a:pt x="11" y="56"/>
                    </a:lnTo>
                    <a:lnTo>
                      <a:pt x="8" y="54"/>
                    </a:lnTo>
                    <a:lnTo>
                      <a:pt x="4" y="49"/>
                    </a:lnTo>
                    <a:lnTo>
                      <a:pt x="1" y="46"/>
                    </a:lnTo>
                    <a:lnTo>
                      <a:pt x="0" y="41"/>
                    </a:lnTo>
                    <a:lnTo>
                      <a:pt x="0" y="3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34" name="Freeform 742"/>
              <p:cNvSpPr>
                <a:spLocks/>
              </p:cNvSpPr>
              <p:nvPr/>
            </p:nvSpPr>
            <p:spPr bwMode="auto">
              <a:xfrm>
                <a:off x="1105" y="2294"/>
                <a:ext cx="104" cy="48"/>
              </a:xfrm>
              <a:custGeom>
                <a:avLst/>
                <a:gdLst>
                  <a:gd name="T0" fmla="*/ 3 w 208"/>
                  <a:gd name="T1" fmla="*/ 47 h 96"/>
                  <a:gd name="T2" fmla="*/ 3 w 208"/>
                  <a:gd name="T3" fmla="*/ 33 h 96"/>
                  <a:gd name="T4" fmla="*/ 11 w 208"/>
                  <a:gd name="T5" fmla="*/ 25 h 96"/>
                  <a:gd name="T6" fmla="*/ 5 w 208"/>
                  <a:gd name="T7" fmla="*/ 14 h 96"/>
                  <a:gd name="T8" fmla="*/ 8 w 208"/>
                  <a:gd name="T9" fmla="*/ 3 h 96"/>
                  <a:gd name="T10" fmla="*/ 16 w 208"/>
                  <a:gd name="T11" fmla="*/ 3 h 96"/>
                  <a:gd name="T12" fmla="*/ 25 w 208"/>
                  <a:gd name="T13" fmla="*/ 9 h 96"/>
                  <a:gd name="T14" fmla="*/ 27 w 208"/>
                  <a:gd name="T15" fmla="*/ 23 h 96"/>
                  <a:gd name="T16" fmla="*/ 38 w 208"/>
                  <a:gd name="T17" fmla="*/ 27 h 96"/>
                  <a:gd name="T18" fmla="*/ 43 w 208"/>
                  <a:gd name="T19" fmla="*/ 23 h 96"/>
                  <a:gd name="T20" fmla="*/ 48 w 208"/>
                  <a:gd name="T21" fmla="*/ 23 h 96"/>
                  <a:gd name="T22" fmla="*/ 59 w 208"/>
                  <a:gd name="T23" fmla="*/ 33 h 96"/>
                  <a:gd name="T24" fmla="*/ 95 w 208"/>
                  <a:gd name="T25" fmla="*/ 19 h 96"/>
                  <a:gd name="T26" fmla="*/ 106 w 208"/>
                  <a:gd name="T27" fmla="*/ 16 h 96"/>
                  <a:gd name="T28" fmla="*/ 114 w 208"/>
                  <a:gd name="T29" fmla="*/ 9 h 96"/>
                  <a:gd name="T30" fmla="*/ 116 w 208"/>
                  <a:gd name="T31" fmla="*/ 9 h 96"/>
                  <a:gd name="T32" fmla="*/ 125 w 208"/>
                  <a:gd name="T33" fmla="*/ 0 h 96"/>
                  <a:gd name="T34" fmla="*/ 146 w 208"/>
                  <a:gd name="T35" fmla="*/ 3 h 96"/>
                  <a:gd name="T36" fmla="*/ 154 w 208"/>
                  <a:gd name="T37" fmla="*/ 6 h 96"/>
                  <a:gd name="T38" fmla="*/ 179 w 208"/>
                  <a:gd name="T39" fmla="*/ 14 h 96"/>
                  <a:gd name="T40" fmla="*/ 190 w 208"/>
                  <a:gd name="T41" fmla="*/ 25 h 96"/>
                  <a:gd name="T42" fmla="*/ 198 w 208"/>
                  <a:gd name="T43" fmla="*/ 36 h 96"/>
                  <a:gd name="T44" fmla="*/ 200 w 208"/>
                  <a:gd name="T45" fmla="*/ 41 h 96"/>
                  <a:gd name="T46" fmla="*/ 206 w 208"/>
                  <a:gd name="T47" fmla="*/ 58 h 96"/>
                  <a:gd name="T48" fmla="*/ 203 w 208"/>
                  <a:gd name="T49" fmla="*/ 71 h 96"/>
                  <a:gd name="T50" fmla="*/ 195 w 208"/>
                  <a:gd name="T51" fmla="*/ 81 h 96"/>
                  <a:gd name="T52" fmla="*/ 187 w 208"/>
                  <a:gd name="T53" fmla="*/ 81 h 96"/>
                  <a:gd name="T54" fmla="*/ 178 w 208"/>
                  <a:gd name="T55" fmla="*/ 93 h 96"/>
                  <a:gd name="T56" fmla="*/ 170 w 208"/>
                  <a:gd name="T57" fmla="*/ 79 h 96"/>
                  <a:gd name="T58" fmla="*/ 166 w 208"/>
                  <a:gd name="T59" fmla="*/ 62 h 96"/>
                  <a:gd name="T60" fmla="*/ 173 w 208"/>
                  <a:gd name="T61" fmla="*/ 50 h 96"/>
                  <a:gd name="T62" fmla="*/ 182 w 208"/>
                  <a:gd name="T63" fmla="*/ 57 h 96"/>
                  <a:gd name="T64" fmla="*/ 179 w 208"/>
                  <a:gd name="T65" fmla="*/ 52 h 96"/>
                  <a:gd name="T66" fmla="*/ 173 w 208"/>
                  <a:gd name="T67" fmla="*/ 49 h 96"/>
                  <a:gd name="T68" fmla="*/ 165 w 208"/>
                  <a:gd name="T69" fmla="*/ 42 h 96"/>
                  <a:gd name="T70" fmla="*/ 163 w 208"/>
                  <a:gd name="T71" fmla="*/ 47 h 96"/>
                  <a:gd name="T72" fmla="*/ 159 w 208"/>
                  <a:gd name="T73" fmla="*/ 35 h 96"/>
                  <a:gd name="T74" fmla="*/ 149 w 208"/>
                  <a:gd name="T75" fmla="*/ 28 h 96"/>
                  <a:gd name="T76" fmla="*/ 138 w 208"/>
                  <a:gd name="T77" fmla="*/ 23 h 96"/>
                  <a:gd name="T78" fmla="*/ 125 w 208"/>
                  <a:gd name="T79" fmla="*/ 27 h 96"/>
                  <a:gd name="T80" fmla="*/ 124 w 208"/>
                  <a:gd name="T81" fmla="*/ 28 h 96"/>
                  <a:gd name="T82" fmla="*/ 116 w 208"/>
                  <a:gd name="T83" fmla="*/ 39 h 96"/>
                  <a:gd name="T84" fmla="*/ 106 w 208"/>
                  <a:gd name="T85" fmla="*/ 49 h 96"/>
                  <a:gd name="T86" fmla="*/ 94 w 208"/>
                  <a:gd name="T87" fmla="*/ 52 h 96"/>
                  <a:gd name="T88" fmla="*/ 92 w 208"/>
                  <a:gd name="T89" fmla="*/ 65 h 96"/>
                  <a:gd name="T90" fmla="*/ 105 w 208"/>
                  <a:gd name="T91" fmla="*/ 81 h 96"/>
                  <a:gd name="T92" fmla="*/ 95 w 208"/>
                  <a:gd name="T93" fmla="*/ 88 h 96"/>
                  <a:gd name="T94" fmla="*/ 86 w 208"/>
                  <a:gd name="T95" fmla="*/ 95 h 96"/>
                  <a:gd name="T96" fmla="*/ 71 w 208"/>
                  <a:gd name="T97" fmla="*/ 95 h 96"/>
                  <a:gd name="T98" fmla="*/ 71 w 208"/>
                  <a:gd name="T99" fmla="*/ 84 h 96"/>
                  <a:gd name="T100" fmla="*/ 70 w 208"/>
                  <a:gd name="T101" fmla="*/ 71 h 96"/>
                  <a:gd name="T102" fmla="*/ 63 w 208"/>
                  <a:gd name="T103" fmla="*/ 73 h 96"/>
                  <a:gd name="T104" fmla="*/ 59 w 208"/>
                  <a:gd name="T105" fmla="*/ 79 h 96"/>
                  <a:gd name="T106" fmla="*/ 49 w 208"/>
                  <a:gd name="T107" fmla="*/ 69 h 96"/>
                  <a:gd name="T108" fmla="*/ 46 w 208"/>
                  <a:gd name="T109" fmla="*/ 60 h 96"/>
                  <a:gd name="T110" fmla="*/ 35 w 208"/>
                  <a:gd name="T111" fmla="*/ 57 h 96"/>
                  <a:gd name="T112" fmla="*/ 25 w 208"/>
                  <a:gd name="T113" fmla="*/ 50 h 96"/>
                  <a:gd name="T114" fmla="*/ 16 w 208"/>
                  <a:gd name="T115" fmla="*/ 54 h 96"/>
                  <a:gd name="T116" fmla="*/ 8 w 208"/>
                  <a:gd name="T117" fmla="*/ 52 h 96"/>
                  <a:gd name="T118" fmla="*/ 3 w 208"/>
                  <a:gd name="T119" fmla="*/ 63 h 96"/>
                  <a:gd name="T120" fmla="*/ 0 w 208"/>
                  <a:gd name="T121" fmla="*/ 5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208" h="96">
                    <a:moveTo>
                      <a:pt x="0" y="54"/>
                    </a:moveTo>
                    <a:lnTo>
                      <a:pt x="0" y="54"/>
                    </a:lnTo>
                    <a:lnTo>
                      <a:pt x="0" y="50"/>
                    </a:lnTo>
                    <a:lnTo>
                      <a:pt x="3" y="47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39"/>
                    </a:lnTo>
                    <a:lnTo>
                      <a:pt x="3" y="33"/>
                    </a:lnTo>
                    <a:lnTo>
                      <a:pt x="6" y="30"/>
                    </a:lnTo>
                    <a:lnTo>
                      <a:pt x="8" y="30"/>
                    </a:lnTo>
                    <a:lnTo>
                      <a:pt x="11" y="28"/>
                    </a:lnTo>
                    <a:lnTo>
                      <a:pt x="11" y="25"/>
                    </a:lnTo>
                    <a:lnTo>
                      <a:pt x="8" y="22"/>
                    </a:lnTo>
                    <a:lnTo>
                      <a:pt x="3" y="20"/>
                    </a:lnTo>
                    <a:lnTo>
                      <a:pt x="3" y="17"/>
                    </a:lnTo>
                    <a:lnTo>
                      <a:pt x="5" y="14"/>
                    </a:lnTo>
                    <a:lnTo>
                      <a:pt x="5" y="11"/>
                    </a:lnTo>
                    <a:lnTo>
                      <a:pt x="5" y="8"/>
                    </a:lnTo>
                    <a:lnTo>
                      <a:pt x="8" y="4"/>
                    </a:lnTo>
                    <a:lnTo>
                      <a:pt x="8" y="3"/>
                    </a:lnTo>
                    <a:lnTo>
                      <a:pt x="6" y="1"/>
                    </a:lnTo>
                    <a:lnTo>
                      <a:pt x="11" y="0"/>
                    </a:lnTo>
                    <a:lnTo>
                      <a:pt x="14" y="3"/>
                    </a:lnTo>
                    <a:lnTo>
                      <a:pt x="16" y="3"/>
                    </a:lnTo>
                    <a:lnTo>
                      <a:pt x="19" y="1"/>
                    </a:lnTo>
                    <a:lnTo>
                      <a:pt x="22" y="4"/>
                    </a:lnTo>
                    <a:lnTo>
                      <a:pt x="24" y="6"/>
                    </a:lnTo>
                    <a:lnTo>
                      <a:pt x="25" y="9"/>
                    </a:lnTo>
                    <a:lnTo>
                      <a:pt x="25" y="16"/>
                    </a:lnTo>
                    <a:lnTo>
                      <a:pt x="29" y="17"/>
                    </a:lnTo>
                    <a:lnTo>
                      <a:pt x="29" y="20"/>
                    </a:lnTo>
                    <a:lnTo>
                      <a:pt x="27" y="23"/>
                    </a:lnTo>
                    <a:lnTo>
                      <a:pt x="30" y="23"/>
                    </a:lnTo>
                    <a:lnTo>
                      <a:pt x="35" y="27"/>
                    </a:lnTo>
                    <a:lnTo>
                      <a:pt x="35" y="27"/>
                    </a:lnTo>
                    <a:lnTo>
                      <a:pt x="38" y="27"/>
                    </a:lnTo>
                    <a:lnTo>
                      <a:pt x="38" y="27"/>
                    </a:lnTo>
                    <a:lnTo>
                      <a:pt x="41" y="25"/>
                    </a:lnTo>
                    <a:lnTo>
                      <a:pt x="44" y="27"/>
                    </a:lnTo>
                    <a:lnTo>
                      <a:pt x="43" y="23"/>
                    </a:lnTo>
                    <a:lnTo>
                      <a:pt x="41" y="19"/>
                    </a:lnTo>
                    <a:lnTo>
                      <a:pt x="44" y="19"/>
                    </a:lnTo>
                    <a:lnTo>
                      <a:pt x="44" y="22"/>
                    </a:lnTo>
                    <a:lnTo>
                      <a:pt x="48" y="23"/>
                    </a:lnTo>
                    <a:lnTo>
                      <a:pt x="51" y="28"/>
                    </a:lnTo>
                    <a:lnTo>
                      <a:pt x="52" y="30"/>
                    </a:lnTo>
                    <a:lnTo>
                      <a:pt x="55" y="31"/>
                    </a:lnTo>
                    <a:lnTo>
                      <a:pt x="59" y="33"/>
                    </a:lnTo>
                    <a:lnTo>
                      <a:pt x="70" y="31"/>
                    </a:lnTo>
                    <a:lnTo>
                      <a:pt x="78" y="28"/>
                    </a:lnTo>
                    <a:lnTo>
                      <a:pt x="86" y="22"/>
                    </a:lnTo>
                    <a:lnTo>
                      <a:pt x="95" y="19"/>
                    </a:lnTo>
                    <a:lnTo>
                      <a:pt x="100" y="17"/>
                    </a:lnTo>
                    <a:lnTo>
                      <a:pt x="103" y="16"/>
                    </a:lnTo>
                    <a:lnTo>
                      <a:pt x="103" y="16"/>
                    </a:lnTo>
                    <a:lnTo>
                      <a:pt x="106" y="16"/>
                    </a:lnTo>
                    <a:lnTo>
                      <a:pt x="109" y="11"/>
                    </a:lnTo>
                    <a:lnTo>
                      <a:pt x="109" y="11"/>
                    </a:lnTo>
                    <a:lnTo>
                      <a:pt x="113" y="11"/>
                    </a:lnTo>
                    <a:lnTo>
                      <a:pt x="114" y="9"/>
                    </a:lnTo>
                    <a:lnTo>
                      <a:pt x="114" y="9"/>
                    </a:lnTo>
                    <a:lnTo>
                      <a:pt x="114" y="9"/>
                    </a:lnTo>
                    <a:lnTo>
                      <a:pt x="114" y="9"/>
                    </a:lnTo>
                    <a:lnTo>
                      <a:pt x="116" y="9"/>
                    </a:lnTo>
                    <a:lnTo>
                      <a:pt x="116" y="9"/>
                    </a:lnTo>
                    <a:lnTo>
                      <a:pt x="119" y="6"/>
                    </a:lnTo>
                    <a:lnTo>
                      <a:pt x="122" y="3"/>
                    </a:lnTo>
                    <a:lnTo>
                      <a:pt x="125" y="0"/>
                    </a:lnTo>
                    <a:lnTo>
                      <a:pt x="128" y="0"/>
                    </a:lnTo>
                    <a:lnTo>
                      <a:pt x="138" y="1"/>
                    </a:lnTo>
                    <a:lnTo>
                      <a:pt x="147" y="1"/>
                    </a:lnTo>
                    <a:lnTo>
                      <a:pt x="146" y="3"/>
                    </a:lnTo>
                    <a:lnTo>
                      <a:pt x="144" y="6"/>
                    </a:lnTo>
                    <a:lnTo>
                      <a:pt x="147" y="6"/>
                    </a:lnTo>
                    <a:lnTo>
                      <a:pt x="151" y="8"/>
                    </a:lnTo>
                    <a:lnTo>
                      <a:pt x="154" y="6"/>
                    </a:lnTo>
                    <a:lnTo>
                      <a:pt x="157" y="6"/>
                    </a:lnTo>
                    <a:lnTo>
                      <a:pt x="166" y="8"/>
                    </a:lnTo>
                    <a:lnTo>
                      <a:pt x="174" y="12"/>
                    </a:lnTo>
                    <a:lnTo>
                      <a:pt x="179" y="14"/>
                    </a:lnTo>
                    <a:lnTo>
                      <a:pt x="181" y="14"/>
                    </a:lnTo>
                    <a:lnTo>
                      <a:pt x="184" y="19"/>
                    </a:lnTo>
                    <a:lnTo>
                      <a:pt x="186" y="22"/>
                    </a:lnTo>
                    <a:lnTo>
                      <a:pt x="190" y="25"/>
                    </a:lnTo>
                    <a:lnTo>
                      <a:pt x="190" y="28"/>
                    </a:lnTo>
                    <a:lnTo>
                      <a:pt x="193" y="31"/>
                    </a:lnTo>
                    <a:lnTo>
                      <a:pt x="197" y="33"/>
                    </a:lnTo>
                    <a:lnTo>
                      <a:pt x="198" y="36"/>
                    </a:lnTo>
                    <a:lnTo>
                      <a:pt x="201" y="38"/>
                    </a:lnTo>
                    <a:lnTo>
                      <a:pt x="203" y="38"/>
                    </a:lnTo>
                    <a:lnTo>
                      <a:pt x="201" y="41"/>
                    </a:lnTo>
                    <a:lnTo>
                      <a:pt x="200" y="41"/>
                    </a:lnTo>
                    <a:lnTo>
                      <a:pt x="198" y="44"/>
                    </a:lnTo>
                    <a:lnTo>
                      <a:pt x="201" y="49"/>
                    </a:lnTo>
                    <a:lnTo>
                      <a:pt x="203" y="52"/>
                    </a:lnTo>
                    <a:lnTo>
                      <a:pt x="206" y="58"/>
                    </a:lnTo>
                    <a:lnTo>
                      <a:pt x="208" y="62"/>
                    </a:lnTo>
                    <a:lnTo>
                      <a:pt x="208" y="66"/>
                    </a:lnTo>
                    <a:lnTo>
                      <a:pt x="205" y="68"/>
                    </a:lnTo>
                    <a:lnTo>
                      <a:pt x="203" y="71"/>
                    </a:lnTo>
                    <a:lnTo>
                      <a:pt x="201" y="74"/>
                    </a:lnTo>
                    <a:lnTo>
                      <a:pt x="203" y="76"/>
                    </a:lnTo>
                    <a:lnTo>
                      <a:pt x="200" y="79"/>
                    </a:lnTo>
                    <a:lnTo>
                      <a:pt x="195" y="81"/>
                    </a:lnTo>
                    <a:lnTo>
                      <a:pt x="192" y="84"/>
                    </a:lnTo>
                    <a:lnTo>
                      <a:pt x="190" y="81"/>
                    </a:lnTo>
                    <a:lnTo>
                      <a:pt x="189" y="77"/>
                    </a:lnTo>
                    <a:lnTo>
                      <a:pt x="187" y="81"/>
                    </a:lnTo>
                    <a:lnTo>
                      <a:pt x="189" y="84"/>
                    </a:lnTo>
                    <a:lnTo>
                      <a:pt x="184" y="90"/>
                    </a:lnTo>
                    <a:lnTo>
                      <a:pt x="181" y="96"/>
                    </a:lnTo>
                    <a:lnTo>
                      <a:pt x="178" y="93"/>
                    </a:lnTo>
                    <a:lnTo>
                      <a:pt x="176" y="90"/>
                    </a:lnTo>
                    <a:lnTo>
                      <a:pt x="173" y="85"/>
                    </a:lnTo>
                    <a:lnTo>
                      <a:pt x="171" y="82"/>
                    </a:lnTo>
                    <a:lnTo>
                      <a:pt x="170" y="79"/>
                    </a:lnTo>
                    <a:lnTo>
                      <a:pt x="166" y="71"/>
                    </a:lnTo>
                    <a:lnTo>
                      <a:pt x="163" y="62"/>
                    </a:lnTo>
                    <a:lnTo>
                      <a:pt x="166" y="62"/>
                    </a:lnTo>
                    <a:lnTo>
                      <a:pt x="166" y="62"/>
                    </a:lnTo>
                    <a:lnTo>
                      <a:pt x="170" y="62"/>
                    </a:lnTo>
                    <a:lnTo>
                      <a:pt x="171" y="58"/>
                    </a:lnTo>
                    <a:lnTo>
                      <a:pt x="170" y="54"/>
                    </a:lnTo>
                    <a:lnTo>
                      <a:pt x="173" y="50"/>
                    </a:lnTo>
                    <a:lnTo>
                      <a:pt x="176" y="50"/>
                    </a:lnTo>
                    <a:lnTo>
                      <a:pt x="179" y="54"/>
                    </a:lnTo>
                    <a:lnTo>
                      <a:pt x="182" y="57"/>
                    </a:lnTo>
                    <a:lnTo>
                      <a:pt x="182" y="57"/>
                    </a:lnTo>
                    <a:lnTo>
                      <a:pt x="186" y="58"/>
                    </a:lnTo>
                    <a:lnTo>
                      <a:pt x="189" y="60"/>
                    </a:lnTo>
                    <a:lnTo>
                      <a:pt x="182" y="54"/>
                    </a:lnTo>
                    <a:lnTo>
                      <a:pt x="179" y="52"/>
                    </a:lnTo>
                    <a:lnTo>
                      <a:pt x="178" y="49"/>
                    </a:lnTo>
                    <a:lnTo>
                      <a:pt x="176" y="42"/>
                    </a:lnTo>
                    <a:lnTo>
                      <a:pt x="176" y="46"/>
                    </a:lnTo>
                    <a:lnTo>
                      <a:pt x="173" y="49"/>
                    </a:lnTo>
                    <a:lnTo>
                      <a:pt x="173" y="44"/>
                    </a:lnTo>
                    <a:lnTo>
                      <a:pt x="170" y="47"/>
                    </a:lnTo>
                    <a:lnTo>
                      <a:pt x="166" y="42"/>
                    </a:lnTo>
                    <a:lnTo>
                      <a:pt x="165" y="42"/>
                    </a:lnTo>
                    <a:lnTo>
                      <a:pt x="166" y="46"/>
                    </a:lnTo>
                    <a:lnTo>
                      <a:pt x="166" y="49"/>
                    </a:lnTo>
                    <a:lnTo>
                      <a:pt x="165" y="50"/>
                    </a:lnTo>
                    <a:lnTo>
                      <a:pt x="163" y="47"/>
                    </a:lnTo>
                    <a:lnTo>
                      <a:pt x="162" y="44"/>
                    </a:lnTo>
                    <a:lnTo>
                      <a:pt x="162" y="39"/>
                    </a:lnTo>
                    <a:lnTo>
                      <a:pt x="159" y="38"/>
                    </a:lnTo>
                    <a:lnTo>
                      <a:pt x="159" y="35"/>
                    </a:lnTo>
                    <a:lnTo>
                      <a:pt x="155" y="35"/>
                    </a:lnTo>
                    <a:lnTo>
                      <a:pt x="152" y="30"/>
                    </a:lnTo>
                    <a:lnTo>
                      <a:pt x="152" y="30"/>
                    </a:lnTo>
                    <a:lnTo>
                      <a:pt x="149" y="28"/>
                    </a:lnTo>
                    <a:lnTo>
                      <a:pt x="146" y="25"/>
                    </a:lnTo>
                    <a:lnTo>
                      <a:pt x="141" y="23"/>
                    </a:lnTo>
                    <a:lnTo>
                      <a:pt x="143" y="22"/>
                    </a:lnTo>
                    <a:lnTo>
                      <a:pt x="138" y="23"/>
                    </a:lnTo>
                    <a:lnTo>
                      <a:pt x="135" y="23"/>
                    </a:lnTo>
                    <a:lnTo>
                      <a:pt x="132" y="23"/>
                    </a:lnTo>
                    <a:lnTo>
                      <a:pt x="128" y="23"/>
                    </a:lnTo>
                    <a:lnTo>
                      <a:pt x="125" y="27"/>
                    </a:lnTo>
                    <a:lnTo>
                      <a:pt x="125" y="27"/>
                    </a:lnTo>
                    <a:lnTo>
                      <a:pt x="125" y="25"/>
                    </a:lnTo>
                    <a:lnTo>
                      <a:pt x="125" y="27"/>
                    </a:lnTo>
                    <a:lnTo>
                      <a:pt x="124" y="28"/>
                    </a:lnTo>
                    <a:lnTo>
                      <a:pt x="119" y="30"/>
                    </a:lnTo>
                    <a:lnTo>
                      <a:pt x="117" y="33"/>
                    </a:lnTo>
                    <a:lnTo>
                      <a:pt x="117" y="36"/>
                    </a:lnTo>
                    <a:lnTo>
                      <a:pt x="116" y="39"/>
                    </a:lnTo>
                    <a:lnTo>
                      <a:pt x="114" y="42"/>
                    </a:lnTo>
                    <a:lnTo>
                      <a:pt x="111" y="44"/>
                    </a:lnTo>
                    <a:lnTo>
                      <a:pt x="108" y="47"/>
                    </a:lnTo>
                    <a:lnTo>
                      <a:pt x="106" y="49"/>
                    </a:lnTo>
                    <a:lnTo>
                      <a:pt x="103" y="50"/>
                    </a:lnTo>
                    <a:lnTo>
                      <a:pt x="100" y="52"/>
                    </a:lnTo>
                    <a:lnTo>
                      <a:pt x="97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0" y="57"/>
                    </a:lnTo>
                    <a:lnTo>
                      <a:pt x="90" y="60"/>
                    </a:lnTo>
                    <a:lnTo>
                      <a:pt x="92" y="65"/>
                    </a:lnTo>
                    <a:lnTo>
                      <a:pt x="95" y="68"/>
                    </a:lnTo>
                    <a:lnTo>
                      <a:pt x="98" y="73"/>
                    </a:lnTo>
                    <a:lnTo>
                      <a:pt x="101" y="76"/>
                    </a:lnTo>
                    <a:lnTo>
                      <a:pt x="105" y="81"/>
                    </a:lnTo>
                    <a:lnTo>
                      <a:pt x="106" y="87"/>
                    </a:lnTo>
                    <a:lnTo>
                      <a:pt x="101" y="88"/>
                    </a:lnTo>
                    <a:lnTo>
                      <a:pt x="98" y="88"/>
                    </a:lnTo>
                    <a:lnTo>
                      <a:pt x="95" y="88"/>
                    </a:lnTo>
                    <a:lnTo>
                      <a:pt x="92" y="90"/>
                    </a:lnTo>
                    <a:lnTo>
                      <a:pt x="92" y="93"/>
                    </a:lnTo>
                    <a:lnTo>
                      <a:pt x="89" y="95"/>
                    </a:lnTo>
                    <a:lnTo>
                      <a:pt x="86" y="95"/>
                    </a:lnTo>
                    <a:lnTo>
                      <a:pt x="82" y="96"/>
                    </a:lnTo>
                    <a:lnTo>
                      <a:pt x="79" y="96"/>
                    </a:lnTo>
                    <a:lnTo>
                      <a:pt x="76" y="96"/>
                    </a:lnTo>
                    <a:lnTo>
                      <a:pt x="71" y="95"/>
                    </a:lnTo>
                    <a:lnTo>
                      <a:pt x="73" y="92"/>
                    </a:lnTo>
                    <a:lnTo>
                      <a:pt x="73" y="90"/>
                    </a:lnTo>
                    <a:lnTo>
                      <a:pt x="73" y="87"/>
                    </a:lnTo>
                    <a:lnTo>
                      <a:pt x="71" y="84"/>
                    </a:lnTo>
                    <a:lnTo>
                      <a:pt x="70" y="81"/>
                    </a:lnTo>
                    <a:lnTo>
                      <a:pt x="68" y="76"/>
                    </a:lnTo>
                    <a:lnTo>
                      <a:pt x="68" y="76"/>
                    </a:lnTo>
                    <a:lnTo>
                      <a:pt x="70" y="71"/>
                    </a:lnTo>
                    <a:lnTo>
                      <a:pt x="68" y="69"/>
                    </a:lnTo>
                    <a:lnTo>
                      <a:pt x="65" y="71"/>
                    </a:lnTo>
                    <a:lnTo>
                      <a:pt x="63" y="69"/>
                    </a:lnTo>
                    <a:lnTo>
                      <a:pt x="63" y="73"/>
                    </a:lnTo>
                    <a:lnTo>
                      <a:pt x="62" y="76"/>
                    </a:lnTo>
                    <a:lnTo>
                      <a:pt x="63" y="79"/>
                    </a:lnTo>
                    <a:lnTo>
                      <a:pt x="62" y="81"/>
                    </a:lnTo>
                    <a:lnTo>
                      <a:pt x="59" y="79"/>
                    </a:lnTo>
                    <a:lnTo>
                      <a:pt x="55" y="77"/>
                    </a:lnTo>
                    <a:lnTo>
                      <a:pt x="51" y="77"/>
                    </a:lnTo>
                    <a:lnTo>
                      <a:pt x="49" y="74"/>
                    </a:lnTo>
                    <a:lnTo>
                      <a:pt x="49" y="69"/>
                    </a:lnTo>
                    <a:lnTo>
                      <a:pt x="49" y="68"/>
                    </a:lnTo>
                    <a:lnTo>
                      <a:pt x="49" y="66"/>
                    </a:lnTo>
                    <a:lnTo>
                      <a:pt x="46" y="63"/>
                    </a:lnTo>
                    <a:lnTo>
                      <a:pt x="46" y="60"/>
                    </a:lnTo>
                    <a:lnTo>
                      <a:pt x="43" y="58"/>
                    </a:lnTo>
                    <a:lnTo>
                      <a:pt x="40" y="57"/>
                    </a:lnTo>
                    <a:lnTo>
                      <a:pt x="38" y="55"/>
                    </a:lnTo>
                    <a:lnTo>
                      <a:pt x="35" y="57"/>
                    </a:lnTo>
                    <a:lnTo>
                      <a:pt x="30" y="57"/>
                    </a:lnTo>
                    <a:lnTo>
                      <a:pt x="30" y="57"/>
                    </a:lnTo>
                    <a:lnTo>
                      <a:pt x="27" y="54"/>
                    </a:lnTo>
                    <a:lnTo>
                      <a:pt x="25" y="50"/>
                    </a:lnTo>
                    <a:lnTo>
                      <a:pt x="22" y="52"/>
                    </a:lnTo>
                    <a:lnTo>
                      <a:pt x="21" y="52"/>
                    </a:lnTo>
                    <a:lnTo>
                      <a:pt x="21" y="50"/>
                    </a:lnTo>
                    <a:lnTo>
                      <a:pt x="16" y="54"/>
                    </a:lnTo>
                    <a:lnTo>
                      <a:pt x="13" y="52"/>
                    </a:lnTo>
                    <a:lnTo>
                      <a:pt x="13" y="52"/>
                    </a:lnTo>
                    <a:lnTo>
                      <a:pt x="11" y="52"/>
                    </a:lnTo>
                    <a:lnTo>
                      <a:pt x="8" y="52"/>
                    </a:lnTo>
                    <a:lnTo>
                      <a:pt x="6" y="52"/>
                    </a:lnTo>
                    <a:lnTo>
                      <a:pt x="3" y="57"/>
                    </a:lnTo>
                    <a:lnTo>
                      <a:pt x="3" y="60"/>
                    </a:lnTo>
                    <a:lnTo>
                      <a:pt x="3" y="63"/>
                    </a:lnTo>
                    <a:lnTo>
                      <a:pt x="3" y="63"/>
                    </a:lnTo>
                    <a:lnTo>
                      <a:pt x="3" y="60"/>
                    </a:lnTo>
                    <a:lnTo>
                      <a:pt x="2" y="57"/>
                    </a:lnTo>
                    <a:lnTo>
                      <a:pt x="0" y="5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grpSp>
          <p:nvGrpSpPr>
            <p:cNvPr id="375" name="Group 744"/>
            <p:cNvGrpSpPr>
              <a:grpSpLocks/>
            </p:cNvGrpSpPr>
            <p:nvPr/>
          </p:nvGrpSpPr>
          <p:grpSpPr bwMode="auto">
            <a:xfrm>
              <a:off x="3404950" y="4408560"/>
              <a:ext cx="380816" cy="399523"/>
              <a:chOff x="1264" y="2240"/>
              <a:chExt cx="259" cy="236"/>
            </a:xfrm>
            <a:solidFill>
              <a:srgbClr val="A6A6A6"/>
            </a:solidFill>
          </p:grpSpPr>
          <p:sp>
            <p:nvSpPr>
              <p:cNvPr id="524" name="Freeform 745"/>
              <p:cNvSpPr>
                <a:spLocks/>
              </p:cNvSpPr>
              <p:nvPr/>
            </p:nvSpPr>
            <p:spPr bwMode="auto">
              <a:xfrm>
                <a:off x="1279" y="2240"/>
                <a:ext cx="244" cy="236"/>
              </a:xfrm>
              <a:custGeom>
                <a:avLst/>
                <a:gdLst>
                  <a:gd name="T0" fmla="*/ 19 w 487"/>
                  <a:gd name="T1" fmla="*/ 84 h 473"/>
                  <a:gd name="T2" fmla="*/ 42 w 487"/>
                  <a:gd name="T3" fmla="*/ 43 h 473"/>
                  <a:gd name="T4" fmla="*/ 80 w 487"/>
                  <a:gd name="T5" fmla="*/ 18 h 473"/>
                  <a:gd name="T6" fmla="*/ 64 w 487"/>
                  <a:gd name="T7" fmla="*/ 45 h 473"/>
                  <a:gd name="T8" fmla="*/ 68 w 487"/>
                  <a:gd name="T9" fmla="*/ 67 h 473"/>
                  <a:gd name="T10" fmla="*/ 51 w 487"/>
                  <a:gd name="T11" fmla="*/ 94 h 473"/>
                  <a:gd name="T12" fmla="*/ 59 w 487"/>
                  <a:gd name="T13" fmla="*/ 126 h 473"/>
                  <a:gd name="T14" fmla="*/ 84 w 487"/>
                  <a:gd name="T15" fmla="*/ 99 h 473"/>
                  <a:gd name="T16" fmla="*/ 75 w 487"/>
                  <a:gd name="T17" fmla="*/ 77 h 473"/>
                  <a:gd name="T18" fmla="*/ 75 w 487"/>
                  <a:gd name="T19" fmla="*/ 53 h 473"/>
                  <a:gd name="T20" fmla="*/ 116 w 487"/>
                  <a:gd name="T21" fmla="*/ 35 h 473"/>
                  <a:gd name="T22" fmla="*/ 135 w 487"/>
                  <a:gd name="T23" fmla="*/ 21 h 473"/>
                  <a:gd name="T24" fmla="*/ 130 w 487"/>
                  <a:gd name="T25" fmla="*/ 0 h 473"/>
                  <a:gd name="T26" fmla="*/ 149 w 487"/>
                  <a:gd name="T27" fmla="*/ 29 h 473"/>
                  <a:gd name="T28" fmla="*/ 186 w 487"/>
                  <a:gd name="T29" fmla="*/ 45 h 473"/>
                  <a:gd name="T30" fmla="*/ 202 w 487"/>
                  <a:gd name="T31" fmla="*/ 70 h 473"/>
                  <a:gd name="T32" fmla="*/ 259 w 487"/>
                  <a:gd name="T33" fmla="*/ 64 h 473"/>
                  <a:gd name="T34" fmla="*/ 292 w 487"/>
                  <a:gd name="T35" fmla="*/ 84 h 473"/>
                  <a:gd name="T36" fmla="*/ 325 w 487"/>
                  <a:gd name="T37" fmla="*/ 78 h 473"/>
                  <a:gd name="T38" fmla="*/ 341 w 487"/>
                  <a:gd name="T39" fmla="*/ 67 h 473"/>
                  <a:gd name="T40" fmla="*/ 375 w 487"/>
                  <a:gd name="T41" fmla="*/ 61 h 473"/>
                  <a:gd name="T42" fmla="*/ 389 w 487"/>
                  <a:gd name="T43" fmla="*/ 67 h 473"/>
                  <a:gd name="T44" fmla="*/ 389 w 487"/>
                  <a:gd name="T45" fmla="*/ 84 h 473"/>
                  <a:gd name="T46" fmla="*/ 387 w 487"/>
                  <a:gd name="T47" fmla="*/ 88 h 473"/>
                  <a:gd name="T48" fmla="*/ 400 w 487"/>
                  <a:gd name="T49" fmla="*/ 102 h 473"/>
                  <a:gd name="T50" fmla="*/ 406 w 487"/>
                  <a:gd name="T51" fmla="*/ 97 h 473"/>
                  <a:gd name="T52" fmla="*/ 417 w 487"/>
                  <a:gd name="T53" fmla="*/ 100 h 473"/>
                  <a:gd name="T54" fmla="*/ 432 w 487"/>
                  <a:gd name="T55" fmla="*/ 99 h 473"/>
                  <a:gd name="T56" fmla="*/ 444 w 487"/>
                  <a:gd name="T57" fmla="*/ 126 h 473"/>
                  <a:gd name="T58" fmla="*/ 433 w 487"/>
                  <a:gd name="T59" fmla="*/ 148 h 473"/>
                  <a:gd name="T60" fmla="*/ 441 w 487"/>
                  <a:gd name="T61" fmla="*/ 151 h 473"/>
                  <a:gd name="T62" fmla="*/ 475 w 487"/>
                  <a:gd name="T63" fmla="*/ 146 h 473"/>
                  <a:gd name="T64" fmla="*/ 478 w 487"/>
                  <a:gd name="T65" fmla="*/ 170 h 473"/>
                  <a:gd name="T66" fmla="*/ 457 w 487"/>
                  <a:gd name="T67" fmla="*/ 197 h 473"/>
                  <a:gd name="T68" fmla="*/ 455 w 487"/>
                  <a:gd name="T69" fmla="*/ 219 h 473"/>
                  <a:gd name="T70" fmla="*/ 438 w 487"/>
                  <a:gd name="T71" fmla="*/ 245 h 473"/>
                  <a:gd name="T72" fmla="*/ 452 w 487"/>
                  <a:gd name="T73" fmla="*/ 289 h 473"/>
                  <a:gd name="T74" fmla="*/ 433 w 487"/>
                  <a:gd name="T75" fmla="*/ 314 h 473"/>
                  <a:gd name="T76" fmla="*/ 397 w 487"/>
                  <a:gd name="T77" fmla="*/ 332 h 473"/>
                  <a:gd name="T78" fmla="*/ 375 w 487"/>
                  <a:gd name="T79" fmla="*/ 351 h 473"/>
                  <a:gd name="T80" fmla="*/ 340 w 487"/>
                  <a:gd name="T81" fmla="*/ 338 h 473"/>
                  <a:gd name="T82" fmla="*/ 308 w 487"/>
                  <a:gd name="T83" fmla="*/ 325 h 473"/>
                  <a:gd name="T84" fmla="*/ 322 w 487"/>
                  <a:gd name="T85" fmla="*/ 367 h 473"/>
                  <a:gd name="T86" fmla="*/ 352 w 487"/>
                  <a:gd name="T87" fmla="*/ 400 h 473"/>
                  <a:gd name="T88" fmla="*/ 327 w 487"/>
                  <a:gd name="T89" fmla="*/ 422 h 473"/>
                  <a:gd name="T90" fmla="*/ 303 w 487"/>
                  <a:gd name="T91" fmla="*/ 446 h 473"/>
                  <a:gd name="T92" fmla="*/ 276 w 487"/>
                  <a:gd name="T93" fmla="*/ 470 h 473"/>
                  <a:gd name="T94" fmla="*/ 249 w 487"/>
                  <a:gd name="T95" fmla="*/ 468 h 473"/>
                  <a:gd name="T96" fmla="*/ 222 w 487"/>
                  <a:gd name="T97" fmla="*/ 438 h 473"/>
                  <a:gd name="T98" fmla="*/ 202 w 487"/>
                  <a:gd name="T99" fmla="*/ 389 h 473"/>
                  <a:gd name="T100" fmla="*/ 210 w 487"/>
                  <a:gd name="T101" fmla="*/ 362 h 473"/>
                  <a:gd name="T102" fmla="*/ 194 w 487"/>
                  <a:gd name="T103" fmla="*/ 329 h 473"/>
                  <a:gd name="T104" fmla="*/ 195 w 487"/>
                  <a:gd name="T105" fmla="*/ 292 h 473"/>
                  <a:gd name="T106" fmla="*/ 206 w 487"/>
                  <a:gd name="T107" fmla="*/ 257 h 473"/>
                  <a:gd name="T108" fmla="*/ 183 w 487"/>
                  <a:gd name="T109" fmla="*/ 245 h 473"/>
                  <a:gd name="T110" fmla="*/ 141 w 487"/>
                  <a:gd name="T111" fmla="*/ 248 h 473"/>
                  <a:gd name="T112" fmla="*/ 99 w 487"/>
                  <a:gd name="T113" fmla="*/ 211 h 473"/>
                  <a:gd name="T114" fmla="*/ 59 w 487"/>
                  <a:gd name="T115" fmla="*/ 210 h 473"/>
                  <a:gd name="T116" fmla="*/ 37 w 487"/>
                  <a:gd name="T117" fmla="*/ 197 h 473"/>
                  <a:gd name="T118" fmla="*/ 37 w 487"/>
                  <a:gd name="T119" fmla="*/ 165 h 473"/>
                  <a:gd name="T120" fmla="*/ 24 w 487"/>
                  <a:gd name="T121" fmla="*/ 135 h 473"/>
                  <a:gd name="T122" fmla="*/ 3 w 487"/>
                  <a:gd name="T123" fmla="*/ 124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87" h="473">
                    <a:moveTo>
                      <a:pt x="0" y="124"/>
                    </a:moveTo>
                    <a:lnTo>
                      <a:pt x="3" y="121"/>
                    </a:lnTo>
                    <a:lnTo>
                      <a:pt x="5" y="116"/>
                    </a:lnTo>
                    <a:lnTo>
                      <a:pt x="7" y="113"/>
                    </a:lnTo>
                    <a:lnTo>
                      <a:pt x="8" y="110"/>
                    </a:lnTo>
                    <a:lnTo>
                      <a:pt x="11" y="107"/>
                    </a:lnTo>
                    <a:lnTo>
                      <a:pt x="13" y="103"/>
                    </a:lnTo>
                    <a:lnTo>
                      <a:pt x="16" y="99"/>
                    </a:lnTo>
                    <a:lnTo>
                      <a:pt x="18" y="96"/>
                    </a:lnTo>
                    <a:lnTo>
                      <a:pt x="16" y="92"/>
                    </a:lnTo>
                    <a:lnTo>
                      <a:pt x="19" y="84"/>
                    </a:lnTo>
                    <a:lnTo>
                      <a:pt x="21" y="75"/>
                    </a:lnTo>
                    <a:lnTo>
                      <a:pt x="21" y="72"/>
                    </a:lnTo>
                    <a:lnTo>
                      <a:pt x="22" y="69"/>
                    </a:lnTo>
                    <a:lnTo>
                      <a:pt x="24" y="65"/>
                    </a:lnTo>
                    <a:lnTo>
                      <a:pt x="27" y="62"/>
                    </a:lnTo>
                    <a:lnTo>
                      <a:pt x="29" y="59"/>
                    </a:lnTo>
                    <a:lnTo>
                      <a:pt x="30" y="54"/>
                    </a:lnTo>
                    <a:lnTo>
                      <a:pt x="34" y="51"/>
                    </a:lnTo>
                    <a:lnTo>
                      <a:pt x="35" y="48"/>
                    </a:lnTo>
                    <a:lnTo>
                      <a:pt x="38" y="45"/>
                    </a:lnTo>
                    <a:lnTo>
                      <a:pt x="42" y="43"/>
                    </a:lnTo>
                    <a:lnTo>
                      <a:pt x="45" y="42"/>
                    </a:lnTo>
                    <a:lnTo>
                      <a:pt x="48" y="38"/>
                    </a:lnTo>
                    <a:lnTo>
                      <a:pt x="51" y="35"/>
                    </a:lnTo>
                    <a:lnTo>
                      <a:pt x="51" y="34"/>
                    </a:lnTo>
                    <a:lnTo>
                      <a:pt x="54" y="27"/>
                    </a:lnTo>
                    <a:lnTo>
                      <a:pt x="56" y="24"/>
                    </a:lnTo>
                    <a:lnTo>
                      <a:pt x="59" y="21"/>
                    </a:lnTo>
                    <a:lnTo>
                      <a:pt x="65" y="21"/>
                    </a:lnTo>
                    <a:lnTo>
                      <a:pt x="73" y="18"/>
                    </a:lnTo>
                    <a:lnTo>
                      <a:pt x="81" y="15"/>
                    </a:lnTo>
                    <a:lnTo>
                      <a:pt x="80" y="18"/>
                    </a:lnTo>
                    <a:lnTo>
                      <a:pt x="76" y="19"/>
                    </a:lnTo>
                    <a:lnTo>
                      <a:pt x="73" y="21"/>
                    </a:lnTo>
                    <a:lnTo>
                      <a:pt x="68" y="21"/>
                    </a:lnTo>
                    <a:lnTo>
                      <a:pt x="65" y="23"/>
                    </a:lnTo>
                    <a:lnTo>
                      <a:pt x="62" y="23"/>
                    </a:lnTo>
                    <a:lnTo>
                      <a:pt x="59" y="24"/>
                    </a:lnTo>
                    <a:lnTo>
                      <a:pt x="57" y="27"/>
                    </a:lnTo>
                    <a:lnTo>
                      <a:pt x="57" y="32"/>
                    </a:lnTo>
                    <a:lnTo>
                      <a:pt x="61" y="38"/>
                    </a:lnTo>
                    <a:lnTo>
                      <a:pt x="62" y="42"/>
                    </a:lnTo>
                    <a:lnTo>
                      <a:pt x="64" y="45"/>
                    </a:lnTo>
                    <a:lnTo>
                      <a:pt x="67" y="48"/>
                    </a:lnTo>
                    <a:lnTo>
                      <a:pt x="64" y="48"/>
                    </a:lnTo>
                    <a:lnTo>
                      <a:pt x="64" y="48"/>
                    </a:lnTo>
                    <a:lnTo>
                      <a:pt x="65" y="53"/>
                    </a:lnTo>
                    <a:lnTo>
                      <a:pt x="65" y="56"/>
                    </a:lnTo>
                    <a:lnTo>
                      <a:pt x="67" y="57"/>
                    </a:lnTo>
                    <a:lnTo>
                      <a:pt x="67" y="59"/>
                    </a:lnTo>
                    <a:lnTo>
                      <a:pt x="67" y="59"/>
                    </a:lnTo>
                    <a:lnTo>
                      <a:pt x="68" y="62"/>
                    </a:lnTo>
                    <a:lnTo>
                      <a:pt x="68" y="65"/>
                    </a:lnTo>
                    <a:lnTo>
                      <a:pt x="68" y="67"/>
                    </a:lnTo>
                    <a:lnTo>
                      <a:pt x="67" y="70"/>
                    </a:lnTo>
                    <a:lnTo>
                      <a:pt x="67" y="72"/>
                    </a:lnTo>
                    <a:lnTo>
                      <a:pt x="62" y="75"/>
                    </a:lnTo>
                    <a:lnTo>
                      <a:pt x="61" y="78"/>
                    </a:lnTo>
                    <a:lnTo>
                      <a:pt x="59" y="81"/>
                    </a:lnTo>
                    <a:lnTo>
                      <a:pt x="57" y="81"/>
                    </a:lnTo>
                    <a:lnTo>
                      <a:pt x="57" y="83"/>
                    </a:lnTo>
                    <a:lnTo>
                      <a:pt x="54" y="84"/>
                    </a:lnTo>
                    <a:lnTo>
                      <a:pt x="53" y="89"/>
                    </a:lnTo>
                    <a:lnTo>
                      <a:pt x="53" y="89"/>
                    </a:lnTo>
                    <a:lnTo>
                      <a:pt x="51" y="94"/>
                    </a:lnTo>
                    <a:lnTo>
                      <a:pt x="48" y="97"/>
                    </a:lnTo>
                    <a:lnTo>
                      <a:pt x="48" y="100"/>
                    </a:lnTo>
                    <a:lnTo>
                      <a:pt x="51" y="103"/>
                    </a:lnTo>
                    <a:lnTo>
                      <a:pt x="53" y="107"/>
                    </a:lnTo>
                    <a:lnTo>
                      <a:pt x="53" y="110"/>
                    </a:lnTo>
                    <a:lnTo>
                      <a:pt x="56" y="113"/>
                    </a:lnTo>
                    <a:lnTo>
                      <a:pt x="57" y="115"/>
                    </a:lnTo>
                    <a:lnTo>
                      <a:pt x="61" y="116"/>
                    </a:lnTo>
                    <a:lnTo>
                      <a:pt x="61" y="119"/>
                    </a:lnTo>
                    <a:lnTo>
                      <a:pt x="59" y="121"/>
                    </a:lnTo>
                    <a:lnTo>
                      <a:pt x="59" y="126"/>
                    </a:lnTo>
                    <a:lnTo>
                      <a:pt x="62" y="129"/>
                    </a:lnTo>
                    <a:lnTo>
                      <a:pt x="65" y="129"/>
                    </a:lnTo>
                    <a:lnTo>
                      <a:pt x="68" y="129"/>
                    </a:lnTo>
                    <a:lnTo>
                      <a:pt x="72" y="127"/>
                    </a:lnTo>
                    <a:lnTo>
                      <a:pt x="75" y="126"/>
                    </a:lnTo>
                    <a:lnTo>
                      <a:pt x="76" y="126"/>
                    </a:lnTo>
                    <a:lnTo>
                      <a:pt x="83" y="118"/>
                    </a:lnTo>
                    <a:lnTo>
                      <a:pt x="84" y="115"/>
                    </a:lnTo>
                    <a:lnTo>
                      <a:pt x="84" y="110"/>
                    </a:lnTo>
                    <a:lnTo>
                      <a:pt x="86" y="102"/>
                    </a:lnTo>
                    <a:lnTo>
                      <a:pt x="84" y="99"/>
                    </a:lnTo>
                    <a:lnTo>
                      <a:pt x="84" y="96"/>
                    </a:lnTo>
                    <a:lnTo>
                      <a:pt x="84" y="94"/>
                    </a:lnTo>
                    <a:lnTo>
                      <a:pt x="83" y="91"/>
                    </a:lnTo>
                    <a:lnTo>
                      <a:pt x="81" y="89"/>
                    </a:lnTo>
                    <a:lnTo>
                      <a:pt x="80" y="86"/>
                    </a:lnTo>
                    <a:lnTo>
                      <a:pt x="78" y="83"/>
                    </a:lnTo>
                    <a:lnTo>
                      <a:pt x="78" y="81"/>
                    </a:lnTo>
                    <a:lnTo>
                      <a:pt x="76" y="81"/>
                    </a:lnTo>
                    <a:lnTo>
                      <a:pt x="76" y="81"/>
                    </a:lnTo>
                    <a:lnTo>
                      <a:pt x="75" y="78"/>
                    </a:lnTo>
                    <a:lnTo>
                      <a:pt x="75" y="77"/>
                    </a:lnTo>
                    <a:lnTo>
                      <a:pt x="72" y="73"/>
                    </a:lnTo>
                    <a:lnTo>
                      <a:pt x="72" y="72"/>
                    </a:lnTo>
                    <a:lnTo>
                      <a:pt x="72" y="69"/>
                    </a:lnTo>
                    <a:lnTo>
                      <a:pt x="70" y="67"/>
                    </a:lnTo>
                    <a:lnTo>
                      <a:pt x="72" y="62"/>
                    </a:lnTo>
                    <a:lnTo>
                      <a:pt x="72" y="59"/>
                    </a:lnTo>
                    <a:lnTo>
                      <a:pt x="70" y="57"/>
                    </a:lnTo>
                    <a:lnTo>
                      <a:pt x="70" y="57"/>
                    </a:lnTo>
                    <a:lnTo>
                      <a:pt x="70" y="57"/>
                    </a:lnTo>
                    <a:lnTo>
                      <a:pt x="73" y="57"/>
                    </a:lnTo>
                    <a:lnTo>
                      <a:pt x="75" y="53"/>
                    </a:lnTo>
                    <a:lnTo>
                      <a:pt x="76" y="53"/>
                    </a:lnTo>
                    <a:lnTo>
                      <a:pt x="80" y="50"/>
                    </a:lnTo>
                    <a:lnTo>
                      <a:pt x="81" y="50"/>
                    </a:lnTo>
                    <a:lnTo>
                      <a:pt x="88" y="46"/>
                    </a:lnTo>
                    <a:lnTo>
                      <a:pt x="91" y="43"/>
                    </a:lnTo>
                    <a:lnTo>
                      <a:pt x="94" y="42"/>
                    </a:lnTo>
                    <a:lnTo>
                      <a:pt x="99" y="40"/>
                    </a:lnTo>
                    <a:lnTo>
                      <a:pt x="102" y="38"/>
                    </a:lnTo>
                    <a:lnTo>
                      <a:pt x="105" y="38"/>
                    </a:lnTo>
                    <a:lnTo>
                      <a:pt x="108" y="38"/>
                    </a:lnTo>
                    <a:lnTo>
                      <a:pt x="116" y="35"/>
                    </a:lnTo>
                    <a:lnTo>
                      <a:pt x="119" y="34"/>
                    </a:lnTo>
                    <a:lnTo>
                      <a:pt x="122" y="34"/>
                    </a:lnTo>
                    <a:lnTo>
                      <a:pt x="122" y="29"/>
                    </a:lnTo>
                    <a:lnTo>
                      <a:pt x="126" y="31"/>
                    </a:lnTo>
                    <a:lnTo>
                      <a:pt x="126" y="27"/>
                    </a:lnTo>
                    <a:lnTo>
                      <a:pt x="124" y="26"/>
                    </a:lnTo>
                    <a:lnTo>
                      <a:pt x="129" y="29"/>
                    </a:lnTo>
                    <a:lnTo>
                      <a:pt x="135" y="32"/>
                    </a:lnTo>
                    <a:lnTo>
                      <a:pt x="137" y="27"/>
                    </a:lnTo>
                    <a:lnTo>
                      <a:pt x="137" y="24"/>
                    </a:lnTo>
                    <a:lnTo>
                      <a:pt x="135" y="21"/>
                    </a:lnTo>
                    <a:lnTo>
                      <a:pt x="129" y="23"/>
                    </a:lnTo>
                    <a:lnTo>
                      <a:pt x="121" y="24"/>
                    </a:lnTo>
                    <a:lnTo>
                      <a:pt x="121" y="21"/>
                    </a:lnTo>
                    <a:lnTo>
                      <a:pt x="121" y="18"/>
                    </a:lnTo>
                    <a:lnTo>
                      <a:pt x="121" y="18"/>
                    </a:lnTo>
                    <a:lnTo>
                      <a:pt x="119" y="15"/>
                    </a:lnTo>
                    <a:lnTo>
                      <a:pt x="121" y="7"/>
                    </a:lnTo>
                    <a:lnTo>
                      <a:pt x="122" y="4"/>
                    </a:lnTo>
                    <a:lnTo>
                      <a:pt x="124" y="4"/>
                    </a:lnTo>
                    <a:lnTo>
                      <a:pt x="129" y="0"/>
                    </a:lnTo>
                    <a:lnTo>
                      <a:pt x="130" y="0"/>
                    </a:lnTo>
                    <a:lnTo>
                      <a:pt x="134" y="2"/>
                    </a:lnTo>
                    <a:lnTo>
                      <a:pt x="135" y="7"/>
                    </a:lnTo>
                    <a:lnTo>
                      <a:pt x="137" y="10"/>
                    </a:lnTo>
                    <a:lnTo>
                      <a:pt x="135" y="13"/>
                    </a:lnTo>
                    <a:lnTo>
                      <a:pt x="137" y="16"/>
                    </a:lnTo>
                    <a:lnTo>
                      <a:pt x="137" y="19"/>
                    </a:lnTo>
                    <a:lnTo>
                      <a:pt x="138" y="24"/>
                    </a:lnTo>
                    <a:lnTo>
                      <a:pt x="140" y="27"/>
                    </a:lnTo>
                    <a:lnTo>
                      <a:pt x="143" y="31"/>
                    </a:lnTo>
                    <a:lnTo>
                      <a:pt x="146" y="29"/>
                    </a:lnTo>
                    <a:lnTo>
                      <a:pt x="149" y="29"/>
                    </a:lnTo>
                    <a:lnTo>
                      <a:pt x="154" y="27"/>
                    </a:lnTo>
                    <a:lnTo>
                      <a:pt x="157" y="27"/>
                    </a:lnTo>
                    <a:lnTo>
                      <a:pt x="160" y="29"/>
                    </a:lnTo>
                    <a:lnTo>
                      <a:pt x="164" y="31"/>
                    </a:lnTo>
                    <a:lnTo>
                      <a:pt x="165" y="31"/>
                    </a:lnTo>
                    <a:lnTo>
                      <a:pt x="170" y="31"/>
                    </a:lnTo>
                    <a:lnTo>
                      <a:pt x="173" y="34"/>
                    </a:lnTo>
                    <a:lnTo>
                      <a:pt x="176" y="35"/>
                    </a:lnTo>
                    <a:lnTo>
                      <a:pt x="181" y="38"/>
                    </a:lnTo>
                    <a:lnTo>
                      <a:pt x="184" y="42"/>
                    </a:lnTo>
                    <a:lnTo>
                      <a:pt x="186" y="45"/>
                    </a:lnTo>
                    <a:lnTo>
                      <a:pt x="187" y="50"/>
                    </a:lnTo>
                    <a:lnTo>
                      <a:pt x="187" y="53"/>
                    </a:lnTo>
                    <a:lnTo>
                      <a:pt x="186" y="56"/>
                    </a:lnTo>
                    <a:lnTo>
                      <a:pt x="187" y="61"/>
                    </a:lnTo>
                    <a:lnTo>
                      <a:pt x="187" y="62"/>
                    </a:lnTo>
                    <a:lnTo>
                      <a:pt x="189" y="65"/>
                    </a:lnTo>
                    <a:lnTo>
                      <a:pt x="189" y="65"/>
                    </a:lnTo>
                    <a:lnTo>
                      <a:pt x="191" y="69"/>
                    </a:lnTo>
                    <a:lnTo>
                      <a:pt x="194" y="70"/>
                    </a:lnTo>
                    <a:lnTo>
                      <a:pt x="199" y="70"/>
                    </a:lnTo>
                    <a:lnTo>
                      <a:pt x="202" y="70"/>
                    </a:lnTo>
                    <a:lnTo>
                      <a:pt x="202" y="70"/>
                    </a:lnTo>
                    <a:lnTo>
                      <a:pt x="211" y="69"/>
                    </a:lnTo>
                    <a:lnTo>
                      <a:pt x="219" y="67"/>
                    </a:lnTo>
                    <a:lnTo>
                      <a:pt x="222" y="67"/>
                    </a:lnTo>
                    <a:lnTo>
                      <a:pt x="226" y="67"/>
                    </a:lnTo>
                    <a:lnTo>
                      <a:pt x="230" y="65"/>
                    </a:lnTo>
                    <a:lnTo>
                      <a:pt x="233" y="65"/>
                    </a:lnTo>
                    <a:lnTo>
                      <a:pt x="237" y="65"/>
                    </a:lnTo>
                    <a:lnTo>
                      <a:pt x="248" y="64"/>
                    </a:lnTo>
                    <a:lnTo>
                      <a:pt x="257" y="65"/>
                    </a:lnTo>
                    <a:lnTo>
                      <a:pt x="259" y="64"/>
                    </a:lnTo>
                    <a:lnTo>
                      <a:pt x="262" y="64"/>
                    </a:lnTo>
                    <a:lnTo>
                      <a:pt x="265" y="65"/>
                    </a:lnTo>
                    <a:lnTo>
                      <a:pt x="265" y="69"/>
                    </a:lnTo>
                    <a:lnTo>
                      <a:pt x="267" y="70"/>
                    </a:lnTo>
                    <a:lnTo>
                      <a:pt x="273" y="77"/>
                    </a:lnTo>
                    <a:lnTo>
                      <a:pt x="275" y="80"/>
                    </a:lnTo>
                    <a:lnTo>
                      <a:pt x="279" y="80"/>
                    </a:lnTo>
                    <a:lnTo>
                      <a:pt x="283" y="81"/>
                    </a:lnTo>
                    <a:lnTo>
                      <a:pt x="286" y="83"/>
                    </a:lnTo>
                    <a:lnTo>
                      <a:pt x="289" y="84"/>
                    </a:lnTo>
                    <a:lnTo>
                      <a:pt x="292" y="84"/>
                    </a:lnTo>
                    <a:lnTo>
                      <a:pt x="295" y="86"/>
                    </a:lnTo>
                    <a:lnTo>
                      <a:pt x="300" y="88"/>
                    </a:lnTo>
                    <a:lnTo>
                      <a:pt x="298" y="88"/>
                    </a:lnTo>
                    <a:lnTo>
                      <a:pt x="302" y="88"/>
                    </a:lnTo>
                    <a:lnTo>
                      <a:pt x="305" y="86"/>
                    </a:lnTo>
                    <a:lnTo>
                      <a:pt x="308" y="86"/>
                    </a:lnTo>
                    <a:lnTo>
                      <a:pt x="313" y="86"/>
                    </a:lnTo>
                    <a:lnTo>
                      <a:pt x="314" y="83"/>
                    </a:lnTo>
                    <a:lnTo>
                      <a:pt x="317" y="80"/>
                    </a:lnTo>
                    <a:lnTo>
                      <a:pt x="321" y="80"/>
                    </a:lnTo>
                    <a:lnTo>
                      <a:pt x="325" y="78"/>
                    </a:lnTo>
                    <a:lnTo>
                      <a:pt x="327" y="75"/>
                    </a:lnTo>
                    <a:lnTo>
                      <a:pt x="330" y="73"/>
                    </a:lnTo>
                    <a:lnTo>
                      <a:pt x="333" y="70"/>
                    </a:lnTo>
                    <a:lnTo>
                      <a:pt x="338" y="70"/>
                    </a:lnTo>
                    <a:lnTo>
                      <a:pt x="341" y="72"/>
                    </a:lnTo>
                    <a:lnTo>
                      <a:pt x="344" y="72"/>
                    </a:lnTo>
                    <a:lnTo>
                      <a:pt x="348" y="72"/>
                    </a:lnTo>
                    <a:lnTo>
                      <a:pt x="351" y="70"/>
                    </a:lnTo>
                    <a:lnTo>
                      <a:pt x="348" y="67"/>
                    </a:lnTo>
                    <a:lnTo>
                      <a:pt x="344" y="67"/>
                    </a:lnTo>
                    <a:lnTo>
                      <a:pt x="341" y="67"/>
                    </a:lnTo>
                    <a:lnTo>
                      <a:pt x="337" y="67"/>
                    </a:lnTo>
                    <a:lnTo>
                      <a:pt x="333" y="67"/>
                    </a:lnTo>
                    <a:lnTo>
                      <a:pt x="330" y="64"/>
                    </a:lnTo>
                    <a:lnTo>
                      <a:pt x="344" y="64"/>
                    </a:lnTo>
                    <a:lnTo>
                      <a:pt x="348" y="61"/>
                    </a:lnTo>
                    <a:lnTo>
                      <a:pt x="351" y="62"/>
                    </a:lnTo>
                    <a:lnTo>
                      <a:pt x="356" y="64"/>
                    </a:lnTo>
                    <a:lnTo>
                      <a:pt x="359" y="64"/>
                    </a:lnTo>
                    <a:lnTo>
                      <a:pt x="362" y="62"/>
                    </a:lnTo>
                    <a:lnTo>
                      <a:pt x="365" y="62"/>
                    </a:lnTo>
                    <a:lnTo>
                      <a:pt x="375" y="61"/>
                    </a:lnTo>
                    <a:lnTo>
                      <a:pt x="383" y="61"/>
                    </a:lnTo>
                    <a:lnTo>
                      <a:pt x="400" y="61"/>
                    </a:lnTo>
                    <a:lnTo>
                      <a:pt x="417" y="59"/>
                    </a:lnTo>
                    <a:lnTo>
                      <a:pt x="416" y="62"/>
                    </a:lnTo>
                    <a:lnTo>
                      <a:pt x="411" y="64"/>
                    </a:lnTo>
                    <a:lnTo>
                      <a:pt x="408" y="64"/>
                    </a:lnTo>
                    <a:lnTo>
                      <a:pt x="405" y="64"/>
                    </a:lnTo>
                    <a:lnTo>
                      <a:pt x="402" y="67"/>
                    </a:lnTo>
                    <a:lnTo>
                      <a:pt x="398" y="67"/>
                    </a:lnTo>
                    <a:lnTo>
                      <a:pt x="394" y="67"/>
                    </a:lnTo>
                    <a:lnTo>
                      <a:pt x="389" y="67"/>
                    </a:lnTo>
                    <a:lnTo>
                      <a:pt x="383" y="67"/>
                    </a:lnTo>
                    <a:lnTo>
                      <a:pt x="378" y="70"/>
                    </a:lnTo>
                    <a:lnTo>
                      <a:pt x="381" y="69"/>
                    </a:lnTo>
                    <a:lnTo>
                      <a:pt x="383" y="72"/>
                    </a:lnTo>
                    <a:lnTo>
                      <a:pt x="379" y="72"/>
                    </a:lnTo>
                    <a:lnTo>
                      <a:pt x="378" y="77"/>
                    </a:lnTo>
                    <a:lnTo>
                      <a:pt x="381" y="75"/>
                    </a:lnTo>
                    <a:lnTo>
                      <a:pt x="384" y="73"/>
                    </a:lnTo>
                    <a:lnTo>
                      <a:pt x="387" y="77"/>
                    </a:lnTo>
                    <a:lnTo>
                      <a:pt x="389" y="80"/>
                    </a:lnTo>
                    <a:lnTo>
                      <a:pt x="389" y="84"/>
                    </a:lnTo>
                    <a:lnTo>
                      <a:pt x="386" y="88"/>
                    </a:lnTo>
                    <a:lnTo>
                      <a:pt x="383" y="88"/>
                    </a:lnTo>
                    <a:lnTo>
                      <a:pt x="379" y="86"/>
                    </a:lnTo>
                    <a:lnTo>
                      <a:pt x="376" y="86"/>
                    </a:lnTo>
                    <a:lnTo>
                      <a:pt x="378" y="89"/>
                    </a:lnTo>
                    <a:lnTo>
                      <a:pt x="378" y="89"/>
                    </a:lnTo>
                    <a:lnTo>
                      <a:pt x="379" y="89"/>
                    </a:lnTo>
                    <a:lnTo>
                      <a:pt x="383" y="89"/>
                    </a:lnTo>
                    <a:lnTo>
                      <a:pt x="383" y="89"/>
                    </a:lnTo>
                    <a:lnTo>
                      <a:pt x="384" y="89"/>
                    </a:lnTo>
                    <a:lnTo>
                      <a:pt x="387" y="88"/>
                    </a:lnTo>
                    <a:lnTo>
                      <a:pt x="390" y="84"/>
                    </a:lnTo>
                    <a:lnTo>
                      <a:pt x="390" y="81"/>
                    </a:lnTo>
                    <a:lnTo>
                      <a:pt x="394" y="81"/>
                    </a:lnTo>
                    <a:lnTo>
                      <a:pt x="395" y="86"/>
                    </a:lnTo>
                    <a:lnTo>
                      <a:pt x="397" y="89"/>
                    </a:lnTo>
                    <a:lnTo>
                      <a:pt x="397" y="89"/>
                    </a:lnTo>
                    <a:lnTo>
                      <a:pt x="395" y="92"/>
                    </a:lnTo>
                    <a:lnTo>
                      <a:pt x="398" y="96"/>
                    </a:lnTo>
                    <a:lnTo>
                      <a:pt x="400" y="100"/>
                    </a:lnTo>
                    <a:lnTo>
                      <a:pt x="400" y="100"/>
                    </a:lnTo>
                    <a:lnTo>
                      <a:pt x="400" y="102"/>
                    </a:lnTo>
                    <a:lnTo>
                      <a:pt x="400" y="102"/>
                    </a:lnTo>
                    <a:lnTo>
                      <a:pt x="402" y="99"/>
                    </a:lnTo>
                    <a:lnTo>
                      <a:pt x="403" y="94"/>
                    </a:lnTo>
                    <a:lnTo>
                      <a:pt x="403" y="91"/>
                    </a:lnTo>
                    <a:lnTo>
                      <a:pt x="405" y="94"/>
                    </a:lnTo>
                    <a:lnTo>
                      <a:pt x="405" y="99"/>
                    </a:lnTo>
                    <a:lnTo>
                      <a:pt x="405" y="102"/>
                    </a:lnTo>
                    <a:lnTo>
                      <a:pt x="403" y="105"/>
                    </a:lnTo>
                    <a:lnTo>
                      <a:pt x="405" y="103"/>
                    </a:lnTo>
                    <a:lnTo>
                      <a:pt x="406" y="100"/>
                    </a:lnTo>
                    <a:lnTo>
                      <a:pt x="406" y="97"/>
                    </a:lnTo>
                    <a:lnTo>
                      <a:pt x="405" y="94"/>
                    </a:lnTo>
                    <a:lnTo>
                      <a:pt x="408" y="94"/>
                    </a:lnTo>
                    <a:lnTo>
                      <a:pt x="411" y="96"/>
                    </a:lnTo>
                    <a:lnTo>
                      <a:pt x="408" y="92"/>
                    </a:lnTo>
                    <a:lnTo>
                      <a:pt x="403" y="92"/>
                    </a:lnTo>
                    <a:lnTo>
                      <a:pt x="403" y="89"/>
                    </a:lnTo>
                    <a:lnTo>
                      <a:pt x="406" y="89"/>
                    </a:lnTo>
                    <a:lnTo>
                      <a:pt x="411" y="91"/>
                    </a:lnTo>
                    <a:lnTo>
                      <a:pt x="414" y="94"/>
                    </a:lnTo>
                    <a:lnTo>
                      <a:pt x="417" y="97"/>
                    </a:lnTo>
                    <a:lnTo>
                      <a:pt x="417" y="100"/>
                    </a:lnTo>
                    <a:lnTo>
                      <a:pt x="417" y="103"/>
                    </a:lnTo>
                    <a:lnTo>
                      <a:pt x="417" y="103"/>
                    </a:lnTo>
                    <a:lnTo>
                      <a:pt x="419" y="100"/>
                    </a:lnTo>
                    <a:lnTo>
                      <a:pt x="421" y="100"/>
                    </a:lnTo>
                    <a:lnTo>
                      <a:pt x="419" y="99"/>
                    </a:lnTo>
                    <a:lnTo>
                      <a:pt x="422" y="97"/>
                    </a:lnTo>
                    <a:lnTo>
                      <a:pt x="425" y="99"/>
                    </a:lnTo>
                    <a:lnTo>
                      <a:pt x="427" y="99"/>
                    </a:lnTo>
                    <a:lnTo>
                      <a:pt x="425" y="96"/>
                    </a:lnTo>
                    <a:lnTo>
                      <a:pt x="429" y="96"/>
                    </a:lnTo>
                    <a:lnTo>
                      <a:pt x="432" y="99"/>
                    </a:lnTo>
                    <a:lnTo>
                      <a:pt x="433" y="102"/>
                    </a:lnTo>
                    <a:lnTo>
                      <a:pt x="436" y="105"/>
                    </a:lnTo>
                    <a:lnTo>
                      <a:pt x="440" y="107"/>
                    </a:lnTo>
                    <a:lnTo>
                      <a:pt x="443" y="107"/>
                    </a:lnTo>
                    <a:lnTo>
                      <a:pt x="448" y="108"/>
                    </a:lnTo>
                    <a:lnTo>
                      <a:pt x="451" y="111"/>
                    </a:lnTo>
                    <a:lnTo>
                      <a:pt x="454" y="115"/>
                    </a:lnTo>
                    <a:lnTo>
                      <a:pt x="454" y="118"/>
                    </a:lnTo>
                    <a:lnTo>
                      <a:pt x="451" y="121"/>
                    </a:lnTo>
                    <a:lnTo>
                      <a:pt x="448" y="123"/>
                    </a:lnTo>
                    <a:lnTo>
                      <a:pt x="444" y="126"/>
                    </a:lnTo>
                    <a:lnTo>
                      <a:pt x="443" y="129"/>
                    </a:lnTo>
                    <a:lnTo>
                      <a:pt x="446" y="126"/>
                    </a:lnTo>
                    <a:lnTo>
                      <a:pt x="446" y="129"/>
                    </a:lnTo>
                    <a:lnTo>
                      <a:pt x="443" y="132"/>
                    </a:lnTo>
                    <a:lnTo>
                      <a:pt x="443" y="134"/>
                    </a:lnTo>
                    <a:lnTo>
                      <a:pt x="441" y="135"/>
                    </a:lnTo>
                    <a:lnTo>
                      <a:pt x="441" y="137"/>
                    </a:lnTo>
                    <a:lnTo>
                      <a:pt x="440" y="140"/>
                    </a:lnTo>
                    <a:lnTo>
                      <a:pt x="438" y="145"/>
                    </a:lnTo>
                    <a:lnTo>
                      <a:pt x="438" y="148"/>
                    </a:lnTo>
                    <a:lnTo>
                      <a:pt x="433" y="148"/>
                    </a:lnTo>
                    <a:lnTo>
                      <a:pt x="430" y="146"/>
                    </a:lnTo>
                    <a:lnTo>
                      <a:pt x="427" y="148"/>
                    </a:lnTo>
                    <a:lnTo>
                      <a:pt x="424" y="146"/>
                    </a:lnTo>
                    <a:lnTo>
                      <a:pt x="422" y="146"/>
                    </a:lnTo>
                    <a:lnTo>
                      <a:pt x="421" y="148"/>
                    </a:lnTo>
                    <a:lnTo>
                      <a:pt x="425" y="149"/>
                    </a:lnTo>
                    <a:lnTo>
                      <a:pt x="429" y="151"/>
                    </a:lnTo>
                    <a:lnTo>
                      <a:pt x="432" y="151"/>
                    </a:lnTo>
                    <a:lnTo>
                      <a:pt x="435" y="156"/>
                    </a:lnTo>
                    <a:lnTo>
                      <a:pt x="438" y="153"/>
                    </a:lnTo>
                    <a:lnTo>
                      <a:pt x="441" y="151"/>
                    </a:lnTo>
                    <a:lnTo>
                      <a:pt x="441" y="154"/>
                    </a:lnTo>
                    <a:lnTo>
                      <a:pt x="448" y="148"/>
                    </a:lnTo>
                    <a:lnTo>
                      <a:pt x="449" y="148"/>
                    </a:lnTo>
                    <a:lnTo>
                      <a:pt x="452" y="148"/>
                    </a:lnTo>
                    <a:lnTo>
                      <a:pt x="455" y="146"/>
                    </a:lnTo>
                    <a:lnTo>
                      <a:pt x="459" y="149"/>
                    </a:lnTo>
                    <a:lnTo>
                      <a:pt x="463" y="149"/>
                    </a:lnTo>
                    <a:lnTo>
                      <a:pt x="463" y="149"/>
                    </a:lnTo>
                    <a:lnTo>
                      <a:pt x="468" y="146"/>
                    </a:lnTo>
                    <a:lnTo>
                      <a:pt x="471" y="146"/>
                    </a:lnTo>
                    <a:lnTo>
                      <a:pt x="475" y="146"/>
                    </a:lnTo>
                    <a:lnTo>
                      <a:pt x="479" y="149"/>
                    </a:lnTo>
                    <a:lnTo>
                      <a:pt x="481" y="149"/>
                    </a:lnTo>
                    <a:lnTo>
                      <a:pt x="481" y="149"/>
                    </a:lnTo>
                    <a:lnTo>
                      <a:pt x="482" y="153"/>
                    </a:lnTo>
                    <a:lnTo>
                      <a:pt x="486" y="156"/>
                    </a:lnTo>
                    <a:lnTo>
                      <a:pt x="487" y="159"/>
                    </a:lnTo>
                    <a:lnTo>
                      <a:pt x="486" y="162"/>
                    </a:lnTo>
                    <a:lnTo>
                      <a:pt x="482" y="164"/>
                    </a:lnTo>
                    <a:lnTo>
                      <a:pt x="482" y="164"/>
                    </a:lnTo>
                    <a:lnTo>
                      <a:pt x="481" y="167"/>
                    </a:lnTo>
                    <a:lnTo>
                      <a:pt x="478" y="170"/>
                    </a:lnTo>
                    <a:lnTo>
                      <a:pt x="475" y="172"/>
                    </a:lnTo>
                    <a:lnTo>
                      <a:pt x="471" y="175"/>
                    </a:lnTo>
                    <a:lnTo>
                      <a:pt x="468" y="178"/>
                    </a:lnTo>
                    <a:lnTo>
                      <a:pt x="468" y="178"/>
                    </a:lnTo>
                    <a:lnTo>
                      <a:pt x="463" y="178"/>
                    </a:lnTo>
                    <a:lnTo>
                      <a:pt x="460" y="180"/>
                    </a:lnTo>
                    <a:lnTo>
                      <a:pt x="459" y="183"/>
                    </a:lnTo>
                    <a:lnTo>
                      <a:pt x="457" y="188"/>
                    </a:lnTo>
                    <a:lnTo>
                      <a:pt x="454" y="189"/>
                    </a:lnTo>
                    <a:lnTo>
                      <a:pt x="454" y="192"/>
                    </a:lnTo>
                    <a:lnTo>
                      <a:pt x="457" y="197"/>
                    </a:lnTo>
                    <a:lnTo>
                      <a:pt x="457" y="200"/>
                    </a:lnTo>
                    <a:lnTo>
                      <a:pt x="457" y="203"/>
                    </a:lnTo>
                    <a:lnTo>
                      <a:pt x="460" y="207"/>
                    </a:lnTo>
                    <a:lnTo>
                      <a:pt x="463" y="205"/>
                    </a:lnTo>
                    <a:lnTo>
                      <a:pt x="467" y="207"/>
                    </a:lnTo>
                    <a:lnTo>
                      <a:pt x="468" y="208"/>
                    </a:lnTo>
                    <a:lnTo>
                      <a:pt x="467" y="211"/>
                    </a:lnTo>
                    <a:lnTo>
                      <a:pt x="465" y="216"/>
                    </a:lnTo>
                    <a:lnTo>
                      <a:pt x="463" y="214"/>
                    </a:lnTo>
                    <a:lnTo>
                      <a:pt x="459" y="218"/>
                    </a:lnTo>
                    <a:lnTo>
                      <a:pt x="455" y="219"/>
                    </a:lnTo>
                    <a:lnTo>
                      <a:pt x="452" y="222"/>
                    </a:lnTo>
                    <a:lnTo>
                      <a:pt x="449" y="221"/>
                    </a:lnTo>
                    <a:lnTo>
                      <a:pt x="446" y="221"/>
                    </a:lnTo>
                    <a:lnTo>
                      <a:pt x="444" y="224"/>
                    </a:lnTo>
                    <a:lnTo>
                      <a:pt x="441" y="224"/>
                    </a:lnTo>
                    <a:lnTo>
                      <a:pt x="436" y="224"/>
                    </a:lnTo>
                    <a:lnTo>
                      <a:pt x="435" y="227"/>
                    </a:lnTo>
                    <a:lnTo>
                      <a:pt x="435" y="230"/>
                    </a:lnTo>
                    <a:lnTo>
                      <a:pt x="436" y="234"/>
                    </a:lnTo>
                    <a:lnTo>
                      <a:pt x="436" y="241"/>
                    </a:lnTo>
                    <a:lnTo>
                      <a:pt x="438" y="245"/>
                    </a:lnTo>
                    <a:lnTo>
                      <a:pt x="435" y="248"/>
                    </a:lnTo>
                    <a:lnTo>
                      <a:pt x="430" y="251"/>
                    </a:lnTo>
                    <a:lnTo>
                      <a:pt x="430" y="253"/>
                    </a:lnTo>
                    <a:lnTo>
                      <a:pt x="427" y="256"/>
                    </a:lnTo>
                    <a:lnTo>
                      <a:pt x="433" y="264"/>
                    </a:lnTo>
                    <a:lnTo>
                      <a:pt x="438" y="272"/>
                    </a:lnTo>
                    <a:lnTo>
                      <a:pt x="441" y="275"/>
                    </a:lnTo>
                    <a:lnTo>
                      <a:pt x="444" y="280"/>
                    </a:lnTo>
                    <a:lnTo>
                      <a:pt x="448" y="283"/>
                    </a:lnTo>
                    <a:lnTo>
                      <a:pt x="449" y="286"/>
                    </a:lnTo>
                    <a:lnTo>
                      <a:pt x="452" y="289"/>
                    </a:lnTo>
                    <a:lnTo>
                      <a:pt x="454" y="292"/>
                    </a:lnTo>
                    <a:lnTo>
                      <a:pt x="454" y="294"/>
                    </a:lnTo>
                    <a:lnTo>
                      <a:pt x="454" y="299"/>
                    </a:lnTo>
                    <a:lnTo>
                      <a:pt x="452" y="302"/>
                    </a:lnTo>
                    <a:lnTo>
                      <a:pt x="448" y="303"/>
                    </a:lnTo>
                    <a:lnTo>
                      <a:pt x="444" y="306"/>
                    </a:lnTo>
                    <a:lnTo>
                      <a:pt x="441" y="310"/>
                    </a:lnTo>
                    <a:lnTo>
                      <a:pt x="440" y="313"/>
                    </a:lnTo>
                    <a:lnTo>
                      <a:pt x="436" y="314"/>
                    </a:lnTo>
                    <a:lnTo>
                      <a:pt x="433" y="314"/>
                    </a:lnTo>
                    <a:lnTo>
                      <a:pt x="433" y="314"/>
                    </a:lnTo>
                    <a:lnTo>
                      <a:pt x="429" y="314"/>
                    </a:lnTo>
                    <a:lnTo>
                      <a:pt x="429" y="318"/>
                    </a:lnTo>
                    <a:lnTo>
                      <a:pt x="424" y="318"/>
                    </a:lnTo>
                    <a:lnTo>
                      <a:pt x="421" y="319"/>
                    </a:lnTo>
                    <a:lnTo>
                      <a:pt x="421" y="322"/>
                    </a:lnTo>
                    <a:lnTo>
                      <a:pt x="417" y="325"/>
                    </a:lnTo>
                    <a:lnTo>
                      <a:pt x="413" y="324"/>
                    </a:lnTo>
                    <a:lnTo>
                      <a:pt x="406" y="329"/>
                    </a:lnTo>
                    <a:lnTo>
                      <a:pt x="403" y="329"/>
                    </a:lnTo>
                    <a:lnTo>
                      <a:pt x="400" y="330"/>
                    </a:lnTo>
                    <a:lnTo>
                      <a:pt x="397" y="332"/>
                    </a:lnTo>
                    <a:lnTo>
                      <a:pt x="392" y="330"/>
                    </a:lnTo>
                    <a:lnTo>
                      <a:pt x="389" y="329"/>
                    </a:lnTo>
                    <a:lnTo>
                      <a:pt x="386" y="329"/>
                    </a:lnTo>
                    <a:lnTo>
                      <a:pt x="383" y="333"/>
                    </a:lnTo>
                    <a:lnTo>
                      <a:pt x="379" y="333"/>
                    </a:lnTo>
                    <a:lnTo>
                      <a:pt x="376" y="333"/>
                    </a:lnTo>
                    <a:lnTo>
                      <a:pt x="375" y="337"/>
                    </a:lnTo>
                    <a:lnTo>
                      <a:pt x="375" y="341"/>
                    </a:lnTo>
                    <a:lnTo>
                      <a:pt x="375" y="345"/>
                    </a:lnTo>
                    <a:lnTo>
                      <a:pt x="376" y="348"/>
                    </a:lnTo>
                    <a:lnTo>
                      <a:pt x="375" y="351"/>
                    </a:lnTo>
                    <a:lnTo>
                      <a:pt x="370" y="352"/>
                    </a:lnTo>
                    <a:lnTo>
                      <a:pt x="367" y="352"/>
                    </a:lnTo>
                    <a:lnTo>
                      <a:pt x="363" y="349"/>
                    </a:lnTo>
                    <a:lnTo>
                      <a:pt x="362" y="345"/>
                    </a:lnTo>
                    <a:lnTo>
                      <a:pt x="359" y="341"/>
                    </a:lnTo>
                    <a:lnTo>
                      <a:pt x="356" y="338"/>
                    </a:lnTo>
                    <a:lnTo>
                      <a:pt x="352" y="337"/>
                    </a:lnTo>
                    <a:lnTo>
                      <a:pt x="349" y="340"/>
                    </a:lnTo>
                    <a:lnTo>
                      <a:pt x="346" y="340"/>
                    </a:lnTo>
                    <a:lnTo>
                      <a:pt x="343" y="337"/>
                    </a:lnTo>
                    <a:lnTo>
                      <a:pt x="340" y="338"/>
                    </a:lnTo>
                    <a:lnTo>
                      <a:pt x="337" y="337"/>
                    </a:lnTo>
                    <a:lnTo>
                      <a:pt x="332" y="338"/>
                    </a:lnTo>
                    <a:lnTo>
                      <a:pt x="329" y="340"/>
                    </a:lnTo>
                    <a:lnTo>
                      <a:pt x="327" y="335"/>
                    </a:lnTo>
                    <a:lnTo>
                      <a:pt x="325" y="332"/>
                    </a:lnTo>
                    <a:lnTo>
                      <a:pt x="324" y="330"/>
                    </a:lnTo>
                    <a:lnTo>
                      <a:pt x="322" y="329"/>
                    </a:lnTo>
                    <a:lnTo>
                      <a:pt x="316" y="329"/>
                    </a:lnTo>
                    <a:lnTo>
                      <a:pt x="310" y="330"/>
                    </a:lnTo>
                    <a:lnTo>
                      <a:pt x="308" y="327"/>
                    </a:lnTo>
                    <a:lnTo>
                      <a:pt x="308" y="325"/>
                    </a:lnTo>
                    <a:lnTo>
                      <a:pt x="303" y="324"/>
                    </a:lnTo>
                    <a:lnTo>
                      <a:pt x="302" y="327"/>
                    </a:lnTo>
                    <a:lnTo>
                      <a:pt x="305" y="330"/>
                    </a:lnTo>
                    <a:lnTo>
                      <a:pt x="306" y="333"/>
                    </a:lnTo>
                    <a:lnTo>
                      <a:pt x="311" y="341"/>
                    </a:lnTo>
                    <a:lnTo>
                      <a:pt x="314" y="345"/>
                    </a:lnTo>
                    <a:lnTo>
                      <a:pt x="319" y="348"/>
                    </a:lnTo>
                    <a:lnTo>
                      <a:pt x="322" y="351"/>
                    </a:lnTo>
                    <a:lnTo>
                      <a:pt x="322" y="354"/>
                    </a:lnTo>
                    <a:lnTo>
                      <a:pt x="321" y="360"/>
                    </a:lnTo>
                    <a:lnTo>
                      <a:pt x="322" y="367"/>
                    </a:lnTo>
                    <a:lnTo>
                      <a:pt x="321" y="368"/>
                    </a:lnTo>
                    <a:lnTo>
                      <a:pt x="322" y="371"/>
                    </a:lnTo>
                    <a:lnTo>
                      <a:pt x="325" y="378"/>
                    </a:lnTo>
                    <a:lnTo>
                      <a:pt x="327" y="381"/>
                    </a:lnTo>
                    <a:lnTo>
                      <a:pt x="329" y="386"/>
                    </a:lnTo>
                    <a:lnTo>
                      <a:pt x="330" y="389"/>
                    </a:lnTo>
                    <a:lnTo>
                      <a:pt x="327" y="395"/>
                    </a:lnTo>
                    <a:lnTo>
                      <a:pt x="333" y="398"/>
                    </a:lnTo>
                    <a:lnTo>
                      <a:pt x="338" y="400"/>
                    </a:lnTo>
                    <a:lnTo>
                      <a:pt x="343" y="398"/>
                    </a:lnTo>
                    <a:lnTo>
                      <a:pt x="352" y="400"/>
                    </a:lnTo>
                    <a:lnTo>
                      <a:pt x="351" y="403"/>
                    </a:lnTo>
                    <a:lnTo>
                      <a:pt x="351" y="408"/>
                    </a:lnTo>
                    <a:lnTo>
                      <a:pt x="351" y="408"/>
                    </a:lnTo>
                    <a:lnTo>
                      <a:pt x="349" y="411"/>
                    </a:lnTo>
                    <a:lnTo>
                      <a:pt x="346" y="411"/>
                    </a:lnTo>
                    <a:lnTo>
                      <a:pt x="343" y="413"/>
                    </a:lnTo>
                    <a:lnTo>
                      <a:pt x="340" y="416"/>
                    </a:lnTo>
                    <a:lnTo>
                      <a:pt x="337" y="419"/>
                    </a:lnTo>
                    <a:lnTo>
                      <a:pt x="332" y="417"/>
                    </a:lnTo>
                    <a:lnTo>
                      <a:pt x="329" y="419"/>
                    </a:lnTo>
                    <a:lnTo>
                      <a:pt x="327" y="422"/>
                    </a:lnTo>
                    <a:lnTo>
                      <a:pt x="327" y="425"/>
                    </a:lnTo>
                    <a:lnTo>
                      <a:pt x="325" y="429"/>
                    </a:lnTo>
                    <a:lnTo>
                      <a:pt x="325" y="433"/>
                    </a:lnTo>
                    <a:lnTo>
                      <a:pt x="322" y="435"/>
                    </a:lnTo>
                    <a:lnTo>
                      <a:pt x="317" y="440"/>
                    </a:lnTo>
                    <a:lnTo>
                      <a:pt x="316" y="443"/>
                    </a:lnTo>
                    <a:lnTo>
                      <a:pt x="314" y="440"/>
                    </a:lnTo>
                    <a:lnTo>
                      <a:pt x="311" y="438"/>
                    </a:lnTo>
                    <a:lnTo>
                      <a:pt x="308" y="441"/>
                    </a:lnTo>
                    <a:lnTo>
                      <a:pt x="306" y="444"/>
                    </a:lnTo>
                    <a:lnTo>
                      <a:pt x="303" y="446"/>
                    </a:lnTo>
                    <a:lnTo>
                      <a:pt x="300" y="448"/>
                    </a:lnTo>
                    <a:lnTo>
                      <a:pt x="297" y="449"/>
                    </a:lnTo>
                    <a:lnTo>
                      <a:pt x="294" y="451"/>
                    </a:lnTo>
                    <a:lnTo>
                      <a:pt x="292" y="451"/>
                    </a:lnTo>
                    <a:lnTo>
                      <a:pt x="289" y="452"/>
                    </a:lnTo>
                    <a:lnTo>
                      <a:pt x="286" y="456"/>
                    </a:lnTo>
                    <a:lnTo>
                      <a:pt x="286" y="459"/>
                    </a:lnTo>
                    <a:lnTo>
                      <a:pt x="283" y="462"/>
                    </a:lnTo>
                    <a:lnTo>
                      <a:pt x="279" y="463"/>
                    </a:lnTo>
                    <a:lnTo>
                      <a:pt x="278" y="467"/>
                    </a:lnTo>
                    <a:lnTo>
                      <a:pt x="276" y="470"/>
                    </a:lnTo>
                    <a:lnTo>
                      <a:pt x="273" y="473"/>
                    </a:lnTo>
                    <a:lnTo>
                      <a:pt x="271" y="468"/>
                    </a:lnTo>
                    <a:lnTo>
                      <a:pt x="273" y="465"/>
                    </a:lnTo>
                    <a:lnTo>
                      <a:pt x="273" y="462"/>
                    </a:lnTo>
                    <a:lnTo>
                      <a:pt x="270" y="459"/>
                    </a:lnTo>
                    <a:lnTo>
                      <a:pt x="267" y="459"/>
                    </a:lnTo>
                    <a:lnTo>
                      <a:pt x="262" y="460"/>
                    </a:lnTo>
                    <a:lnTo>
                      <a:pt x="259" y="462"/>
                    </a:lnTo>
                    <a:lnTo>
                      <a:pt x="256" y="467"/>
                    </a:lnTo>
                    <a:lnTo>
                      <a:pt x="252" y="467"/>
                    </a:lnTo>
                    <a:lnTo>
                      <a:pt x="249" y="468"/>
                    </a:lnTo>
                    <a:lnTo>
                      <a:pt x="246" y="468"/>
                    </a:lnTo>
                    <a:lnTo>
                      <a:pt x="243" y="467"/>
                    </a:lnTo>
                    <a:lnTo>
                      <a:pt x="241" y="465"/>
                    </a:lnTo>
                    <a:lnTo>
                      <a:pt x="237" y="460"/>
                    </a:lnTo>
                    <a:lnTo>
                      <a:pt x="232" y="456"/>
                    </a:lnTo>
                    <a:lnTo>
                      <a:pt x="229" y="452"/>
                    </a:lnTo>
                    <a:lnTo>
                      <a:pt x="224" y="449"/>
                    </a:lnTo>
                    <a:lnTo>
                      <a:pt x="224" y="449"/>
                    </a:lnTo>
                    <a:lnTo>
                      <a:pt x="224" y="444"/>
                    </a:lnTo>
                    <a:lnTo>
                      <a:pt x="224" y="441"/>
                    </a:lnTo>
                    <a:lnTo>
                      <a:pt x="222" y="438"/>
                    </a:lnTo>
                    <a:lnTo>
                      <a:pt x="219" y="427"/>
                    </a:lnTo>
                    <a:lnTo>
                      <a:pt x="214" y="417"/>
                    </a:lnTo>
                    <a:lnTo>
                      <a:pt x="216" y="416"/>
                    </a:lnTo>
                    <a:lnTo>
                      <a:pt x="216" y="413"/>
                    </a:lnTo>
                    <a:lnTo>
                      <a:pt x="213" y="410"/>
                    </a:lnTo>
                    <a:lnTo>
                      <a:pt x="213" y="406"/>
                    </a:lnTo>
                    <a:lnTo>
                      <a:pt x="214" y="402"/>
                    </a:lnTo>
                    <a:lnTo>
                      <a:pt x="210" y="398"/>
                    </a:lnTo>
                    <a:lnTo>
                      <a:pt x="206" y="395"/>
                    </a:lnTo>
                    <a:lnTo>
                      <a:pt x="205" y="392"/>
                    </a:lnTo>
                    <a:lnTo>
                      <a:pt x="202" y="389"/>
                    </a:lnTo>
                    <a:lnTo>
                      <a:pt x="200" y="386"/>
                    </a:lnTo>
                    <a:lnTo>
                      <a:pt x="195" y="384"/>
                    </a:lnTo>
                    <a:lnTo>
                      <a:pt x="192" y="383"/>
                    </a:lnTo>
                    <a:lnTo>
                      <a:pt x="191" y="384"/>
                    </a:lnTo>
                    <a:lnTo>
                      <a:pt x="191" y="381"/>
                    </a:lnTo>
                    <a:lnTo>
                      <a:pt x="195" y="378"/>
                    </a:lnTo>
                    <a:lnTo>
                      <a:pt x="199" y="373"/>
                    </a:lnTo>
                    <a:lnTo>
                      <a:pt x="202" y="368"/>
                    </a:lnTo>
                    <a:lnTo>
                      <a:pt x="205" y="365"/>
                    </a:lnTo>
                    <a:lnTo>
                      <a:pt x="206" y="365"/>
                    </a:lnTo>
                    <a:lnTo>
                      <a:pt x="210" y="362"/>
                    </a:lnTo>
                    <a:lnTo>
                      <a:pt x="211" y="359"/>
                    </a:lnTo>
                    <a:lnTo>
                      <a:pt x="206" y="356"/>
                    </a:lnTo>
                    <a:lnTo>
                      <a:pt x="206" y="352"/>
                    </a:lnTo>
                    <a:lnTo>
                      <a:pt x="205" y="349"/>
                    </a:lnTo>
                    <a:lnTo>
                      <a:pt x="202" y="346"/>
                    </a:lnTo>
                    <a:lnTo>
                      <a:pt x="199" y="343"/>
                    </a:lnTo>
                    <a:lnTo>
                      <a:pt x="197" y="340"/>
                    </a:lnTo>
                    <a:lnTo>
                      <a:pt x="197" y="335"/>
                    </a:lnTo>
                    <a:lnTo>
                      <a:pt x="197" y="333"/>
                    </a:lnTo>
                    <a:lnTo>
                      <a:pt x="195" y="332"/>
                    </a:lnTo>
                    <a:lnTo>
                      <a:pt x="194" y="329"/>
                    </a:lnTo>
                    <a:lnTo>
                      <a:pt x="192" y="325"/>
                    </a:lnTo>
                    <a:lnTo>
                      <a:pt x="194" y="321"/>
                    </a:lnTo>
                    <a:lnTo>
                      <a:pt x="194" y="318"/>
                    </a:lnTo>
                    <a:lnTo>
                      <a:pt x="191" y="314"/>
                    </a:lnTo>
                    <a:lnTo>
                      <a:pt x="192" y="311"/>
                    </a:lnTo>
                    <a:lnTo>
                      <a:pt x="192" y="306"/>
                    </a:lnTo>
                    <a:lnTo>
                      <a:pt x="194" y="303"/>
                    </a:lnTo>
                    <a:lnTo>
                      <a:pt x="194" y="300"/>
                    </a:lnTo>
                    <a:lnTo>
                      <a:pt x="194" y="297"/>
                    </a:lnTo>
                    <a:lnTo>
                      <a:pt x="194" y="294"/>
                    </a:lnTo>
                    <a:lnTo>
                      <a:pt x="195" y="292"/>
                    </a:lnTo>
                    <a:lnTo>
                      <a:pt x="194" y="289"/>
                    </a:lnTo>
                    <a:lnTo>
                      <a:pt x="194" y="286"/>
                    </a:lnTo>
                    <a:lnTo>
                      <a:pt x="194" y="283"/>
                    </a:lnTo>
                    <a:lnTo>
                      <a:pt x="194" y="280"/>
                    </a:lnTo>
                    <a:lnTo>
                      <a:pt x="194" y="280"/>
                    </a:lnTo>
                    <a:lnTo>
                      <a:pt x="197" y="276"/>
                    </a:lnTo>
                    <a:lnTo>
                      <a:pt x="202" y="273"/>
                    </a:lnTo>
                    <a:lnTo>
                      <a:pt x="202" y="270"/>
                    </a:lnTo>
                    <a:lnTo>
                      <a:pt x="202" y="264"/>
                    </a:lnTo>
                    <a:lnTo>
                      <a:pt x="203" y="260"/>
                    </a:lnTo>
                    <a:lnTo>
                      <a:pt x="206" y="257"/>
                    </a:lnTo>
                    <a:lnTo>
                      <a:pt x="210" y="253"/>
                    </a:lnTo>
                    <a:lnTo>
                      <a:pt x="206" y="249"/>
                    </a:lnTo>
                    <a:lnTo>
                      <a:pt x="208" y="245"/>
                    </a:lnTo>
                    <a:lnTo>
                      <a:pt x="206" y="245"/>
                    </a:lnTo>
                    <a:lnTo>
                      <a:pt x="203" y="243"/>
                    </a:lnTo>
                    <a:lnTo>
                      <a:pt x="200" y="241"/>
                    </a:lnTo>
                    <a:lnTo>
                      <a:pt x="197" y="241"/>
                    </a:lnTo>
                    <a:lnTo>
                      <a:pt x="194" y="241"/>
                    </a:lnTo>
                    <a:lnTo>
                      <a:pt x="191" y="245"/>
                    </a:lnTo>
                    <a:lnTo>
                      <a:pt x="186" y="245"/>
                    </a:lnTo>
                    <a:lnTo>
                      <a:pt x="183" y="245"/>
                    </a:lnTo>
                    <a:lnTo>
                      <a:pt x="180" y="246"/>
                    </a:lnTo>
                    <a:lnTo>
                      <a:pt x="176" y="246"/>
                    </a:lnTo>
                    <a:lnTo>
                      <a:pt x="172" y="246"/>
                    </a:lnTo>
                    <a:lnTo>
                      <a:pt x="168" y="246"/>
                    </a:lnTo>
                    <a:lnTo>
                      <a:pt x="165" y="248"/>
                    </a:lnTo>
                    <a:lnTo>
                      <a:pt x="162" y="246"/>
                    </a:lnTo>
                    <a:lnTo>
                      <a:pt x="156" y="245"/>
                    </a:lnTo>
                    <a:lnTo>
                      <a:pt x="153" y="245"/>
                    </a:lnTo>
                    <a:lnTo>
                      <a:pt x="149" y="246"/>
                    </a:lnTo>
                    <a:lnTo>
                      <a:pt x="145" y="249"/>
                    </a:lnTo>
                    <a:lnTo>
                      <a:pt x="141" y="248"/>
                    </a:lnTo>
                    <a:lnTo>
                      <a:pt x="137" y="248"/>
                    </a:lnTo>
                    <a:lnTo>
                      <a:pt x="129" y="235"/>
                    </a:lnTo>
                    <a:lnTo>
                      <a:pt x="119" y="222"/>
                    </a:lnTo>
                    <a:lnTo>
                      <a:pt x="118" y="219"/>
                    </a:lnTo>
                    <a:lnTo>
                      <a:pt x="116" y="216"/>
                    </a:lnTo>
                    <a:lnTo>
                      <a:pt x="113" y="213"/>
                    </a:lnTo>
                    <a:lnTo>
                      <a:pt x="113" y="213"/>
                    </a:lnTo>
                    <a:lnTo>
                      <a:pt x="110" y="214"/>
                    </a:lnTo>
                    <a:lnTo>
                      <a:pt x="107" y="214"/>
                    </a:lnTo>
                    <a:lnTo>
                      <a:pt x="103" y="213"/>
                    </a:lnTo>
                    <a:lnTo>
                      <a:pt x="99" y="211"/>
                    </a:lnTo>
                    <a:lnTo>
                      <a:pt x="95" y="210"/>
                    </a:lnTo>
                    <a:lnTo>
                      <a:pt x="92" y="208"/>
                    </a:lnTo>
                    <a:lnTo>
                      <a:pt x="89" y="210"/>
                    </a:lnTo>
                    <a:lnTo>
                      <a:pt x="84" y="211"/>
                    </a:lnTo>
                    <a:lnTo>
                      <a:pt x="81" y="213"/>
                    </a:lnTo>
                    <a:lnTo>
                      <a:pt x="78" y="213"/>
                    </a:lnTo>
                    <a:lnTo>
                      <a:pt x="75" y="213"/>
                    </a:lnTo>
                    <a:lnTo>
                      <a:pt x="70" y="211"/>
                    </a:lnTo>
                    <a:lnTo>
                      <a:pt x="67" y="211"/>
                    </a:lnTo>
                    <a:lnTo>
                      <a:pt x="64" y="211"/>
                    </a:lnTo>
                    <a:lnTo>
                      <a:pt x="59" y="210"/>
                    </a:lnTo>
                    <a:lnTo>
                      <a:pt x="56" y="211"/>
                    </a:lnTo>
                    <a:lnTo>
                      <a:pt x="53" y="213"/>
                    </a:lnTo>
                    <a:lnTo>
                      <a:pt x="48" y="211"/>
                    </a:lnTo>
                    <a:lnTo>
                      <a:pt x="48" y="211"/>
                    </a:lnTo>
                    <a:lnTo>
                      <a:pt x="45" y="210"/>
                    </a:lnTo>
                    <a:lnTo>
                      <a:pt x="43" y="210"/>
                    </a:lnTo>
                    <a:lnTo>
                      <a:pt x="42" y="207"/>
                    </a:lnTo>
                    <a:lnTo>
                      <a:pt x="42" y="203"/>
                    </a:lnTo>
                    <a:lnTo>
                      <a:pt x="40" y="202"/>
                    </a:lnTo>
                    <a:lnTo>
                      <a:pt x="42" y="199"/>
                    </a:lnTo>
                    <a:lnTo>
                      <a:pt x="37" y="197"/>
                    </a:lnTo>
                    <a:lnTo>
                      <a:pt x="34" y="195"/>
                    </a:lnTo>
                    <a:lnTo>
                      <a:pt x="32" y="195"/>
                    </a:lnTo>
                    <a:lnTo>
                      <a:pt x="30" y="192"/>
                    </a:lnTo>
                    <a:lnTo>
                      <a:pt x="30" y="189"/>
                    </a:lnTo>
                    <a:lnTo>
                      <a:pt x="30" y="186"/>
                    </a:lnTo>
                    <a:lnTo>
                      <a:pt x="30" y="181"/>
                    </a:lnTo>
                    <a:lnTo>
                      <a:pt x="32" y="180"/>
                    </a:lnTo>
                    <a:lnTo>
                      <a:pt x="32" y="176"/>
                    </a:lnTo>
                    <a:lnTo>
                      <a:pt x="32" y="172"/>
                    </a:lnTo>
                    <a:lnTo>
                      <a:pt x="37" y="170"/>
                    </a:lnTo>
                    <a:lnTo>
                      <a:pt x="37" y="165"/>
                    </a:lnTo>
                    <a:lnTo>
                      <a:pt x="35" y="162"/>
                    </a:lnTo>
                    <a:lnTo>
                      <a:pt x="35" y="159"/>
                    </a:lnTo>
                    <a:lnTo>
                      <a:pt x="34" y="156"/>
                    </a:lnTo>
                    <a:lnTo>
                      <a:pt x="34" y="156"/>
                    </a:lnTo>
                    <a:lnTo>
                      <a:pt x="30" y="151"/>
                    </a:lnTo>
                    <a:lnTo>
                      <a:pt x="27" y="148"/>
                    </a:lnTo>
                    <a:lnTo>
                      <a:pt x="26" y="146"/>
                    </a:lnTo>
                    <a:lnTo>
                      <a:pt x="26" y="145"/>
                    </a:lnTo>
                    <a:lnTo>
                      <a:pt x="24" y="142"/>
                    </a:lnTo>
                    <a:lnTo>
                      <a:pt x="24" y="138"/>
                    </a:lnTo>
                    <a:lnTo>
                      <a:pt x="24" y="135"/>
                    </a:lnTo>
                    <a:lnTo>
                      <a:pt x="22" y="132"/>
                    </a:lnTo>
                    <a:lnTo>
                      <a:pt x="22" y="127"/>
                    </a:lnTo>
                    <a:lnTo>
                      <a:pt x="21" y="127"/>
                    </a:lnTo>
                    <a:lnTo>
                      <a:pt x="22" y="126"/>
                    </a:lnTo>
                    <a:lnTo>
                      <a:pt x="19" y="126"/>
                    </a:lnTo>
                    <a:lnTo>
                      <a:pt x="16" y="126"/>
                    </a:lnTo>
                    <a:lnTo>
                      <a:pt x="16" y="123"/>
                    </a:lnTo>
                    <a:lnTo>
                      <a:pt x="15" y="118"/>
                    </a:lnTo>
                    <a:lnTo>
                      <a:pt x="11" y="121"/>
                    </a:lnTo>
                    <a:lnTo>
                      <a:pt x="7" y="123"/>
                    </a:lnTo>
                    <a:lnTo>
                      <a:pt x="3" y="124"/>
                    </a:lnTo>
                    <a:lnTo>
                      <a:pt x="0" y="12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25" name="Freeform 746"/>
              <p:cNvSpPr>
                <a:spLocks/>
              </p:cNvSpPr>
              <p:nvPr/>
            </p:nvSpPr>
            <p:spPr bwMode="auto">
              <a:xfrm>
                <a:off x="1443" y="2260"/>
                <a:ext cx="11" cy="7"/>
              </a:xfrm>
              <a:custGeom>
                <a:avLst/>
                <a:gdLst>
                  <a:gd name="T0" fmla="*/ 11 w 22"/>
                  <a:gd name="T1" fmla="*/ 12 h 12"/>
                  <a:gd name="T2" fmla="*/ 9 w 22"/>
                  <a:gd name="T3" fmla="*/ 9 h 12"/>
                  <a:gd name="T4" fmla="*/ 4 w 22"/>
                  <a:gd name="T5" fmla="*/ 9 h 12"/>
                  <a:gd name="T6" fmla="*/ 1 w 22"/>
                  <a:gd name="T7" fmla="*/ 9 h 12"/>
                  <a:gd name="T8" fmla="*/ 0 w 22"/>
                  <a:gd name="T9" fmla="*/ 6 h 12"/>
                  <a:gd name="T10" fmla="*/ 3 w 22"/>
                  <a:gd name="T11" fmla="*/ 4 h 12"/>
                  <a:gd name="T12" fmla="*/ 8 w 22"/>
                  <a:gd name="T13" fmla="*/ 4 h 12"/>
                  <a:gd name="T14" fmla="*/ 9 w 22"/>
                  <a:gd name="T15" fmla="*/ 8 h 12"/>
                  <a:gd name="T16" fmla="*/ 12 w 22"/>
                  <a:gd name="T17" fmla="*/ 6 h 12"/>
                  <a:gd name="T18" fmla="*/ 15 w 22"/>
                  <a:gd name="T19" fmla="*/ 3 h 12"/>
                  <a:gd name="T20" fmla="*/ 19 w 22"/>
                  <a:gd name="T21" fmla="*/ 0 h 12"/>
                  <a:gd name="T22" fmla="*/ 20 w 22"/>
                  <a:gd name="T23" fmla="*/ 3 h 12"/>
                  <a:gd name="T24" fmla="*/ 22 w 22"/>
                  <a:gd name="T25" fmla="*/ 8 h 12"/>
                  <a:gd name="T26" fmla="*/ 17 w 22"/>
                  <a:gd name="T27" fmla="*/ 9 h 12"/>
                  <a:gd name="T28" fmla="*/ 14 w 22"/>
                  <a:gd name="T29" fmla="*/ 11 h 12"/>
                  <a:gd name="T30" fmla="*/ 11 w 22"/>
                  <a:gd name="T31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2" h="12">
                    <a:moveTo>
                      <a:pt x="11" y="12"/>
                    </a:moveTo>
                    <a:lnTo>
                      <a:pt x="9" y="9"/>
                    </a:lnTo>
                    <a:lnTo>
                      <a:pt x="4" y="9"/>
                    </a:lnTo>
                    <a:lnTo>
                      <a:pt x="1" y="9"/>
                    </a:lnTo>
                    <a:lnTo>
                      <a:pt x="0" y="6"/>
                    </a:lnTo>
                    <a:lnTo>
                      <a:pt x="3" y="4"/>
                    </a:lnTo>
                    <a:lnTo>
                      <a:pt x="8" y="4"/>
                    </a:lnTo>
                    <a:lnTo>
                      <a:pt x="9" y="8"/>
                    </a:lnTo>
                    <a:lnTo>
                      <a:pt x="12" y="6"/>
                    </a:lnTo>
                    <a:lnTo>
                      <a:pt x="15" y="3"/>
                    </a:lnTo>
                    <a:lnTo>
                      <a:pt x="19" y="0"/>
                    </a:lnTo>
                    <a:lnTo>
                      <a:pt x="20" y="3"/>
                    </a:lnTo>
                    <a:lnTo>
                      <a:pt x="22" y="8"/>
                    </a:lnTo>
                    <a:lnTo>
                      <a:pt x="17" y="9"/>
                    </a:lnTo>
                    <a:lnTo>
                      <a:pt x="14" y="11"/>
                    </a:lnTo>
                    <a:lnTo>
                      <a:pt x="11" y="1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26" name="Freeform 747"/>
              <p:cNvSpPr>
                <a:spLocks/>
              </p:cNvSpPr>
              <p:nvPr/>
            </p:nvSpPr>
            <p:spPr bwMode="auto">
              <a:xfrm>
                <a:off x="1264" y="2264"/>
                <a:ext cx="2" cy="1"/>
              </a:xfrm>
              <a:custGeom>
                <a:avLst/>
                <a:gdLst>
                  <a:gd name="T0" fmla="*/ 0 w 3"/>
                  <a:gd name="T1" fmla="*/ 2 h 2"/>
                  <a:gd name="T2" fmla="*/ 3 w 3"/>
                  <a:gd name="T3" fmla="*/ 0 h 2"/>
                  <a:gd name="T4" fmla="*/ 3 w 3"/>
                  <a:gd name="T5" fmla="*/ 2 h 2"/>
                  <a:gd name="T6" fmla="*/ 0 w 3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0" y="2"/>
                    </a:moveTo>
                    <a:lnTo>
                      <a:pt x="3" y="0"/>
                    </a:lnTo>
                    <a:lnTo>
                      <a:pt x="3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sp>
          <p:nvSpPr>
            <p:cNvPr id="376" name="Freeform 748"/>
            <p:cNvSpPr>
              <a:spLocks/>
            </p:cNvSpPr>
            <p:nvPr/>
          </p:nvSpPr>
          <p:spPr bwMode="auto">
            <a:xfrm>
              <a:off x="3268243" y="4399059"/>
              <a:ext cx="323479" cy="578810"/>
            </a:xfrm>
            <a:custGeom>
              <a:avLst/>
              <a:gdLst>
                <a:gd name="T0" fmla="*/ 17 w 439"/>
                <a:gd name="T1" fmla="*/ 433 h 684"/>
                <a:gd name="T2" fmla="*/ 28 w 439"/>
                <a:gd name="T3" fmla="*/ 408 h 684"/>
                <a:gd name="T4" fmla="*/ 47 w 439"/>
                <a:gd name="T5" fmla="*/ 403 h 684"/>
                <a:gd name="T6" fmla="*/ 58 w 439"/>
                <a:gd name="T7" fmla="*/ 378 h 684"/>
                <a:gd name="T8" fmla="*/ 73 w 439"/>
                <a:gd name="T9" fmla="*/ 351 h 684"/>
                <a:gd name="T10" fmla="*/ 61 w 439"/>
                <a:gd name="T11" fmla="*/ 340 h 684"/>
                <a:gd name="T12" fmla="*/ 65 w 439"/>
                <a:gd name="T13" fmla="*/ 311 h 684"/>
                <a:gd name="T14" fmla="*/ 63 w 439"/>
                <a:gd name="T15" fmla="*/ 279 h 684"/>
                <a:gd name="T16" fmla="*/ 66 w 439"/>
                <a:gd name="T17" fmla="*/ 245 h 684"/>
                <a:gd name="T18" fmla="*/ 49 w 439"/>
                <a:gd name="T19" fmla="*/ 214 h 684"/>
                <a:gd name="T20" fmla="*/ 71 w 439"/>
                <a:gd name="T21" fmla="*/ 194 h 684"/>
                <a:gd name="T22" fmla="*/ 68 w 439"/>
                <a:gd name="T23" fmla="*/ 159 h 684"/>
                <a:gd name="T24" fmla="*/ 85 w 439"/>
                <a:gd name="T25" fmla="*/ 176 h 684"/>
                <a:gd name="T26" fmla="*/ 92 w 439"/>
                <a:gd name="T27" fmla="*/ 168 h 684"/>
                <a:gd name="T28" fmla="*/ 109 w 439"/>
                <a:gd name="T29" fmla="*/ 145 h 684"/>
                <a:gd name="T30" fmla="*/ 138 w 439"/>
                <a:gd name="T31" fmla="*/ 119 h 684"/>
                <a:gd name="T32" fmla="*/ 138 w 439"/>
                <a:gd name="T33" fmla="*/ 94 h 684"/>
                <a:gd name="T34" fmla="*/ 160 w 439"/>
                <a:gd name="T35" fmla="*/ 64 h 684"/>
                <a:gd name="T36" fmla="*/ 180 w 439"/>
                <a:gd name="T37" fmla="*/ 64 h 684"/>
                <a:gd name="T38" fmla="*/ 201 w 439"/>
                <a:gd name="T39" fmla="*/ 48 h 684"/>
                <a:gd name="T40" fmla="*/ 245 w 439"/>
                <a:gd name="T41" fmla="*/ 30 h 684"/>
                <a:gd name="T42" fmla="*/ 268 w 439"/>
                <a:gd name="T43" fmla="*/ 10 h 684"/>
                <a:gd name="T44" fmla="*/ 290 w 439"/>
                <a:gd name="T45" fmla="*/ 0 h 684"/>
                <a:gd name="T46" fmla="*/ 291 w 439"/>
                <a:gd name="T47" fmla="*/ 27 h 684"/>
                <a:gd name="T48" fmla="*/ 245 w 439"/>
                <a:gd name="T49" fmla="*/ 65 h 684"/>
                <a:gd name="T50" fmla="*/ 233 w 439"/>
                <a:gd name="T51" fmla="*/ 105 h 684"/>
                <a:gd name="T52" fmla="*/ 226 w 439"/>
                <a:gd name="T53" fmla="*/ 132 h 684"/>
                <a:gd name="T54" fmla="*/ 239 w 439"/>
                <a:gd name="T55" fmla="*/ 149 h 684"/>
                <a:gd name="T56" fmla="*/ 252 w 439"/>
                <a:gd name="T57" fmla="*/ 176 h 684"/>
                <a:gd name="T58" fmla="*/ 249 w 439"/>
                <a:gd name="T59" fmla="*/ 206 h 684"/>
                <a:gd name="T60" fmla="*/ 268 w 439"/>
                <a:gd name="T61" fmla="*/ 224 h 684"/>
                <a:gd name="T62" fmla="*/ 304 w 439"/>
                <a:gd name="T63" fmla="*/ 221 h 684"/>
                <a:gd name="T64" fmla="*/ 333 w 439"/>
                <a:gd name="T65" fmla="*/ 230 h 684"/>
                <a:gd name="T66" fmla="*/ 380 w 439"/>
                <a:gd name="T67" fmla="*/ 259 h 684"/>
                <a:gd name="T68" fmla="*/ 418 w 439"/>
                <a:gd name="T69" fmla="*/ 252 h 684"/>
                <a:gd name="T70" fmla="*/ 417 w 439"/>
                <a:gd name="T71" fmla="*/ 284 h 684"/>
                <a:gd name="T72" fmla="*/ 409 w 439"/>
                <a:gd name="T73" fmla="*/ 311 h 684"/>
                <a:gd name="T74" fmla="*/ 412 w 439"/>
                <a:gd name="T75" fmla="*/ 344 h 684"/>
                <a:gd name="T76" fmla="*/ 421 w 439"/>
                <a:gd name="T77" fmla="*/ 376 h 684"/>
                <a:gd name="T78" fmla="*/ 417 w 439"/>
                <a:gd name="T79" fmla="*/ 400 h 684"/>
                <a:gd name="T80" fmla="*/ 433 w 439"/>
                <a:gd name="T81" fmla="*/ 432 h 684"/>
                <a:gd name="T82" fmla="*/ 431 w 439"/>
                <a:gd name="T83" fmla="*/ 440 h 684"/>
                <a:gd name="T84" fmla="*/ 404 w 439"/>
                <a:gd name="T85" fmla="*/ 438 h 684"/>
                <a:gd name="T86" fmla="*/ 349 w 439"/>
                <a:gd name="T87" fmla="*/ 440 h 684"/>
                <a:gd name="T88" fmla="*/ 349 w 439"/>
                <a:gd name="T89" fmla="*/ 467 h 684"/>
                <a:gd name="T90" fmla="*/ 341 w 439"/>
                <a:gd name="T91" fmla="*/ 484 h 684"/>
                <a:gd name="T92" fmla="*/ 326 w 439"/>
                <a:gd name="T93" fmla="*/ 519 h 684"/>
                <a:gd name="T94" fmla="*/ 344 w 439"/>
                <a:gd name="T95" fmla="*/ 547 h 684"/>
                <a:gd name="T96" fmla="*/ 345 w 439"/>
                <a:gd name="T97" fmla="*/ 576 h 684"/>
                <a:gd name="T98" fmla="*/ 315 w 439"/>
                <a:gd name="T99" fmla="*/ 665 h 684"/>
                <a:gd name="T100" fmla="*/ 320 w 439"/>
                <a:gd name="T101" fmla="*/ 633 h 684"/>
                <a:gd name="T102" fmla="*/ 299 w 439"/>
                <a:gd name="T103" fmla="*/ 603 h 684"/>
                <a:gd name="T104" fmla="*/ 263 w 439"/>
                <a:gd name="T105" fmla="*/ 600 h 684"/>
                <a:gd name="T106" fmla="*/ 230 w 439"/>
                <a:gd name="T107" fmla="*/ 609 h 684"/>
                <a:gd name="T108" fmla="*/ 211 w 439"/>
                <a:gd name="T109" fmla="*/ 585 h 684"/>
                <a:gd name="T110" fmla="*/ 187 w 439"/>
                <a:gd name="T111" fmla="*/ 560 h 684"/>
                <a:gd name="T112" fmla="*/ 168 w 439"/>
                <a:gd name="T113" fmla="*/ 533 h 684"/>
                <a:gd name="T114" fmla="*/ 138 w 439"/>
                <a:gd name="T115" fmla="*/ 511 h 684"/>
                <a:gd name="T116" fmla="*/ 107 w 439"/>
                <a:gd name="T117" fmla="*/ 495 h 684"/>
                <a:gd name="T118" fmla="*/ 76 w 439"/>
                <a:gd name="T119" fmla="*/ 498 h 684"/>
                <a:gd name="T120" fmla="*/ 52 w 439"/>
                <a:gd name="T121" fmla="*/ 482 h 684"/>
                <a:gd name="T122" fmla="*/ 23 w 439"/>
                <a:gd name="T123" fmla="*/ 465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39" h="684">
                  <a:moveTo>
                    <a:pt x="3" y="444"/>
                  </a:moveTo>
                  <a:lnTo>
                    <a:pt x="3" y="444"/>
                  </a:lnTo>
                  <a:lnTo>
                    <a:pt x="0" y="444"/>
                  </a:lnTo>
                  <a:lnTo>
                    <a:pt x="1" y="441"/>
                  </a:lnTo>
                  <a:lnTo>
                    <a:pt x="3" y="436"/>
                  </a:lnTo>
                  <a:lnTo>
                    <a:pt x="8" y="435"/>
                  </a:lnTo>
                  <a:lnTo>
                    <a:pt x="11" y="436"/>
                  </a:lnTo>
                  <a:lnTo>
                    <a:pt x="12" y="436"/>
                  </a:lnTo>
                  <a:lnTo>
                    <a:pt x="17" y="436"/>
                  </a:lnTo>
                  <a:lnTo>
                    <a:pt x="17" y="433"/>
                  </a:lnTo>
                  <a:lnTo>
                    <a:pt x="15" y="430"/>
                  </a:lnTo>
                  <a:lnTo>
                    <a:pt x="15" y="427"/>
                  </a:lnTo>
                  <a:lnTo>
                    <a:pt x="14" y="424"/>
                  </a:lnTo>
                  <a:lnTo>
                    <a:pt x="14" y="419"/>
                  </a:lnTo>
                  <a:lnTo>
                    <a:pt x="14" y="419"/>
                  </a:lnTo>
                  <a:lnTo>
                    <a:pt x="15" y="416"/>
                  </a:lnTo>
                  <a:lnTo>
                    <a:pt x="17" y="413"/>
                  </a:lnTo>
                  <a:lnTo>
                    <a:pt x="20" y="409"/>
                  </a:lnTo>
                  <a:lnTo>
                    <a:pt x="23" y="408"/>
                  </a:lnTo>
                  <a:lnTo>
                    <a:pt x="28" y="408"/>
                  </a:lnTo>
                  <a:lnTo>
                    <a:pt x="31" y="406"/>
                  </a:lnTo>
                  <a:lnTo>
                    <a:pt x="33" y="406"/>
                  </a:lnTo>
                  <a:lnTo>
                    <a:pt x="33" y="408"/>
                  </a:lnTo>
                  <a:lnTo>
                    <a:pt x="33" y="408"/>
                  </a:lnTo>
                  <a:lnTo>
                    <a:pt x="34" y="408"/>
                  </a:lnTo>
                  <a:lnTo>
                    <a:pt x="38" y="406"/>
                  </a:lnTo>
                  <a:lnTo>
                    <a:pt x="41" y="403"/>
                  </a:lnTo>
                  <a:lnTo>
                    <a:pt x="44" y="405"/>
                  </a:lnTo>
                  <a:lnTo>
                    <a:pt x="46" y="403"/>
                  </a:lnTo>
                  <a:lnTo>
                    <a:pt x="47" y="403"/>
                  </a:lnTo>
                  <a:lnTo>
                    <a:pt x="46" y="400"/>
                  </a:lnTo>
                  <a:lnTo>
                    <a:pt x="47" y="397"/>
                  </a:lnTo>
                  <a:lnTo>
                    <a:pt x="47" y="395"/>
                  </a:lnTo>
                  <a:lnTo>
                    <a:pt x="50" y="394"/>
                  </a:lnTo>
                  <a:lnTo>
                    <a:pt x="52" y="389"/>
                  </a:lnTo>
                  <a:lnTo>
                    <a:pt x="49" y="386"/>
                  </a:lnTo>
                  <a:lnTo>
                    <a:pt x="54" y="386"/>
                  </a:lnTo>
                  <a:lnTo>
                    <a:pt x="55" y="384"/>
                  </a:lnTo>
                  <a:lnTo>
                    <a:pt x="57" y="381"/>
                  </a:lnTo>
                  <a:lnTo>
                    <a:pt x="58" y="378"/>
                  </a:lnTo>
                  <a:lnTo>
                    <a:pt x="60" y="375"/>
                  </a:lnTo>
                  <a:lnTo>
                    <a:pt x="61" y="371"/>
                  </a:lnTo>
                  <a:lnTo>
                    <a:pt x="63" y="368"/>
                  </a:lnTo>
                  <a:lnTo>
                    <a:pt x="63" y="365"/>
                  </a:lnTo>
                  <a:lnTo>
                    <a:pt x="68" y="363"/>
                  </a:lnTo>
                  <a:lnTo>
                    <a:pt x="68" y="362"/>
                  </a:lnTo>
                  <a:lnTo>
                    <a:pt x="71" y="360"/>
                  </a:lnTo>
                  <a:lnTo>
                    <a:pt x="68" y="357"/>
                  </a:lnTo>
                  <a:lnTo>
                    <a:pt x="73" y="354"/>
                  </a:lnTo>
                  <a:lnTo>
                    <a:pt x="73" y="351"/>
                  </a:lnTo>
                  <a:lnTo>
                    <a:pt x="69" y="352"/>
                  </a:lnTo>
                  <a:lnTo>
                    <a:pt x="66" y="352"/>
                  </a:lnTo>
                  <a:lnTo>
                    <a:pt x="65" y="349"/>
                  </a:lnTo>
                  <a:lnTo>
                    <a:pt x="68" y="348"/>
                  </a:lnTo>
                  <a:lnTo>
                    <a:pt x="69" y="344"/>
                  </a:lnTo>
                  <a:lnTo>
                    <a:pt x="66" y="343"/>
                  </a:lnTo>
                  <a:lnTo>
                    <a:pt x="65" y="348"/>
                  </a:lnTo>
                  <a:lnTo>
                    <a:pt x="61" y="346"/>
                  </a:lnTo>
                  <a:lnTo>
                    <a:pt x="60" y="343"/>
                  </a:lnTo>
                  <a:lnTo>
                    <a:pt x="61" y="340"/>
                  </a:lnTo>
                  <a:lnTo>
                    <a:pt x="68" y="335"/>
                  </a:lnTo>
                  <a:lnTo>
                    <a:pt x="65" y="335"/>
                  </a:lnTo>
                  <a:lnTo>
                    <a:pt x="63" y="335"/>
                  </a:lnTo>
                  <a:lnTo>
                    <a:pt x="63" y="332"/>
                  </a:lnTo>
                  <a:lnTo>
                    <a:pt x="63" y="329"/>
                  </a:lnTo>
                  <a:lnTo>
                    <a:pt x="65" y="325"/>
                  </a:lnTo>
                  <a:lnTo>
                    <a:pt x="65" y="321"/>
                  </a:lnTo>
                  <a:lnTo>
                    <a:pt x="66" y="317"/>
                  </a:lnTo>
                  <a:lnTo>
                    <a:pt x="66" y="314"/>
                  </a:lnTo>
                  <a:lnTo>
                    <a:pt x="65" y="311"/>
                  </a:lnTo>
                  <a:lnTo>
                    <a:pt x="65" y="308"/>
                  </a:lnTo>
                  <a:lnTo>
                    <a:pt x="65" y="305"/>
                  </a:lnTo>
                  <a:lnTo>
                    <a:pt x="65" y="302"/>
                  </a:lnTo>
                  <a:lnTo>
                    <a:pt x="65" y="298"/>
                  </a:lnTo>
                  <a:lnTo>
                    <a:pt x="65" y="295"/>
                  </a:lnTo>
                  <a:lnTo>
                    <a:pt x="65" y="291"/>
                  </a:lnTo>
                  <a:lnTo>
                    <a:pt x="63" y="287"/>
                  </a:lnTo>
                  <a:lnTo>
                    <a:pt x="60" y="286"/>
                  </a:lnTo>
                  <a:lnTo>
                    <a:pt x="60" y="281"/>
                  </a:lnTo>
                  <a:lnTo>
                    <a:pt x="63" y="279"/>
                  </a:lnTo>
                  <a:lnTo>
                    <a:pt x="68" y="278"/>
                  </a:lnTo>
                  <a:lnTo>
                    <a:pt x="69" y="275"/>
                  </a:lnTo>
                  <a:lnTo>
                    <a:pt x="69" y="271"/>
                  </a:lnTo>
                  <a:lnTo>
                    <a:pt x="68" y="268"/>
                  </a:lnTo>
                  <a:lnTo>
                    <a:pt x="66" y="264"/>
                  </a:lnTo>
                  <a:lnTo>
                    <a:pt x="61" y="257"/>
                  </a:lnTo>
                  <a:lnTo>
                    <a:pt x="61" y="254"/>
                  </a:lnTo>
                  <a:lnTo>
                    <a:pt x="66" y="252"/>
                  </a:lnTo>
                  <a:lnTo>
                    <a:pt x="65" y="249"/>
                  </a:lnTo>
                  <a:lnTo>
                    <a:pt x="66" y="245"/>
                  </a:lnTo>
                  <a:lnTo>
                    <a:pt x="68" y="241"/>
                  </a:lnTo>
                  <a:lnTo>
                    <a:pt x="65" y="238"/>
                  </a:lnTo>
                  <a:lnTo>
                    <a:pt x="61" y="237"/>
                  </a:lnTo>
                  <a:lnTo>
                    <a:pt x="60" y="232"/>
                  </a:lnTo>
                  <a:lnTo>
                    <a:pt x="57" y="229"/>
                  </a:lnTo>
                  <a:lnTo>
                    <a:pt x="57" y="225"/>
                  </a:lnTo>
                  <a:lnTo>
                    <a:pt x="57" y="222"/>
                  </a:lnTo>
                  <a:lnTo>
                    <a:pt x="54" y="219"/>
                  </a:lnTo>
                  <a:lnTo>
                    <a:pt x="50" y="216"/>
                  </a:lnTo>
                  <a:lnTo>
                    <a:pt x="49" y="214"/>
                  </a:lnTo>
                  <a:lnTo>
                    <a:pt x="49" y="214"/>
                  </a:lnTo>
                  <a:lnTo>
                    <a:pt x="52" y="208"/>
                  </a:lnTo>
                  <a:lnTo>
                    <a:pt x="57" y="202"/>
                  </a:lnTo>
                  <a:lnTo>
                    <a:pt x="55" y="199"/>
                  </a:lnTo>
                  <a:lnTo>
                    <a:pt x="57" y="195"/>
                  </a:lnTo>
                  <a:lnTo>
                    <a:pt x="58" y="199"/>
                  </a:lnTo>
                  <a:lnTo>
                    <a:pt x="60" y="202"/>
                  </a:lnTo>
                  <a:lnTo>
                    <a:pt x="63" y="199"/>
                  </a:lnTo>
                  <a:lnTo>
                    <a:pt x="68" y="197"/>
                  </a:lnTo>
                  <a:lnTo>
                    <a:pt x="71" y="194"/>
                  </a:lnTo>
                  <a:lnTo>
                    <a:pt x="69" y="192"/>
                  </a:lnTo>
                  <a:lnTo>
                    <a:pt x="71" y="189"/>
                  </a:lnTo>
                  <a:lnTo>
                    <a:pt x="73" y="186"/>
                  </a:lnTo>
                  <a:lnTo>
                    <a:pt x="76" y="184"/>
                  </a:lnTo>
                  <a:lnTo>
                    <a:pt x="76" y="180"/>
                  </a:lnTo>
                  <a:lnTo>
                    <a:pt x="74" y="176"/>
                  </a:lnTo>
                  <a:lnTo>
                    <a:pt x="71" y="170"/>
                  </a:lnTo>
                  <a:lnTo>
                    <a:pt x="69" y="167"/>
                  </a:lnTo>
                  <a:lnTo>
                    <a:pt x="66" y="162"/>
                  </a:lnTo>
                  <a:lnTo>
                    <a:pt x="68" y="159"/>
                  </a:lnTo>
                  <a:lnTo>
                    <a:pt x="69" y="159"/>
                  </a:lnTo>
                  <a:lnTo>
                    <a:pt x="71" y="156"/>
                  </a:lnTo>
                  <a:lnTo>
                    <a:pt x="73" y="159"/>
                  </a:lnTo>
                  <a:lnTo>
                    <a:pt x="74" y="162"/>
                  </a:lnTo>
                  <a:lnTo>
                    <a:pt x="74" y="162"/>
                  </a:lnTo>
                  <a:lnTo>
                    <a:pt x="77" y="165"/>
                  </a:lnTo>
                  <a:lnTo>
                    <a:pt x="80" y="168"/>
                  </a:lnTo>
                  <a:lnTo>
                    <a:pt x="82" y="172"/>
                  </a:lnTo>
                  <a:lnTo>
                    <a:pt x="84" y="172"/>
                  </a:lnTo>
                  <a:lnTo>
                    <a:pt x="85" y="176"/>
                  </a:lnTo>
                  <a:lnTo>
                    <a:pt x="88" y="176"/>
                  </a:lnTo>
                  <a:lnTo>
                    <a:pt x="88" y="181"/>
                  </a:lnTo>
                  <a:lnTo>
                    <a:pt x="85" y="184"/>
                  </a:lnTo>
                  <a:lnTo>
                    <a:pt x="88" y="186"/>
                  </a:lnTo>
                  <a:lnTo>
                    <a:pt x="93" y="184"/>
                  </a:lnTo>
                  <a:lnTo>
                    <a:pt x="93" y="180"/>
                  </a:lnTo>
                  <a:lnTo>
                    <a:pt x="93" y="180"/>
                  </a:lnTo>
                  <a:lnTo>
                    <a:pt x="92" y="175"/>
                  </a:lnTo>
                  <a:lnTo>
                    <a:pt x="92" y="172"/>
                  </a:lnTo>
                  <a:lnTo>
                    <a:pt x="92" y="168"/>
                  </a:lnTo>
                  <a:lnTo>
                    <a:pt x="92" y="165"/>
                  </a:lnTo>
                  <a:lnTo>
                    <a:pt x="88" y="162"/>
                  </a:lnTo>
                  <a:lnTo>
                    <a:pt x="88" y="159"/>
                  </a:lnTo>
                  <a:lnTo>
                    <a:pt x="92" y="156"/>
                  </a:lnTo>
                  <a:lnTo>
                    <a:pt x="95" y="156"/>
                  </a:lnTo>
                  <a:lnTo>
                    <a:pt x="98" y="153"/>
                  </a:lnTo>
                  <a:lnTo>
                    <a:pt x="101" y="151"/>
                  </a:lnTo>
                  <a:lnTo>
                    <a:pt x="104" y="148"/>
                  </a:lnTo>
                  <a:lnTo>
                    <a:pt x="106" y="146"/>
                  </a:lnTo>
                  <a:lnTo>
                    <a:pt x="109" y="145"/>
                  </a:lnTo>
                  <a:lnTo>
                    <a:pt x="112" y="141"/>
                  </a:lnTo>
                  <a:lnTo>
                    <a:pt x="114" y="137"/>
                  </a:lnTo>
                  <a:lnTo>
                    <a:pt x="115" y="134"/>
                  </a:lnTo>
                  <a:lnTo>
                    <a:pt x="119" y="130"/>
                  </a:lnTo>
                  <a:lnTo>
                    <a:pt x="122" y="127"/>
                  </a:lnTo>
                  <a:lnTo>
                    <a:pt x="125" y="124"/>
                  </a:lnTo>
                  <a:lnTo>
                    <a:pt x="128" y="124"/>
                  </a:lnTo>
                  <a:lnTo>
                    <a:pt x="131" y="124"/>
                  </a:lnTo>
                  <a:lnTo>
                    <a:pt x="136" y="122"/>
                  </a:lnTo>
                  <a:lnTo>
                    <a:pt x="138" y="119"/>
                  </a:lnTo>
                  <a:lnTo>
                    <a:pt x="138" y="116"/>
                  </a:lnTo>
                  <a:lnTo>
                    <a:pt x="133" y="113"/>
                  </a:lnTo>
                  <a:lnTo>
                    <a:pt x="136" y="110"/>
                  </a:lnTo>
                  <a:lnTo>
                    <a:pt x="136" y="107"/>
                  </a:lnTo>
                  <a:lnTo>
                    <a:pt x="138" y="103"/>
                  </a:lnTo>
                  <a:lnTo>
                    <a:pt x="138" y="100"/>
                  </a:lnTo>
                  <a:lnTo>
                    <a:pt x="139" y="97"/>
                  </a:lnTo>
                  <a:lnTo>
                    <a:pt x="139" y="97"/>
                  </a:lnTo>
                  <a:lnTo>
                    <a:pt x="141" y="94"/>
                  </a:lnTo>
                  <a:lnTo>
                    <a:pt x="138" y="94"/>
                  </a:lnTo>
                  <a:lnTo>
                    <a:pt x="138" y="91"/>
                  </a:lnTo>
                  <a:lnTo>
                    <a:pt x="142" y="88"/>
                  </a:lnTo>
                  <a:lnTo>
                    <a:pt x="142" y="83"/>
                  </a:lnTo>
                  <a:lnTo>
                    <a:pt x="142" y="78"/>
                  </a:lnTo>
                  <a:lnTo>
                    <a:pt x="146" y="75"/>
                  </a:lnTo>
                  <a:lnTo>
                    <a:pt x="152" y="72"/>
                  </a:lnTo>
                  <a:lnTo>
                    <a:pt x="152" y="70"/>
                  </a:lnTo>
                  <a:lnTo>
                    <a:pt x="153" y="68"/>
                  </a:lnTo>
                  <a:lnTo>
                    <a:pt x="157" y="65"/>
                  </a:lnTo>
                  <a:lnTo>
                    <a:pt x="160" y="64"/>
                  </a:lnTo>
                  <a:lnTo>
                    <a:pt x="161" y="61"/>
                  </a:lnTo>
                  <a:lnTo>
                    <a:pt x="165" y="57"/>
                  </a:lnTo>
                  <a:lnTo>
                    <a:pt x="168" y="54"/>
                  </a:lnTo>
                  <a:lnTo>
                    <a:pt x="171" y="56"/>
                  </a:lnTo>
                  <a:lnTo>
                    <a:pt x="177" y="59"/>
                  </a:lnTo>
                  <a:lnTo>
                    <a:pt x="182" y="61"/>
                  </a:lnTo>
                  <a:lnTo>
                    <a:pt x="185" y="61"/>
                  </a:lnTo>
                  <a:lnTo>
                    <a:pt x="184" y="61"/>
                  </a:lnTo>
                  <a:lnTo>
                    <a:pt x="180" y="61"/>
                  </a:lnTo>
                  <a:lnTo>
                    <a:pt x="180" y="64"/>
                  </a:lnTo>
                  <a:lnTo>
                    <a:pt x="176" y="65"/>
                  </a:lnTo>
                  <a:lnTo>
                    <a:pt x="179" y="68"/>
                  </a:lnTo>
                  <a:lnTo>
                    <a:pt x="182" y="70"/>
                  </a:lnTo>
                  <a:lnTo>
                    <a:pt x="185" y="65"/>
                  </a:lnTo>
                  <a:lnTo>
                    <a:pt x="188" y="61"/>
                  </a:lnTo>
                  <a:lnTo>
                    <a:pt x="190" y="56"/>
                  </a:lnTo>
                  <a:lnTo>
                    <a:pt x="191" y="49"/>
                  </a:lnTo>
                  <a:lnTo>
                    <a:pt x="195" y="46"/>
                  </a:lnTo>
                  <a:lnTo>
                    <a:pt x="198" y="45"/>
                  </a:lnTo>
                  <a:lnTo>
                    <a:pt x="201" y="48"/>
                  </a:lnTo>
                  <a:lnTo>
                    <a:pt x="206" y="48"/>
                  </a:lnTo>
                  <a:lnTo>
                    <a:pt x="214" y="49"/>
                  </a:lnTo>
                  <a:lnTo>
                    <a:pt x="223" y="48"/>
                  </a:lnTo>
                  <a:lnTo>
                    <a:pt x="226" y="46"/>
                  </a:lnTo>
                  <a:lnTo>
                    <a:pt x="230" y="43"/>
                  </a:lnTo>
                  <a:lnTo>
                    <a:pt x="233" y="40"/>
                  </a:lnTo>
                  <a:lnTo>
                    <a:pt x="236" y="38"/>
                  </a:lnTo>
                  <a:lnTo>
                    <a:pt x="239" y="37"/>
                  </a:lnTo>
                  <a:lnTo>
                    <a:pt x="242" y="34"/>
                  </a:lnTo>
                  <a:lnTo>
                    <a:pt x="245" y="30"/>
                  </a:lnTo>
                  <a:lnTo>
                    <a:pt x="245" y="30"/>
                  </a:lnTo>
                  <a:lnTo>
                    <a:pt x="249" y="30"/>
                  </a:lnTo>
                  <a:lnTo>
                    <a:pt x="252" y="29"/>
                  </a:lnTo>
                  <a:lnTo>
                    <a:pt x="257" y="27"/>
                  </a:lnTo>
                  <a:lnTo>
                    <a:pt x="260" y="26"/>
                  </a:lnTo>
                  <a:lnTo>
                    <a:pt x="263" y="24"/>
                  </a:lnTo>
                  <a:lnTo>
                    <a:pt x="266" y="21"/>
                  </a:lnTo>
                  <a:lnTo>
                    <a:pt x="268" y="16"/>
                  </a:lnTo>
                  <a:lnTo>
                    <a:pt x="268" y="13"/>
                  </a:lnTo>
                  <a:lnTo>
                    <a:pt x="268" y="10"/>
                  </a:lnTo>
                  <a:lnTo>
                    <a:pt x="271" y="8"/>
                  </a:lnTo>
                  <a:lnTo>
                    <a:pt x="274" y="8"/>
                  </a:lnTo>
                  <a:lnTo>
                    <a:pt x="276" y="8"/>
                  </a:lnTo>
                  <a:lnTo>
                    <a:pt x="274" y="13"/>
                  </a:lnTo>
                  <a:lnTo>
                    <a:pt x="277" y="11"/>
                  </a:lnTo>
                  <a:lnTo>
                    <a:pt x="276" y="7"/>
                  </a:lnTo>
                  <a:lnTo>
                    <a:pt x="279" y="3"/>
                  </a:lnTo>
                  <a:lnTo>
                    <a:pt x="282" y="5"/>
                  </a:lnTo>
                  <a:lnTo>
                    <a:pt x="287" y="2"/>
                  </a:lnTo>
                  <a:lnTo>
                    <a:pt x="290" y="0"/>
                  </a:lnTo>
                  <a:lnTo>
                    <a:pt x="293" y="2"/>
                  </a:lnTo>
                  <a:lnTo>
                    <a:pt x="299" y="5"/>
                  </a:lnTo>
                  <a:lnTo>
                    <a:pt x="303" y="7"/>
                  </a:lnTo>
                  <a:lnTo>
                    <a:pt x="304" y="11"/>
                  </a:lnTo>
                  <a:lnTo>
                    <a:pt x="304" y="18"/>
                  </a:lnTo>
                  <a:lnTo>
                    <a:pt x="301" y="21"/>
                  </a:lnTo>
                  <a:lnTo>
                    <a:pt x="298" y="23"/>
                  </a:lnTo>
                  <a:lnTo>
                    <a:pt x="296" y="26"/>
                  </a:lnTo>
                  <a:lnTo>
                    <a:pt x="295" y="26"/>
                  </a:lnTo>
                  <a:lnTo>
                    <a:pt x="291" y="27"/>
                  </a:lnTo>
                  <a:lnTo>
                    <a:pt x="282" y="30"/>
                  </a:lnTo>
                  <a:lnTo>
                    <a:pt x="272" y="34"/>
                  </a:lnTo>
                  <a:lnTo>
                    <a:pt x="268" y="42"/>
                  </a:lnTo>
                  <a:lnTo>
                    <a:pt x="263" y="49"/>
                  </a:lnTo>
                  <a:lnTo>
                    <a:pt x="260" y="53"/>
                  </a:lnTo>
                  <a:lnTo>
                    <a:pt x="257" y="54"/>
                  </a:lnTo>
                  <a:lnTo>
                    <a:pt x="253" y="56"/>
                  </a:lnTo>
                  <a:lnTo>
                    <a:pt x="250" y="59"/>
                  </a:lnTo>
                  <a:lnTo>
                    <a:pt x="249" y="62"/>
                  </a:lnTo>
                  <a:lnTo>
                    <a:pt x="245" y="65"/>
                  </a:lnTo>
                  <a:lnTo>
                    <a:pt x="244" y="70"/>
                  </a:lnTo>
                  <a:lnTo>
                    <a:pt x="242" y="73"/>
                  </a:lnTo>
                  <a:lnTo>
                    <a:pt x="239" y="76"/>
                  </a:lnTo>
                  <a:lnTo>
                    <a:pt x="237" y="80"/>
                  </a:lnTo>
                  <a:lnTo>
                    <a:pt x="236" y="83"/>
                  </a:lnTo>
                  <a:lnTo>
                    <a:pt x="236" y="86"/>
                  </a:lnTo>
                  <a:lnTo>
                    <a:pt x="234" y="91"/>
                  </a:lnTo>
                  <a:lnTo>
                    <a:pt x="234" y="94"/>
                  </a:lnTo>
                  <a:lnTo>
                    <a:pt x="233" y="97"/>
                  </a:lnTo>
                  <a:lnTo>
                    <a:pt x="233" y="105"/>
                  </a:lnTo>
                  <a:lnTo>
                    <a:pt x="228" y="114"/>
                  </a:lnTo>
                  <a:lnTo>
                    <a:pt x="226" y="118"/>
                  </a:lnTo>
                  <a:lnTo>
                    <a:pt x="223" y="121"/>
                  </a:lnTo>
                  <a:lnTo>
                    <a:pt x="222" y="124"/>
                  </a:lnTo>
                  <a:lnTo>
                    <a:pt x="220" y="127"/>
                  </a:lnTo>
                  <a:lnTo>
                    <a:pt x="218" y="132"/>
                  </a:lnTo>
                  <a:lnTo>
                    <a:pt x="215" y="135"/>
                  </a:lnTo>
                  <a:lnTo>
                    <a:pt x="218" y="135"/>
                  </a:lnTo>
                  <a:lnTo>
                    <a:pt x="222" y="134"/>
                  </a:lnTo>
                  <a:lnTo>
                    <a:pt x="226" y="132"/>
                  </a:lnTo>
                  <a:lnTo>
                    <a:pt x="230" y="129"/>
                  </a:lnTo>
                  <a:lnTo>
                    <a:pt x="231" y="134"/>
                  </a:lnTo>
                  <a:lnTo>
                    <a:pt x="231" y="137"/>
                  </a:lnTo>
                  <a:lnTo>
                    <a:pt x="234" y="137"/>
                  </a:lnTo>
                  <a:lnTo>
                    <a:pt x="237" y="137"/>
                  </a:lnTo>
                  <a:lnTo>
                    <a:pt x="236" y="138"/>
                  </a:lnTo>
                  <a:lnTo>
                    <a:pt x="237" y="138"/>
                  </a:lnTo>
                  <a:lnTo>
                    <a:pt x="237" y="143"/>
                  </a:lnTo>
                  <a:lnTo>
                    <a:pt x="239" y="146"/>
                  </a:lnTo>
                  <a:lnTo>
                    <a:pt x="239" y="149"/>
                  </a:lnTo>
                  <a:lnTo>
                    <a:pt x="239" y="153"/>
                  </a:lnTo>
                  <a:lnTo>
                    <a:pt x="241" y="156"/>
                  </a:lnTo>
                  <a:lnTo>
                    <a:pt x="241" y="157"/>
                  </a:lnTo>
                  <a:lnTo>
                    <a:pt x="242" y="159"/>
                  </a:lnTo>
                  <a:lnTo>
                    <a:pt x="245" y="162"/>
                  </a:lnTo>
                  <a:lnTo>
                    <a:pt x="249" y="167"/>
                  </a:lnTo>
                  <a:lnTo>
                    <a:pt x="249" y="167"/>
                  </a:lnTo>
                  <a:lnTo>
                    <a:pt x="250" y="170"/>
                  </a:lnTo>
                  <a:lnTo>
                    <a:pt x="250" y="173"/>
                  </a:lnTo>
                  <a:lnTo>
                    <a:pt x="252" y="176"/>
                  </a:lnTo>
                  <a:lnTo>
                    <a:pt x="252" y="181"/>
                  </a:lnTo>
                  <a:lnTo>
                    <a:pt x="247" y="183"/>
                  </a:lnTo>
                  <a:lnTo>
                    <a:pt x="247" y="187"/>
                  </a:lnTo>
                  <a:lnTo>
                    <a:pt x="247" y="191"/>
                  </a:lnTo>
                  <a:lnTo>
                    <a:pt x="245" y="192"/>
                  </a:lnTo>
                  <a:lnTo>
                    <a:pt x="245" y="197"/>
                  </a:lnTo>
                  <a:lnTo>
                    <a:pt x="245" y="200"/>
                  </a:lnTo>
                  <a:lnTo>
                    <a:pt x="245" y="203"/>
                  </a:lnTo>
                  <a:lnTo>
                    <a:pt x="247" y="206"/>
                  </a:lnTo>
                  <a:lnTo>
                    <a:pt x="249" y="206"/>
                  </a:lnTo>
                  <a:lnTo>
                    <a:pt x="252" y="208"/>
                  </a:lnTo>
                  <a:lnTo>
                    <a:pt x="257" y="210"/>
                  </a:lnTo>
                  <a:lnTo>
                    <a:pt x="255" y="213"/>
                  </a:lnTo>
                  <a:lnTo>
                    <a:pt x="257" y="214"/>
                  </a:lnTo>
                  <a:lnTo>
                    <a:pt x="257" y="218"/>
                  </a:lnTo>
                  <a:lnTo>
                    <a:pt x="258" y="221"/>
                  </a:lnTo>
                  <a:lnTo>
                    <a:pt x="260" y="221"/>
                  </a:lnTo>
                  <a:lnTo>
                    <a:pt x="263" y="222"/>
                  </a:lnTo>
                  <a:lnTo>
                    <a:pt x="263" y="222"/>
                  </a:lnTo>
                  <a:lnTo>
                    <a:pt x="268" y="224"/>
                  </a:lnTo>
                  <a:lnTo>
                    <a:pt x="271" y="222"/>
                  </a:lnTo>
                  <a:lnTo>
                    <a:pt x="274" y="221"/>
                  </a:lnTo>
                  <a:lnTo>
                    <a:pt x="279" y="222"/>
                  </a:lnTo>
                  <a:lnTo>
                    <a:pt x="282" y="222"/>
                  </a:lnTo>
                  <a:lnTo>
                    <a:pt x="290" y="224"/>
                  </a:lnTo>
                  <a:lnTo>
                    <a:pt x="295" y="224"/>
                  </a:lnTo>
                  <a:lnTo>
                    <a:pt x="298" y="224"/>
                  </a:lnTo>
                  <a:lnTo>
                    <a:pt x="299" y="222"/>
                  </a:lnTo>
                  <a:lnTo>
                    <a:pt x="301" y="221"/>
                  </a:lnTo>
                  <a:lnTo>
                    <a:pt x="304" y="221"/>
                  </a:lnTo>
                  <a:lnTo>
                    <a:pt x="306" y="219"/>
                  </a:lnTo>
                  <a:lnTo>
                    <a:pt x="310" y="221"/>
                  </a:lnTo>
                  <a:lnTo>
                    <a:pt x="314" y="222"/>
                  </a:lnTo>
                  <a:lnTo>
                    <a:pt x="318" y="224"/>
                  </a:lnTo>
                  <a:lnTo>
                    <a:pt x="322" y="225"/>
                  </a:lnTo>
                  <a:lnTo>
                    <a:pt x="325" y="225"/>
                  </a:lnTo>
                  <a:lnTo>
                    <a:pt x="328" y="224"/>
                  </a:lnTo>
                  <a:lnTo>
                    <a:pt x="328" y="224"/>
                  </a:lnTo>
                  <a:lnTo>
                    <a:pt x="331" y="227"/>
                  </a:lnTo>
                  <a:lnTo>
                    <a:pt x="333" y="230"/>
                  </a:lnTo>
                  <a:lnTo>
                    <a:pt x="342" y="245"/>
                  </a:lnTo>
                  <a:lnTo>
                    <a:pt x="352" y="259"/>
                  </a:lnTo>
                  <a:lnTo>
                    <a:pt x="356" y="259"/>
                  </a:lnTo>
                  <a:lnTo>
                    <a:pt x="360" y="260"/>
                  </a:lnTo>
                  <a:lnTo>
                    <a:pt x="363" y="257"/>
                  </a:lnTo>
                  <a:lnTo>
                    <a:pt x="366" y="256"/>
                  </a:lnTo>
                  <a:lnTo>
                    <a:pt x="369" y="256"/>
                  </a:lnTo>
                  <a:lnTo>
                    <a:pt x="374" y="257"/>
                  </a:lnTo>
                  <a:lnTo>
                    <a:pt x="377" y="257"/>
                  </a:lnTo>
                  <a:lnTo>
                    <a:pt x="380" y="259"/>
                  </a:lnTo>
                  <a:lnTo>
                    <a:pt x="383" y="257"/>
                  </a:lnTo>
                  <a:lnTo>
                    <a:pt x="387" y="257"/>
                  </a:lnTo>
                  <a:lnTo>
                    <a:pt x="391" y="257"/>
                  </a:lnTo>
                  <a:lnTo>
                    <a:pt x="395" y="257"/>
                  </a:lnTo>
                  <a:lnTo>
                    <a:pt x="398" y="256"/>
                  </a:lnTo>
                  <a:lnTo>
                    <a:pt x="401" y="256"/>
                  </a:lnTo>
                  <a:lnTo>
                    <a:pt x="406" y="256"/>
                  </a:lnTo>
                  <a:lnTo>
                    <a:pt x="409" y="252"/>
                  </a:lnTo>
                  <a:lnTo>
                    <a:pt x="414" y="252"/>
                  </a:lnTo>
                  <a:lnTo>
                    <a:pt x="418" y="252"/>
                  </a:lnTo>
                  <a:lnTo>
                    <a:pt x="420" y="254"/>
                  </a:lnTo>
                  <a:lnTo>
                    <a:pt x="423" y="256"/>
                  </a:lnTo>
                  <a:lnTo>
                    <a:pt x="421" y="260"/>
                  </a:lnTo>
                  <a:lnTo>
                    <a:pt x="425" y="264"/>
                  </a:lnTo>
                  <a:lnTo>
                    <a:pt x="423" y="267"/>
                  </a:lnTo>
                  <a:lnTo>
                    <a:pt x="420" y="270"/>
                  </a:lnTo>
                  <a:lnTo>
                    <a:pt x="417" y="273"/>
                  </a:lnTo>
                  <a:lnTo>
                    <a:pt x="415" y="278"/>
                  </a:lnTo>
                  <a:lnTo>
                    <a:pt x="417" y="281"/>
                  </a:lnTo>
                  <a:lnTo>
                    <a:pt x="417" y="284"/>
                  </a:lnTo>
                  <a:lnTo>
                    <a:pt x="412" y="287"/>
                  </a:lnTo>
                  <a:lnTo>
                    <a:pt x="409" y="291"/>
                  </a:lnTo>
                  <a:lnTo>
                    <a:pt x="409" y="291"/>
                  </a:lnTo>
                  <a:lnTo>
                    <a:pt x="409" y="294"/>
                  </a:lnTo>
                  <a:lnTo>
                    <a:pt x="409" y="297"/>
                  </a:lnTo>
                  <a:lnTo>
                    <a:pt x="409" y="300"/>
                  </a:lnTo>
                  <a:lnTo>
                    <a:pt x="410" y="303"/>
                  </a:lnTo>
                  <a:lnTo>
                    <a:pt x="409" y="305"/>
                  </a:lnTo>
                  <a:lnTo>
                    <a:pt x="409" y="308"/>
                  </a:lnTo>
                  <a:lnTo>
                    <a:pt x="409" y="311"/>
                  </a:lnTo>
                  <a:lnTo>
                    <a:pt x="409" y="314"/>
                  </a:lnTo>
                  <a:lnTo>
                    <a:pt x="407" y="317"/>
                  </a:lnTo>
                  <a:lnTo>
                    <a:pt x="407" y="322"/>
                  </a:lnTo>
                  <a:lnTo>
                    <a:pt x="406" y="325"/>
                  </a:lnTo>
                  <a:lnTo>
                    <a:pt x="409" y="329"/>
                  </a:lnTo>
                  <a:lnTo>
                    <a:pt x="409" y="332"/>
                  </a:lnTo>
                  <a:lnTo>
                    <a:pt x="407" y="336"/>
                  </a:lnTo>
                  <a:lnTo>
                    <a:pt x="409" y="340"/>
                  </a:lnTo>
                  <a:lnTo>
                    <a:pt x="410" y="343"/>
                  </a:lnTo>
                  <a:lnTo>
                    <a:pt x="412" y="344"/>
                  </a:lnTo>
                  <a:lnTo>
                    <a:pt x="412" y="346"/>
                  </a:lnTo>
                  <a:lnTo>
                    <a:pt x="412" y="351"/>
                  </a:lnTo>
                  <a:lnTo>
                    <a:pt x="414" y="354"/>
                  </a:lnTo>
                  <a:lnTo>
                    <a:pt x="417" y="357"/>
                  </a:lnTo>
                  <a:lnTo>
                    <a:pt x="420" y="360"/>
                  </a:lnTo>
                  <a:lnTo>
                    <a:pt x="421" y="363"/>
                  </a:lnTo>
                  <a:lnTo>
                    <a:pt x="421" y="367"/>
                  </a:lnTo>
                  <a:lnTo>
                    <a:pt x="426" y="370"/>
                  </a:lnTo>
                  <a:lnTo>
                    <a:pt x="425" y="373"/>
                  </a:lnTo>
                  <a:lnTo>
                    <a:pt x="421" y="376"/>
                  </a:lnTo>
                  <a:lnTo>
                    <a:pt x="420" y="376"/>
                  </a:lnTo>
                  <a:lnTo>
                    <a:pt x="417" y="379"/>
                  </a:lnTo>
                  <a:lnTo>
                    <a:pt x="414" y="384"/>
                  </a:lnTo>
                  <a:lnTo>
                    <a:pt x="410" y="389"/>
                  </a:lnTo>
                  <a:lnTo>
                    <a:pt x="406" y="392"/>
                  </a:lnTo>
                  <a:lnTo>
                    <a:pt x="406" y="395"/>
                  </a:lnTo>
                  <a:lnTo>
                    <a:pt x="407" y="394"/>
                  </a:lnTo>
                  <a:lnTo>
                    <a:pt x="410" y="395"/>
                  </a:lnTo>
                  <a:lnTo>
                    <a:pt x="415" y="397"/>
                  </a:lnTo>
                  <a:lnTo>
                    <a:pt x="417" y="400"/>
                  </a:lnTo>
                  <a:lnTo>
                    <a:pt x="420" y="403"/>
                  </a:lnTo>
                  <a:lnTo>
                    <a:pt x="421" y="406"/>
                  </a:lnTo>
                  <a:lnTo>
                    <a:pt x="425" y="409"/>
                  </a:lnTo>
                  <a:lnTo>
                    <a:pt x="429" y="413"/>
                  </a:lnTo>
                  <a:lnTo>
                    <a:pt x="428" y="417"/>
                  </a:lnTo>
                  <a:lnTo>
                    <a:pt x="428" y="421"/>
                  </a:lnTo>
                  <a:lnTo>
                    <a:pt x="431" y="424"/>
                  </a:lnTo>
                  <a:lnTo>
                    <a:pt x="431" y="427"/>
                  </a:lnTo>
                  <a:lnTo>
                    <a:pt x="429" y="428"/>
                  </a:lnTo>
                  <a:lnTo>
                    <a:pt x="433" y="432"/>
                  </a:lnTo>
                  <a:lnTo>
                    <a:pt x="434" y="435"/>
                  </a:lnTo>
                  <a:lnTo>
                    <a:pt x="436" y="443"/>
                  </a:lnTo>
                  <a:lnTo>
                    <a:pt x="437" y="451"/>
                  </a:lnTo>
                  <a:lnTo>
                    <a:pt x="439" y="460"/>
                  </a:lnTo>
                  <a:lnTo>
                    <a:pt x="439" y="460"/>
                  </a:lnTo>
                  <a:lnTo>
                    <a:pt x="434" y="460"/>
                  </a:lnTo>
                  <a:lnTo>
                    <a:pt x="431" y="460"/>
                  </a:lnTo>
                  <a:lnTo>
                    <a:pt x="433" y="452"/>
                  </a:lnTo>
                  <a:lnTo>
                    <a:pt x="433" y="443"/>
                  </a:lnTo>
                  <a:lnTo>
                    <a:pt x="431" y="440"/>
                  </a:lnTo>
                  <a:lnTo>
                    <a:pt x="429" y="436"/>
                  </a:lnTo>
                  <a:lnTo>
                    <a:pt x="428" y="433"/>
                  </a:lnTo>
                  <a:lnTo>
                    <a:pt x="425" y="430"/>
                  </a:lnTo>
                  <a:lnTo>
                    <a:pt x="423" y="425"/>
                  </a:lnTo>
                  <a:lnTo>
                    <a:pt x="420" y="422"/>
                  </a:lnTo>
                  <a:lnTo>
                    <a:pt x="417" y="424"/>
                  </a:lnTo>
                  <a:lnTo>
                    <a:pt x="414" y="427"/>
                  </a:lnTo>
                  <a:lnTo>
                    <a:pt x="410" y="430"/>
                  </a:lnTo>
                  <a:lnTo>
                    <a:pt x="409" y="433"/>
                  </a:lnTo>
                  <a:lnTo>
                    <a:pt x="404" y="438"/>
                  </a:lnTo>
                  <a:lnTo>
                    <a:pt x="401" y="438"/>
                  </a:lnTo>
                  <a:lnTo>
                    <a:pt x="398" y="436"/>
                  </a:lnTo>
                  <a:lnTo>
                    <a:pt x="395" y="430"/>
                  </a:lnTo>
                  <a:lnTo>
                    <a:pt x="391" y="428"/>
                  </a:lnTo>
                  <a:lnTo>
                    <a:pt x="390" y="432"/>
                  </a:lnTo>
                  <a:lnTo>
                    <a:pt x="390" y="436"/>
                  </a:lnTo>
                  <a:lnTo>
                    <a:pt x="390" y="440"/>
                  </a:lnTo>
                  <a:lnTo>
                    <a:pt x="375" y="440"/>
                  </a:lnTo>
                  <a:lnTo>
                    <a:pt x="360" y="440"/>
                  </a:lnTo>
                  <a:lnTo>
                    <a:pt x="349" y="440"/>
                  </a:lnTo>
                  <a:lnTo>
                    <a:pt x="345" y="438"/>
                  </a:lnTo>
                  <a:lnTo>
                    <a:pt x="342" y="436"/>
                  </a:lnTo>
                  <a:lnTo>
                    <a:pt x="339" y="440"/>
                  </a:lnTo>
                  <a:lnTo>
                    <a:pt x="336" y="440"/>
                  </a:lnTo>
                  <a:lnTo>
                    <a:pt x="333" y="440"/>
                  </a:lnTo>
                  <a:lnTo>
                    <a:pt x="333" y="454"/>
                  </a:lnTo>
                  <a:lnTo>
                    <a:pt x="331" y="467"/>
                  </a:lnTo>
                  <a:lnTo>
                    <a:pt x="334" y="465"/>
                  </a:lnTo>
                  <a:lnTo>
                    <a:pt x="339" y="467"/>
                  </a:lnTo>
                  <a:lnTo>
                    <a:pt x="349" y="467"/>
                  </a:lnTo>
                  <a:lnTo>
                    <a:pt x="352" y="468"/>
                  </a:lnTo>
                  <a:lnTo>
                    <a:pt x="356" y="474"/>
                  </a:lnTo>
                  <a:lnTo>
                    <a:pt x="356" y="478"/>
                  </a:lnTo>
                  <a:lnTo>
                    <a:pt x="356" y="481"/>
                  </a:lnTo>
                  <a:lnTo>
                    <a:pt x="355" y="484"/>
                  </a:lnTo>
                  <a:lnTo>
                    <a:pt x="353" y="484"/>
                  </a:lnTo>
                  <a:lnTo>
                    <a:pt x="350" y="482"/>
                  </a:lnTo>
                  <a:lnTo>
                    <a:pt x="347" y="481"/>
                  </a:lnTo>
                  <a:lnTo>
                    <a:pt x="344" y="481"/>
                  </a:lnTo>
                  <a:lnTo>
                    <a:pt x="341" y="484"/>
                  </a:lnTo>
                  <a:lnTo>
                    <a:pt x="336" y="482"/>
                  </a:lnTo>
                  <a:lnTo>
                    <a:pt x="333" y="486"/>
                  </a:lnTo>
                  <a:lnTo>
                    <a:pt x="329" y="486"/>
                  </a:lnTo>
                  <a:lnTo>
                    <a:pt x="326" y="486"/>
                  </a:lnTo>
                  <a:lnTo>
                    <a:pt x="325" y="489"/>
                  </a:lnTo>
                  <a:lnTo>
                    <a:pt x="325" y="492"/>
                  </a:lnTo>
                  <a:lnTo>
                    <a:pt x="325" y="506"/>
                  </a:lnTo>
                  <a:lnTo>
                    <a:pt x="323" y="509"/>
                  </a:lnTo>
                  <a:lnTo>
                    <a:pt x="323" y="516"/>
                  </a:lnTo>
                  <a:lnTo>
                    <a:pt x="326" y="519"/>
                  </a:lnTo>
                  <a:lnTo>
                    <a:pt x="326" y="519"/>
                  </a:lnTo>
                  <a:lnTo>
                    <a:pt x="329" y="524"/>
                  </a:lnTo>
                  <a:lnTo>
                    <a:pt x="333" y="525"/>
                  </a:lnTo>
                  <a:lnTo>
                    <a:pt x="336" y="528"/>
                  </a:lnTo>
                  <a:lnTo>
                    <a:pt x="341" y="530"/>
                  </a:lnTo>
                  <a:lnTo>
                    <a:pt x="341" y="535"/>
                  </a:lnTo>
                  <a:lnTo>
                    <a:pt x="341" y="538"/>
                  </a:lnTo>
                  <a:lnTo>
                    <a:pt x="341" y="541"/>
                  </a:lnTo>
                  <a:lnTo>
                    <a:pt x="342" y="544"/>
                  </a:lnTo>
                  <a:lnTo>
                    <a:pt x="344" y="547"/>
                  </a:lnTo>
                  <a:lnTo>
                    <a:pt x="347" y="552"/>
                  </a:lnTo>
                  <a:lnTo>
                    <a:pt x="347" y="554"/>
                  </a:lnTo>
                  <a:lnTo>
                    <a:pt x="349" y="557"/>
                  </a:lnTo>
                  <a:lnTo>
                    <a:pt x="349" y="560"/>
                  </a:lnTo>
                  <a:lnTo>
                    <a:pt x="349" y="565"/>
                  </a:lnTo>
                  <a:lnTo>
                    <a:pt x="347" y="568"/>
                  </a:lnTo>
                  <a:lnTo>
                    <a:pt x="347" y="568"/>
                  </a:lnTo>
                  <a:lnTo>
                    <a:pt x="345" y="573"/>
                  </a:lnTo>
                  <a:lnTo>
                    <a:pt x="345" y="573"/>
                  </a:lnTo>
                  <a:lnTo>
                    <a:pt x="345" y="576"/>
                  </a:lnTo>
                  <a:lnTo>
                    <a:pt x="342" y="603"/>
                  </a:lnTo>
                  <a:lnTo>
                    <a:pt x="337" y="630"/>
                  </a:lnTo>
                  <a:lnTo>
                    <a:pt x="334" y="657"/>
                  </a:lnTo>
                  <a:lnTo>
                    <a:pt x="331" y="684"/>
                  </a:lnTo>
                  <a:lnTo>
                    <a:pt x="328" y="681"/>
                  </a:lnTo>
                  <a:lnTo>
                    <a:pt x="326" y="677"/>
                  </a:lnTo>
                  <a:lnTo>
                    <a:pt x="323" y="674"/>
                  </a:lnTo>
                  <a:lnTo>
                    <a:pt x="322" y="671"/>
                  </a:lnTo>
                  <a:lnTo>
                    <a:pt x="318" y="668"/>
                  </a:lnTo>
                  <a:lnTo>
                    <a:pt x="315" y="665"/>
                  </a:lnTo>
                  <a:lnTo>
                    <a:pt x="312" y="666"/>
                  </a:lnTo>
                  <a:lnTo>
                    <a:pt x="309" y="668"/>
                  </a:lnTo>
                  <a:lnTo>
                    <a:pt x="304" y="665"/>
                  </a:lnTo>
                  <a:lnTo>
                    <a:pt x="304" y="662"/>
                  </a:lnTo>
                  <a:lnTo>
                    <a:pt x="306" y="658"/>
                  </a:lnTo>
                  <a:lnTo>
                    <a:pt x="307" y="655"/>
                  </a:lnTo>
                  <a:lnTo>
                    <a:pt x="309" y="650"/>
                  </a:lnTo>
                  <a:lnTo>
                    <a:pt x="312" y="647"/>
                  </a:lnTo>
                  <a:lnTo>
                    <a:pt x="314" y="643"/>
                  </a:lnTo>
                  <a:lnTo>
                    <a:pt x="320" y="633"/>
                  </a:lnTo>
                  <a:lnTo>
                    <a:pt x="326" y="622"/>
                  </a:lnTo>
                  <a:lnTo>
                    <a:pt x="325" y="622"/>
                  </a:lnTo>
                  <a:lnTo>
                    <a:pt x="322" y="619"/>
                  </a:lnTo>
                  <a:lnTo>
                    <a:pt x="320" y="616"/>
                  </a:lnTo>
                  <a:lnTo>
                    <a:pt x="315" y="612"/>
                  </a:lnTo>
                  <a:lnTo>
                    <a:pt x="312" y="612"/>
                  </a:lnTo>
                  <a:lnTo>
                    <a:pt x="309" y="611"/>
                  </a:lnTo>
                  <a:lnTo>
                    <a:pt x="306" y="609"/>
                  </a:lnTo>
                  <a:lnTo>
                    <a:pt x="303" y="606"/>
                  </a:lnTo>
                  <a:lnTo>
                    <a:pt x="299" y="603"/>
                  </a:lnTo>
                  <a:lnTo>
                    <a:pt x="296" y="601"/>
                  </a:lnTo>
                  <a:lnTo>
                    <a:pt x="291" y="600"/>
                  </a:lnTo>
                  <a:lnTo>
                    <a:pt x="287" y="606"/>
                  </a:lnTo>
                  <a:lnTo>
                    <a:pt x="283" y="606"/>
                  </a:lnTo>
                  <a:lnTo>
                    <a:pt x="280" y="606"/>
                  </a:lnTo>
                  <a:lnTo>
                    <a:pt x="274" y="604"/>
                  </a:lnTo>
                  <a:lnTo>
                    <a:pt x="272" y="601"/>
                  </a:lnTo>
                  <a:lnTo>
                    <a:pt x="268" y="600"/>
                  </a:lnTo>
                  <a:lnTo>
                    <a:pt x="264" y="598"/>
                  </a:lnTo>
                  <a:lnTo>
                    <a:pt x="263" y="600"/>
                  </a:lnTo>
                  <a:lnTo>
                    <a:pt x="261" y="604"/>
                  </a:lnTo>
                  <a:lnTo>
                    <a:pt x="257" y="608"/>
                  </a:lnTo>
                  <a:lnTo>
                    <a:pt x="255" y="606"/>
                  </a:lnTo>
                  <a:lnTo>
                    <a:pt x="252" y="609"/>
                  </a:lnTo>
                  <a:lnTo>
                    <a:pt x="245" y="611"/>
                  </a:lnTo>
                  <a:lnTo>
                    <a:pt x="241" y="609"/>
                  </a:lnTo>
                  <a:lnTo>
                    <a:pt x="241" y="609"/>
                  </a:lnTo>
                  <a:lnTo>
                    <a:pt x="236" y="609"/>
                  </a:lnTo>
                  <a:lnTo>
                    <a:pt x="233" y="609"/>
                  </a:lnTo>
                  <a:lnTo>
                    <a:pt x="230" y="609"/>
                  </a:lnTo>
                  <a:lnTo>
                    <a:pt x="226" y="611"/>
                  </a:lnTo>
                  <a:lnTo>
                    <a:pt x="222" y="611"/>
                  </a:lnTo>
                  <a:lnTo>
                    <a:pt x="218" y="608"/>
                  </a:lnTo>
                  <a:lnTo>
                    <a:pt x="215" y="606"/>
                  </a:lnTo>
                  <a:lnTo>
                    <a:pt x="214" y="603"/>
                  </a:lnTo>
                  <a:lnTo>
                    <a:pt x="215" y="598"/>
                  </a:lnTo>
                  <a:lnTo>
                    <a:pt x="215" y="595"/>
                  </a:lnTo>
                  <a:lnTo>
                    <a:pt x="215" y="592"/>
                  </a:lnTo>
                  <a:lnTo>
                    <a:pt x="214" y="589"/>
                  </a:lnTo>
                  <a:lnTo>
                    <a:pt x="211" y="585"/>
                  </a:lnTo>
                  <a:lnTo>
                    <a:pt x="207" y="585"/>
                  </a:lnTo>
                  <a:lnTo>
                    <a:pt x="203" y="584"/>
                  </a:lnTo>
                  <a:lnTo>
                    <a:pt x="199" y="581"/>
                  </a:lnTo>
                  <a:lnTo>
                    <a:pt x="201" y="576"/>
                  </a:lnTo>
                  <a:lnTo>
                    <a:pt x="201" y="573"/>
                  </a:lnTo>
                  <a:lnTo>
                    <a:pt x="198" y="570"/>
                  </a:lnTo>
                  <a:lnTo>
                    <a:pt x="198" y="566"/>
                  </a:lnTo>
                  <a:lnTo>
                    <a:pt x="195" y="562"/>
                  </a:lnTo>
                  <a:lnTo>
                    <a:pt x="191" y="562"/>
                  </a:lnTo>
                  <a:lnTo>
                    <a:pt x="187" y="560"/>
                  </a:lnTo>
                  <a:lnTo>
                    <a:pt x="185" y="557"/>
                  </a:lnTo>
                  <a:lnTo>
                    <a:pt x="182" y="555"/>
                  </a:lnTo>
                  <a:lnTo>
                    <a:pt x="180" y="552"/>
                  </a:lnTo>
                  <a:lnTo>
                    <a:pt x="177" y="552"/>
                  </a:lnTo>
                  <a:lnTo>
                    <a:pt x="172" y="552"/>
                  </a:lnTo>
                  <a:lnTo>
                    <a:pt x="171" y="547"/>
                  </a:lnTo>
                  <a:lnTo>
                    <a:pt x="171" y="544"/>
                  </a:lnTo>
                  <a:lnTo>
                    <a:pt x="169" y="541"/>
                  </a:lnTo>
                  <a:lnTo>
                    <a:pt x="169" y="536"/>
                  </a:lnTo>
                  <a:lnTo>
                    <a:pt x="168" y="533"/>
                  </a:lnTo>
                  <a:lnTo>
                    <a:pt x="168" y="532"/>
                  </a:lnTo>
                  <a:lnTo>
                    <a:pt x="165" y="530"/>
                  </a:lnTo>
                  <a:lnTo>
                    <a:pt x="161" y="527"/>
                  </a:lnTo>
                  <a:lnTo>
                    <a:pt x="158" y="525"/>
                  </a:lnTo>
                  <a:lnTo>
                    <a:pt x="155" y="522"/>
                  </a:lnTo>
                  <a:lnTo>
                    <a:pt x="152" y="519"/>
                  </a:lnTo>
                  <a:lnTo>
                    <a:pt x="149" y="517"/>
                  </a:lnTo>
                  <a:lnTo>
                    <a:pt x="146" y="514"/>
                  </a:lnTo>
                  <a:lnTo>
                    <a:pt x="142" y="513"/>
                  </a:lnTo>
                  <a:lnTo>
                    <a:pt x="138" y="511"/>
                  </a:lnTo>
                  <a:lnTo>
                    <a:pt x="134" y="514"/>
                  </a:lnTo>
                  <a:lnTo>
                    <a:pt x="133" y="514"/>
                  </a:lnTo>
                  <a:lnTo>
                    <a:pt x="130" y="513"/>
                  </a:lnTo>
                  <a:lnTo>
                    <a:pt x="126" y="509"/>
                  </a:lnTo>
                  <a:lnTo>
                    <a:pt x="126" y="509"/>
                  </a:lnTo>
                  <a:lnTo>
                    <a:pt x="122" y="509"/>
                  </a:lnTo>
                  <a:lnTo>
                    <a:pt x="119" y="508"/>
                  </a:lnTo>
                  <a:lnTo>
                    <a:pt x="115" y="505"/>
                  </a:lnTo>
                  <a:lnTo>
                    <a:pt x="111" y="500"/>
                  </a:lnTo>
                  <a:lnTo>
                    <a:pt x="107" y="495"/>
                  </a:lnTo>
                  <a:lnTo>
                    <a:pt x="104" y="493"/>
                  </a:lnTo>
                  <a:lnTo>
                    <a:pt x="95" y="493"/>
                  </a:lnTo>
                  <a:lnTo>
                    <a:pt x="95" y="495"/>
                  </a:lnTo>
                  <a:lnTo>
                    <a:pt x="95" y="500"/>
                  </a:lnTo>
                  <a:lnTo>
                    <a:pt x="93" y="500"/>
                  </a:lnTo>
                  <a:lnTo>
                    <a:pt x="90" y="500"/>
                  </a:lnTo>
                  <a:lnTo>
                    <a:pt x="87" y="498"/>
                  </a:lnTo>
                  <a:lnTo>
                    <a:pt x="84" y="500"/>
                  </a:lnTo>
                  <a:lnTo>
                    <a:pt x="79" y="500"/>
                  </a:lnTo>
                  <a:lnTo>
                    <a:pt x="76" y="498"/>
                  </a:lnTo>
                  <a:lnTo>
                    <a:pt x="74" y="498"/>
                  </a:lnTo>
                  <a:lnTo>
                    <a:pt x="71" y="495"/>
                  </a:lnTo>
                  <a:lnTo>
                    <a:pt x="68" y="495"/>
                  </a:lnTo>
                  <a:lnTo>
                    <a:pt x="65" y="495"/>
                  </a:lnTo>
                  <a:lnTo>
                    <a:pt x="61" y="495"/>
                  </a:lnTo>
                  <a:lnTo>
                    <a:pt x="58" y="493"/>
                  </a:lnTo>
                  <a:lnTo>
                    <a:pt x="57" y="489"/>
                  </a:lnTo>
                  <a:lnTo>
                    <a:pt x="57" y="486"/>
                  </a:lnTo>
                  <a:lnTo>
                    <a:pt x="57" y="482"/>
                  </a:lnTo>
                  <a:lnTo>
                    <a:pt x="52" y="482"/>
                  </a:lnTo>
                  <a:lnTo>
                    <a:pt x="50" y="479"/>
                  </a:lnTo>
                  <a:lnTo>
                    <a:pt x="49" y="476"/>
                  </a:lnTo>
                  <a:lnTo>
                    <a:pt x="47" y="474"/>
                  </a:lnTo>
                  <a:lnTo>
                    <a:pt x="44" y="476"/>
                  </a:lnTo>
                  <a:lnTo>
                    <a:pt x="39" y="474"/>
                  </a:lnTo>
                  <a:lnTo>
                    <a:pt x="38" y="473"/>
                  </a:lnTo>
                  <a:lnTo>
                    <a:pt x="33" y="473"/>
                  </a:lnTo>
                  <a:lnTo>
                    <a:pt x="30" y="470"/>
                  </a:lnTo>
                  <a:lnTo>
                    <a:pt x="27" y="467"/>
                  </a:lnTo>
                  <a:lnTo>
                    <a:pt x="23" y="465"/>
                  </a:lnTo>
                  <a:lnTo>
                    <a:pt x="20" y="460"/>
                  </a:lnTo>
                  <a:lnTo>
                    <a:pt x="17" y="460"/>
                  </a:lnTo>
                  <a:lnTo>
                    <a:pt x="15" y="459"/>
                  </a:lnTo>
                  <a:lnTo>
                    <a:pt x="14" y="459"/>
                  </a:lnTo>
                  <a:lnTo>
                    <a:pt x="9" y="452"/>
                  </a:lnTo>
                  <a:lnTo>
                    <a:pt x="3" y="444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grpSp>
          <p:nvGrpSpPr>
            <p:cNvPr id="377" name="Group 749"/>
            <p:cNvGrpSpPr>
              <a:grpSpLocks/>
            </p:cNvGrpSpPr>
            <p:nvPr/>
          </p:nvGrpSpPr>
          <p:grpSpPr bwMode="auto">
            <a:xfrm>
              <a:off x="3218250" y="4779855"/>
              <a:ext cx="151448" cy="223401"/>
              <a:chOff x="1137" y="2460"/>
              <a:chExt cx="103" cy="132"/>
            </a:xfrm>
            <a:solidFill>
              <a:srgbClr val="A6A6A6"/>
            </a:solidFill>
          </p:grpSpPr>
          <p:sp>
            <p:nvSpPr>
              <p:cNvPr id="522" name="Freeform 750"/>
              <p:cNvSpPr>
                <a:spLocks/>
              </p:cNvSpPr>
              <p:nvPr/>
            </p:nvSpPr>
            <p:spPr bwMode="auto">
              <a:xfrm>
                <a:off x="1150" y="2544"/>
                <a:ext cx="6" cy="8"/>
              </a:xfrm>
              <a:custGeom>
                <a:avLst/>
                <a:gdLst>
                  <a:gd name="T0" fmla="*/ 9 w 12"/>
                  <a:gd name="T1" fmla="*/ 0 h 14"/>
                  <a:gd name="T2" fmla="*/ 8 w 12"/>
                  <a:gd name="T3" fmla="*/ 0 h 14"/>
                  <a:gd name="T4" fmla="*/ 5 w 12"/>
                  <a:gd name="T5" fmla="*/ 1 h 14"/>
                  <a:gd name="T6" fmla="*/ 1 w 12"/>
                  <a:gd name="T7" fmla="*/ 5 h 14"/>
                  <a:gd name="T8" fmla="*/ 0 w 12"/>
                  <a:gd name="T9" fmla="*/ 8 h 14"/>
                  <a:gd name="T10" fmla="*/ 0 w 12"/>
                  <a:gd name="T11" fmla="*/ 11 h 14"/>
                  <a:gd name="T12" fmla="*/ 1 w 12"/>
                  <a:gd name="T13" fmla="*/ 14 h 14"/>
                  <a:gd name="T14" fmla="*/ 6 w 12"/>
                  <a:gd name="T15" fmla="*/ 14 h 14"/>
                  <a:gd name="T16" fmla="*/ 5 w 12"/>
                  <a:gd name="T17" fmla="*/ 9 h 14"/>
                  <a:gd name="T18" fmla="*/ 6 w 12"/>
                  <a:gd name="T19" fmla="*/ 6 h 14"/>
                  <a:gd name="T20" fmla="*/ 9 w 12"/>
                  <a:gd name="T21" fmla="*/ 6 h 14"/>
                  <a:gd name="T22" fmla="*/ 12 w 12"/>
                  <a:gd name="T23" fmla="*/ 1 h 14"/>
                  <a:gd name="T24" fmla="*/ 9 w 12"/>
                  <a:gd name="T25" fmla="*/ 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" h="14">
                    <a:moveTo>
                      <a:pt x="9" y="0"/>
                    </a:moveTo>
                    <a:lnTo>
                      <a:pt x="8" y="0"/>
                    </a:lnTo>
                    <a:lnTo>
                      <a:pt x="5" y="1"/>
                    </a:lnTo>
                    <a:lnTo>
                      <a:pt x="1" y="5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1" y="14"/>
                    </a:lnTo>
                    <a:lnTo>
                      <a:pt x="6" y="14"/>
                    </a:lnTo>
                    <a:lnTo>
                      <a:pt x="5" y="9"/>
                    </a:lnTo>
                    <a:lnTo>
                      <a:pt x="6" y="6"/>
                    </a:lnTo>
                    <a:lnTo>
                      <a:pt x="9" y="6"/>
                    </a:lnTo>
                    <a:lnTo>
                      <a:pt x="12" y="1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23" name="Freeform 751"/>
              <p:cNvSpPr>
                <a:spLocks/>
              </p:cNvSpPr>
              <p:nvPr/>
            </p:nvSpPr>
            <p:spPr bwMode="auto">
              <a:xfrm>
                <a:off x="1137" y="2460"/>
                <a:ext cx="103" cy="132"/>
              </a:xfrm>
              <a:custGeom>
                <a:avLst/>
                <a:gdLst>
                  <a:gd name="T0" fmla="*/ 8 w 207"/>
                  <a:gd name="T1" fmla="*/ 141 h 263"/>
                  <a:gd name="T2" fmla="*/ 7 w 207"/>
                  <a:gd name="T3" fmla="*/ 114 h 263"/>
                  <a:gd name="T4" fmla="*/ 7 w 207"/>
                  <a:gd name="T5" fmla="*/ 96 h 263"/>
                  <a:gd name="T6" fmla="*/ 16 w 207"/>
                  <a:gd name="T7" fmla="*/ 84 h 263"/>
                  <a:gd name="T8" fmla="*/ 18 w 207"/>
                  <a:gd name="T9" fmla="*/ 79 h 263"/>
                  <a:gd name="T10" fmla="*/ 29 w 207"/>
                  <a:gd name="T11" fmla="*/ 58 h 263"/>
                  <a:gd name="T12" fmla="*/ 34 w 207"/>
                  <a:gd name="T13" fmla="*/ 44 h 263"/>
                  <a:gd name="T14" fmla="*/ 32 w 207"/>
                  <a:gd name="T15" fmla="*/ 33 h 263"/>
                  <a:gd name="T16" fmla="*/ 38 w 207"/>
                  <a:gd name="T17" fmla="*/ 23 h 263"/>
                  <a:gd name="T18" fmla="*/ 48 w 207"/>
                  <a:gd name="T19" fmla="*/ 23 h 263"/>
                  <a:gd name="T20" fmla="*/ 54 w 207"/>
                  <a:gd name="T21" fmla="*/ 16 h 263"/>
                  <a:gd name="T22" fmla="*/ 70 w 207"/>
                  <a:gd name="T23" fmla="*/ 12 h 263"/>
                  <a:gd name="T24" fmla="*/ 80 w 207"/>
                  <a:gd name="T25" fmla="*/ 3 h 263"/>
                  <a:gd name="T26" fmla="*/ 89 w 207"/>
                  <a:gd name="T27" fmla="*/ 9 h 263"/>
                  <a:gd name="T28" fmla="*/ 107 w 207"/>
                  <a:gd name="T29" fmla="*/ 22 h 263"/>
                  <a:gd name="T30" fmla="*/ 119 w 207"/>
                  <a:gd name="T31" fmla="*/ 28 h 263"/>
                  <a:gd name="T32" fmla="*/ 127 w 207"/>
                  <a:gd name="T33" fmla="*/ 42 h 263"/>
                  <a:gd name="T34" fmla="*/ 143 w 207"/>
                  <a:gd name="T35" fmla="*/ 47 h 263"/>
                  <a:gd name="T36" fmla="*/ 159 w 207"/>
                  <a:gd name="T37" fmla="*/ 49 h 263"/>
                  <a:gd name="T38" fmla="*/ 173 w 207"/>
                  <a:gd name="T39" fmla="*/ 42 h 263"/>
                  <a:gd name="T40" fmla="*/ 191 w 207"/>
                  <a:gd name="T41" fmla="*/ 58 h 263"/>
                  <a:gd name="T42" fmla="*/ 203 w 207"/>
                  <a:gd name="T43" fmla="*/ 63 h 263"/>
                  <a:gd name="T44" fmla="*/ 192 w 207"/>
                  <a:gd name="T45" fmla="*/ 66 h 263"/>
                  <a:gd name="T46" fmla="*/ 205 w 207"/>
                  <a:gd name="T47" fmla="*/ 82 h 263"/>
                  <a:gd name="T48" fmla="*/ 205 w 207"/>
                  <a:gd name="T49" fmla="*/ 96 h 263"/>
                  <a:gd name="T50" fmla="*/ 195 w 207"/>
                  <a:gd name="T51" fmla="*/ 114 h 263"/>
                  <a:gd name="T52" fmla="*/ 183 w 207"/>
                  <a:gd name="T53" fmla="*/ 136 h 263"/>
                  <a:gd name="T54" fmla="*/ 148 w 207"/>
                  <a:gd name="T55" fmla="*/ 166 h 263"/>
                  <a:gd name="T56" fmla="*/ 108 w 207"/>
                  <a:gd name="T57" fmla="*/ 187 h 263"/>
                  <a:gd name="T58" fmla="*/ 96 w 207"/>
                  <a:gd name="T59" fmla="*/ 201 h 263"/>
                  <a:gd name="T60" fmla="*/ 91 w 207"/>
                  <a:gd name="T61" fmla="*/ 217 h 263"/>
                  <a:gd name="T62" fmla="*/ 86 w 207"/>
                  <a:gd name="T63" fmla="*/ 234 h 263"/>
                  <a:gd name="T64" fmla="*/ 84 w 207"/>
                  <a:gd name="T65" fmla="*/ 245 h 263"/>
                  <a:gd name="T66" fmla="*/ 73 w 207"/>
                  <a:gd name="T67" fmla="*/ 261 h 263"/>
                  <a:gd name="T68" fmla="*/ 67 w 207"/>
                  <a:gd name="T69" fmla="*/ 261 h 263"/>
                  <a:gd name="T70" fmla="*/ 54 w 207"/>
                  <a:gd name="T71" fmla="*/ 247 h 263"/>
                  <a:gd name="T72" fmla="*/ 42 w 207"/>
                  <a:gd name="T73" fmla="*/ 239 h 263"/>
                  <a:gd name="T74" fmla="*/ 26 w 207"/>
                  <a:gd name="T75" fmla="*/ 241 h 263"/>
                  <a:gd name="T76" fmla="*/ 19 w 207"/>
                  <a:gd name="T77" fmla="*/ 231 h 263"/>
                  <a:gd name="T78" fmla="*/ 31 w 207"/>
                  <a:gd name="T79" fmla="*/ 217 h 263"/>
                  <a:gd name="T80" fmla="*/ 24 w 207"/>
                  <a:gd name="T81" fmla="*/ 198 h 263"/>
                  <a:gd name="T82" fmla="*/ 35 w 207"/>
                  <a:gd name="T83" fmla="*/ 192 h 263"/>
                  <a:gd name="T84" fmla="*/ 40 w 207"/>
                  <a:gd name="T85" fmla="*/ 180 h 263"/>
                  <a:gd name="T86" fmla="*/ 45 w 207"/>
                  <a:gd name="T87" fmla="*/ 163 h 263"/>
                  <a:gd name="T88" fmla="*/ 38 w 207"/>
                  <a:gd name="T89" fmla="*/ 147 h 263"/>
                  <a:gd name="T90" fmla="*/ 38 w 207"/>
                  <a:gd name="T91" fmla="*/ 147 h 263"/>
                  <a:gd name="T92" fmla="*/ 37 w 207"/>
                  <a:gd name="T93" fmla="*/ 165 h 263"/>
                  <a:gd name="T94" fmla="*/ 35 w 207"/>
                  <a:gd name="T95" fmla="*/ 161 h 263"/>
                  <a:gd name="T96" fmla="*/ 35 w 207"/>
                  <a:gd name="T97" fmla="*/ 155 h 263"/>
                  <a:gd name="T98" fmla="*/ 29 w 207"/>
                  <a:gd name="T99" fmla="*/ 165 h 263"/>
                  <a:gd name="T100" fmla="*/ 15 w 207"/>
                  <a:gd name="T101" fmla="*/ 163 h 263"/>
                  <a:gd name="T102" fmla="*/ 0 w 207"/>
                  <a:gd name="T103" fmla="*/ 152 h 2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07" h="263">
                    <a:moveTo>
                      <a:pt x="0" y="149"/>
                    </a:moveTo>
                    <a:lnTo>
                      <a:pt x="2" y="149"/>
                    </a:lnTo>
                    <a:lnTo>
                      <a:pt x="5" y="147"/>
                    </a:lnTo>
                    <a:lnTo>
                      <a:pt x="7" y="144"/>
                    </a:lnTo>
                    <a:lnTo>
                      <a:pt x="8" y="141"/>
                    </a:lnTo>
                    <a:lnTo>
                      <a:pt x="8" y="138"/>
                    </a:lnTo>
                    <a:lnTo>
                      <a:pt x="5" y="130"/>
                    </a:lnTo>
                    <a:lnTo>
                      <a:pt x="4" y="123"/>
                    </a:lnTo>
                    <a:lnTo>
                      <a:pt x="5" y="117"/>
                    </a:lnTo>
                    <a:lnTo>
                      <a:pt x="7" y="114"/>
                    </a:lnTo>
                    <a:lnTo>
                      <a:pt x="5" y="111"/>
                    </a:lnTo>
                    <a:lnTo>
                      <a:pt x="2" y="106"/>
                    </a:lnTo>
                    <a:lnTo>
                      <a:pt x="0" y="103"/>
                    </a:lnTo>
                    <a:lnTo>
                      <a:pt x="4" y="98"/>
                    </a:lnTo>
                    <a:lnTo>
                      <a:pt x="7" y="96"/>
                    </a:lnTo>
                    <a:lnTo>
                      <a:pt x="10" y="96"/>
                    </a:lnTo>
                    <a:lnTo>
                      <a:pt x="13" y="95"/>
                    </a:lnTo>
                    <a:lnTo>
                      <a:pt x="15" y="92"/>
                    </a:lnTo>
                    <a:lnTo>
                      <a:pt x="15" y="88"/>
                    </a:lnTo>
                    <a:lnTo>
                      <a:pt x="16" y="84"/>
                    </a:lnTo>
                    <a:lnTo>
                      <a:pt x="21" y="85"/>
                    </a:lnTo>
                    <a:lnTo>
                      <a:pt x="24" y="84"/>
                    </a:lnTo>
                    <a:lnTo>
                      <a:pt x="23" y="84"/>
                    </a:lnTo>
                    <a:lnTo>
                      <a:pt x="19" y="84"/>
                    </a:lnTo>
                    <a:lnTo>
                      <a:pt x="18" y="79"/>
                    </a:lnTo>
                    <a:lnTo>
                      <a:pt x="16" y="76"/>
                    </a:lnTo>
                    <a:lnTo>
                      <a:pt x="18" y="73"/>
                    </a:lnTo>
                    <a:lnTo>
                      <a:pt x="19" y="69"/>
                    </a:lnTo>
                    <a:lnTo>
                      <a:pt x="26" y="63"/>
                    </a:lnTo>
                    <a:lnTo>
                      <a:pt x="29" y="58"/>
                    </a:lnTo>
                    <a:lnTo>
                      <a:pt x="32" y="55"/>
                    </a:lnTo>
                    <a:lnTo>
                      <a:pt x="32" y="52"/>
                    </a:lnTo>
                    <a:lnTo>
                      <a:pt x="32" y="47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2"/>
                    </a:lnTo>
                    <a:lnTo>
                      <a:pt x="32" y="41"/>
                    </a:lnTo>
                    <a:lnTo>
                      <a:pt x="32" y="38"/>
                    </a:lnTo>
                    <a:lnTo>
                      <a:pt x="32" y="35"/>
                    </a:lnTo>
                    <a:lnTo>
                      <a:pt x="32" y="33"/>
                    </a:lnTo>
                    <a:lnTo>
                      <a:pt x="29" y="30"/>
                    </a:lnTo>
                    <a:lnTo>
                      <a:pt x="31" y="27"/>
                    </a:lnTo>
                    <a:lnTo>
                      <a:pt x="34" y="25"/>
                    </a:lnTo>
                    <a:lnTo>
                      <a:pt x="35" y="23"/>
                    </a:lnTo>
                    <a:lnTo>
                      <a:pt x="38" y="23"/>
                    </a:lnTo>
                    <a:lnTo>
                      <a:pt x="43" y="19"/>
                    </a:lnTo>
                    <a:lnTo>
                      <a:pt x="46" y="20"/>
                    </a:lnTo>
                    <a:lnTo>
                      <a:pt x="46" y="22"/>
                    </a:lnTo>
                    <a:lnTo>
                      <a:pt x="46" y="23"/>
                    </a:lnTo>
                    <a:lnTo>
                      <a:pt x="48" y="23"/>
                    </a:lnTo>
                    <a:lnTo>
                      <a:pt x="48" y="23"/>
                    </a:lnTo>
                    <a:lnTo>
                      <a:pt x="46" y="22"/>
                    </a:lnTo>
                    <a:lnTo>
                      <a:pt x="48" y="19"/>
                    </a:lnTo>
                    <a:lnTo>
                      <a:pt x="51" y="17"/>
                    </a:lnTo>
                    <a:lnTo>
                      <a:pt x="54" y="16"/>
                    </a:lnTo>
                    <a:lnTo>
                      <a:pt x="59" y="14"/>
                    </a:lnTo>
                    <a:lnTo>
                      <a:pt x="62" y="14"/>
                    </a:lnTo>
                    <a:lnTo>
                      <a:pt x="65" y="12"/>
                    </a:lnTo>
                    <a:lnTo>
                      <a:pt x="69" y="9"/>
                    </a:lnTo>
                    <a:lnTo>
                      <a:pt x="70" y="12"/>
                    </a:lnTo>
                    <a:lnTo>
                      <a:pt x="72" y="11"/>
                    </a:lnTo>
                    <a:lnTo>
                      <a:pt x="75" y="8"/>
                    </a:lnTo>
                    <a:lnTo>
                      <a:pt x="75" y="3"/>
                    </a:lnTo>
                    <a:lnTo>
                      <a:pt x="77" y="0"/>
                    </a:lnTo>
                    <a:lnTo>
                      <a:pt x="80" y="3"/>
                    </a:lnTo>
                    <a:lnTo>
                      <a:pt x="83" y="8"/>
                    </a:lnTo>
                    <a:lnTo>
                      <a:pt x="83" y="8"/>
                    </a:lnTo>
                    <a:lnTo>
                      <a:pt x="84" y="8"/>
                    </a:lnTo>
                    <a:lnTo>
                      <a:pt x="86" y="9"/>
                    </a:lnTo>
                    <a:lnTo>
                      <a:pt x="89" y="9"/>
                    </a:lnTo>
                    <a:lnTo>
                      <a:pt x="92" y="14"/>
                    </a:lnTo>
                    <a:lnTo>
                      <a:pt x="96" y="16"/>
                    </a:lnTo>
                    <a:lnTo>
                      <a:pt x="99" y="19"/>
                    </a:lnTo>
                    <a:lnTo>
                      <a:pt x="102" y="22"/>
                    </a:lnTo>
                    <a:lnTo>
                      <a:pt x="107" y="22"/>
                    </a:lnTo>
                    <a:lnTo>
                      <a:pt x="108" y="23"/>
                    </a:lnTo>
                    <a:lnTo>
                      <a:pt x="113" y="25"/>
                    </a:lnTo>
                    <a:lnTo>
                      <a:pt x="116" y="23"/>
                    </a:lnTo>
                    <a:lnTo>
                      <a:pt x="118" y="25"/>
                    </a:lnTo>
                    <a:lnTo>
                      <a:pt x="119" y="28"/>
                    </a:lnTo>
                    <a:lnTo>
                      <a:pt x="121" y="31"/>
                    </a:lnTo>
                    <a:lnTo>
                      <a:pt x="126" y="31"/>
                    </a:lnTo>
                    <a:lnTo>
                      <a:pt x="126" y="35"/>
                    </a:lnTo>
                    <a:lnTo>
                      <a:pt x="126" y="38"/>
                    </a:lnTo>
                    <a:lnTo>
                      <a:pt x="127" y="42"/>
                    </a:lnTo>
                    <a:lnTo>
                      <a:pt x="130" y="44"/>
                    </a:lnTo>
                    <a:lnTo>
                      <a:pt x="134" y="44"/>
                    </a:lnTo>
                    <a:lnTo>
                      <a:pt x="137" y="44"/>
                    </a:lnTo>
                    <a:lnTo>
                      <a:pt x="140" y="44"/>
                    </a:lnTo>
                    <a:lnTo>
                      <a:pt x="143" y="47"/>
                    </a:lnTo>
                    <a:lnTo>
                      <a:pt x="145" y="47"/>
                    </a:lnTo>
                    <a:lnTo>
                      <a:pt x="148" y="49"/>
                    </a:lnTo>
                    <a:lnTo>
                      <a:pt x="153" y="49"/>
                    </a:lnTo>
                    <a:lnTo>
                      <a:pt x="156" y="47"/>
                    </a:lnTo>
                    <a:lnTo>
                      <a:pt x="159" y="49"/>
                    </a:lnTo>
                    <a:lnTo>
                      <a:pt x="162" y="49"/>
                    </a:lnTo>
                    <a:lnTo>
                      <a:pt x="164" y="49"/>
                    </a:lnTo>
                    <a:lnTo>
                      <a:pt x="164" y="44"/>
                    </a:lnTo>
                    <a:lnTo>
                      <a:pt x="164" y="42"/>
                    </a:lnTo>
                    <a:lnTo>
                      <a:pt x="173" y="42"/>
                    </a:lnTo>
                    <a:lnTo>
                      <a:pt x="176" y="44"/>
                    </a:lnTo>
                    <a:lnTo>
                      <a:pt x="180" y="49"/>
                    </a:lnTo>
                    <a:lnTo>
                      <a:pt x="184" y="54"/>
                    </a:lnTo>
                    <a:lnTo>
                      <a:pt x="188" y="57"/>
                    </a:lnTo>
                    <a:lnTo>
                      <a:pt x="191" y="58"/>
                    </a:lnTo>
                    <a:lnTo>
                      <a:pt x="195" y="58"/>
                    </a:lnTo>
                    <a:lnTo>
                      <a:pt x="195" y="58"/>
                    </a:lnTo>
                    <a:lnTo>
                      <a:pt x="199" y="62"/>
                    </a:lnTo>
                    <a:lnTo>
                      <a:pt x="202" y="63"/>
                    </a:lnTo>
                    <a:lnTo>
                      <a:pt x="203" y="63"/>
                    </a:lnTo>
                    <a:lnTo>
                      <a:pt x="200" y="65"/>
                    </a:lnTo>
                    <a:lnTo>
                      <a:pt x="197" y="65"/>
                    </a:lnTo>
                    <a:lnTo>
                      <a:pt x="192" y="63"/>
                    </a:lnTo>
                    <a:lnTo>
                      <a:pt x="192" y="63"/>
                    </a:lnTo>
                    <a:lnTo>
                      <a:pt x="192" y="66"/>
                    </a:lnTo>
                    <a:lnTo>
                      <a:pt x="195" y="68"/>
                    </a:lnTo>
                    <a:lnTo>
                      <a:pt x="197" y="71"/>
                    </a:lnTo>
                    <a:lnTo>
                      <a:pt x="199" y="74"/>
                    </a:lnTo>
                    <a:lnTo>
                      <a:pt x="202" y="77"/>
                    </a:lnTo>
                    <a:lnTo>
                      <a:pt x="205" y="82"/>
                    </a:lnTo>
                    <a:lnTo>
                      <a:pt x="205" y="85"/>
                    </a:lnTo>
                    <a:lnTo>
                      <a:pt x="205" y="85"/>
                    </a:lnTo>
                    <a:lnTo>
                      <a:pt x="203" y="88"/>
                    </a:lnTo>
                    <a:lnTo>
                      <a:pt x="205" y="92"/>
                    </a:lnTo>
                    <a:lnTo>
                      <a:pt x="205" y="96"/>
                    </a:lnTo>
                    <a:lnTo>
                      <a:pt x="207" y="98"/>
                    </a:lnTo>
                    <a:lnTo>
                      <a:pt x="203" y="98"/>
                    </a:lnTo>
                    <a:lnTo>
                      <a:pt x="200" y="96"/>
                    </a:lnTo>
                    <a:lnTo>
                      <a:pt x="199" y="106"/>
                    </a:lnTo>
                    <a:lnTo>
                      <a:pt x="195" y="114"/>
                    </a:lnTo>
                    <a:lnTo>
                      <a:pt x="194" y="122"/>
                    </a:lnTo>
                    <a:lnTo>
                      <a:pt x="194" y="122"/>
                    </a:lnTo>
                    <a:lnTo>
                      <a:pt x="192" y="123"/>
                    </a:lnTo>
                    <a:lnTo>
                      <a:pt x="189" y="127"/>
                    </a:lnTo>
                    <a:lnTo>
                      <a:pt x="183" y="136"/>
                    </a:lnTo>
                    <a:lnTo>
                      <a:pt x="178" y="142"/>
                    </a:lnTo>
                    <a:lnTo>
                      <a:pt x="173" y="149"/>
                    </a:lnTo>
                    <a:lnTo>
                      <a:pt x="164" y="157"/>
                    </a:lnTo>
                    <a:lnTo>
                      <a:pt x="157" y="163"/>
                    </a:lnTo>
                    <a:lnTo>
                      <a:pt x="148" y="166"/>
                    </a:lnTo>
                    <a:lnTo>
                      <a:pt x="142" y="169"/>
                    </a:lnTo>
                    <a:lnTo>
                      <a:pt x="134" y="173"/>
                    </a:lnTo>
                    <a:lnTo>
                      <a:pt x="126" y="176"/>
                    </a:lnTo>
                    <a:lnTo>
                      <a:pt x="118" y="179"/>
                    </a:lnTo>
                    <a:lnTo>
                      <a:pt x="108" y="187"/>
                    </a:lnTo>
                    <a:lnTo>
                      <a:pt x="100" y="195"/>
                    </a:lnTo>
                    <a:lnTo>
                      <a:pt x="102" y="199"/>
                    </a:lnTo>
                    <a:lnTo>
                      <a:pt x="100" y="203"/>
                    </a:lnTo>
                    <a:lnTo>
                      <a:pt x="99" y="199"/>
                    </a:lnTo>
                    <a:lnTo>
                      <a:pt x="96" y="201"/>
                    </a:lnTo>
                    <a:lnTo>
                      <a:pt x="96" y="204"/>
                    </a:lnTo>
                    <a:lnTo>
                      <a:pt x="94" y="209"/>
                    </a:lnTo>
                    <a:lnTo>
                      <a:pt x="94" y="212"/>
                    </a:lnTo>
                    <a:lnTo>
                      <a:pt x="94" y="214"/>
                    </a:lnTo>
                    <a:lnTo>
                      <a:pt x="91" y="217"/>
                    </a:lnTo>
                    <a:lnTo>
                      <a:pt x="89" y="220"/>
                    </a:lnTo>
                    <a:lnTo>
                      <a:pt x="89" y="225"/>
                    </a:lnTo>
                    <a:lnTo>
                      <a:pt x="88" y="228"/>
                    </a:lnTo>
                    <a:lnTo>
                      <a:pt x="86" y="231"/>
                    </a:lnTo>
                    <a:lnTo>
                      <a:pt x="86" y="234"/>
                    </a:lnTo>
                    <a:lnTo>
                      <a:pt x="84" y="234"/>
                    </a:lnTo>
                    <a:lnTo>
                      <a:pt x="86" y="238"/>
                    </a:lnTo>
                    <a:lnTo>
                      <a:pt x="86" y="242"/>
                    </a:lnTo>
                    <a:lnTo>
                      <a:pt x="84" y="245"/>
                    </a:lnTo>
                    <a:lnTo>
                      <a:pt x="84" y="245"/>
                    </a:lnTo>
                    <a:lnTo>
                      <a:pt x="81" y="247"/>
                    </a:lnTo>
                    <a:lnTo>
                      <a:pt x="78" y="252"/>
                    </a:lnTo>
                    <a:lnTo>
                      <a:pt x="77" y="255"/>
                    </a:lnTo>
                    <a:lnTo>
                      <a:pt x="75" y="258"/>
                    </a:lnTo>
                    <a:lnTo>
                      <a:pt x="73" y="261"/>
                    </a:lnTo>
                    <a:lnTo>
                      <a:pt x="72" y="263"/>
                    </a:lnTo>
                    <a:lnTo>
                      <a:pt x="72" y="263"/>
                    </a:lnTo>
                    <a:lnTo>
                      <a:pt x="72" y="263"/>
                    </a:lnTo>
                    <a:lnTo>
                      <a:pt x="70" y="261"/>
                    </a:lnTo>
                    <a:lnTo>
                      <a:pt x="67" y="261"/>
                    </a:lnTo>
                    <a:lnTo>
                      <a:pt x="65" y="261"/>
                    </a:lnTo>
                    <a:lnTo>
                      <a:pt x="62" y="258"/>
                    </a:lnTo>
                    <a:lnTo>
                      <a:pt x="59" y="255"/>
                    </a:lnTo>
                    <a:lnTo>
                      <a:pt x="56" y="250"/>
                    </a:lnTo>
                    <a:lnTo>
                      <a:pt x="54" y="247"/>
                    </a:lnTo>
                    <a:lnTo>
                      <a:pt x="56" y="245"/>
                    </a:lnTo>
                    <a:lnTo>
                      <a:pt x="53" y="242"/>
                    </a:lnTo>
                    <a:lnTo>
                      <a:pt x="48" y="241"/>
                    </a:lnTo>
                    <a:lnTo>
                      <a:pt x="45" y="242"/>
                    </a:lnTo>
                    <a:lnTo>
                      <a:pt x="42" y="239"/>
                    </a:lnTo>
                    <a:lnTo>
                      <a:pt x="38" y="238"/>
                    </a:lnTo>
                    <a:lnTo>
                      <a:pt x="37" y="238"/>
                    </a:lnTo>
                    <a:lnTo>
                      <a:pt x="34" y="234"/>
                    </a:lnTo>
                    <a:lnTo>
                      <a:pt x="32" y="234"/>
                    </a:lnTo>
                    <a:lnTo>
                      <a:pt x="26" y="241"/>
                    </a:lnTo>
                    <a:lnTo>
                      <a:pt x="23" y="242"/>
                    </a:lnTo>
                    <a:lnTo>
                      <a:pt x="19" y="239"/>
                    </a:lnTo>
                    <a:lnTo>
                      <a:pt x="21" y="236"/>
                    </a:lnTo>
                    <a:lnTo>
                      <a:pt x="24" y="233"/>
                    </a:lnTo>
                    <a:lnTo>
                      <a:pt x="19" y="231"/>
                    </a:lnTo>
                    <a:lnTo>
                      <a:pt x="19" y="228"/>
                    </a:lnTo>
                    <a:lnTo>
                      <a:pt x="18" y="225"/>
                    </a:lnTo>
                    <a:lnTo>
                      <a:pt x="23" y="222"/>
                    </a:lnTo>
                    <a:lnTo>
                      <a:pt x="26" y="223"/>
                    </a:lnTo>
                    <a:lnTo>
                      <a:pt x="31" y="217"/>
                    </a:lnTo>
                    <a:lnTo>
                      <a:pt x="29" y="209"/>
                    </a:lnTo>
                    <a:lnTo>
                      <a:pt x="27" y="201"/>
                    </a:lnTo>
                    <a:lnTo>
                      <a:pt x="27" y="199"/>
                    </a:lnTo>
                    <a:lnTo>
                      <a:pt x="26" y="198"/>
                    </a:lnTo>
                    <a:lnTo>
                      <a:pt x="24" y="198"/>
                    </a:lnTo>
                    <a:lnTo>
                      <a:pt x="24" y="196"/>
                    </a:lnTo>
                    <a:lnTo>
                      <a:pt x="24" y="196"/>
                    </a:lnTo>
                    <a:lnTo>
                      <a:pt x="29" y="195"/>
                    </a:lnTo>
                    <a:lnTo>
                      <a:pt x="34" y="193"/>
                    </a:lnTo>
                    <a:lnTo>
                      <a:pt x="35" y="192"/>
                    </a:lnTo>
                    <a:lnTo>
                      <a:pt x="35" y="192"/>
                    </a:lnTo>
                    <a:lnTo>
                      <a:pt x="37" y="190"/>
                    </a:lnTo>
                    <a:lnTo>
                      <a:pt x="37" y="187"/>
                    </a:lnTo>
                    <a:lnTo>
                      <a:pt x="38" y="184"/>
                    </a:lnTo>
                    <a:lnTo>
                      <a:pt x="40" y="180"/>
                    </a:lnTo>
                    <a:lnTo>
                      <a:pt x="40" y="176"/>
                    </a:lnTo>
                    <a:lnTo>
                      <a:pt x="42" y="173"/>
                    </a:lnTo>
                    <a:lnTo>
                      <a:pt x="43" y="169"/>
                    </a:lnTo>
                    <a:lnTo>
                      <a:pt x="45" y="166"/>
                    </a:lnTo>
                    <a:lnTo>
                      <a:pt x="45" y="163"/>
                    </a:lnTo>
                    <a:lnTo>
                      <a:pt x="42" y="158"/>
                    </a:lnTo>
                    <a:lnTo>
                      <a:pt x="40" y="155"/>
                    </a:lnTo>
                    <a:lnTo>
                      <a:pt x="40" y="152"/>
                    </a:lnTo>
                    <a:lnTo>
                      <a:pt x="38" y="147"/>
                    </a:lnTo>
                    <a:lnTo>
                      <a:pt x="38" y="147"/>
                    </a:lnTo>
                    <a:lnTo>
                      <a:pt x="40" y="144"/>
                    </a:lnTo>
                    <a:lnTo>
                      <a:pt x="43" y="141"/>
                    </a:lnTo>
                    <a:lnTo>
                      <a:pt x="42" y="142"/>
                    </a:lnTo>
                    <a:lnTo>
                      <a:pt x="38" y="146"/>
                    </a:lnTo>
                    <a:lnTo>
                      <a:pt x="38" y="147"/>
                    </a:lnTo>
                    <a:lnTo>
                      <a:pt x="38" y="149"/>
                    </a:lnTo>
                    <a:lnTo>
                      <a:pt x="40" y="152"/>
                    </a:lnTo>
                    <a:lnTo>
                      <a:pt x="40" y="157"/>
                    </a:lnTo>
                    <a:lnTo>
                      <a:pt x="38" y="160"/>
                    </a:lnTo>
                    <a:lnTo>
                      <a:pt x="37" y="165"/>
                    </a:lnTo>
                    <a:lnTo>
                      <a:pt x="37" y="165"/>
                    </a:lnTo>
                    <a:lnTo>
                      <a:pt x="35" y="166"/>
                    </a:lnTo>
                    <a:lnTo>
                      <a:pt x="32" y="163"/>
                    </a:lnTo>
                    <a:lnTo>
                      <a:pt x="35" y="160"/>
                    </a:lnTo>
                    <a:lnTo>
                      <a:pt x="35" y="161"/>
                    </a:lnTo>
                    <a:lnTo>
                      <a:pt x="37" y="160"/>
                    </a:lnTo>
                    <a:lnTo>
                      <a:pt x="35" y="160"/>
                    </a:lnTo>
                    <a:lnTo>
                      <a:pt x="34" y="158"/>
                    </a:lnTo>
                    <a:lnTo>
                      <a:pt x="34" y="157"/>
                    </a:lnTo>
                    <a:lnTo>
                      <a:pt x="35" y="155"/>
                    </a:lnTo>
                    <a:lnTo>
                      <a:pt x="35" y="153"/>
                    </a:lnTo>
                    <a:lnTo>
                      <a:pt x="34" y="153"/>
                    </a:lnTo>
                    <a:lnTo>
                      <a:pt x="32" y="158"/>
                    </a:lnTo>
                    <a:lnTo>
                      <a:pt x="31" y="161"/>
                    </a:lnTo>
                    <a:lnTo>
                      <a:pt x="29" y="165"/>
                    </a:lnTo>
                    <a:lnTo>
                      <a:pt x="24" y="166"/>
                    </a:lnTo>
                    <a:lnTo>
                      <a:pt x="26" y="171"/>
                    </a:lnTo>
                    <a:lnTo>
                      <a:pt x="23" y="168"/>
                    </a:lnTo>
                    <a:lnTo>
                      <a:pt x="18" y="166"/>
                    </a:lnTo>
                    <a:lnTo>
                      <a:pt x="15" y="163"/>
                    </a:lnTo>
                    <a:lnTo>
                      <a:pt x="13" y="158"/>
                    </a:lnTo>
                    <a:lnTo>
                      <a:pt x="8" y="157"/>
                    </a:lnTo>
                    <a:lnTo>
                      <a:pt x="5" y="155"/>
                    </a:lnTo>
                    <a:lnTo>
                      <a:pt x="4" y="155"/>
                    </a:lnTo>
                    <a:lnTo>
                      <a:pt x="0" y="152"/>
                    </a:lnTo>
                    <a:lnTo>
                      <a:pt x="0" y="149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sp>
          <p:nvSpPr>
            <p:cNvPr id="378" name="Freeform 752"/>
            <p:cNvSpPr>
              <a:spLocks/>
            </p:cNvSpPr>
            <p:nvPr/>
          </p:nvSpPr>
          <p:spPr bwMode="auto">
            <a:xfrm>
              <a:off x="3918143" y="4630921"/>
              <a:ext cx="79400" cy="126932"/>
            </a:xfrm>
            <a:custGeom>
              <a:avLst/>
              <a:gdLst>
                <a:gd name="T0" fmla="*/ 3 w 108"/>
                <a:gd name="T1" fmla="*/ 139 h 149"/>
                <a:gd name="T2" fmla="*/ 8 w 108"/>
                <a:gd name="T3" fmla="*/ 133 h 149"/>
                <a:gd name="T4" fmla="*/ 11 w 108"/>
                <a:gd name="T5" fmla="*/ 127 h 149"/>
                <a:gd name="T6" fmla="*/ 14 w 108"/>
                <a:gd name="T7" fmla="*/ 120 h 149"/>
                <a:gd name="T8" fmla="*/ 16 w 108"/>
                <a:gd name="T9" fmla="*/ 112 h 149"/>
                <a:gd name="T10" fmla="*/ 14 w 108"/>
                <a:gd name="T11" fmla="*/ 106 h 149"/>
                <a:gd name="T12" fmla="*/ 19 w 108"/>
                <a:gd name="T13" fmla="*/ 100 h 149"/>
                <a:gd name="T14" fmla="*/ 21 w 108"/>
                <a:gd name="T15" fmla="*/ 96 h 149"/>
                <a:gd name="T16" fmla="*/ 22 w 108"/>
                <a:gd name="T17" fmla="*/ 90 h 149"/>
                <a:gd name="T18" fmla="*/ 19 w 108"/>
                <a:gd name="T19" fmla="*/ 84 h 149"/>
                <a:gd name="T20" fmla="*/ 14 w 108"/>
                <a:gd name="T21" fmla="*/ 77 h 149"/>
                <a:gd name="T22" fmla="*/ 10 w 108"/>
                <a:gd name="T23" fmla="*/ 69 h 149"/>
                <a:gd name="T24" fmla="*/ 8 w 108"/>
                <a:gd name="T25" fmla="*/ 63 h 149"/>
                <a:gd name="T26" fmla="*/ 8 w 108"/>
                <a:gd name="T27" fmla="*/ 55 h 149"/>
                <a:gd name="T28" fmla="*/ 8 w 108"/>
                <a:gd name="T29" fmla="*/ 50 h 149"/>
                <a:gd name="T30" fmla="*/ 8 w 108"/>
                <a:gd name="T31" fmla="*/ 44 h 149"/>
                <a:gd name="T32" fmla="*/ 6 w 108"/>
                <a:gd name="T33" fmla="*/ 36 h 149"/>
                <a:gd name="T34" fmla="*/ 8 w 108"/>
                <a:gd name="T35" fmla="*/ 30 h 149"/>
                <a:gd name="T36" fmla="*/ 19 w 108"/>
                <a:gd name="T37" fmla="*/ 16 h 149"/>
                <a:gd name="T38" fmla="*/ 22 w 108"/>
                <a:gd name="T39" fmla="*/ 12 h 149"/>
                <a:gd name="T40" fmla="*/ 24 w 108"/>
                <a:gd name="T41" fmla="*/ 6 h 149"/>
                <a:gd name="T42" fmla="*/ 29 w 108"/>
                <a:gd name="T43" fmla="*/ 0 h 149"/>
                <a:gd name="T44" fmla="*/ 36 w 108"/>
                <a:gd name="T45" fmla="*/ 1 h 149"/>
                <a:gd name="T46" fmla="*/ 43 w 108"/>
                <a:gd name="T47" fmla="*/ 8 h 149"/>
                <a:gd name="T48" fmla="*/ 49 w 108"/>
                <a:gd name="T49" fmla="*/ 9 h 149"/>
                <a:gd name="T50" fmla="*/ 56 w 108"/>
                <a:gd name="T51" fmla="*/ 11 h 149"/>
                <a:gd name="T52" fmla="*/ 60 w 108"/>
                <a:gd name="T53" fmla="*/ 12 h 149"/>
                <a:gd name="T54" fmla="*/ 65 w 108"/>
                <a:gd name="T55" fmla="*/ 14 h 149"/>
                <a:gd name="T56" fmla="*/ 71 w 108"/>
                <a:gd name="T57" fmla="*/ 22 h 149"/>
                <a:gd name="T58" fmla="*/ 78 w 108"/>
                <a:gd name="T59" fmla="*/ 28 h 149"/>
                <a:gd name="T60" fmla="*/ 82 w 108"/>
                <a:gd name="T61" fmla="*/ 33 h 149"/>
                <a:gd name="T62" fmla="*/ 87 w 108"/>
                <a:gd name="T63" fmla="*/ 35 h 149"/>
                <a:gd name="T64" fmla="*/ 84 w 108"/>
                <a:gd name="T65" fmla="*/ 41 h 149"/>
                <a:gd name="T66" fmla="*/ 86 w 108"/>
                <a:gd name="T67" fmla="*/ 38 h 149"/>
                <a:gd name="T68" fmla="*/ 92 w 108"/>
                <a:gd name="T69" fmla="*/ 41 h 149"/>
                <a:gd name="T70" fmla="*/ 97 w 108"/>
                <a:gd name="T71" fmla="*/ 47 h 149"/>
                <a:gd name="T72" fmla="*/ 97 w 108"/>
                <a:gd name="T73" fmla="*/ 54 h 149"/>
                <a:gd name="T74" fmla="*/ 98 w 108"/>
                <a:gd name="T75" fmla="*/ 55 h 149"/>
                <a:gd name="T76" fmla="*/ 101 w 108"/>
                <a:gd name="T77" fmla="*/ 46 h 149"/>
                <a:gd name="T78" fmla="*/ 105 w 108"/>
                <a:gd name="T79" fmla="*/ 52 h 149"/>
                <a:gd name="T80" fmla="*/ 106 w 108"/>
                <a:gd name="T81" fmla="*/ 60 h 149"/>
                <a:gd name="T82" fmla="*/ 108 w 108"/>
                <a:gd name="T83" fmla="*/ 66 h 149"/>
                <a:gd name="T84" fmla="*/ 105 w 108"/>
                <a:gd name="T85" fmla="*/ 71 h 149"/>
                <a:gd name="T86" fmla="*/ 100 w 108"/>
                <a:gd name="T87" fmla="*/ 77 h 149"/>
                <a:gd name="T88" fmla="*/ 95 w 108"/>
                <a:gd name="T89" fmla="*/ 85 h 149"/>
                <a:gd name="T90" fmla="*/ 92 w 108"/>
                <a:gd name="T91" fmla="*/ 92 h 149"/>
                <a:gd name="T92" fmla="*/ 89 w 108"/>
                <a:gd name="T93" fmla="*/ 98 h 149"/>
                <a:gd name="T94" fmla="*/ 82 w 108"/>
                <a:gd name="T95" fmla="*/ 106 h 149"/>
                <a:gd name="T96" fmla="*/ 82 w 108"/>
                <a:gd name="T97" fmla="*/ 111 h 149"/>
                <a:gd name="T98" fmla="*/ 78 w 108"/>
                <a:gd name="T99" fmla="*/ 117 h 149"/>
                <a:gd name="T100" fmla="*/ 75 w 108"/>
                <a:gd name="T101" fmla="*/ 130 h 149"/>
                <a:gd name="T102" fmla="*/ 67 w 108"/>
                <a:gd name="T103" fmla="*/ 139 h 149"/>
                <a:gd name="T104" fmla="*/ 56 w 108"/>
                <a:gd name="T105" fmla="*/ 144 h 149"/>
                <a:gd name="T106" fmla="*/ 48 w 108"/>
                <a:gd name="T107" fmla="*/ 146 h 149"/>
                <a:gd name="T108" fmla="*/ 48 w 108"/>
                <a:gd name="T109" fmla="*/ 139 h 149"/>
                <a:gd name="T110" fmla="*/ 38 w 108"/>
                <a:gd name="T111" fmla="*/ 142 h 149"/>
                <a:gd name="T112" fmla="*/ 30 w 108"/>
                <a:gd name="T113" fmla="*/ 138 h 149"/>
                <a:gd name="T114" fmla="*/ 24 w 108"/>
                <a:gd name="T115" fmla="*/ 144 h 149"/>
                <a:gd name="T116" fmla="*/ 17 w 108"/>
                <a:gd name="T117" fmla="*/ 149 h 149"/>
                <a:gd name="T118" fmla="*/ 10 w 108"/>
                <a:gd name="T119" fmla="*/ 147 h 149"/>
                <a:gd name="T120" fmla="*/ 3 w 108"/>
                <a:gd name="T121" fmla="*/ 142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8" h="149">
                  <a:moveTo>
                    <a:pt x="0" y="139"/>
                  </a:moveTo>
                  <a:lnTo>
                    <a:pt x="3" y="139"/>
                  </a:lnTo>
                  <a:lnTo>
                    <a:pt x="5" y="136"/>
                  </a:lnTo>
                  <a:lnTo>
                    <a:pt x="8" y="133"/>
                  </a:lnTo>
                  <a:lnTo>
                    <a:pt x="10" y="130"/>
                  </a:lnTo>
                  <a:lnTo>
                    <a:pt x="11" y="127"/>
                  </a:lnTo>
                  <a:lnTo>
                    <a:pt x="13" y="123"/>
                  </a:lnTo>
                  <a:lnTo>
                    <a:pt x="14" y="120"/>
                  </a:lnTo>
                  <a:lnTo>
                    <a:pt x="16" y="115"/>
                  </a:lnTo>
                  <a:lnTo>
                    <a:pt x="16" y="112"/>
                  </a:lnTo>
                  <a:lnTo>
                    <a:pt x="16" y="109"/>
                  </a:lnTo>
                  <a:lnTo>
                    <a:pt x="14" y="106"/>
                  </a:lnTo>
                  <a:lnTo>
                    <a:pt x="16" y="104"/>
                  </a:lnTo>
                  <a:lnTo>
                    <a:pt x="19" y="100"/>
                  </a:lnTo>
                  <a:lnTo>
                    <a:pt x="19" y="100"/>
                  </a:lnTo>
                  <a:lnTo>
                    <a:pt x="21" y="96"/>
                  </a:lnTo>
                  <a:lnTo>
                    <a:pt x="22" y="93"/>
                  </a:lnTo>
                  <a:lnTo>
                    <a:pt x="22" y="90"/>
                  </a:lnTo>
                  <a:lnTo>
                    <a:pt x="22" y="87"/>
                  </a:lnTo>
                  <a:lnTo>
                    <a:pt x="19" y="84"/>
                  </a:lnTo>
                  <a:lnTo>
                    <a:pt x="19" y="81"/>
                  </a:lnTo>
                  <a:lnTo>
                    <a:pt x="14" y="77"/>
                  </a:lnTo>
                  <a:lnTo>
                    <a:pt x="13" y="73"/>
                  </a:lnTo>
                  <a:lnTo>
                    <a:pt x="10" y="69"/>
                  </a:lnTo>
                  <a:lnTo>
                    <a:pt x="11" y="66"/>
                  </a:lnTo>
                  <a:lnTo>
                    <a:pt x="8" y="63"/>
                  </a:lnTo>
                  <a:lnTo>
                    <a:pt x="10" y="58"/>
                  </a:lnTo>
                  <a:lnTo>
                    <a:pt x="8" y="55"/>
                  </a:lnTo>
                  <a:lnTo>
                    <a:pt x="8" y="54"/>
                  </a:lnTo>
                  <a:lnTo>
                    <a:pt x="8" y="50"/>
                  </a:lnTo>
                  <a:lnTo>
                    <a:pt x="8" y="47"/>
                  </a:lnTo>
                  <a:lnTo>
                    <a:pt x="8" y="44"/>
                  </a:lnTo>
                  <a:lnTo>
                    <a:pt x="6" y="39"/>
                  </a:lnTo>
                  <a:lnTo>
                    <a:pt x="6" y="36"/>
                  </a:lnTo>
                  <a:lnTo>
                    <a:pt x="8" y="33"/>
                  </a:lnTo>
                  <a:lnTo>
                    <a:pt x="8" y="30"/>
                  </a:lnTo>
                  <a:lnTo>
                    <a:pt x="13" y="22"/>
                  </a:lnTo>
                  <a:lnTo>
                    <a:pt x="19" y="16"/>
                  </a:lnTo>
                  <a:lnTo>
                    <a:pt x="22" y="14"/>
                  </a:lnTo>
                  <a:lnTo>
                    <a:pt x="22" y="12"/>
                  </a:lnTo>
                  <a:lnTo>
                    <a:pt x="24" y="9"/>
                  </a:lnTo>
                  <a:lnTo>
                    <a:pt x="24" y="6"/>
                  </a:lnTo>
                  <a:lnTo>
                    <a:pt x="25" y="3"/>
                  </a:lnTo>
                  <a:lnTo>
                    <a:pt x="29" y="0"/>
                  </a:lnTo>
                  <a:lnTo>
                    <a:pt x="33" y="0"/>
                  </a:lnTo>
                  <a:lnTo>
                    <a:pt x="36" y="1"/>
                  </a:lnTo>
                  <a:lnTo>
                    <a:pt x="40" y="4"/>
                  </a:lnTo>
                  <a:lnTo>
                    <a:pt x="43" y="8"/>
                  </a:lnTo>
                  <a:lnTo>
                    <a:pt x="46" y="8"/>
                  </a:lnTo>
                  <a:lnTo>
                    <a:pt x="49" y="9"/>
                  </a:lnTo>
                  <a:lnTo>
                    <a:pt x="52" y="11"/>
                  </a:lnTo>
                  <a:lnTo>
                    <a:pt x="56" y="11"/>
                  </a:lnTo>
                  <a:lnTo>
                    <a:pt x="57" y="11"/>
                  </a:lnTo>
                  <a:lnTo>
                    <a:pt x="60" y="12"/>
                  </a:lnTo>
                  <a:lnTo>
                    <a:pt x="62" y="11"/>
                  </a:lnTo>
                  <a:lnTo>
                    <a:pt x="65" y="14"/>
                  </a:lnTo>
                  <a:lnTo>
                    <a:pt x="68" y="17"/>
                  </a:lnTo>
                  <a:lnTo>
                    <a:pt x="71" y="22"/>
                  </a:lnTo>
                  <a:lnTo>
                    <a:pt x="75" y="25"/>
                  </a:lnTo>
                  <a:lnTo>
                    <a:pt x="78" y="28"/>
                  </a:lnTo>
                  <a:lnTo>
                    <a:pt x="81" y="30"/>
                  </a:lnTo>
                  <a:lnTo>
                    <a:pt x="82" y="33"/>
                  </a:lnTo>
                  <a:lnTo>
                    <a:pt x="84" y="35"/>
                  </a:lnTo>
                  <a:lnTo>
                    <a:pt x="87" y="35"/>
                  </a:lnTo>
                  <a:lnTo>
                    <a:pt x="84" y="38"/>
                  </a:lnTo>
                  <a:lnTo>
                    <a:pt x="84" y="41"/>
                  </a:lnTo>
                  <a:lnTo>
                    <a:pt x="84" y="41"/>
                  </a:lnTo>
                  <a:lnTo>
                    <a:pt x="86" y="38"/>
                  </a:lnTo>
                  <a:lnTo>
                    <a:pt x="89" y="36"/>
                  </a:lnTo>
                  <a:lnTo>
                    <a:pt x="92" y="41"/>
                  </a:lnTo>
                  <a:lnTo>
                    <a:pt x="95" y="44"/>
                  </a:lnTo>
                  <a:lnTo>
                    <a:pt x="97" y="47"/>
                  </a:lnTo>
                  <a:lnTo>
                    <a:pt x="97" y="50"/>
                  </a:lnTo>
                  <a:lnTo>
                    <a:pt x="97" y="54"/>
                  </a:lnTo>
                  <a:lnTo>
                    <a:pt x="95" y="57"/>
                  </a:lnTo>
                  <a:lnTo>
                    <a:pt x="98" y="55"/>
                  </a:lnTo>
                  <a:lnTo>
                    <a:pt x="98" y="47"/>
                  </a:lnTo>
                  <a:lnTo>
                    <a:pt x="101" y="46"/>
                  </a:lnTo>
                  <a:lnTo>
                    <a:pt x="105" y="49"/>
                  </a:lnTo>
                  <a:lnTo>
                    <a:pt x="105" y="52"/>
                  </a:lnTo>
                  <a:lnTo>
                    <a:pt x="106" y="55"/>
                  </a:lnTo>
                  <a:lnTo>
                    <a:pt x="106" y="60"/>
                  </a:lnTo>
                  <a:lnTo>
                    <a:pt x="108" y="63"/>
                  </a:lnTo>
                  <a:lnTo>
                    <a:pt x="108" y="66"/>
                  </a:lnTo>
                  <a:lnTo>
                    <a:pt x="106" y="69"/>
                  </a:lnTo>
                  <a:lnTo>
                    <a:pt x="105" y="71"/>
                  </a:lnTo>
                  <a:lnTo>
                    <a:pt x="103" y="74"/>
                  </a:lnTo>
                  <a:lnTo>
                    <a:pt x="100" y="77"/>
                  </a:lnTo>
                  <a:lnTo>
                    <a:pt x="98" y="81"/>
                  </a:lnTo>
                  <a:lnTo>
                    <a:pt x="95" y="85"/>
                  </a:lnTo>
                  <a:lnTo>
                    <a:pt x="94" y="88"/>
                  </a:lnTo>
                  <a:lnTo>
                    <a:pt x="92" y="92"/>
                  </a:lnTo>
                  <a:lnTo>
                    <a:pt x="90" y="95"/>
                  </a:lnTo>
                  <a:lnTo>
                    <a:pt x="89" y="98"/>
                  </a:lnTo>
                  <a:lnTo>
                    <a:pt x="86" y="101"/>
                  </a:lnTo>
                  <a:lnTo>
                    <a:pt x="82" y="106"/>
                  </a:lnTo>
                  <a:lnTo>
                    <a:pt x="82" y="107"/>
                  </a:lnTo>
                  <a:lnTo>
                    <a:pt x="82" y="111"/>
                  </a:lnTo>
                  <a:lnTo>
                    <a:pt x="81" y="114"/>
                  </a:lnTo>
                  <a:lnTo>
                    <a:pt x="78" y="117"/>
                  </a:lnTo>
                  <a:lnTo>
                    <a:pt x="78" y="120"/>
                  </a:lnTo>
                  <a:lnTo>
                    <a:pt x="75" y="130"/>
                  </a:lnTo>
                  <a:lnTo>
                    <a:pt x="71" y="136"/>
                  </a:lnTo>
                  <a:lnTo>
                    <a:pt x="67" y="139"/>
                  </a:lnTo>
                  <a:lnTo>
                    <a:pt x="59" y="146"/>
                  </a:lnTo>
                  <a:lnTo>
                    <a:pt x="56" y="144"/>
                  </a:lnTo>
                  <a:lnTo>
                    <a:pt x="52" y="144"/>
                  </a:lnTo>
                  <a:lnTo>
                    <a:pt x="48" y="146"/>
                  </a:lnTo>
                  <a:lnTo>
                    <a:pt x="49" y="144"/>
                  </a:lnTo>
                  <a:lnTo>
                    <a:pt x="48" y="139"/>
                  </a:lnTo>
                  <a:lnTo>
                    <a:pt x="43" y="141"/>
                  </a:lnTo>
                  <a:lnTo>
                    <a:pt x="38" y="142"/>
                  </a:lnTo>
                  <a:lnTo>
                    <a:pt x="35" y="141"/>
                  </a:lnTo>
                  <a:lnTo>
                    <a:pt x="30" y="138"/>
                  </a:lnTo>
                  <a:lnTo>
                    <a:pt x="27" y="141"/>
                  </a:lnTo>
                  <a:lnTo>
                    <a:pt x="24" y="144"/>
                  </a:lnTo>
                  <a:lnTo>
                    <a:pt x="19" y="146"/>
                  </a:lnTo>
                  <a:lnTo>
                    <a:pt x="17" y="149"/>
                  </a:lnTo>
                  <a:lnTo>
                    <a:pt x="14" y="147"/>
                  </a:lnTo>
                  <a:lnTo>
                    <a:pt x="10" y="147"/>
                  </a:lnTo>
                  <a:lnTo>
                    <a:pt x="6" y="144"/>
                  </a:lnTo>
                  <a:lnTo>
                    <a:pt x="3" y="142"/>
                  </a:lnTo>
                  <a:lnTo>
                    <a:pt x="0" y="139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79" name="Freeform 753"/>
            <p:cNvSpPr>
              <a:spLocks/>
            </p:cNvSpPr>
            <p:nvPr/>
          </p:nvSpPr>
          <p:spPr bwMode="auto">
            <a:xfrm>
              <a:off x="3826980" y="4624151"/>
              <a:ext cx="108807" cy="142164"/>
            </a:xfrm>
            <a:custGeom>
              <a:avLst/>
              <a:gdLst>
                <a:gd name="T0" fmla="*/ 8 w 148"/>
                <a:gd name="T1" fmla="*/ 92 h 170"/>
                <a:gd name="T2" fmla="*/ 2 w 148"/>
                <a:gd name="T3" fmla="*/ 81 h 170"/>
                <a:gd name="T4" fmla="*/ 3 w 148"/>
                <a:gd name="T5" fmla="*/ 71 h 170"/>
                <a:gd name="T6" fmla="*/ 7 w 148"/>
                <a:gd name="T7" fmla="*/ 60 h 170"/>
                <a:gd name="T8" fmla="*/ 8 w 148"/>
                <a:gd name="T9" fmla="*/ 49 h 170"/>
                <a:gd name="T10" fmla="*/ 13 w 148"/>
                <a:gd name="T11" fmla="*/ 41 h 170"/>
                <a:gd name="T12" fmla="*/ 24 w 148"/>
                <a:gd name="T13" fmla="*/ 40 h 170"/>
                <a:gd name="T14" fmla="*/ 30 w 148"/>
                <a:gd name="T15" fmla="*/ 40 h 170"/>
                <a:gd name="T16" fmla="*/ 32 w 148"/>
                <a:gd name="T17" fmla="*/ 30 h 170"/>
                <a:gd name="T18" fmla="*/ 30 w 148"/>
                <a:gd name="T19" fmla="*/ 24 h 170"/>
                <a:gd name="T20" fmla="*/ 35 w 148"/>
                <a:gd name="T21" fmla="*/ 14 h 170"/>
                <a:gd name="T22" fmla="*/ 38 w 148"/>
                <a:gd name="T23" fmla="*/ 3 h 170"/>
                <a:gd name="T24" fmla="*/ 42 w 148"/>
                <a:gd name="T25" fmla="*/ 0 h 170"/>
                <a:gd name="T26" fmla="*/ 59 w 148"/>
                <a:gd name="T27" fmla="*/ 2 h 170"/>
                <a:gd name="T28" fmla="*/ 81 w 148"/>
                <a:gd name="T29" fmla="*/ 13 h 170"/>
                <a:gd name="T30" fmla="*/ 81 w 148"/>
                <a:gd name="T31" fmla="*/ 6 h 170"/>
                <a:gd name="T32" fmla="*/ 88 w 148"/>
                <a:gd name="T33" fmla="*/ 0 h 170"/>
                <a:gd name="T34" fmla="*/ 103 w 148"/>
                <a:gd name="T35" fmla="*/ 3 h 170"/>
                <a:gd name="T36" fmla="*/ 108 w 148"/>
                <a:gd name="T37" fmla="*/ 6 h 170"/>
                <a:gd name="T38" fmla="*/ 118 w 148"/>
                <a:gd name="T39" fmla="*/ 5 h 170"/>
                <a:gd name="T40" fmla="*/ 110 w 148"/>
                <a:gd name="T41" fmla="*/ 3 h 170"/>
                <a:gd name="T42" fmla="*/ 127 w 148"/>
                <a:gd name="T43" fmla="*/ 2 h 170"/>
                <a:gd name="T44" fmla="*/ 148 w 148"/>
                <a:gd name="T45" fmla="*/ 16 h 170"/>
                <a:gd name="T46" fmla="*/ 137 w 148"/>
                <a:gd name="T47" fmla="*/ 32 h 170"/>
                <a:gd name="T48" fmla="*/ 132 w 148"/>
                <a:gd name="T49" fmla="*/ 40 h 170"/>
                <a:gd name="T50" fmla="*/ 130 w 148"/>
                <a:gd name="T51" fmla="*/ 49 h 170"/>
                <a:gd name="T52" fmla="*/ 132 w 148"/>
                <a:gd name="T53" fmla="*/ 60 h 170"/>
                <a:gd name="T54" fmla="*/ 134 w 148"/>
                <a:gd name="T55" fmla="*/ 68 h 170"/>
                <a:gd name="T56" fmla="*/ 134 w 148"/>
                <a:gd name="T57" fmla="*/ 79 h 170"/>
                <a:gd name="T58" fmla="*/ 143 w 148"/>
                <a:gd name="T59" fmla="*/ 91 h 170"/>
                <a:gd name="T60" fmla="*/ 146 w 148"/>
                <a:gd name="T61" fmla="*/ 100 h 170"/>
                <a:gd name="T62" fmla="*/ 143 w 148"/>
                <a:gd name="T63" fmla="*/ 110 h 170"/>
                <a:gd name="T64" fmla="*/ 138 w 148"/>
                <a:gd name="T65" fmla="*/ 116 h 170"/>
                <a:gd name="T66" fmla="*/ 140 w 148"/>
                <a:gd name="T67" fmla="*/ 125 h 170"/>
                <a:gd name="T68" fmla="*/ 135 w 148"/>
                <a:gd name="T69" fmla="*/ 137 h 170"/>
                <a:gd name="T70" fmla="*/ 129 w 148"/>
                <a:gd name="T71" fmla="*/ 146 h 170"/>
                <a:gd name="T72" fmla="*/ 124 w 148"/>
                <a:gd name="T73" fmla="*/ 149 h 170"/>
                <a:gd name="T74" fmla="*/ 116 w 148"/>
                <a:gd name="T75" fmla="*/ 144 h 170"/>
                <a:gd name="T76" fmla="*/ 110 w 148"/>
                <a:gd name="T77" fmla="*/ 140 h 170"/>
                <a:gd name="T78" fmla="*/ 102 w 148"/>
                <a:gd name="T79" fmla="*/ 143 h 170"/>
                <a:gd name="T80" fmla="*/ 91 w 148"/>
                <a:gd name="T81" fmla="*/ 144 h 170"/>
                <a:gd name="T82" fmla="*/ 81 w 148"/>
                <a:gd name="T83" fmla="*/ 144 h 170"/>
                <a:gd name="T84" fmla="*/ 73 w 148"/>
                <a:gd name="T85" fmla="*/ 148 h 170"/>
                <a:gd name="T86" fmla="*/ 75 w 148"/>
                <a:gd name="T87" fmla="*/ 159 h 170"/>
                <a:gd name="T88" fmla="*/ 73 w 148"/>
                <a:gd name="T89" fmla="*/ 170 h 170"/>
                <a:gd name="T90" fmla="*/ 64 w 148"/>
                <a:gd name="T91" fmla="*/ 167 h 170"/>
                <a:gd name="T92" fmla="*/ 53 w 148"/>
                <a:gd name="T93" fmla="*/ 162 h 170"/>
                <a:gd name="T94" fmla="*/ 35 w 148"/>
                <a:gd name="T95" fmla="*/ 135 h 170"/>
                <a:gd name="T96" fmla="*/ 30 w 148"/>
                <a:gd name="T97" fmla="*/ 124 h 170"/>
                <a:gd name="T98" fmla="*/ 27 w 148"/>
                <a:gd name="T99" fmla="*/ 114 h 170"/>
                <a:gd name="T100" fmla="*/ 24 w 148"/>
                <a:gd name="T101" fmla="*/ 106 h 170"/>
                <a:gd name="T102" fmla="*/ 15 w 148"/>
                <a:gd name="T103" fmla="*/ 108 h 170"/>
                <a:gd name="T104" fmla="*/ 13 w 148"/>
                <a:gd name="T105" fmla="*/ 98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8" h="170">
                  <a:moveTo>
                    <a:pt x="13" y="98"/>
                  </a:moveTo>
                  <a:lnTo>
                    <a:pt x="8" y="95"/>
                  </a:lnTo>
                  <a:lnTo>
                    <a:pt x="8" y="92"/>
                  </a:lnTo>
                  <a:lnTo>
                    <a:pt x="7" y="89"/>
                  </a:lnTo>
                  <a:lnTo>
                    <a:pt x="5" y="86"/>
                  </a:lnTo>
                  <a:lnTo>
                    <a:pt x="2" y="81"/>
                  </a:lnTo>
                  <a:lnTo>
                    <a:pt x="2" y="78"/>
                  </a:lnTo>
                  <a:lnTo>
                    <a:pt x="0" y="75"/>
                  </a:lnTo>
                  <a:lnTo>
                    <a:pt x="3" y="71"/>
                  </a:lnTo>
                  <a:lnTo>
                    <a:pt x="5" y="67"/>
                  </a:lnTo>
                  <a:lnTo>
                    <a:pt x="5" y="64"/>
                  </a:lnTo>
                  <a:lnTo>
                    <a:pt x="7" y="60"/>
                  </a:lnTo>
                  <a:lnTo>
                    <a:pt x="8" y="57"/>
                  </a:lnTo>
                  <a:lnTo>
                    <a:pt x="10" y="54"/>
                  </a:lnTo>
                  <a:lnTo>
                    <a:pt x="8" y="49"/>
                  </a:lnTo>
                  <a:lnTo>
                    <a:pt x="7" y="46"/>
                  </a:lnTo>
                  <a:lnTo>
                    <a:pt x="10" y="43"/>
                  </a:lnTo>
                  <a:lnTo>
                    <a:pt x="13" y="41"/>
                  </a:lnTo>
                  <a:lnTo>
                    <a:pt x="16" y="40"/>
                  </a:lnTo>
                  <a:lnTo>
                    <a:pt x="21" y="40"/>
                  </a:lnTo>
                  <a:lnTo>
                    <a:pt x="24" y="40"/>
                  </a:lnTo>
                  <a:lnTo>
                    <a:pt x="27" y="40"/>
                  </a:lnTo>
                  <a:lnTo>
                    <a:pt x="27" y="40"/>
                  </a:lnTo>
                  <a:lnTo>
                    <a:pt x="30" y="40"/>
                  </a:lnTo>
                  <a:lnTo>
                    <a:pt x="29" y="37"/>
                  </a:lnTo>
                  <a:lnTo>
                    <a:pt x="32" y="33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29" y="27"/>
                  </a:lnTo>
                  <a:lnTo>
                    <a:pt x="30" y="24"/>
                  </a:lnTo>
                  <a:lnTo>
                    <a:pt x="32" y="21"/>
                  </a:lnTo>
                  <a:lnTo>
                    <a:pt x="35" y="18"/>
                  </a:lnTo>
                  <a:lnTo>
                    <a:pt x="35" y="14"/>
                  </a:lnTo>
                  <a:lnTo>
                    <a:pt x="35" y="11"/>
                  </a:lnTo>
                  <a:lnTo>
                    <a:pt x="37" y="8"/>
                  </a:lnTo>
                  <a:lnTo>
                    <a:pt x="38" y="3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2" y="0"/>
                  </a:lnTo>
                  <a:lnTo>
                    <a:pt x="45" y="0"/>
                  </a:lnTo>
                  <a:lnTo>
                    <a:pt x="53" y="2"/>
                  </a:lnTo>
                  <a:lnTo>
                    <a:pt x="59" y="2"/>
                  </a:lnTo>
                  <a:lnTo>
                    <a:pt x="70" y="5"/>
                  </a:lnTo>
                  <a:lnTo>
                    <a:pt x="81" y="10"/>
                  </a:lnTo>
                  <a:lnTo>
                    <a:pt x="81" y="13"/>
                  </a:lnTo>
                  <a:lnTo>
                    <a:pt x="81" y="11"/>
                  </a:lnTo>
                  <a:lnTo>
                    <a:pt x="81" y="8"/>
                  </a:lnTo>
                  <a:lnTo>
                    <a:pt x="81" y="6"/>
                  </a:lnTo>
                  <a:lnTo>
                    <a:pt x="81" y="3"/>
                  </a:lnTo>
                  <a:lnTo>
                    <a:pt x="84" y="2"/>
                  </a:lnTo>
                  <a:lnTo>
                    <a:pt x="88" y="0"/>
                  </a:lnTo>
                  <a:lnTo>
                    <a:pt x="97" y="0"/>
                  </a:lnTo>
                  <a:lnTo>
                    <a:pt x="102" y="2"/>
                  </a:lnTo>
                  <a:lnTo>
                    <a:pt x="103" y="3"/>
                  </a:lnTo>
                  <a:lnTo>
                    <a:pt x="105" y="3"/>
                  </a:lnTo>
                  <a:lnTo>
                    <a:pt x="107" y="3"/>
                  </a:lnTo>
                  <a:lnTo>
                    <a:pt x="108" y="6"/>
                  </a:lnTo>
                  <a:lnTo>
                    <a:pt x="110" y="5"/>
                  </a:lnTo>
                  <a:lnTo>
                    <a:pt x="113" y="5"/>
                  </a:lnTo>
                  <a:lnTo>
                    <a:pt x="118" y="5"/>
                  </a:lnTo>
                  <a:lnTo>
                    <a:pt x="116" y="3"/>
                  </a:lnTo>
                  <a:lnTo>
                    <a:pt x="113" y="5"/>
                  </a:lnTo>
                  <a:lnTo>
                    <a:pt x="110" y="3"/>
                  </a:lnTo>
                  <a:lnTo>
                    <a:pt x="110" y="0"/>
                  </a:lnTo>
                  <a:lnTo>
                    <a:pt x="119" y="0"/>
                  </a:lnTo>
                  <a:lnTo>
                    <a:pt x="127" y="2"/>
                  </a:lnTo>
                  <a:lnTo>
                    <a:pt x="138" y="3"/>
                  </a:lnTo>
                  <a:lnTo>
                    <a:pt x="148" y="8"/>
                  </a:lnTo>
                  <a:lnTo>
                    <a:pt x="148" y="16"/>
                  </a:lnTo>
                  <a:lnTo>
                    <a:pt x="146" y="21"/>
                  </a:lnTo>
                  <a:lnTo>
                    <a:pt x="141" y="27"/>
                  </a:lnTo>
                  <a:lnTo>
                    <a:pt x="137" y="32"/>
                  </a:lnTo>
                  <a:lnTo>
                    <a:pt x="137" y="32"/>
                  </a:lnTo>
                  <a:lnTo>
                    <a:pt x="135" y="37"/>
                  </a:lnTo>
                  <a:lnTo>
                    <a:pt x="132" y="40"/>
                  </a:lnTo>
                  <a:lnTo>
                    <a:pt x="132" y="43"/>
                  </a:lnTo>
                  <a:lnTo>
                    <a:pt x="130" y="46"/>
                  </a:lnTo>
                  <a:lnTo>
                    <a:pt x="130" y="49"/>
                  </a:lnTo>
                  <a:lnTo>
                    <a:pt x="132" y="54"/>
                  </a:lnTo>
                  <a:lnTo>
                    <a:pt x="132" y="57"/>
                  </a:lnTo>
                  <a:lnTo>
                    <a:pt x="132" y="60"/>
                  </a:lnTo>
                  <a:lnTo>
                    <a:pt x="132" y="64"/>
                  </a:lnTo>
                  <a:lnTo>
                    <a:pt x="132" y="65"/>
                  </a:lnTo>
                  <a:lnTo>
                    <a:pt x="134" y="68"/>
                  </a:lnTo>
                  <a:lnTo>
                    <a:pt x="132" y="73"/>
                  </a:lnTo>
                  <a:lnTo>
                    <a:pt x="135" y="76"/>
                  </a:lnTo>
                  <a:lnTo>
                    <a:pt x="134" y="79"/>
                  </a:lnTo>
                  <a:lnTo>
                    <a:pt x="137" y="83"/>
                  </a:lnTo>
                  <a:lnTo>
                    <a:pt x="138" y="87"/>
                  </a:lnTo>
                  <a:lnTo>
                    <a:pt x="143" y="91"/>
                  </a:lnTo>
                  <a:lnTo>
                    <a:pt x="143" y="94"/>
                  </a:lnTo>
                  <a:lnTo>
                    <a:pt x="146" y="97"/>
                  </a:lnTo>
                  <a:lnTo>
                    <a:pt x="146" y="100"/>
                  </a:lnTo>
                  <a:lnTo>
                    <a:pt x="146" y="103"/>
                  </a:lnTo>
                  <a:lnTo>
                    <a:pt x="145" y="106"/>
                  </a:lnTo>
                  <a:lnTo>
                    <a:pt x="143" y="110"/>
                  </a:lnTo>
                  <a:lnTo>
                    <a:pt x="143" y="110"/>
                  </a:lnTo>
                  <a:lnTo>
                    <a:pt x="140" y="114"/>
                  </a:lnTo>
                  <a:lnTo>
                    <a:pt x="138" y="116"/>
                  </a:lnTo>
                  <a:lnTo>
                    <a:pt x="140" y="119"/>
                  </a:lnTo>
                  <a:lnTo>
                    <a:pt x="140" y="122"/>
                  </a:lnTo>
                  <a:lnTo>
                    <a:pt x="140" y="125"/>
                  </a:lnTo>
                  <a:lnTo>
                    <a:pt x="138" y="130"/>
                  </a:lnTo>
                  <a:lnTo>
                    <a:pt x="137" y="133"/>
                  </a:lnTo>
                  <a:lnTo>
                    <a:pt x="135" y="137"/>
                  </a:lnTo>
                  <a:lnTo>
                    <a:pt x="134" y="140"/>
                  </a:lnTo>
                  <a:lnTo>
                    <a:pt x="132" y="143"/>
                  </a:lnTo>
                  <a:lnTo>
                    <a:pt x="129" y="146"/>
                  </a:lnTo>
                  <a:lnTo>
                    <a:pt x="127" y="149"/>
                  </a:lnTo>
                  <a:lnTo>
                    <a:pt x="124" y="149"/>
                  </a:lnTo>
                  <a:lnTo>
                    <a:pt x="124" y="149"/>
                  </a:lnTo>
                  <a:lnTo>
                    <a:pt x="121" y="148"/>
                  </a:lnTo>
                  <a:lnTo>
                    <a:pt x="118" y="144"/>
                  </a:lnTo>
                  <a:lnTo>
                    <a:pt x="116" y="144"/>
                  </a:lnTo>
                  <a:lnTo>
                    <a:pt x="111" y="143"/>
                  </a:lnTo>
                  <a:lnTo>
                    <a:pt x="110" y="138"/>
                  </a:lnTo>
                  <a:lnTo>
                    <a:pt x="110" y="140"/>
                  </a:lnTo>
                  <a:lnTo>
                    <a:pt x="108" y="140"/>
                  </a:lnTo>
                  <a:lnTo>
                    <a:pt x="105" y="140"/>
                  </a:lnTo>
                  <a:lnTo>
                    <a:pt x="102" y="143"/>
                  </a:lnTo>
                  <a:lnTo>
                    <a:pt x="99" y="141"/>
                  </a:lnTo>
                  <a:lnTo>
                    <a:pt x="95" y="144"/>
                  </a:lnTo>
                  <a:lnTo>
                    <a:pt x="91" y="144"/>
                  </a:lnTo>
                  <a:lnTo>
                    <a:pt x="88" y="144"/>
                  </a:lnTo>
                  <a:lnTo>
                    <a:pt x="84" y="146"/>
                  </a:lnTo>
                  <a:lnTo>
                    <a:pt x="81" y="144"/>
                  </a:lnTo>
                  <a:lnTo>
                    <a:pt x="78" y="143"/>
                  </a:lnTo>
                  <a:lnTo>
                    <a:pt x="73" y="143"/>
                  </a:lnTo>
                  <a:lnTo>
                    <a:pt x="73" y="148"/>
                  </a:lnTo>
                  <a:lnTo>
                    <a:pt x="70" y="149"/>
                  </a:lnTo>
                  <a:lnTo>
                    <a:pt x="68" y="152"/>
                  </a:lnTo>
                  <a:lnTo>
                    <a:pt x="75" y="159"/>
                  </a:lnTo>
                  <a:lnTo>
                    <a:pt x="76" y="162"/>
                  </a:lnTo>
                  <a:lnTo>
                    <a:pt x="76" y="167"/>
                  </a:lnTo>
                  <a:lnTo>
                    <a:pt x="73" y="170"/>
                  </a:lnTo>
                  <a:lnTo>
                    <a:pt x="70" y="170"/>
                  </a:lnTo>
                  <a:lnTo>
                    <a:pt x="67" y="167"/>
                  </a:lnTo>
                  <a:lnTo>
                    <a:pt x="64" y="167"/>
                  </a:lnTo>
                  <a:lnTo>
                    <a:pt x="59" y="167"/>
                  </a:lnTo>
                  <a:lnTo>
                    <a:pt x="56" y="165"/>
                  </a:lnTo>
                  <a:lnTo>
                    <a:pt x="53" y="162"/>
                  </a:lnTo>
                  <a:lnTo>
                    <a:pt x="48" y="162"/>
                  </a:lnTo>
                  <a:lnTo>
                    <a:pt x="42" y="149"/>
                  </a:lnTo>
                  <a:lnTo>
                    <a:pt x="35" y="135"/>
                  </a:lnTo>
                  <a:lnTo>
                    <a:pt x="32" y="132"/>
                  </a:lnTo>
                  <a:lnTo>
                    <a:pt x="30" y="129"/>
                  </a:lnTo>
                  <a:lnTo>
                    <a:pt x="30" y="124"/>
                  </a:lnTo>
                  <a:lnTo>
                    <a:pt x="30" y="121"/>
                  </a:lnTo>
                  <a:lnTo>
                    <a:pt x="29" y="117"/>
                  </a:lnTo>
                  <a:lnTo>
                    <a:pt x="27" y="114"/>
                  </a:lnTo>
                  <a:lnTo>
                    <a:pt x="27" y="111"/>
                  </a:lnTo>
                  <a:lnTo>
                    <a:pt x="27" y="106"/>
                  </a:lnTo>
                  <a:lnTo>
                    <a:pt x="24" y="106"/>
                  </a:lnTo>
                  <a:lnTo>
                    <a:pt x="21" y="108"/>
                  </a:lnTo>
                  <a:lnTo>
                    <a:pt x="16" y="108"/>
                  </a:lnTo>
                  <a:lnTo>
                    <a:pt x="15" y="108"/>
                  </a:lnTo>
                  <a:lnTo>
                    <a:pt x="15" y="103"/>
                  </a:lnTo>
                  <a:lnTo>
                    <a:pt x="15" y="100"/>
                  </a:lnTo>
                  <a:lnTo>
                    <a:pt x="13" y="98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80" name="Freeform 754"/>
            <p:cNvSpPr>
              <a:spLocks/>
            </p:cNvSpPr>
            <p:nvPr/>
          </p:nvSpPr>
          <p:spPr bwMode="auto">
            <a:xfrm>
              <a:off x="3740229" y="4534453"/>
              <a:ext cx="127921" cy="255557"/>
            </a:xfrm>
            <a:custGeom>
              <a:avLst/>
              <a:gdLst>
                <a:gd name="T0" fmla="*/ 8 w 173"/>
                <a:gd name="T1" fmla="*/ 99 h 302"/>
                <a:gd name="T2" fmla="*/ 8 w 173"/>
                <a:gd name="T3" fmla="*/ 81 h 302"/>
                <a:gd name="T4" fmla="*/ 17 w 173"/>
                <a:gd name="T5" fmla="*/ 75 h 302"/>
                <a:gd name="T6" fmla="*/ 28 w 173"/>
                <a:gd name="T7" fmla="*/ 70 h 302"/>
                <a:gd name="T8" fmla="*/ 40 w 173"/>
                <a:gd name="T9" fmla="*/ 62 h 302"/>
                <a:gd name="T10" fmla="*/ 33 w 173"/>
                <a:gd name="T11" fmla="*/ 58 h 302"/>
                <a:gd name="T12" fmla="*/ 27 w 173"/>
                <a:gd name="T13" fmla="*/ 43 h 302"/>
                <a:gd name="T14" fmla="*/ 33 w 173"/>
                <a:gd name="T15" fmla="*/ 31 h 302"/>
                <a:gd name="T16" fmla="*/ 44 w 173"/>
                <a:gd name="T17" fmla="*/ 26 h 302"/>
                <a:gd name="T18" fmla="*/ 55 w 173"/>
                <a:gd name="T19" fmla="*/ 15 h 302"/>
                <a:gd name="T20" fmla="*/ 59 w 173"/>
                <a:gd name="T21" fmla="*/ 7 h 302"/>
                <a:gd name="T22" fmla="*/ 74 w 173"/>
                <a:gd name="T23" fmla="*/ 16 h 302"/>
                <a:gd name="T24" fmla="*/ 62 w 173"/>
                <a:gd name="T25" fmla="*/ 5 h 302"/>
                <a:gd name="T26" fmla="*/ 92 w 173"/>
                <a:gd name="T27" fmla="*/ 29 h 302"/>
                <a:gd name="T28" fmla="*/ 101 w 173"/>
                <a:gd name="T29" fmla="*/ 42 h 302"/>
                <a:gd name="T30" fmla="*/ 106 w 173"/>
                <a:gd name="T31" fmla="*/ 56 h 302"/>
                <a:gd name="T32" fmla="*/ 103 w 173"/>
                <a:gd name="T33" fmla="*/ 67 h 302"/>
                <a:gd name="T34" fmla="*/ 101 w 173"/>
                <a:gd name="T35" fmla="*/ 81 h 302"/>
                <a:gd name="T36" fmla="*/ 98 w 173"/>
                <a:gd name="T37" fmla="*/ 89 h 302"/>
                <a:gd name="T38" fmla="*/ 103 w 173"/>
                <a:gd name="T39" fmla="*/ 78 h 302"/>
                <a:gd name="T40" fmla="*/ 111 w 173"/>
                <a:gd name="T41" fmla="*/ 69 h 302"/>
                <a:gd name="T42" fmla="*/ 120 w 173"/>
                <a:gd name="T43" fmla="*/ 70 h 302"/>
                <a:gd name="T44" fmla="*/ 133 w 173"/>
                <a:gd name="T45" fmla="*/ 83 h 302"/>
                <a:gd name="T46" fmla="*/ 143 w 173"/>
                <a:gd name="T47" fmla="*/ 91 h 302"/>
                <a:gd name="T48" fmla="*/ 152 w 173"/>
                <a:gd name="T49" fmla="*/ 108 h 302"/>
                <a:gd name="T50" fmla="*/ 151 w 173"/>
                <a:gd name="T51" fmla="*/ 123 h 302"/>
                <a:gd name="T52" fmla="*/ 149 w 173"/>
                <a:gd name="T53" fmla="*/ 135 h 302"/>
                <a:gd name="T54" fmla="*/ 147 w 173"/>
                <a:gd name="T55" fmla="*/ 145 h 302"/>
                <a:gd name="T56" fmla="*/ 138 w 173"/>
                <a:gd name="T57" fmla="*/ 145 h 302"/>
                <a:gd name="T58" fmla="*/ 124 w 173"/>
                <a:gd name="T59" fmla="*/ 151 h 302"/>
                <a:gd name="T60" fmla="*/ 124 w 173"/>
                <a:gd name="T61" fmla="*/ 165 h 302"/>
                <a:gd name="T62" fmla="*/ 117 w 173"/>
                <a:gd name="T63" fmla="*/ 180 h 302"/>
                <a:gd name="T64" fmla="*/ 124 w 173"/>
                <a:gd name="T65" fmla="*/ 194 h 302"/>
                <a:gd name="T66" fmla="*/ 132 w 173"/>
                <a:gd name="T67" fmla="*/ 205 h 302"/>
                <a:gd name="T68" fmla="*/ 138 w 173"/>
                <a:gd name="T69" fmla="*/ 213 h 302"/>
                <a:gd name="T70" fmla="*/ 144 w 173"/>
                <a:gd name="T71" fmla="*/ 219 h 302"/>
                <a:gd name="T72" fmla="*/ 147 w 173"/>
                <a:gd name="T73" fmla="*/ 234 h 302"/>
                <a:gd name="T74" fmla="*/ 165 w 173"/>
                <a:gd name="T75" fmla="*/ 267 h 302"/>
                <a:gd name="T76" fmla="*/ 171 w 173"/>
                <a:gd name="T77" fmla="*/ 272 h 302"/>
                <a:gd name="T78" fmla="*/ 157 w 173"/>
                <a:gd name="T79" fmla="*/ 272 h 302"/>
                <a:gd name="T80" fmla="*/ 143 w 173"/>
                <a:gd name="T81" fmla="*/ 270 h 302"/>
                <a:gd name="T82" fmla="*/ 130 w 173"/>
                <a:gd name="T83" fmla="*/ 280 h 302"/>
                <a:gd name="T84" fmla="*/ 116 w 173"/>
                <a:gd name="T85" fmla="*/ 287 h 302"/>
                <a:gd name="T86" fmla="*/ 100 w 173"/>
                <a:gd name="T87" fmla="*/ 291 h 302"/>
                <a:gd name="T88" fmla="*/ 95 w 173"/>
                <a:gd name="T89" fmla="*/ 297 h 302"/>
                <a:gd name="T90" fmla="*/ 82 w 173"/>
                <a:gd name="T91" fmla="*/ 295 h 302"/>
                <a:gd name="T92" fmla="*/ 71 w 173"/>
                <a:gd name="T93" fmla="*/ 291 h 302"/>
                <a:gd name="T94" fmla="*/ 60 w 173"/>
                <a:gd name="T95" fmla="*/ 280 h 302"/>
                <a:gd name="T96" fmla="*/ 55 w 173"/>
                <a:gd name="T97" fmla="*/ 273 h 302"/>
                <a:gd name="T98" fmla="*/ 49 w 173"/>
                <a:gd name="T99" fmla="*/ 253 h 302"/>
                <a:gd name="T100" fmla="*/ 48 w 173"/>
                <a:gd name="T101" fmla="*/ 235 h 302"/>
                <a:gd name="T102" fmla="*/ 51 w 173"/>
                <a:gd name="T103" fmla="*/ 221 h 302"/>
                <a:gd name="T104" fmla="*/ 54 w 173"/>
                <a:gd name="T105" fmla="*/ 207 h 302"/>
                <a:gd name="T106" fmla="*/ 60 w 173"/>
                <a:gd name="T107" fmla="*/ 194 h 302"/>
                <a:gd name="T108" fmla="*/ 57 w 173"/>
                <a:gd name="T109" fmla="*/ 178 h 302"/>
                <a:gd name="T110" fmla="*/ 55 w 173"/>
                <a:gd name="T111" fmla="*/ 167 h 302"/>
                <a:gd name="T112" fmla="*/ 44 w 173"/>
                <a:gd name="T113" fmla="*/ 162 h 302"/>
                <a:gd name="T114" fmla="*/ 49 w 173"/>
                <a:gd name="T115" fmla="*/ 142 h 302"/>
                <a:gd name="T116" fmla="*/ 33 w 173"/>
                <a:gd name="T117" fmla="*/ 137 h 302"/>
                <a:gd name="T118" fmla="*/ 14 w 173"/>
                <a:gd name="T119" fmla="*/ 126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3" h="302">
                  <a:moveTo>
                    <a:pt x="0" y="107"/>
                  </a:moveTo>
                  <a:lnTo>
                    <a:pt x="3" y="104"/>
                  </a:lnTo>
                  <a:lnTo>
                    <a:pt x="3" y="102"/>
                  </a:lnTo>
                  <a:lnTo>
                    <a:pt x="8" y="99"/>
                  </a:lnTo>
                  <a:lnTo>
                    <a:pt x="11" y="96"/>
                  </a:lnTo>
                  <a:lnTo>
                    <a:pt x="9" y="92"/>
                  </a:lnTo>
                  <a:lnTo>
                    <a:pt x="9" y="85"/>
                  </a:lnTo>
                  <a:lnTo>
                    <a:pt x="8" y="81"/>
                  </a:lnTo>
                  <a:lnTo>
                    <a:pt x="8" y="78"/>
                  </a:lnTo>
                  <a:lnTo>
                    <a:pt x="9" y="75"/>
                  </a:lnTo>
                  <a:lnTo>
                    <a:pt x="14" y="75"/>
                  </a:lnTo>
                  <a:lnTo>
                    <a:pt x="17" y="75"/>
                  </a:lnTo>
                  <a:lnTo>
                    <a:pt x="19" y="72"/>
                  </a:lnTo>
                  <a:lnTo>
                    <a:pt x="22" y="72"/>
                  </a:lnTo>
                  <a:lnTo>
                    <a:pt x="25" y="73"/>
                  </a:lnTo>
                  <a:lnTo>
                    <a:pt x="28" y="70"/>
                  </a:lnTo>
                  <a:lnTo>
                    <a:pt x="32" y="69"/>
                  </a:lnTo>
                  <a:lnTo>
                    <a:pt x="36" y="65"/>
                  </a:lnTo>
                  <a:lnTo>
                    <a:pt x="38" y="67"/>
                  </a:lnTo>
                  <a:lnTo>
                    <a:pt x="40" y="62"/>
                  </a:lnTo>
                  <a:lnTo>
                    <a:pt x="41" y="59"/>
                  </a:lnTo>
                  <a:lnTo>
                    <a:pt x="40" y="58"/>
                  </a:lnTo>
                  <a:lnTo>
                    <a:pt x="36" y="56"/>
                  </a:lnTo>
                  <a:lnTo>
                    <a:pt x="33" y="58"/>
                  </a:lnTo>
                  <a:lnTo>
                    <a:pt x="30" y="54"/>
                  </a:lnTo>
                  <a:lnTo>
                    <a:pt x="30" y="51"/>
                  </a:lnTo>
                  <a:lnTo>
                    <a:pt x="30" y="48"/>
                  </a:lnTo>
                  <a:lnTo>
                    <a:pt x="27" y="43"/>
                  </a:lnTo>
                  <a:lnTo>
                    <a:pt x="27" y="40"/>
                  </a:lnTo>
                  <a:lnTo>
                    <a:pt x="30" y="39"/>
                  </a:lnTo>
                  <a:lnTo>
                    <a:pt x="32" y="34"/>
                  </a:lnTo>
                  <a:lnTo>
                    <a:pt x="33" y="31"/>
                  </a:lnTo>
                  <a:lnTo>
                    <a:pt x="36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4" y="26"/>
                  </a:lnTo>
                  <a:lnTo>
                    <a:pt x="48" y="23"/>
                  </a:lnTo>
                  <a:lnTo>
                    <a:pt x="51" y="21"/>
                  </a:lnTo>
                  <a:lnTo>
                    <a:pt x="54" y="18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9" y="13"/>
                  </a:lnTo>
                  <a:lnTo>
                    <a:pt x="60" y="10"/>
                  </a:lnTo>
                  <a:lnTo>
                    <a:pt x="59" y="7"/>
                  </a:lnTo>
                  <a:lnTo>
                    <a:pt x="55" y="4"/>
                  </a:lnTo>
                  <a:lnTo>
                    <a:pt x="54" y="0"/>
                  </a:lnTo>
                  <a:lnTo>
                    <a:pt x="63" y="10"/>
                  </a:lnTo>
                  <a:lnTo>
                    <a:pt x="74" y="16"/>
                  </a:lnTo>
                  <a:lnTo>
                    <a:pt x="71" y="13"/>
                  </a:lnTo>
                  <a:lnTo>
                    <a:pt x="68" y="12"/>
                  </a:lnTo>
                  <a:lnTo>
                    <a:pt x="63" y="10"/>
                  </a:lnTo>
                  <a:lnTo>
                    <a:pt x="62" y="5"/>
                  </a:lnTo>
                  <a:lnTo>
                    <a:pt x="74" y="15"/>
                  </a:lnTo>
                  <a:lnTo>
                    <a:pt x="86" y="24"/>
                  </a:lnTo>
                  <a:lnTo>
                    <a:pt x="89" y="26"/>
                  </a:lnTo>
                  <a:lnTo>
                    <a:pt x="92" y="29"/>
                  </a:lnTo>
                  <a:lnTo>
                    <a:pt x="95" y="34"/>
                  </a:lnTo>
                  <a:lnTo>
                    <a:pt x="97" y="35"/>
                  </a:lnTo>
                  <a:lnTo>
                    <a:pt x="98" y="39"/>
                  </a:lnTo>
                  <a:lnTo>
                    <a:pt x="101" y="42"/>
                  </a:lnTo>
                  <a:lnTo>
                    <a:pt x="105" y="45"/>
                  </a:lnTo>
                  <a:lnTo>
                    <a:pt x="106" y="48"/>
                  </a:lnTo>
                  <a:lnTo>
                    <a:pt x="106" y="51"/>
                  </a:lnTo>
                  <a:lnTo>
                    <a:pt x="106" y="56"/>
                  </a:lnTo>
                  <a:lnTo>
                    <a:pt x="106" y="58"/>
                  </a:lnTo>
                  <a:lnTo>
                    <a:pt x="106" y="62"/>
                  </a:lnTo>
                  <a:lnTo>
                    <a:pt x="105" y="64"/>
                  </a:lnTo>
                  <a:lnTo>
                    <a:pt x="103" y="67"/>
                  </a:lnTo>
                  <a:lnTo>
                    <a:pt x="101" y="72"/>
                  </a:lnTo>
                  <a:lnTo>
                    <a:pt x="101" y="75"/>
                  </a:lnTo>
                  <a:lnTo>
                    <a:pt x="101" y="78"/>
                  </a:lnTo>
                  <a:lnTo>
                    <a:pt x="101" y="81"/>
                  </a:lnTo>
                  <a:lnTo>
                    <a:pt x="100" y="85"/>
                  </a:lnTo>
                  <a:lnTo>
                    <a:pt x="98" y="88"/>
                  </a:lnTo>
                  <a:lnTo>
                    <a:pt x="98" y="88"/>
                  </a:lnTo>
                  <a:lnTo>
                    <a:pt x="98" y="89"/>
                  </a:lnTo>
                  <a:lnTo>
                    <a:pt x="101" y="88"/>
                  </a:lnTo>
                  <a:lnTo>
                    <a:pt x="101" y="86"/>
                  </a:lnTo>
                  <a:lnTo>
                    <a:pt x="101" y="81"/>
                  </a:lnTo>
                  <a:lnTo>
                    <a:pt x="103" y="78"/>
                  </a:lnTo>
                  <a:lnTo>
                    <a:pt x="105" y="73"/>
                  </a:lnTo>
                  <a:lnTo>
                    <a:pt x="108" y="69"/>
                  </a:lnTo>
                  <a:lnTo>
                    <a:pt x="109" y="69"/>
                  </a:lnTo>
                  <a:lnTo>
                    <a:pt x="111" y="69"/>
                  </a:lnTo>
                  <a:lnTo>
                    <a:pt x="114" y="69"/>
                  </a:lnTo>
                  <a:lnTo>
                    <a:pt x="117" y="72"/>
                  </a:lnTo>
                  <a:lnTo>
                    <a:pt x="117" y="72"/>
                  </a:lnTo>
                  <a:lnTo>
                    <a:pt x="120" y="70"/>
                  </a:lnTo>
                  <a:lnTo>
                    <a:pt x="124" y="72"/>
                  </a:lnTo>
                  <a:lnTo>
                    <a:pt x="127" y="75"/>
                  </a:lnTo>
                  <a:lnTo>
                    <a:pt x="130" y="78"/>
                  </a:lnTo>
                  <a:lnTo>
                    <a:pt x="133" y="83"/>
                  </a:lnTo>
                  <a:lnTo>
                    <a:pt x="136" y="85"/>
                  </a:lnTo>
                  <a:lnTo>
                    <a:pt x="138" y="86"/>
                  </a:lnTo>
                  <a:lnTo>
                    <a:pt x="139" y="94"/>
                  </a:lnTo>
                  <a:lnTo>
                    <a:pt x="143" y="91"/>
                  </a:lnTo>
                  <a:lnTo>
                    <a:pt x="149" y="96"/>
                  </a:lnTo>
                  <a:lnTo>
                    <a:pt x="151" y="99"/>
                  </a:lnTo>
                  <a:lnTo>
                    <a:pt x="152" y="102"/>
                  </a:lnTo>
                  <a:lnTo>
                    <a:pt x="152" y="108"/>
                  </a:lnTo>
                  <a:lnTo>
                    <a:pt x="152" y="111"/>
                  </a:lnTo>
                  <a:lnTo>
                    <a:pt x="151" y="115"/>
                  </a:lnTo>
                  <a:lnTo>
                    <a:pt x="152" y="118"/>
                  </a:lnTo>
                  <a:lnTo>
                    <a:pt x="151" y="123"/>
                  </a:lnTo>
                  <a:lnTo>
                    <a:pt x="149" y="126"/>
                  </a:lnTo>
                  <a:lnTo>
                    <a:pt x="147" y="129"/>
                  </a:lnTo>
                  <a:lnTo>
                    <a:pt x="146" y="132"/>
                  </a:lnTo>
                  <a:lnTo>
                    <a:pt x="149" y="135"/>
                  </a:lnTo>
                  <a:lnTo>
                    <a:pt x="149" y="135"/>
                  </a:lnTo>
                  <a:lnTo>
                    <a:pt x="149" y="138"/>
                  </a:lnTo>
                  <a:lnTo>
                    <a:pt x="146" y="142"/>
                  </a:lnTo>
                  <a:lnTo>
                    <a:pt x="147" y="145"/>
                  </a:lnTo>
                  <a:lnTo>
                    <a:pt x="144" y="145"/>
                  </a:lnTo>
                  <a:lnTo>
                    <a:pt x="144" y="145"/>
                  </a:lnTo>
                  <a:lnTo>
                    <a:pt x="141" y="145"/>
                  </a:lnTo>
                  <a:lnTo>
                    <a:pt x="138" y="145"/>
                  </a:lnTo>
                  <a:lnTo>
                    <a:pt x="133" y="145"/>
                  </a:lnTo>
                  <a:lnTo>
                    <a:pt x="130" y="146"/>
                  </a:lnTo>
                  <a:lnTo>
                    <a:pt x="127" y="148"/>
                  </a:lnTo>
                  <a:lnTo>
                    <a:pt x="124" y="151"/>
                  </a:lnTo>
                  <a:lnTo>
                    <a:pt x="125" y="154"/>
                  </a:lnTo>
                  <a:lnTo>
                    <a:pt x="127" y="159"/>
                  </a:lnTo>
                  <a:lnTo>
                    <a:pt x="125" y="162"/>
                  </a:lnTo>
                  <a:lnTo>
                    <a:pt x="124" y="165"/>
                  </a:lnTo>
                  <a:lnTo>
                    <a:pt x="122" y="169"/>
                  </a:lnTo>
                  <a:lnTo>
                    <a:pt x="122" y="172"/>
                  </a:lnTo>
                  <a:lnTo>
                    <a:pt x="120" y="176"/>
                  </a:lnTo>
                  <a:lnTo>
                    <a:pt x="117" y="180"/>
                  </a:lnTo>
                  <a:lnTo>
                    <a:pt x="119" y="183"/>
                  </a:lnTo>
                  <a:lnTo>
                    <a:pt x="119" y="186"/>
                  </a:lnTo>
                  <a:lnTo>
                    <a:pt x="122" y="191"/>
                  </a:lnTo>
                  <a:lnTo>
                    <a:pt x="124" y="194"/>
                  </a:lnTo>
                  <a:lnTo>
                    <a:pt x="125" y="197"/>
                  </a:lnTo>
                  <a:lnTo>
                    <a:pt x="125" y="200"/>
                  </a:lnTo>
                  <a:lnTo>
                    <a:pt x="130" y="203"/>
                  </a:lnTo>
                  <a:lnTo>
                    <a:pt x="132" y="205"/>
                  </a:lnTo>
                  <a:lnTo>
                    <a:pt x="132" y="208"/>
                  </a:lnTo>
                  <a:lnTo>
                    <a:pt x="132" y="213"/>
                  </a:lnTo>
                  <a:lnTo>
                    <a:pt x="133" y="213"/>
                  </a:lnTo>
                  <a:lnTo>
                    <a:pt x="138" y="213"/>
                  </a:lnTo>
                  <a:lnTo>
                    <a:pt x="141" y="211"/>
                  </a:lnTo>
                  <a:lnTo>
                    <a:pt x="144" y="211"/>
                  </a:lnTo>
                  <a:lnTo>
                    <a:pt x="144" y="216"/>
                  </a:lnTo>
                  <a:lnTo>
                    <a:pt x="144" y="219"/>
                  </a:lnTo>
                  <a:lnTo>
                    <a:pt x="146" y="222"/>
                  </a:lnTo>
                  <a:lnTo>
                    <a:pt x="147" y="226"/>
                  </a:lnTo>
                  <a:lnTo>
                    <a:pt x="147" y="229"/>
                  </a:lnTo>
                  <a:lnTo>
                    <a:pt x="147" y="234"/>
                  </a:lnTo>
                  <a:lnTo>
                    <a:pt x="149" y="237"/>
                  </a:lnTo>
                  <a:lnTo>
                    <a:pt x="152" y="240"/>
                  </a:lnTo>
                  <a:lnTo>
                    <a:pt x="159" y="254"/>
                  </a:lnTo>
                  <a:lnTo>
                    <a:pt x="165" y="267"/>
                  </a:lnTo>
                  <a:lnTo>
                    <a:pt x="170" y="267"/>
                  </a:lnTo>
                  <a:lnTo>
                    <a:pt x="173" y="270"/>
                  </a:lnTo>
                  <a:lnTo>
                    <a:pt x="171" y="272"/>
                  </a:lnTo>
                  <a:lnTo>
                    <a:pt x="171" y="272"/>
                  </a:lnTo>
                  <a:lnTo>
                    <a:pt x="166" y="270"/>
                  </a:lnTo>
                  <a:lnTo>
                    <a:pt x="163" y="272"/>
                  </a:lnTo>
                  <a:lnTo>
                    <a:pt x="160" y="273"/>
                  </a:lnTo>
                  <a:lnTo>
                    <a:pt x="157" y="272"/>
                  </a:lnTo>
                  <a:lnTo>
                    <a:pt x="154" y="270"/>
                  </a:lnTo>
                  <a:lnTo>
                    <a:pt x="152" y="267"/>
                  </a:lnTo>
                  <a:lnTo>
                    <a:pt x="146" y="268"/>
                  </a:lnTo>
                  <a:lnTo>
                    <a:pt x="143" y="270"/>
                  </a:lnTo>
                  <a:lnTo>
                    <a:pt x="141" y="272"/>
                  </a:lnTo>
                  <a:lnTo>
                    <a:pt x="136" y="278"/>
                  </a:lnTo>
                  <a:lnTo>
                    <a:pt x="133" y="280"/>
                  </a:lnTo>
                  <a:lnTo>
                    <a:pt x="130" y="280"/>
                  </a:lnTo>
                  <a:lnTo>
                    <a:pt x="125" y="280"/>
                  </a:lnTo>
                  <a:lnTo>
                    <a:pt x="122" y="281"/>
                  </a:lnTo>
                  <a:lnTo>
                    <a:pt x="119" y="284"/>
                  </a:lnTo>
                  <a:lnTo>
                    <a:pt x="116" y="287"/>
                  </a:lnTo>
                  <a:lnTo>
                    <a:pt x="108" y="286"/>
                  </a:lnTo>
                  <a:lnTo>
                    <a:pt x="105" y="287"/>
                  </a:lnTo>
                  <a:lnTo>
                    <a:pt x="105" y="289"/>
                  </a:lnTo>
                  <a:lnTo>
                    <a:pt x="100" y="291"/>
                  </a:lnTo>
                  <a:lnTo>
                    <a:pt x="100" y="291"/>
                  </a:lnTo>
                  <a:lnTo>
                    <a:pt x="101" y="294"/>
                  </a:lnTo>
                  <a:lnTo>
                    <a:pt x="100" y="299"/>
                  </a:lnTo>
                  <a:lnTo>
                    <a:pt x="95" y="297"/>
                  </a:lnTo>
                  <a:lnTo>
                    <a:pt x="92" y="299"/>
                  </a:lnTo>
                  <a:lnTo>
                    <a:pt x="89" y="302"/>
                  </a:lnTo>
                  <a:lnTo>
                    <a:pt x="86" y="299"/>
                  </a:lnTo>
                  <a:lnTo>
                    <a:pt x="82" y="295"/>
                  </a:lnTo>
                  <a:lnTo>
                    <a:pt x="82" y="295"/>
                  </a:lnTo>
                  <a:lnTo>
                    <a:pt x="79" y="295"/>
                  </a:lnTo>
                  <a:lnTo>
                    <a:pt x="76" y="294"/>
                  </a:lnTo>
                  <a:lnTo>
                    <a:pt x="71" y="291"/>
                  </a:lnTo>
                  <a:lnTo>
                    <a:pt x="70" y="287"/>
                  </a:lnTo>
                  <a:lnTo>
                    <a:pt x="67" y="286"/>
                  </a:lnTo>
                  <a:lnTo>
                    <a:pt x="65" y="283"/>
                  </a:lnTo>
                  <a:lnTo>
                    <a:pt x="60" y="280"/>
                  </a:lnTo>
                  <a:lnTo>
                    <a:pt x="57" y="278"/>
                  </a:lnTo>
                  <a:lnTo>
                    <a:pt x="59" y="275"/>
                  </a:lnTo>
                  <a:lnTo>
                    <a:pt x="59" y="275"/>
                  </a:lnTo>
                  <a:lnTo>
                    <a:pt x="55" y="273"/>
                  </a:lnTo>
                  <a:lnTo>
                    <a:pt x="55" y="267"/>
                  </a:lnTo>
                  <a:lnTo>
                    <a:pt x="55" y="262"/>
                  </a:lnTo>
                  <a:lnTo>
                    <a:pt x="54" y="257"/>
                  </a:lnTo>
                  <a:lnTo>
                    <a:pt x="49" y="253"/>
                  </a:lnTo>
                  <a:lnTo>
                    <a:pt x="51" y="249"/>
                  </a:lnTo>
                  <a:lnTo>
                    <a:pt x="48" y="243"/>
                  </a:lnTo>
                  <a:lnTo>
                    <a:pt x="46" y="238"/>
                  </a:lnTo>
                  <a:lnTo>
                    <a:pt x="48" y="235"/>
                  </a:lnTo>
                  <a:lnTo>
                    <a:pt x="48" y="232"/>
                  </a:lnTo>
                  <a:lnTo>
                    <a:pt x="48" y="229"/>
                  </a:lnTo>
                  <a:lnTo>
                    <a:pt x="49" y="224"/>
                  </a:lnTo>
                  <a:lnTo>
                    <a:pt x="51" y="221"/>
                  </a:lnTo>
                  <a:lnTo>
                    <a:pt x="51" y="218"/>
                  </a:lnTo>
                  <a:lnTo>
                    <a:pt x="52" y="215"/>
                  </a:lnTo>
                  <a:lnTo>
                    <a:pt x="54" y="211"/>
                  </a:lnTo>
                  <a:lnTo>
                    <a:pt x="54" y="207"/>
                  </a:lnTo>
                  <a:lnTo>
                    <a:pt x="52" y="203"/>
                  </a:lnTo>
                  <a:lnTo>
                    <a:pt x="59" y="199"/>
                  </a:lnTo>
                  <a:lnTo>
                    <a:pt x="60" y="197"/>
                  </a:lnTo>
                  <a:lnTo>
                    <a:pt x="60" y="194"/>
                  </a:lnTo>
                  <a:lnTo>
                    <a:pt x="65" y="188"/>
                  </a:lnTo>
                  <a:lnTo>
                    <a:pt x="62" y="184"/>
                  </a:lnTo>
                  <a:lnTo>
                    <a:pt x="60" y="181"/>
                  </a:lnTo>
                  <a:lnTo>
                    <a:pt x="57" y="178"/>
                  </a:lnTo>
                  <a:lnTo>
                    <a:pt x="57" y="175"/>
                  </a:lnTo>
                  <a:lnTo>
                    <a:pt x="60" y="170"/>
                  </a:lnTo>
                  <a:lnTo>
                    <a:pt x="59" y="169"/>
                  </a:lnTo>
                  <a:lnTo>
                    <a:pt x="55" y="167"/>
                  </a:lnTo>
                  <a:lnTo>
                    <a:pt x="51" y="167"/>
                  </a:lnTo>
                  <a:lnTo>
                    <a:pt x="48" y="165"/>
                  </a:lnTo>
                  <a:lnTo>
                    <a:pt x="46" y="165"/>
                  </a:lnTo>
                  <a:lnTo>
                    <a:pt x="44" y="162"/>
                  </a:lnTo>
                  <a:lnTo>
                    <a:pt x="48" y="156"/>
                  </a:lnTo>
                  <a:lnTo>
                    <a:pt x="49" y="148"/>
                  </a:lnTo>
                  <a:lnTo>
                    <a:pt x="49" y="145"/>
                  </a:lnTo>
                  <a:lnTo>
                    <a:pt x="49" y="142"/>
                  </a:lnTo>
                  <a:lnTo>
                    <a:pt x="46" y="138"/>
                  </a:lnTo>
                  <a:lnTo>
                    <a:pt x="44" y="135"/>
                  </a:lnTo>
                  <a:lnTo>
                    <a:pt x="41" y="134"/>
                  </a:lnTo>
                  <a:lnTo>
                    <a:pt x="33" y="137"/>
                  </a:lnTo>
                  <a:lnTo>
                    <a:pt x="22" y="137"/>
                  </a:lnTo>
                  <a:lnTo>
                    <a:pt x="21" y="134"/>
                  </a:lnTo>
                  <a:lnTo>
                    <a:pt x="17" y="131"/>
                  </a:lnTo>
                  <a:lnTo>
                    <a:pt x="14" y="126"/>
                  </a:lnTo>
                  <a:lnTo>
                    <a:pt x="11" y="123"/>
                  </a:lnTo>
                  <a:lnTo>
                    <a:pt x="6" y="115"/>
                  </a:lnTo>
                  <a:lnTo>
                    <a:pt x="0" y="107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grpSp>
          <p:nvGrpSpPr>
            <p:cNvPr id="381" name="Group 755"/>
            <p:cNvGrpSpPr>
              <a:grpSpLocks/>
            </p:cNvGrpSpPr>
            <p:nvPr/>
          </p:nvGrpSpPr>
          <p:grpSpPr bwMode="auto">
            <a:xfrm>
              <a:off x="3407927" y="4647846"/>
              <a:ext cx="1038075" cy="1348865"/>
              <a:chOff x="1266" y="2382"/>
              <a:chExt cx="706" cy="797"/>
            </a:xfrm>
            <a:solidFill>
              <a:schemeClr val="tx2"/>
            </a:solidFill>
          </p:grpSpPr>
          <p:sp>
            <p:nvSpPr>
              <p:cNvPr id="517" name="Freeform 756"/>
              <p:cNvSpPr>
                <a:spLocks/>
              </p:cNvSpPr>
              <p:nvPr/>
            </p:nvSpPr>
            <p:spPr bwMode="auto">
              <a:xfrm>
                <a:off x="1661" y="2501"/>
                <a:ext cx="14" cy="19"/>
              </a:xfrm>
              <a:custGeom>
                <a:avLst/>
                <a:gdLst>
                  <a:gd name="T0" fmla="*/ 0 w 27"/>
                  <a:gd name="T1" fmla="*/ 38 h 38"/>
                  <a:gd name="T2" fmla="*/ 8 w 27"/>
                  <a:gd name="T3" fmla="*/ 34 h 38"/>
                  <a:gd name="T4" fmla="*/ 16 w 27"/>
                  <a:gd name="T5" fmla="*/ 28 h 38"/>
                  <a:gd name="T6" fmla="*/ 19 w 27"/>
                  <a:gd name="T7" fmla="*/ 25 h 38"/>
                  <a:gd name="T8" fmla="*/ 20 w 27"/>
                  <a:gd name="T9" fmla="*/ 22 h 38"/>
                  <a:gd name="T10" fmla="*/ 24 w 27"/>
                  <a:gd name="T11" fmla="*/ 17 h 38"/>
                  <a:gd name="T12" fmla="*/ 24 w 27"/>
                  <a:gd name="T13" fmla="*/ 14 h 38"/>
                  <a:gd name="T14" fmla="*/ 25 w 27"/>
                  <a:gd name="T15" fmla="*/ 11 h 38"/>
                  <a:gd name="T16" fmla="*/ 27 w 27"/>
                  <a:gd name="T17" fmla="*/ 7 h 38"/>
                  <a:gd name="T18" fmla="*/ 27 w 27"/>
                  <a:gd name="T19" fmla="*/ 3 h 38"/>
                  <a:gd name="T20" fmla="*/ 24 w 27"/>
                  <a:gd name="T21" fmla="*/ 0 h 38"/>
                  <a:gd name="T22" fmla="*/ 19 w 27"/>
                  <a:gd name="T23" fmla="*/ 0 h 38"/>
                  <a:gd name="T24" fmla="*/ 16 w 27"/>
                  <a:gd name="T25" fmla="*/ 3 h 38"/>
                  <a:gd name="T26" fmla="*/ 12 w 27"/>
                  <a:gd name="T27" fmla="*/ 6 h 38"/>
                  <a:gd name="T28" fmla="*/ 9 w 27"/>
                  <a:gd name="T29" fmla="*/ 9 h 38"/>
                  <a:gd name="T30" fmla="*/ 9 w 27"/>
                  <a:gd name="T31" fmla="*/ 12 h 38"/>
                  <a:gd name="T32" fmla="*/ 9 w 27"/>
                  <a:gd name="T33" fmla="*/ 15 h 38"/>
                  <a:gd name="T34" fmla="*/ 9 w 27"/>
                  <a:gd name="T35" fmla="*/ 20 h 38"/>
                  <a:gd name="T36" fmla="*/ 8 w 27"/>
                  <a:gd name="T37" fmla="*/ 23 h 38"/>
                  <a:gd name="T38" fmla="*/ 4 w 27"/>
                  <a:gd name="T39" fmla="*/ 25 h 38"/>
                  <a:gd name="T40" fmla="*/ 0 w 27"/>
                  <a:gd name="T41" fmla="*/ 27 h 38"/>
                  <a:gd name="T42" fmla="*/ 1 w 27"/>
                  <a:gd name="T43" fmla="*/ 31 h 38"/>
                  <a:gd name="T44" fmla="*/ 0 w 27"/>
                  <a:gd name="T45" fmla="*/ 34 h 38"/>
                  <a:gd name="T46" fmla="*/ 0 w 27"/>
                  <a:gd name="T47" fmla="*/ 38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7" h="38">
                    <a:moveTo>
                      <a:pt x="0" y="38"/>
                    </a:moveTo>
                    <a:lnTo>
                      <a:pt x="8" y="34"/>
                    </a:lnTo>
                    <a:lnTo>
                      <a:pt x="16" y="28"/>
                    </a:lnTo>
                    <a:lnTo>
                      <a:pt x="19" y="25"/>
                    </a:lnTo>
                    <a:lnTo>
                      <a:pt x="20" y="22"/>
                    </a:lnTo>
                    <a:lnTo>
                      <a:pt x="24" y="17"/>
                    </a:lnTo>
                    <a:lnTo>
                      <a:pt x="24" y="14"/>
                    </a:lnTo>
                    <a:lnTo>
                      <a:pt x="25" y="11"/>
                    </a:lnTo>
                    <a:lnTo>
                      <a:pt x="27" y="7"/>
                    </a:lnTo>
                    <a:lnTo>
                      <a:pt x="27" y="3"/>
                    </a:lnTo>
                    <a:lnTo>
                      <a:pt x="24" y="0"/>
                    </a:lnTo>
                    <a:lnTo>
                      <a:pt x="19" y="0"/>
                    </a:lnTo>
                    <a:lnTo>
                      <a:pt x="16" y="3"/>
                    </a:lnTo>
                    <a:lnTo>
                      <a:pt x="12" y="6"/>
                    </a:lnTo>
                    <a:lnTo>
                      <a:pt x="9" y="9"/>
                    </a:lnTo>
                    <a:lnTo>
                      <a:pt x="9" y="12"/>
                    </a:lnTo>
                    <a:lnTo>
                      <a:pt x="9" y="15"/>
                    </a:lnTo>
                    <a:lnTo>
                      <a:pt x="9" y="20"/>
                    </a:lnTo>
                    <a:lnTo>
                      <a:pt x="8" y="23"/>
                    </a:lnTo>
                    <a:lnTo>
                      <a:pt x="4" y="25"/>
                    </a:lnTo>
                    <a:lnTo>
                      <a:pt x="0" y="27"/>
                    </a:lnTo>
                    <a:lnTo>
                      <a:pt x="1" y="31"/>
                    </a:lnTo>
                    <a:lnTo>
                      <a:pt x="0" y="34"/>
                    </a:lnTo>
                    <a:lnTo>
                      <a:pt x="0" y="3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18" name="Freeform 757"/>
              <p:cNvSpPr>
                <a:spLocks/>
              </p:cNvSpPr>
              <p:nvPr/>
            </p:nvSpPr>
            <p:spPr bwMode="auto">
              <a:xfrm>
                <a:off x="1671" y="2508"/>
                <a:ext cx="3" cy="7"/>
              </a:xfrm>
              <a:custGeom>
                <a:avLst/>
                <a:gdLst>
                  <a:gd name="T0" fmla="*/ 0 w 6"/>
                  <a:gd name="T1" fmla="*/ 14 h 14"/>
                  <a:gd name="T2" fmla="*/ 1 w 6"/>
                  <a:gd name="T3" fmla="*/ 13 h 14"/>
                  <a:gd name="T4" fmla="*/ 5 w 6"/>
                  <a:gd name="T5" fmla="*/ 11 h 14"/>
                  <a:gd name="T6" fmla="*/ 6 w 6"/>
                  <a:gd name="T7" fmla="*/ 6 h 14"/>
                  <a:gd name="T8" fmla="*/ 6 w 6"/>
                  <a:gd name="T9" fmla="*/ 3 h 14"/>
                  <a:gd name="T10" fmla="*/ 6 w 6"/>
                  <a:gd name="T11" fmla="*/ 0 h 14"/>
                  <a:gd name="T12" fmla="*/ 5 w 6"/>
                  <a:gd name="T13" fmla="*/ 3 h 14"/>
                  <a:gd name="T14" fmla="*/ 5 w 6"/>
                  <a:gd name="T15" fmla="*/ 6 h 14"/>
                  <a:gd name="T16" fmla="*/ 0 w 6"/>
                  <a:gd name="T17" fmla="*/ 9 h 14"/>
                  <a:gd name="T18" fmla="*/ 0 w 6"/>
                  <a:gd name="T19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" h="14">
                    <a:moveTo>
                      <a:pt x="0" y="14"/>
                    </a:moveTo>
                    <a:lnTo>
                      <a:pt x="1" y="13"/>
                    </a:lnTo>
                    <a:lnTo>
                      <a:pt x="5" y="11"/>
                    </a:lnTo>
                    <a:lnTo>
                      <a:pt x="6" y="6"/>
                    </a:lnTo>
                    <a:lnTo>
                      <a:pt x="6" y="3"/>
                    </a:lnTo>
                    <a:lnTo>
                      <a:pt x="6" y="0"/>
                    </a:lnTo>
                    <a:lnTo>
                      <a:pt x="5" y="3"/>
                    </a:lnTo>
                    <a:lnTo>
                      <a:pt x="5" y="6"/>
                    </a:lnTo>
                    <a:lnTo>
                      <a:pt x="0" y="9"/>
                    </a:lnTo>
                    <a:lnTo>
                      <a:pt x="0" y="1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19" name="Freeform 758"/>
              <p:cNvSpPr>
                <a:spLocks/>
              </p:cNvSpPr>
              <p:nvPr/>
            </p:nvSpPr>
            <p:spPr bwMode="auto">
              <a:xfrm>
                <a:off x="1689" y="2483"/>
                <a:ext cx="14" cy="8"/>
              </a:xfrm>
              <a:custGeom>
                <a:avLst/>
                <a:gdLst>
                  <a:gd name="T0" fmla="*/ 11 w 27"/>
                  <a:gd name="T1" fmla="*/ 12 h 16"/>
                  <a:gd name="T2" fmla="*/ 13 w 27"/>
                  <a:gd name="T3" fmla="*/ 16 h 16"/>
                  <a:gd name="T4" fmla="*/ 15 w 27"/>
                  <a:gd name="T5" fmla="*/ 16 h 16"/>
                  <a:gd name="T6" fmla="*/ 18 w 27"/>
                  <a:gd name="T7" fmla="*/ 12 h 16"/>
                  <a:gd name="T8" fmla="*/ 18 w 27"/>
                  <a:gd name="T9" fmla="*/ 12 h 16"/>
                  <a:gd name="T10" fmla="*/ 19 w 27"/>
                  <a:gd name="T11" fmla="*/ 9 h 16"/>
                  <a:gd name="T12" fmla="*/ 24 w 27"/>
                  <a:gd name="T13" fmla="*/ 6 h 16"/>
                  <a:gd name="T14" fmla="*/ 27 w 27"/>
                  <a:gd name="T15" fmla="*/ 3 h 16"/>
                  <a:gd name="T16" fmla="*/ 24 w 27"/>
                  <a:gd name="T17" fmla="*/ 0 h 16"/>
                  <a:gd name="T18" fmla="*/ 21 w 27"/>
                  <a:gd name="T19" fmla="*/ 0 h 16"/>
                  <a:gd name="T20" fmla="*/ 18 w 27"/>
                  <a:gd name="T21" fmla="*/ 0 h 16"/>
                  <a:gd name="T22" fmla="*/ 13 w 27"/>
                  <a:gd name="T23" fmla="*/ 1 h 16"/>
                  <a:gd name="T24" fmla="*/ 10 w 27"/>
                  <a:gd name="T25" fmla="*/ 1 h 16"/>
                  <a:gd name="T26" fmla="*/ 7 w 27"/>
                  <a:gd name="T27" fmla="*/ 4 h 16"/>
                  <a:gd name="T28" fmla="*/ 3 w 27"/>
                  <a:gd name="T29" fmla="*/ 4 h 16"/>
                  <a:gd name="T30" fmla="*/ 0 w 27"/>
                  <a:gd name="T31" fmla="*/ 8 h 16"/>
                  <a:gd name="T32" fmla="*/ 0 w 27"/>
                  <a:gd name="T33" fmla="*/ 11 h 16"/>
                  <a:gd name="T34" fmla="*/ 3 w 27"/>
                  <a:gd name="T35" fmla="*/ 12 h 16"/>
                  <a:gd name="T36" fmla="*/ 7 w 27"/>
                  <a:gd name="T37" fmla="*/ 12 h 16"/>
                  <a:gd name="T38" fmla="*/ 11 w 27"/>
                  <a:gd name="T39" fmla="*/ 12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7" h="16">
                    <a:moveTo>
                      <a:pt x="11" y="12"/>
                    </a:moveTo>
                    <a:lnTo>
                      <a:pt x="13" y="16"/>
                    </a:lnTo>
                    <a:lnTo>
                      <a:pt x="15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9" y="9"/>
                    </a:lnTo>
                    <a:lnTo>
                      <a:pt x="24" y="6"/>
                    </a:lnTo>
                    <a:lnTo>
                      <a:pt x="27" y="3"/>
                    </a:lnTo>
                    <a:lnTo>
                      <a:pt x="24" y="0"/>
                    </a:lnTo>
                    <a:lnTo>
                      <a:pt x="21" y="0"/>
                    </a:lnTo>
                    <a:lnTo>
                      <a:pt x="18" y="0"/>
                    </a:lnTo>
                    <a:lnTo>
                      <a:pt x="13" y="1"/>
                    </a:lnTo>
                    <a:lnTo>
                      <a:pt x="10" y="1"/>
                    </a:lnTo>
                    <a:lnTo>
                      <a:pt x="7" y="4"/>
                    </a:lnTo>
                    <a:lnTo>
                      <a:pt x="3" y="4"/>
                    </a:lnTo>
                    <a:lnTo>
                      <a:pt x="0" y="8"/>
                    </a:lnTo>
                    <a:lnTo>
                      <a:pt x="0" y="11"/>
                    </a:lnTo>
                    <a:lnTo>
                      <a:pt x="3" y="12"/>
                    </a:lnTo>
                    <a:lnTo>
                      <a:pt x="7" y="12"/>
                    </a:lnTo>
                    <a:lnTo>
                      <a:pt x="11" y="1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20" name="Freeform 759"/>
              <p:cNvSpPr>
                <a:spLocks/>
              </p:cNvSpPr>
              <p:nvPr/>
            </p:nvSpPr>
            <p:spPr bwMode="auto">
              <a:xfrm>
                <a:off x="1681" y="2492"/>
                <a:ext cx="44" cy="36"/>
              </a:xfrm>
              <a:custGeom>
                <a:avLst/>
                <a:gdLst>
                  <a:gd name="T0" fmla="*/ 4 w 88"/>
                  <a:gd name="T1" fmla="*/ 59 h 71"/>
                  <a:gd name="T2" fmla="*/ 8 w 88"/>
                  <a:gd name="T3" fmla="*/ 70 h 71"/>
                  <a:gd name="T4" fmla="*/ 16 w 88"/>
                  <a:gd name="T5" fmla="*/ 71 h 71"/>
                  <a:gd name="T6" fmla="*/ 16 w 88"/>
                  <a:gd name="T7" fmla="*/ 68 h 71"/>
                  <a:gd name="T8" fmla="*/ 26 w 88"/>
                  <a:gd name="T9" fmla="*/ 67 h 71"/>
                  <a:gd name="T10" fmla="*/ 32 w 88"/>
                  <a:gd name="T11" fmla="*/ 67 h 71"/>
                  <a:gd name="T12" fmla="*/ 38 w 88"/>
                  <a:gd name="T13" fmla="*/ 68 h 71"/>
                  <a:gd name="T14" fmla="*/ 42 w 88"/>
                  <a:gd name="T15" fmla="*/ 68 h 71"/>
                  <a:gd name="T16" fmla="*/ 48 w 88"/>
                  <a:gd name="T17" fmla="*/ 62 h 71"/>
                  <a:gd name="T18" fmla="*/ 51 w 88"/>
                  <a:gd name="T19" fmla="*/ 62 h 71"/>
                  <a:gd name="T20" fmla="*/ 57 w 88"/>
                  <a:gd name="T21" fmla="*/ 62 h 71"/>
                  <a:gd name="T22" fmla="*/ 64 w 88"/>
                  <a:gd name="T23" fmla="*/ 59 h 71"/>
                  <a:gd name="T24" fmla="*/ 72 w 88"/>
                  <a:gd name="T25" fmla="*/ 56 h 71"/>
                  <a:gd name="T26" fmla="*/ 73 w 88"/>
                  <a:gd name="T27" fmla="*/ 48 h 71"/>
                  <a:gd name="T28" fmla="*/ 73 w 88"/>
                  <a:gd name="T29" fmla="*/ 45 h 71"/>
                  <a:gd name="T30" fmla="*/ 80 w 88"/>
                  <a:gd name="T31" fmla="*/ 38 h 71"/>
                  <a:gd name="T32" fmla="*/ 83 w 88"/>
                  <a:gd name="T33" fmla="*/ 32 h 71"/>
                  <a:gd name="T34" fmla="*/ 84 w 88"/>
                  <a:gd name="T35" fmla="*/ 24 h 71"/>
                  <a:gd name="T36" fmla="*/ 84 w 88"/>
                  <a:gd name="T37" fmla="*/ 18 h 71"/>
                  <a:gd name="T38" fmla="*/ 88 w 88"/>
                  <a:gd name="T39" fmla="*/ 10 h 71"/>
                  <a:gd name="T40" fmla="*/ 83 w 88"/>
                  <a:gd name="T41" fmla="*/ 6 h 71"/>
                  <a:gd name="T42" fmla="*/ 75 w 88"/>
                  <a:gd name="T43" fmla="*/ 5 h 71"/>
                  <a:gd name="T44" fmla="*/ 69 w 88"/>
                  <a:gd name="T45" fmla="*/ 3 h 71"/>
                  <a:gd name="T46" fmla="*/ 61 w 88"/>
                  <a:gd name="T47" fmla="*/ 2 h 71"/>
                  <a:gd name="T48" fmla="*/ 56 w 88"/>
                  <a:gd name="T49" fmla="*/ 2 h 71"/>
                  <a:gd name="T50" fmla="*/ 51 w 88"/>
                  <a:gd name="T51" fmla="*/ 6 h 71"/>
                  <a:gd name="T52" fmla="*/ 43 w 88"/>
                  <a:gd name="T53" fmla="*/ 6 h 71"/>
                  <a:gd name="T54" fmla="*/ 37 w 88"/>
                  <a:gd name="T55" fmla="*/ 5 h 71"/>
                  <a:gd name="T56" fmla="*/ 19 w 88"/>
                  <a:gd name="T57" fmla="*/ 0 h 71"/>
                  <a:gd name="T58" fmla="*/ 10 w 88"/>
                  <a:gd name="T59" fmla="*/ 2 h 71"/>
                  <a:gd name="T60" fmla="*/ 5 w 88"/>
                  <a:gd name="T61" fmla="*/ 10 h 71"/>
                  <a:gd name="T62" fmla="*/ 4 w 88"/>
                  <a:gd name="T63" fmla="*/ 18 h 71"/>
                  <a:gd name="T64" fmla="*/ 10 w 88"/>
                  <a:gd name="T65" fmla="*/ 24 h 71"/>
                  <a:gd name="T66" fmla="*/ 5 w 88"/>
                  <a:gd name="T67" fmla="*/ 22 h 71"/>
                  <a:gd name="T68" fmla="*/ 2 w 88"/>
                  <a:gd name="T69" fmla="*/ 25 h 71"/>
                  <a:gd name="T70" fmla="*/ 4 w 88"/>
                  <a:gd name="T71" fmla="*/ 29 h 71"/>
                  <a:gd name="T72" fmla="*/ 0 w 88"/>
                  <a:gd name="T73" fmla="*/ 33 h 71"/>
                  <a:gd name="T74" fmla="*/ 4 w 88"/>
                  <a:gd name="T75" fmla="*/ 40 h 71"/>
                  <a:gd name="T76" fmla="*/ 8 w 88"/>
                  <a:gd name="T77" fmla="*/ 40 h 71"/>
                  <a:gd name="T78" fmla="*/ 13 w 88"/>
                  <a:gd name="T79" fmla="*/ 38 h 71"/>
                  <a:gd name="T80" fmla="*/ 10 w 88"/>
                  <a:gd name="T81" fmla="*/ 45 h 71"/>
                  <a:gd name="T82" fmla="*/ 4 w 88"/>
                  <a:gd name="T83" fmla="*/ 41 h 71"/>
                  <a:gd name="T84" fmla="*/ 2 w 88"/>
                  <a:gd name="T85" fmla="*/ 46 h 71"/>
                  <a:gd name="T86" fmla="*/ 2 w 88"/>
                  <a:gd name="T87" fmla="*/ 52 h 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8" h="71">
                    <a:moveTo>
                      <a:pt x="2" y="56"/>
                    </a:moveTo>
                    <a:lnTo>
                      <a:pt x="4" y="59"/>
                    </a:lnTo>
                    <a:lnTo>
                      <a:pt x="7" y="64"/>
                    </a:lnTo>
                    <a:lnTo>
                      <a:pt x="8" y="70"/>
                    </a:lnTo>
                    <a:lnTo>
                      <a:pt x="13" y="70"/>
                    </a:lnTo>
                    <a:lnTo>
                      <a:pt x="16" y="71"/>
                    </a:lnTo>
                    <a:lnTo>
                      <a:pt x="19" y="70"/>
                    </a:lnTo>
                    <a:lnTo>
                      <a:pt x="16" y="68"/>
                    </a:lnTo>
                    <a:lnTo>
                      <a:pt x="23" y="68"/>
                    </a:lnTo>
                    <a:lnTo>
                      <a:pt x="26" y="67"/>
                    </a:lnTo>
                    <a:lnTo>
                      <a:pt x="31" y="67"/>
                    </a:lnTo>
                    <a:lnTo>
                      <a:pt x="32" y="67"/>
                    </a:lnTo>
                    <a:lnTo>
                      <a:pt x="35" y="68"/>
                    </a:lnTo>
                    <a:lnTo>
                      <a:pt x="38" y="68"/>
                    </a:lnTo>
                    <a:lnTo>
                      <a:pt x="38" y="65"/>
                    </a:lnTo>
                    <a:lnTo>
                      <a:pt x="42" y="68"/>
                    </a:lnTo>
                    <a:lnTo>
                      <a:pt x="45" y="67"/>
                    </a:lnTo>
                    <a:lnTo>
                      <a:pt x="48" y="62"/>
                    </a:lnTo>
                    <a:lnTo>
                      <a:pt x="48" y="59"/>
                    </a:lnTo>
                    <a:lnTo>
                      <a:pt x="51" y="62"/>
                    </a:lnTo>
                    <a:lnTo>
                      <a:pt x="54" y="62"/>
                    </a:lnTo>
                    <a:lnTo>
                      <a:pt x="57" y="62"/>
                    </a:lnTo>
                    <a:lnTo>
                      <a:pt x="61" y="60"/>
                    </a:lnTo>
                    <a:lnTo>
                      <a:pt x="64" y="59"/>
                    </a:lnTo>
                    <a:lnTo>
                      <a:pt x="69" y="57"/>
                    </a:lnTo>
                    <a:lnTo>
                      <a:pt x="72" y="56"/>
                    </a:lnTo>
                    <a:lnTo>
                      <a:pt x="73" y="52"/>
                    </a:lnTo>
                    <a:lnTo>
                      <a:pt x="73" y="48"/>
                    </a:lnTo>
                    <a:lnTo>
                      <a:pt x="73" y="45"/>
                    </a:lnTo>
                    <a:lnTo>
                      <a:pt x="73" y="45"/>
                    </a:lnTo>
                    <a:lnTo>
                      <a:pt x="78" y="41"/>
                    </a:lnTo>
                    <a:lnTo>
                      <a:pt x="80" y="38"/>
                    </a:lnTo>
                    <a:lnTo>
                      <a:pt x="80" y="35"/>
                    </a:lnTo>
                    <a:lnTo>
                      <a:pt x="83" y="32"/>
                    </a:lnTo>
                    <a:lnTo>
                      <a:pt x="83" y="29"/>
                    </a:lnTo>
                    <a:lnTo>
                      <a:pt x="84" y="24"/>
                    </a:lnTo>
                    <a:lnTo>
                      <a:pt x="84" y="21"/>
                    </a:lnTo>
                    <a:lnTo>
                      <a:pt x="84" y="18"/>
                    </a:lnTo>
                    <a:lnTo>
                      <a:pt x="86" y="14"/>
                    </a:lnTo>
                    <a:lnTo>
                      <a:pt x="88" y="10"/>
                    </a:lnTo>
                    <a:lnTo>
                      <a:pt x="86" y="6"/>
                    </a:lnTo>
                    <a:lnTo>
                      <a:pt x="83" y="6"/>
                    </a:lnTo>
                    <a:lnTo>
                      <a:pt x="78" y="5"/>
                    </a:lnTo>
                    <a:lnTo>
                      <a:pt x="75" y="5"/>
                    </a:lnTo>
                    <a:lnTo>
                      <a:pt x="72" y="5"/>
                    </a:lnTo>
                    <a:lnTo>
                      <a:pt x="69" y="3"/>
                    </a:lnTo>
                    <a:lnTo>
                      <a:pt x="64" y="2"/>
                    </a:lnTo>
                    <a:lnTo>
                      <a:pt x="61" y="2"/>
                    </a:lnTo>
                    <a:lnTo>
                      <a:pt x="61" y="0"/>
                    </a:lnTo>
                    <a:lnTo>
                      <a:pt x="56" y="2"/>
                    </a:lnTo>
                    <a:lnTo>
                      <a:pt x="53" y="3"/>
                    </a:lnTo>
                    <a:lnTo>
                      <a:pt x="51" y="6"/>
                    </a:lnTo>
                    <a:lnTo>
                      <a:pt x="48" y="5"/>
                    </a:lnTo>
                    <a:lnTo>
                      <a:pt x="43" y="6"/>
                    </a:lnTo>
                    <a:lnTo>
                      <a:pt x="40" y="5"/>
                    </a:lnTo>
                    <a:lnTo>
                      <a:pt x="37" y="5"/>
                    </a:lnTo>
                    <a:lnTo>
                      <a:pt x="29" y="2"/>
                    </a:lnTo>
                    <a:lnTo>
                      <a:pt x="19" y="0"/>
                    </a:lnTo>
                    <a:lnTo>
                      <a:pt x="15" y="0"/>
                    </a:lnTo>
                    <a:lnTo>
                      <a:pt x="10" y="2"/>
                    </a:lnTo>
                    <a:lnTo>
                      <a:pt x="7" y="5"/>
                    </a:lnTo>
                    <a:lnTo>
                      <a:pt x="5" y="10"/>
                    </a:lnTo>
                    <a:lnTo>
                      <a:pt x="4" y="13"/>
                    </a:lnTo>
                    <a:lnTo>
                      <a:pt x="4" y="18"/>
                    </a:lnTo>
                    <a:lnTo>
                      <a:pt x="7" y="21"/>
                    </a:lnTo>
                    <a:lnTo>
                      <a:pt x="10" y="24"/>
                    </a:lnTo>
                    <a:lnTo>
                      <a:pt x="8" y="24"/>
                    </a:lnTo>
                    <a:lnTo>
                      <a:pt x="5" y="22"/>
                    </a:lnTo>
                    <a:lnTo>
                      <a:pt x="2" y="22"/>
                    </a:lnTo>
                    <a:lnTo>
                      <a:pt x="2" y="25"/>
                    </a:lnTo>
                    <a:lnTo>
                      <a:pt x="0" y="25"/>
                    </a:lnTo>
                    <a:lnTo>
                      <a:pt x="4" y="29"/>
                    </a:lnTo>
                    <a:lnTo>
                      <a:pt x="2" y="30"/>
                    </a:lnTo>
                    <a:lnTo>
                      <a:pt x="0" y="33"/>
                    </a:lnTo>
                    <a:lnTo>
                      <a:pt x="0" y="37"/>
                    </a:lnTo>
                    <a:lnTo>
                      <a:pt x="4" y="40"/>
                    </a:lnTo>
                    <a:lnTo>
                      <a:pt x="4" y="41"/>
                    </a:lnTo>
                    <a:lnTo>
                      <a:pt x="8" y="40"/>
                    </a:lnTo>
                    <a:lnTo>
                      <a:pt x="11" y="38"/>
                    </a:lnTo>
                    <a:lnTo>
                      <a:pt x="13" y="38"/>
                    </a:lnTo>
                    <a:lnTo>
                      <a:pt x="11" y="40"/>
                    </a:lnTo>
                    <a:lnTo>
                      <a:pt x="10" y="45"/>
                    </a:lnTo>
                    <a:lnTo>
                      <a:pt x="8" y="43"/>
                    </a:lnTo>
                    <a:lnTo>
                      <a:pt x="4" y="41"/>
                    </a:lnTo>
                    <a:lnTo>
                      <a:pt x="0" y="41"/>
                    </a:lnTo>
                    <a:lnTo>
                      <a:pt x="2" y="46"/>
                    </a:lnTo>
                    <a:lnTo>
                      <a:pt x="0" y="49"/>
                    </a:lnTo>
                    <a:lnTo>
                      <a:pt x="2" y="52"/>
                    </a:lnTo>
                    <a:lnTo>
                      <a:pt x="2" y="56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21" name="Freeform 760"/>
              <p:cNvSpPr>
                <a:spLocks/>
              </p:cNvSpPr>
              <p:nvPr/>
            </p:nvSpPr>
            <p:spPr bwMode="auto">
              <a:xfrm>
                <a:off x="1266" y="2382"/>
                <a:ext cx="706" cy="797"/>
              </a:xfrm>
              <a:custGeom>
                <a:avLst/>
                <a:gdLst>
                  <a:gd name="T0" fmla="*/ 35 w 1411"/>
                  <a:gd name="T1" fmla="*/ 436 h 1595"/>
                  <a:gd name="T2" fmla="*/ 116 w 1411"/>
                  <a:gd name="T3" fmla="*/ 383 h 1595"/>
                  <a:gd name="T4" fmla="*/ 157 w 1411"/>
                  <a:gd name="T5" fmla="*/ 258 h 1595"/>
                  <a:gd name="T6" fmla="*/ 166 w 1411"/>
                  <a:gd name="T7" fmla="*/ 184 h 1595"/>
                  <a:gd name="T8" fmla="*/ 227 w 1411"/>
                  <a:gd name="T9" fmla="*/ 130 h 1595"/>
                  <a:gd name="T10" fmla="*/ 303 w 1411"/>
                  <a:gd name="T11" fmla="*/ 184 h 1595"/>
                  <a:gd name="T12" fmla="*/ 376 w 1411"/>
                  <a:gd name="T13" fmla="*/ 125 h 1595"/>
                  <a:gd name="T14" fmla="*/ 347 w 1411"/>
                  <a:gd name="T15" fmla="*/ 46 h 1595"/>
                  <a:gd name="T16" fmla="*/ 417 w 1411"/>
                  <a:gd name="T17" fmla="*/ 47 h 1595"/>
                  <a:gd name="T18" fmla="*/ 501 w 1411"/>
                  <a:gd name="T19" fmla="*/ 8 h 1595"/>
                  <a:gd name="T20" fmla="*/ 500 w 1411"/>
                  <a:gd name="T21" fmla="*/ 101 h 1595"/>
                  <a:gd name="T22" fmla="*/ 552 w 1411"/>
                  <a:gd name="T23" fmla="*/ 157 h 1595"/>
                  <a:gd name="T24" fmla="*/ 644 w 1411"/>
                  <a:gd name="T25" fmla="*/ 130 h 1595"/>
                  <a:gd name="T26" fmla="*/ 712 w 1411"/>
                  <a:gd name="T27" fmla="*/ 127 h 1595"/>
                  <a:gd name="T28" fmla="*/ 796 w 1411"/>
                  <a:gd name="T29" fmla="*/ 55 h 1595"/>
                  <a:gd name="T30" fmla="*/ 833 w 1411"/>
                  <a:gd name="T31" fmla="*/ 119 h 1595"/>
                  <a:gd name="T32" fmla="*/ 848 w 1411"/>
                  <a:gd name="T33" fmla="*/ 180 h 1595"/>
                  <a:gd name="T34" fmla="*/ 790 w 1411"/>
                  <a:gd name="T35" fmla="*/ 269 h 1595"/>
                  <a:gd name="T36" fmla="*/ 810 w 1411"/>
                  <a:gd name="T37" fmla="*/ 268 h 1595"/>
                  <a:gd name="T38" fmla="*/ 864 w 1411"/>
                  <a:gd name="T39" fmla="*/ 295 h 1595"/>
                  <a:gd name="T40" fmla="*/ 890 w 1411"/>
                  <a:gd name="T41" fmla="*/ 291 h 1595"/>
                  <a:gd name="T42" fmla="*/ 936 w 1411"/>
                  <a:gd name="T43" fmla="*/ 244 h 1595"/>
                  <a:gd name="T44" fmla="*/ 983 w 1411"/>
                  <a:gd name="T45" fmla="*/ 258 h 1595"/>
                  <a:gd name="T46" fmla="*/ 1029 w 1411"/>
                  <a:gd name="T47" fmla="*/ 287 h 1595"/>
                  <a:gd name="T48" fmla="*/ 1050 w 1411"/>
                  <a:gd name="T49" fmla="*/ 309 h 1595"/>
                  <a:gd name="T50" fmla="*/ 1063 w 1411"/>
                  <a:gd name="T51" fmla="*/ 326 h 1595"/>
                  <a:gd name="T52" fmla="*/ 1104 w 1411"/>
                  <a:gd name="T53" fmla="*/ 314 h 1595"/>
                  <a:gd name="T54" fmla="*/ 1216 w 1411"/>
                  <a:gd name="T55" fmla="*/ 333 h 1595"/>
                  <a:gd name="T56" fmla="*/ 1323 w 1411"/>
                  <a:gd name="T57" fmla="*/ 414 h 1595"/>
                  <a:gd name="T58" fmla="*/ 1405 w 1411"/>
                  <a:gd name="T59" fmla="*/ 485 h 1595"/>
                  <a:gd name="T60" fmla="*/ 1408 w 1411"/>
                  <a:gd name="T61" fmla="*/ 556 h 1595"/>
                  <a:gd name="T62" fmla="*/ 1358 w 1411"/>
                  <a:gd name="T63" fmla="*/ 645 h 1595"/>
                  <a:gd name="T64" fmla="*/ 1326 w 1411"/>
                  <a:gd name="T65" fmla="*/ 685 h 1595"/>
                  <a:gd name="T66" fmla="*/ 1272 w 1411"/>
                  <a:gd name="T67" fmla="*/ 762 h 1595"/>
                  <a:gd name="T68" fmla="*/ 1281 w 1411"/>
                  <a:gd name="T69" fmla="*/ 864 h 1595"/>
                  <a:gd name="T70" fmla="*/ 1243 w 1411"/>
                  <a:gd name="T71" fmla="*/ 1045 h 1595"/>
                  <a:gd name="T72" fmla="*/ 1189 w 1411"/>
                  <a:gd name="T73" fmla="*/ 1141 h 1595"/>
                  <a:gd name="T74" fmla="*/ 1123 w 1411"/>
                  <a:gd name="T75" fmla="*/ 1159 h 1595"/>
                  <a:gd name="T76" fmla="*/ 1072 w 1411"/>
                  <a:gd name="T77" fmla="*/ 1191 h 1595"/>
                  <a:gd name="T78" fmla="*/ 988 w 1411"/>
                  <a:gd name="T79" fmla="*/ 1241 h 1595"/>
                  <a:gd name="T80" fmla="*/ 972 w 1411"/>
                  <a:gd name="T81" fmla="*/ 1284 h 1595"/>
                  <a:gd name="T82" fmla="*/ 978 w 1411"/>
                  <a:gd name="T83" fmla="*/ 1379 h 1595"/>
                  <a:gd name="T84" fmla="*/ 888 w 1411"/>
                  <a:gd name="T85" fmla="*/ 1520 h 1595"/>
                  <a:gd name="T86" fmla="*/ 925 w 1411"/>
                  <a:gd name="T87" fmla="*/ 1451 h 1595"/>
                  <a:gd name="T88" fmla="*/ 899 w 1411"/>
                  <a:gd name="T89" fmla="*/ 1487 h 1595"/>
                  <a:gd name="T90" fmla="*/ 855 w 1411"/>
                  <a:gd name="T91" fmla="*/ 1593 h 1595"/>
                  <a:gd name="T92" fmla="*/ 802 w 1411"/>
                  <a:gd name="T93" fmla="*/ 1511 h 1595"/>
                  <a:gd name="T94" fmla="*/ 685 w 1411"/>
                  <a:gd name="T95" fmla="*/ 1452 h 1595"/>
                  <a:gd name="T96" fmla="*/ 736 w 1411"/>
                  <a:gd name="T97" fmla="*/ 1378 h 1595"/>
                  <a:gd name="T98" fmla="*/ 796 w 1411"/>
                  <a:gd name="T99" fmla="*/ 1311 h 1595"/>
                  <a:gd name="T100" fmla="*/ 763 w 1411"/>
                  <a:gd name="T101" fmla="*/ 1221 h 1595"/>
                  <a:gd name="T102" fmla="*/ 704 w 1411"/>
                  <a:gd name="T103" fmla="*/ 1138 h 1595"/>
                  <a:gd name="T104" fmla="*/ 623 w 1411"/>
                  <a:gd name="T105" fmla="*/ 1116 h 1595"/>
                  <a:gd name="T106" fmla="*/ 611 w 1411"/>
                  <a:gd name="T107" fmla="*/ 1015 h 1595"/>
                  <a:gd name="T108" fmla="*/ 591 w 1411"/>
                  <a:gd name="T109" fmla="*/ 923 h 1595"/>
                  <a:gd name="T110" fmla="*/ 509 w 1411"/>
                  <a:gd name="T111" fmla="*/ 810 h 1595"/>
                  <a:gd name="T112" fmla="*/ 428 w 1411"/>
                  <a:gd name="T113" fmla="*/ 750 h 1595"/>
                  <a:gd name="T114" fmla="*/ 347 w 1411"/>
                  <a:gd name="T115" fmla="*/ 715 h 1595"/>
                  <a:gd name="T116" fmla="*/ 317 w 1411"/>
                  <a:gd name="T117" fmla="*/ 639 h 1595"/>
                  <a:gd name="T118" fmla="*/ 251 w 1411"/>
                  <a:gd name="T119" fmla="*/ 637 h 1595"/>
                  <a:gd name="T120" fmla="*/ 171 w 1411"/>
                  <a:gd name="T121" fmla="*/ 664 h 1595"/>
                  <a:gd name="T122" fmla="*/ 117 w 1411"/>
                  <a:gd name="T123" fmla="*/ 610 h 1595"/>
                  <a:gd name="T124" fmla="*/ 32 w 1411"/>
                  <a:gd name="T125" fmla="*/ 571 h 15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11" h="1595">
                    <a:moveTo>
                      <a:pt x="0" y="523"/>
                    </a:moveTo>
                    <a:lnTo>
                      <a:pt x="3" y="521"/>
                    </a:lnTo>
                    <a:lnTo>
                      <a:pt x="3" y="517"/>
                    </a:lnTo>
                    <a:lnTo>
                      <a:pt x="6" y="515"/>
                    </a:lnTo>
                    <a:lnTo>
                      <a:pt x="11" y="513"/>
                    </a:lnTo>
                    <a:lnTo>
                      <a:pt x="8" y="509"/>
                    </a:lnTo>
                    <a:lnTo>
                      <a:pt x="6" y="506"/>
                    </a:lnTo>
                    <a:lnTo>
                      <a:pt x="8" y="501"/>
                    </a:lnTo>
                    <a:lnTo>
                      <a:pt x="9" y="496"/>
                    </a:lnTo>
                    <a:lnTo>
                      <a:pt x="13" y="493"/>
                    </a:lnTo>
                    <a:lnTo>
                      <a:pt x="16" y="490"/>
                    </a:lnTo>
                    <a:lnTo>
                      <a:pt x="19" y="487"/>
                    </a:lnTo>
                    <a:lnTo>
                      <a:pt x="24" y="485"/>
                    </a:lnTo>
                    <a:lnTo>
                      <a:pt x="27" y="483"/>
                    </a:lnTo>
                    <a:lnTo>
                      <a:pt x="28" y="480"/>
                    </a:lnTo>
                    <a:lnTo>
                      <a:pt x="30" y="477"/>
                    </a:lnTo>
                    <a:lnTo>
                      <a:pt x="28" y="472"/>
                    </a:lnTo>
                    <a:lnTo>
                      <a:pt x="27" y="469"/>
                    </a:lnTo>
                    <a:lnTo>
                      <a:pt x="25" y="466"/>
                    </a:lnTo>
                    <a:lnTo>
                      <a:pt x="25" y="463"/>
                    </a:lnTo>
                    <a:lnTo>
                      <a:pt x="27" y="461"/>
                    </a:lnTo>
                    <a:lnTo>
                      <a:pt x="28" y="458"/>
                    </a:lnTo>
                    <a:lnTo>
                      <a:pt x="30" y="455"/>
                    </a:lnTo>
                    <a:lnTo>
                      <a:pt x="32" y="450"/>
                    </a:lnTo>
                    <a:lnTo>
                      <a:pt x="35" y="447"/>
                    </a:lnTo>
                    <a:lnTo>
                      <a:pt x="35" y="444"/>
                    </a:lnTo>
                    <a:lnTo>
                      <a:pt x="33" y="439"/>
                    </a:lnTo>
                    <a:lnTo>
                      <a:pt x="35" y="436"/>
                    </a:lnTo>
                    <a:lnTo>
                      <a:pt x="36" y="433"/>
                    </a:lnTo>
                    <a:lnTo>
                      <a:pt x="36" y="428"/>
                    </a:lnTo>
                    <a:lnTo>
                      <a:pt x="35" y="426"/>
                    </a:lnTo>
                    <a:lnTo>
                      <a:pt x="35" y="426"/>
                    </a:lnTo>
                    <a:lnTo>
                      <a:pt x="35" y="426"/>
                    </a:lnTo>
                    <a:lnTo>
                      <a:pt x="40" y="423"/>
                    </a:lnTo>
                    <a:lnTo>
                      <a:pt x="43" y="423"/>
                    </a:lnTo>
                    <a:lnTo>
                      <a:pt x="46" y="420"/>
                    </a:lnTo>
                    <a:lnTo>
                      <a:pt x="49" y="418"/>
                    </a:lnTo>
                    <a:lnTo>
                      <a:pt x="54" y="415"/>
                    </a:lnTo>
                    <a:lnTo>
                      <a:pt x="54" y="412"/>
                    </a:lnTo>
                    <a:lnTo>
                      <a:pt x="57" y="410"/>
                    </a:lnTo>
                    <a:lnTo>
                      <a:pt x="62" y="409"/>
                    </a:lnTo>
                    <a:lnTo>
                      <a:pt x="65" y="406"/>
                    </a:lnTo>
                    <a:lnTo>
                      <a:pt x="68" y="402"/>
                    </a:lnTo>
                    <a:lnTo>
                      <a:pt x="71" y="399"/>
                    </a:lnTo>
                    <a:lnTo>
                      <a:pt x="76" y="399"/>
                    </a:lnTo>
                    <a:lnTo>
                      <a:pt x="81" y="399"/>
                    </a:lnTo>
                    <a:lnTo>
                      <a:pt x="86" y="399"/>
                    </a:lnTo>
                    <a:lnTo>
                      <a:pt x="89" y="398"/>
                    </a:lnTo>
                    <a:lnTo>
                      <a:pt x="92" y="398"/>
                    </a:lnTo>
                    <a:lnTo>
                      <a:pt x="95" y="396"/>
                    </a:lnTo>
                    <a:lnTo>
                      <a:pt x="98" y="396"/>
                    </a:lnTo>
                    <a:lnTo>
                      <a:pt x="103" y="395"/>
                    </a:lnTo>
                    <a:lnTo>
                      <a:pt x="106" y="393"/>
                    </a:lnTo>
                    <a:lnTo>
                      <a:pt x="109" y="388"/>
                    </a:lnTo>
                    <a:lnTo>
                      <a:pt x="113" y="387"/>
                    </a:lnTo>
                    <a:lnTo>
                      <a:pt x="116" y="383"/>
                    </a:lnTo>
                    <a:lnTo>
                      <a:pt x="117" y="388"/>
                    </a:lnTo>
                    <a:lnTo>
                      <a:pt x="120" y="387"/>
                    </a:lnTo>
                    <a:lnTo>
                      <a:pt x="125" y="385"/>
                    </a:lnTo>
                    <a:lnTo>
                      <a:pt x="128" y="390"/>
                    </a:lnTo>
                    <a:lnTo>
                      <a:pt x="132" y="391"/>
                    </a:lnTo>
                    <a:lnTo>
                      <a:pt x="132" y="393"/>
                    </a:lnTo>
                    <a:lnTo>
                      <a:pt x="135" y="390"/>
                    </a:lnTo>
                    <a:lnTo>
                      <a:pt x="138" y="393"/>
                    </a:lnTo>
                    <a:lnTo>
                      <a:pt x="139" y="393"/>
                    </a:lnTo>
                    <a:lnTo>
                      <a:pt x="141" y="383"/>
                    </a:lnTo>
                    <a:lnTo>
                      <a:pt x="143" y="374"/>
                    </a:lnTo>
                    <a:lnTo>
                      <a:pt x="144" y="360"/>
                    </a:lnTo>
                    <a:lnTo>
                      <a:pt x="147" y="344"/>
                    </a:lnTo>
                    <a:lnTo>
                      <a:pt x="149" y="331"/>
                    </a:lnTo>
                    <a:lnTo>
                      <a:pt x="151" y="317"/>
                    </a:lnTo>
                    <a:lnTo>
                      <a:pt x="152" y="303"/>
                    </a:lnTo>
                    <a:lnTo>
                      <a:pt x="154" y="290"/>
                    </a:lnTo>
                    <a:lnTo>
                      <a:pt x="155" y="287"/>
                    </a:lnTo>
                    <a:lnTo>
                      <a:pt x="155" y="282"/>
                    </a:lnTo>
                    <a:lnTo>
                      <a:pt x="155" y="279"/>
                    </a:lnTo>
                    <a:lnTo>
                      <a:pt x="155" y="279"/>
                    </a:lnTo>
                    <a:lnTo>
                      <a:pt x="157" y="274"/>
                    </a:lnTo>
                    <a:lnTo>
                      <a:pt x="157" y="274"/>
                    </a:lnTo>
                    <a:lnTo>
                      <a:pt x="159" y="271"/>
                    </a:lnTo>
                    <a:lnTo>
                      <a:pt x="159" y="266"/>
                    </a:lnTo>
                    <a:lnTo>
                      <a:pt x="159" y="263"/>
                    </a:lnTo>
                    <a:lnTo>
                      <a:pt x="157" y="260"/>
                    </a:lnTo>
                    <a:lnTo>
                      <a:pt x="157" y="258"/>
                    </a:lnTo>
                    <a:lnTo>
                      <a:pt x="154" y="253"/>
                    </a:lnTo>
                    <a:lnTo>
                      <a:pt x="152" y="250"/>
                    </a:lnTo>
                    <a:lnTo>
                      <a:pt x="151" y="247"/>
                    </a:lnTo>
                    <a:lnTo>
                      <a:pt x="151" y="244"/>
                    </a:lnTo>
                    <a:lnTo>
                      <a:pt x="151" y="241"/>
                    </a:lnTo>
                    <a:lnTo>
                      <a:pt x="151" y="236"/>
                    </a:lnTo>
                    <a:lnTo>
                      <a:pt x="146" y="234"/>
                    </a:lnTo>
                    <a:lnTo>
                      <a:pt x="143" y="231"/>
                    </a:lnTo>
                    <a:lnTo>
                      <a:pt x="139" y="230"/>
                    </a:lnTo>
                    <a:lnTo>
                      <a:pt x="136" y="225"/>
                    </a:lnTo>
                    <a:lnTo>
                      <a:pt x="136" y="225"/>
                    </a:lnTo>
                    <a:lnTo>
                      <a:pt x="133" y="222"/>
                    </a:lnTo>
                    <a:lnTo>
                      <a:pt x="133" y="215"/>
                    </a:lnTo>
                    <a:lnTo>
                      <a:pt x="135" y="212"/>
                    </a:lnTo>
                    <a:lnTo>
                      <a:pt x="135" y="198"/>
                    </a:lnTo>
                    <a:lnTo>
                      <a:pt x="135" y="195"/>
                    </a:lnTo>
                    <a:lnTo>
                      <a:pt x="136" y="192"/>
                    </a:lnTo>
                    <a:lnTo>
                      <a:pt x="139" y="192"/>
                    </a:lnTo>
                    <a:lnTo>
                      <a:pt x="143" y="192"/>
                    </a:lnTo>
                    <a:lnTo>
                      <a:pt x="146" y="188"/>
                    </a:lnTo>
                    <a:lnTo>
                      <a:pt x="151" y="190"/>
                    </a:lnTo>
                    <a:lnTo>
                      <a:pt x="154" y="187"/>
                    </a:lnTo>
                    <a:lnTo>
                      <a:pt x="157" y="187"/>
                    </a:lnTo>
                    <a:lnTo>
                      <a:pt x="160" y="188"/>
                    </a:lnTo>
                    <a:lnTo>
                      <a:pt x="163" y="190"/>
                    </a:lnTo>
                    <a:lnTo>
                      <a:pt x="165" y="190"/>
                    </a:lnTo>
                    <a:lnTo>
                      <a:pt x="166" y="187"/>
                    </a:lnTo>
                    <a:lnTo>
                      <a:pt x="166" y="184"/>
                    </a:lnTo>
                    <a:lnTo>
                      <a:pt x="166" y="180"/>
                    </a:lnTo>
                    <a:lnTo>
                      <a:pt x="162" y="174"/>
                    </a:lnTo>
                    <a:lnTo>
                      <a:pt x="159" y="173"/>
                    </a:lnTo>
                    <a:lnTo>
                      <a:pt x="149" y="173"/>
                    </a:lnTo>
                    <a:lnTo>
                      <a:pt x="144" y="171"/>
                    </a:lnTo>
                    <a:lnTo>
                      <a:pt x="141" y="173"/>
                    </a:lnTo>
                    <a:lnTo>
                      <a:pt x="143" y="160"/>
                    </a:lnTo>
                    <a:lnTo>
                      <a:pt x="143" y="146"/>
                    </a:lnTo>
                    <a:lnTo>
                      <a:pt x="146" y="146"/>
                    </a:lnTo>
                    <a:lnTo>
                      <a:pt x="149" y="146"/>
                    </a:lnTo>
                    <a:lnTo>
                      <a:pt x="152" y="142"/>
                    </a:lnTo>
                    <a:lnTo>
                      <a:pt x="155" y="144"/>
                    </a:lnTo>
                    <a:lnTo>
                      <a:pt x="159" y="146"/>
                    </a:lnTo>
                    <a:lnTo>
                      <a:pt x="170" y="146"/>
                    </a:lnTo>
                    <a:lnTo>
                      <a:pt x="185" y="146"/>
                    </a:lnTo>
                    <a:lnTo>
                      <a:pt x="200" y="146"/>
                    </a:lnTo>
                    <a:lnTo>
                      <a:pt x="200" y="142"/>
                    </a:lnTo>
                    <a:lnTo>
                      <a:pt x="200" y="138"/>
                    </a:lnTo>
                    <a:lnTo>
                      <a:pt x="201" y="134"/>
                    </a:lnTo>
                    <a:lnTo>
                      <a:pt x="205" y="136"/>
                    </a:lnTo>
                    <a:lnTo>
                      <a:pt x="206" y="139"/>
                    </a:lnTo>
                    <a:lnTo>
                      <a:pt x="208" y="142"/>
                    </a:lnTo>
                    <a:lnTo>
                      <a:pt x="211" y="144"/>
                    </a:lnTo>
                    <a:lnTo>
                      <a:pt x="216" y="142"/>
                    </a:lnTo>
                    <a:lnTo>
                      <a:pt x="219" y="139"/>
                    </a:lnTo>
                    <a:lnTo>
                      <a:pt x="220" y="136"/>
                    </a:lnTo>
                    <a:lnTo>
                      <a:pt x="224" y="133"/>
                    </a:lnTo>
                    <a:lnTo>
                      <a:pt x="227" y="130"/>
                    </a:lnTo>
                    <a:lnTo>
                      <a:pt x="230" y="128"/>
                    </a:lnTo>
                    <a:lnTo>
                      <a:pt x="233" y="131"/>
                    </a:lnTo>
                    <a:lnTo>
                      <a:pt x="235" y="136"/>
                    </a:lnTo>
                    <a:lnTo>
                      <a:pt x="238" y="139"/>
                    </a:lnTo>
                    <a:lnTo>
                      <a:pt x="239" y="142"/>
                    </a:lnTo>
                    <a:lnTo>
                      <a:pt x="241" y="146"/>
                    </a:lnTo>
                    <a:lnTo>
                      <a:pt x="243" y="157"/>
                    </a:lnTo>
                    <a:lnTo>
                      <a:pt x="241" y="166"/>
                    </a:lnTo>
                    <a:lnTo>
                      <a:pt x="244" y="166"/>
                    </a:lnTo>
                    <a:lnTo>
                      <a:pt x="249" y="166"/>
                    </a:lnTo>
                    <a:lnTo>
                      <a:pt x="249" y="166"/>
                    </a:lnTo>
                    <a:lnTo>
                      <a:pt x="249" y="166"/>
                    </a:lnTo>
                    <a:lnTo>
                      <a:pt x="258" y="174"/>
                    </a:lnTo>
                    <a:lnTo>
                      <a:pt x="268" y="184"/>
                    </a:lnTo>
                    <a:lnTo>
                      <a:pt x="271" y="185"/>
                    </a:lnTo>
                    <a:lnTo>
                      <a:pt x="274" y="185"/>
                    </a:lnTo>
                    <a:lnTo>
                      <a:pt x="277" y="184"/>
                    </a:lnTo>
                    <a:lnTo>
                      <a:pt x="281" y="184"/>
                    </a:lnTo>
                    <a:lnTo>
                      <a:pt x="284" y="179"/>
                    </a:lnTo>
                    <a:lnTo>
                      <a:pt x="287" y="177"/>
                    </a:lnTo>
                    <a:lnTo>
                      <a:pt x="292" y="176"/>
                    </a:lnTo>
                    <a:lnTo>
                      <a:pt x="295" y="176"/>
                    </a:lnTo>
                    <a:lnTo>
                      <a:pt x="298" y="179"/>
                    </a:lnTo>
                    <a:lnTo>
                      <a:pt x="298" y="182"/>
                    </a:lnTo>
                    <a:lnTo>
                      <a:pt x="296" y="185"/>
                    </a:lnTo>
                    <a:lnTo>
                      <a:pt x="298" y="190"/>
                    </a:lnTo>
                    <a:lnTo>
                      <a:pt x="301" y="187"/>
                    </a:lnTo>
                    <a:lnTo>
                      <a:pt x="303" y="184"/>
                    </a:lnTo>
                    <a:lnTo>
                      <a:pt x="304" y="180"/>
                    </a:lnTo>
                    <a:lnTo>
                      <a:pt x="308" y="179"/>
                    </a:lnTo>
                    <a:lnTo>
                      <a:pt x="311" y="176"/>
                    </a:lnTo>
                    <a:lnTo>
                      <a:pt x="311" y="173"/>
                    </a:lnTo>
                    <a:lnTo>
                      <a:pt x="314" y="169"/>
                    </a:lnTo>
                    <a:lnTo>
                      <a:pt x="317" y="168"/>
                    </a:lnTo>
                    <a:lnTo>
                      <a:pt x="319" y="168"/>
                    </a:lnTo>
                    <a:lnTo>
                      <a:pt x="322" y="166"/>
                    </a:lnTo>
                    <a:lnTo>
                      <a:pt x="325" y="165"/>
                    </a:lnTo>
                    <a:lnTo>
                      <a:pt x="328" y="163"/>
                    </a:lnTo>
                    <a:lnTo>
                      <a:pt x="331" y="161"/>
                    </a:lnTo>
                    <a:lnTo>
                      <a:pt x="333" y="158"/>
                    </a:lnTo>
                    <a:lnTo>
                      <a:pt x="336" y="155"/>
                    </a:lnTo>
                    <a:lnTo>
                      <a:pt x="339" y="157"/>
                    </a:lnTo>
                    <a:lnTo>
                      <a:pt x="341" y="160"/>
                    </a:lnTo>
                    <a:lnTo>
                      <a:pt x="346" y="153"/>
                    </a:lnTo>
                    <a:lnTo>
                      <a:pt x="349" y="150"/>
                    </a:lnTo>
                    <a:lnTo>
                      <a:pt x="350" y="147"/>
                    </a:lnTo>
                    <a:lnTo>
                      <a:pt x="352" y="139"/>
                    </a:lnTo>
                    <a:lnTo>
                      <a:pt x="354" y="136"/>
                    </a:lnTo>
                    <a:lnTo>
                      <a:pt x="357" y="134"/>
                    </a:lnTo>
                    <a:lnTo>
                      <a:pt x="362" y="136"/>
                    </a:lnTo>
                    <a:lnTo>
                      <a:pt x="365" y="133"/>
                    </a:lnTo>
                    <a:lnTo>
                      <a:pt x="368" y="130"/>
                    </a:lnTo>
                    <a:lnTo>
                      <a:pt x="371" y="128"/>
                    </a:lnTo>
                    <a:lnTo>
                      <a:pt x="374" y="128"/>
                    </a:lnTo>
                    <a:lnTo>
                      <a:pt x="376" y="125"/>
                    </a:lnTo>
                    <a:lnTo>
                      <a:pt x="376" y="125"/>
                    </a:lnTo>
                    <a:lnTo>
                      <a:pt x="376" y="120"/>
                    </a:lnTo>
                    <a:lnTo>
                      <a:pt x="377" y="117"/>
                    </a:lnTo>
                    <a:lnTo>
                      <a:pt x="368" y="115"/>
                    </a:lnTo>
                    <a:lnTo>
                      <a:pt x="363" y="117"/>
                    </a:lnTo>
                    <a:lnTo>
                      <a:pt x="358" y="115"/>
                    </a:lnTo>
                    <a:lnTo>
                      <a:pt x="352" y="112"/>
                    </a:lnTo>
                    <a:lnTo>
                      <a:pt x="355" y="106"/>
                    </a:lnTo>
                    <a:lnTo>
                      <a:pt x="354" y="103"/>
                    </a:lnTo>
                    <a:lnTo>
                      <a:pt x="352" y="98"/>
                    </a:lnTo>
                    <a:lnTo>
                      <a:pt x="350" y="95"/>
                    </a:lnTo>
                    <a:lnTo>
                      <a:pt x="347" y="88"/>
                    </a:lnTo>
                    <a:lnTo>
                      <a:pt x="346" y="85"/>
                    </a:lnTo>
                    <a:lnTo>
                      <a:pt x="347" y="84"/>
                    </a:lnTo>
                    <a:lnTo>
                      <a:pt x="346" y="77"/>
                    </a:lnTo>
                    <a:lnTo>
                      <a:pt x="347" y="71"/>
                    </a:lnTo>
                    <a:lnTo>
                      <a:pt x="347" y="68"/>
                    </a:lnTo>
                    <a:lnTo>
                      <a:pt x="344" y="65"/>
                    </a:lnTo>
                    <a:lnTo>
                      <a:pt x="339" y="62"/>
                    </a:lnTo>
                    <a:lnTo>
                      <a:pt x="336" y="58"/>
                    </a:lnTo>
                    <a:lnTo>
                      <a:pt x="331" y="50"/>
                    </a:lnTo>
                    <a:lnTo>
                      <a:pt x="330" y="47"/>
                    </a:lnTo>
                    <a:lnTo>
                      <a:pt x="327" y="44"/>
                    </a:lnTo>
                    <a:lnTo>
                      <a:pt x="328" y="41"/>
                    </a:lnTo>
                    <a:lnTo>
                      <a:pt x="333" y="42"/>
                    </a:lnTo>
                    <a:lnTo>
                      <a:pt x="333" y="44"/>
                    </a:lnTo>
                    <a:lnTo>
                      <a:pt x="335" y="47"/>
                    </a:lnTo>
                    <a:lnTo>
                      <a:pt x="341" y="46"/>
                    </a:lnTo>
                    <a:lnTo>
                      <a:pt x="347" y="46"/>
                    </a:lnTo>
                    <a:lnTo>
                      <a:pt x="349" y="47"/>
                    </a:lnTo>
                    <a:lnTo>
                      <a:pt x="350" y="49"/>
                    </a:lnTo>
                    <a:lnTo>
                      <a:pt x="352" y="52"/>
                    </a:lnTo>
                    <a:lnTo>
                      <a:pt x="354" y="57"/>
                    </a:lnTo>
                    <a:lnTo>
                      <a:pt x="357" y="55"/>
                    </a:lnTo>
                    <a:lnTo>
                      <a:pt x="362" y="54"/>
                    </a:lnTo>
                    <a:lnTo>
                      <a:pt x="365" y="55"/>
                    </a:lnTo>
                    <a:lnTo>
                      <a:pt x="368" y="54"/>
                    </a:lnTo>
                    <a:lnTo>
                      <a:pt x="371" y="57"/>
                    </a:lnTo>
                    <a:lnTo>
                      <a:pt x="374" y="57"/>
                    </a:lnTo>
                    <a:lnTo>
                      <a:pt x="377" y="54"/>
                    </a:lnTo>
                    <a:lnTo>
                      <a:pt x="381" y="55"/>
                    </a:lnTo>
                    <a:lnTo>
                      <a:pt x="384" y="58"/>
                    </a:lnTo>
                    <a:lnTo>
                      <a:pt x="387" y="62"/>
                    </a:lnTo>
                    <a:lnTo>
                      <a:pt x="388" y="66"/>
                    </a:lnTo>
                    <a:lnTo>
                      <a:pt x="392" y="69"/>
                    </a:lnTo>
                    <a:lnTo>
                      <a:pt x="395" y="69"/>
                    </a:lnTo>
                    <a:lnTo>
                      <a:pt x="400" y="68"/>
                    </a:lnTo>
                    <a:lnTo>
                      <a:pt x="401" y="65"/>
                    </a:lnTo>
                    <a:lnTo>
                      <a:pt x="400" y="62"/>
                    </a:lnTo>
                    <a:lnTo>
                      <a:pt x="400" y="58"/>
                    </a:lnTo>
                    <a:lnTo>
                      <a:pt x="400" y="54"/>
                    </a:lnTo>
                    <a:lnTo>
                      <a:pt x="401" y="50"/>
                    </a:lnTo>
                    <a:lnTo>
                      <a:pt x="404" y="50"/>
                    </a:lnTo>
                    <a:lnTo>
                      <a:pt x="408" y="50"/>
                    </a:lnTo>
                    <a:lnTo>
                      <a:pt x="411" y="46"/>
                    </a:lnTo>
                    <a:lnTo>
                      <a:pt x="414" y="46"/>
                    </a:lnTo>
                    <a:lnTo>
                      <a:pt x="417" y="47"/>
                    </a:lnTo>
                    <a:lnTo>
                      <a:pt x="422" y="49"/>
                    </a:lnTo>
                    <a:lnTo>
                      <a:pt x="425" y="47"/>
                    </a:lnTo>
                    <a:lnTo>
                      <a:pt x="428" y="46"/>
                    </a:lnTo>
                    <a:lnTo>
                      <a:pt x="431" y="46"/>
                    </a:lnTo>
                    <a:lnTo>
                      <a:pt x="438" y="41"/>
                    </a:lnTo>
                    <a:lnTo>
                      <a:pt x="442" y="42"/>
                    </a:lnTo>
                    <a:lnTo>
                      <a:pt x="446" y="39"/>
                    </a:lnTo>
                    <a:lnTo>
                      <a:pt x="446" y="36"/>
                    </a:lnTo>
                    <a:lnTo>
                      <a:pt x="449" y="35"/>
                    </a:lnTo>
                    <a:lnTo>
                      <a:pt x="454" y="35"/>
                    </a:lnTo>
                    <a:lnTo>
                      <a:pt x="454" y="31"/>
                    </a:lnTo>
                    <a:lnTo>
                      <a:pt x="458" y="31"/>
                    </a:lnTo>
                    <a:lnTo>
                      <a:pt x="458" y="31"/>
                    </a:lnTo>
                    <a:lnTo>
                      <a:pt x="461" y="31"/>
                    </a:lnTo>
                    <a:lnTo>
                      <a:pt x="465" y="30"/>
                    </a:lnTo>
                    <a:lnTo>
                      <a:pt x="466" y="27"/>
                    </a:lnTo>
                    <a:lnTo>
                      <a:pt x="469" y="23"/>
                    </a:lnTo>
                    <a:lnTo>
                      <a:pt x="476" y="19"/>
                    </a:lnTo>
                    <a:lnTo>
                      <a:pt x="479" y="14"/>
                    </a:lnTo>
                    <a:lnTo>
                      <a:pt x="479" y="11"/>
                    </a:lnTo>
                    <a:lnTo>
                      <a:pt x="479" y="9"/>
                    </a:lnTo>
                    <a:lnTo>
                      <a:pt x="477" y="6"/>
                    </a:lnTo>
                    <a:lnTo>
                      <a:pt x="474" y="3"/>
                    </a:lnTo>
                    <a:lnTo>
                      <a:pt x="485" y="3"/>
                    </a:lnTo>
                    <a:lnTo>
                      <a:pt x="493" y="0"/>
                    </a:lnTo>
                    <a:lnTo>
                      <a:pt x="496" y="1"/>
                    </a:lnTo>
                    <a:lnTo>
                      <a:pt x="498" y="4"/>
                    </a:lnTo>
                    <a:lnTo>
                      <a:pt x="501" y="8"/>
                    </a:lnTo>
                    <a:lnTo>
                      <a:pt x="501" y="11"/>
                    </a:lnTo>
                    <a:lnTo>
                      <a:pt x="501" y="14"/>
                    </a:lnTo>
                    <a:lnTo>
                      <a:pt x="500" y="22"/>
                    </a:lnTo>
                    <a:lnTo>
                      <a:pt x="496" y="28"/>
                    </a:lnTo>
                    <a:lnTo>
                      <a:pt x="498" y="31"/>
                    </a:lnTo>
                    <a:lnTo>
                      <a:pt x="500" y="31"/>
                    </a:lnTo>
                    <a:lnTo>
                      <a:pt x="503" y="33"/>
                    </a:lnTo>
                    <a:lnTo>
                      <a:pt x="507" y="33"/>
                    </a:lnTo>
                    <a:lnTo>
                      <a:pt x="511" y="35"/>
                    </a:lnTo>
                    <a:lnTo>
                      <a:pt x="512" y="36"/>
                    </a:lnTo>
                    <a:lnTo>
                      <a:pt x="509" y="41"/>
                    </a:lnTo>
                    <a:lnTo>
                      <a:pt x="509" y="44"/>
                    </a:lnTo>
                    <a:lnTo>
                      <a:pt x="512" y="47"/>
                    </a:lnTo>
                    <a:lnTo>
                      <a:pt x="514" y="50"/>
                    </a:lnTo>
                    <a:lnTo>
                      <a:pt x="517" y="54"/>
                    </a:lnTo>
                    <a:lnTo>
                      <a:pt x="512" y="60"/>
                    </a:lnTo>
                    <a:lnTo>
                      <a:pt x="512" y="63"/>
                    </a:lnTo>
                    <a:lnTo>
                      <a:pt x="511" y="65"/>
                    </a:lnTo>
                    <a:lnTo>
                      <a:pt x="504" y="69"/>
                    </a:lnTo>
                    <a:lnTo>
                      <a:pt x="506" y="73"/>
                    </a:lnTo>
                    <a:lnTo>
                      <a:pt x="506" y="77"/>
                    </a:lnTo>
                    <a:lnTo>
                      <a:pt x="504" y="81"/>
                    </a:lnTo>
                    <a:lnTo>
                      <a:pt x="503" y="84"/>
                    </a:lnTo>
                    <a:lnTo>
                      <a:pt x="503" y="87"/>
                    </a:lnTo>
                    <a:lnTo>
                      <a:pt x="501" y="90"/>
                    </a:lnTo>
                    <a:lnTo>
                      <a:pt x="500" y="95"/>
                    </a:lnTo>
                    <a:lnTo>
                      <a:pt x="500" y="98"/>
                    </a:lnTo>
                    <a:lnTo>
                      <a:pt x="500" y="101"/>
                    </a:lnTo>
                    <a:lnTo>
                      <a:pt x="498" y="104"/>
                    </a:lnTo>
                    <a:lnTo>
                      <a:pt x="500" y="109"/>
                    </a:lnTo>
                    <a:lnTo>
                      <a:pt x="503" y="115"/>
                    </a:lnTo>
                    <a:lnTo>
                      <a:pt x="501" y="119"/>
                    </a:lnTo>
                    <a:lnTo>
                      <a:pt x="506" y="123"/>
                    </a:lnTo>
                    <a:lnTo>
                      <a:pt x="507" y="128"/>
                    </a:lnTo>
                    <a:lnTo>
                      <a:pt x="507" y="133"/>
                    </a:lnTo>
                    <a:lnTo>
                      <a:pt x="507" y="139"/>
                    </a:lnTo>
                    <a:lnTo>
                      <a:pt x="511" y="141"/>
                    </a:lnTo>
                    <a:lnTo>
                      <a:pt x="511" y="141"/>
                    </a:lnTo>
                    <a:lnTo>
                      <a:pt x="509" y="144"/>
                    </a:lnTo>
                    <a:lnTo>
                      <a:pt x="512" y="146"/>
                    </a:lnTo>
                    <a:lnTo>
                      <a:pt x="517" y="149"/>
                    </a:lnTo>
                    <a:lnTo>
                      <a:pt x="519" y="152"/>
                    </a:lnTo>
                    <a:lnTo>
                      <a:pt x="522" y="153"/>
                    </a:lnTo>
                    <a:lnTo>
                      <a:pt x="523" y="157"/>
                    </a:lnTo>
                    <a:lnTo>
                      <a:pt x="528" y="160"/>
                    </a:lnTo>
                    <a:lnTo>
                      <a:pt x="531" y="161"/>
                    </a:lnTo>
                    <a:lnTo>
                      <a:pt x="534" y="161"/>
                    </a:lnTo>
                    <a:lnTo>
                      <a:pt x="534" y="161"/>
                    </a:lnTo>
                    <a:lnTo>
                      <a:pt x="538" y="165"/>
                    </a:lnTo>
                    <a:lnTo>
                      <a:pt x="541" y="168"/>
                    </a:lnTo>
                    <a:lnTo>
                      <a:pt x="544" y="165"/>
                    </a:lnTo>
                    <a:lnTo>
                      <a:pt x="547" y="163"/>
                    </a:lnTo>
                    <a:lnTo>
                      <a:pt x="552" y="165"/>
                    </a:lnTo>
                    <a:lnTo>
                      <a:pt x="553" y="160"/>
                    </a:lnTo>
                    <a:lnTo>
                      <a:pt x="552" y="157"/>
                    </a:lnTo>
                    <a:lnTo>
                      <a:pt x="552" y="157"/>
                    </a:lnTo>
                    <a:lnTo>
                      <a:pt x="557" y="155"/>
                    </a:lnTo>
                    <a:lnTo>
                      <a:pt x="557" y="153"/>
                    </a:lnTo>
                    <a:lnTo>
                      <a:pt x="560" y="152"/>
                    </a:lnTo>
                    <a:lnTo>
                      <a:pt x="568" y="153"/>
                    </a:lnTo>
                    <a:lnTo>
                      <a:pt x="572" y="149"/>
                    </a:lnTo>
                    <a:lnTo>
                      <a:pt x="576" y="147"/>
                    </a:lnTo>
                    <a:lnTo>
                      <a:pt x="579" y="146"/>
                    </a:lnTo>
                    <a:lnTo>
                      <a:pt x="585" y="146"/>
                    </a:lnTo>
                    <a:lnTo>
                      <a:pt x="590" y="141"/>
                    </a:lnTo>
                    <a:lnTo>
                      <a:pt x="591" y="138"/>
                    </a:lnTo>
                    <a:lnTo>
                      <a:pt x="595" y="136"/>
                    </a:lnTo>
                    <a:lnTo>
                      <a:pt x="604" y="133"/>
                    </a:lnTo>
                    <a:lnTo>
                      <a:pt x="606" y="136"/>
                    </a:lnTo>
                    <a:lnTo>
                      <a:pt x="609" y="138"/>
                    </a:lnTo>
                    <a:lnTo>
                      <a:pt x="612" y="139"/>
                    </a:lnTo>
                    <a:lnTo>
                      <a:pt x="615" y="138"/>
                    </a:lnTo>
                    <a:lnTo>
                      <a:pt x="618" y="136"/>
                    </a:lnTo>
                    <a:lnTo>
                      <a:pt x="623" y="138"/>
                    </a:lnTo>
                    <a:lnTo>
                      <a:pt x="623" y="138"/>
                    </a:lnTo>
                    <a:lnTo>
                      <a:pt x="625" y="136"/>
                    </a:lnTo>
                    <a:lnTo>
                      <a:pt x="628" y="138"/>
                    </a:lnTo>
                    <a:lnTo>
                      <a:pt x="633" y="138"/>
                    </a:lnTo>
                    <a:lnTo>
                      <a:pt x="636" y="138"/>
                    </a:lnTo>
                    <a:lnTo>
                      <a:pt x="639" y="141"/>
                    </a:lnTo>
                    <a:lnTo>
                      <a:pt x="642" y="141"/>
                    </a:lnTo>
                    <a:lnTo>
                      <a:pt x="645" y="138"/>
                    </a:lnTo>
                    <a:lnTo>
                      <a:pt x="645" y="133"/>
                    </a:lnTo>
                    <a:lnTo>
                      <a:pt x="644" y="130"/>
                    </a:lnTo>
                    <a:lnTo>
                      <a:pt x="637" y="123"/>
                    </a:lnTo>
                    <a:lnTo>
                      <a:pt x="639" y="120"/>
                    </a:lnTo>
                    <a:lnTo>
                      <a:pt x="642" y="119"/>
                    </a:lnTo>
                    <a:lnTo>
                      <a:pt x="642" y="114"/>
                    </a:lnTo>
                    <a:lnTo>
                      <a:pt x="647" y="114"/>
                    </a:lnTo>
                    <a:lnTo>
                      <a:pt x="650" y="115"/>
                    </a:lnTo>
                    <a:lnTo>
                      <a:pt x="653" y="117"/>
                    </a:lnTo>
                    <a:lnTo>
                      <a:pt x="657" y="115"/>
                    </a:lnTo>
                    <a:lnTo>
                      <a:pt x="660" y="115"/>
                    </a:lnTo>
                    <a:lnTo>
                      <a:pt x="664" y="115"/>
                    </a:lnTo>
                    <a:lnTo>
                      <a:pt x="668" y="112"/>
                    </a:lnTo>
                    <a:lnTo>
                      <a:pt x="671" y="114"/>
                    </a:lnTo>
                    <a:lnTo>
                      <a:pt x="674" y="111"/>
                    </a:lnTo>
                    <a:lnTo>
                      <a:pt x="677" y="111"/>
                    </a:lnTo>
                    <a:lnTo>
                      <a:pt x="679" y="111"/>
                    </a:lnTo>
                    <a:lnTo>
                      <a:pt x="679" y="109"/>
                    </a:lnTo>
                    <a:lnTo>
                      <a:pt x="680" y="114"/>
                    </a:lnTo>
                    <a:lnTo>
                      <a:pt x="685" y="115"/>
                    </a:lnTo>
                    <a:lnTo>
                      <a:pt x="687" y="115"/>
                    </a:lnTo>
                    <a:lnTo>
                      <a:pt x="690" y="119"/>
                    </a:lnTo>
                    <a:lnTo>
                      <a:pt x="693" y="120"/>
                    </a:lnTo>
                    <a:lnTo>
                      <a:pt x="693" y="120"/>
                    </a:lnTo>
                    <a:lnTo>
                      <a:pt x="696" y="123"/>
                    </a:lnTo>
                    <a:lnTo>
                      <a:pt x="699" y="125"/>
                    </a:lnTo>
                    <a:lnTo>
                      <a:pt x="703" y="128"/>
                    </a:lnTo>
                    <a:lnTo>
                      <a:pt x="707" y="128"/>
                    </a:lnTo>
                    <a:lnTo>
                      <a:pt x="710" y="130"/>
                    </a:lnTo>
                    <a:lnTo>
                      <a:pt x="712" y="127"/>
                    </a:lnTo>
                    <a:lnTo>
                      <a:pt x="717" y="125"/>
                    </a:lnTo>
                    <a:lnTo>
                      <a:pt x="720" y="122"/>
                    </a:lnTo>
                    <a:lnTo>
                      <a:pt x="723" y="119"/>
                    </a:lnTo>
                    <a:lnTo>
                      <a:pt x="728" y="122"/>
                    </a:lnTo>
                    <a:lnTo>
                      <a:pt x="731" y="123"/>
                    </a:lnTo>
                    <a:lnTo>
                      <a:pt x="736" y="122"/>
                    </a:lnTo>
                    <a:lnTo>
                      <a:pt x="741" y="120"/>
                    </a:lnTo>
                    <a:lnTo>
                      <a:pt x="742" y="125"/>
                    </a:lnTo>
                    <a:lnTo>
                      <a:pt x="741" y="127"/>
                    </a:lnTo>
                    <a:lnTo>
                      <a:pt x="745" y="125"/>
                    </a:lnTo>
                    <a:lnTo>
                      <a:pt x="749" y="125"/>
                    </a:lnTo>
                    <a:lnTo>
                      <a:pt x="752" y="127"/>
                    </a:lnTo>
                    <a:lnTo>
                      <a:pt x="756" y="123"/>
                    </a:lnTo>
                    <a:lnTo>
                      <a:pt x="761" y="119"/>
                    </a:lnTo>
                    <a:lnTo>
                      <a:pt x="766" y="114"/>
                    </a:lnTo>
                    <a:lnTo>
                      <a:pt x="768" y="109"/>
                    </a:lnTo>
                    <a:lnTo>
                      <a:pt x="769" y="106"/>
                    </a:lnTo>
                    <a:lnTo>
                      <a:pt x="771" y="101"/>
                    </a:lnTo>
                    <a:lnTo>
                      <a:pt x="771" y="98"/>
                    </a:lnTo>
                    <a:lnTo>
                      <a:pt x="774" y="95"/>
                    </a:lnTo>
                    <a:lnTo>
                      <a:pt x="775" y="92"/>
                    </a:lnTo>
                    <a:lnTo>
                      <a:pt x="775" y="88"/>
                    </a:lnTo>
                    <a:lnTo>
                      <a:pt x="775" y="87"/>
                    </a:lnTo>
                    <a:lnTo>
                      <a:pt x="783" y="77"/>
                    </a:lnTo>
                    <a:lnTo>
                      <a:pt x="788" y="66"/>
                    </a:lnTo>
                    <a:lnTo>
                      <a:pt x="791" y="62"/>
                    </a:lnTo>
                    <a:lnTo>
                      <a:pt x="793" y="58"/>
                    </a:lnTo>
                    <a:lnTo>
                      <a:pt x="796" y="55"/>
                    </a:lnTo>
                    <a:lnTo>
                      <a:pt x="798" y="52"/>
                    </a:lnTo>
                    <a:lnTo>
                      <a:pt x="799" y="50"/>
                    </a:lnTo>
                    <a:lnTo>
                      <a:pt x="802" y="49"/>
                    </a:lnTo>
                    <a:lnTo>
                      <a:pt x="806" y="46"/>
                    </a:lnTo>
                    <a:lnTo>
                      <a:pt x="806" y="49"/>
                    </a:lnTo>
                    <a:lnTo>
                      <a:pt x="809" y="52"/>
                    </a:lnTo>
                    <a:lnTo>
                      <a:pt x="807" y="49"/>
                    </a:lnTo>
                    <a:lnTo>
                      <a:pt x="806" y="46"/>
                    </a:lnTo>
                    <a:lnTo>
                      <a:pt x="806" y="42"/>
                    </a:lnTo>
                    <a:lnTo>
                      <a:pt x="807" y="38"/>
                    </a:lnTo>
                    <a:lnTo>
                      <a:pt x="815" y="44"/>
                    </a:lnTo>
                    <a:lnTo>
                      <a:pt x="818" y="50"/>
                    </a:lnTo>
                    <a:lnTo>
                      <a:pt x="818" y="57"/>
                    </a:lnTo>
                    <a:lnTo>
                      <a:pt x="818" y="66"/>
                    </a:lnTo>
                    <a:lnTo>
                      <a:pt x="818" y="65"/>
                    </a:lnTo>
                    <a:lnTo>
                      <a:pt x="818" y="60"/>
                    </a:lnTo>
                    <a:lnTo>
                      <a:pt x="821" y="57"/>
                    </a:lnTo>
                    <a:lnTo>
                      <a:pt x="821" y="66"/>
                    </a:lnTo>
                    <a:lnTo>
                      <a:pt x="821" y="76"/>
                    </a:lnTo>
                    <a:lnTo>
                      <a:pt x="823" y="84"/>
                    </a:lnTo>
                    <a:lnTo>
                      <a:pt x="825" y="93"/>
                    </a:lnTo>
                    <a:lnTo>
                      <a:pt x="826" y="96"/>
                    </a:lnTo>
                    <a:lnTo>
                      <a:pt x="826" y="101"/>
                    </a:lnTo>
                    <a:lnTo>
                      <a:pt x="829" y="104"/>
                    </a:lnTo>
                    <a:lnTo>
                      <a:pt x="829" y="108"/>
                    </a:lnTo>
                    <a:lnTo>
                      <a:pt x="829" y="111"/>
                    </a:lnTo>
                    <a:lnTo>
                      <a:pt x="833" y="115"/>
                    </a:lnTo>
                    <a:lnTo>
                      <a:pt x="833" y="119"/>
                    </a:lnTo>
                    <a:lnTo>
                      <a:pt x="834" y="122"/>
                    </a:lnTo>
                    <a:lnTo>
                      <a:pt x="834" y="127"/>
                    </a:lnTo>
                    <a:lnTo>
                      <a:pt x="833" y="130"/>
                    </a:lnTo>
                    <a:lnTo>
                      <a:pt x="834" y="128"/>
                    </a:lnTo>
                    <a:lnTo>
                      <a:pt x="837" y="131"/>
                    </a:lnTo>
                    <a:lnTo>
                      <a:pt x="839" y="134"/>
                    </a:lnTo>
                    <a:lnTo>
                      <a:pt x="840" y="138"/>
                    </a:lnTo>
                    <a:lnTo>
                      <a:pt x="844" y="141"/>
                    </a:lnTo>
                    <a:lnTo>
                      <a:pt x="848" y="141"/>
                    </a:lnTo>
                    <a:lnTo>
                      <a:pt x="852" y="141"/>
                    </a:lnTo>
                    <a:lnTo>
                      <a:pt x="855" y="142"/>
                    </a:lnTo>
                    <a:lnTo>
                      <a:pt x="860" y="144"/>
                    </a:lnTo>
                    <a:lnTo>
                      <a:pt x="860" y="144"/>
                    </a:lnTo>
                    <a:lnTo>
                      <a:pt x="863" y="149"/>
                    </a:lnTo>
                    <a:lnTo>
                      <a:pt x="863" y="152"/>
                    </a:lnTo>
                    <a:lnTo>
                      <a:pt x="863" y="155"/>
                    </a:lnTo>
                    <a:lnTo>
                      <a:pt x="863" y="158"/>
                    </a:lnTo>
                    <a:lnTo>
                      <a:pt x="863" y="161"/>
                    </a:lnTo>
                    <a:lnTo>
                      <a:pt x="860" y="165"/>
                    </a:lnTo>
                    <a:lnTo>
                      <a:pt x="858" y="165"/>
                    </a:lnTo>
                    <a:lnTo>
                      <a:pt x="855" y="166"/>
                    </a:lnTo>
                    <a:lnTo>
                      <a:pt x="855" y="166"/>
                    </a:lnTo>
                    <a:lnTo>
                      <a:pt x="860" y="166"/>
                    </a:lnTo>
                    <a:lnTo>
                      <a:pt x="863" y="168"/>
                    </a:lnTo>
                    <a:lnTo>
                      <a:pt x="860" y="171"/>
                    </a:lnTo>
                    <a:lnTo>
                      <a:pt x="856" y="174"/>
                    </a:lnTo>
                    <a:lnTo>
                      <a:pt x="852" y="177"/>
                    </a:lnTo>
                    <a:lnTo>
                      <a:pt x="848" y="180"/>
                    </a:lnTo>
                    <a:lnTo>
                      <a:pt x="847" y="184"/>
                    </a:lnTo>
                    <a:lnTo>
                      <a:pt x="844" y="188"/>
                    </a:lnTo>
                    <a:lnTo>
                      <a:pt x="840" y="192"/>
                    </a:lnTo>
                    <a:lnTo>
                      <a:pt x="839" y="195"/>
                    </a:lnTo>
                    <a:lnTo>
                      <a:pt x="837" y="198"/>
                    </a:lnTo>
                    <a:lnTo>
                      <a:pt x="836" y="203"/>
                    </a:lnTo>
                    <a:lnTo>
                      <a:pt x="833" y="206"/>
                    </a:lnTo>
                    <a:lnTo>
                      <a:pt x="829" y="209"/>
                    </a:lnTo>
                    <a:lnTo>
                      <a:pt x="826" y="209"/>
                    </a:lnTo>
                    <a:lnTo>
                      <a:pt x="823" y="212"/>
                    </a:lnTo>
                    <a:lnTo>
                      <a:pt x="820" y="215"/>
                    </a:lnTo>
                    <a:lnTo>
                      <a:pt x="818" y="219"/>
                    </a:lnTo>
                    <a:lnTo>
                      <a:pt x="818" y="219"/>
                    </a:lnTo>
                    <a:lnTo>
                      <a:pt x="814" y="220"/>
                    </a:lnTo>
                    <a:lnTo>
                      <a:pt x="812" y="222"/>
                    </a:lnTo>
                    <a:lnTo>
                      <a:pt x="810" y="226"/>
                    </a:lnTo>
                    <a:lnTo>
                      <a:pt x="809" y="230"/>
                    </a:lnTo>
                    <a:lnTo>
                      <a:pt x="807" y="233"/>
                    </a:lnTo>
                    <a:lnTo>
                      <a:pt x="806" y="236"/>
                    </a:lnTo>
                    <a:lnTo>
                      <a:pt x="799" y="242"/>
                    </a:lnTo>
                    <a:lnTo>
                      <a:pt x="798" y="247"/>
                    </a:lnTo>
                    <a:lnTo>
                      <a:pt x="796" y="252"/>
                    </a:lnTo>
                    <a:lnTo>
                      <a:pt x="796" y="255"/>
                    </a:lnTo>
                    <a:lnTo>
                      <a:pt x="798" y="257"/>
                    </a:lnTo>
                    <a:lnTo>
                      <a:pt x="796" y="258"/>
                    </a:lnTo>
                    <a:lnTo>
                      <a:pt x="794" y="260"/>
                    </a:lnTo>
                    <a:lnTo>
                      <a:pt x="790" y="263"/>
                    </a:lnTo>
                    <a:lnTo>
                      <a:pt x="790" y="269"/>
                    </a:lnTo>
                    <a:lnTo>
                      <a:pt x="787" y="272"/>
                    </a:lnTo>
                    <a:lnTo>
                      <a:pt x="785" y="274"/>
                    </a:lnTo>
                    <a:lnTo>
                      <a:pt x="783" y="274"/>
                    </a:lnTo>
                    <a:lnTo>
                      <a:pt x="782" y="272"/>
                    </a:lnTo>
                    <a:lnTo>
                      <a:pt x="779" y="271"/>
                    </a:lnTo>
                    <a:lnTo>
                      <a:pt x="775" y="272"/>
                    </a:lnTo>
                    <a:lnTo>
                      <a:pt x="771" y="274"/>
                    </a:lnTo>
                    <a:lnTo>
                      <a:pt x="768" y="277"/>
                    </a:lnTo>
                    <a:lnTo>
                      <a:pt x="764" y="279"/>
                    </a:lnTo>
                    <a:lnTo>
                      <a:pt x="761" y="279"/>
                    </a:lnTo>
                    <a:lnTo>
                      <a:pt x="761" y="280"/>
                    </a:lnTo>
                    <a:lnTo>
                      <a:pt x="761" y="282"/>
                    </a:lnTo>
                    <a:lnTo>
                      <a:pt x="764" y="280"/>
                    </a:lnTo>
                    <a:lnTo>
                      <a:pt x="768" y="280"/>
                    </a:lnTo>
                    <a:lnTo>
                      <a:pt x="771" y="280"/>
                    </a:lnTo>
                    <a:lnTo>
                      <a:pt x="775" y="279"/>
                    </a:lnTo>
                    <a:lnTo>
                      <a:pt x="779" y="282"/>
                    </a:lnTo>
                    <a:lnTo>
                      <a:pt x="777" y="285"/>
                    </a:lnTo>
                    <a:lnTo>
                      <a:pt x="780" y="282"/>
                    </a:lnTo>
                    <a:lnTo>
                      <a:pt x="785" y="282"/>
                    </a:lnTo>
                    <a:lnTo>
                      <a:pt x="788" y="280"/>
                    </a:lnTo>
                    <a:lnTo>
                      <a:pt x="791" y="279"/>
                    </a:lnTo>
                    <a:lnTo>
                      <a:pt x="794" y="276"/>
                    </a:lnTo>
                    <a:lnTo>
                      <a:pt x="799" y="272"/>
                    </a:lnTo>
                    <a:lnTo>
                      <a:pt x="799" y="272"/>
                    </a:lnTo>
                    <a:lnTo>
                      <a:pt x="802" y="272"/>
                    </a:lnTo>
                    <a:lnTo>
                      <a:pt x="807" y="269"/>
                    </a:lnTo>
                    <a:lnTo>
                      <a:pt x="810" y="268"/>
                    </a:lnTo>
                    <a:lnTo>
                      <a:pt x="814" y="265"/>
                    </a:lnTo>
                    <a:lnTo>
                      <a:pt x="815" y="261"/>
                    </a:lnTo>
                    <a:lnTo>
                      <a:pt x="820" y="260"/>
                    </a:lnTo>
                    <a:lnTo>
                      <a:pt x="823" y="257"/>
                    </a:lnTo>
                    <a:lnTo>
                      <a:pt x="825" y="253"/>
                    </a:lnTo>
                    <a:lnTo>
                      <a:pt x="829" y="257"/>
                    </a:lnTo>
                    <a:lnTo>
                      <a:pt x="829" y="260"/>
                    </a:lnTo>
                    <a:lnTo>
                      <a:pt x="829" y="263"/>
                    </a:lnTo>
                    <a:lnTo>
                      <a:pt x="829" y="268"/>
                    </a:lnTo>
                    <a:lnTo>
                      <a:pt x="828" y="271"/>
                    </a:lnTo>
                    <a:lnTo>
                      <a:pt x="831" y="277"/>
                    </a:lnTo>
                    <a:lnTo>
                      <a:pt x="833" y="280"/>
                    </a:lnTo>
                    <a:lnTo>
                      <a:pt x="834" y="282"/>
                    </a:lnTo>
                    <a:lnTo>
                      <a:pt x="834" y="284"/>
                    </a:lnTo>
                    <a:lnTo>
                      <a:pt x="834" y="285"/>
                    </a:lnTo>
                    <a:lnTo>
                      <a:pt x="833" y="288"/>
                    </a:lnTo>
                    <a:lnTo>
                      <a:pt x="834" y="290"/>
                    </a:lnTo>
                    <a:lnTo>
                      <a:pt x="836" y="290"/>
                    </a:lnTo>
                    <a:lnTo>
                      <a:pt x="839" y="290"/>
                    </a:lnTo>
                    <a:lnTo>
                      <a:pt x="842" y="291"/>
                    </a:lnTo>
                    <a:lnTo>
                      <a:pt x="842" y="295"/>
                    </a:lnTo>
                    <a:lnTo>
                      <a:pt x="845" y="295"/>
                    </a:lnTo>
                    <a:lnTo>
                      <a:pt x="850" y="293"/>
                    </a:lnTo>
                    <a:lnTo>
                      <a:pt x="853" y="295"/>
                    </a:lnTo>
                    <a:lnTo>
                      <a:pt x="855" y="291"/>
                    </a:lnTo>
                    <a:lnTo>
                      <a:pt x="860" y="290"/>
                    </a:lnTo>
                    <a:lnTo>
                      <a:pt x="861" y="291"/>
                    </a:lnTo>
                    <a:lnTo>
                      <a:pt x="864" y="295"/>
                    </a:lnTo>
                    <a:lnTo>
                      <a:pt x="864" y="299"/>
                    </a:lnTo>
                    <a:lnTo>
                      <a:pt x="866" y="295"/>
                    </a:lnTo>
                    <a:lnTo>
                      <a:pt x="869" y="293"/>
                    </a:lnTo>
                    <a:lnTo>
                      <a:pt x="872" y="293"/>
                    </a:lnTo>
                    <a:lnTo>
                      <a:pt x="875" y="291"/>
                    </a:lnTo>
                    <a:lnTo>
                      <a:pt x="879" y="288"/>
                    </a:lnTo>
                    <a:lnTo>
                      <a:pt x="882" y="287"/>
                    </a:lnTo>
                    <a:lnTo>
                      <a:pt x="885" y="287"/>
                    </a:lnTo>
                    <a:lnTo>
                      <a:pt x="883" y="290"/>
                    </a:lnTo>
                    <a:lnTo>
                      <a:pt x="882" y="295"/>
                    </a:lnTo>
                    <a:lnTo>
                      <a:pt x="882" y="298"/>
                    </a:lnTo>
                    <a:lnTo>
                      <a:pt x="880" y="301"/>
                    </a:lnTo>
                    <a:lnTo>
                      <a:pt x="879" y="304"/>
                    </a:lnTo>
                    <a:lnTo>
                      <a:pt x="877" y="309"/>
                    </a:lnTo>
                    <a:lnTo>
                      <a:pt x="879" y="312"/>
                    </a:lnTo>
                    <a:lnTo>
                      <a:pt x="879" y="315"/>
                    </a:lnTo>
                    <a:lnTo>
                      <a:pt x="877" y="320"/>
                    </a:lnTo>
                    <a:lnTo>
                      <a:pt x="877" y="320"/>
                    </a:lnTo>
                    <a:lnTo>
                      <a:pt x="879" y="320"/>
                    </a:lnTo>
                    <a:lnTo>
                      <a:pt x="880" y="318"/>
                    </a:lnTo>
                    <a:lnTo>
                      <a:pt x="880" y="314"/>
                    </a:lnTo>
                    <a:lnTo>
                      <a:pt x="882" y="310"/>
                    </a:lnTo>
                    <a:lnTo>
                      <a:pt x="883" y="307"/>
                    </a:lnTo>
                    <a:lnTo>
                      <a:pt x="883" y="304"/>
                    </a:lnTo>
                    <a:lnTo>
                      <a:pt x="885" y="299"/>
                    </a:lnTo>
                    <a:lnTo>
                      <a:pt x="886" y="296"/>
                    </a:lnTo>
                    <a:lnTo>
                      <a:pt x="890" y="293"/>
                    </a:lnTo>
                    <a:lnTo>
                      <a:pt x="890" y="291"/>
                    </a:lnTo>
                    <a:lnTo>
                      <a:pt x="893" y="291"/>
                    </a:lnTo>
                    <a:lnTo>
                      <a:pt x="896" y="291"/>
                    </a:lnTo>
                    <a:lnTo>
                      <a:pt x="899" y="287"/>
                    </a:lnTo>
                    <a:lnTo>
                      <a:pt x="901" y="284"/>
                    </a:lnTo>
                    <a:lnTo>
                      <a:pt x="902" y="280"/>
                    </a:lnTo>
                    <a:lnTo>
                      <a:pt x="906" y="277"/>
                    </a:lnTo>
                    <a:lnTo>
                      <a:pt x="909" y="276"/>
                    </a:lnTo>
                    <a:lnTo>
                      <a:pt x="910" y="277"/>
                    </a:lnTo>
                    <a:lnTo>
                      <a:pt x="912" y="280"/>
                    </a:lnTo>
                    <a:lnTo>
                      <a:pt x="915" y="284"/>
                    </a:lnTo>
                    <a:lnTo>
                      <a:pt x="915" y="280"/>
                    </a:lnTo>
                    <a:lnTo>
                      <a:pt x="913" y="277"/>
                    </a:lnTo>
                    <a:lnTo>
                      <a:pt x="917" y="277"/>
                    </a:lnTo>
                    <a:lnTo>
                      <a:pt x="921" y="277"/>
                    </a:lnTo>
                    <a:lnTo>
                      <a:pt x="925" y="276"/>
                    </a:lnTo>
                    <a:lnTo>
                      <a:pt x="925" y="276"/>
                    </a:lnTo>
                    <a:lnTo>
                      <a:pt x="921" y="274"/>
                    </a:lnTo>
                    <a:lnTo>
                      <a:pt x="917" y="276"/>
                    </a:lnTo>
                    <a:lnTo>
                      <a:pt x="913" y="276"/>
                    </a:lnTo>
                    <a:lnTo>
                      <a:pt x="913" y="272"/>
                    </a:lnTo>
                    <a:lnTo>
                      <a:pt x="915" y="269"/>
                    </a:lnTo>
                    <a:lnTo>
                      <a:pt x="920" y="269"/>
                    </a:lnTo>
                    <a:lnTo>
                      <a:pt x="920" y="261"/>
                    </a:lnTo>
                    <a:lnTo>
                      <a:pt x="920" y="257"/>
                    </a:lnTo>
                    <a:lnTo>
                      <a:pt x="921" y="253"/>
                    </a:lnTo>
                    <a:lnTo>
                      <a:pt x="929" y="245"/>
                    </a:lnTo>
                    <a:lnTo>
                      <a:pt x="932" y="247"/>
                    </a:lnTo>
                    <a:lnTo>
                      <a:pt x="936" y="244"/>
                    </a:lnTo>
                    <a:lnTo>
                      <a:pt x="937" y="244"/>
                    </a:lnTo>
                    <a:lnTo>
                      <a:pt x="940" y="244"/>
                    </a:lnTo>
                    <a:lnTo>
                      <a:pt x="942" y="247"/>
                    </a:lnTo>
                    <a:lnTo>
                      <a:pt x="945" y="244"/>
                    </a:lnTo>
                    <a:lnTo>
                      <a:pt x="948" y="244"/>
                    </a:lnTo>
                    <a:lnTo>
                      <a:pt x="950" y="247"/>
                    </a:lnTo>
                    <a:lnTo>
                      <a:pt x="953" y="247"/>
                    </a:lnTo>
                    <a:lnTo>
                      <a:pt x="950" y="244"/>
                    </a:lnTo>
                    <a:lnTo>
                      <a:pt x="952" y="239"/>
                    </a:lnTo>
                    <a:lnTo>
                      <a:pt x="955" y="241"/>
                    </a:lnTo>
                    <a:lnTo>
                      <a:pt x="958" y="242"/>
                    </a:lnTo>
                    <a:lnTo>
                      <a:pt x="961" y="244"/>
                    </a:lnTo>
                    <a:lnTo>
                      <a:pt x="961" y="247"/>
                    </a:lnTo>
                    <a:lnTo>
                      <a:pt x="964" y="245"/>
                    </a:lnTo>
                    <a:lnTo>
                      <a:pt x="966" y="249"/>
                    </a:lnTo>
                    <a:lnTo>
                      <a:pt x="969" y="247"/>
                    </a:lnTo>
                    <a:lnTo>
                      <a:pt x="969" y="250"/>
                    </a:lnTo>
                    <a:lnTo>
                      <a:pt x="972" y="249"/>
                    </a:lnTo>
                    <a:lnTo>
                      <a:pt x="974" y="245"/>
                    </a:lnTo>
                    <a:lnTo>
                      <a:pt x="974" y="249"/>
                    </a:lnTo>
                    <a:lnTo>
                      <a:pt x="977" y="250"/>
                    </a:lnTo>
                    <a:lnTo>
                      <a:pt x="977" y="255"/>
                    </a:lnTo>
                    <a:lnTo>
                      <a:pt x="978" y="250"/>
                    </a:lnTo>
                    <a:lnTo>
                      <a:pt x="982" y="250"/>
                    </a:lnTo>
                    <a:lnTo>
                      <a:pt x="980" y="255"/>
                    </a:lnTo>
                    <a:lnTo>
                      <a:pt x="977" y="257"/>
                    </a:lnTo>
                    <a:lnTo>
                      <a:pt x="980" y="255"/>
                    </a:lnTo>
                    <a:lnTo>
                      <a:pt x="983" y="258"/>
                    </a:lnTo>
                    <a:lnTo>
                      <a:pt x="986" y="258"/>
                    </a:lnTo>
                    <a:lnTo>
                      <a:pt x="991" y="257"/>
                    </a:lnTo>
                    <a:lnTo>
                      <a:pt x="990" y="260"/>
                    </a:lnTo>
                    <a:lnTo>
                      <a:pt x="993" y="260"/>
                    </a:lnTo>
                    <a:lnTo>
                      <a:pt x="996" y="255"/>
                    </a:lnTo>
                    <a:lnTo>
                      <a:pt x="996" y="260"/>
                    </a:lnTo>
                    <a:lnTo>
                      <a:pt x="998" y="263"/>
                    </a:lnTo>
                    <a:lnTo>
                      <a:pt x="1001" y="261"/>
                    </a:lnTo>
                    <a:lnTo>
                      <a:pt x="1001" y="265"/>
                    </a:lnTo>
                    <a:lnTo>
                      <a:pt x="1002" y="265"/>
                    </a:lnTo>
                    <a:lnTo>
                      <a:pt x="1004" y="261"/>
                    </a:lnTo>
                    <a:lnTo>
                      <a:pt x="1004" y="265"/>
                    </a:lnTo>
                    <a:lnTo>
                      <a:pt x="1009" y="265"/>
                    </a:lnTo>
                    <a:lnTo>
                      <a:pt x="1010" y="268"/>
                    </a:lnTo>
                    <a:lnTo>
                      <a:pt x="1013" y="265"/>
                    </a:lnTo>
                    <a:lnTo>
                      <a:pt x="1013" y="268"/>
                    </a:lnTo>
                    <a:lnTo>
                      <a:pt x="1017" y="272"/>
                    </a:lnTo>
                    <a:lnTo>
                      <a:pt x="1020" y="269"/>
                    </a:lnTo>
                    <a:lnTo>
                      <a:pt x="1021" y="272"/>
                    </a:lnTo>
                    <a:lnTo>
                      <a:pt x="1024" y="271"/>
                    </a:lnTo>
                    <a:lnTo>
                      <a:pt x="1021" y="274"/>
                    </a:lnTo>
                    <a:lnTo>
                      <a:pt x="1023" y="277"/>
                    </a:lnTo>
                    <a:lnTo>
                      <a:pt x="1024" y="274"/>
                    </a:lnTo>
                    <a:lnTo>
                      <a:pt x="1029" y="272"/>
                    </a:lnTo>
                    <a:lnTo>
                      <a:pt x="1026" y="276"/>
                    </a:lnTo>
                    <a:lnTo>
                      <a:pt x="1028" y="279"/>
                    </a:lnTo>
                    <a:lnTo>
                      <a:pt x="1028" y="284"/>
                    </a:lnTo>
                    <a:lnTo>
                      <a:pt x="1029" y="287"/>
                    </a:lnTo>
                    <a:lnTo>
                      <a:pt x="1031" y="285"/>
                    </a:lnTo>
                    <a:lnTo>
                      <a:pt x="1031" y="282"/>
                    </a:lnTo>
                    <a:lnTo>
                      <a:pt x="1032" y="277"/>
                    </a:lnTo>
                    <a:lnTo>
                      <a:pt x="1036" y="277"/>
                    </a:lnTo>
                    <a:lnTo>
                      <a:pt x="1039" y="277"/>
                    </a:lnTo>
                    <a:lnTo>
                      <a:pt x="1039" y="280"/>
                    </a:lnTo>
                    <a:lnTo>
                      <a:pt x="1040" y="280"/>
                    </a:lnTo>
                    <a:lnTo>
                      <a:pt x="1040" y="280"/>
                    </a:lnTo>
                    <a:lnTo>
                      <a:pt x="1042" y="277"/>
                    </a:lnTo>
                    <a:lnTo>
                      <a:pt x="1045" y="274"/>
                    </a:lnTo>
                    <a:lnTo>
                      <a:pt x="1044" y="279"/>
                    </a:lnTo>
                    <a:lnTo>
                      <a:pt x="1044" y="282"/>
                    </a:lnTo>
                    <a:lnTo>
                      <a:pt x="1047" y="280"/>
                    </a:lnTo>
                    <a:lnTo>
                      <a:pt x="1047" y="284"/>
                    </a:lnTo>
                    <a:lnTo>
                      <a:pt x="1047" y="288"/>
                    </a:lnTo>
                    <a:lnTo>
                      <a:pt x="1050" y="287"/>
                    </a:lnTo>
                    <a:lnTo>
                      <a:pt x="1047" y="290"/>
                    </a:lnTo>
                    <a:lnTo>
                      <a:pt x="1050" y="290"/>
                    </a:lnTo>
                    <a:lnTo>
                      <a:pt x="1053" y="287"/>
                    </a:lnTo>
                    <a:lnTo>
                      <a:pt x="1053" y="290"/>
                    </a:lnTo>
                    <a:lnTo>
                      <a:pt x="1056" y="291"/>
                    </a:lnTo>
                    <a:lnTo>
                      <a:pt x="1058" y="295"/>
                    </a:lnTo>
                    <a:lnTo>
                      <a:pt x="1055" y="299"/>
                    </a:lnTo>
                    <a:lnTo>
                      <a:pt x="1056" y="303"/>
                    </a:lnTo>
                    <a:lnTo>
                      <a:pt x="1053" y="306"/>
                    </a:lnTo>
                    <a:lnTo>
                      <a:pt x="1050" y="309"/>
                    </a:lnTo>
                    <a:lnTo>
                      <a:pt x="1047" y="309"/>
                    </a:lnTo>
                    <a:lnTo>
                      <a:pt x="1050" y="309"/>
                    </a:lnTo>
                    <a:lnTo>
                      <a:pt x="1053" y="312"/>
                    </a:lnTo>
                    <a:lnTo>
                      <a:pt x="1053" y="309"/>
                    </a:lnTo>
                    <a:lnTo>
                      <a:pt x="1056" y="306"/>
                    </a:lnTo>
                    <a:lnTo>
                      <a:pt x="1059" y="304"/>
                    </a:lnTo>
                    <a:lnTo>
                      <a:pt x="1063" y="307"/>
                    </a:lnTo>
                    <a:lnTo>
                      <a:pt x="1063" y="310"/>
                    </a:lnTo>
                    <a:lnTo>
                      <a:pt x="1061" y="314"/>
                    </a:lnTo>
                    <a:lnTo>
                      <a:pt x="1058" y="315"/>
                    </a:lnTo>
                    <a:lnTo>
                      <a:pt x="1056" y="318"/>
                    </a:lnTo>
                    <a:lnTo>
                      <a:pt x="1055" y="318"/>
                    </a:lnTo>
                    <a:lnTo>
                      <a:pt x="1055" y="323"/>
                    </a:lnTo>
                    <a:lnTo>
                      <a:pt x="1053" y="326"/>
                    </a:lnTo>
                    <a:lnTo>
                      <a:pt x="1053" y="330"/>
                    </a:lnTo>
                    <a:lnTo>
                      <a:pt x="1053" y="333"/>
                    </a:lnTo>
                    <a:lnTo>
                      <a:pt x="1051" y="337"/>
                    </a:lnTo>
                    <a:lnTo>
                      <a:pt x="1053" y="341"/>
                    </a:lnTo>
                    <a:lnTo>
                      <a:pt x="1051" y="344"/>
                    </a:lnTo>
                    <a:lnTo>
                      <a:pt x="1048" y="347"/>
                    </a:lnTo>
                    <a:lnTo>
                      <a:pt x="1048" y="350"/>
                    </a:lnTo>
                    <a:lnTo>
                      <a:pt x="1048" y="352"/>
                    </a:lnTo>
                    <a:lnTo>
                      <a:pt x="1050" y="350"/>
                    </a:lnTo>
                    <a:lnTo>
                      <a:pt x="1050" y="347"/>
                    </a:lnTo>
                    <a:lnTo>
                      <a:pt x="1053" y="344"/>
                    </a:lnTo>
                    <a:lnTo>
                      <a:pt x="1056" y="341"/>
                    </a:lnTo>
                    <a:lnTo>
                      <a:pt x="1059" y="337"/>
                    </a:lnTo>
                    <a:lnTo>
                      <a:pt x="1061" y="334"/>
                    </a:lnTo>
                    <a:lnTo>
                      <a:pt x="1061" y="330"/>
                    </a:lnTo>
                    <a:lnTo>
                      <a:pt x="1063" y="326"/>
                    </a:lnTo>
                    <a:lnTo>
                      <a:pt x="1063" y="323"/>
                    </a:lnTo>
                    <a:lnTo>
                      <a:pt x="1063" y="320"/>
                    </a:lnTo>
                    <a:lnTo>
                      <a:pt x="1066" y="318"/>
                    </a:lnTo>
                    <a:lnTo>
                      <a:pt x="1067" y="317"/>
                    </a:lnTo>
                    <a:lnTo>
                      <a:pt x="1072" y="315"/>
                    </a:lnTo>
                    <a:lnTo>
                      <a:pt x="1075" y="315"/>
                    </a:lnTo>
                    <a:lnTo>
                      <a:pt x="1075" y="318"/>
                    </a:lnTo>
                    <a:lnTo>
                      <a:pt x="1072" y="322"/>
                    </a:lnTo>
                    <a:lnTo>
                      <a:pt x="1070" y="325"/>
                    </a:lnTo>
                    <a:lnTo>
                      <a:pt x="1067" y="328"/>
                    </a:lnTo>
                    <a:lnTo>
                      <a:pt x="1066" y="331"/>
                    </a:lnTo>
                    <a:lnTo>
                      <a:pt x="1069" y="330"/>
                    </a:lnTo>
                    <a:lnTo>
                      <a:pt x="1069" y="333"/>
                    </a:lnTo>
                    <a:lnTo>
                      <a:pt x="1070" y="331"/>
                    </a:lnTo>
                    <a:lnTo>
                      <a:pt x="1074" y="330"/>
                    </a:lnTo>
                    <a:lnTo>
                      <a:pt x="1074" y="326"/>
                    </a:lnTo>
                    <a:lnTo>
                      <a:pt x="1075" y="323"/>
                    </a:lnTo>
                    <a:lnTo>
                      <a:pt x="1078" y="320"/>
                    </a:lnTo>
                    <a:lnTo>
                      <a:pt x="1080" y="323"/>
                    </a:lnTo>
                    <a:lnTo>
                      <a:pt x="1082" y="320"/>
                    </a:lnTo>
                    <a:lnTo>
                      <a:pt x="1085" y="318"/>
                    </a:lnTo>
                    <a:lnTo>
                      <a:pt x="1088" y="318"/>
                    </a:lnTo>
                    <a:lnTo>
                      <a:pt x="1093" y="317"/>
                    </a:lnTo>
                    <a:lnTo>
                      <a:pt x="1096" y="317"/>
                    </a:lnTo>
                    <a:lnTo>
                      <a:pt x="1096" y="317"/>
                    </a:lnTo>
                    <a:lnTo>
                      <a:pt x="1097" y="314"/>
                    </a:lnTo>
                    <a:lnTo>
                      <a:pt x="1101" y="312"/>
                    </a:lnTo>
                    <a:lnTo>
                      <a:pt x="1104" y="314"/>
                    </a:lnTo>
                    <a:lnTo>
                      <a:pt x="1107" y="315"/>
                    </a:lnTo>
                    <a:lnTo>
                      <a:pt x="1110" y="315"/>
                    </a:lnTo>
                    <a:lnTo>
                      <a:pt x="1113" y="317"/>
                    </a:lnTo>
                    <a:lnTo>
                      <a:pt x="1118" y="318"/>
                    </a:lnTo>
                    <a:lnTo>
                      <a:pt x="1124" y="322"/>
                    </a:lnTo>
                    <a:lnTo>
                      <a:pt x="1129" y="326"/>
                    </a:lnTo>
                    <a:lnTo>
                      <a:pt x="1132" y="328"/>
                    </a:lnTo>
                    <a:lnTo>
                      <a:pt x="1139" y="328"/>
                    </a:lnTo>
                    <a:lnTo>
                      <a:pt x="1140" y="331"/>
                    </a:lnTo>
                    <a:lnTo>
                      <a:pt x="1143" y="330"/>
                    </a:lnTo>
                    <a:lnTo>
                      <a:pt x="1147" y="331"/>
                    </a:lnTo>
                    <a:lnTo>
                      <a:pt x="1150" y="333"/>
                    </a:lnTo>
                    <a:lnTo>
                      <a:pt x="1150" y="331"/>
                    </a:lnTo>
                    <a:lnTo>
                      <a:pt x="1150" y="328"/>
                    </a:lnTo>
                    <a:lnTo>
                      <a:pt x="1155" y="330"/>
                    </a:lnTo>
                    <a:lnTo>
                      <a:pt x="1158" y="330"/>
                    </a:lnTo>
                    <a:lnTo>
                      <a:pt x="1159" y="333"/>
                    </a:lnTo>
                    <a:lnTo>
                      <a:pt x="1162" y="334"/>
                    </a:lnTo>
                    <a:lnTo>
                      <a:pt x="1166" y="334"/>
                    </a:lnTo>
                    <a:lnTo>
                      <a:pt x="1169" y="334"/>
                    </a:lnTo>
                    <a:lnTo>
                      <a:pt x="1172" y="337"/>
                    </a:lnTo>
                    <a:lnTo>
                      <a:pt x="1175" y="339"/>
                    </a:lnTo>
                    <a:lnTo>
                      <a:pt x="1177" y="337"/>
                    </a:lnTo>
                    <a:lnTo>
                      <a:pt x="1177" y="334"/>
                    </a:lnTo>
                    <a:lnTo>
                      <a:pt x="1193" y="333"/>
                    </a:lnTo>
                    <a:lnTo>
                      <a:pt x="1208" y="331"/>
                    </a:lnTo>
                    <a:lnTo>
                      <a:pt x="1212" y="331"/>
                    </a:lnTo>
                    <a:lnTo>
                      <a:pt x="1216" y="333"/>
                    </a:lnTo>
                    <a:lnTo>
                      <a:pt x="1216" y="331"/>
                    </a:lnTo>
                    <a:lnTo>
                      <a:pt x="1221" y="333"/>
                    </a:lnTo>
                    <a:lnTo>
                      <a:pt x="1221" y="333"/>
                    </a:lnTo>
                    <a:lnTo>
                      <a:pt x="1231" y="339"/>
                    </a:lnTo>
                    <a:lnTo>
                      <a:pt x="1239" y="344"/>
                    </a:lnTo>
                    <a:lnTo>
                      <a:pt x="1248" y="349"/>
                    </a:lnTo>
                    <a:lnTo>
                      <a:pt x="1256" y="353"/>
                    </a:lnTo>
                    <a:lnTo>
                      <a:pt x="1262" y="361"/>
                    </a:lnTo>
                    <a:lnTo>
                      <a:pt x="1267" y="363"/>
                    </a:lnTo>
                    <a:lnTo>
                      <a:pt x="1270" y="366"/>
                    </a:lnTo>
                    <a:lnTo>
                      <a:pt x="1273" y="368"/>
                    </a:lnTo>
                    <a:lnTo>
                      <a:pt x="1277" y="369"/>
                    </a:lnTo>
                    <a:lnTo>
                      <a:pt x="1280" y="372"/>
                    </a:lnTo>
                    <a:lnTo>
                      <a:pt x="1281" y="376"/>
                    </a:lnTo>
                    <a:lnTo>
                      <a:pt x="1285" y="379"/>
                    </a:lnTo>
                    <a:lnTo>
                      <a:pt x="1288" y="382"/>
                    </a:lnTo>
                    <a:lnTo>
                      <a:pt x="1289" y="385"/>
                    </a:lnTo>
                    <a:lnTo>
                      <a:pt x="1293" y="388"/>
                    </a:lnTo>
                    <a:lnTo>
                      <a:pt x="1296" y="391"/>
                    </a:lnTo>
                    <a:lnTo>
                      <a:pt x="1299" y="395"/>
                    </a:lnTo>
                    <a:lnTo>
                      <a:pt x="1302" y="396"/>
                    </a:lnTo>
                    <a:lnTo>
                      <a:pt x="1307" y="402"/>
                    </a:lnTo>
                    <a:lnTo>
                      <a:pt x="1308" y="406"/>
                    </a:lnTo>
                    <a:lnTo>
                      <a:pt x="1313" y="406"/>
                    </a:lnTo>
                    <a:lnTo>
                      <a:pt x="1318" y="407"/>
                    </a:lnTo>
                    <a:lnTo>
                      <a:pt x="1321" y="410"/>
                    </a:lnTo>
                    <a:lnTo>
                      <a:pt x="1321" y="414"/>
                    </a:lnTo>
                    <a:lnTo>
                      <a:pt x="1323" y="414"/>
                    </a:lnTo>
                    <a:lnTo>
                      <a:pt x="1326" y="417"/>
                    </a:lnTo>
                    <a:lnTo>
                      <a:pt x="1329" y="418"/>
                    </a:lnTo>
                    <a:lnTo>
                      <a:pt x="1332" y="417"/>
                    </a:lnTo>
                    <a:lnTo>
                      <a:pt x="1335" y="418"/>
                    </a:lnTo>
                    <a:lnTo>
                      <a:pt x="1338" y="423"/>
                    </a:lnTo>
                    <a:lnTo>
                      <a:pt x="1342" y="425"/>
                    </a:lnTo>
                    <a:lnTo>
                      <a:pt x="1343" y="425"/>
                    </a:lnTo>
                    <a:lnTo>
                      <a:pt x="1353" y="423"/>
                    </a:lnTo>
                    <a:lnTo>
                      <a:pt x="1361" y="425"/>
                    </a:lnTo>
                    <a:lnTo>
                      <a:pt x="1367" y="423"/>
                    </a:lnTo>
                    <a:lnTo>
                      <a:pt x="1369" y="423"/>
                    </a:lnTo>
                    <a:lnTo>
                      <a:pt x="1372" y="423"/>
                    </a:lnTo>
                    <a:lnTo>
                      <a:pt x="1378" y="425"/>
                    </a:lnTo>
                    <a:lnTo>
                      <a:pt x="1384" y="426"/>
                    </a:lnTo>
                    <a:lnTo>
                      <a:pt x="1388" y="429"/>
                    </a:lnTo>
                    <a:lnTo>
                      <a:pt x="1389" y="433"/>
                    </a:lnTo>
                    <a:lnTo>
                      <a:pt x="1392" y="437"/>
                    </a:lnTo>
                    <a:lnTo>
                      <a:pt x="1396" y="445"/>
                    </a:lnTo>
                    <a:lnTo>
                      <a:pt x="1397" y="453"/>
                    </a:lnTo>
                    <a:lnTo>
                      <a:pt x="1399" y="456"/>
                    </a:lnTo>
                    <a:lnTo>
                      <a:pt x="1400" y="461"/>
                    </a:lnTo>
                    <a:lnTo>
                      <a:pt x="1400" y="466"/>
                    </a:lnTo>
                    <a:lnTo>
                      <a:pt x="1399" y="471"/>
                    </a:lnTo>
                    <a:lnTo>
                      <a:pt x="1402" y="471"/>
                    </a:lnTo>
                    <a:lnTo>
                      <a:pt x="1402" y="475"/>
                    </a:lnTo>
                    <a:lnTo>
                      <a:pt x="1405" y="479"/>
                    </a:lnTo>
                    <a:lnTo>
                      <a:pt x="1405" y="482"/>
                    </a:lnTo>
                    <a:lnTo>
                      <a:pt x="1405" y="485"/>
                    </a:lnTo>
                    <a:lnTo>
                      <a:pt x="1405" y="488"/>
                    </a:lnTo>
                    <a:lnTo>
                      <a:pt x="1407" y="494"/>
                    </a:lnTo>
                    <a:lnTo>
                      <a:pt x="1408" y="499"/>
                    </a:lnTo>
                    <a:lnTo>
                      <a:pt x="1410" y="502"/>
                    </a:lnTo>
                    <a:lnTo>
                      <a:pt x="1408" y="507"/>
                    </a:lnTo>
                    <a:lnTo>
                      <a:pt x="1410" y="506"/>
                    </a:lnTo>
                    <a:lnTo>
                      <a:pt x="1411" y="502"/>
                    </a:lnTo>
                    <a:lnTo>
                      <a:pt x="1411" y="506"/>
                    </a:lnTo>
                    <a:lnTo>
                      <a:pt x="1411" y="509"/>
                    </a:lnTo>
                    <a:lnTo>
                      <a:pt x="1411" y="513"/>
                    </a:lnTo>
                    <a:lnTo>
                      <a:pt x="1411" y="517"/>
                    </a:lnTo>
                    <a:lnTo>
                      <a:pt x="1411" y="520"/>
                    </a:lnTo>
                    <a:lnTo>
                      <a:pt x="1411" y="520"/>
                    </a:lnTo>
                    <a:lnTo>
                      <a:pt x="1408" y="525"/>
                    </a:lnTo>
                    <a:lnTo>
                      <a:pt x="1408" y="525"/>
                    </a:lnTo>
                    <a:lnTo>
                      <a:pt x="1411" y="526"/>
                    </a:lnTo>
                    <a:lnTo>
                      <a:pt x="1410" y="529"/>
                    </a:lnTo>
                    <a:lnTo>
                      <a:pt x="1410" y="532"/>
                    </a:lnTo>
                    <a:lnTo>
                      <a:pt x="1410" y="534"/>
                    </a:lnTo>
                    <a:lnTo>
                      <a:pt x="1411" y="539"/>
                    </a:lnTo>
                    <a:lnTo>
                      <a:pt x="1411" y="542"/>
                    </a:lnTo>
                    <a:lnTo>
                      <a:pt x="1410" y="547"/>
                    </a:lnTo>
                    <a:lnTo>
                      <a:pt x="1410" y="545"/>
                    </a:lnTo>
                    <a:lnTo>
                      <a:pt x="1410" y="547"/>
                    </a:lnTo>
                    <a:lnTo>
                      <a:pt x="1410" y="547"/>
                    </a:lnTo>
                    <a:lnTo>
                      <a:pt x="1410" y="548"/>
                    </a:lnTo>
                    <a:lnTo>
                      <a:pt x="1408" y="552"/>
                    </a:lnTo>
                    <a:lnTo>
                      <a:pt x="1408" y="556"/>
                    </a:lnTo>
                    <a:lnTo>
                      <a:pt x="1405" y="559"/>
                    </a:lnTo>
                    <a:lnTo>
                      <a:pt x="1407" y="561"/>
                    </a:lnTo>
                    <a:lnTo>
                      <a:pt x="1405" y="566"/>
                    </a:lnTo>
                    <a:lnTo>
                      <a:pt x="1404" y="569"/>
                    </a:lnTo>
                    <a:lnTo>
                      <a:pt x="1404" y="572"/>
                    </a:lnTo>
                    <a:lnTo>
                      <a:pt x="1402" y="577"/>
                    </a:lnTo>
                    <a:lnTo>
                      <a:pt x="1402" y="580"/>
                    </a:lnTo>
                    <a:lnTo>
                      <a:pt x="1400" y="583"/>
                    </a:lnTo>
                    <a:lnTo>
                      <a:pt x="1392" y="598"/>
                    </a:lnTo>
                    <a:lnTo>
                      <a:pt x="1381" y="612"/>
                    </a:lnTo>
                    <a:lnTo>
                      <a:pt x="1381" y="610"/>
                    </a:lnTo>
                    <a:lnTo>
                      <a:pt x="1378" y="609"/>
                    </a:lnTo>
                    <a:lnTo>
                      <a:pt x="1378" y="612"/>
                    </a:lnTo>
                    <a:lnTo>
                      <a:pt x="1377" y="613"/>
                    </a:lnTo>
                    <a:lnTo>
                      <a:pt x="1375" y="610"/>
                    </a:lnTo>
                    <a:lnTo>
                      <a:pt x="1377" y="613"/>
                    </a:lnTo>
                    <a:lnTo>
                      <a:pt x="1377" y="613"/>
                    </a:lnTo>
                    <a:lnTo>
                      <a:pt x="1377" y="613"/>
                    </a:lnTo>
                    <a:lnTo>
                      <a:pt x="1378" y="613"/>
                    </a:lnTo>
                    <a:lnTo>
                      <a:pt x="1377" y="618"/>
                    </a:lnTo>
                    <a:lnTo>
                      <a:pt x="1373" y="621"/>
                    </a:lnTo>
                    <a:lnTo>
                      <a:pt x="1372" y="624"/>
                    </a:lnTo>
                    <a:lnTo>
                      <a:pt x="1370" y="628"/>
                    </a:lnTo>
                    <a:lnTo>
                      <a:pt x="1367" y="631"/>
                    </a:lnTo>
                    <a:lnTo>
                      <a:pt x="1364" y="634"/>
                    </a:lnTo>
                    <a:lnTo>
                      <a:pt x="1362" y="637"/>
                    </a:lnTo>
                    <a:lnTo>
                      <a:pt x="1361" y="642"/>
                    </a:lnTo>
                    <a:lnTo>
                      <a:pt x="1358" y="645"/>
                    </a:lnTo>
                    <a:lnTo>
                      <a:pt x="1356" y="645"/>
                    </a:lnTo>
                    <a:lnTo>
                      <a:pt x="1353" y="647"/>
                    </a:lnTo>
                    <a:lnTo>
                      <a:pt x="1350" y="650"/>
                    </a:lnTo>
                    <a:lnTo>
                      <a:pt x="1346" y="651"/>
                    </a:lnTo>
                    <a:lnTo>
                      <a:pt x="1342" y="655"/>
                    </a:lnTo>
                    <a:lnTo>
                      <a:pt x="1340" y="658"/>
                    </a:lnTo>
                    <a:lnTo>
                      <a:pt x="1335" y="661"/>
                    </a:lnTo>
                    <a:lnTo>
                      <a:pt x="1335" y="658"/>
                    </a:lnTo>
                    <a:lnTo>
                      <a:pt x="1332" y="655"/>
                    </a:lnTo>
                    <a:lnTo>
                      <a:pt x="1332" y="656"/>
                    </a:lnTo>
                    <a:lnTo>
                      <a:pt x="1332" y="658"/>
                    </a:lnTo>
                    <a:lnTo>
                      <a:pt x="1332" y="659"/>
                    </a:lnTo>
                    <a:lnTo>
                      <a:pt x="1335" y="661"/>
                    </a:lnTo>
                    <a:lnTo>
                      <a:pt x="1335" y="664"/>
                    </a:lnTo>
                    <a:lnTo>
                      <a:pt x="1334" y="666"/>
                    </a:lnTo>
                    <a:lnTo>
                      <a:pt x="1331" y="669"/>
                    </a:lnTo>
                    <a:lnTo>
                      <a:pt x="1327" y="666"/>
                    </a:lnTo>
                    <a:lnTo>
                      <a:pt x="1329" y="669"/>
                    </a:lnTo>
                    <a:lnTo>
                      <a:pt x="1332" y="670"/>
                    </a:lnTo>
                    <a:lnTo>
                      <a:pt x="1332" y="674"/>
                    </a:lnTo>
                    <a:lnTo>
                      <a:pt x="1329" y="677"/>
                    </a:lnTo>
                    <a:lnTo>
                      <a:pt x="1326" y="680"/>
                    </a:lnTo>
                    <a:lnTo>
                      <a:pt x="1326" y="677"/>
                    </a:lnTo>
                    <a:lnTo>
                      <a:pt x="1324" y="680"/>
                    </a:lnTo>
                    <a:lnTo>
                      <a:pt x="1324" y="683"/>
                    </a:lnTo>
                    <a:lnTo>
                      <a:pt x="1321" y="686"/>
                    </a:lnTo>
                    <a:lnTo>
                      <a:pt x="1321" y="686"/>
                    </a:lnTo>
                    <a:lnTo>
                      <a:pt x="1326" y="685"/>
                    </a:lnTo>
                    <a:lnTo>
                      <a:pt x="1318" y="701"/>
                    </a:lnTo>
                    <a:lnTo>
                      <a:pt x="1312" y="716"/>
                    </a:lnTo>
                    <a:lnTo>
                      <a:pt x="1305" y="726"/>
                    </a:lnTo>
                    <a:lnTo>
                      <a:pt x="1300" y="734"/>
                    </a:lnTo>
                    <a:lnTo>
                      <a:pt x="1299" y="739"/>
                    </a:lnTo>
                    <a:lnTo>
                      <a:pt x="1296" y="742"/>
                    </a:lnTo>
                    <a:lnTo>
                      <a:pt x="1294" y="745"/>
                    </a:lnTo>
                    <a:lnTo>
                      <a:pt x="1289" y="747"/>
                    </a:lnTo>
                    <a:lnTo>
                      <a:pt x="1286" y="747"/>
                    </a:lnTo>
                    <a:lnTo>
                      <a:pt x="1288" y="743"/>
                    </a:lnTo>
                    <a:lnTo>
                      <a:pt x="1286" y="740"/>
                    </a:lnTo>
                    <a:lnTo>
                      <a:pt x="1285" y="735"/>
                    </a:lnTo>
                    <a:lnTo>
                      <a:pt x="1281" y="734"/>
                    </a:lnTo>
                    <a:lnTo>
                      <a:pt x="1280" y="731"/>
                    </a:lnTo>
                    <a:lnTo>
                      <a:pt x="1278" y="734"/>
                    </a:lnTo>
                    <a:lnTo>
                      <a:pt x="1278" y="739"/>
                    </a:lnTo>
                    <a:lnTo>
                      <a:pt x="1275" y="740"/>
                    </a:lnTo>
                    <a:lnTo>
                      <a:pt x="1272" y="737"/>
                    </a:lnTo>
                    <a:lnTo>
                      <a:pt x="1272" y="739"/>
                    </a:lnTo>
                    <a:lnTo>
                      <a:pt x="1275" y="742"/>
                    </a:lnTo>
                    <a:lnTo>
                      <a:pt x="1277" y="742"/>
                    </a:lnTo>
                    <a:lnTo>
                      <a:pt x="1278" y="745"/>
                    </a:lnTo>
                    <a:lnTo>
                      <a:pt x="1277" y="748"/>
                    </a:lnTo>
                    <a:lnTo>
                      <a:pt x="1277" y="748"/>
                    </a:lnTo>
                    <a:lnTo>
                      <a:pt x="1273" y="753"/>
                    </a:lnTo>
                    <a:lnTo>
                      <a:pt x="1273" y="756"/>
                    </a:lnTo>
                    <a:lnTo>
                      <a:pt x="1272" y="759"/>
                    </a:lnTo>
                    <a:lnTo>
                      <a:pt x="1272" y="762"/>
                    </a:lnTo>
                    <a:lnTo>
                      <a:pt x="1269" y="761"/>
                    </a:lnTo>
                    <a:lnTo>
                      <a:pt x="1269" y="764"/>
                    </a:lnTo>
                    <a:lnTo>
                      <a:pt x="1267" y="769"/>
                    </a:lnTo>
                    <a:lnTo>
                      <a:pt x="1267" y="772"/>
                    </a:lnTo>
                    <a:lnTo>
                      <a:pt x="1267" y="772"/>
                    </a:lnTo>
                    <a:lnTo>
                      <a:pt x="1267" y="769"/>
                    </a:lnTo>
                    <a:lnTo>
                      <a:pt x="1269" y="767"/>
                    </a:lnTo>
                    <a:lnTo>
                      <a:pt x="1270" y="770"/>
                    </a:lnTo>
                    <a:lnTo>
                      <a:pt x="1272" y="774"/>
                    </a:lnTo>
                    <a:lnTo>
                      <a:pt x="1270" y="778"/>
                    </a:lnTo>
                    <a:lnTo>
                      <a:pt x="1270" y="781"/>
                    </a:lnTo>
                    <a:lnTo>
                      <a:pt x="1267" y="778"/>
                    </a:lnTo>
                    <a:lnTo>
                      <a:pt x="1270" y="781"/>
                    </a:lnTo>
                    <a:lnTo>
                      <a:pt x="1269" y="785"/>
                    </a:lnTo>
                    <a:lnTo>
                      <a:pt x="1272" y="789"/>
                    </a:lnTo>
                    <a:lnTo>
                      <a:pt x="1272" y="793"/>
                    </a:lnTo>
                    <a:lnTo>
                      <a:pt x="1272" y="789"/>
                    </a:lnTo>
                    <a:lnTo>
                      <a:pt x="1273" y="785"/>
                    </a:lnTo>
                    <a:lnTo>
                      <a:pt x="1272" y="799"/>
                    </a:lnTo>
                    <a:lnTo>
                      <a:pt x="1270" y="815"/>
                    </a:lnTo>
                    <a:lnTo>
                      <a:pt x="1272" y="824"/>
                    </a:lnTo>
                    <a:lnTo>
                      <a:pt x="1273" y="832"/>
                    </a:lnTo>
                    <a:lnTo>
                      <a:pt x="1275" y="840"/>
                    </a:lnTo>
                    <a:lnTo>
                      <a:pt x="1277" y="850"/>
                    </a:lnTo>
                    <a:lnTo>
                      <a:pt x="1277" y="853"/>
                    </a:lnTo>
                    <a:lnTo>
                      <a:pt x="1278" y="858"/>
                    </a:lnTo>
                    <a:lnTo>
                      <a:pt x="1280" y="861"/>
                    </a:lnTo>
                    <a:lnTo>
                      <a:pt x="1281" y="864"/>
                    </a:lnTo>
                    <a:lnTo>
                      <a:pt x="1280" y="867"/>
                    </a:lnTo>
                    <a:lnTo>
                      <a:pt x="1278" y="875"/>
                    </a:lnTo>
                    <a:lnTo>
                      <a:pt x="1277" y="885"/>
                    </a:lnTo>
                    <a:lnTo>
                      <a:pt x="1273" y="902"/>
                    </a:lnTo>
                    <a:lnTo>
                      <a:pt x="1272" y="919"/>
                    </a:lnTo>
                    <a:lnTo>
                      <a:pt x="1272" y="927"/>
                    </a:lnTo>
                    <a:lnTo>
                      <a:pt x="1275" y="937"/>
                    </a:lnTo>
                    <a:lnTo>
                      <a:pt x="1275" y="940"/>
                    </a:lnTo>
                    <a:lnTo>
                      <a:pt x="1272" y="945"/>
                    </a:lnTo>
                    <a:lnTo>
                      <a:pt x="1270" y="948"/>
                    </a:lnTo>
                    <a:lnTo>
                      <a:pt x="1266" y="950"/>
                    </a:lnTo>
                    <a:lnTo>
                      <a:pt x="1264" y="953"/>
                    </a:lnTo>
                    <a:lnTo>
                      <a:pt x="1261" y="959"/>
                    </a:lnTo>
                    <a:lnTo>
                      <a:pt x="1258" y="967"/>
                    </a:lnTo>
                    <a:lnTo>
                      <a:pt x="1258" y="975"/>
                    </a:lnTo>
                    <a:lnTo>
                      <a:pt x="1258" y="983"/>
                    </a:lnTo>
                    <a:lnTo>
                      <a:pt x="1259" y="994"/>
                    </a:lnTo>
                    <a:lnTo>
                      <a:pt x="1261" y="1002"/>
                    </a:lnTo>
                    <a:lnTo>
                      <a:pt x="1261" y="1010"/>
                    </a:lnTo>
                    <a:lnTo>
                      <a:pt x="1258" y="1019"/>
                    </a:lnTo>
                    <a:lnTo>
                      <a:pt x="1254" y="1021"/>
                    </a:lnTo>
                    <a:lnTo>
                      <a:pt x="1251" y="1023"/>
                    </a:lnTo>
                    <a:lnTo>
                      <a:pt x="1251" y="1024"/>
                    </a:lnTo>
                    <a:lnTo>
                      <a:pt x="1250" y="1027"/>
                    </a:lnTo>
                    <a:lnTo>
                      <a:pt x="1248" y="1030"/>
                    </a:lnTo>
                    <a:lnTo>
                      <a:pt x="1247" y="1037"/>
                    </a:lnTo>
                    <a:lnTo>
                      <a:pt x="1245" y="1045"/>
                    </a:lnTo>
                    <a:lnTo>
                      <a:pt x="1243" y="1045"/>
                    </a:lnTo>
                    <a:lnTo>
                      <a:pt x="1240" y="1046"/>
                    </a:lnTo>
                    <a:lnTo>
                      <a:pt x="1242" y="1049"/>
                    </a:lnTo>
                    <a:lnTo>
                      <a:pt x="1242" y="1053"/>
                    </a:lnTo>
                    <a:lnTo>
                      <a:pt x="1240" y="1057"/>
                    </a:lnTo>
                    <a:lnTo>
                      <a:pt x="1237" y="1061"/>
                    </a:lnTo>
                    <a:lnTo>
                      <a:pt x="1235" y="1064"/>
                    </a:lnTo>
                    <a:lnTo>
                      <a:pt x="1232" y="1067"/>
                    </a:lnTo>
                    <a:lnTo>
                      <a:pt x="1227" y="1068"/>
                    </a:lnTo>
                    <a:lnTo>
                      <a:pt x="1226" y="1072"/>
                    </a:lnTo>
                    <a:lnTo>
                      <a:pt x="1226" y="1075"/>
                    </a:lnTo>
                    <a:lnTo>
                      <a:pt x="1226" y="1078"/>
                    </a:lnTo>
                    <a:lnTo>
                      <a:pt x="1223" y="1083"/>
                    </a:lnTo>
                    <a:lnTo>
                      <a:pt x="1221" y="1086"/>
                    </a:lnTo>
                    <a:lnTo>
                      <a:pt x="1221" y="1089"/>
                    </a:lnTo>
                    <a:lnTo>
                      <a:pt x="1220" y="1092"/>
                    </a:lnTo>
                    <a:lnTo>
                      <a:pt x="1220" y="1095"/>
                    </a:lnTo>
                    <a:lnTo>
                      <a:pt x="1221" y="1099"/>
                    </a:lnTo>
                    <a:lnTo>
                      <a:pt x="1221" y="1102"/>
                    </a:lnTo>
                    <a:lnTo>
                      <a:pt x="1221" y="1105"/>
                    </a:lnTo>
                    <a:lnTo>
                      <a:pt x="1223" y="1110"/>
                    </a:lnTo>
                    <a:lnTo>
                      <a:pt x="1224" y="1113"/>
                    </a:lnTo>
                    <a:lnTo>
                      <a:pt x="1223" y="1116"/>
                    </a:lnTo>
                    <a:lnTo>
                      <a:pt x="1212" y="1122"/>
                    </a:lnTo>
                    <a:lnTo>
                      <a:pt x="1199" y="1127"/>
                    </a:lnTo>
                    <a:lnTo>
                      <a:pt x="1196" y="1132"/>
                    </a:lnTo>
                    <a:lnTo>
                      <a:pt x="1194" y="1135"/>
                    </a:lnTo>
                    <a:lnTo>
                      <a:pt x="1191" y="1138"/>
                    </a:lnTo>
                    <a:lnTo>
                      <a:pt x="1189" y="1141"/>
                    </a:lnTo>
                    <a:lnTo>
                      <a:pt x="1191" y="1145"/>
                    </a:lnTo>
                    <a:lnTo>
                      <a:pt x="1193" y="1149"/>
                    </a:lnTo>
                    <a:lnTo>
                      <a:pt x="1189" y="1153"/>
                    </a:lnTo>
                    <a:lnTo>
                      <a:pt x="1191" y="1156"/>
                    </a:lnTo>
                    <a:lnTo>
                      <a:pt x="1189" y="1154"/>
                    </a:lnTo>
                    <a:lnTo>
                      <a:pt x="1186" y="1154"/>
                    </a:lnTo>
                    <a:lnTo>
                      <a:pt x="1178" y="1154"/>
                    </a:lnTo>
                    <a:lnTo>
                      <a:pt x="1175" y="1154"/>
                    </a:lnTo>
                    <a:lnTo>
                      <a:pt x="1172" y="1154"/>
                    </a:lnTo>
                    <a:lnTo>
                      <a:pt x="1169" y="1154"/>
                    </a:lnTo>
                    <a:lnTo>
                      <a:pt x="1164" y="1154"/>
                    </a:lnTo>
                    <a:lnTo>
                      <a:pt x="1161" y="1156"/>
                    </a:lnTo>
                    <a:lnTo>
                      <a:pt x="1158" y="1156"/>
                    </a:lnTo>
                    <a:lnTo>
                      <a:pt x="1155" y="1156"/>
                    </a:lnTo>
                    <a:lnTo>
                      <a:pt x="1151" y="1151"/>
                    </a:lnTo>
                    <a:lnTo>
                      <a:pt x="1151" y="1149"/>
                    </a:lnTo>
                    <a:lnTo>
                      <a:pt x="1153" y="1146"/>
                    </a:lnTo>
                    <a:lnTo>
                      <a:pt x="1153" y="1143"/>
                    </a:lnTo>
                    <a:lnTo>
                      <a:pt x="1148" y="1145"/>
                    </a:lnTo>
                    <a:lnTo>
                      <a:pt x="1145" y="1146"/>
                    </a:lnTo>
                    <a:lnTo>
                      <a:pt x="1147" y="1151"/>
                    </a:lnTo>
                    <a:lnTo>
                      <a:pt x="1148" y="1151"/>
                    </a:lnTo>
                    <a:lnTo>
                      <a:pt x="1150" y="1151"/>
                    </a:lnTo>
                    <a:lnTo>
                      <a:pt x="1150" y="1153"/>
                    </a:lnTo>
                    <a:lnTo>
                      <a:pt x="1150" y="1156"/>
                    </a:lnTo>
                    <a:lnTo>
                      <a:pt x="1134" y="1157"/>
                    </a:lnTo>
                    <a:lnTo>
                      <a:pt x="1121" y="1160"/>
                    </a:lnTo>
                    <a:lnTo>
                      <a:pt x="1123" y="1159"/>
                    </a:lnTo>
                    <a:lnTo>
                      <a:pt x="1128" y="1159"/>
                    </a:lnTo>
                    <a:lnTo>
                      <a:pt x="1131" y="1159"/>
                    </a:lnTo>
                    <a:lnTo>
                      <a:pt x="1134" y="1157"/>
                    </a:lnTo>
                    <a:lnTo>
                      <a:pt x="1129" y="1154"/>
                    </a:lnTo>
                    <a:lnTo>
                      <a:pt x="1124" y="1153"/>
                    </a:lnTo>
                    <a:lnTo>
                      <a:pt x="1120" y="1154"/>
                    </a:lnTo>
                    <a:lnTo>
                      <a:pt x="1115" y="1157"/>
                    </a:lnTo>
                    <a:lnTo>
                      <a:pt x="1112" y="1156"/>
                    </a:lnTo>
                    <a:lnTo>
                      <a:pt x="1109" y="1154"/>
                    </a:lnTo>
                    <a:lnTo>
                      <a:pt x="1104" y="1157"/>
                    </a:lnTo>
                    <a:lnTo>
                      <a:pt x="1101" y="1157"/>
                    </a:lnTo>
                    <a:lnTo>
                      <a:pt x="1097" y="1159"/>
                    </a:lnTo>
                    <a:lnTo>
                      <a:pt x="1097" y="1162"/>
                    </a:lnTo>
                    <a:lnTo>
                      <a:pt x="1096" y="1165"/>
                    </a:lnTo>
                    <a:lnTo>
                      <a:pt x="1099" y="1167"/>
                    </a:lnTo>
                    <a:lnTo>
                      <a:pt x="1104" y="1168"/>
                    </a:lnTo>
                    <a:lnTo>
                      <a:pt x="1099" y="1170"/>
                    </a:lnTo>
                    <a:lnTo>
                      <a:pt x="1096" y="1170"/>
                    </a:lnTo>
                    <a:lnTo>
                      <a:pt x="1094" y="1172"/>
                    </a:lnTo>
                    <a:lnTo>
                      <a:pt x="1089" y="1170"/>
                    </a:lnTo>
                    <a:lnTo>
                      <a:pt x="1086" y="1173"/>
                    </a:lnTo>
                    <a:lnTo>
                      <a:pt x="1085" y="1176"/>
                    </a:lnTo>
                    <a:lnTo>
                      <a:pt x="1082" y="1176"/>
                    </a:lnTo>
                    <a:lnTo>
                      <a:pt x="1080" y="1179"/>
                    </a:lnTo>
                    <a:lnTo>
                      <a:pt x="1075" y="1181"/>
                    </a:lnTo>
                    <a:lnTo>
                      <a:pt x="1072" y="1183"/>
                    </a:lnTo>
                    <a:lnTo>
                      <a:pt x="1074" y="1187"/>
                    </a:lnTo>
                    <a:lnTo>
                      <a:pt x="1072" y="1191"/>
                    </a:lnTo>
                    <a:lnTo>
                      <a:pt x="1069" y="1189"/>
                    </a:lnTo>
                    <a:lnTo>
                      <a:pt x="1066" y="1189"/>
                    </a:lnTo>
                    <a:lnTo>
                      <a:pt x="1063" y="1187"/>
                    </a:lnTo>
                    <a:lnTo>
                      <a:pt x="1058" y="1187"/>
                    </a:lnTo>
                    <a:lnTo>
                      <a:pt x="1055" y="1187"/>
                    </a:lnTo>
                    <a:lnTo>
                      <a:pt x="1051" y="1191"/>
                    </a:lnTo>
                    <a:lnTo>
                      <a:pt x="1048" y="1194"/>
                    </a:lnTo>
                    <a:lnTo>
                      <a:pt x="1047" y="1197"/>
                    </a:lnTo>
                    <a:lnTo>
                      <a:pt x="1044" y="1199"/>
                    </a:lnTo>
                    <a:lnTo>
                      <a:pt x="1044" y="1197"/>
                    </a:lnTo>
                    <a:lnTo>
                      <a:pt x="1044" y="1194"/>
                    </a:lnTo>
                    <a:lnTo>
                      <a:pt x="1039" y="1194"/>
                    </a:lnTo>
                    <a:lnTo>
                      <a:pt x="1039" y="1194"/>
                    </a:lnTo>
                    <a:lnTo>
                      <a:pt x="1039" y="1195"/>
                    </a:lnTo>
                    <a:lnTo>
                      <a:pt x="1039" y="1197"/>
                    </a:lnTo>
                    <a:lnTo>
                      <a:pt x="1040" y="1197"/>
                    </a:lnTo>
                    <a:lnTo>
                      <a:pt x="1028" y="1205"/>
                    </a:lnTo>
                    <a:lnTo>
                      <a:pt x="1021" y="1210"/>
                    </a:lnTo>
                    <a:lnTo>
                      <a:pt x="1018" y="1214"/>
                    </a:lnTo>
                    <a:lnTo>
                      <a:pt x="1012" y="1221"/>
                    </a:lnTo>
                    <a:lnTo>
                      <a:pt x="1009" y="1224"/>
                    </a:lnTo>
                    <a:lnTo>
                      <a:pt x="1002" y="1227"/>
                    </a:lnTo>
                    <a:lnTo>
                      <a:pt x="1001" y="1227"/>
                    </a:lnTo>
                    <a:lnTo>
                      <a:pt x="996" y="1230"/>
                    </a:lnTo>
                    <a:lnTo>
                      <a:pt x="993" y="1233"/>
                    </a:lnTo>
                    <a:lnTo>
                      <a:pt x="991" y="1237"/>
                    </a:lnTo>
                    <a:lnTo>
                      <a:pt x="990" y="1240"/>
                    </a:lnTo>
                    <a:lnTo>
                      <a:pt x="988" y="1241"/>
                    </a:lnTo>
                    <a:lnTo>
                      <a:pt x="991" y="1243"/>
                    </a:lnTo>
                    <a:lnTo>
                      <a:pt x="986" y="1249"/>
                    </a:lnTo>
                    <a:lnTo>
                      <a:pt x="982" y="1257"/>
                    </a:lnTo>
                    <a:lnTo>
                      <a:pt x="982" y="1254"/>
                    </a:lnTo>
                    <a:lnTo>
                      <a:pt x="983" y="1249"/>
                    </a:lnTo>
                    <a:lnTo>
                      <a:pt x="980" y="1251"/>
                    </a:lnTo>
                    <a:lnTo>
                      <a:pt x="977" y="1251"/>
                    </a:lnTo>
                    <a:lnTo>
                      <a:pt x="972" y="1249"/>
                    </a:lnTo>
                    <a:lnTo>
                      <a:pt x="974" y="1252"/>
                    </a:lnTo>
                    <a:lnTo>
                      <a:pt x="974" y="1256"/>
                    </a:lnTo>
                    <a:lnTo>
                      <a:pt x="971" y="1257"/>
                    </a:lnTo>
                    <a:lnTo>
                      <a:pt x="967" y="1257"/>
                    </a:lnTo>
                    <a:lnTo>
                      <a:pt x="964" y="1254"/>
                    </a:lnTo>
                    <a:lnTo>
                      <a:pt x="964" y="1257"/>
                    </a:lnTo>
                    <a:lnTo>
                      <a:pt x="967" y="1259"/>
                    </a:lnTo>
                    <a:lnTo>
                      <a:pt x="972" y="1259"/>
                    </a:lnTo>
                    <a:lnTo>
                      <a:pt x="974" y="1262"/>
                    </a:lnTo>
                    <a:lnTo>
                      <a:pt x="977" y="1262"/>
                    </a:lnTo>
                    <a:lnTo>
                      <a:pt x="974" y="1265"/>
                    </a:lnTo>
                    <a:lnTo>
                      <a:pt x="974" y="1270"/>
                    </a:lnTo>
                    <a:lnTo>
                      <a:pt x="972" y="1273"/>
                    </a:lnTo>
                    <a:lnTo>
                      <a:pt x="969" y="1273"/>
                    </a:lnTo>
                    <a:lnTo>
                      <a:pt x="966" y="1275"/>
                    </a:lnTo>
                    <a:lnTo>
                      <a:pt x="969" y="1275"/>
                    </a:lnTo>
                    <a:lnTo>
                      <a:pt x="972" y="1275"/>
                    </a:lnTo>
                    <a:lnTo>
                      <a:pt x="972" y="1278"/>
                    </a:lnTo>
                    <a:lnTo>
                      <a:pt x="971" y="1279"/>
                    </a:lnTo>
                    <a:lnTo>
                      <a:pt x="972" y="1284"/>
                    </a:lnTo>
                    <a:lnTo>
                      <a:pt x="971" y="1287"/>
                    </a:lnTo>
                    <a:lnTo>
                      <a:pt x="967" y="1287"/>
                    </a:lnTo>
                    <a:lnTo>
                      <a:pt x="966" y="1284"/>
                    </a:lnTo>
                    <a:lnTo>
                      <a:pt x="967" y="1289"/>
                    </a:lnTo>
                    <a:lnTo>
                      <a:pt x="967" y="1292"/>
                    </a:lnTo>
                    <a:lnTo>
                      <a:pt x="972" y="1302"/>
                    </a:lnTo>
                    <a:lnTo>
                      <a:pt x="975" y="1311"/>
                    </a:lnTo>
                    <a:lnTo>
                      <a:pt x="974" y="1314"/>
                    </a:lnTo>
                    <a:lnTo>
                      <a:pt x="975" y="1317"/>
                    </a:lnTo>
                    <a:lnTo>
                      <a:pt x="977" y="1322"/>
                    </a:lnTo>
                    <a:lnTo>
                      <a:pt x="977" y="1325"/>
                    </a:lnTo>
                    <a:lnTo>
                      <a:pt x="980" y="1325"/>
                    </a:lnTo>
                    <a:lnTo>
                      <a:pt x="980" y="1329"/>
                    </a:lnTo>
                    <a:lnTo>
                      <a:pt x="977" y="1330"/>
                    </a:lnTo>
                    <a:lnTo>
                      <a:pt x="980" y="1335"/>
                    </a:lnTo>
                    <a:lnTo>
                      <a:pt x="977" y="1338"/>
                    </a:lnTo>
                    <a:lnTo>
                      <a:pt x="978" y="1341"/>
                    </a:lnTo>
                    <a:lnTo>
                      <a:pt x="978" y="1344"/>
                    </a:lnTo>
                    <a:lnTo>
                      <a:pt x="978" y="1348"/>
                    </a:lnTo>
                    <a:lnTo>
                      <a:pt x="980" y="1352"/>
                    </a:lnTo>
                    <a:lnTo>
                      <a:pt x="982" y="1356"/>
                    </a:lnTo>
                    <a:lnTo>
                      <a:pt x="982" y="1359"/>
                    </a:lnTo>
                    <a:lnTo>
                      <a:pt x="982" y="1363"/>
                    </a:lnTo>
                    <a:lnTo>
                      <a:pt x="982" y="1367"/>
                    </a:lnTo>
                    <a:lnTo>
                      <a:pt x="982" y="1370"/>
                    </a:lnTo>
                    <a:lnTo>
                      <a:pt x="980" y="1373"/>
                    </a:lnTo>
                    <a:lnTo>
                      <a:pt x="978" y="1376"/>
                    </a:lnTo>
                    <a:lnTo>
                      <a:pt x="978" y="1379"/>
                    </a:lnTo>
                    <a:lnTo>
                      <a:pt x="977" y="1379"/>
                    </a:lnTo>
                    <a:lnTo>
                      <a:pt x="977" y="1378"/>
                    </a:lnTo>
                    <a:lnTo>
                      <a:pt x="974" y="1375"/>
                    </a:lnTo>
                    <a:lnTo>
                      <a:pt x="977" y="1379"/>
                    </a:lnTo>
                    <a:lnTo>
                      <a:pt x="975" y="1379"/>
                    </a:lnTo>
                    <a:lnTo>
                      <a:pt x="975" y="1381"/>
                    </a:lnTo>
                    <a:lnTo>
                      <a:pt x="978" y="1382"/>
                    </a:lnTo>
                    <a:lnTo>
                      <a:pt x="972" y="1389"/>
                    </a:lnTo>
                    <a:lnTo>
                      <a:pt x="963" y="1397"/>
                    </a:lnTo>
                    <a:lnTo>
                      <a:pt x="956" y="1406"/>
                    </a:lnTo>
                    <a:lnTo>
                      <a:pt x="950" y="1416"/>
                    </a:lnTo>
                    <a:lnTo>
                      <a:pt x="944" y="1433"/>
                    </a:lnTo>
                    <a:lnTo>
                      <a:pt x="939" y="1452"/>
                    </a:lnTo>
                    <a:lnTo>
                      <a:pt x="937" y="1463"/>
                    </a:lnTo>
                    <a:lnTo>
                      <a:pt x="932" y="1473"/>
                    </a:lnTo>
                    <a:lnTo>
                      <a:pt x="929" y="1482"/>
                    </a:lnTo>
                    <a:lnTo>
                      <a:pt x="923" y="1492"/>
                    </a:lnTo>
                    <a:lnTo>
                      <a:pt x="915" y="1503"/>
                    </a:lnTo>
                    <a:lnTo>
                      <a:pt x="907" y="1513"/>
                    </a:lnTo>
                    <a:lnTo>
                      <a:pt x="902" y="1516"/>
                    </a:lnTo>
                    <a:lnTo>
                      <a:pt x="899" y="1517"/>
                    </a:lnTo>
                    <a:lnTo>
                      <a:pt x="896" y="1520"/>
                    </a:lnTo>
                    <a:lnTo>
                      <a:pt x="893" y="1524"/>
                    </a:lnTo>
                    <a:lnTo>
                      <a:pt x="891" y="1527"/>
                    </a:lnTo>
                    <a:lnTo>
                      <a:pt x="888" y="1532"/>
                    </a:lnTo>
                    <a:lnTo>
                      <a:pt x="890" y="1527"/>
                    </a:lnTo>
                    <a:lnTo>
                      <a:pt x="888" y="1524"/>
                    </a:lnTo>
                    <a:lnTo>
                      <a:pt x="888" y="1520"/>
                    </a:lnTo>
                    <a:lnTo>
                      <a:pt x="886" y="1517"/>
                    </a:lnTo>
                    <a:lnTo>
                      <a:pt x="890" y="1517"/>
                    </a:lnTo>
                    <a:lnTo>
                      <a:pt x="894" y="1519"/>
                    </a:lnTo>
                    <a:lnTo>
                      <a:pt x="898" y="1516"/>
                    </a:lnTo>
                    <a:lnTo>
                      <a:pt x="901" y="1514"/>
                    </a:lnTo>
                    <a:lnTo>
                      <a:pt x="902" y="1511"/>
                    </a:lnTo>
                    <a:lnTo>
                      <a:pt x="907" y="1508"/>
                    </a:lnTo>
                    <a:lnTo>
                      <a:pt x="907" y="1505"/>
                    </a:lnTo>
                    <a:lnTo>
                      <a:pt x="910" y="1505"/>
                    </a:lnTo>
                    <a:lnTo>
                      <a:pt x="913" y="1501"/>
                    </a:lnTo>
                    <a:lnTo>
                      <a:pt x="913" y="1497"/>
                    </a:lnTo>
                    <a:lnTo>
                      <a:pt x="913" y="1493"/>
                    </a:lnTo>
                    <a:lnTo>
                      <a:pt x="913" y="1490"/>
                    </a:lnTo>
                    <a:lnTo>
                      <a:pt x="915" y="1487"/>
                    </a:lnTo>
                    <a:lnTo>
                      <a:pt x="920" y="1489"/>
                    </a:lnTo>
                    <a:lnTo>
                      <a:pt x="918" y="1486"/>
                    </a:lnTo>
                    <a:lnTo>
                      <a:pt x="918" y="1482"/>
                    </a:lnTo>
                    <a:lnTo>
                      <a:pt x="921" y="1479"/>
                    </a:lnTo>
                    <a:lnTo>
                      <a:pt x="925" y="1476"/>
                    </a:lnTo>
                    <a:lnTo>
                      <a:pt x="926" y="1473"/>
                    </a:lnTo>
                    <a:lnTo>
                      <a:pt x="926" y="1470"/>
                    </a:lnTo>
                    <a:lnTo>
                      <a:pt x="926" y="1467"/>
                    </a:lnTo>
                    <a:lnTo>
                      <a:pt x="925" y="1462"/>
                    </a:lnTo>
                    <a:lnTo>
                      <a:pt x="925" y="1459"/>
                    </a:lnTo>
                    <a:lnTo>
                      <a:pt x="929" y="1460"/>
                    </a:lnTo>
                    <a:lnTo>
                      <a:pt x="929" y="1457"/>
                    </a:lnTo>
                    <a:lnTo>
                      <a:pt x="928" y="1452"/>
                    </a:lnTo>
                    <a:lnTo>
                      <a:pt x="925" y="1451"/>
                    </a:lnTo>
                    <a:lnTo>
                      <a:pt x="923" y="1454"/>
                    </a:lnTo>
                    <a:lnTo>
                      <a:pt x="920" y="1455"/>
                    </a:lnTo>
                    <a:lnTo>
                      <a:pt x="915" y="1455"/>
                    </a:lnTo>
                    <a:lnTo>
                      <a:pt x="915" y="1459"/>
                    </a:lnTo>
                    <a:lnTo>
                      <a:pt x="912" y="1455"/>
                    </a:lnTo>
                    <a:lnTo>
                      <a:pt x="909" y="1452"/>
                    </a:lnTo>
                    <a:lnTo>
                      <a:pt x="906" y="1452"/>
                    </a:lnTo>
                    <a:lnTo>
                      <a:pt x="904" y="1447"/>
                    </a:lnTo>
                    <a:lnTo>
                      <a:pt x="902" y="1444"/>
                    </a:lnTo>
                    <a:lnTo>
                      <a:pt x="901" y="1444"/>
                    </a:lnTo>
                    <a:lnTo>
                      <a:pt x="901" y="1447"/>
                    </a:lnTo>
                    <a:lnTo>
                      <a:pt x="901" y="1451"/>
                    </a:lnTo>
                    <a:lnTo>
                      <a:pt x="902" y="1454"/>
                    </a:lnTo>
                    <a:lnTo>
                      <a:pt x="906" y="1455"/>
                    </a:lnTo>
                    <a:lnTo>
                      <a:pt x="909" y="1459"/>
                    </a:lnTo>
                    <a:lnTo>
                      <a:pt x="906" y="1462"/>
                    </a:lnTo>
                    <a:lnTo>
                      <a:pt x="904" y="1465"/>
                    </a:lnTo>
                    <a:lnTo>
                      <a:pt x="904" y="1468"/>
                    </a:lnTo>
                    <a:lnTo>
                      <a:pt x="906" y="1471"/>
                    </a:lnTo>
                    <a:lnTo>
                      <a:pt x="906" y="1476"/>
                    </a:lnTo>
                    <a:lnTo>
                      <a:pt x="906" y="1471"/>
                    </a:lnTo>
                    <a:lnTo>
                      <a:pt x="902" y="1468"/>
                    </a:lnTo>
                    <a:lnTo>
                      <a:pt x="902" y="1471"/>
                    </a:lnTo>
                    <a:lnTo>
                      <a:pt x="904" y="1476"/>
                    </a:lnTo>
                    <a:lnTo>
                      <a:pt x="904" y="1479"/>
                    </a:lnTo>
                    <a:lnTo>
                      <a:pt x="901" y="1481"/>
                    </a:lnTo>
                    <a:lnTo>
                      <a:pt x="901" y="1484"/>
                    </a:lnTo>
                    <a:lnTo>
                      <a:pt x="899" y="1487"/>
                    </a:lnTo>
                    <a:lnTo>
                      <a:pt x="896" y="1490"/>
                    </a:lnTo>
                    <a:lnTo>
                      <a:pt x="894" y="1495"/>
                    </a:lnTo>
                    <a:lnTo>
                      <a:pt x="894" y="1495"/>
                    </a:lnTo>
                    <a:lnTo>
                      <a:pt x="890" y="1497"/>
                    </a:lnTo>
                    <a:lnTo>
                      <a:pt x="886" y="1498"/>
                    </a:lnTo>
                    <a:lnTo>
                      <a:pt x="886" y="1501"/>
                    </a:lnTo>
                    <a:lnTo>
                      <a:pt x="886" y="1505"/>
                    </a:lnTo>
                    <a:lnTo>
                      <a:pt x="886" y="1508"/>
                    </a:lnTo>
                    <a:lnTo>
                      <a:pt x="883" y="1513"/>
                    </a:lnTo>
                    <a:lnTo>
                      <a:pt x="880" y="1516"/>
                    </a:lnTo>
                    <a:lnTo>
                      <a:pt x="882" y="1516"/>
                    </a:lnTo>
                    <a:lnTo>
                      <a:pt x="882" y="1519"/>
                    </a:lnTo>
                    <a:lnTo>
                      <a:pt x="885" y="1520"/>
                    </a:lnTo>
                    <a:lnTo>
                      <a:pt x="882" y="1524"/>
                    </a:lnTo>
                    <a:lnTo>
                      <a:pt x="885" y="1528"/>
                    </a:lnTo>
                    <a:lnTo>
                      <a:pt x="888" y="1527"/>
                    </a:lnTo>
                    <a:lnTo>
                      <a:pt x="886" y="1533"/>
                    </a:lnTo>
                    <a:lnTo>
                      <a:pt x="882" y="1544"/>
                    </a:lnTo>
                    <a:lnTo>
                      <a:pt x="880" y="1552"/>
                    </a:lnTo>
                    <a:lnTo>
                      <a:pt x="880" y="1562"/>
                    </a:lnTo>
                    <a:lnTo>
                      <a:pt x="879" y="1565"/>
                    </a:lnTo>
                    <a:lnTo>
                      <a:pt x="877" y="1568"/>
                    </a:lnTo>
                    <a:lnTo>
                      <a:pt x="875" y="1571"/>
                    </a:lnTo>
                    <a:lnTo>
                      <a:pt x="875" y="1576"/>
                    </a:lnTo>
                    <a:lnTo>
                      <a:pt x="872" y="1579"/>
                    </a:lnTo>
                    <a:lnTo>
                      <a:pt x="864" y="1587"/>
                    </a:lnTo>
                    <a:lnTo>
                      <a:pt x="856" y="1595"/>
                    </a:lnTo>
                    <a:lnTo>
                      <a:pt x="855" y="1593"/>
                    </a:lnTo>
                    <a:lnTo>
                      <a:pt x="852" y="1593"/>
                    </a:lnTo>
                    <a:lnTo>
                      <a:pt x="850" y="1584"/>
                    </a:lnTo>
                    <a:lnTo>
                      <a:pt x="847" y="1574"/>
                    </a:lnTo>
                    <a:lnTo>
                      <a:pt x="847" y="1571"/>
                    </a:lnTo>
                    <a:lnTo>
                      <a:pt x="848" y="1568"/>
                    </a:lnTo>
                    <a:lnTo>
                      <a:pt x="852" y="1565"/>
                    </a:lnTo>
                    <a:lnTo>
                      <a:pt x="853" y="1562"/>
                    </a:lnTo>
                    <a:lnTo>
                      <a:pt x="856" y="1558"/>
                    </a:lnTo>
                    <a:lnTo>
                      <a:pt x="858" y="1555"/>
                    </a:lnTo>
                    <a:lnTo>
                      <a:pt x="855" y="1551"/>
                    </a:lnTo>
                    <a:lnTo>
                      <a:pt x="852" y="1549"/>
                    </a:lnTo>
                    <a:lnTo>
                      <a:pt x="848" y="1547"/>
                    </a:lnTo>
                    <a:lnTo>
                      <a:pt x="847" y="1547"/>
                    </a:lnTo>
                    <a:lnTo>
                      <a:pt x="844" y="1544"/>
                    </a:lnTo>
                    <a:lnTo>
                      <a:pt x="840" y="1543"/>
                    </a:lnTo>
                    <a:lnTo>
                      <a:pt x="837" y="1538"/>
                    </a:lnTo>
                    <a:lnTo>
                      <a:pt x="836" y="1535"/>
                    </a:lnTo>
                    <a:lnTo>
                      <a:pt x="833" y="1532"/>
                    </a:lnTo>
                    <a:lnTo>
                      <a:pt x="831" y="1528"/>
                    </a:lnTo>
                    <a:lnTo>
                      <a:pt x="828" y="1525"/>
                    </a:lnTo>
                    <a:lnTo>
                      <a:pt x="823" y="1522"/>
                    </a:lnTo>
                    <a:lnTo>
                      <a:pt x="823" y="1522"/>
                    </a:lnTo>
                    <a:lnTo>
                      <a:pt x="820" y="1520"/>
                    </a:lnTo>
                    <a:lnTo>
                      <a:pt x="817" y="1520"/>
                    </a:lnTo>
                    <a:lnTo>
                      <a:pt x="812" y="1519"/>
                    </a:lnTo>
                    <a:lnTo>
                      <a:pt x="809" y="1516"/>
                    </a:lnTo>
                    <a:lnTo>
                      <a:pt x="806" y="1513"/>
                    </a:lnTo>
                    <a:lnTo>
                      <a:pt x="802" y="1511"/>
                    </a:lnTo>
                    <a:lnTo>
                      <a:pt x="802" y="1508"/>
                    </a:lnTo>
                    <a:lnTo>
                      <a:pt x="791" y="1501"/>
                    </a:lnTo>
                    <a:lnTo>
                      <a:pt x="782" y="1495"/>
                    </a:lnTo>
                    <a:lnTo>
                      <a:pt x="777" y="1497"/>
                    </a:lnTo>
                    <a:lnTo>
                      <a:pt x="768" y="1486"/>
                    </a:lnTo>
                    <a:lnTo>
                      <a:pt x="756" y="1478"/>
                    </a:lnTo>
                    <a:lnTo>
                      <a:pt x="756" y="1481"/>
                    </a:lnTo>
                    <a:lnTo>
                      <a:pt x="753" y="1484"/>
                    </a:lnTo>
                    <a:lnTo>
                      <a:pt x="750" y="1487"/>
                    </a:lnTo>
                    <a:lnTo>
                      <a:pt x="745" y="1487"/>
                    </a:lnTo>
                    <a:lnTo>
                      <a:pt x="744" y="1482"/>
                    </a:lnTo>
                    <a:lnTo>
                      <a:pt x="744" y="1479"/>
                    </a:lnTo>
                    <a:lnTo>
                      <a:pt x="744" y="1476"/>
                    </a:lnTo>
                    <a:lnTo>
                      <a:pt x="739" y="1473"/>
                    </a:lnTo>
                    <a:lnTo>
                      <a:pt x="736" y="1470"/>
                    </a:lnTo>
                    <a:lnTo>
                      <a:pt x="734" y="1465"/>
                    </a:lnTo>
                    <a:lnTo>
                      <a:pt x="729" y="1463"/>
                    </a:lnTo>
                    <a:lnTo>
                      <a:pt x="726" y="1460"/>
                    </a:lnTo>
                    <a:lnTo>
                      <a:pt x="720" y="1454"/>
                    </a:lnTo>
                    <a:lnTo>
                      <a:pt x="710" y="1447"/>
                    </a:lnTo>
                    <a:lnTo>
                      <a:pt x="707" y="1446"/>
                    </a:lnTo>
                    <a:lnTo>
                      <a:pt x="703" y="1446"/>
                    </a:lnTo>
                    <a:lnTo>
                      <a:pt x="699" y="1449"/>
                    </a:lnTo>
                    <a:lnTo>
                      <a:pt x="698" y="1454"/>
                    </a:lnTo>
                    <a:lnTo>
                      <a:pt x="695" y="1454"/>
                    </a:lnTo>
                    <a:lnTo>
                      <a:pt x="691" y="1454"/>
                    </a:lnTo>
                    <a:lnTo>
                      <a:pt x="687" y="1454"/>
                    </a:lnTo>
                    <a:lnTo>
                      <a:pt x="685" y="1452"/>
                    </a:lnTo>
                    <a:lnTo>
                      <a:pt x="683" y="1451"/>
                    </a:lnTo>
                    <a:lnTo>
                      <a:pt x="685" y="1449"/>
                    </a:lnTo>
                    <a:lnTo>
                      <a:pt x="688" y="1446"/>
                    </a:lnTo>
                    <a:lnTo>
                      <a:pt x="691" y="1443"/>
                    </a:lnTo>
                    <a:lnTo>
                      <a:pt x="691" y="1440"/>
                    </a:lnTo>
                    <a:lnTo>
                      <a:pt x="691" y="1435"/>
                    </a:lnTo>
                    <a:lnTo>
                      <a:pt x="695" y="1433"/>
                    </a:lnTo>
                    <a:lnTo>
                      <a:pt x="698" y="1432"/>
                    </a:lnTo>
                    <a:lnTo>
                      <a:pt x="699" y="1430"/>
                    </a:lnTo>
                    <a:lnTo>
                      <a:pt x="701" y="1427"/>
                    </a:lnTo>
                    <a:lnTo>
                      <a:pt x="703" y="1424"/>
                    </a:lnTo>
                    <a:lnTo>
                      <a:pt x="706" y="1421"/>
                    </a:lnTo>
                    <a:lnTo>
                      <a:pt x="706" y="1419"/>
                    </a:lnTo>
                    <a:lnTo>
                      <a:pt x="709" y="1416"/>
                    </a:lnTo>
                    <a:lnTo>
                      <a:pt x="709" y="1411"/>
                    </a:lnTo>
                    <a:lnTo>
                      <a:pt x="710" y="1408"/>
                    </a:lnTo>
                    <a:lnTo>
                      <a:pt x="714" y="1405"/>
                    </a:lnTo>
                    <a:lnTo>
                      <a:pt x="717" y="1402"/>
                    </a:lnTo>
                    <a:lnTo>
                      <a:pt x="718" y="1398"/>
                    </a:lnTo>
                    <a:lnTo>
                      <a:pt x="718" y="1395"/>
                    </a:lnTo>
                    <a:lnTo>
                      <a:pt x="722" y="1392"/>
                    </a:lnTo>
                    <a:lnTo>
                      <a:pt x="725" y="1389"/>
                    </a:lnTo>
                    <a:lnTo>
                      <a:pt x="726" y="1384"/>
                    </a:lnTo>
                    <a:lnTo>
                      <a:pt x="726" y="1381"/>
                    </a:lnTo>
                    <a:lnTo>
                      <a:pt x="729" y="1379"/>
                    </a:lnTo>
                    <a:lnTo>
                      <a:pt x="729" y="1376"/>
                    </a:lnTo>
                    <a:lnTo>
                      <a:pt x="733" y="1376"/>
                    </a:lnTo>
                    <a:lnTo>
                      <a:pt x="736" y="1378"/>
                    </a:lnTo>
                    <a:lnTo>
                      <a:pt x="737" y="1375"/>
                    </a:lnTo>
                    <a:lnTo>
                      <a:pt x="734" y="1371"/>
                    </a:lnTo>
                    <a:lnTo>
                      <a:pt x="736" y="1368"/>
                    </a:lnTo>
                    <a:lnTo>
                      <a:pt x="737" y="1367"/>
                    </a:lnTo>
                    <a:lnTo>
                      <a:pt x="739" y="1365"/>
                    </a:lnTo>
                    <a:lnTo>
                      <a:pt x="742" y="1363"/>
                    </a:lnTo>
                    <a:lnTo>
                      <a:pt x="744" y="1363"/>
                    </a:lnTo>
                    <a:lnTo>
                      <a:pt x="747" y="1359"/>
                    </a:lnTo>
                    <a:lnTo>
                      <a:pt x="747" y="1357"/>
                    </a:lnTo>
                    <a:lnTo>
                      <a:pt x="750" y="1356"/>
                    </a:lnTo>
                    <a:lnTo>
                      <a:pt x="753" y="1356"/>
                    </a:lnTo>
                    <a:lnTo>
                      <a:pt x="758" y="1352"/>
                    </a:lnTo>
                    <a:lnTo>
                      <a:pt x="761" y="1348"/>
                    </a:lnTo>
                    <a:lnTo>
                      <a:pt x="761" y="1346"/>
                    </a:lnTo>
                    <a:lnTo>
                      <a:pt x="763" y="1344"/>
                    </a:lnTo>
                    <a:lnTo>
                      <a:pt x="771" y="1340"/>
                    </a:lnTo>
                    <a:lnTo>
                      <a:pt x="774" y="1336"/>
                    </a:lnTo>
                    <a:lnTo>
                      <a:pt x="779" y="1336"/>
                    </a:lnTo>
                    <a:lnTo>
                      <a:pt x="782" y="1335"/>
                    </a:lnTo>
                    <a:lnTo>
                      <a:pt x="783" y="1332"/>
                    </a:lnTo>
                    <a:lnTo>
                      <a:pt x="787" y="1330"/>
                    </a:lnTo>
                    <a:lnTo>
                      <a:pt x="791" y="1327"/>
                    </a:lnTo>
                    <a:lnTo>
                      <a:pt x="794" y="1327"/>
                    </a:lnTo>
                    <a:lnTo>
                      <a:pt x="794" y="1324"/>
                    </a:lnTo>
                    <a:lnTo>
                      <a:pt x="796" y="1321"/>
                    </a:lnTo>
                    <a:lnTo>
                      <a:pt x="796" y="1317"/>
                    </a:lnTo>
                    <a:lnTo>
                      <a:pt x="798" y="1314"/>
                    </a:lnTo>
                    <a:lnTo>
                      <a:pt x="796" y="1311"/>
                    </a:lnTo>
                    <a:lnTo>
                      <a:pt x="794" y="1308"/>
                    </a:lnTo>
                    <a:lnTo>
                      <a:pt x="794" y="1303"/>
                    </a:lnTo>
                    <a:lnTo>
                      <a:pt x="794" y="1297"/>
                    </a:lnTo>
                    <a:lnTo>
                      <a:pt x="794" y="1294"/>
                    </a:lnTo>
                    <a:lnTo>
                      <a:pt x="796" y="1291"/>
                    </a:lnTo>
                    <a:lnTo>
                      <a:pt x="796" y="1289"/>
                    </a:lnTo>
                    <a:lnTo>
                      <a:pt x="790" y="1279"/>
                    </a:lnTo>
                    <a:lnTo>
                      <a:pt x="785" y="1268"/>
                    </a:lnTo>
                    <a:lnTo>
                      <a:pt x="785" y="1265"/>
                    </a:lnTo>
                    <a:lnTo>
                      <a:pt x="780" y="1262"/>
                    </a:lnTo>
                    <a:lnTo>
                      <a:pt x="777" y="1260"/>
                    </a:lnTo>
                    <a:lnTo>
                      <a:pt x="774" y="1260"/>
                    </a:lnTo>
                    <a:lnTo>
                      <a:pt x="771" y="1262"/>
                    </a:lnTo>
                    <a:lnTo>
                      <a:pt x="768" y="1262"/>
                    </a:lnTo>
                    <a:lnTo>
                      <a:pt x="766" y="1265"/>
                    </a:lnTo>
                    <a:lnTo>
                      <a:pt x="761" y="1264"/>
                    </a:lnTo>
                    <a:lnTo>
                      <a:pt x="760" y="1262"/>
                    </a:lnTo>
                    <a:lnTo>
                      <a:pt x="758" y="1262"/>
                    </a:lnTo>
                    <a:lnTo>
                      <a:pt x="758" y="1259"/>
                    </a:lnTo>
                    <a:lnTo>
                      <a:pt x="758" y="1257"/>
                    </a:lnTo>
                    <a:lnTo>
                      <a:pt x="758" y="1256"/>
                    </a:lnTo>
                    <a:lnTo>
                      <a:pt x="758" y="1252"/>
                    </a:lnTo>
                    <a:lnTo>
                      <a:pt x="761" y="1245"/>
                    </a:lnTo>
                    <a:lnTo>
                      <a:pt x="761" y="1235"/>
                    </a:lnTo>
                    <a:lnTo>
                      <a:pt x="761" y="1230"/>
                    </a:lnTo>
                    <a:lnTo>
                      <a:pt x="763" y="1227"/>
                    </a:lnTo>
                    <a:lnTo>
                      <a:pt x="763" y="1224"/>
                    </a:lnTo>
                    <a:lnTo>
                      <a:pt x="763" y="1221"/>
                    </a:lnTo>
                    <a:lnTo>
                      <a:pt x="763" y="1218"/>
                    </a:lnTo>
                    <a:lnTo>
                      <a:pt x="764" y="1214"/>
                    </a:lnTo>
                    <a:lnTo>
                      <a:pt x="764" y="1210"/>
                    </a:lnTo>
                    <a:lnTo>
                      <a:pt x="761" y="1206"/>
                    </a:lnTo>
                    <a:lnTo>
                      <a:pt x="761" y="1203"/>
                    </a:lnTo>
                    <a:lnTo>
                      <a:pt x="763" y="1200"/>
                    </a:lnTo>
                    <a:lnTo>
                      <a:pt x="755" y="1192"/>
                    </a:lnTo>
                    <a:lnTo>
                      <a:pt x="750" y="1191"/>
                    </a:lnTo>
                    <a:lnTo>
                      <a:pt x="745" y="1192"/>
                    </a:lnTo>
                    <a:lnTo>
                      <a:pt x="736" y="1197"/>
                    </a:lnTo>
                    <a:lnTo>
                      <a:pt x="733" y="1197"/>
                    </a:lnTo>
                    <a:lnTo>
                      <a:pt x="729" y="1197"/>
                    </a:lnTo>
                    <a:lnTo>
                      <a:pt x="725" y="1197"/>
                    </a:lnTo>
                    <a:lnTo>
                      <a:pt x="722" y="1195"/>
                    </a:lnTo>
                    <a:lnTo>
                      <a:pt x="722" y="1192"/>
                    </a:lnTo>
                    <a:lnTo>
                      <a:pt x="718" y="1183"/>
                    </a:lnTo>
                    <a:lnTo>
                      <a:pt x="717" y="1173"/>
                    </a:lnTo>
                    <a:lnTo>
                      <a:pt x="715" y="1170"/>
                    </a:lnTo>
                    <a:lnTo>
                      <a:pt x="715" y="1167"/>
                    </a:lnTo>
                    <a:lnTo>
                      <a:pt x="715" y="1165"/>
                    </a:lnTo>
                    <a:lnTo>
                      <a:pt x="712" y="1162"/>
                    </a:lnTo>
                    <a:lnTo>
                      <a:pt x="712" y="1159"/>
                    </a:lnTo>
                    <a:lnTo>
                      <a:pt x="710" y="1154"/>
                    </a:lnTo>
                    <a:lnTo>
                      <a:pt x="709" y="1151"/>
                    </a:lnTo>
                    <a:lnTo>
                      <a:pt x="709" y="1148"/>
                    </a:lnTo>
                    <a:lnTo>
                      <a:pt x="709" y="1145"/>
                    </a:lnTo>
                    <a:lnTo>
                      <a:pt x="707" y="1140"/>
                    </a:lnTo>
                    <a:lnTo>
                      <a:pt x="704" y="1138"/>
                    </a:lnTo>
                    <a:lnTo>
                      <a:pt x="704" y="1134"/>
                    </a:lnTo>
                    <a:lnTo>
                      <a:pt x="703" y="1130"/>
                    </a:lnTo>
                    <a:lnTo>
                      <a:pt x="699" y="1129"/>
                    </a:lnTo>
                    <a:lnTo>
                      <a:pt x="696" y="1127"/>
                    </a:lnTo>
                    <a:lnTo>
                      <a:pt x="691" y="1127"/>
                    </a:lnTo>
                    <a:lnTo>
                      <a:pt x="688" y="1127"/>
                    </a:lnTo>
                    <a:lnTo>
                      <a:pt x="685" y="1126"/>
                    </a:lnTo>
                    <a:lnTo>
                      <a:pt x="682" y="1122"/>
                    </a:lnTo>
                    <a:lnTo>
                      <a:pt x="679" y="1119"/>
                    </a:lnTo>
                    <a:lnTo>
                      <a:pt x="676" y="1119"/>
                    </a:lnTo>
                    <a:lnTo>
                      <a:pt x="672" y="1124"/>
                    </a:lnTo>
                    <a:lnTo>
                      <a:pt x="671" y="1126"/>
                    </a:lnTo>
                    <a:lnTo>
                      <a:pt x="669" y="1126"/>
                    </a:lnTo>
                    <a:lnTo>
                      <a:pt x="664" y="1127"/>
                    </a:lnTo>
                    <a:lnTo>
                      <a:pt x="661" y="1126"/>
                    </a:lnTo>
                    <a:lnTo>
                      <a:pt x="658" y="1126"/>
                    </a:lnTo>
                    <a:lnTo>
                      <a:pt x="655" y="1126"/>
                    </a:lnTo>
                    <a:lnTo>
                      <a:pt x="652" y="1124"/>
                    </a:lnTo>
                    <a:lnTo>
                      <a:pt x="647" y="1124"/>
                    </a:lnTo>
                    <a:lnTo>
                      <a:pt x="644" y="1124"/>
                    </a:lnTo>
                    <a:lnTo>
                      <a:pt x="641" y="1122"/>
                    </a:lnTo>
                    <a:lnTo>
                      <a:pt x="639" y="1122"/>
                    </a:lnTo>
                    <a:lnTo>
                      <a:pt x="634" y="1121"/>
                    </a:lnTo>
                    <a:lnTo>
                      <a:pt x="631" y="1119"/>
                    </a:lnTo>
                    <a:lnTo>
                      <a:pt x="628" y="1121"/>
                    </a:lnTo>
                    <a:lnTo>
                      <a:pt x="625" y="1121"/>
                    </a:lnTo>
                    <a:lnTo>
                      <a:pt x="623" y="1119"/>
                    </a:lnTo>
                    <a:lnTo>
                      <a:pt x="623" y="1116"/>
                    </a:lnTo>
                    <a:lnTo>
                      <a:pt x="623" y="1111"/>
                    </a:lnTo>
                    <a:lnTo>
                      <a:pt x="623" y="1108"/>
                    </a:lnTo>
                    <a:lnTo>
                      <a:pt x="623" y="1107"/>
                    </a:lnTo>
                    <a:lnTo>
                      <a:pt x="625" y="1103"/>
                    </a:lnTo>
                    <a:lnTo>
                      <a:pt x="623" y="1102"/>
                    </a:lnTo>
                    <a:lnTo>
                      <a:pt x="623" y="1099"/>
                    </a:lnTo>
                    <a:lnTo>
                      <a:pt x="623" y="1097"/>
                    </a:lnTo>
                    <a:lnTo>
                      <a:pt x="622" y="1094"/>
                    </a:lnTo>
                    <a:lnTo>
                      <a:pt x="623" y="1091"/>
                    </a:lnTo>
                    <a:lnTo>
                      <a:pt x="623" y="1088"/>
                    </a:lnTo>
                    <a:lnTo>
                      <a:pt x="623" y="1084"/>
                    </a:lnTo>
                    <a:lnTo>
                      <a:pt x="623" y="1080"/>
                    </a:lnTo>
                    <a:lnTo>
                      <a:pt x="623" y="1076"/>
                    </a:lnTo>
                    <a:lnTo>
                      <a:pt x="623" y="1073"/>
                    </a:lnTo>
                    <a:lnTo>
                      <a:pt x="620" y="1070"/>
                    </a:lnTo>
                    <a:lnTo>
                      <a:pt x="618" y="1067"/>
                    </a:lnTo>
                    <a:lnTo>
                      <a:pt x="620" y="1062"/>
                    </a:lnTo>
                    <a:lnTo>
                      <a:pt x="617" y="1062"/>
                    </a:lnTo>
                    <a:lnTo>
                      <a:pt x="612" y="1048"/>
                    </a:lnTo>
                    <a:lnTo>
                      <a:pt x="609" y="1040"/>
                    </a:lnTo>
                    <a:lnTo>
                      <a:pt x="611" y="1038"/>
                    </a:lnTo>
                    <a:lnTo>
                      <a:pt x="614" y="1035"/>
                    </a:lnTo>
                    <a:lnTo>
                      <a:pt x="618" y="1034"/>
                    </a:lnTo>
                    <a:lnTo>
                      <a:pt x="618" y="1032"/>
                    </a:lnTo>
                    <a:lnTo>
                      <a:pt x="612" y="1027"/>
                    </a:lnTo>
                    <a:lnTo>
                      <a:pt x="609" y="1024"/>
                    </a:lnTo>
                    <a:lnTo>
                      <a:pt x="609" y="1021"/>
                    </a:lnTo>
                    <a:lnTo>
                      <a:pt x="611" y="1015"/>
                    </a:lnTo>
                    <a:lnTo>
                      <a:pt x="612" y="1011"/>
                    </a:lnTo>
                    <a:lnTo>
                      <a:pt x="612" y="1008"/>
                    </a:lnTo>
                    <a:lnTo>
                      <a:pt x="614" y="1003"/>
                    </a:lnTo>
                    <a:lnTo>
                      <a:pt x="615" y="1000"/>
                    </a:lnTo>
                    <a:lnTo>
                      <a:pt x="617" y="997"/>
                    </a:lnTo>
                    <a:lnTo>
                      <a:pt x="620" y="994"/>
                    </a:lnTo>
                    <a:lnTo>
                      <a:pt x="618" y="992"/>
                    </a:lnTo>
                    <a:lnTo>
                      <a:pt x="618" y="989"/>
                    </a:lnTo>
                    <a:lnTo>
                      <a:pt x="617" y="989"/>
                    </a:lnTo>
                    <a:lnTo>
                      <a:pt x="620" y="973"/>
                    </a:lnTo>
                    <a:lnTo>
                      <a:pt x="623" y="961"/>
                    </a:lnTo>
                    <a:lnTo>
                      <a:pt x="622" y="957"/>
                    </a:lnTo>
                    <a:lnTo>
                      <a:pt x="620" y="954"/>
                    </a:lnTo>
                    <a:lnTo>
                      <a:pt x="618" y="953"/>
                    </a:lnTo>
                    <a:lnTo>
                      <a:pt x="615" y="948"/>
                    </a:lnTo>
                    <a:lnTo>
                      <a:pt x="615" y="945"/>
                    </a:lnTo>
                    <a:lnTo>
                      <a:pt x="614" y="940"/>
                    </a:lnTo>
                    <a:lnTo>
                      <a:pt x="614" y="940"/>
                    </a:lnTo>
                    <a:lnTo>
                      <a:pt x="612" y="937"/>
                    </a:lnTo>
                    <a:lnTo>
                      <a:pt x="612" y="935"/>
                    </a:lnTo>
                    <a:lnTo>
                      <a:pt x="611" y="934"/>
                    </a:lnTo>
                    <a:lnTo>
                      <a:pt x="607" y="931"/>
                    </a:lnTo>
                    <a:lnTo>
                      <a:pt x="607" y="931"/>
                    </a:lnTo>
                    <a:lnTo>
                      <a:pt x="603" y="932"/>
                    </a:lnTo>
                    <a:lnTo>
                      <a:pt x="601" y="931"/>
                    </a:lnTo>
                    <a:lnTo>
                      <a:pt x="598" y="927"/>
                    </a:lnTo>
                    <a:lnTo>
                      <a:pt x="595" y="926"/>
                    </a:lnTo>
                    <a:lnTo>
                      <a:pt x="591" y="923"/>
                    </a:lnTo>
                    <a:lnTo>
                      <a:pt x="587" y="919"/>
                    </a:lnTo>
                    <a:lnTo>
                      <a:pt x="587" y="916"/>
                    </a:lnTo>
                    <a:lnTo>
                      <a:pt x="585" y="911"/>
                    </a:lnTo>
                    <a:lnTo>
                      <a:pt x="584" y="899"/>
                    </a:lnTo>
                    <a:lnTo>
                      <a:pt x="584" y="896"/>
                    </a:lnTo>
                    <a:lnTo>
                      <a:pt x="587" y="891"/>
                    </a:lnTo>
                    <a:lnTo>
                      <a:pt x="587" y="883"/>
                    </a:lnTo>
                    <a:lnTo>
                      <a:pt x="576" y="883"/>
                    </a:lnTo>
                    <a:lnTo>
                      <a:pt x="563" y="883"/>
                    </a:lnTo>
                    <a:lnTo>
                      <a:pt x="563" y="883"/>
                    </a:lnTo>
                    <a:lnTo>
                      <a:pt x="544" y="881"/>
                    </a:lnTo>
                    <a:lnTo>
                      <a:pt x="525" y="881"/>
                    </a:lnTo>
                    <a:lnTo>
                      <a:pt x="520" y="878"/>
                    </a:lnTo>
                    <a:lnTo>
                      <a:pt x="520" y="875"/>
                    </a:lnTo>
                    <a:lnTo>
                      <a:pt x="520" y="870"/>
                    </a:lnTo>
                    <a:lnTo>
                      <a:pt x="519" y="867"/>
                    </a:lnTo>
                    <a:lnTo>
                      <a:pt x="519" y="862"/>
                    </a:lnTo>
                    <a:lnTo>
                      <a:pt x="517" y="859"/>
                    </a:lnTo>
                    <a:lnTo>
                      <a:pt x="511" y="843"/>
                    </a:lnTo>
                    <a:lnTo>
                      <a:pt x="504" y="834"/>
                    </a:lnTo>
                    <a:lnTo>
                      <a:pt x="509" y="832"/>
                    </a:lnTo>
                    <a:lnTo>
                      <a:pt x="514" y="832"/>
                    </a:lnTo>
                    <a:lnTo>
                      <a:pt x="512" y="829"/>
                    </a:lnTo>
                    <a:lnTo>
                      <a:pt x="512" y="826"/>
                    </a:lnTo>
                    <a:lnTo>
                      <a:pt x="512" y="820"/>
                    </a:lnTo>
                    <a:lnTo>
                      <a:pt x="511" y="815"/>
                    </a:lnTo>
                    <a:lnTo>
                      <a:pt x="509" y="810"/>
                    </a:lnTo>
                    <a:lnTo>
                      <a:pt x="509" y="810"/>
                    </a:lnTo>
                    <a:lnTo>
                      <a:pt x="507" y="805"/>
                    </a:lnTo>
                    <a:lnTo>
                      <a:pt x="506" y="802"/>
                    </a:lnTo>
                    <a:lnTo>
                      <a:pt x="504" y="799"/>
                    </a:lnTo>
                    <a:lnTo>
                      <a:pt x="503" y="796"/>
                    </a:lnTo>
                    <a:lnTo>
                      <a:pt x="503" y="791"/>
                    </a:lnTo>
                    <a:lnTo>
                      <a:pt x="506" y="788"/>
                    </a:lnTo>
                    <a:lnTo>
                      <a:pt x="504" y="786"/>
                    </a:lnTo>
                    <a:lnTo>
                      <a:pt x="503" y="781"/>
                    </a:lnTo>
                    <a:lnTo>
                      <a:pt x="498" y="780"/>
                    </a:lnTo>
                    <a:lnTo>
                      <a:pt x="495" y="778"/>
                    </a:lnTo>
                    <a:lnTo>
                      <a:pt x="492" y="775"/>
                    </a:lnTo>
                    <a:lnTo>
                      <a:pt x="488" y="774"/>
                    </a:lnTo>
                    <a:lnTo>
                      <a:pt x="485" y="772"/>
                    </a:lnTo>
                    <a:lnTo>
                      <a:pt x="482" y="769"/>
                    </a:lnTo>
                    <a:lnTo>
                      <a:pt x="479" y="767"/>
                    </a:lnTo>
                    <a:lnTo>
                      <a:pt x="474" y="769"/>
                    </a:lnTo>
                    <a:lnTo>
                      <a:pt x="471" y="767"/>
                    </a:lnTo>
                    <a:lnTo>
                      <a:pt x="468" y="769"/>
                    </a:lnTo>
                    <a:lnTo>
                      <a:pt x="465" y="770"/>
                    </a:lnTo>
                    <a:lnTo>
                      <a:pt x="461" y="769"/>
                    </a:lnTo>
                    <a:lnTo>
                      <a:pt x="460" y="769"/>
                    </a:lnTo>
                    <a:lnTo>
                      <a:pt x="457" y="769"/>
                    </a:lnTo>
                    <a:lnTo>
                      <a:pt x="454" y="769"/>
                    </a:lnTo>
                    <a:lnTo>
                      <a:pt x="446" y="761"/>
                    </a:lnTo>
                    <a:lnTo>
                      <a:pt x="438" y="753"/>
                    </a:lnTo>
                    <a:lnTo>
                      <a:pt x="434" y="753"/>
                    </a:lnTo>
                    <a:lnTo>
                      <a:pt x="431" y="753"/>
                    </a:lnTo>
                    <a:lnTo>
                      <a:pt x="428" y="750"/>
                    </a:lnTo>
                    <a:lnTo>
                      <a:pt x="423" y="750"/>
                    </a:lnTo>
                    <a:lnTo>
                      <a:pt x="420" y="747"/>
                    </a:lnTo>
                    <a:lnTo>
                      <a:pt x="417" y="748"/>
                    </a:lnTo>
                    <a:lnTo>
                      <a:pt x="414" y="745"/>
                    </a:lnTo>
                    <a:lnTo>
                      <a:pt x="411" y="742"/>
                    </a:lnTo>
                    <a:lnTo>
                      <a:pt x="408" y="739"/>
                    </a:lnTo>
                    <a:lnTo>
                      <a:pt x="406" y="735"/>
                    </a:lnTo>
                    <a:lnTo>
                      <a:pt x="403" y="732"/>
                    </a:lnTo>
                    <a:lnTo>
                      <a:pt x="403" y="732"/>
                    </a:lnTo>
                    <a:lnTo>
                      <a:pt x="400" y="735"/>
                    </a:lnTo>
                    <a:lnTo>
                      <a:pt x="396" y="735"/>
                    </a:lnTo>
                    <a:lnTo>
                      <a:pt x="392" y="732"/>
                    </a:lnTo>
                    <a:lnTo>
                      <a:pt x="388" y="729"/>
                    </a:lnTo>
                    <a:lnTo>
                      <a:pt x="385" y="728"/>
                    </a:lnTo>
                    <a:lnTo>
                      <a:pt x="382" y="726"/>
                    </a:lnTo>
                    <a:lnTo>
                      <a:pt x="379" y="726"/>
                    </a:lnTo>
                    <a:lnTo>
                      <a:pt x="374" y="729"/>
                    </a:lnTo>
                    <a:lnTo>
                      <a:pt x="371" y="729"/>
                    </a:lnTo>
                    <a:lnTo>
                      <a:pt x="368" y="728"/>
                    </a:lnTo>
                    <a:lnTo>
                      <a:pt x="365" y="726"/>
                    </a:lnTo>
                    <a:lnTo>
                      <a:pt x="362" y="726"/>
                    </a:lnTo>
                    <a:lnTo>
                      <a:pt x="360" y="726"/>
                    </a:lnTo>
                    <a:lnTo>
                      <a:pt x="357" y="724"/>
                    </a:lnTo>
                    <a:lnTo>
                      <a:pt x="355" y="723"/>
                    </a:lnTo>
                    <a:lnTo>
                      <a:pt x="354" y="720"/>
                    </a:lnTo>
                    <a:lnTo>
                      <a:pt x="354" y="716"/>
                    </a:lnTo>
                    <a:lnTo>
                      <a:pt x="350" y="715"/>
                    </a:lnTo>
                    <a:lnTo>
                      <a:pt x="347" y="715"/>
                    </a:lnTo>
                    <a:lnTo>
                      <a:pt x="344" y="712"/>
                    </a:lnTo>
                    <a:lnTo>
                      <a:pt x="341" y="707"/>
                    </a:lnTo>
                    <a:lnTo>
                      <a:pt x="338" y="707"/>
                    </a:lnTo>
                    <a:lnTo>
                      <a:pt x="335" y="707"/>
                    </a:lnTo>
                    <a:lnTo>
                      <a:pt x="335" y="704"/>
                    </a:lnTo>
                    <a:lnTo>
                      <a:pt x="335" y="702"/>
                    </a:lnTo>
                    <a:lnTo>
                      <a:pt x="335" y="702"/>
                    </a:lnTo>
                    <a:lnTo>
                      <a:pt x="333" y="699"/>
                    </a:lnTo>
                    <a:lnTo>
                      <a:pt x="330" y="696"/>
                    </a:lnTo>
                    <a:lnTo>
                      <a:pt x="325" y="694"/>
                    </a:lnTo>
                    <a:lnTo>
                      <a:pt x="327" y="691"/>
                    </a:lnTo>
                    <a:lnTo>
                      <a:pt x="325" y="688"/>
                    </a:lnTo>
                    <a:lnTo>
                      <a:pt x="322" y="686"/>
                    </a:lnTo>
                    <a:lnTo>
                      <a:pt x="320" y="683"/>
                    </a:lnTo>
                    <a:lnTo>
                      <a:pt x="320" y="678"/>
                    </a:lnTo>
                    <a:lnTo>
                      <a:pt x="319" y="675"/>
                    </a:lnTo>
                    <a:lnTo>
                      <a:pt x="317" y="672"/>
                    </a:lnTo>
                    <a:lnTo>
                      <a:pt x="319" y="669"/>
                    </a:lnTo>
                    <a:lnTo>
                      <a:pt x="320" y="666"/>
                    </a:lnTo>
                    <a:lnTo>
                      <a:pt x="320" y="661"/>
                    </a:lnTo>
                    <a:lnTo>
                      <a:pt x="320" y="659"/>
                    </a:lnTo>
                    <a:lnTo>
                      <a:pt x="316" y="658"/>
                    </a:lnTo>
                    <a:lnTo>
                      <a:pt x="317" y="655"/>
                    </a:lnTo>
                    <a:lnTo>
                      <a:pt x="316" y="650"/>
                    </a:lnTo>
                    <a:lnTo>
                      <a:pt x="316" y="647"/>
                    </a:lnTo>
                    <a:lnTo>
                      <a:pt x="314" y="645"/>
                    </a:lnTo>
                    <a:lnTo>
                      <a:pt x="316" y="640"/>
                    </a:lnTo>
                    <a:lnTo>
                      <a:pt x="317" y="639"/>
                    </a:lnTo>
                    <a:lnTo>
                      <a:pt x="319" y="636"/>
                    </a:lnTo>
                    <a:lnTo>
                      <a:pt x="319" y="632"/>
                    </a:lnTo>
                    <a:lnTo>
                      <a:pt x="319" y="628"/>
                    </a:lnTo>
                    <a:lnTo>
                      <a:pt x="317" y="624"/>
                    </a:lnTo>
                    <a:lnTo>
                      <a:pt x="317" y="621"/>
                    </a:lnTo>
                    <a:lnTo>
                      <a:pt x="319" y="618"/>
                    </a:lnTo>
                    <a:lnTo>
                      <a:pt x="316" y="615"/>
                    </a:lnTo>
                    <a:lnTo>
                      <a:pt x="312" y="612"/>
                    </a:lnTo>
                    <a:lnTo>
                      <a:pt x="311" y="615"/>
                    </a:lnTo>
                    <a:lnTo>
                      <a:pt x="309" y="618"/>
                    </a:lnTo>
                    <a:lnTo>
                      <a:pt x="304" y="617"/>
                    </a:lnTo>
                    <a:lnTo>
                      <a:pt x="301" y="615"/>
                    </a:lnTo>
                    <a:lnTo>
                      <a:pt x="298" y="615"/>
                    </a:lnTo>
                    <a:lnTo>
                      <a:pt x="295" y="615"/>
                    </a:lnTo>
                    <a:lnTo>
                      <a:pt x="292" y="617"/>
                    </a:lnTo>
                    <a:lnTo>
                      <a:pt x="287" y="617"/>
                    </a:lnTo>
                    <a:lnTo>
                      <a:pt x="284" y="618"/>
                    </a:lnTo>
                    <a:lnTo>
                      <a:pt x="281" y="618"/>
                    </a:lnTo>
                    <a:lnTo>
                      <a:pt x="277" y="620"/>
                    </a:lnTo>
                    <a:lnTo>
                      <a:pt x="273" y="620"/>
                    </a:lnTo>
                    <a:lnTo>
                      <a:pt x="270" y="621"/>
                    </a:lnTo>
                    <a:lnTo>
                      <a:pt x="270" y="623"/>
                    </a:lnTo>
                    <a:lnTo>
                      <a:pt x="265" y="624"/>
                    </a:lnTo>
                    <a:lnTo>
                      <a:pt x="265" y="626"/>
                    </a:lnTo>
                    <a:lnTo>
                      <a:pt x="262" y="629"/>
                    </a:lnTo>
                    <a:lnTo>
                      <a:pt x="255" y="636"/>
                    </a:lnTo>
                    <a:lnTo>
                      <a:pt x="252" y="637"/>
                    </a:lnTo>
                    <a:lnTo>
                      <a:pt x="251" y="637"/>
                    </a:lnTo>
                    <a:lnTo>
                      <a:pt x="246" y="640"/>
                    </a:lnTo>
                    <a:lnTo>
                      <a:pt x="243" y="640"/>
                    </a:lnTo>
                    <a:lnTo>
                      <a:pt x="239" y="644"/>
                    </a:lnTo>
                    <a:lnTo>
                      <a:pt x="236" y="647"/>
                    </a:lnTo>
                    <a:lnTo>
                      <a:pt x="235" y="650"/>
                    </a:lnTo>
                    <a:lnTo>
                      <a:pt x="233" y="653"/>
                    </a:lnTo>
                    <a:lnTo>
                      <a:pt x="233" y="653"/>
                    </a:lnTo>
                    <a:lnTo>
                      <a:pt x="230" y="651"/>
                    </a:lnTo>
                    <a:lnTo>
                      <a:pt x="225" y="651"/>
                    </a:lnTo>
                    <a:lnTo>
                      <a:pt x="222" y="651"/>
                    </a:lnTo>
                    <a:lnTo>
                      <a:pt x="219" y="655"/>
                    </a:lnTo>
                    <a:lnTo>
                      <a:pt x="217" y="658"/>
                    </a:lnTo>
                    <a:lnTo>
                      <a:pt x="216" y="661"/>
                    </a:lnTo>
                    <a:lnTo>
                      <a:pt x="212" y="666"/>
                    </a:lnTo>
                    <a:lnTo>
                      <a:pt x="209" y="666"/>
                    </a:lnTo>
                    <a:lnTo>
                      <a:pt x="206" y="667"/>
                    </a:lnTo>
                    <a:lnTo>
                      <a:pt x="203" y="670"/>
                    </a:lnTo>
                    <a:lnTo>
                      <a:pt x="200" y="670"/>
                    </a:lnTo>
                    <a:lnTo>
                      <a:pt x="197" y="669"/>
                    </a:lnTo>
                    <a:lnTo>
                      <a:pt x="197" y="666"/>
                    </a:lnTo>
                    <a:lnTo>
                      <a:pt x="195" y="666"/>
                    </a:lnTo>
                    <a:lnTo>
                      <a:pt x="192" y="666"/>
                    </a:lnTo>
                    <a:lnTo>
                      <a:pt x="189" y="666"/>
                    </a:lnTo>
                    <a:lnTo>
                      <a:pt x="185" y="664"/>
                    </a:lnTo>
                    <a:lnTo>
                      <a:pt x="181" y="664"/>
                    </a:lnTo>
                    <a:lnTo>
                      <a:pt x="178" y="664"/>
                    </a:lnTo>
                    <a:lnTo>
                      <a:pt x="174" y="663"/>
                    </a:lnTo>
                    <a:lnTo>
                      <a:pt x="171" y="664"/>
                    </a:lnTo>
                    <a:lnTo>
                      <a:pt x="166" y="664"/>
                    </a:lnTo>
                    <a:lnTo>
                      <a:pt x="165" y="664"/>
                    </a:lnTo>
                    <a:lnTo>
                      <a:pt x="162" y="664"/>
                    </a:lnTo>
                    <a:lnTo>
                      <a:pt x="159" y="663"/>
                    </a:lnTo>
                    <a:lnTo>
                      <a:pt x="155" y="663"/>
                    </a:lnTo>
                    <a:lnTo>
                      <a:pt x="152" y="664"/>
                    </a:lnTo>
                    <a:lnTo>
                      <a:pt x="151" y="664"/>
                    </a:lnTo>
                    <a:lnTo>
                      <a:pt x="144" y="667"/>
                    </a:lnTo>
                    <a:lnTo>
                      <a:pt x="141" y="669"/>
                    </a:lnTo>
                    <a:lnTo>
                      <a:pt x="136" y="667"/>
                    </a:lnTo>
                    <a:lnTo>
                      <a:pt x="133" y="663"/>
                    </a:lnTo>
                    <a:lnTo>
                      <a:pt x="128" y="664"/>
                    </a:lnTo>
                    <a:lnTo>
                      <a:pt x="128" y="651"/>
                    </a:lnTo>
                    <a:lnTo>
                      <a:pt x="127" y="639"/>
                    </a:lnTo>
                    <a:lnTo>
                      <a:pt x="127" y="636"/>
                    </a:lnTo>
                    <a:lnTo>
                      <a:pt x="127" y="632"/>
                    </a:lnTo>
                    <a:lnTo>
                      <a:pt x="127" y="628"/>
                    </a:lnTo>
                    <a:lnTo>
                      <a:pt x="127" y="624"/>
                    </a:lnTo>
                    <a:lnTo>
                      <a:pt x="127" y="623"/>
                    </a:lnTo>
                    <a:lnTo>
                      <a:pt x="127" y="617"/>
                    </a:lnTo>
                    <a:lnTo>
                      <a:pt x="130" y="613"/>
                    </a:lnTo>
                    <a:lnTo>
                      <a:pt x="125" y="607"/>
                    </a:lnTo>
                    <a:lnTo>
                      <a:pt x="128" y="605"/>
                    </a:lnTo>
                    <a:lnTo>
                      <a:pt x="130" y="601"/>
                    </a:lnTo>
                    <a:lnTo>
                      <a:pt x="127" y="602"/>
                    </a:lnTo>
                    <a:lnTo>
                      <a:pt x="124" y="605"/>
                    </a:lnTo>
                    <a:lnTo>
                      <a:pt x="120" y="609"/>
                    </a:lnTo>
                    <a:lnTo>
                      <a:pt x="117" y="610"/>
                    </a:lnTo>
                    <a:lnTo>
                      <a:pt x="114" y="615"/>
                    </a:lnTo>
                    <a:lnTo>
                      <a:pt x="111" y="618"/>
                    </a:lnTo>
                    <a:lnTo>
                      <a:pt x="108" y="621"/>
                    </a:lnTo>
                    <a:lnTo>
                      <a:pt x="103" y="623"/>
                    </a:lnTo>
                    <a:lnTo>
                      <a:pt x="100" y="624"/>
                    </a:lnTo>
                    <a:lnTo>
                      <a:pt x="86" y="624"/>
                    </a:lnTo>
                    <a:lnTo>
                      <a:pt x="71" y="624"/>
                    </a:lnTo>
                    <a:lnTo>
                      <a:pt x="71" y="623"/>
                    </a:lnTo>
                    <a:lnTo>
                      <a:pt x="71" y="618"/>
                    </a:lnTo>
                    <a:lnTo>
                      <a:pt x="68" y="615"/>
                    </a:lnTo>
                    <a:lnTo>
                      <a:pt x="68" y="612"/>
                    </a:lnTo>
                    <a:lnTo>
                      <a:pt x="67" y="609"/>
                    </a:lnTo>
                    <a:lnTo>
                      <a:pt x="63" y="605"/>
                    </a:lnTo>
                    <a:lnTo>
                      <a:pt x="60" y="604"/>
                    </a:lnTo>
                    <a:lnTo>
                      <a:pt x="57" y="604"/>
                    </a:lnTo>
                    <a:lnTo>
                      <a:pt x="54" y="602"/>
                    </a:lnTo>
                    <a:lnTo>
                      <a:pt x="49" y="601"/>
                    </a:lnTo>
                    <a:lnTo>
                      <a:pt x="47" y="601"/>
                    </a:lnTo>
                    <a:lnTo>
                      <a:pt x="44" y="601"/>
                    </a:lnTo>
                    <a:lnTo>
                      <a:pt x="36" y="601"/>
                    </a:lnTo>
                    <a:lnTo>
                      <a:pt x="33" y="599"/>
                    </a:lnTo>
                    <a:lnTo>
                      <a:pt x="36" y="596"/>
                    </a:lnTo>
                    <a:lnTo>
                      <a:pt x="40" y="593"/>
                    </a:lnTo>
                    <a:lnTo>
                      <a:pt x="41" y="588"/>
                    </a:lnTo>
                    <a:lnTo>
                      <a:pt x="41" y="585"/>
                    </a:lnTo>
                    <a:lnTo>
                      <a:pt x="40" y="582"/>
                    </a:lnTo>
                    <a:lnTo>
                      <a:pt x="36" y="578"/>
                    </a:lnTo>
                    <a:lnTo>
                      <a:pt x="32" y="571"/>
                    </a:lnTo>
                    <a:lnTo>
                      <a:pt x="27" y="569"/>
                    </a:lnTo>
                    <a:lnTo>
                      <a:pt x="25" y="566"/>
                    </a:lnTo>
                    <a:lnTo>
                      <a:pt x="25" y="563"/>
                    </a:lnTo>
                    <a:lnTo>
                      <a:pt x="22" y="559"/>
                    </a:lnTo>
                    <a:lnTo>
                      <a:pt x="17" y="556"/>
                    </a:lnTo>
                    <a:lnTo>
                      <a:pt x="17" y="553"/>
                    </a:lnTo>
                    <a:lnTo>
                      <a:pt x="16" y="550"/>
                    </a:lnTo>
                    <a:lnTo>
                      <a:pt x="14" y="547"/>
                    </a:lnTo>
                    <a:lnTo>
                      <a:pt x="13" y="544"/>
                    </a:lnTo>
                    <a:lnTo>
                      <a:pt x="8" y="540"/>
                    </a:lnTo>
                    <a:lnTo>
                      <a:pt x="11" y="536"/>
                    </a:lnTo>
                    <a:lnTo>
                      <a:pt x="9" y="532"/>
                    </a:lnTo>
                    <a:lnTo>
                      <a:pt x="6" y="531"/>
                    </a:lnTo>
                    <a:lnTo>
                      <a:pt x="3" y="526"/>
                    </a:lnTo>
                    <a:lnTo>
                      <a:pt x="0" y="52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sp>
          <p:nvSpPr>
            <p:cNvPr id="382" name="Freeform 761"/>
            <p:cNvSpPr>
              <a:spLocks/>
            </p:cNvSpPr>
            <p:nvPr/>
          </p:nvSpPr>
          <p:spPr bwMode="auto">
            <a:xfrm>
              <a:off x="3210899" y="4830628"/>
              <a:ext cx="349946" cy="634660"/>
            </a:xfrm>
            <a:custGeom>
              <a:avLst/>
              <a:gdLst>
                <a:gd name="T0" fmla="*/ 19 w 478"/>
                <a:gd name="T1" fmla="*/ 151 h 748"/>
                <a:gd name="T2" fmla="*/ 40 w 478"/>
                <a:gd name="T3" fmla="*/ 149 h 748"/>
                <a:gd name="T4" fmla="*/ 34 w 478"/>
                <a:gd name="T5" fmla="*/ 182 h 748"/>
                <a:gd name="T6" fmla="*/ 67 w 478"/>
                <a:gd name="T7" fmla="*/ 185 h 748"/>
                <a:gd name="T8" fmla="*/ 83 w 478"/>
                <a:gd name="T9" fmla="*/ 203 h 748"/>
                <a:gd name="T10" fmla="*/ 97 w 478"/>
                <a:gd name="T11" fmla="*/ 178 h 748"/>
                <a:gd name="T12" fmla="*/ 107 w 478"/>
                <a:gd name="T13" fmla="*/ 141 h 748"/>
                <a:gd name="T14" fmla="*/ 134 w 478"/>
                <a:gd name="T15" fmla="*/ 117 h 748"/>
                <a:gd name="T16" fmla="*/ 200 w 478"/>
                <a:gd name="T17" fmla="*/ 67 h 748"/>
                <a:gd name="T18" fmla="*/ 216 w 478"/>
                <a:gd name="T19" fmla="*/ 32 h 748"/>
                <a:gd name="T20" fmla="*/ 203 w 478"/>
                <a:gd name="T21" fmla="*/ 3 h 748"/>
                <a:gd name="T22" fmla="*/ 235 w 478"/>
                <a:gd name="T23" fmla="*/ 11 h 748"/>
                <a:gd name="T24" fmla="*/ 252 w 478"/>
                <a:gd name="T25" fmla="*/ 41 h 748"/>
                <a:gd name="T26" fmla="*/ 281 w 478"/>
                <a:gd name="T27" fmla="*/ 62 h 748"/>
                <a:gd name="T28" fmla="*/ 302 w 478"/>
                <a:gd name="T29" fmla="*/ 100 h 748"/>
                <a:gd name="T30" fmla="*/ 337 w 478"/>
                <a:gd name="T31" fmla="*/ 97 h 748"/>
                <a:gd name="T32" fmla="*/ 368 w 478"/>
                <a:gd name="T33" fmla="*/ 93 h 748"/>
                <a:gd name="T34" fmla="*/ 402 w 478"/>
                <a:gd name="T35" fmla="*/ 108 h 748"/>
                <a:gd name="T36" fmla="*/ 384 w 478"/>
                <a:gd name="T37" fmla="*/ 154 h 748"/>
                <a:gd name="T38" fmla="*/ 409 w 478"/>
                <a:gd name="T39" fmla="*/ 174 h 748"/>
                <a:gd name="T40" fmla="*/ 386 w 478"/>
                <a:gd name="T41" fmla="*/ 166 h 748"/>
                <a:gd name="T42" fmla="*/ 338 w 478"/>
                <a:gd name="T43" fmla="*/ 185 h 748"/>
                <a:gd name="T44" fmla="*/ 305 w 478"/>
                <a:gd name="T45" fmla="*/ 209 h 748"/>
                <a:gd name="T46" fmla="*/ 300 w 478"/>
                <a:gd name="T47" fmla="*/ 238 h 748"/>
                <a:gd name="T48" fmla="*/ 294 w 478"/>
                <a:gd name="T49" fmla="*/ 268 h 748"/>
                <a:gd name="T50" fmla="*/ 273 w 478"/>
                <a:gd name="T51" fmla="*/ 300 h 748"/>
                <a:gd name="T52" fmla="*/ 286 w 478"/>
                <a:gd name="T53" fmla="*/ 333 h 748"/>
                <a:gd name="T54" fmla="*/ 311 w 478"/>
                <a:gd name="T55" fmla="*/ 371 h 748"/>
                <a:gd name="T56" fmla="*/ 330 w 478"/>
                <a:gd name="T57" fmla="*/ 387 h 748"/>
                <a:gd name="T58" fmla="*/ 373 w 478"/>
                <a:gd name="T59" fmla="*/ 406 h 748"/>
                <a:gd name="T60" fmla="*/ 395 w 478"/>
                <a:gd name="T61" fmla="*/ 390 h 748"/>
                <a:gd name="T62" fmla="*/ 403 w 478"/>
                <a:gd name="T63" fmla="*/ 446 h 748"/>
                <a:gd name="T64" fmla="*/ 435 w 478"/>
                <a:gd name="T65" fmla="*/ 447 h 748"/>
                <a:gd name="T66" fmla="*/ 468 w 478"/>
                <a:gd name="T67" fmla="*/ 520 h 748"/>
                <a:gd name="T68" fmla="*/ 467 w 478"/>
                <a:gd name="T69" fmla="*/ 552 h 748"/>
                <a:gd name="T70" fmla="*/ 468 w 478"/>
                <a:gd name="T71" fmla="*/ 587 h 748"/>
                <a:gd name="T72" fmla="*/ 463 w 478"/>
                <a:gd name="T73" fmla="*/ 618 h 748"/>
                <a:gd name="T74" fmla="*/ 441 w 478"/>
                <a:gd name="T75" fmla="*/ 626 h 748"/>
                <a:gd name="T76" fmla="*/ 449 w 478"/>
                <a:gd name="T77" fmla="*/ 649 h 748"/>
                <a:gd name="T78" fmla="*/ 473 w 478"/>
                <a:gd name="T79" fmla="*/ 663 h 748"/>
                <a:gd name="T80" fmla="*/ 478 w 478"/>
                <a:gd name="T81" fmla="*/ 680 h 748"/>
                <a:gd name="T82" fmla="*/ 460 w 478"/>
                <a:gd name="T83" fmla="*/ 707 h 748"/>
                <a:gd name="T84" fmla="*/ 454 w 478"/>
                <a:gd name="T85" fmla="*/ 739 h 748"/>
                <a:gd name="T86" fmla="*/ 411 w 478"/>
                <a:gd name="T87" fmla="*/ 731 h 748"/>
                <a:gd name="T88" fmla="*/ 389 w 478"/>
                <a:gd name="T89" fmla="*/ 706 h 748"/>
                <a:gd name="T90" fmla="*/ 356 w 478"/>
                <a:gd name="T91" fmla="*/ 683 h 748"/>
                <a:gd name="T92" fmla="*/ 327 w 478"/>
                <a:gd name="T93" fmla="*/ 671 h 748"/>
                <a:gd name="T94" fmla="*/ 292 w 478"/>
                <a:gd name="T95" fmla="*/ 650 h 748"/>
                <a:gd name="T96" fmla="*/ 243 w 478"/>
                <a:gd name="T97" fmla="*/ 617 h 748"/>
                <a:gd name="T98" fmla="*/ 216 w 478"/>
                <a:gd name="T99" fmla="*/ 588 h 748"/>
                <a:gd name="T100" fmla="*/ 206 w 478"/>
                <a:gd name="T101" fmla="*/ 564 h 748"/>
                <a:gd name="T102" fmla="*/ 187 w 478"/>
                <a:gd name="T103" fmla="*/ 517 h 748"/>
                <a:gd name="T104" fmla="*/ 168 w 478"/>
                <a:gd name="T105" fmla="*/ 490 h 748"/>
                <a:gd name="T106" fmla="*/ 148 w 478"/>
                <a:gd name="T107" fmla="*/ 458 h 748"/>
                <a:gd name="T108" fmla="*/ 132 w 478"/>
                <a:gd name="T109" fmla="*/ 425 h 748"/>
                <a:gd name="T110" fmla="*/ 118 w 478"/>
                <a:gd name="T111" fmla="*/ 392 h 748"/>
                <a:gd name="T112" fmla="*/ 105 w 478"/>
                <a:gd name="T113" fmla="*/ 365 h 748"/>
                <a:gd name="T114" fmla="*/ 86 w 478"/>
                <a:gd name="T115" fmla="*/ 330 h 748"/>
                <a:gd name="T116" fmla="*/ 67 w 478"/>
                <a:gd name="T117" fmla="*/ 296 h 748"/>
                <a:gd name="T118" fmla="*/ 8 w 478"/>
                <a:gd name="T119" fmla="*/ 246 h 748"/>
                <a:gd name="T120" fmla="*/ 8 w 478"/>
                <a:gd name="T121" fmla="*/ 212 h 748"/>
                <a:gd name="T122" fmla="*/ 0 w 478"/>
                <a:gd name="T123" fmla="*/ 182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78" h="748">
                  <a:moveTo>
                    <a:pt x="0" y="182"/>
                  </a:moveTo>
                  <a:lnTo>
                    <a:pt x="2" y="176"/>
                  </a:lnTo>
                  <a:lnTo>
                    <a:pt x="2" y="173"/>
                  </a:lnTo>
                  <a:lnTo>
                    <a:pt x="5" y="171"/>
                  </a:lnTo>
                  <a:lnTo>
                    <a:pt x="10" y="166"/>
                  </a:lnTo>
                  <a:lnTo>
                    <a:pt x="10" y="165"/>
                  </a:lnTo>
                  <a:lnTo>
                    <a:pt x="11" y="162"/>
                  </a:lnTo>
                  <a:lnTo>
                    <a:pt x="15" y="159"/>
                  </a:lnTo>
                  <a:lnTo>
                    <a:pt x="16" y="155"/>
                  </a:lnTo>
                  <a:lnTo>
                    <a:pt x="19" y="151"/>
                  </a:lnTo>
                  <a:lnTo>
                    <a:pt x="22" y="149"/>
                  </a:lnTo>
                  <a:lnTo>
                    <a:pt x="29" y="141"/>
                  </a:lnTo>
                  <a:lnTo>
                    <a:pt x="34" y="141"/>
                  </a:lnTo>
                  <a:lnTo>
                    <a:pt x="34" y="138"/>
                  </a:lnTo>
                  <a:lnTo>
                    <a:pt x="35" y="136"/>
                  </a:lnTo>
                  <a:lnTo>
                    <a:pt x="35" y="138"/>
                  </a:lnTo>
                  <a:lnTo>
                    <a:pt x="37" y="138"/>
                  </a:lnTo>
                  <a:lnTo>
                    <a:pt x="38" y="139"/>
                  </a:lnTo>
                  <a:lnTo>
                    <a:pt x="38" y="141"/>
                  </a:lnTo>
                  <a:lnTo>
                    <a:pt x="40" y="149"/>
                  </a:lnTo>
                  <a:lnTo>
                    <a:pt x="42" y="157"/>
                  </a:lnTo>
                  <a:lnTo>
                    <a:pt x="37" y="163"/>
                  </a:lnTo>
                  <a:lnTo>
                    <a:pt x="34" y="162"/>
                  </a:lnTo>
                  <a:lnTo>
                    <a:pt x="29" y="165"/>
                  </a:lnTo>
                  <a:lnTo>
                    <a:pt x="30" y="168"/>
                  </a:lnTo>
                  <a:lnTo>
                    <a:pt x="30" y="171"/>
                  </a:lnTo>
                  <a:lnTo>
                    <a:pt x="35" y="173"/>
                  </a:lnTo>
                  <a:lnTo>
                    <a:pt x="32" y="176"/>
                  </a:lnTo>
                  <a:lnTo>
                    <a:pt x="30" y="179"/>
                  </a:lnTo>
                  <a:lnTo>
                    <a:pt x="34" y="182"/>
                  </a:lnTo>
                  <a:lnTo>
                    <a:pt x="37" y="181"/>
                  </a:lnTo>
                  <a:lnTo>
                    <a:pt x="43" y="174"/>
                  </a:lnTo>
                  <a:lnTo>
                    <a:pt x="45" y="174"/>
                  </a:lnTo>
                  <a:lnTo>
                    <a:pt x="48" y="178"/>
                  </a:lnTo>
                  <a:lnTo>
                    <a:pt x="49" y="178"/>
                  </a:lnTo>
                  <a:lnTo>
                    <a:pt x="53" y="179"/>
                  </a:lnTo>
                  <a:lnTo>
                    <a:pt x="56" y="182"/>
                  </a:lnTo>
                  <a:lnTo>
                    <a:pt x="59" y="181"/>
                  </a:lnTo>
                  <a:lnTo>
                    <a:pt x="64" y="182"/>
                  </a:lnTo>
                  <a:lnTo>
                    <a:pt x="67" y="185"/>
                  </a:lnTo>
                  <a:lnTo>
                    <a:pt x="65" y="187"/>
                  </a:lnTo>
                  <a:lnTo>
                    <a:pt x="67" y="190"/>
                  </a:lnTo>
                  <a:lnTo>
                    <a:pt x="68" y="193"/>
                  </a:lnTo>
                  <a:lnTo>
                    <a:pt x="70" y="197"/>
                  </a:lnTo>
                  <a:lnTo>
                    <a:pt x="73" y="200"/>
                  </a:lnTo>
                  <a:lnTo>
                    <a:pt x="76" y="201"/>
                  </a:lnTo>
                  <a:lnTo>
                    <a:pt x="78" y="201"/>
                  </a:lnTo>
                  <a:lnTo>
                    <a:pt x="81" y="201"/>
                  </a:lnTo>
                  <a:lnTo>
                    <a:pt x="83" y="203"/>
                  </a:lnTo>
                  <a:lnTo>
                    <a:pt x="83" y="203"/>
                  </a:lnTo>
                  <a:lnTo>
                    <a:pt x="83" y="203"/>
                  </a:lnTo>
                  <a:lnTo>
                    <a:pt x="84" y="201"/>
                  </a:lnTo>
                  <a:lnTo>
                    <a:pt x="86" y="198"/>
                  </a:lnTo>
                  <a:lnTo>
                    <a:pt x="88" y="195"/>
                  </a:lnTo>
                  <a:lnTo>
                    <a:pt x="89" y="192"/>
                  </a:lnTo>
                  <a:lnTo>
                    <a:pt x="92" y="187"/>
                  </a:lnTo>
                  <a:lnTo>
                    <a:pt x="95" y="185"/>
                  </a:lnTo>
                  <a:lnTo>
                    <a:pt x="95" y="185"/>
                  </a:lnTo>
                  <a:lnTo>
                    <a:pt x="97" y="182"/>
                  </a:lnTo>
                  <a:lnTo>
                    <a:pt x="97" y="178"/>
                  </a:lnTo>
                  <a:lnTo>
                    <a:pt x="95" y="174"/>
                  </a:lnTo>
                  <a:lnTo>
                    <a:pt x="97" y="174"/>
                  </a:lnTo>
                  <a:lnTo>
                    <a:pt x="97" y="171"/>
                  </a:lnTo>
                  <a:lnTo>
                    <a:pt x="99" y="168"/>
                  </a:lnTo>
                  <a:lnTo>
                    <a:pt x="100" y="165"/>
                  </a:lnTo>
                  <a:lnTo>
                    <a:pt x="100" y="160"/>
                  </a:lnTo>
                  <a:lnTo>
                    <a:pt x="103" y="155"/>
                  </a:lnTo>
                  <a:lnTo>
                    <a:pt x="105" y="152"/>
                  </a:lnTo>
                  <a:lnTo>
                    <a:pt x="107" y="149"/>
                  </a:lnTo>
                  <a:lnTo>
                    <a:pt x="107" y="141"/>
                  </a:lnTo>
                  <a:lnTo>
                    <a:pt x="110" y="139"/>
                  </a:lnTo>
                  <a:lnTo>
                    <a:pt x="111" y="143"/>
                  </a:lnTo>
                  <a:lnTo>
                    <a:pt x="113" y="139"/>
                  </a:lnTo>
                  <a:lnTo>
                    <a:pt x="111" y="135"/>
                  </a:lnTo>
                  <a:lnTo>
                    <a:pt x="114" y="132"/>
                  </a:lnTo>
                  <a:lnTo>
                    <a:pt x="118" y="128"/>
                  </a:lnTo>
                  <a:lnTo>
                    <a:pt x="121" y="125"/>
                  </a:lnTo>
                  <a:lnTo>
                    <a:pt x="124" y="122"/>
                  </a:lnTo>
                  <a:lnTo>
                    <a:pt x="126" y="120"/>
                  </a:lnTo>
                  <a:lnTo>
                    <a:pt x="134" y="117"/>
                  </a:lnTo>
                  <a:lnTo>
                    <a:pt x="141" y="114"/>
                  </a:lnTo>
                  <a:lnTo>
                    <a:pt x="148" y="111"/>
                  </a:lnTo>
                  <a:lnTo>
                    <a:pt x="156" y="108"/>
                  </a:lnTo>
                  <a:lnTo>
                    <a:pt x="164" y="105"/>
                  </a:lnTo>
                  <a:lnTo>
                    <a:pt x="172" y="100"/>
                  </a:lnTo>
                  <a:lnTo>
                    <a:pt x="180" y="92"/>
                  </a:lnTo>
                  <a:lnTo>
                    <a:pt x="186" y="87"/>
                  </a:lnTo>
                  <a:lnTo>
                    <a:pt x="192" y="81"/>
                  </a:lnTo>
                  <a:lnTo>
                    <a:pt x="199" y="71"/>
                  </a:lnTo>
                  <a:lnTo>
                    <a:pt x="200" y="67"/>
                  </a:lnTo>
                  <a:lnTo>
                    <a:pt x="203" y="63"/>
                  </a:lnTo>
                  <a:lnTo>
                    <a:pt x="205" y="62"/>
                  </a:lnTo>
                  <a:lnTo>
                    <a:pt x="205" y="62"/>
                  </a:lnTo>
                  <a:lnTo>
                    <a:pt x="206" y="59"/>
                  </a:lnTo>
                  <a:lnTo>
                    <a:pt x="208" y="48"/>
                  </a:lnTo>
                  <a:lnTo>
                    <a:pt x="211" y="36"/>
                  </a:lnTo>
                  <a:lnTo>
                    <a:pt x="214" y="38"/>
                  </a:lnTo>
                  <a:lnTo>
                    <a:pt x="218" y="38"/>
                  </a:lnTo>
                  <a:lnTo>
                    <a:pt x="216" y="36"/>
                  </a:lnTo>
                  <a:lnTo>
                    <a:pt x="216" y="32"/>
                  </a:lnTo>
                  <a:lnTo>
                    <a:pt x="214" y="28"/>
                  </a:lnTo>
                  <a:lnTo>
                    <a:pt x="216" y="25"/>
                  </a:lnTo>
                  <a:lnTo>
                    <a:pt x="216" y="25"/>
                  </a:lnTo>
                  <a:lnTo>
                    <a:pt x="216" y="22"/>
                  </a:lnTo>
                  <a:lnTo>
                    <a:pt x="213" y="17"/>
                  </a:lnTo>
                  <a:lnTo>
                    <a:pt x="210" y="14"/>
                  </a:lnTo>
                  <a:lnTo>
                    <a:pt x="208" y="11"/>
                  </a:lnTo>
                  <a:lnTo>
                    <a:pt x="206" y="8"/>
                  </a:lnTo>
                  <a:lnTo>
                    <a:pt x="203" y="6"/>
                  </a:lnTo>
                  <a:lnTo>
                    <a:pt x="203" y="3"/>
                  </a:lnTo>
                  <a:lnTo>
                    <a:pt x="203" y="3"/>
                  </a:lnTo>
                  <a:lnTo>
                    <a:pt x="208" y="5"/>
                  </a:lnTo>
                  <a:lnTo>
                    <a:pt x="211" y="5"/>
                  </a:lnTo>
                  <a:lnTo>
                    <a:pt x="214" y="3"/>
                  </a:lnTo>
                  <a:lnTo>
                    <a:pt x="218" y="0"/>
                  </a:lnTo>
                  <a:lnTo>
                    <a:pt x="222" y="2"/>
                  </a:lnTo>
                  <a:lnTo>
                    <a:pt x="226" y="3"/>
                  </a:lnTo>
                  <a:lnTo>
                    <a:pt x="229" y="6"/>
                  </a:lnTo>
                  <a:lnTo>
                    <a:pt x="232" y="8"/>
                  </a:lnTo>
                  <a:lnTo>
                    <a:pt x="235" y="11"/>
                  </a:lnTo>
                  <a:lnTo>
                    <a:pt x="238" y="14"/>
                  </a:lnTo>
                  <a:lnTo>
                    <a:pt x="241" y="16"/>
                  </a:lnTo>
                  <a:lnTo>
                    <a:pt x="245" y="19"/>
                  </a:lnTo>
                  <a:lnTo>
                    <a:pt x="248" y="21"/>
                  </a:lnTo>
                  <a:lnTo>
                    <a:pt x="248" y="22"/>
                  </a:lnTo>
                  <a:lnTo>
                    <a:pt x="249" y="25"/>
                  </a:lnTo>
                  <a:lnTo>
                    <a:pt x="249" y="30"/>
                  </a:lnTo>
                  <a:lnTo>
                    <a:pt x="251" y="33"/>
                  </a:lnTo>
                  <a:lnTo>
                    <a:pt x="251" y="36"/>
                  </a:lnTo>
                  <a:lnTo>
                    <a:pt x="252" y="41"/>
                  </a:lnTo>
                  <a:lnTo>
                    <a:pt x="257" y="41"/>
                  </a:lnTo>
                  <a:lnTo>
                    <a:pt x="260" y="41"/>
                  </a:lnTo>
                  <a:lnTo>
                    <a:pt x="262" y="44"/>
                  </a:lnTo>
                  <a:lnTo>
                    <a:pt x="265" y="46"/>
                  </a:lnTo>
                  <a:lnTo>
                    <a:pt x="267" y="49"/>
                  </a:lnTo>
                  <a:lnTo>
                    <a:pt x="271" y="51"/>
                  </a:lnTo>
                  <a:lnTo>
                    <a:pt x="275" y="51"/>
                  </a:lnTo>
                  <a:lnTo>
                    <a:pt x="278" y="55"/>
                  </a:lnTo>
                  <a:lnTo>
                    <a:pt x="278" y="59"/>
                  </a:lnTo>
                  <a:lnTo>
                    <a:pt x="281" y="62"/>
                  </a:lnTo>
                  <a:lnTo>
                    <a:pt x="281" y="65"/>
                  </a:lnTo>
                  <a:lnTo>
                    <a:pt x="279" y="70"/>
                  </a:lnTo>
                  <a:lnTo>
                    <a:pt x="283" y="73"/>
                  </a:lnTo>
                  <a:lnTo>
                    <a:pt x="287" y="74"/>
                  </a:lnTo>
                  <a:lnTo>
                    <a:pt x="291" y="74"/>
                  </a:lnTo>
                  <a:lnTo>
                    <a:pt x="294" y="78"/>
                  </a:lnTo>
                  <a:lnTo>
                    <a:pt x="295" y="90"/>
                  </a:lnTo>
                  <a:lnTo>
                    <a:pt x="295" y="95"/>
                  </a:lnTo>
                  <a:lnTo>
                    <a:pt x="298" y="97"/>
                  </a:lnTo>
                  <a:lnTo>
                    <a:pt x="302" y="100"/>
                  </a:lnTo>
                  <a:lnTo>
                    <a:pt x="306" y="100"/>
                  </a:lnTo>
                  <a:lnTo>
                    <a:pt x="310" y="98"/>
                  </a:lnTo>
                  <a:lnTo>
                    <a:pt x="313" y="98"/>
                  </a:lnTo>
                  <a:lnTo>
                    <a:pt x="316" y="98"/>
                  </a:lnTo>
                  <a:lnTo>
                    <a:pt x="321" y="98"/>
                  </a:lnTo>
                  <a:lnTo>
                    <a:pt x="321" y="98"/>
                  </a:lnTo>
                  <a:lnTo>
                    <a:pt x="325" y="100"/>
                  </a:lnTo>
                  <a:lnTo>
                    <a:pt x="332" y="98"/>
                  </a:lnTo>
                  <a:lnTo>
                    <a:pt x="335" y="95"/>
                  </a:lnTo>
                  <a:lnTo>
                    <a:pt x="337" y="97"/>
                  </a:lnTo>
                  <a:lnTo>
                    <a:pt x="341" y="93"/>
                  </a:lnTo>
                  <a:lnTo>
                    <a:pt x="343" y="89"/>
                  </a:lnTo>
                  <a:lnTo>
                    <a:pt x="344" y="87"/>
                  </a:lnTo>
                  <a:lnTo>
                    <a:pt x="348" y="89"/>
                  </a:lnTo>
                  <a:lnTo>
                    <a:pt x="352" y="90"/>
                  </a:lnTo>
                  <a:lnTo>
                    <a:pt x="354" y="93"/>
                  </a:lnTo>
                  <a:lnTo>
                    <a:pt x="357" y="95"/>
                  </a:lnTo>
                  <a:lnTo>
                    <a:pt x="360" y="95"/>
                  </a:lnTo>
                  <a:lnTo>
                    <a:pt x="365" y="95"/>
                  </a:lnTo>
                  <a:lnTo>
                    <a:pt x="368" y="93"/>
                  </a:lnTo>
                  <a:lnTo>
                    <a:pt x="371" y="89"/>
                  </a:lnTo>
                  <a:lnTo>
                    <a:pt x="376" y="90"/>
                  </a:lnTo>
                  <a:lnTo>
                    <a:pt x="379" y="92"/>
                  </a:lnTo>
                  <a:lnTo>
                    <a:pt x="383" y="95"/>
                  </a:lnTo>
                  <a:lnTo>
                    <a:pt x="386" y="98"/>
                  </a:lnTo>
                  <a:lnTo>
                    <a:pt x="389" y="100"/>
                  </a:lnTo>
                  <a:lnTo>
                    <a:pt x="392" y="101"/>
                  </a:lnTo>
                  <a:lnTo>
                    <a:pt x="395" y="101"/>
                  </a:lnTo>
                  <a:lnTo>
                    <a:pt x="400" y="105"/>
                  </a:lnTo>
                  <a:lnTo>
                    <a:pt x="402" y="108"/>
                  </a:lnTo>
                  <a:lnTo>
                    <a:pt x="405" y="111"/>
                  </a:lnTo>
                  <a:lnTo>
                    <a:pt x="406" y="111"/>
                  </a:lnTo>
                  <a:lnTo>
                    <a:pt x="400" y="122"/>
                  </a:lnTo>
                  <a:lnTo>
                    <a:pt x="394" y="132"/>
                  </a:lnTo>
                  <a:lnTo>
                    <a:pt x="392" y="136"/>
                  </a:lnTo>
                  <a:lnTo>
                    <a:pt x="389" y="139"/>
                  </a:lnTo>
                  <a:lnTo>
                    <a:pt x="387" y="144"/>
                  </a:lnTo>
                  <a:lnTo>
                    <a:pt x="386" y="147"/>
                  </a:lnTo>
                  <a:lnTo>
                    <a:pt x="384" y="151"/>
                  </a:lnTo>
                  <a:lnTo>
                    <a:pt x="384" y="154"/>
                  </a:lnTo>
                  <a:lnTo>
                    <a:pt x="389" y="157"/>
                  </a:lnTo>
                  <a:lnTo>
                    <a:pt x="392" y="155"/>
                  </a:lnTo>
                  <a:lnTo>
                    <a:pt x="395" y="154"/>
                  </a:lnTo>
                  <a:lnTo>
                    <a:pt x="398" y="157"/>
                  </a:lnTo>
                  <a:lnTo>
                    <a:pt x="402" y="160"/>
                  </a:lnTo>
                  <a:lnTo>
                    <a:pt x="403" y="163"/>
                  </a:lnTo>
                  <a:lnTo>
                    <a:pt x="406" y="166"/>
                  </a:lnTo>
                  <a:lnTo>
                    <a:pt x="408" y="170"/>
                  </a:lnTo>
                  <a:lnTo>
                    <a:pt x="411" y="173"/>
                  </a:lnTo>
                  <a:lnTo>
                    <a:pt x="409" y="174"/>
                  </a:lnTo>
                  <a:lnTo>
                    <a:pt x="409" y="176"/>
                  </a:lnTo>
                  <a:lnTo>
                    <a:pt x="408" y="176"/>
                  </a:lnTo>
                  <a:lnTo>
                    <a:pt x="405" y="173"/>
                  </a:lnTo>
                  <a:lnTo>
                    <a:pt x="402" y="176"/>
                  </a:lnTo>
                  <a:lnTo>
                    <a:pt x="402" y="174"/>
                  </a:lnTo>
                  <a:lnTo>
                    <a:pt x="398" y="173"/>
                  </a:lnTo>
                  <a:lnTo>
                    <a:pt x="395" y="168"/>
                  </a:lnTo>
                  <a:lnTo>
                    <a:pt x="390" y="170"/>
                  </a:lnTo>
                  <a:lnTo>
                    <a:pt x="387" y="171"/>
                  </a:lnTo>
                  <a:lnTo>
                    <a:pt x="386" y="166"/>
                  </a:lnTo>
                  <a:lnTo>
                    <a:pt x="383" y="170"/>
                  </a:lnTo>
                  <a:lnTo>
                    <a:pt x="379" y="171"/>
                  </a:lnTo>
                  <a:lnTo>
                    <a:pt x="376" y="176"/>
                  </a:lnTo>
                  <a:lnTo>
                    <a:pt x="373" y="178"/>
                  </a:lnTo>
                  <a:lnTo>
                    <a:pt x="363" y="179"/>
                  </a:lnTo>
                  <a:lnTo>
                    <a:pt x="356" y="182"/>
                  </a:lnTo>
                  <a:lnTo>
                    <a:pt x="351" y="182"/>
                  </a:lnTo>
                  <a:lnTo>
                    <a:pt x="346" y="182"/>
                  </a:lnTo>
                  <a:lnTo>
                    <a:pt x="341" y="182"/>
                  </a:lnTo>
                  <a:lnTo>
                    <a:pt x="338" y="185"/>
                  </a:lnTo>
                  <a:lnTo>
                    <a:pt x="335" y="189"/>
                  </a:lnTo>
                  <a:lnTo>
                    <a:pt x="332" y="192"/>
                  </a:lnTo>
                  <a:lnTo>
                    <a:pt x="327" y="193"/>
                  </a:lnTo>
                  <a:lnTo>
                    <a:pt x="324" y="195"/>
                  </a:lnTo>
                  <a:lnTo>
                    <a:pt x="324" y="198"/>
                  </a:lnTo>
                  <a:lnTo>
                    <a:pt x="319" y="201"/>
                  </a:lnTo>
                  <a:lnTo>
                    <a:pt x="316" y="203"/>
                  </a:lnTo>
                  <a:lnTo>
                    <a:pt x="313" y="206"/>
                  </a:lnTo>
                  <a:lnTo>
                    <a:pt x="310" y="206"/>
                  </a:lnTo>
                  <a:lnTo>
                    <a:pt x="305" y="209"/>
                  </a:lnTo>
                  <a:lnTo>
                    <a:pt x="305" y="209"/>
                  </a:lnTo>
                  <a:lnTo>
                    <a:pt x="305" y="209"/>
                  </a:lnTo>
                  <a:lnTo>
                    <a:pt x="306" y="211"/>
                  </a:lnTo>
                  <a:lnTo>
                    <a:pt x="306" y="216"/>
                  </a:lnTo>
                  <a:lnTo>
                    <a:pt x="305" y="219"/>
                  </a:lnTo>
                  <a:lnTo>
                    <a:pt x="303" y="222"/>
                  </a:lnTo>
                  <a:lnTo>
                    <a:pt x="305" y="227"/>
                  </a:lnTo>
                  <a:lnTo>
                    <a:pt x="305" y="230"/>
                  </a:lnTo>
                  <a:lnTo>
                    <a:pt x="302" y="233"/>
                  </a:lnTo>
                  <a:lnTo>
                    <a:pt x="300" y="238"/>
                  </a:lnTo>
                  <a:lnTo>
                    <a:pt x="298" y="241"/>
                  </a:lnTo>
                  <a:lnTo>
                    <a:pt x="297" y="244"/>
                  </a:lnTo>
                  <a:lnTo>
                    <a:pt x="295" y="246"/>
                  </a:lnTo>
                  <a:lnTo>
                    <a:pt x="295" y="249"/>
                  </a:lnTo>
                  <a:lnTo>
                    <a:pt x="297" y="252"/>
                  </a:lnTo>
                  <a:lnTo>
                    <a:pt x="298" y="255"/>
                  </a:lnTo>
                  <a:lnTo>
                    <a:pt x="300" y="260"/>
                  </a:lnTo>
                  <a:lnTo>
                    <a:pt x="298" y="263"/>
                  </a:lnTo>
                  <a:lnTo>
                    <a:pt x="297" y="266"/>
                  </a:lnTo>
                  <a:lnTo>
                    <a:pt x="294" y="268"/>
                  </a:lnTo>
                  <a:lnTo>
                    <a:pt x="289" y="270"/>
                  </a:lnTo>
                  <a:lnTo>
                    <a:pt x="286" y="273"/>
                  </a:lnTo>
                  <a:lnTo>
                    <a:pt x="283" y="276"/>
                  </a:lnTo>
                  <a:lnTo>
                    <a:pt x="279" y="279"/>
                  </a:lnTo>
                  <a:lnTo>
                    <a:pt x="278" y="284"/>
                  </a:lnTo>
                  <a:lnTo>
                    <a:pt x="276" y="289"/>
                  </a:lnTo>
                  <a:lnTo>
                    <a:pt x="278" y="292"/>
                  </a:lnTo>
                  <a:lnTo>
                    <a:pt x="281" y="296"/>
                  </a:lnTo>
                  <a:lnTo>
                    <a:pt x="276" y="298"/>
                  </a:lnTo>
                  <a:lnTo>
                    <a:pt x="273" y="300"/>
                  </a:lnTo>
                  <a:lnTo>
                    <a:pt x="273" y="304"/>
                  </a:lnTo>
                  <a:lnTo>
                    <a:pt x="270" y="306"/>
                  </a:lnTo>
                  <a:lnTo>
                    <a:pt x="273" y="309"/>
                  </a:lnTo>
                  <a:lnTo>
                    <a:pt x="276" y="314"/>
                  </a:lnTo>
                  <a:lnTo>
                    <a:pt x="279" y="315"/>
                  </a:lnTo>
                  <a:lnTo>
                    <a:pt x="281" y="319"/>
                  </a:lnTo>
                  <a:lnTo>
                    <a:pt x="278" y="323"/>
                  </a:lnTo>
                  <a:lnTo>
                    <a:pt x="283" y="327"/>
                  </a:lnTo>
                  <a:lnTo>
                    <a:pt x="284" y="330"/>
                  </a:lnTo>
                  <a:lnTo>
                    <a:pt x="286" y="333"/>
                  </a:lnTo>
                  <a:lnTo>
                    <a:pt x="287" y="336"/>
                  </a:lnTo>
                  <a:lnTo>
                    <a:pt x="287" y="339"/>
                  </a:lnTo>
                  <a:lnTo>
                    <a:pt x="292" y="342"/>
                  </a:lnTo>
                  <a:lnTo>
                    <a:pt x="295" y="346"/>
                  </a:lnTo>
                  <a:lnTo>
                    <a:pt x="295" y="349"/>
                  </a:lnTo>
                  <a:lnTo>
                    <a:pt x="297" y="352"/>
                  </a:lnTo>
                  <a:lnTo>
                    <a:pt x="302" y="354"/>
                  </a:lnTo>
                  <a:lnTo>
                    <a:pt x="306" y="361"/>
                  </a:lnTo>
                  <a:lnTo>
                    <a:pt x="310" y="365"/>
                  </a:lnTo>
                  <a:lnTo>
                    <a:pt x="311" y="371"/>
                  </a:lnTo>
                  <a:lnTo>
                    <a:pt x="310" y="374"/>
                  </a:lnTo>
                  <a:lnTo>
                    <a:pt x="306" y="377"/>
                  </a:lnTo>
                  <a:lnTo>
                    <a:pt x="303" y="382"/>
                  </a:lnTo>
                  <a:lnTo>
                    <a:pt x="306" y="384"/>
                  </a:lnTo>
                  <a:lnTo>
                    <a:pt x="314" y="384"/>
                  </a:lnTo>
                  <a:lnTo>
                    <a:pt x="317" y="384"/>
                  </a:lnTo>
                  <a:lnTo>
                    <a:pt x="319" y="384"/>
                  </a:lnTo>
                  <a:lnTo>
                    <a:pt x="324" y="385"/>
                  </a:lnTo>
                  <a:lnTo>
                    <a:pt x="327" y="387"/>
                  </a:lnTo>
                  <a:lnTo>
                    <a:pt x="330" y="387"/>
                  </a:lnTo>
                  <a:lnTo>
                    <a:pt x="333" y="388"/>
                  </a:lnTo>
                  <a:lnTo>
                    <a:pt x="337" y="392"/>
                  </a:lnTo>
                  <a:lnTo>
                    <a:pt x="338" y="395"/>
                  </a:lnTo>
                  <a:lnTo>
                    <a:pt x="338" y="398"/>
                  </a:lnTo>
                  <a:lnTo>
                    <a:pt x="341" y="401"/>
                  </a:lnTo>
                  <a:lnTo>
                    <a:pt x="341" y="406"/>
                  </a:lnTo>
                  <a:lnTo>
                    <a:pt x="341" y="407"/>
                  </a:lnTo>
                  <a:lnTo>
                    <a:pt x="356" y="407"/>
                  </a:lnTo>
                  <a:lnTo>
                    <a:pt x="370" y="407"/>
                  </a:lnTo>
                  <a:lnTo>
                    <a:pt x="373" y="406"/>
                  </a:lnTo>
                  <a:lnTo>
                    <a:pt x="378" y="404"/>
                  </a:lnTo>
                  <a:lnTo>
                    <a:pt x="381" y="401"/>
                  </a:lnTo>
                  <a:lnTo>
                    <a:pt x="384" y="398"/>
                  </a:lnTo>
                  <a:lnTo>
                    <a:pt x="387" y="393"/>
                  </a:lnTo>
                  <a:lnTo>
                    <a:pt x="390" y="392"/>
                  </a:lnTo>
                  <a:lnTo>
                    <a:pt x="394" y="388"/>
                  </a:lnTo>
                  <a:lnTo>
                    <a:pt x="397" y="385"/>
                  </a:lnTo>
                  <a:lnTo>
                    <a:pt x="400" y="384"/>
                  </a:lnTo>
                  <a:lnTo>
                    <a:pt x="398" y="388"/>
                  </a:lnTo>
                  <a:lnTo>
                    <a:pt x="395" y="390"/>
                  </a:lnTo>
                  <a:lnTo>
                    <a:pt x="400" y="396"/>
                  </a:lnTo>
                  <a:lnTo>
                    <a:pt x="397" y="400"/>
                  </a:lnTo>
                  <a:lnTo>
                    <a:pt x="397" y="406"/>
                  </a:lnTo>
                  <a:lnTo>
                    <a:pt x="397" y="407"/>
                  </a:lnTo>
                  <a:lnTo>
                    <a:pt x="397" y="411"/>
                  </a:lnTo>
                  <a:lnTo>
                    <a:pt x="397" y="415"/>
                  </a:lnTo>
                  <a:lnTo>
                    <a:pt x="397" y="419"/>
                  </a:lnTo>
                  <a:lnTo>
                    <a:pt x="398" y="433"/>
                  </a:lnTo>
                  <a:lnTo>
                    <a:pt x="398" y="447"/>
                  </a:lnTo>
                  <a:lnTo>
                    <a:pt x="403" y="446"/>
                  </a:lnTo>
                  <a:lnTo>
                    <a:pt x="405" y="449"/>
                  </a:lnTo>
                  <a:lnTo>
                    <a:pt x="406" y="450"/>
                  </a:lnTo>
                  <a:lnTo>
                    <a:pt x="409" y="450"/>
                  </a:lnTo>
                  <a:lnTo>
                    <a:pt x="411" y="452"/>
                  </a:lnTo>
                  <a:lnTo>
                    <a:pt x="417" y="450"/>
                  </a:lnTo>
                  <a:lnTo>
                    <a:pt x="422" y="447"/>
                  </a:lnTo>
                  <a:lnTo>
                    <a:pt x="425" y="446"/>
                  </a:lnTo>
                  <a:lnTo>
                    <a:pt x="429" y="446"/>
                  </a:lnTo>
                  <a:lnTo>
                    <a:pt x="432" y="447"/>
                  </a:lnTo>
                  <a:lnTo>
                    <a:pt x="435" y="447"/>
                  </a:lnTo>
                  <a:lnTo>
                    <a:pt x="436" y="447"/>
                  </a:lnTo>
                  <a:lnTo>
                    <a:pt x="436" y="447"/>
                  </a:lnTo>
                  <a:lnTo>
                    <a:pt x="448" y="463"/>
                  </a:lnTo>
                  <a:lnTo>
                    <a:pt x="457" y="477"/>
                  </a:lnTo>
                  <a:lnTo>
                    <a:pt x="465" y="493"/>
                  </a:lnTo>
                  <a:lnTo>
                    <a:pt x="475" y="511"/>
                  </a:lnTo>
                  <a:lnTo>
                    <a:pt x="473" y="511"/>
                  </a:lnTo>
                  <a:lnTo>
                    <a:pt x="471" y="514"/>
                  </a:lnTo>
                  <a:lnTo>
                    <a:pt x="473" y="517"/>
                  </a:lnTo>
                  <a:lnTo>
                    <a:pt x="468" y="520"/>
                  </a:lnTo>
                  <a:lnTo>
                    <a:pt x="465" y="523"/>
                  </a:lnTo>
                  <a:lnTo>
                    <a:pt x="465" y="526"/>
                  </a:lnTo>
                  <a:lnTo>
                    <a:pt x="465" y="530"/>
                  </a:lnTo>
                  <a:lnTo>
                    <a:pt x="465" y="531"/>
                  </a:lnTo>
                  <a:lnTo>
                    <a:pt x="465" y="536"/>
                  </a:lnTo>
                  <a:lnTo>
                    <a:pt x="465" y="539"/>
                  </a:lnTo>
                  <a:lnTo>
                    <a:pt x="467" y="542"/>
                  </a:lnTo>
                  <a:lnTo>
                    <a:pt x="467" y="545"/>
                  </a:lnTo>
                  <a:lnTo>
                    <a:pt x="467" y="549"/>
                  </a:lnTo>
                  <a:lnTo>
                    <a:pt x="467" y="552"/>
                  </a:lnTo>
                  <a:lnTo>
                    <a:pt x="465" y="557"/>
                  </a:lnTo>
                  <a:lnTo>
                    <a:pt x="463" y="560"/>
                  </a:lnTo>
                  <a:lnTo>
                    <a:pt x="465" y="563"/>
                  </a:lnTo>
                  <a:lnTo>
                    <a:pt x="467" y="566"/>
                  </a:lnTo>
                  <a:lnTo>
                    <a:pt x="468" y="569"/>
                  </a:lnTo>
                  <a:lnTo>
                    <a:pt x="471" y="574"/>
                  </a:lnTo>
                  <a:lnTo>
                    <a:pt x="473" y="577"/>
                  </a:lnTo>
                  <a:lnTo>
                    <a:pt x="470" y="580"/>
                  </a:lnTo>
                  <a:lnTo>
                    <a:pt x="468" y="583"/>
                  </a:lnTo>
                  <a:lnTo>
                    <a:pt x="468" y="587"/>
                  </a:lnTo>
                  <a:lnTo>
                    <a:pt x="465" y="590"/>
                  </a:lnTo>
                  <a:lnTo>
                    <a:pt x="463" y="593"/>
                  </a:lnTo>
                  <a:lnTo>
                    <a:pt x="460" y="598"/>
                  </a:lnTo>
                  <a:lnTo>
                    <a:pt x="460" y="601"/>
                  </a:lnTo>
                  <a:lnTo>
                    <a:pt x="457" y="603"/>
                  </a:lnTo>
                  <a:lnTo>
                    <a:pt x="457" y="607"/>
                  </a:lnTo>
                  <a:lnTo>
                    <a:pt x="457" y="610"/>
                  </a:lnTo>
                  <a:lnTo>
                    <a:pt x="459" y="612"/>
                  </a:lnTo>
                  <a:lnTo>
                    <a:pt x="460" y="615"/>
                  </a:lnTo>
                  <a:lnTo>
                    <a:pt x="463" y="618"/>
                  </a:lnTo>
                  <a:lnTo>
                    <a:pt x="467" y="622"/>
                  </a:lnTo>
                  <a:lnTo>
                    <a:pt x="463" y="625"/>
                  </a:lnTo>
                  <a:lnTo>
                    <a:pt x="462" y="629"/>
                  </a:lnTo>
                  <a:lnTo>
                    <a:pt x="460" y="631"/>
                  </a:lnTo>
                  <a:lnTo>
                    <a:pt x="460" y="633"/>
                  </a:lnTo>
                  <a:lnTo>
                    <a:pt x="460" y="633"/>
                  </a:lnTo>
                  <a:lnTo>
                    <a:pt x="457" y="631"/>
                  </a:lnTo>
                  <a:lnTo>
                    <a:pt x="452" y="628"/>
                  </a:lnTo>
                  <a:lnTo>
                    <a:pt x="446" y="623"/>
                  </a:lnTo>
                  <a:lnTo>
                    <a:pt x="441" y="626"/>
                  </a:lnTo>
                  <a:lnTo>
                    <a:pt x="438" y="629"/>
                  </a:lnTo>
                  <a:lnTo>
                    <a:pt x="443" y="636"/>
                  </a:lnTo>
                  <a:lnTo>
                    <a:pt x="443" y="639"/>
                  </a:lnTo>
                  <a:lnTo>
                    <a:pt x="440" y="636"/>
                  </a:lnTo>
                  <a:lnTo>
                    <a:pt x="436" y="642"/>
                  </a:lnTo>
                  <a:lnTo>
                    <a:pt x="436" y="645"/>
                  </a:lnTo>
                  <a:lnTo>
                    <a:pt x="440" y="647"/>
                  </a:lnTo>
                  <a:lnTo>
                    <a:pt x="446" y="650"/>
                  </a:lnTo>
                  <a:lnTo>
                    <a:pt x="446" y="645"/>
                  </a:lnTo>
                  <a:lnTo>
                    <a:pt x="449" y="649"/>
                  </a:lnTo>
                  <a:lnTo>
                    <a:pt x="451" y="652"/>
                  </a:lnTo>
                  <a:lnTo>
                    <a:pt x="459" y="652"/>
                  </a:lnTo>
                  <a:lnTo>
                    <a:pt x="459" y="655"/>
                  </a:lnTo>
                  <a:lnTo>
                    <a:pt x="457" y="661"/>
                  </a:lnTo>
                  <a:lnTo>
                    <a:pt x="462" y="661"/>
                  </a:lnTo>
                  <a:lnTo>
                    <a:pt x="465" y="663"/>
                  </a:lnTo>
                  <a:lnTo>
                    <a:pt x="468" y="663"/>
                  </a:lnTo>
                  <a:lnTo>
                    <a:pt x="470" y="661"/>
                  </a:lnTo>
                  <a:lnTo>
                    <a:pt x="471" y="663"/>
                  </a:lnTo>
                  <a:lnTo>
                    <a:pt x="473" y="663"/>
                  </a:lnTo>
                  <a:lnTo>
                    <a:pt x="476" y="661"/>
                  </a:lnTo>
                  <a:lnTo>
                    <a:pt x="475" y="664"/>
                  </a:lnTo>
                  <a:lnTo>
                    <a:pt x="475" y="668"/>
                  </a:lnTo>
                  <a:lnTo>
                    <a:pt x="473" y="672"/>
                  </a:lnTo>
                  <a:lnTo>
                    <a:pt x="476" y="675"/>
                  </a:lnTo>
                  <a:lnTo>
                    <a:pt x="476" y="675"/>
                  </a:lnTo>
                  <a:lnTo>
                    <a:pt x="476" y="675"/>
                  </a:lnTo>
                  <a:lnTo>
                    <a:pt x="476" y="675"/>
                  </a:lnTo>
                  <a:lnTo>
                    <a:pt x="476" y="677"/>
                  </a:lnTo>
                  <a:lnTo>
                    <a:pt x="478" y="680"/>
                  </a:lnTo>
                  <a:lnTo>
                    <a:pt x="473" y="682"/>
                  </a:lnTo>
                  <a:lnTo>
                    <a:pt x="470" y="687"/>
                  </a:lnTo>
                  <a:lnTo>
                    <a:pt x="468" y="690"/>
                  </a:lnTo>
                  <a:lnTo>
                    <a:pt x="467" y="693"/>
                  </a:lnTo>
                  <a:lnTo>
                    <a:pt x="465" y="696"/>
                  </a:lnTo>
                  <a:lnTo>
                    <a:pt x="462" y="698"/>
                  </a:lnTo>
                  <a:lnTo>
                    <a:pt x="459" y="701"/>
                  </a:lnTo>
                  <a:lnTo>
                    <a:pt x="457" y="706"/>
                  </a:lnTo>
                  <a:lnTo>
                    <a:pt x="457" y="706"/>
                  </a:lnTo>
                  <a:lnTo>
                    <a:pt x="460" y="707"/>
                  </a:lnTo>
                  <a:lnTo>
                    <a:pt x="462" y="710"/>
                  </a:lnTo>
                  <a:lnTo>
                    <a:pt x="463" y="714"/>
                  </a:lnTo>
                  <a:lnTo>
                    <a:pt x="463" y="715"/>
                  </a:lnTo>
                  <a:lnTo>
                    <a:pt x="460" y="717"/>
                  </a:lnTo>
                  <a:lnTo>
                    <a:pt x="457" y="721"/>
                  </a:lnTo>
                  <a:lnTo>
                    <a:pt x="454" y="720"/>
                  </a:lnTo>
                  <a:lnTo>
                    <a:pt x="452" y="725"/>
                  </a:lnTo>
                  <a:lnTo>
                    <a:pt x="454" y="731"/>
                  </a:lnTo>
                  <a:lnTo>
                    <a:pt x="455" y="734"/>
                  </a:lnTo>
                  <a:lnTo>
                    <a:pt x="454" y="739"/>
                  </a:lnTo>
                  <a:lnTo>
                    <a:pt x="451" y="745"/>
                  </a:lnTo>
                  <a:lnTo>
                    <a:pt x="441" y="748"/>
                  </a:lnTo>
                  <a:lnTo>
                    <a:pt x="435" y="748"/>
                  </a:lnTo>
                  <a:lnTo>
                    <a:pt x="432" y="747"/>
                  </a:lnTo>
                  <a:lnTo>
                    <a:pt x="429" y="744"/>
                  </a:lnTo>
                  <a:lnTo>
                    <a:pt x="425" y="742"/>
                  </a:lnTo>
                  <a:lnTo>
                    <a:pt x="422" y="739"/>
                  </a:lnTo>
                  <a:lnTo>
                    <a:pt x="419" y="736"/>
                  </a:lnTo>
                  <a:lnTo>
                    <a:pt x="416" y="734"/>
                  </a:lnTo>
                  <a:lnTo>
                    <a:pt x="411" y="731"/>
                  </a:lnTo>
                  <a:lnTo>
                    <a:pt x="408" y="729"/>
                  </a:lnTo>
                  <a:lnTo>
                    <a:pt x="405" y="726"/>
                  </a:lnTo>
                  <a:lnTo>
                    <a:pt x="405" y="726"/>
                  </a:lnTo>
                  <a:lnTo>
                    <a:pt x="402" y="723"/>
                  </a:lnTo>
                  <a:lnTo>
                    <a:pt x="397" y="720"/>
                  </a:lnTo>
                  <a:lnTo>
                    <a:pt x="397" y="717"/>
                  </a:lnTo>
                  <a:lnTo>
                    <a:pt x="395" y="714"/>
                  </a:lnTo>
                  <a:lnTo>
                    <a:pt x="395" y="710"/>
                  </a:lnTo>
                  <a:lnTo>
                    <a:pt x="390" y="707"/>
                  </a:lnTo>
                  <a:lnTo>
                    <a:pt x="389" y="706"/>
                  </a:lnTo>
                  <a:lnTo>
                    <a:pt x="384" y="702"/>
                  </a:lnTo>
                  <a:lnTo>
                    <a:pt x="381" y="702"/>
                  </a:lnTo>
                  <a:lnTo>
                    <a:pt x="378" y="701"/>
                  </a:lnTo>
                  <a:lnTo>
                    <a:pt x="375" y="698"/>
                  </a:lnTo>
                  <a:lnTo>
                    <a:pt x="371" y="696"/>
                  </a:lnTo>
                  <a:lnTo>
                    <a:pt x="368" y="694"/>
                  </a:lnTo>
                  <a:lnTo>
                    <a:pt x="367" y="693"/>
                  </a:lnTo>
                  <a:lnTo>
                    <a:pt x="362" y="690"/>
                  </a:lnTo>
                  <a:lnTo>
                    <a:pt x="360" y="687"/>
                  </a:lnTo>
                  <a:lnTo>
                    <a:pt x="356" y="683"/>
                  </a:lnTo>
                  <a:lnTo>
                    <a:pt x="352" y="682"/>
                  </a:lnTo>
                  <a:lnTo>
                    <a:pt x="349" y="680"/>
                  </a:lnTo>
                  <a:lnTo>
                    <a:pt x="346" y="680"/>
                  </a:lnTo>
                  <a:lnTo>
                    <a:pt x="343" y="679"/>
                  </a:lnTo>
                  <a:lnTo>
                    <a:pt x="341" y="679"/>
                  </a:lnTo>
                  <a:lnTo>
                    <a:pt x="340" y="677"/>
                  </a:lnTo>
                  <a:lnTo>
                    <a:pt x="337" y="675"/>
                  </a:lnTo>
                  <a:lnTo>
                    <a:pt x="333" y="674"/>
                  </a:lnTo>
                  <a:lnTo>
                    <a:pt x="329" y="672"/>
                  </a:lnTo>
                  <a:lnTo>
                    <a:pt x="327" y="671"/>
                  </a:lnTo>
                  <a:lnTo>
                    <a:pt x="324" y="669"/>
                  </a:lnTo>
                  <a:lnTo>
                    <a:pt x="321" y="666"/>
                  </a:lnTo>
                  <a:lnTo>
                    <a:pt x="316" y="664"/>
                  </a:lnTo>
                  <a:lnTo>
                    <a:pt x="313" y="663"/>
                  </a:lnTo>
                  <a:lnTo>
                    <a:pt x="310" y="663"/>
                  </a:lnTo>
                  <a:lnTo>
                    <a:pt x="306" y="661"/>
                  </a:lnTo>
                  <a:lnTo>
                    <a:pt x="303" y="660"/>
                  </a:lnTo>
                  <a:lnTo>
                    <a:pt x="298" y="656"/>
                  </a:lnTo>
                  <a:lnTo>
                    <a:pt x="295" y="653"/>
                  </a:lnTo>
                  <a:lnTo>
                    <a:pt x="292" y="650"/>
                  </a:lnTo>
                  <a:lnTo>
                    <a:pt x="289" y="649"/>
                  </a:lnTo>
                  <a:lnTo>
                    <a:pt x="286" y="647"/>
                  </a:lnTo>
                  <a:lnTo>
                    <a:pt x="283" y="647"/>
                  </a:lnTo>
                  <a:lnTo>
                    <a:pt x="278" y="644"/>
                  </a:lnTo>
                  <a:lnTo>
                    <a:pt x="265" y="636"/>
                  </a:lnTo>
                  <a:lnTo>
                    <a:pt x="251" y="628"/>
                  </a:lnTo>
                  <a:lnTo>
                    <a:pt x="252" y="625"/>
                  </a:lnTo>
                  <a:lnTo>
                    <a:pt x="249" y="622"/>
                  </a:lnTo>
                  <a:lnTo>
                    <a:pt x="246" y="618"/>
                  </a:lnTo>
                  <a:lnTo>
                    <a:pt x="243" y="617"/>
                  </a:lnTo>
                  <a:lnTo>
                    <a:pt x="240" y="612"/>
                  </a:lnTo>
                  <a:lnTo>
                    <a:pt x="240" y="612"/>
                  </a:lnTo>
                  <a:lnTo>
                    <a:pt x="240" y="612"/>
                  </a:lnTo>
                  <a:lnTo>
                    <a:pt x="237" y="609"/>
                  </a:lnTo>
                  <a:lnTo>
                    <a:pt x="233" y="606"/>
                  </a:lnTo>
                  <a:lnTo>
                    <a:pt x="229" y="603"/>
                  </a:lnTo>
                  <a:lnTo>
                    <a:pt x="224" y="601"/>
                  </a:lnTo>
                  <a:lnTo>
                    <a:pt x="222" y="598"/>
                  </a:lnTo>
                  <a:lnTo>
                    <a:pt x="219" y="591"/>
                  </a:lnTo>
                  <a:lnTo>
                    <a:pt x="216" y="588"/>
                  </a:lnTo>
                  <a:lnTo>
                    <a:pt x="213" y="585"/>
                  </a:lnTo>
                  <a:lnTo>
                    <a:pt x="213" y="582"/>
                  </a:lnTo>
                  <a:lnTo>
                    <a:pt x="210" y="579"/>
                  </a:lnTo>
                  <a:lnTo>
                    <a:pt x="206" y="577"/>
                  </a:lnTo>
                  <a:lnTo>
                    <a:pt x="206" y="574"/>
                  </a:lnTo>
                  <a:lnTo>
                    <a:pt x="206" y="571"/>
                  </a:lnTo>
                  <a:lnTo>
                    <a:pt x="205" y="568"/>
                  </a:lnTo>
                  <a:lnTo>
                    <a:pt x="202" y="568"/>
                  </a:lnTo>
                  <a:lnTo>
                    <a:pt x="203" y="563"/>
                  </a:lnTo>
                  <a:lnTo>
                    <a:pt x="206" y="564"/>
                  </a:lnTo>
                  <a:lnTo>
                    <a:pt x="208" y="558"/>
                  </a:lnTo>
                  <a:lnTo>
                    <a:pt x="208" y="553"/>
                  </a:lnTo>
                  <a:lnTo>
                    <a:pt x="208" y="549"/>
                  </a:lnTo>
                  <a:lnTo>
                    <a:pt x="206" y="545"/>
                  </a:lnTo>
                  <a:lnTo>
                    <a:pt x="202" y="539"/>
                  </a:lnTo>
                  <a:lnTo>
                    <a:pt x="194" y="530"/>
                  </a:lnTo>
                  <a:lnTo>
                    <a:pt x="194" y="526"/>
                  </a:lnTo>
                  <a:lnTo>
                    <a:pt x="192" y="523"/>
                  </a:lnTo>
                  <a:lnTo>
                    <a:pt x="189" y="520"/>
                  </a:lnTo>
                  <a:lnTo>
                    <a:pt x="187" y="517"/>
                  </a:lnTo>
                  <a:lnTo>
                    <a:pt x="186" y="512"/>
                  </a:lnTo>
                  <a:lnTo>
                    <a:pt x="183" y="509"/>
                  </a:lnTo>
                  <a:lnTo>
                    <a:pt x="183" y="506"/>
                  </a:lnTo>
                  <a:lnTo>
                    <a:pt x="180" y="503"/>
                  </a:lnTo>
                  <a:lnTo>
                    <a:pt x="176" y="499"/>
                  </a:lnTo>
                  <a:lnTo>
                    <a:pt x="173" y="498"/>
                  </a:lnTo>
                  <a:lnTo>
                    <a:pt x="172" y="493"/>
                  </a:lnTo>
                  <a:lnTo>
                    <a:pt x="168" y="492"/>
                  </a:lnTo>
                  <a:lnTo>
                    <a:pt x="168" y="492"/>
                  </a:lnTo>
                  <a:lnTo>
                    <a:pt x="168" y="490"/>
                  </a:lnTo>
                  <a:lnTo>
                    <a:pt x="168" y="487"/>
                  </a:lnTo>
                  <a:lnTo>
                    <a:pt x="167" y="484"/>
                  </a:lnTo>
                  <a:lnTo>
                    <a:pt x="165" y="480"/>
                  </a:lnTo>
                  <a:lnTo>
                    <a:pt x="165" y="477"/>
                  </a:lnTo>
                  <a:lnTo>
                    <a:pt x="162" y="472"/>
                  </a:lnTo>
                  <a:lnTo>
                    <a:pt x="160" y="469"/>
                  </a:lnTo>
                  <a:lnTo>
                    <a:pt x="157" y="466"/>
                  </a:lnTo>
                  <a:lnTo>
                    <a:pt x="154" y="465"/>
                  </a:lnTo>
                  <a:lnTo>
                    <a:pt x="151" y="463"/>
                  </a:lnTo>
                  <a:lnTo>
                    <a:pt x="148" y="458"/>
                  </a:lnTo>
                  <a:lnTo>
                    <a:pt x="149" y="455"/>
                  </a:lnTo>
                  <a:lnTo>
                    <a:pt x="148" y="452"/>
                  </a:lnTo>
                  <a:lnTo>
                    <a:pt x="146" y="450"/>
                  </a:lnTo>
                  <a:lnTo>
                    <a:pt x="145" y="444"/>
                  </a:lnTo>
                  <a:lnTo>
                    <a:pt x="141" y="439"/>
                  </a:lnTo>
                  <a:lnTo>
                    <a:pt x="140" y="436"/>
                  </a:lnTo>
                  <a:lnTo>
                    <a:pt x="137" y="433"/>
                  </a:lnTo>
                  <a:lnTo>
                    <a:pt x="137" y="433"/>
                  </a:lnTo>
                  <a:lnTo>
                    <a:pt x="135" y="428"/>
                  </a:lnTo>
                  <a:lnTo>
                    <a:pt x="132" y="425"/>
                  </a:lnTo>
                  <a:lnTo>
                    <a:pt x="130" y="422"/>
                  </a:lnTo>
                  <a:lnTo>
                    <a:pt x="129" y="419"/>
                  </a:lnTo>
                  <a:lnTo>
                    <a:pt x="127" y="415"/>
                  </a:lnTo>
                  <a:lnTo>
                    <a:pt x="126" y="411"/>
                  </a:lnTo>
                  <a:lnTo>
                    <a:pt x="124" y="407"/>
                  </a:lnTo>
                  <a:lnTo>
                    <a:pt x="122" y="406"/>
                  </a:lnTo>
                  <a:lnTo>
                    <a:pt x="122" y="401"/>
                  </a:lnTo>
                  <a:lnTo>
                    <a:pt x="121" y="398"/>
                  </a:lnTo>
                  <a:lnTo>
                    <a:pt x="118" y="395"/>
                  </a:lnTo>
                  <a:lnTo>
                    <a:pt x="118" y="392"/>
                  </a:lnTo>
                  <a:lnTo>
                    <a:pt x="116" y="387"/>
                  </a:lnTo>
                  <a:lnTo>
                    <a:pt x="114" y="384"/>
                  </a:lnTo>
                  <a:lnTo>
                    <a:pt x="114" y="381"/>
                  </a:lnTo>
                  <a:lnTo>
                    <a:pt x="110" y="377"/>
                  </a:lnTo>
                  <a:lnTo>
                    <a:pt x="110" y="374"/>
                  </a:lnTo>
                  <a:lnTo>
                    <a:pt x="107" y="374"/>
                  </a:lnTo>
                  <a:lnTo>
                    <a:pt x="108" y="369"/>
                  </a:lnTo>
                  <a:lnTo>
                    <a:pt x="105" y="366"/>
                  </a:lnTo>
                  <a:lnTo>
                    <a:pt x="105" y="365"/>
                  </a:lnTo>
                  <a:lnTo>
                    <a:pt x="105" y="365"/>
                  </a:lnTo>
                  <a:lnTo>
                    <a:pt x="103" y="360"/>
                  </a:lnTo>
                  <a:lnTo>
                    <a:pt x="100" y="357"/>
                  </a:lnTo>
                  <a:lnTo>
                    <a:pt x="100" y="354"/>
                  </a:lnTo>
                  <a:lnTo>
                    <a:pt x="100" y="350"/>
                  </a:lnTo>
                  <a:lnTo>
                    <a:pt x="97" y="346"/>
                  </a:lnTo>
                  <a:lnTo>
                    <a:pt x="94" y="344"/>
                  </a:lnTo>
                  <a:lnTo>
                    <a:pt x="94" y="341"/>
                  </a:lnTo>
                  <a:lnTo>
                    <a:pt x="92" y="336"/>
                  </a:lnTo>
                  <a:lnTo>
                    <a:pt x="91" y="333"/>
                  </a:lnTo>
                  <a:lnTo>
                    <a:pt x="86" y="330"/>
                  </a:lnTo>
                  <a:lnTo>
                    <a:pt x="83" y="327"/>
                  </a:lnTo>
                  <a:lnTo>
                    <a:pt x="80" y="323"/>
                  </a:lnTo>
                  <a:lnTo>
                    <a:pt x="76" y="320"/>
                  </a:lnTo>
                  <a:lnTo>
                    <a:pt x="75" y="317"/>
                  </a:lnTo>
                  <a:lnTo>
                    <a:pt x="73" y="312"/>
                  </a:lnTo>
                  <a:lnTo>
                    <a:pt x="72" y="309"/>
                  </a:lnTo>
                  <a:lnTo>
                    <a:pt x="70" y="306"/>
                  </a:lnTo>
                  <a:lnTo>
                    <a:pt x="68" y="303"/>
                  </a:lnTo>
                  <a:lnTo>
                    <a:pt x="67" y="298"/>
                  </a:lnTo>
                  <a:lnTo>
                    <a:pt x="67" y="296"/>
                  </a:lnTo>
                  <a:lnTo>
                    <a:pt x="64" y="293"/>
                  </a:lnTo>
                  <a:lnTo>
                    <a:pt x="62" y="289"/>
                  </a:lnTo>
                  <a:lnTo>
                    <a:pt x="59" y="285"/>
                  </a:lnTo>
                  <a:lnTo>
                    <a:pt x="54" y="279"/>
                  </a:lnTo>
                  <a:lnTo>
                    <a:pt x="53" y="274"/>
                  </a:lnTo>
                  <a:lnTo>
                    <a:pt x="49" y="271"/>
                  </a:lnTo>
                  <a:lnTo>
                    <a:pt x="40" y="266"/>
                  </a:lnTo>
                  <a:lnTo>
                    <a:pt x="26" y="257"/>
                  </a:lnTo>
                  <a:lnTo>
                    <a:pt x="8" y="249"/>
                  </a:lnTo>
                  <a:lnTo>
                    <a:pt x="8" y="246"/>
                  </a:lnTo>
                  <a:lnTo>
                    <a:pt x="8" y="241"/>
                  </a:lnTo>
                  <a:lnTo>
                    <a:pt x="10" y="238"/>
                  </a:lnTo>
                  <a:lnTo>
                    <a:pt x="15" y="238"/>
                  </a:lnTo>
                  <a:lnTo>
                    <a:pt x="18" y="238"/>
                  </a:lnTo>
                  <a:lnTo>
                    <a:pt x="19" y="233"/>
                  </a:lnTo>
                  <a:lnTo>
                    <a:pt x="19" y="228"/>
                  </a:lnTo>
                  <a:lnTo>
                    <a:pt x="18" y="225"/>
                  </a:lnTo>
                  <a:lnTo>
                    <a:pt x="15" y="220"/>
                  </a:lnTo>
                  <a:lnTo>
                    <a:pt x="11" y="217"/>
                  </a:lnTo>
                  <a:lnTo>
                    <a:pt x="8" y="212"/>
                  </a:lnTo>
                  <a:lnTo>
                    <a:pt x="7" y="211"/>
                  </a:lnTo>
                  <a:lnTo>
                    <a:pt x="7" y="208"/>
                  </a:lnTo>
                  <a:lnTo>
                    <a:pt x="7" y="206"/>
                  </a:lnTo>
                  <a:lnTo>
                    <a:pt x="10" y="203"/>
                  </a:lnTo>
                  <a:lnTo>
                    <a:pt x="7" y="200"/>
                  </a:lnTo>
                  <a:lnTo>
                    <a:pt x="3" y="195"/>
                  </a:lnTo>
                  <a:lnTo>
                    <a:pt x="0" y="192"/>
                  </a:lnTo>
                  <a:lnTo>
                    <a:pt x="0" y="189"/>
                  </a:lnTo>
                  <a:lnTo>
                    <a:pt x="2" y="185"/>
                  </a:lnTo>
                  <a:lnTo>
                    <a:pt x="0" y="18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83" name="Freeform 762"/>
            <p:cNvSpPr>
              <a:spLocks noEditPoints="1"/>
            </p:cNvSpPr>
            <p:nvPr/>
          </p:nvSpPr>
          <p:spPr bwMode="auto">
            <a:xfrm>
              <a:off x="3531438" y="5165728"/>
              <a:ext cx="335242" cy="456956"/>
            </a:xfrm>
            <a:custGeom>
              <a:avLst/>
              <a:gdLst>
                <a:gd name="T0" fmla="*/ 26 w 457"/>
                <a:gd name="T1" fmla="*/ 54 h 541"/>
                <a:gd name="T2" fmla="*/ 46 w 457"/>
                <a:gd name="T3" fmla="*/ 54 h 541"/>
                <a:gd name="T4" fmla="*/ 67 w 457"/>
                <a:gd name="T5" fmla="*/ 41 h 541"/>
                <a:gd name="T6" fmla="*/ 89 w 457"/>
                <a:gd name="T7" fmla="*/ 24 h 541"/>
                <a:gd name="T8" fmla="*/ 115 w 457"/>
                <a:gd name="T9" fmla="*/ 6 h 541"/>
                <a:gd name="T10" fmla="*/ 143 w 457"/>
                <a:gd name="T11" fmla="*/ 6 h 541"/>
                <a:gd name="T12" fmla="*/ 153 w 457"/>
                <a:gd name="T13" fmla="*/ 20 h 541"/>
                <a:gd name="T14" fmla="*/ 150 w 457"/>
                <a:gd name="T15" fmla="*/ 46 h 541"/>
                <a:gd name="T16" fmla="*/ 154 w 457"/>
                <a:gd name="T17" fmla="*/ 71 h 541"/>
                <a:gd name="T18" fmla="*/ 169 w 457"/>
                <a:gd name="T19" fmla="*/ 90 h 541"/>
                <a:gd name="T20" fmla="*/ 188 w 457"/>
                <a:gd name="T21" fmla="*/ 104 h 541"/>
                <a:gd name="T22" fmla="*/ 205 w 457"/>
                <a:gd name="T23" fmla="*/ 117 h 541"/>
                <a:gd name="T24" fmla="*/ 234 w 457"/>
                <a:gd name="T25" fmla="*/ 123 h 541"/>
                <a:gd name="T26" fmla="*/ 254 w 457"/>
                <a:gd name="T27" fmla="*/ 135 h 541"/>
                <a:gd name="T28" fmla="*/ 291 w 457"/>
                <a:gd name="T29" fmla="*/ 157 h 541"/>
                <a:gd name="T30" fmla="*/ 316 w 457"/>
                <a:gd name="T31" fmla="*/ 157 h 541"/>
                <a:gd name="T32" fmla="*/ 340 w 457"/>
                <a:gd name="T33" fmla="*/ 176 h 541"/>
                <a:gd name="T34" fmla="*/ 345 w 457"/>
                <a:gd name="T35" fmla="*/ 203 h 541"/>
                <a:gd name="T36" fmla="*/ 343 w 457"/>
                <a:gd name="T37" fmla="*/ 228 h 541"/>
                <a:gd name="T38" fmla="*/ 360 w 457"/>
                <a:gd name="T39" fmla="*/ 269 h 541"/>
                <a:gd name="T40" fmla="*/ 421 w 457"/>
                <a:gd name="T41" fmla="*/ 271 h 541"/>
                <a:gd name="T42" fmla="*/ 419 w 457"/>
                <a:gd name="T43" fmla="*/ 296 h 541"/>
                <a:gd name="T44" fmla="*/ 437 w 457"/>
                <a:gd name="T45" fmla="*/ 320 h 541"/>
                <a:gd name="T46" fmla="*/ 449 w 457"/>
                <a:gd name="T47" fmla="*/ 333 h 541"/>
                <a:gd name="T48" fmla="*/ 452 w 457"/>
                <a:gd name="T49" fmla="*/ 377 h 541"/>
                <a:gd name="T50" fmla="*/ 445 w 457"/>
                <a:gd name="T51" fmla="*/ 403 h 541"/>
                <a:gd name="T52" fmla="*/ 443 w 457"/>
                <a:gd name="T53" fmla="*/ 428 h 541"/>
                <a:gd name="T54" fmla="*/ 367 w 457"/>
                <a:gd name="T55" fmla="*/ 395 h 541"/>
                <a:gd name="T56" fmla="*/ 300 w 457"/>
                <a:gd name="T57" fmla="*/ 441 h 541"/>
                <a:gd name="T58" fmla="*/ 299 w 457"/>
                <a:gd name="T59" fmla="*/ 477 h 541"/>
                <a:gd name="T60" fmla="*/ 265 w 457"/>
                <a:gd name="T61" fmla="*/ 504 h 541"/>
                <a:gd name="T62" fmla="*/ 243 w 457"/>
                <a:gd name="T63" fmla="*/ 510 h 541"/>
                <a:gd name="T64" fmla="*/ 237 w 457"/>
                <a:gd name="T65" fmla="*/ 539 h 541"/>
                <a:gd name="T66" fmla="*/ 229 w 457"/>
                <a:gd name="T67" fmla="*/ 523 h 541"/>
                <a:gd name="T68" fmla="*/ 208 w 457"/>
                <a:gd name="T69" fmla="*/ 507 h 541"/>
                <a:gd name="T70" fmla="*/ 178 w 457"/>
                <a:gd name="T71" fmla="*/ 504 h 541"/>
                <a:gd name="T72" fmla="*/ 159 w 457"/>
                <a:gd name="T73" fmla="*/ 509 h 541"/>
                <a:gd name="T74" fmla="*/ 140 w 457"/>
                <a:gd name="T75" fmla="*/ 529 h 541"/>
                <a:gd name="T76" fmla="*/ 111 w 457"/>
                <a:gd name="T77" fmla="*/ 537 h 541"/>
                <a:gd name="T78" fmla="*/ 104 w 457"/>
                <a:gd name="T79" fmla="*/ 506 h 541"/>
                <a:gd name="T80" fmla="*/ 89 w 457"/>
                <a:gd name="T81" fmla="*/ 472 h 541"/>
                <a:gd name="T82" fmla="*/ 77 w 457"/>
                <a:gd name="T83" fmla="*/ 453 h 541"/>
                <a:gd name="T84" fmla="*/ 65 w 457"/>
                <a:gd name="T85" fmla="*/ 426 h 541"/>
                <a:gd name="T86" fmla="*/ 69 w 457"/>
                <a:gd name="T87" fmla="*/ 407 h 541"/>
                <a:gd name="T88" fmla="*/ 59 w 457"/>
                <a:gd name="T89" fmla="*/ 385 h 541"/>
                <a:gd name="T90" fmla="*/ 48 w 457"/>
                <a:gd name="T91" fmla="*/ 361 h 541"/>
                <a:gd name="T92" fmla="*/ 40 w 457"/>
                <a:gd name="T93" fmla="*/ 339 h 541"/>
                <a:gd name="T94" fmla="*/ 26 w 457"/>
                <a:gd name="T95" fmla="*/ 314 h 541"/>
                <a:gd name="T96" fmla="*/ 42 w 457"/>
                <a:gd name="T97" fmla="*/ 285 h 541"/>
                <a:gd name="T98" fmla="*/ 53 w 457"/>
                <a:gd name="T99" fmla="*/ 271 h 541"/>
                <a:gd name="T100" fmla="*/ 32 w 457"/>
                <a:gd name="T101" fmla="*/ 246 h 541"/>
                <a:gd name="T102" fmla="*/ 24 w 457"/>
                <a:gd name="T103" fmla="*/ 220 h 541"/>
                <a:gd name="T104" fmla="*/ 29 w 457"/>
                <a:gd name="T105" fmla="*/ 195 h 541"/>
                <a:gd name="T106" fmla="*/ 29 w 457"/>
                <a:gd name="T107" fmla="*/ 168 h 541"/>
                <a:gd name="T108" fmla="*/ 29 w 457"/>
                <a:gd name="T109" fmla="*/ 141 h 541"/>
                <a:gd name="T110" fmla="*/ 37 w 457"/>
                <a:gd name="T111" fmla="*/ 116 h 541"/>
                <a:gd name="T112" fmla="*/ 40 w 457"/>
                <a:gd name="T113" fmla="*/ 280 h 541"/>
                <a:gd name="T114" fmla="*/ 37 w 457"/>
                <a:gd name="T115" fmla="*/ 261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57" h="541">
                  <a:moveTo>
                    <a:pt x="0" y="52"/>
                  </a:moveTo>
                  <a:lnTo>
                    <a:pt x="5" y="52"/>
                  </a:lnTo>
                  <a:lnTo>
                    <a:pt x="8" y="51"/>
                  </a:lnTo>
                  <a:lnTo>
                    <a:pt x="12" y="52"/>
                  </a:lnTo>
                  <a:lnTo>
                    <a:pt x="15" y="52"/>
                  </a:lnTo>
                  <a:lnTo>
                    <a:pt x="19" y="52"/>
                  </a:lnTo>
                  <a:lnTo>
                    <a:pt x="23" y="54"/>
                  </a:lnTo>
                  <a:lnTo>
                    <a:pt x="26" y="54"/>
                  </a:lnTo>
                  <a:lnTo>
                    <a:pt x="29" y="54"/>
                  </a:lnTo>
                  <a:lnTo>
                    <a:pt x="31" y="54"/>
                  </a:lnTo>
                  <a:lnTo>
                    <a:pt x="31" y="57"/>
                  </a:lnTo>
                  <a:lnTo>
                    <a:pt x="34" y="58"/>
                  </a:lnTo>
                  <a:lnTo>
                    <a:pt x="37" y="58"/>
                  </a:lnTo>
                  <a:lnTo>
                    <a:pt x="40" y="55"/>
                  </a:lnTo>
                  <a:lnTo>
                    <a:pt x="43" y="54"/>
                  </a:lnTo>
                  <a:lnTo>
                    <a:pt x="46" y="54"/>
                  </a:lnTo>
                  <a:lnTo>
                    <a:pt x="50" y="49"/>
                  </a:lnTo>
                  <a:lnTo>
                    <a:pt x="51" y="46"/>
                  </a:lnTo>
                  <a:lnTo>
                    <a:pt x="53" y="43"/>
                  </a:lnTo>
                  <a:lnTo>
                    <a:pt x="56" y="39"/>
                  </a:lnTo>
                  <a:lnTo>
                    <a:pt x="59" y="39"/>
                  </a:lnTo>
                  <a:lnTo>
                    <a:pt x="64" y="39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9" y="38"/>
                  </a:lnTo>
                  <a:lnTo>
                    <a:pt x="70" y="35"/>
                  </a:lnTo>
                  <a:lnTo>
                    <a:pt x="73" y="32"/>
                  </a:lnTo>
                  <a:lnTo>
                    <a:pt x="77" y="28"/>
                  </a:lnTo>
                  <a:lnTo>
                    <a:pt x="80" y="28"/>
                  </a:lnTo>
                  <a:lnTo>
                    <a:pt x="85" y="25"/>
                  </a:lnTo>
                  <a:lnTo>
                    <a:pt x="86" y="25"/>
                  </a:lnTo>
                  <a:lnTo>
                    <a:pt x="89" y="24"/>
                  </a:lnTo>
                  <a:lnTo>
                    <a:pt x="96" y="17"/>
                  </a:lnTo>
                  <a:lnTo>
                    <a:pt x="99" y="14"/>
                  </a:lnTo>
                  <a:lnTo>
                    <a:pt x="99" y="12"/>
                  </a:lnTo>
                  <a:lnTo>
                    <a:pt x="104" y="11"/>
                  </a:lnTo>
                  <a:lnTo>
                    <a:pt x="104" y="9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5" y="6"/>
                  </a:lnTo>
                  <a:lnTo>
                    <a:pt x="118" y="6"/>
                  </a:lnTo>
                  <a:lnTo>
                    <a:pt x="121" y="5"/>
                  </a:lnTo>
                  <a:lnTo>
                    <a:pt x="126" y="5"/>
                  </a:lnTo>
                  <a:lnTo>
                    <a:pt x="129" y="3"/>
                  </a:lnTo>
                  <a:lnTo>
                    <a:pt x="132" y="3"/>
                  </a:lnTo>
                  <a:lnTo>
                    <a:pt x="135" y="3"/>
                  </a:lnTo>
                  <a:lnTo>
                    <a:pt x="138" y="5"/>
                  </a:lnTo>
                  <a:lnTo>
                    <a:pt x="143" y="6"/>
                  </a:lnTo>
                  <a:lnTo>
                    <a:pt x="145" y="3"/>
                  </a:lnTo>
                  <a:lnTo>
                    <a:pt x="146" y="0"/>
                  </a:lnTo>
                  <a:lnTo>
                    <a:pt x="150" y="3"/>
                  </a:lnTo>
                  <a:lnTo>
                    <a:pt x="153" y="6"/>
                  </a:lnTo>
                  <a:lnTo>
                    <a:pt x="151" y="9"/>
                  </a:lnTo>
                  <a:lnTo>
                    <a:pt x="151" y="12"/>
                  </a:lnTo>
                  <a:lnTo>
                    <a:pt x="153" y="16"/>
                  </a:lnTo>
                  <a:lnTo>
                    <a:pt x="153" y="20"/>
                  </a:lnTo>
                  <a:lnTo>
                    <a:pt x="153" y="24"/>
                  </a:lnTo>
                  <a:lnTo>
                    <a:pt x="151" y="27"/>
                  </a:lnTo>
                  <a:lnTo>
                    <a:pt x="150" y="28"/>
                  </a:lnTo>
                  <a:lnTo>
                    <a:pt x="148" y="33"/>
                  </a:lnTo>
                  <a:lnTo>
                    <a:pt x="150" y="35"/>
                  </a:lnTo>
                  <a:lnTo>
                    <a:pt x="150" y="38"/>
                  </a:lnTo>
                  <a:lnTo>
                    <a:pt x="151" y="43"/>
                  </a:lnTo>
                  <a:lnTo>
                    <a:pt x="150" y="46"/>
                  </a:lnTo>
                  <a:lnTo>
                    <a:pt x="154" y="47"/>
                  </a:lnTo>
                  <a:lnTo>
                    <a:pt x="154" y="49"/>
                  </a:lnTo>
                  <a:lnTo>
                    <a:pt x="154" y="54"/>
                  </a:lnTo>
                  <a:lnTo>
                    <a:pt x="153" y="57"/>
                  </a:lnTo>
                  <a:lnTo>
                    <a:pt x="151" y="60"/>
                  </a:lnTo>
                  <a:lnTo>
                    <a:pt x="153" y="63"/>
                  </a:lnTo>
                  <a:lnTo>
                    <a:pt x="154" y="66"/>
                  </a:lnTo>
                  <a:lnTo>
                    <a:pt x="154" y="71"/>
                  </a:lnTo>
                  <a:lnTo>
                    <a:pt x="156" y="74"/>
                  </a:lnTo>
                  <a:lnTo>
                    <a:pt x="159" y="76"/>
                  </a:lnTo>
                  <a:lnTo>
                    <a:pt x="161" y="79"/>
                  </a:lnTo>
                  <a:lnTo>
                    <a:pt x="159" y="82"/>
                  </a:lnTo>
                  <a:lnTo>
                    <a:pt x="164" y="84"/>
                  </a:lnTo>
                  <a:lnTo>
                    <a:pt x="167" y="87"/>
                  </a:lnTo>
                  <a:lnTo>
                    <a:pt x="169" y="90"/>
                  </a:lnTo>
                  <a:lnTo>
                    <a:pt x="169" y="90"/>
                  </a:lnTo>
                  <a:lnTo>
                    <a:pt x="169" y="92"/>
                  </a:lnTo>
                  <a:lnTo>
                    <a:pt x="169" y="95"/>
                  </a:lnTo>
                  <a:lnTo>
                    <a:pt x="172" y="95"/>
                  </a:lnTo>
                  <a:lnTo>
                    <a:pt x="175" y="95"/>
                  </a:lnTo>
                  <a:lnTo>
                    <a:pt x="178" y="100"/>
                  </a:lnTo>
                  <a:lnTo>
                    <a:pt x="181" y="103"/>
                  </a:lnTo>
                  <a:lnTo>
                    <a:pt x="184" y="103"/>
                  </a:lnTo>
                  <a:lnTo>
                    <a:pt x="188" y="104"/>
                  </a:lnTo>
                  <a:lnTo>
                    <a:pt x="188" y="108"/>
                  </a:lnTo>
                  <a:lnTo>
                    <a:pt x="189" y="111"/>
                  </a:lnTo>
                  <a:lnTo>
                    <a:pt x="191" y="112"/>
                  </a:lnTo>
                  <a:lnTo>
                    <a:pt x="194" y="114"/>
                  </a:lnTo>
                  <a:lnTo>
                    <a:pt x="196" y="114"/>
                  </a:lnTo>
                  <a:lnTo>
                    <a:pt x="199" y="114"/>
                  </a:lnTo>
                  <a:lnTo>
                    <a:pt x="202" y="116"/>
                  </a:lnTo>
                  <a:lnTo>
                    <a:pt x="205" y="117"/>
                  </a:lnTo>
                  <a:lnTo>
                    <a:pt x="208" y="117"/>
                  </a:lnTo>
                  <a:lnTo>
                    <a:pt x="213" y="114"/>
                  </a:lnTo>
                  <a:lnTo>
                    <a:pt x="216" y="114"/>
                  </a:lnTo>
                  <a:lnTo>
                    <a:pt x="219" y="116"/>
                  </a:lnTo>
                  <a:lnTo>
                    <a:pt x="222" y="117"/>
                  </a:lnTo>
                  <a:lnTo>
                    <a:pt x="226" y="120"/>
                  </a:lnTo>
                  <a:lnTo>
                    <a:pt x="230" y="123"/>
                  </a:lnTo>
                  <a:lnTo>
                    <a:pt x="234" y="123"/>
                  </a:lnTo>
                  <a:lnTo>
                    <a:pt x="237" y="120"/>
                  </a:lnTo>
                  <a:lnTo>
                    <a:pt x="237" y="120"/>
                  </a:lnTo>
                  <a:lnTo>
                    <a:pt x="240" y="123"/>
                  </a:lnTo>
                  <a:lnTo>
                    <a:pt x="242" y="127"/>
                  </a:lnTo>
                  <a:lnTo>
                    <a:pt x="245" y="130"/>
                  </a:lnTo>
                  <a:lnTo>
                    <a:pt x="248" y="133"/>
                  </a:lnTo>
                  <a:lnTo>
                    <a:pt x="251" y="136"/>
                  </a:lnTo>
                  <a:lnTo>
                    <a:pt x="254" y="135"/>
                  </a:lnTo>
                  <a:lnTo>
                    <a:pt x="257" y="138"/>
                  </a:lnTo>
                  <a:lnTo>
                    <a:pt x="262" y="138"/>
                  </a:lnTo>
                  <a:lnTo>
                    <a:pt x="265" y="141"/>
                  </a:lnTo>
                  <a:lnTo>
                    <a:pt x="268" y="141"/>
                  </a:lnTo>
                  <a:lnTo>
                    <a:pt x="272" y="141"/>
                  </a:lnTo>
                  <a:lnTo>
                    <a:pt x="280" y="149"/>
                  </a:lnTo>
                  <a:lnTo>
                    <a:pt x="288" y="157"/>
                  </a:lnTo>
                  <a:lnTo>
                    <a:pt x="291" y="157"/>
                  </a:lnTo>
                  <a:lnTo>
                    <a:pt x="294" y="157"/>
                  </a:lnTo>
                  <a:lnTo>
                    <a:pt x="295" y="157"/>
                  </a:lnTo>
                  <a:lnTo>
                    <a:pt x="299" y="158"/>
                  </a:lnTo>
                  <a:lnTo>
                    <a:pt x="302" y="157"/>
                  </a:lnTo>
                  <a:lnTo>
                    <a:pt x="305" y="155"/>
                  </a:lnTo>
                  <a:lnTo>
                    <a:pt x="308" y="157"/>
                  </a:lnTo>
                  <a:lnTo>
                    <a:pt x="313" y="155"/>
                  </a:lnTo>
                  <a:lnTo>
                    <a:pt x="316" y="157"/>
                  </a:lnTo>
                  <a:lnTo>
                    <a:pt x="319" y="160"/>
                  </a:lnTo>
                  <a:lnTo>
                    <a:pt x="322" y="162"/>
                  </a:lnTo>
                  <a:lnTo>
                    <a:pt x="326" y="163"/>
                  </a:lnTo>
                  <a:lnTo>
                    <a:pt x="329" y="166"/>
                  </a:lnTo>
                  <a:lnTo>
                    <a:pt x="332" y="168"/>
                  </a:lnTo>
                  <a:lnTo>
                    <a:pt x="337" y="169"/>
                  </a:lnTo>
                  <a:lnTo>
                    <a:pt x="338" y="174"/>
                  </a:lnTo>
                  <a:lnTo>
                    <a:pt x="340" y="176"/>
                  </a:lnTo>
                  <a:lnTo>
                    <a:pt x="337" y="179"/>
                  </a:lnTo>
                  <a:lnTo>
                    <a:pt x="337" y="184"/>
                  </a:lnTo>
                  <a:lnTo>
                    <a:pt x="338" y="187"/>
                  </a:lnTo>
                  <a:lnTo>
                    <a:pt x="340" y="190"/>
                  </a:lnTo>
                  <a:lnTo>
                    <a:pt x="341" y="193"/>
                  </a:lnTo>
                  <a:lnTo>
                    <a:pt x="343" y="198"/>
                  </a:lnTo>
                  <a:lnTo>
                    <a:pt x="343" y="198"/>
                  </a:lnTo>
                  <a:lnTo>
                    <a:pt x="345" y="203"/>
                  </a:lnTo>
                  <a:lnTo>
                    <a:pt x="346" y="208"/>
                  </a:lnTo>
                  <a:lnTo>
                    <a:pt x="346" y="214"/>
                  </a:lnTo>
                  <a:lnTo>
                    <a:pt x="346" y="217"/>
                  </a:lnTo>
                  <a:lnTo>
                    <a:pt x="348" y="220"/>
                  </a:lnTo>
                  <a:lnTo>
                    <a:pt x="343" y="220"/>
                  </a:lnTo>
                  <a:lnTo>
                    <a:pt x="338" y="222"/>
                  </a:lnTo>
                  <a:lnTo>
                    <a:pt x="340" y="225"/>
                  </a:lnTo>
                  <a:lnTo>
                    <a:pt x="343" y="228"/>
                  </a:lnTo>
                  <a:lnTo>
                    <a:pt x="346" y="231"/>
                  </a:lnTo>
                  <a:lnTo>
                    <a:pt x="349" y="234"/>
                  </a:lnTo>
                  <a:lnTo>
                    <a:pt x="351" y="239"/>
                  </a:lnTo>
                  <a:lnTo>
                    <a:pt x="351" y="242"/>
                  </a:lnTo>
                  <a:lnTo>
                    <a:pt x="353" y="255"/>
                  </a:lnTo>
                  <a:lnTo>
                    <a:pt x="354" y="266"/>
                  </a:lnTo>
                  <a:lnTo>
                    <a:pt x="359" y="269"/>
                  </a:lnTo>
                  <a:lnTo>
                    <a:pt x="360" y="269"/>
                  </a:lnTo>
                  <a:lnTo>
                    <a:pt x="365" y="269"/>
                  </a:lnTo>
                  <a:lnTo>
                    <a:pt x="368" y="269"/>
                  </a:lnTo>
                  <a:lnTo>
                    <a:pt x="375" y="269"/>
                  </a:lnTo>
                  <a:lnTo>
                    <a:pt x="386" y="269"/>
                  </a:lnTo>
                  <a:lnTo>
                    <a:pt x="397" y="271"/>
                  </a:lnTo>
                  <a:lnTo>
                    <a:pt x="397" y="271"/>
                  </a:lnTo>
                  <a:lnTo>
                    <a:pt x="410" y="271"/>
                  </a:lnTo>
                  <a:lnTo>
                    <a:pt x="421" y="271"/>
                  </a:lnTo>
                  <a:lnTo>
                    <a:pt x="421" y="273"/>
                  </a:lnTo>
                  <a:lnTo>
                    <a:pt x="421" y="276"/>
                  </a:lnTo>
                  <a:lnTo>
                    <a:pt x="421" y="279"/>
                  </a:lnTo>
                  <a:lnTo>
                    <a:pt x="418" y="282"/>
                  </a:lnTo>
                  <a:lnTo>
                    <a:pt x="416" y="285"/>
                  </a:lnTo>
                  <a:lnTo>
                    <a:pt x="418" y="288"/>
                  </a:lnTo>
                  <a:lnTo>
                    <a:pt x="418" y="293"/>
                  </a:lnTo>
                  <a:lnTo>
                    <a:pt x="419" y="296"/>
                  </a:lnTo>
                  <a:lnTo>
                    <a:pt x="419" y="299"/>
                  </a:lnTo>
                  <a:lnTo>
                    <a:pt x="421" y="304"/>
                  </a:lnTo>
                  <a:lnTo>
                    <a:pt x="421" y="307"/>
                  </a:lnTo>
                  <a:lnTo>
                    <a:pt x="425" y="311"/>
                  </a:lnTo>
                  <a:lnTo>
                    <a:pt x="429" y="314"/>
                  </a:lnTo>
                  <a:lnTo>
                    <a:pt x="432" y="315"/>
                  </a:lnTo>
                  <a:lnTo>
                    <a:pt x="435" y="319"/>
                  </a:lnTo>
                  <a:lnTo>
                    <a:pt x="437" y="320"/>
                  </a:lnTo>
                  <a:lnTo>
                    <a:pt x="441" y="319"/>
                  </a:lnTo>
                  <a:lnTo>
                    <a:pt x="441" y="319"/>
                  </a:lnTo>
                  <a:lnTo>
                    <a:pt x="445" y="322"/>
                  </a:lnTo>
                  <a:lnTo>
                    <a:pt x="446" y="323"/>
                  </a:lnTo>
                  <a:lnTo>
                    <a:pt x="446" y="325"/>
                  </a:lnTo>
                  <a:lnTo>
                    <a:pt x="448" y="328"/>
                  </a:lnTo>
                  <a:lnTo>
                    <a:pt x="448" y="328"/>
                  </a:lnTo>
                  <a:lnTo>
                    <a:pt x="449" y="333"/>
                  </a:lnTo>
                  <a:lnTo>
                    <a:pt x="449" y="336"/>
                  </a:lnTo>
                  <a:lnTo>
                    <a:pt x="452" y="341"/>
                  </a:lnTo>
                  <a:lnTo>
                    <a:pt x="454" y="342"/>
                  </a:lnTo>
                  <a:lnTo>
                    <a:pt x="456" y="345"/>
                  </a:lnTo>
                  <a:lnTo>
                    <a:pt x="457" y="349"/>
                  </a:lnTo>
                  <a:lnTo>
                    <a:pt x="454" y="361"/>
                  </a:lnTo>
                  <a:lnTo>
                    <a:pt x="451" y="377"/>
                  </a:lnTo>
                  <a:lnTo>
                    <a:pt x="452" y="377"/>
                  </a:lnTo>
                  <a:lnTo>
                    <a:pt x="452" y="380"/>
                  </a:lnTo>
                  <a:lnTo>
                    <a:pt x="454" y="382"/>
                  </a:lnTo>
                  <a:lnTo>
                    <a:pt x="451" y="385"/>
                  </a:lnTo>
                  <a:lnTo>
                    <a:pt x="449" y="388"/>
                  </a:lnTo>
                  <a:lnTo>
                    <a:pt x="448" y="391"/>
                  </a:lnTo>
                  <a:lnTo>
                    <a:pt x="446" y="396"/>
                  </a:lnTo>
                  <a:lnTo>
                    <a:pt x="446" y="399"/>
                  </a:lnTo>
                  <a:lnTo>
                    <a:pt x="445" y="403"/>
                  </a:lnTo>
                  <a:lnTo>
                    <a:pt x="443" y="409"/>
                  </a:lnTo>
                  <a:lnTo>
                    <a:pt x="443" y="412"/>
                  </a:lnTo>
                  <a:lnTo>
                    <a:pt x="446" y="415"/>
                  </a:lnTo>
                  <a:lnTo>
                    <a:pt x="452" y="420"/>
                  </a:lnTo>
                  <a:lnTo>
                    <a:pt x="452" y="422"/>
                  </a:lnTo>
                  <a:lnTo>
                    <a:pt x="448" y="423"/>
                  </a:lnTo>
                  <a:lnTo>
                    <a:pt x="445" y="426"/>
                  </a:lnTo>
                  <a:lnTo>
                    <a:pt x="443" y="428"/>
                  </a:lnTo>
                  <a:lnTo>
                    <a:pt x="443" y="425"/>
                  </a:lnTo>
                  <a:lnTo>
                    <a:pt x="443" y="422"/>
                  </a:lnTo>
                  <a:lnTo>
                    <a:pt x="441" y="418"/>
                  </a:lnTo>
                  <a:lnTo>
                    <a:pt x="441" y="414"/>
                  </a:lnTo>
                  <a:lnTo>
                    <a:pt x="424" y="403"/>
                  </a:lnTo>
                  <a:lnTo>
                    <a:pt x="406" y="393"/>
                  </a:lnTo>
                  <a:lnTo>
                    <a:pt x="386" y="393"/>
                  </a:lnTo>
                  <a:lnTo>
                    <a:pt x="367" y="395"/>
                  </a:lnTo>
                  <a:lnTo>
                    <a:pt x="354" y="399"/>
                  </a:lnTo>
                  <a:lnTo>
                    <a:pt x="340" y="403"/>
                  </a:lnTo>
                  <a:lnTo>
                    <a:pt x="327" y="404"/>
                  </a:lnTo>
                  <a:lnTo>
                    <a:pt x="313" y="407"/>
                  </a:lnTo>
                  <a:lnTo>
                    <a:pt x="311" y="417"/>
                  </a:lnTo>
                  <a:lnTo>
                    <a:pt x="308" y="425"/>
                  </a:lnTo>
                  <a:lnTo>
                    <a:pt x="305" y="433"/>
                  </a:lnTo>
                  <a:lnTo>
                    <a:pt x="300" y="441"/>
                  </a:lnTo>
                  <a:lnTo>
                    <a:pt x="300" y="441"/>
                  </a:lnTo>
                  <a:lnTo>
                    <a:pt x="299" y="444"/>
                  </a:lnTo>
                  <a:lnTo>
                    <a:pt x="299" y="445"/>
                  </a:lnTo>
                  <a:lnTo>
                    <a:pt x="299" y="449"/>
                  </a:lnTo>
                  <a:lnTo>
                    <a:pt x="299" y="452"/>
                  </a:lnTo>
                  <a:lnTo>
                    <a:pt x="300" y="455"/>
                  </a:lnTo>
                  <a:lnTo>
                    <a:pt x="300" y="466"/>
                  </a:lnTo>
                  <a:lnTo>
                    <a:pt x="299" y="477"/>
                  </a:lnTo>
                  <a:lnTo>
                    <a:pt x="295" y="495"/>
                  </a:lnTo>
                  <a:lnTo>
                    <a:pt x="292" y="514"/>
                  </a:lnTo>
                  <a:lnTo>
                    <a:pt x="289" y="510"/>
                  </a:lnTo>
                  <a:lnTo>
                    <a:pt x="288" y="507"/>
                  </a:lnTo>
                  <a:lnTo>
                    <a:pt x="286" y="504"/>
                  </a:lnTo>
                  <a:lnTo>
                    <a:pt x="278" y="504"/>
                  </a:lnTo>
                  <a:lnTo>
                    <a:pt x="270" y="504"/>
                  </a:lnTo>
                  <a:lnTo>
                    <a:pt x="265" y="504"/>
                  </a:lnTo>
                  <a:lnTo>
                    <a:pt x="256" y="504"/>
                  </a:lnTo>
                  <a:lnTo>
                    <a:pt x="254" y="504"/>
                  </a:lnTo>
                  <a:lnTo>
                    <a:pt x="254" y="506"/>
                  </a:lnTo>
                  <a:lnTo>
                    <a:pt x="254" y="506"/>
                  </a:lnTo>
                  <a:lnTo>
                    <a:pt x="253" y="506"/>
                  </a:lnTo>
                  <a:lnTo>
                    <a:pt x="248" y="504"/>
                  </a:lnTo>
                  <a:lnTo>
                    <a:pt x="245" y="507"/>
                  </a:lnTo>
                  <a:lnTo>
                    <a:pt x="243" y="510"/>
                  </a:lnTo>
                  <a:lnTo>
                    <a:pt x="242" y="514"/>
                  </a:lnTo>
                  <a:lnTo>
                    <a:pt x="242" y="517"/>
                  </a:lnTo>
                  <a:lnTo>
                    <a:pt x="242" y="522"/>
                  </a:lnTo>
                  <a:lnTo>
                    <a:pt x="238" y="525"/>
                  </a:lnTo>
                  <a:lnTo>
                    <a:pt x="237" y="528"/>
                  </a:lnTo>
                  <a:lnTo>
                    <a:pt x="237" y="531"/>
                  </a:lnTo>
                  <a:lnTo>
                    <a:pt x="237" y="534"/>
                  </a:lnTo>
                  <a:lnTo>
                    <a:pt x="237" y="539"/>
                  </a:lnTo>
                  <a:lnTo>
                    <a:pt x="237" y="539"/>
                  </a:lnTo>
                  <a:lnTo>
                    <a:pt x="237" y="539"/>
                  </a:lnTo>
                  <a:lnTo>
                    <a:pt x="235" y="536"/>
                  </a:lnTo>
                  <a:lnTo>
                    <a:pt x="234" y="533"/>
                  </a:lnTo>
                  <a:lnTo>
                    <a:pt x="232" y="531"/>
                  </a:lnTo>
                  <a:lnTo>
                    <a:pt x="232" y="529"/>
                  </a:lnTo>
                  <a:lnTo>
                    <a:pt x="232" y="526"/>
                  </a:lnTo>
                  <a:lnTo>
                    <a:pt x="229" y="523"/>
                  </a:lnTo>
                  <a:lnTo>
                    <a:pt x="227" y="520"/>
                  </a:lnTo>
                  <a:lnTo>
                    <a:pt x="226" y="517"/>
                  </a:lnTo>
                  <a:lnTo>
                    <a:pt x="224" y="512"/>
                  </a:lnTo>
                  <a:lnTo>
                    <a:pt x="221" y="510"/>
                  </a:lnTo>
                  <a:lnTo>
                    <a:pt x="219" y="510"/>
                  </a:lnTo>
                  <a:lnTo>
                    <a:pt x="216" y="509"/>
                  </a:lnTo>
                  <a:lnTo>
                    <a:pt x="213" y="509"/>
                  </a:lnTo>
                  <a:lnTo>
                    <a:pt x="208" y="507"/>
                  </a:lnTo>
                  <a:lnTo>
                    <a:pt x="207" y="507"/>
                  </a:lnTo>
                  <a:lnTo>
                    <a:pt x="202" y="507"/>
                  </a:lnTo>
                  <a:lnTo>
                    <a:pt x="191" y="507"/>
                  </a:lnTo>
                  <a:lnTo>
                    <a:pt x="188" y="507"/>
                  </a:lnTo>
                  <a:lnTo>
                    <a:pt x="188" y="507"/>
                  </a:lnTo>
                  <a:lnTo>
                    <a:pt x="186" y="507"/>
                  </a:lnTo>
                  <a:lnTo>
                    <a:pt x="181" y="507"/>
                  </a:lnTo>
                  <a:lnTo>
                    <a:pt x="178" y="504"/>
                  </a:lnTo>
                  <a:lnTo>
                    <a:pt x="175" y="501"/>
                  </a:lnTo>
                  <a:lnTo>
                    <a:pt x="172" y="499"/>
                  </a:lnTo>
                  <a:lnTo>
                    <a:pt x="167" y="496"/>
                  </a:lnTo>
                  <a:lnTo>
                    <a:pt x="164" y="495"/>
                  </a:lnTo>
                  <a:lnTo>
                    <a:pt x="164" y="501"/>
                  </a:lnTo>
                  <a:lnTo>
                    <a:pt x="162" y="504"/>
                  </a:lnTo>
                  <a:lnTo>
                    <a:pt x="162" y="509"/>
                  </a:lnTo>
                  <a:lnTo>
                    <a:pt x="159" y="509"/>
                  </a:lnTo>
                  <a:lnTo>
                    <a:pt x="156" y="510"/>
                  </a:lnTo>
                  <a:lnTo>
                    <a:pt x="151" y="512"/>
                  </a:lnTo>
                  <a:lnTo>
                    <a:pt x="148" y="515"/>
                  </a:lnTo>
                  <a:lnTo>
                    <a:pt x="148" y="518"/>
                  </a:lnTo>
                  <a:lnTo>
                    <a:pt x="148" y="522"/>
                  </a:lnTo>
                  <a:lnTo>
                    <a:pt x="143" y="523"/>
                  </a:lnTo>
                  <a:lnTo>
                    <a:pt x="140" y="526"/>
                  </a:lnTo>
                  <a:lnTo>
                    <a:pt x="140" y="529"/>
                  </a:lnTo>
                  <a:lnTo>
                    <a:pt x="137" y="534"/>
                  </a:lnTo>
                  <a:lnTo>
                    <a:pt x="135" y="537"/>
                  </a:lnTo>
                  <a:lnTo>
                    <a:pt x="132" y="537"/>
                  </a:lnTo>
                  <a:lnTo>
                    <a:pt x="127" y="539"/>
                  </a:lnTo>
                  <a:lnTo>
                    <a:pt x="124" y="539"/>
                  </a:lnTo>
                  <a:lnTo>
                    <a:pt x="119" y="541"/>
                  </a:lnTo>
                  <a:lnTo>
                    <a:pt x="116" y="539"/>
                  </a:lnTo>
                  <a:lnTo>
                    <a:pt x="111" y="537"/>
                  </a:lnTo>
                  <a:lnTo>
                    <a:pt x="110" y="534"/>
                  </a:lnTo>
                  <a:lnTo>
                    <a:pt x="110" y="529"/>
                  </a:lnTo>
                  <a:lnTo>
                    <a:pt x="110" y="525"/>
                  </a:lnTo>
                  <a:lnTo>
                    <a:pt x="108" y="520"/>
                  </a:lnTo>
                  <a:lnTo>
                    <a:pt x="105" y="517"/>
                  </a:lnTo>
                  <a:lnTo>
                    <a:pt x="107" y="514"/>
                  </a:lnTo>
                  <a:lnTo>
                    <a:pt x="104" y="509"/>
                  </a:lnTo>
                  <a:lnTo>
                    <a:pt x="104" y="506"/>
                  </a:lnTo>
                  <a:lnTo>
                    <a:pt x="100" y="502"/>
                  </a:lnTo>
                  <a:lnTo>
                    <a:pt x="99" y="499"/>
                  </a:lnTo>
                  <a:lnTo>
                    <a:pt x="99" y="496"/>
                  </a:lnTo>
                  <a:lnTo>
                    <a:pt x="94" y="488"/>
                  </a:lnTo>
                  <a:lnTo>
                    <a:pt x="92" y="479"/>
                  </a:lnTo>
                  <a:lnTo>
                    <a:pt x="92" y="474"/>
                  </a:lnTo>
                  <a:lnTo>
                    <a:pt x="91" y="472"/>
                  </a:lnTo>
                  <a:lnTo>
                    <a:pt x="89" y="472"/>
                  </a:lnTo>
                  <a:lnTo>
                    <a:pt x="89" y="471"/>
                  </a:lnTo>
                  <a:lnTo>
                    <a:pt x="88" y="469"/>
                  </a:lnTo>
                  <a:lnTo>
                    <a:pt x="86" y="466"/>
                  </a:lnTo>
                  <a:lnTo>
                    <a:pt x="83" y="463"/>
                  </a:lnTo>
                  <a:lnTo>
                    <a:pt x="80" y="460"/>
                  </a:lnTo>
                  <a:lnTo>
                    <a:pt x="78" y="460"/>
                  </a:lnTo>
                  <a:lnTo>
                    <a:pt x="77" y="456"/>
                  </a:lnTo>
                  <a:lnTo>
                    <a:pt x="77" y="453"/>
                  </a:lnTo>
                  <a:lnTo>
                    <a:pt x="78" y="449"/>
                  </a:lnTo>
                  <a:lnTo>
                    <a:pt x="77" y="445"/>
                  </a:lnTo>
                  <a:lnTo>
                    <a:pt x="73" y="444"/>
                  </a:lnTo>
                  <a:lnTo>
                    <a:pt x="69" y="441"/>
                  </a:lnTo>
                  <a:lnTo>
                    <a:pt x="67" y="437"/>
                  </a:lnTo>
                  <a:lnTo>
                    <a:pt x="69" y="434"/>
                  </a:lnTo>
                  <a:lnTo>
                    <a:pt x="69" y="430"/>
                  </a:lnTo>
                  <a:lnTo>
                    <a:pt x="65" y="426"/>
                  </a:lnTo>
                  <a:lnTo>
                    <a:pt x="69" y="425"/>
                  </a:lnTo>
                  <a:lnTo>
                    <a:pt x="72" y="425"/>
                  </a:lnTo>
                  <a:lnTo>
                    <a:pt x="73" y="422"/>
                  </a:lnTo>
                  <a:lnTo>
                    <a:pt x="73" y="418"/>
                  </a:lnTo>
                  <a:lnTo>
                    <a:pt x="72" y="415"/>
                  </a:lnTo>
                  <a:lnTo>
                    <a:pt x="70" y="414"/>
                  </a:lnTo>
                  <a:lnTo>
                    <a:pt x="65" y="411"/>
                  </a:lnTo>
                  <a:lnTo>
                    <a:pt x="69" y="407"/>
                  </a:lnTo>
                  <a:lnTo>
                    <a:pt x="70" y="404"/>
                  </a:lnTo>
                  <a:lnTo>
                    <a:pt x="70" y="404"/>
                  </a:lnTo>
                  <a:lnTo>
                    <a:pt x="72" y="399"/>
                  </a:lnTo>
                  <a:lnTo>
                    <a:pt x="72" y="396"/>
                  </a:lnTo>
                  <a:lnTo>
                    <a:pt x="69" y="393"/>
                  </a:lnTo>
                  <a:lnTo>
                    <a:pt x="65" y="391"/>
                  </a:lnTo>
                  <a:lnTo>
                    <a:pt x="62" y="388"/>
                  </a:lnTo>
                  <a:lnTo>
                    <a:pt x="59" y="385"/>
                  </a:lnTo>
                  <a:lnTo>
                    <a:pt x="56" y="384"/>
                  </a:lnTo>
                  <a:lnTo>
                    <a:pt x="54" y="382"/>
                  </a:lnTo>
                  <a:lnTo>
                    <a:pt x="53" y="379"/>
                  </a:lnTo>
                  <a:lnTo>
                    <a:pt x="53" y="374"/>
                  </a:lnTo>
                  <a:lnTo>
                    <a:pt x="51" y="371"/>
                  </a:lnTo>
                  <a:lnTo>
                    <a:pt x="50" y="368"/>
                  </a:lnTo>
                  <a:lnTo>
                    <a:pt x="50" y="365"/>
                  </a:lnTo>
                  <a:lnTo>
                    <a:pt x="48" y="361"/>
                  </a:lnTo>
                  <a:lnTo>
                    <a:pt x="48" y="358"/>
                  </a:lnTo>
                  <a:lnTo>
                    <a:pt x="46" y="355"/>
                  </a:lnTo>
                  <a:lnTo>
                    <a:pt x="45" y="352"/>
                  </a:lnTo>
                  <a:lnTo>
                    <a:pt x="45" y="349"/>
                  </a:lnTo>
                  <a:lnTo>
                    <a:pt x="43" y="345"/>
                  </a:lnTo>
                  <a:lnTo>
                    <a:pt x="45" y="341"/>
                  </a:lnTo>
                  <a:lnTo>
                    <a:pt x="43" y="341"/>
                  </a:lnTo>
                  <a:lnTo>
                    <a:pt x="40" y="339"/>
                  </a:lnTo>
                  <a:lnTo>
                    <a:pt x="35" y="338"/>
                  </a:lnTo>
                  <a:lnTo>
                    <a:pt x="35" y="334"/>
                  </a:lnTo>
                  <a:lnTo>
                    <a:pt x="34" y="331"/>
                  </a:lnTo>
                  <a:lnTo>
                    <a:pt x="31" y="326"/>
                  </a:lnTo>
                  <a:lnTo>
                    <a:pt x="27" y="323"/>
                  </a:lnTo>
                  <a:lnTo>
                    <a:pt x="27" y="320"/>
                  </a:lnTo>
                  <a:lnTo>
                    <a:pt x="27" y="317"/>
                  </a:lnTo>
                  <a:lnTo>
                    <a:pt x="26" y="314"/>
                  </a:lnTo>
                  <a:lnTo>
                    <a:pt x="24" y="312"/>
                  </a:lnTo>
                  <a:lnTo>
                    <a:pt x="21" y="311"/>
                  </a:lnTo>
                  <a:lnTo>
                    <a:pt x="21" y="311"/>
                  </a:lnTo>
                  <a:lnTo>
                    <a:pt x="23" y="306"/>
                  </a:lnTo>
                  <a:lnTo>
                    <a:pt x="26" y="303"/>
                  </a:lnTo>
                  <a:lnTo>
                    <a:pt x="29" y="301"/>
                  </a:lnTo>
                  <a:lnTo>
                    <a:pt x="34" y="292"/>
                  </a:lnTo>
                  <a:lnTo>
                    <a:pt x="42" y="285"/>
                  </a:lnTo>
                  <a:lnTo>
                    <a:pt x="40" y="282"/>
                  </a:lnTo>
                  <a:lnTo>
                    <a:pt x="40" y="280"/>
                  </a:lnTo>
                  <a:lnTo>
                    <a:pt x="46" y="282"/>
                  </a:lnTo>
                  <a:lnTo>
                    <a:pt x="46" y="277"/>
                  </a:lnTo>
                  <a:lnTo>
                    <a:pt x="43" y="276"/>
                  </a:lnTo>
                  <a:lnTo>
                    <a:pt x="48" y="274"/>
                  </a:lnTo>
                  <a:lnTo>
                    <a:pt x="51" y="269"/>
                  </a:lnTo>
                  <a:lnTo>
                    <a:pt x="53" y="271"/>
                  </a:lnTo>
                  <a:lnTo>
                    <a:pt x="51" y="266"/>
                  </a:lnTo>
                  <a:lnTo>
                    <a:pt x="45" y="266"/>
                  </a:lnTo>
                  <a:lnTo>
                    <a:pt x="43" y="263"/>
                  </a:lnTo>
                  <a:lnTo>
                    <a:pt x="45" y="255"/>
                  </a:lnTo>
                  <a:lnTo>
                    <a:pt x="42" y="255"/>
                  </a:lnTo>
                  <a:lnTo>
                    <a:pt x="37" y="252"/>
                  </a:lnTo>
                  <a:lnTo>
                    <a:pt x="37" y="249"/>
                  </a:lnTo>
                  <a:lnTo>
                    <a:pt x="32" y="246"/>
                  </a:lnTo>
                  <a:lnTo>
                    <a:pt x="26" y="241"/>
                  </a:lnTo>
                  <a:lnTo>
                    <a:pt x="24" y="238"/>
                  </a:lnTo>
                  <a:lnTo>
                    <a:pt x="24" y="236"/>
                  </a:lnTo>
                  <a:lnTo>
                    <a:pt x="26" y="234"/>
                  </a:lnTo>
                  <a:lnTo>
                    <a:pt x="27" y="230"/>
                  </a:lnTo>
                  <a:lnTo>
                    <a:pt x="31" y="227"/>
                  </a:lnTo>
                  <a:lnTo>
                    <a:pt x="27" y="223"/>
                  </a:lnTo>
                  <a:lnTo>
                    <a:pt x="24" y="220"/>
                  </a:lnTo>
                  <a:lnTo>
                    <a:pt x="23" y="217"/>
                  </a:lnTo>
                  <a:lnTo>
                    <a:pt x="21" y="215"/>
                  </a:lnTo>
                  <a:lnTo>
                    <a:pt x="21" y="212"/>
                  </a:lnTo>
                  <a:lnTo>
                    <a:pt x="21" y="208"/>
                  </a:lnTo>
                  <a:lnTo>
                    <a:pt x="24" y="206"/>
                  </a:lnTo>
                  <a:lnTo>
                    <a:pt x="24" y="203"/>
                  </a:lnTo>
                  <a:lnTo>
                    <a:pt x="27" y="198"/>
                  </a:lnTo>
                  <a:lnTo>
                    <a:pt x="29" y="195"/>
                  </a:lnTo>
                  <a:lnTo>
                    <a:pt x="32" y="192"/>
                  </a:lnTo>
                  <a:lnTo>
                    <a:pt x="32" y="188"/>
                  </a:lnTo>
                  <a:lnTo>
                    <a:pt x="34" y="185"/>
                  </a:lnTo>
                  <a:lnTo>
                    <a:pt x="37" y="182"/>
                  </a:lnTo>
                  <a:lnTo>
                    <a:pt x="35" y="179"/>
                  </a:lnTo>
                  <a:lnTo>
                    <a:pt x="32" y="174"/>
                  </a:lnTo>
                  <a:lnTo>
                    <a:pt x="31" y="171"/>
                  </a:lnTo>
                  <a:lnTo>
                    <a:pt x="29" y="168"/>
                  </a:lnTo>
                  <a:lnTo>
                    <a:pt x="27" y="165"/>
                  </a:lnTo>
                  <a:lnTo>
                    <a:pt x="29" y="162"/>
                  </a:lnTo>
                  <a:lnTo>
                    <a:pt x="31" y="157"/>
                  </a:lnTo>
                  <a:lnTo>
                    <a:pt x="31" y="154"/>
                  </a:lnTo>
                  <a:lnTo>
                    <a:pt x="31" y="150"/>
                  </a:lnTo>
                  <a:lnTo>
                    <a:pt x="31" y="147"/>
                  </a:lnTo>
                  <a:lnTo>
                    <a:pt x="29" y="144"/>
                  </a:lnTo>
                  <a:lnTo>
                    <a:pt x="29" y="141"/>
                  </a:lnTo>
                  <a:lnTo>
                    <a:pt x="29" y="136"/>
                  </a:lnTo>
                  <a:lnTo>
                    <a:pt x="29" y="135"/>
                  </a:lnTo>
                  <a:lnTo>
                    <a:pt x="29" y="131"/>
                  </a:lnTo>
                  <a:lnTo>
                    <a:pt x="29" y="128"/>
                  </a:lnTo>
                  <a:lnTo>
                    <a:pt x="32" y="125"/>
                  </a:lnTo>
                  <a:lnTo>
                    <a:pt x="37" y="122"/>
                  </a:lnTo>
                  <a:lnTo>
                    <a:pt x="35" y="119"/>
                  </a:lnTo>
                  <a:lnTo>
                    <a:pt x="37" y="116"/>
                  </a:lnTo>
                  <a:lnTo>
                    <a:pt x="39" y="116"/>
                  </a:lnTo>
                  <a:lnTo>
                    <a:pt x="29" y="98"/>
                  </a:lnTo>
                  <a:lnTo>
                    <a:pt x="21" y="82"/>
                  </a:lnTo>
                  <a:lnTo>
                    <a:pt x="12" y="68"/>
                  </a:lnTo>
                  <a:lnTo>
                    <a:pt x="0" y="52"/>
                  </a:lnTo>
                  <a:close/>
                  <a:moveTo>
                    <a:pt x="40" y="280"/>
                  </a:moveTo>
                  <a:lnTo>
                    <a:pt x="40" y="280"/>
                  </a:lnTo>
                  <a:lnTo>
                    <a:pt x="40" y="280"/>
                  </a:lnTo>
                  <a:lnTo>
                    <a:pt x="40" y="280"/>
                  </a:lnTo>
                  <a:lnTo>
                    <a:pt x="40" y="280"/>
                  </a:lnTo>
                  <a:close/>
                  <a:moveTo>
                    <a:pt x="40" y="266"/>
                  </a:moveTo>
                  <a:lnTo>
                    <a:pt x="37" y="268"/>
                  </a:lnTo>
                  <a:lnTo>
                    <a:pt x="35" y="268"/>
                  </a:lnTo>
                  <a:lnTo>
                    <a:pt x="34" y="266"/>
                  </a:lnTo>
                  <a:lnTo>
                    <a:pt x="35" y="266"/>
                  </a:lnTo>
                  <a:lnTo>
                    <a:pt x="37" y="261"/>
                  </a:lnTo>
                  <a:lnTo>
                    <a:pt x="42" y="265"/>
                  </a:lnTo>
                  <a:lnTo>
                    <a:pt x="40" y="266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84" name="Freeform 763"/>
            <p:cNvSpPr>
              <a:spLocks/>
            </p:cNvSpPr>
            <p:nvPr/>
          </p:nvSpPr>
          <p:spPr bwMode="auto">
            <a:xfrm>
              <a:off x="3746111" y="5499138"/>
              <a:ext cx="224965" cy="286020"/>
            </a:xfrm>
            <a:custGeom>
              <a:avLst/>
              <a:gdLst>
                <a:gd name="T0" fmla="*/ 8 w 306"/>
                <a:gd name="T1" fmla="*/ 79 h 339"/>
                <a:gd name="T2" fmla="*/ 8 w 306"/>
                <a:gd name="T3" fmla="*/ 62 h 339"/>
                <a:gd name="T4" fmla="*/ 8 w 306"/>
                <a:gd name="T5" fmla="*/ 48 h 339"/>
                <a:gd name="T6" fmla="*/ 21 w 306"/>
                <a:gd name="T7" fmla="*/ 14 h 339"/>
                <a:gd name="T8" fmla="*/ 92 w 306"/>
                <a:gd name="T9" fmla="*/ 0 h 339"/>
                <a:gd name="T10" fmla="*/ 126 w 306"/>
                <a:gd name="T11" fmla="*/ 6 h 339"/>
                <a:gd name="T12" fmla="*/ 151 w 306"/>
                <a:gd name="T13" fmla="*/ 30 h 339"/>
                <a:gd name="T14" fmla="*/ 157 w 306"/>
                <a:gd name="T15" fmla="*/ 52 h 339"/>
                <a:gd name="T16" fmla="*/ 165 w 306"/>
                <a:gd name="T17" fmla="*/ 68 h 339"/>
                <a:gd name="T18" fmla="*/ 165 w 306"/>
                <a:gd name="T19" fmla="*/ 86 h 339"/>
                <a:gd name="T20" fmla="*/ 167 w 306"/>
                <a:gd name="T21" fmla="*/ 98 h 339"/>
                <a:gd name="T22" fmla="*/ 165 w 306"/>
                <a:gd name="T23" fmla="*/ 114 h 339"/>
                <a:gd name="T24" fmla="*/ 194 w 306"/>
                <a:gd name="T25" fmla="*/ 119 h 339"/>
                <a:gd name="T26" fmla="*/ 211 w 306"/>
                <a:gd name="T27" fmla="*/ 121 h 339"/>
                <a:gd name="T28" fmla="*/ 224 w 306"/>
                <a:gd name="T29" fmla="*/ 117 h 339"/>
                <a:gd name="T30" fmla="*/ 243 w 306"/>
                <a:gd name="T31" fmla="*/ 124 h 339"/>
                <a:gd name="T32" fmla="*/ 251 w 306"/>
                <a:gd name="T33" fmla="*/ 143 h 339"/>
                <a:gd name="T34" fmla="*/ 257 w 306"/>
                <a:gd name="T35" fmla="*/ 160 h 339"/>
                <a:gd name="T36" fmla="*/ 262 w 306"/>
                <a:gd name="T37" fmla="*/ 182 h 339"/>
                <a:gd name="T38" fmla="*/ 284 w 306"/>
                <a:gd name="T39" fmla="*/ 189 h 339"/>
                <a:gd name="T40" fmla="*/ 305 w 306"/>
                <a:gd name="T41" fmla="*/ 195 h 339"/>
                <a:gd name="T42" fmla="*/ 305 w 306"/>
                <a:gd name="T43" fmla="*/ 213 h 339"/>
                <a:gd name="T44" fmla="*/ 303 w 306"/>
                <a:gd name="T45" fmla="*/ 230 h 339"/>
                <a:gd name="T46" fmla="*/ 300 w 306"/>
                <a:gd name="T47" fmla="*/ 247 h 339"/>
                <a:gd name="T48" fmla="*/ 300 w 306"/>
                <a:gd name="T49" fmla="*/ 257 h 339"/>
                <a:gd name="T50" fmla="*/ 300 w 306"/>
                <a:gd name="T51" fmla="*/ 274 h 339"/>
                <a:gd name="T52" fmla="*/ 295 w 306"/>
                <a:gd name="T53" fmla="*/ 301 h 339"/>
                <a:gd name="T54" fmla="*/ 286 w 306"/>
                <a:gd name="T55" fmla="*/ 312 h 339"/>
                <a:gd name="T56" fmla="*/ 276 w 306"/>
                <a:gd name="T57" fmla="*/ 327 h 339"/>
                <a:gd name="T58" fmla="*/ 256 w 306"/>
                <a:gd name="T59" fmla="*/ 328 h 339"/>
                <a:gd name="T60" fmla="*/ 243 w 306"/>
                <a:gd name="T61" fmla="*/ 333 h 339"/>
                <a:gd name="T62" fmla="*/ 227 w 306"/>
                <a:gd name="T63" fmla="*/ 333 h 339"/>
                <a:gd name="T64" fmla="*/ 210 w 306"/>
                <a:gd name="T65" fmla="*/ 331 h 339"/>
                <a:gd name="T66" fmla="*/ 192 w 306"/>
                <a:gd name="T67" fmla="*/ 325 h 339"/>
                <a:gd name="T68" fmla="*/ 173 w 306"/>
                <a:gd name="T69" fmla="*/ 327 h 339"/>
                <a:gd name="T70" fmla="*/ 172 w 306"/>
                <a:gd name="T71" fmla="*/ 316 h 339"/>
                <a:gd name="T72" fmla="*/ 179 w 306"/>
                <a:gd name="T73" fmla="*/ 303 h 339"/>
                <a:gd name="T74" fmla="*/ 179 w 306"/>
                <a:gd name="T75" fmla="*/ 287 h 339"/>
                <a:gd name="T76" fmla="*/ 187 w 306"/>
                <a:gd name="T77" fmla="*/ 271 h 339"/>
                <a:gd name="T78" fmla="*/ 194 w 306"/>
                <a:gd name="T79" fmla="*/ 259 h 339"/>
                <a:gd name="T80" fmla="*/ 189 w 306"/>
                <a:gd name="T81" fmla="*/ 244 h 339"/>
                <a:gd name="T82" fmla="*/ 176 w 306"/>
                <a:gd name="T83" fmla="*/ 235 h 339"/>
                <a:gd name="T84" fmla="*/ 164 w 306"/>
                <a:gd name="T85" fmla="*/ 228 h 339"/>
                <a:gd name="T86" fmla="*/ 145 w 306"/>
                <a:gd name="T87" fmla="*/ 222 h 339"/>
                <a:gd name="T88" fmla="*/ 103 w 306"/>
                <a:gd name="T89" fmla="*/ 194 h 339"/>
                <a:gd name="T90" fmla="*/ 91 w 306"/>
                <a:gd name="T91" fmla="*/ 194 h 339"/>
                <a:gd name="T92" fmla="*/ 65 w 306"/>
                <a:gd name="T93" fmla="*/ 184 h 339"/>
                <a:gd name="T94" fmla="*/ 57 w 306"/>
                <a:gd name="T95" fmla="*/ 173 h 339"/>
                <a:gd name="T96" fmla="*/ 42 w 306"/>
                <a:gd name="T97" fmla="*/ 163 h 339"/>
                <a:gd name="T98" fmla="*/ 27 w 306"/>
                <a:gd name="T99" fmla="*/ 149 h 339"/>
                <a:gd name="T100" fmla="*/ 16 w 306"/>
                <a:gd name="T101" fmla="*/ 132 h 3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6" h="339">
                  <a:moveTo>
                    <a:pt x="0" y="121"/>
                  </a:moveTo>
                  <a:lnTo>
                    <a:pt x="3" y="103"/>
                  </a:lnTo>
                  <a:lnTo>
                    <a:pt x="7" y="87"/>
                  </a:lnTo>
                  <a:lnTo>
                    <a:pt x="7" y="84"/>
                  </a:lnTo>
                  <a:lnTo>
                    <a:pt x="8" y="79"/>
                  </a:lnTo>
                  <a:lnTo>
                    <a:pt x="8" y="76"/>
                  </a:lnTo>
                  <a:lnTo>
                    <a:pt x="8" y="73"/>
                  </a:lnTo>
                  <a:lnTo>
                    <a:pt x="8" y="70"/>
                  </a:lnTo>
                  <a:lnTo>
                    <a:pt x="8" y="67"/>
                  </a:lnTo>
                  <a:lnTo>
                    <a:pt x="8" y="62"/>
                  </a:lnTo>
                  <a:lnTo>
                    <a:pt x="7" y="59"/>
                  </a:lnTo>
                  <a:lnTo>
                    <a:pt x="7" y="56"/>
                  </a:lnTo>
                  <a:lnTo>
                    <a:pt x="7" y="52"/>
                  </a:lnTo>
                  <a:lnTo>
                    <a:pt x="7" y="51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3" y="40"/>
                  </a:lnTo>
                  <a:lnTo>
                    <a:pt x="16" y="32"/>
                  </a:lnTo>
                  <a:lnTo>
                    <a:pt x="19" y="24"/>
                  </a:lnTo>
                  <a:lnTo>
                    <a:pt x="21" y="14"/>
                  </a:lnTo>
                  <a:lnTo>
                    <a:pt x="35" y="11"/>
                  </a:lnTo>
                  <a:lnTo>
                    <a:pt x="48" y="10"/>
                  </a:lnTo>
                  <a:lnTo>
                    <a:pt x="62" y="6"/>
                  </a:lnTo>
                  <a:lnTo>
                    <a:pt x="75" y="2"/>
                  </a:lnTo>
                  <a:lnTo>
                    <a:pt x="92" y="0"/>
                  </a:lnTo>
                  <a:lnTo>
                    <a:pt x="110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24" y="5"/>
                  </a:lnTo>
                  <a:lnTo>
                    <a:pt x="126" y="6"/>
                  </a:lnTo>
                  <a:lnTo>
                    <a:pt x="130" y="10"/>
                  </a:lnTo>
                  <a:lnTo>
                    <a:pt x="135" y="13"/>
                  </a:lnTo>
                  <a:lnTo>
                    <a:pt x="141" y="16"/>
                  </a:lnTo>
                  <a:lnTo>
                    <a:pt x="149" y="21"/>
                  </a:lnTo>
                  <a:lnTo>
                    <a:pt x="151" y="30"/>
                  </a:lnTo>
                  <a:lnTo>
                    <a:pt x="151" y="40"/>
                  </a:lnTo>
                  <a:lnTo>
                    <a:pt x="154" y="43"/>
                  </a:lnTo>
                  <a:lnTo>
                    <a:pt x="157" y="46"/>
                  </a:lnTo>
                  <a:lnTo>
                    <a:pt x="157" y="49"/>
                  </a:lnTo>
                  <a:lnTo>
                    <a:pt x="157" y="52"/>
                  </a:lnTo>
                  <a:lnTo>
                    <a:pt x="159" y="57"/>
                  </a:lnTo>
                  <a:lnTo>
                    <a:pt x="162" y="57"/>
                  </a:lnTo>
                  <a:lnTo>
                    <a:pt x="160" y="62"/>
                  </a:lnTo>
                  <a:lnTo>
                    <a:pt x="162" y="65"/>
                  </a:lnTo>
                  <a:lnTo>
                    <a:pt x="165" y="68"/>
                  </a:lnTo>
                  <a:lnTo>
                    <a:pt x="165" y="71"/>
                  </a:lnTo>
                  <a:lnTo>
                    <a:pt x="165" y="75"/>
                  </a:lnTo>
                  <a:lnTo>
                    <a:pt x="165" y="79"/>
                  </a:lnTo>
                  <a:lnTo>
                    <a:pt x="165" y="83"/>
                  </a:lnTo>
                  <a:lnTo>
                    <a:pt x="165" y="86"/>
                  </a:lnTo>
                  <a:lnTo>
                    <a:pt x="164" y="89"/>
                  </a:lnTo>
                  <a:lnTo>
                    <a:pt x="165" y="92"/>
                  </a:lnTo>
                  <a:lnTo>
                    <a:pt x="165" y="94"/>
                  </a:lnTo>
                  <a:lnTo>
                    <a:pt x="165" y="97"/>
                  </a:lnTo>
                  <a:lnTo>
                    <a:pt x="167" y="98"/>
                  </a:lnTo>
                  <a:lnTo>
                    <a:pt x="165" y="102"/>
                  </a:lnTo>
                  <a:lnTo>
                    <a:pt x="165" y="103"/>
                  </a:lnTo>
                  <a:lnTo>
                    <a:pt x="165" y="106"/>
                  </a:lnTo>
                  <a:lnTo>
                    <a:pt x="165" y="111"/>
                  </a:lnTo>
                  <a:lnTo>
                    <a:pt x="165" y="114"/>
                  </a:lnTo>
                  <a:lnTo>
                    <a:pt x="172" y="116"/>
                  </a:lnTo>
                  <a:lnTo>
                    <a:pt x="183" y="117"/>
                  </a:lnTo>
                  <a:lnTo>
                    <a:pt x="186" y="119"/>
                  </a:lnTo>
                  <a:lnTo>
                    <a:pt x="189" y="119"/>
                  </a:lnTo>
                  <a:lnTo>
                    <a:pt x="194" y="119"/>
                  </a:lnTo>
                  <a:lnTo>
                    <a:pt x="197" y="121"/>
                  </a:lnTo>
                  <a:lnTo>
                    <a:pt x="200" y="121"/>
                  </a:lnTo>
                  <a:lnTo>
                    <a:pt x="203" y="121"/>
                  </a:lnTo>
                  <a:lnTo>
                    <a:pt x="206" y="122"/>
                  </a:lnTo>
                  <a:lnTo>
                    <a:pt x="211" y="121"/>
                  </a:lnTo>
                  <a:lnTo>
                    <a:pt x="213" y="121"/>
                  </a:lnTo>
                  <a:lnTo>
                    <a:pt x="214" y="119"/>
                  </a:lnTo>
                  <a:lnTo>
                    <a:pt x="218" y="114"/>
                  </a:lnTo>
                  <a:lnTo>
                    <a:pt x="221" y="114"/>
                  </a:lnTo>
                  <a:lnTo>
                    <a:pt x="224" y="117"/>
                  </a:lnTo>
                  <a:lnTo>
                    <a:pt x="227" y="121"/>
                  </a:lnTo>
                  <a:lnTo>
                    <a:pt x="230" y="122"/>
                  </a:lnTo>
                  <a:lnTo>
                    <a:pt x="233" y="122"/>
                  </a:lnTo>
                  <a:lnTo>
                    <a:pt x="240" y="122"/>
                  </a:lnTo>
                  <a:lnTo>
                    <a:pt x="243" y="124"/>
                  </a:lnTo>
                  <a:lnTo>
                    <a:pt x="245" y="127"/>
                  </a:lnTo>
                  <a:lnTo>
                    <a:pt x="246" y="133"/>
                  </a:lnTo>
                  <a:lnTo>
                    <a:pt x="249" y="135"/>
                  </a:lnTo>
                  <a:lnTo>
                    <a:pt x="251" y="140"/>
                  </a:lnTo>
                  <a:lnTo>
                    <a:pt x="251" y="143"/>
                  </a:lnTo>
                  <a:lnTo>
                    <a:pt x="251" y="146"/>
                  </a:lnTo>
                  <a:lnTo>
                    <a:pt x="252" y="149"/>
                  </a:lnTo>
                  <a:lnTo>
                    <a:pt x="254" y="154"/>
                  </a:lnTo>
                  <a:lnTo>
                    <a:pt x="254" y="157"/>
                  </a:lnTo>
                  <a:lnTo>
                    <a:pt x="257" y="160"/>
                  </a:lnTo>
                  <a:lnTo>
                    <a:pt x="257" y="162"/>
                  </a:lnTo>
                  <a:lnTo>
                    <a:pt x="257" y="165"/>
                  </a:lnTo>
                  <a:lnTo>
                    <a:pt x="259" y="168"/>
                  </a:lnTo>
                  <a:lnTo>
                    <a:pt x="259" y="178"/>
                  </a:lnTo>
                  <a:lnTo>
                    <a:pt x="262" y="182"/>
                  </a:lnTo>
                  <a:lnTo>
                    <a:pt x="264" y="189"/>
                  </a:lnTo>
                  <a:lnTo>
                    <a:pt x="265" y="192"/>
                  </a:lnTo>
                  <a:lnTo>
                    <a:pt x="268" y="192"/>
                  </a:lnTo>
                  <a:lnTo>
                    <a:pt x="275" y="192"/>
                  </a:lnTo>
                  <a:lnTo>
                    <a:pt x="284" y="189"/>
                  </a:lnTo>
                  <a:lnTo>
                    <a:pt x="291" y="186"/>
                  </a:lnTo>
                  <a:lnTo>
                    <a:pt x="294" y="186"/>
                  </a:lnTo>
                  <a:lnTo>
                    <a:pt x="297" y="187"/>
                  </a:lnTo>
                  <a:lnTo>
                    <a:pt x="300" y="189"/>
                  </a:lnTo>
                  <a:lnTo>
                    <a:pt x="305" y="195"/>
                  </a:lnTo>
                  <a:lnTo>
                    <a:pt x="303" y="198"/>
                  </a:lnTo>
                  <a:lnTo>
                    <a:pt x="303" y="201"/>
                  </a:lnTo>
                  <a:lnTo>
                    <a:pt x="306" y="205"/>
                  </a:lnTo>
                  <a:lnTo>
                    <a:pt x="306" y="209"/>
                  </a:lnTo>
                  <a:lnTo>
                    <a:pt x="305" y="213"/>
                  </a:lnTo>
                  <a:lnTo>
                    <a:pt x="305" y="216"/>
                  </a:lnTo>
                  <a:lnTo>
                    <a:pt x="305" y="219"/>
                  </a:lnTo>
                  <a:lnTo>
                    <a:pt x="305" y="222"/>
                  </a:lnTo>
                  <a:lnTo>
                    <a:pt x="303" y="225"/>
                  </a:lnTo>
                  <a:lnTo>
                    <a:pt x="303" y="230"/>
                  </a:lnTo>
                  <a:lnTo>
                    <a:pt x="303" y="233"/>
                  </a:lnTo>
                  <a:lnTo>
                    <a:pt x="303" y="236"/>
                  </a:lnTo>
                  <a:lnTo>
                    <a:pt x="303" y="240"/>
                  </a:lnTo>
                  <a:lnTo>
                    <a:pt x="302" y="244"/>
                  </a:lnTo>
                  <a:lnTo>
                    <a:pt x="300" y="247"/>
                  </a:lnTo>
                  <a:lnTo>
                    <a:pt x="300" y="251"/>
                  </a:lnTo>
                  <a:lnTo>
                    <a:pt x="300" y="252"/>
                  </a:lnTo>
                  <a:lnTo>
                    <a:pt x="300" y="254"/>
                  </a:lnTo>
                  <a:lnTo>
                    <a:pt x="300" y="257"/>
                  </a:lnTo>
                  <a:lnTo>
                    <a:pt x="300" y="257"/>
                  </a:lnTo>
                  <a:lnTo>
                    <a:pt x="300" y="260"/>
                  </a:lnTo>
                  <a:lnTo>
                    <a:pt x="300" y="263"/>
                  </a:lnTo>
                  <a:lnTo>
                    <a:pt x="302" y="266"/>
                  </a:lnTo>
                  <a:lnTo>
                    <a:pt x="302" y="271"/>
                  </a:lnTo>
                  <a:lnTo>
                    <a:pt x="300" y="274"/>
                  </a:lnTo>
                  <a:lnTo>
                    <a:pt x="302" y="281"/>
                  </a:lnTo>
                  <a:lnTo>
                    <a:pt x="302" y="287"/>
                  </a:lnTo>
                  <a:lnTo>
                    <a:pt x="300" y="295"/>
                  </a:lnTo>
                  <a:lnTo>
                    <a:pt x="298" y="301"/>
                  </a:lnTo>
                  <a:lnTo>
                    <a:pt x="295" y="301"/>
                  </a:lnTo>
                  <a:lnTo>
                    <a:pt x="295" y="305"/>
                  </a:lnTo>
                  <a:lnTo>
                    <a:pt x="294" y="306"/>
                  </a:lnTo>
                  <a:lnTo>
                    <a:pt x="291" y="309"/>
                  </a:lnTo>
                  <a:lnTo>
                    <a:pt x="291" y="312"/>
                  </a:lnTo>
                  <a:lnTo>
                    <a:pt x="286" y="312"/>
                  </a:lnTo>
                  <a:lnTo>
                    <a:pt x="286" y="312"/>
                  </a:lnTo>
                  <a:lnTo>
                    <a:pt x="283" y="314"/>
                  </a:lnTo>
                  <a:lnTo>
                    <a:pt x="276" y="320"/>
                  </a:lnTo>
                  <a:lnTo>
                    <a:pt x="276" y="324"/>
                  </a:lnTo>
                  <a:lnTo>
                    <a:pt x="276" y="327"/>
                  </a:lnTo>
                  <a:lnTo>
                    <a:pt x="273" y="331"/>
                  </a:lnTo>
                  <a:lnTo>
                    <a:pt x="270" y="333"/>
                  </a:lnTo>
                  <a:lnTo>
                    <a:pt x="264" y="328"/>
                  </a:lnTo>
                  <a:lnTo>
                    <a:pt x="257" y="327"/>
                  </a:lnTo>
                  <a:lnTo>
                    <a:pt x="256" y="328"/>
                  </a:lnTo>
                  <a:lnTo>
                    <a:pt x="254" y="331"/>
                  </a:lnTo>
                  <a:lnTo>
                    <a:pt x="251" y="335"/>
                  </a:lnTo>
                  <a:lnTo>
                    <a:pt x="251" y="339"/>
                  </a:lnTo>
                  <a:lnTo>
                    <a:pt x="246" y="336"/>
                  </a:lnTo>
                  <a:lnTo>
                    <a:pt x="243" y="333"/>
                  </a:lnTo>
                  <a:lnTo>
                    <a:pt x="240" y="333"/>
                  </a:lnTo>
                  <a:lnTo>
                    <a:pt x="237" y="336"/>
                  </a:lnTo>
                  <a:lnTo>
                    <a:pt x="233" y="333"/>
                  </a:lnTo>
                  <a:lnTo>
                    <a:pt x="230" y="331"/>
                  </a:lnTo>
                  <a:lnTo>
                    <a:pt x="227" y="333"/>
                  </a:lnTo>
                  <a:lnTo>
                    <a:pt x="222" y="335"/>
                  </a:lnTo>
                  <a:lnTo>
                    <a:pt x="219" y="333"/>
                  </a:lnTo>
                  <a:lnTo>
                    <a:pt x="216" y="333"/>
                  </a:lnTo>
                  <a:lnTo>
                    <a:pt x="213" y="331"/>
                  </a:lnTo>
                  <a:lnTo>
                    <a:pt x="210" y="331"/>
                  </a:lnTo>
                  <a:lnTo>
                    <a:pt x="206" y="330"/>
                  </a:lnTo>
                  <a:lnTo>
                    <a:pt x="202" y="328"/>
                  </a:lnTo>
                  <a:lnTo>
                    <a:pt x="199" y="327"/>
                  </a:lnTo>
                  <a:lnTo>
                    <a:pt x="195" y="327"/>
                  </a:lnTo>
                  <a:lnTo>
                    <a:pt x="192" y="325"/>
                  </a:lnTo>
                  <a:lnTo>
                    <a:pt x="187" y="327"/>
                  </a:lnTo>
                  <a:lnTo>
                    <a:pt x="184" y="325"/>
                  </a:lnTo>
                  <a:lnTo>
                    <a:pt x="181" y="327"/>
                  </a:lnTo>
                  <a:lnTo>
                    <a:pt x="178" y="327"/>
                  </a:lnTo>
                  <a:lnTo>
                    <a:pt x="173" y="327"/>
                  </a:lnTo>
                  <a:lnTo>
                    <a:pt x="170" y="328"/>
                  </a:lnTo>
                  <a:lnTo>
                    <a:pt x="170" y="327"/>
                  </a:lnTo>
                  <a:lnTo>
                    <a:pt x="168" y="322"/>
                  </a:lnTo>
                  <a:lnTo>
                    <a:pt x="170" y="319"/>
                  </a:lnTo>
                  <a:lnTo>
                    <a:pt x="172" y="316"/>
                  </a:lnTo>
                  <a:lnTo>
                    <a:pt x="173" y="312"/>
                  </a:lnTo>
                  <a:lnTo>
                    <a:pt x="176" y="309"/>
                  </a:lnTo>
                  <a:lnTo>
                    <a:pt x="178" y="309"/>
                  </a:lnTo>
                  <a:lnTo>
                    <a:pt x="178" y="306"/>
                  </a:lnTo>
                  <a:lnTo>
                    <a:pt x="179" y="303"/>
                  </a:lnTo>
                  <a:lnTo>
                    <a:pt x="181" y="298"/>
                  </a:lnTo>
                  <a:lnTo>
                    <a:pt x="181" y="298"/>
                  </a:lnTo>
                  <a:lnTo>
                    <a:pt x="179" y="293"/>
                  </a:lnTo>
                  <a:lnTo>
                    <a:pt x="178" y="290"/>
                  </a:lnTo>
                  <a:lnTo>
                    <a:pt x="179" y="287"/>
                  </a:lnTo>
                  <a:lnTo>
                    <a:pt x="181" y="284"/>
                  </a:lnTo>
                  <a:lnTo>
                    <a:pt x="181" y="281"/>
                  </a:lnTo>
                  <a:lnTo>
                    <a:pt x="184" y="278"/>
                  </a:lnTo>
                  <a:lnTo>
                    <a:pt x="187" y="274"/>
                  </a:lnTo>
                  <a:lnTo>
                    <a:pt x="187" y="271"/>
                  </a:lnTo>
                  <a:lnTo>
                    <a:pt x="189" y="268"/>
                  </a:lnTo>
                  <a:lnTo>
                    <a:pt x="189" y="266"/>
                  </a:lnTo>
                  <a:lnTo>
                    <a:pt x="191" y="263"/>
                  </a:lnTo>
                  <a:lnTo>
                    <a:pt x="191" y="260"/>
                  </a:lnTo>
                  <a:lnTo>
                    <a:pt x="194" y="259"/>
                  </a:lnTo>
                  <a:lnTo>
                    <a:pt x="195" y="255"/>
                  </a:lnTo>
                  <a:lnTo>
                    <a:pt x="195" y="252"/>
                  </a:lnTo>
                  <a:lnTo>
                    <a:pt x="192" y="249"/>
                  </a:lnTo>
                  <a:lnTo>
                    <a:pt x="191" y="244"/>
                  </a:lnTo>
                  <a:lnTo>
                    <a:pt x="189" y="244"/>
                  </a:lnTo>
                  <a:lnTo>
                    <a:pt x="189" y="243"/>
                  </a:lnTo>
                  <a:lnTo>
                    <a:pt x="187" y="240"/>
                  </a:lnTo>
                  <a:lnTo>
                    <a:pt x="184" y="238"/>
                  </a:lnTo>
                  <a:lnTo>
                    <a:pt x="179" y="236"/>
                  </a:lnTo>
                  <a:lnTo>
                    <a:pt x="176" y="235"/>
                  </a:lnTo>
                  <a:lnTo>
                    <a:pt x="173" y="233"/>
                  </a:lnTo>
                  <a:lnTo>
                    <a:pt x="173" y="233"/>
                  </a:lnTo>
                  <a:lnTo>
                    <a:pt x="168" y="230"/>
                  </a:lnTo>
                  <a:lnTo>
                    <a:pt x="165" y="233"/>
                  </a:lnTo>
                  <a:lnTo>
                    <a:pt x="164" y="228"/>
                  </a:lnTo>
                  <a:lnTo>
                    <a:pt x="159" y="227"/>
                  </a:lnTo>
                  <a:lnTo>
                    <a:pt x="156" y="225"/>
                  </a:lnTo>
                  <a:lnTo>
                    <a:pt x="153" y="225"/>
                  </a:lnTo>
                  <a:lnTo>
                    <a:pt x="149" y="224"/>
                  </a:lnTo>
                  <a:lnTo>
                    <a:pt x="145" y="222"/>
                  </a:lnTo>
                  <a:lnTo>
                    <a:pt x="141" y="219"/>
                  </a:lnTo>
                  <a:lnTo>
                    <a:pt x="138" y="217"/>
                  </a:lnTo>
                  <a:lnTo>
                    <a:pt x="135" y="216"/>
                  </a:lnTo>
                  <a:lnTo>
                    <a:pt x="119" y="205"/>
                  </a:lnTo>
                  <a:lnTo>
                    <a:pt x="103" y="194"/>
                  </a:lnTo>
                  <a:lnTo>
                    <a:pt x="103" y="194"/>
                  </a:lnTo>
                  <a:lnTo>
                    <a:pt x="99" y="194"/>
                  </a:lnTo>
                  <a:lnTo>
                    <a:pt x="95" y="194"/>
                  </a:lnTo>
                  <a:lnTo>
                    <a:pt x="92" y="194"/>
                  </a:lnTo>
                  <a:lnTo>
                    <a:pt x="91" y="194"/>
                  </a:lnTo>
                  <a:lnTo>
                    <a:pt x="83" y="189"/>
                  </a:lnTo>
                  <a:lnTo>
                    <a:pt x="75" y="187"/>
                  </a:lnTo>
                  <a:lnTo>
                    <a:pt x="73" y="187"/>
                  </a:lnTo>
                  <a:lnTo>
                    <a:pt x="68" y="184"/>
                  </a:lnTo>
                  <a:lnTo>
                    <a:pt x="65" y="184"/>
                  </a:lnTo>
                  <a:lnTo>
                    <a:pt x="65" y="182"/>
                  </a:lnTo>
                  <a:lnTo>
                    <a:pt x="62" y="179"/>
                  </a:lnTo>
                  <a:lnTo>
                    <a:pt x="61" y="176"/>
                  </a:lnTo>
                  <a:lnTo>
                    <a:pt x="61" y="174"/>
                  </a:lnTo>
                  <a:lnTo>
                    <a:pt x="57" y="173"/>
                  </a:lnTo>
                  <a:lnTo>
                    <a:pt x="53" y="171"/>
                  </a:lnTo>
                  <a:lnTo>
                    <a:pt x="53" y="170"/>
                  </a:lnTo>
                  <a:lnTo>
                    <a:pt x="49" y="168"/>
                  </a:lnTo>
                  <a:lnTo>
                    <a:pt x="45" y="165"/>
                  </a:lnTo>
                  <a:lnTo>
                    <a:pt x="42" y="163"/>
                  </a:lnTo>
                  <a:lnTo>
                    <a:pt x="38" y="162"/>
                  </a:lnTo>
                  <a:lnTo>
                    <a:pt x="37" y="159"/>
                  </a:lnTo>
                  <a:lnTo>
                    <a:pt x="34" y="155"/>
                  </a:lnTo>
                  <a:lnTo>
                    <a:pt x="29" y="152"/>
                  </a:lnTo>
                  <a:lnTo>
                    <a:pt x="27" y="149"/>
                  </a:lnTo>
                  <a:lnTo>
                    <a:pt x="24" y="146"/>
                  </a:lnTo>
                  <a:lnTo>
                    <a:pt x="21" y="143"/>
                  </a:lnTo>
                  <a:lnTo>
                    <a:pt x="19" y="140"/>
                  </a:lnTo>
                  <a:lnTo>
                    <a:pt x="16" y="135"/>
                  </a:lnTo>
                  <a:lnTo>
                    <a:pt x="16" y="132"/>
                  </a:lnTo>
                  <a:lnTo>
                    <a:pt x="8" y="127"/>
                  </a:lnTo>
                  <a:lnTo>
                    <a:pt x="0" y="12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85" name="Freeform 764"/>
            <p:cNvSpPr>
              <a:spLocks/>
            </p:cNvSpPr>
            <p:nvPr/>
          </p:nvSpPr>
          <p:spPr bwMode="auto">
            <a:xfrm>
              <a:off x="3904910" y="5871471"/>
              <a:ext cx="133803" cy="167550"/>
            </a:xfrm>
            <a:custGeom>
              <a:avLst/>
              <a:gdLst>
                <a:gd name="T0" fmla="*/ 3 w 182"/>
                <a:gd name="T1" fmla="*/ 14 h 198"/>
                <a:gd name="T2" fmla="*/ 6 w 182"/>
                <a:gd name="T3" fmla="*/ 5 h 198"/>
                <a:gd name="T4" fmla="*/ 11 w 182"/>
                <a:gd name="T5" fmla="*/ 8 h 198"/>
                <a:gd name="T6" fmla="*/ 22 w 182"/>
                <a:gd name="T7" fmla="*/ 8 h 198"/>
                <a:gd name="T8" fmla="*/ 30 w 182"/>
                <a:gd name="T9" fmla="*/ 0 h 198"/>
                <a:gd name="T10" fmla="*/ 47 w 182"/>
                <a:gd name="T11" fmla="*/ 13 h 198"/>
                <a:gd name="T12" fmla="*/ 58 w 182"/>
                <a:gd name="T13" fmla="*/ 19 h 198"/>
                <a:gd name="T14" fmla="*/ 68 w 182"/>
                <a:gd name="T15" fmla="*/ 30 h 198"/>
                <a:gd name="T16" fmla="*/ 69 w 182"/>
                <a:gd name="T17" fmla="*/ 41 h 198"/>
                <a:gd name="T18" fmla="*/ 80 w 182"/>
                <a:gd name="T19" fmla="*/ 35 h 198"/>
                <a:gd name="T20" fmla="*/ 101 w 182"/>
                <a:gd name="T21" fmla="*/ 51 h 198"/>
                <a:gd name="T22" fmla="*/ 123 w 182"/>
                <a:gd name="T23" fmla="*/ 59 h 198"/>
                <a:gd name="T24" fmla="*/ 130 w 182"/>
                <a:gd name="T25" fmla="*/ 67 h 198"/>
                <a:gd name="T26" fmla="*/ 141 w 182"/>
                <a:gd name="T27" fmla="*/ 74 h 198"/>
                <a:gd name="T28" fmla="*/ 147 w 182"/>
                <a:gd name="T29" fmla="*/ 76 h 198"/>
                <a:gd name="T30" fmla="*/ 157 w 182"/>
                <a:gd name="T31" fmla="*/ 86 h 198"/>
                <a:gd name="T32" fmla="*/ 164 w 182"/>
                <a:gd name="T33" fmla="*/ 97 h 198"/>
                <a:gd name="T34" fmla="*/ 172 w 182"/>
                <a:gd name="T35" fmla="*/ 101 h 198"/>
                <a:gd name="T36" fmla="*/ 182 w 182"/>
                <a:gd name="T37" fmla="*/ 109 h 198"/>
                <a:gd name="T38" fmla="*/ 176 w 182"/>
                <a:gd name="T39" fmla="*/ 119 h 198"/>
                <a:gd name="T40" fmla="*/ 174 w 182"/>
                <a:gd name="T41" fmla="*/ 136 h 198"/>
                <a:gd name="T42" fmla="*/ 180 w 182"/>
                <a:gd name="T43" fmla="*/ 149 h 198"/>
                <a:gd name="T44" fmla="*/ 179 w 182"/>
                <a:gd name="T45" fmla="*/ 158 h 198"/>
                <a:gd name="T46" fmla="*/ 172 w 182"/>
                <a:gd name="T47" fmla="*/ 170 h 198"/>
                <a:gd name="T48" fmla="*/ 169 w 182"/>
                <a:gd name="T49" fmla="*/ 179 h 198"/>
                <a:gd name="T50" fmla="*/ 160 w 182"/>
                <a:gd name="T51" fmla="*/ 187 h 198"/>
                <a:gd name="T52" fmla="*/ 150 w 182"/>
                <a:gd name="T53" fmla="*/ 193 h 198"/>
                <a:gd name="T54" fmla="*/ 142 w 182"/>
                <a:gd name="T55" fmla="*/ 198 h 198"/>
                <a:gd name="T56" fmla="*/ 133 w 182"/>
                <a:gd name="T57" fmla="*/ 197 h 198"/>
                <a:gd name="T58" fmla="*/ 122 w 182"/>
                <a:gd name="T59" fmla="*/ 193 h 198"/>
                <a:gd name="T60" fmla="*/ 109 w 182"/>
                <a:gd name="T61" fmla="*/ 192 h 198"/>
                <a:gd name="T62" fmla="*/ 99 w 182"/>
                <a:gd name="T63" fmla="*/ 197 h 198"/>
                <a:gd name="T64" fmla="*/ 90 w 182"/>
                <a:gd name="T65" fmla="*/ 197 h 198"/>
                <a:gd name="T66" fmla="*/ 71 w 182"/>
                <a:gd name="T67" fmla="*/ 187 h 198"/>
                <a:gd name="T68" fmla="*/ 58 w 182"/>
                <a:gd name="T69" fmla="*/ 179 h 198"/>
                <a:gd name="T70" fmla="*/ 34 w 182"/>
                <a:gd name="T71" fmla="*/ 181 h 198"/>
                <a:gd name="T72" fmla="*/ 9 w 182"/>
                <a:gd name="T73" fmla="*/ 155 h 198"/>
                <a:gd name="T74" fmla="*/ 7 w 182"/>
                <a:gd name="T75" fmla="*/ 147 h 198"/>
                <a:gd name="T76" fmla="*/ 6 w 182"/>
                <a:gd name="T77" fmla="*/ 136 h 198"/>
                <a:gd name="T78" fmla="*/ 6 w 182"/>
                <a:gd name="T79" fmla="*/ 128 h 198"/>
                <a:gd name="T80" fmla="*/ 12 w 182"/>
                <a:gd name="T81" fmla="*/ 124 h 198"/>
                <a:gd name="T82" fmla="*/ 11 w 182"/>
                <a:gd name="T83" fmla="*/ 112 h 198"/>
                <a:gd name="T84" fmla="*/ 7 w 182"/>
                <a:gd name="T85" fmla="*/ 101 h 198"/>
                <a:gd name="T86" fmla="*/ 4 w 182"/>
                <a:gd name="T87" fmla="*/ 95 h 198"/>
                <a:gd name="T88" fmla="*/ 4 w 182"/>
                <a:gd name="T89" fmla="*/ 87 h 198"/>
                <a:gd name="T90" fmla="*/ 3 w 182"/>
                <a:gd name="T91" fmla="*/ 82 h 198"/>
                <a:gd name="T92" fmla="*/ 1 w 182"/>
                <a:gd name="T93" fmla="*/ 71 h 198"/>
                <a:gd name="T94" fmla="*/ 4 w 182"/>
                <a:gd name="T95" fmla="*/ 62 h 198"/>
                <a:gd name="T96" fmla="*/ 3 w 182"/>
                <a:gd name="T97" fmla="*/ 52 h 198"/>
                <a:gd name="T98" fmla="*/ 3 w 182"/>
                <a:gd name="T99" fmla="*/ 35 h 198"/>
                <a:gd name="T100" fmla="*/ 0 w 182"/>
                <a:gd name="T101" fmla="*/ 19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82" h="198">
                  <a:moveTo>
                    <a:pt x="0" y="19"/>
                  </a:moveTo>
                  <a:lnTo>
                    <a:pt x="0" y="17"/>
                  </a:lnTo>
                  <a:lnTo>
                    <a:pt x="3" y="14"/>
                  </a:lnTo>
                  <a:lnTo>
                    <a:pt x="6" y="11"/>
                  </a:lnTo>
                  <a:lnTo>
                    <a:pt x="7" y="8"/>
                  </a:lnTo>
                  <a:lnTo>
                    <a:pt x="6" y="5"/>
                  </a:lnTo>
                  <a:lnTo>
                    <a:pt x="7" y="5"/>
                  </a:lnTo>
                  <a:lnTo>
                    <a:pt x="9" y="6"/>
                  </a:lnTo>
                  <a:lnTo>
                    <a:pt x="11" y="8"/>
                  </a:lnTo>
                  <a:lnTo>
                    <a:pt x="15" y="8"/>
                  </a:lnTo>
                  <a:lnTo>
                    <a:pt x="19" y="8"/>
                  </a:lnTo>
                  <a:lnTo>
                    <a:pt x="22" y="8"/>
                  </a:lnTo>
                  <a:lnTo>
                    <a:pt x="23" y="3"/>
                  </a:lnTo>
                  <a:lnTo>
                    <a:pt x="27" y="1"/>
                  </a:lnTo>
                  <a:lnTo>
                    <a:pt x="30" y="0"/>
                  </a:lnTo>
                  <a:lnTo>
                    <a:pt x="34" y="1"/>
                  </a:lnTo>
                  <a:lnTo>
                    <a:pt x="41" y="6"/>
                  </a:lnTo>
                  <a:lnTo>
                    <a:pt x="47" y="13"/>
                  </a:lnTo>
                  <a:lnTo>
                    <a:pt x="50" y="14"/>
                  </a:lnTo>
                  <a:lnTo>
                    <a:pt x="53" y="17"/>
                  </a:lnTo>
                  <a:lnTo>
                    <a:pt x="58" y="19"/>
                  </a:lnTo>
                  <a:lnTo>
                    <a:pt x="60" y="24"/>
                  </a:lnTo>
                  <a:lnTo>
                    <a:pt x="63" y="27"/>
                  </a:lnTo>
                  <a:lnTo>
                    <a:pt x="68" y="30"/>
                  </a:lnTo>
                  <a:lnTo>
                    <a:pt x="68" y="33"/>
                  </a:lnTo>
                  <a:lnTo>
                    <a:pt x="68" y="36"/>
                  </a:lnTo>
                  <a:lnTo>
                    <a:pt x="69" y="41"/>
                  </a:lnTo>
                  <a:lnTo>
                    <a:pt x="74" y="41"/>
                  </a:lnTo>
                  <a:lnTo>
                    <a:pt x="77" y="38"/>
                  </a:lnTo>
                  <a:lnTo>
                    <a:pt x="80" y="35"/>
                  </a:lnTo>
                  <a:lnTo>
                    <a:pt x="80" y="32"/>
                  </a:lnTo>
                  <a:lnTo>
                    <a:pt x="92" y="40"/>
                  </a:lnTo>
                  <a:lnTo>
                    <a:pt x="101" y="51"/>
                  </a:lnTo>
                  <a:lnTo>
                    <a:pt x="106" y="49"/>
                  </a:lnTo>
                  <a:lnTo>
                    <a:pt x="114" y="55"/>
                  </a:lnTo>
                  <a:lnTo>
                    <a:pt x="123" y="59"/>
                  </a:lnTo>
                  <a:lnTo>
                    <a:pt x="126" y="62"/>
                  </a:lnTo>
                  <a:lnTo>
                    <a:pt x="126" y="65"/>
                  </a:lnTo>
                  <a:lnTo>
                    <a:pt x="130" y="67"/>
                  </a:lnTo>
                  <a:lnTo>
                    <a:pt x="133" y="70"/>
                  </a:lnTo>
                  <a:lnTo>
                    <a:pt x="136" y="73"/>
                  </a:lnTo>
                  <a:lnTo>
                    <a:pt x="141" y="74"/>
                  </a:lnTo>
                  <a:lnTo>
                    <a:pt x="144" y="74"/>
                  </a:lnTo>
                  <a:lnTo>
                    <a:pt x="147" y="76"/>
                  </a:lnTo>
                  <a:lnTo>
                    <a:pt x="147" y="76"/>
                  </a:lnTo>
                  <a:lnTo>
                    <a:pt x="152" y="79"/>
                  </a:lnTo>
                  <a:lnTo>
                    <a:pt x="155" y="82"/>
                  </a:lnTo>
                  <a:lnTo>
                    <a:pt x="157" y="86"/>
                  </a:lnTo>
                  <a:lnTo>
                    <a:pt x="160" y="89"/>
                  </a:lnTo>
                  <a:lnTo>
                    <a:pt x="161" y="92"/>
                  </a:lnTo>
                  <a:lnTo>
                    <a:pt x="164" y="97"/>
                  </a:lnTo>
                  <a:lnTo>
                    <a:pt x="168" y="98"/>
                  </a:lnTo>
                  <a:lnTo>
                    <a:pt x="171" y="101"/>
                  </a:lnTo>
                  <a:lnTo>
                    <a:pt x="172" y="101"/>
                  </a:lnTo>
                  <a:lnTo>
                    <a:pt x="176" y="103"/>
                  </a:lnTo>
                  <a:lnTo>
                    <a:pt x="179" y="105"/>
                  </a:lnTo>
                  <a:lnTo>
                    <a:pt x="182" y="109"/>
                  </a:lnTo>
                  <a:lnTo>
                    <a:pt x="180" y="112"/>
                  </a:lnTo>
                  <a:lnTo>
                    <a:pt x="177" y="116"/>
                  </a:lnTo>
                  <a:lnTo>
                    <a:pt x="176" y="119"/>
                  </a:lnTo>
                  <a:lnTo>
                    <a:pt x="172" y="122"/>
                  </a:lnTo>
                  <a:lnTo>
                    <a:pt x="171" y="125"/>
                  </a:lnTo>
                  <a:lnTo>
                    <a:pt x="174" y="136"/>
                  </a:lnTo>
                  <a:lnTo>
                    <a:pt x="176" y="147"/>
                  </a:lnTo>
                  <a:lnTo>
                    <a:pt x="179" y="147"/>
                  </a:lnTo>
                  <a:lnTo>
                    <a:pt x="180" y="149"/>
                  </a:lnTo>
                  <a:lnTo>
                    <a:pt x="179" y="152"/>
                  </a:lnTo>
                  <a:lnTo>
                    <a:pt x="179" y="155"/>
                  </a:lnTo>
                  <a:lnTo>
                    <a:pt x="179" y="158"/>
                  </a:lnTo>
                  <a:lnTo>
                    <a:pt x="179" y="163"/>
                  </a:lnTo>
                  <a:lnTo>
                    <a:pt x="176" y="166"/>
                  </a:lnTo>
                  <a:lnTo>
                    <a:pt x="172" y="170"/>
                  </a:lnTo>
                  <a:lnTo>
                    <a:pt x="172" y="173"/>
                  </a:lnTo>
                  <a:lnTo>
                    <a:pt x="172" y="176"/>
                  </a:lnTo>
                  <a:lnTo>
                    <a:pt x="169" y="179"/>
                  </a:lnTo>
                  <a:lnTo>
                    <a:pt x="166" y="182"/>
                  </a:lnTo>
                  <a:lnTo>
                    <a:pt x="163" y="185"/>
                  </a:lnTo>
                  <a:lnTo>
                    <a:pt x="160" y="187"/>
                  </a:lnTo>
                  <a:lnTo>
                    <a:pt x="157" y="185"/>
                  </a:lnTo>
                  <a:lnTo>
                    <a:pt x="158" y="189"/>
                  </a:lnTo>
                  <a:lnTo>
                    <a:pt x="150" y="193"/>
                  </a:lnTo>
                  <a:lnTo>
                    <a:pt x="149" y="193"/>
                  </a:lnTo>
                  <a:lnTo>
                    <a:pt x="145" y="195"/>
                  </a:lnTo>
                  <a:lnTo>
                    <a:pt x="142" y="198"/>
                  </a:lnTo>
                  <a:lnTo>
                    <a:pt x="139" y="198"/>
                  </a:lnTo>
                  <a:lnTo>
                    <a:pt x="136" y="198"/>
                  </a:lnTo>
                  <a:lnTo>
                    <a:pt x="133" y="197"/>
                  </a:lnTo>
                  <a:lnTo>
                    <a:pt x="130" y="197"/>
                  </a:lnTo>
                  <a:lnTo>
                    <a:pt x="125" y="195"/>
                  </a:lnTo>
                  <a:lnTo>
                    <a:pt x="122" y="193"/>
                  </a:lnTo>
                  <a:lnTo>
                    <a:pt x="117" y="193"/>
                  </a:lnTo>
                  <a:lnTo>
                    <a:pt x="114" y="192"/>
                  </a:lnTo>
                  <a:lnTo>
                    <a:pt x="109" y="192"/>
                  </a:lnTo>
                  <a:lnTo>
                    <a:pt x="104" y="193"/>
                  </a:lnTo>
                  <a:lnTo>
                    <a:pt x="99" y="197"/>
                  </a:lnTo>
                  <a:lnTo>
                    <a:pt x="99" y="197"/>
                  </a:lnTo>
                  <a:lnTo>
                    <a:pt x="96" y="198"/>
                  </a:lnTo>
                  <a:lnTo>
                    <a:pt x="93" y="197"/>
                  </a:lnTo>
                  <a:lnTo>
                    <a:pt x="90" y="197"/>
                  </a:lnTo>
                  <a:lnTo>
                    <a:pt x="88" y="193"/>
                  </a:lnTo>
                  <a:lnTo>
                    <a:pt x="77" y="190"/>
                  </a:lnTo>
                  <a:lnTo>
                    <a:pt x="71" y="187"/>
                  </a:lnTo>
                  <a:lnTo>
                    <a:pt x="66" y="184"/>
                  </a:lnTo>
                  <a:lnTo>
                    <a:pt x="63" y="182"/>
                  </a:lnTo>
                  <a:lnTo>
                    <a:pt x="58" y="179"/>
                  </a:lnTo>
                  <a:lnTo>
                    <a:pt x="53" y="178"/>
                  </a:lnTo>
                  <a:lnTo>
                    <a:pt x="47" y="179"/>
                  </a:lnTo>
                  <a:lnTo>
                    <a:pt x="34" y="181"/>
                  </a:lnTo>
                  <a:lnTo>
                    <a:pt x="25" y="168"/>
                  </a:lnTo>
                  <a:lnTo>
                    <a:pt x="12" y="158"/>
                  </a:lnTo>
                  <a:lnTo>
                    <a:pt x="9" y="155"/>
                  </a:lnTo>
                  <a:lnTo>
                    <a:pt x="9" y="154"/>
                  </a:lnTo>
                  <a:lnTo>
                    <a:pt x="7" y="151"/>
                  </a:lnTo>
                  <a:lnTo>
                    <a:pt x="7" y="147"/>
                  </a:lnTo>
                  <a:lnTo>
                    <a:pt x="6" y="144"/>
                  </a:lnTo>
                  <a:lnTo>
                    <a:pt x="6" y="139"/>
                  </a:lnTo>
                  <a:lnTo>
                    <a:pt x="6" y="136"/>
                  </a:lnTo>
                  <a:lnTo>
                    <a:pt x="4" y="135"/>
                  </a:lnTo>
                  <a:lnTo>
                    <a:pt x="6" y="132"/>
                  </a:lnTo>
                  <a:lnTo>
                    <a:pt x="6" y="128"/>
                  </a:lnTo>
                  <a:lnTo>
                    <a:pt x="4" y="125"/>
                  </a:lnTo>
                  <a:lnTo>
                    <a:pt x="7" y="124"/>
                  </a:lnTo>
                  <a:lnTo>
                    <a:pt x="12" y="124"/>
                  </a:lnTo>
                  <a:lnTo>
                    <a:pt x="14" y="120"/>
                  </a:lnTo>
                  <a:lnTo>
                    <a:pt x="14" y="116"/>
                  </a:lnTo>
                  <a:lnTo>
                    <a:pt x="11" y="112"/>
                  </a:lnTo>
                  <a:lnTo>
                    <a:pt x="9" y="109"/>
                  </a:lnTo>
                  <a:lnTo>
                    <a:pt x="7" y="106"/>
                  </a:lnTo>
                  <a:lnTo>
                    <a:pt x="7" y="101"/>
                  </a:lnTo>
                  <a:lnTo>
                    <a:pt x="4" y="98"/>
                  </a:lnTo>
                  <a:lnTo>
                    <a:pt x="4" y="97"/>
                  </a:lnTo>
                  <a:lnTo>
                    <a:pt x="4" y="95"/>
                  </a:lnTo>
                  <a:lnTo>
                    <a:pt x="7" y="92"/>
                  </a:lnTo>
                  <a:lnTo>
                    <a:pt x="6" y="89"/>
                  </a:lnTo>
                  <a:lnTo>
                    <a:pt x="4" y="87"/>
                  </a:lnTo>
                  <a:lnTo>
                    <a:pt x="3" y="86"/>
                  </a:lnTo>
                  <a:lnTo>
                    <a:pt x="3" y="82"/>
                  </a:lnTo>
                  <a:lnTo>
                    <a:pt x="3" y="82"/>
                  </a:lnTo>
                  <a:lnTo>
                    <a:pt x="3" y="79"/>
                  </a:lnTo>
                  <a:lnTo>
                    <a:pt x="1" y="76"/>
                  </a:lnTo>
                  <a:lnTo>
                    <a:pt x="1" y="71"/>
                  </a:lnTo>
                  <a:lnTo>
                    <a:pt x="4" y="68"/>
                  </a:lnTo>
                  <a:lnTo>
                    <a:pt x="4" y="65"/>
                  </a:lnTo>
                  <a:lnTo>
                    <a:pt x="4" y="62"/>
                  </a:lnTo>
                  <a:lnTo>
                    <a:pt x="3" y="59"/>
                  </a:lnTo>
                  <a:lnTo>
                    <a:pt x="1" y="57"/>
                  </a:lnTo>
                  <a:lnTo>
                    <a:pt x="3" y="52"/>
                  </a:lnTo>
                  <a:lnTo>
                    <a:pt x="4" y="46"/>
                  </a:lnTo>
                  <a:lnTo>
                    <a:pt x="4" y="40"/>
                  </a:lnTo>
                  <a:lnTo>
                    <a:pt x="3" y="35"/>
                  </a:lnTo>
                  <a:lnTo>
                    <a:pt x="6" y="32"/>
                  </a:lnTo>
                  <a:lnTo>
                    <a:pt x="3" y="25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grpSp>
          <p:nvGrpSpPr>
            <p:cNvPr id="386" name="Group 765"/>
            <p:cNvGrpSpPr>
              <a:grpSpLocks/>
            </p:cNvGrpSpPr>
            <p:nvPr/>
          </p:nvGrpSpPr>
          <p:grpSpPr bwMode="auto">
            <a:xfrm>
              <a:off x="3530488" y="5436148"/>
              <a:ext cx="397102" cy="1305220"/>
              <a:chOff x="1349" y="2847"/>
              <a:chExt cx="270" cy="771"/>
            </a:xfrm>
            <a:solidFill>
              <a:schemeClr val="bg1">
                <a:lumMod val="65000"/>
              </a:schemeClr>
            </a:solidFill>
          </p:grpSpPr>
          <p:sp>
            <p:nvSpPr>
              <p:cNvPr id="455" name="Freeform 766"/>
              <p:cNvSpPr>
                <a:spLocks/>
              </p:cNvSpPr>
              <p:nvPr/>
            </p:nvSpPr>
            <p:spPr bwMode="auto">
              <a:xfrm>
                <a:off x="1393" y="3343"/>
                <a:ext cx="19" cy="32"/>
              </a:xfrm>
              <a:custGeom>
                <a:avLst/>
                <a:gdLst>
                  <a:gd name="T0" fmla="*/ 17 w 36"/>
                  <a:gd name="T1" fmla="*/ 2 h 65"/>
                  <a:gd name="T2" fmla="*/ 16 w 36"/>
                  <a:gd name="T3" fmla="*/ 0 h 65"/>
                  <a:gd name="T4" fmla="*/ 11 w 36"/>
                  <a:gd name="T5" fmla="*/ 2 h 65"/>
                  <a:gd name="T6" fmla="*/ 11 w 36"/>
                  <a:gd name="T7" fmla="*/ 5 h 65"/>
                  <a:gd name="T8" fmla="*/ 8 w 36"/>
                  <a:gd name="T9" fmla="*/ 5 h 65"/>
                  <a:gd name="T10" fmla="*/ 4 w 36"/>
                  <a:gd name="T11" fmla="*/ 2 h 65"/>
                  <a:gd name="T12" fmla="*/ 0 w 36"/>
                  <a:gd name="T13" fmla="*/ 0 h 65"/>
                  <a:gd name="T14" fmla="*/ 3 w 36"/>
                  <a:gd name="T15" fmla="*/ 5 h 65"/>
                  <a:gd name="T16" fmla="*/ 1 w 36"/>
                  <a:gd name="T17" fmla="*/ 8 h 65"/>
                  <a:gd name="T18" fmla="*/ 4 w 36"/>
                  <a:gd name="T19" fmla="*/ 11 h 65"/>
                  <a:gd name="T20" fmla="*/ 4 w 36"/>
                  <a:gd name="T21" fmla="*/ 14 h 65"/>
                  <a:gd name="T22" fmla="*/ 3 w 36"/>
                  <a:gd name="T23" fmla="*/ 18 h 65"/>
                  <a:gd name="T24" fmla="*/ 4 w 36"/>
                  <a:gd name="T25" fmla="*/ 22 h 65"/>
                  <a:gd name="T26" fmla="*/ 4 w 36"/>
                  <a:gd name="T27" fmla="*/ 26 h 65"/>
                  <a:gd name="T28" fmla="*/ 4 w 36"/>
                  <a:gd name="T29" fmla="*/ 29 h 65"/>
                  <a:gd name="T30" fmla="*/ 9 w 36"/>
                  <a:gd name="T31" fmla="*/ 32 h 65"/>
                  <a:gd name="T32" fmla="*/ 9 w 36"/>
                  <a:gd name="T33" fmla="*/ 35 h 65"/>
                  <a:gd name="T34" fmla="*/ 11 w 36"/>
                  <a:gd name="T35" fmla="*/ 40 h 65"/>
                  <a:gd name="T36" fmla="*/ 11 w 36"/>
                  <a:gd name="T37" fmla="*/ 43 h 65"/>
                  <a:gd name="T38" fmla="*/ 11 w 36"/>
                  <a:gd name="T39" fmla="*/ 46 h 65"/>
                  <a:gd name="T40" fmla="*/ 12 w 36"/>
                  <a:gd name="T41" fmla="*/ 49 h 65"/>
                  <a:gd name="T42" fmla="*/ 11 w 36"/>
                  <a:gd name="T43" fmla="*/ 54 h 65"/>
                  <a:gd name="T44" fmla="*/ 11 w 36"/>
                  <a:gd name="T45" fmla="*/ 57 h 65"/>
                  <a:gd name="T46" fmla="*/ 14 w 36"/>
                  <a:gd name="T47" fmla="*/ 60 h 65"/>
                  <a:gd name="T48" fmla="*/ 23 w 36"/>
                  <a:gd name="T49" fmla="*/ 64 h 65"/>
                  <a:gd name="T50" fmla="*/ 31 w 36"/>
                  <a:gd name="T51" fmla="*/ 65 h 65"/>
                  <a:gd name="T52" fmla="*/ 35 w 36"/>
                  <a:gd name="T53" fmla="*/ 62 h 65"/>
                  <a:gd name="T54" fmla="*/ 31 w 36"/>
                  <a:gd name="T55" fmla="*/ 59 h 65"/>
                  <a:gd name="T56" fmla="*/ 31 w 36"/>
                  <a:gd name="T57" fmla="*/ 54 h 65"/>
                  <a:gd name="T58" fmla="*/ 35 w 36"/>
                  <a:gd name="T59" fmla="*/ 54 h 65"/>
                  <a:gd name="T60" fmla="*/ 36 w 36"/>
                  <a:gd name="T61" fmla="*/ 51 h 65"/>
                  <a:gd name="T62" fmla="*/ 35 w 36"/>
                  <a:gd name="T63" fmla="*/ 49 h 65"/>
                  <a:gd name="T64" fmla="*/ 31 w 36"/>
                  <a:gd name="T65" fmla="*/ 48 h 65"/>
                  <a:gd name="T66" fmla="*/ 28 w 36"/>
                  <a:gd name="T67" fmla="*/ 45 h 65"/>
                  <a:gd name="T68" fmla="*/ 31 w 36"/>
                  <a:gd name="T69" fmla="*/ 45 h 65"/>
                  <a:gd name="T70" fmla="*/ 35 w 36"/>
                  <a:gd name="T71" fmla="*/ 45 h 65"/>
                  <a:gd name="T72" fmla="*/ 31 w 36"/>
                  <a:gd name="T73" fmla="*/ 40 h 65"/>
                  <a:gd name="T74" fmla="*/ 28 w 36"/>
                  <a:gd name="T75" fmla="*/ 38 h 65"/>
                  <a:gd name="T76" fmla="*/ 25 w 36"/>
                  <a:gd name="T77" fmla="*/ 35 h 65"/>
                  <a:gd name="T78" fmla="*/ 22 w 36"/>
                  <a:gd name="T79" fmla="*/ 34 h 65"/>
                  <a:gd name="T80" fmla="*/ 22 w 36"/>
                  <a:gd name="T81" fmla="*/ 30 h 65"/>
                  <a:gd name="T82" fmla="*/ 25 w 36"/>
                  <a:gd name="T83" fmla="*/ 30 h 65"/>
                  <a:gd name="T84" fmla="*/ 22 w 36"/>
                  <a:gd name="T85" fmla="*/ 26 h 65"/>
                  <a:gd name="T86" fmla="*/ 22 w 36"/>
                  <a:gd name="T87" fmla="*/ 22 h 65"/>
                  <a:gd name="T88" fmla="*/ 25 w 36"/>
                  <a:gd name="T89" fmla="*/ 22 h 65"/>
                  <a:gd name="T90" fmla="*/ 30 w 36"/>
                  <a:gd name="T91" fmla="*/ 19 h 65"/>
                  <a:gd name="T92" fmla="*/ 27 w 36"/>
                  <a:gd name="T93" fmla="*/ 16 h 65"/>
                  <a:gd name="T94" fmla="*/ 23 w 36"/>
                  <a:gd name="T95" fmla="*/ 13 h 65"/>
                  <a:gd name="T96" fmla="*/ 20 w 36"/>
                  <a:gd name="T97" fmla="*/ 10 h 65"/>
                  <a:gd name="T98" fmla="*/ 19 w 36"/>
                  <a:gd name="T99" fmla="*/ 5 h 65"/>
                  <a:gd name="T100" fmla="*/ 17 w 36"/>
                  <a:gd name="T101" fmla="*/ 2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6" h="65">
                    <a:moveTo>
                      <a:pt x="17" y="2"/>
                    </a:moveTo>
                    <a:lnTo>
                      <a:pt x="16" y="0"/>
                    </a:lnTo>
                    <a:lnTo>
                      <a:pt x="11" y="2"/>
                    </a:lnTo>
                    <a:lnTo>
                      <a:pt x="11" y="5"/>
                    </a:lnTo>
                    <a:lnTo>
                      <a:pt x="8" y="5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3" y="5"/>
                    </a:lnTo>
                    <a:lnTo>
                      <a:pt x="1" y="8"/>
                    </a:lnTo>
                    <a:lnTo>
                      <a:pt x="4" y="11"/>
                    </a:lnTo>
                    <a:lnTo>
                      <a:pt x="4" y="14"/>
                    </a:lnTo>
                    <a:lnTo>
                      <a:pt x="3" y="18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4" y="29"/>
                    </a:lnTo>
                    <a:lnTo>
                      <a:pt x="9" y="32"/>
                    </a:lnTo>
                    <a:lnTo>
                      <a:pt x="9" y="35"/>
                    </a:lnTo>
                    <a:lnTo>
                      <a:pt x="11" y="40"/>
                    </a:lnTo>
                    <a:lnTo>
                      <a:pt x="11" y="43"/>
                    </a:lnTo>
                    <a:lnTo>
                      <a:pt x="11" y="46"/>
                    </a:lnTo>
                    <a:lnTo>
                      <a:pt x="12" y="49"/>
                    </a:lnTo>
                    <a:lnTo>
                      <a:pt x="11" y="54"/>
                    </a:lnTo>
                    <a:lnTo>
                      <a:pt x="11" y="57"/>
                    </a:lnTo>
                    <a:lnTo>
                      <a:pt x="14" y="60"/>
                    </a:lnTo>
                    <a:lnTo>
                      <a:pt x="23" y="64"/>
                    </a:lnTo>
                    <a:lnTo>
                      <a:pt x="31" y="65"/>
                    </a:lnTo>
                    <a:lnTo>
                      <a:pt x="35" y="62"/>
                    </a:lnTo>
                    <a:lnTo>
                      <a:pt x="31" y="59"/>
                    </a:lnTo>
                    <a:lnTo>
                      <a:pt x="31" y="54"/>
                    </a:lnTo>
                    <a:lnTo>
                      <a:pt x="35" y="54"/>
                    </a:lnTo>
                    <a:lnTo>
                      <a:pt x="36" y="51"/>
                    </a:lnTo>
                    <a:lnTo>
                      <a:pt x="35" y="49"/>
                    </a:lnTo>
                    <a:lnTo>
                      <a:pt x="31" y="48"/>
                    </a:lnTo>
                    <a:lnTo>
                      <a:pt x="28" y="45"/>
                    </a:lnTo>
                    <a:lnTo>
                      <a:pt x="31" y="45"/>
                    </a:lnTo>
                    <a:lnTo>
                      <a:pt x="35" y="45"/>
                    </a:lnTo>
                    <a:lnTo>
                      <a:pt x="31" y="40"/>
                    </a:lnTo>
                    <a:lnTo>
                      <a:pt x="28" y="38"/>
                    </a:lnTo>
                    <a:lnTo>
                      <a:pt x="25" y="35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5" y="30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5" y="22"/>
                    </a:lnTo>
                    <a:lnTo>
                      <a:pt x="30" y="19"/>
                    </a:lnTo>
                    <a:lnTo>
                      <a:pt x="27" y="16"/>
                    </a:lnTo>
                    <a:lnTo>
                      <a:pt x="23" y="13"/>
                    </a:lnTo>
                    <a:lnTo>
                      <a:pt x="20" y="10"/>
                    </a:lnTo>
                    <a:lnTo>
                      <a:pt x="19" y="5"/>
                    </a:lnTo>
                    <a:lnTo>
                      <a:pt x="17" y="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56" name="Freeform 767"/>
              <p:cNvSpPr>
                <a:spLocks/>
              </p:cNvSpPr>
              <p:nvPr/>
            </p:nvSpPr>
            <p:spPr bwMode="auto">
              <a:xfrm>
                <a:off x="1410" y="3400"/>
                <a:ext cx="10" cy="4"/>
              </a:xfrm>
              <a:custGeom>
                <a:avLst/>
                <a:gdLst>
                  <a:gd name="T0" fmla="*/ 8 w 19"/>
                  <a:gd name="T1" fmla="*/ 8 h 8"/>
                  <a:gd name="T2" fmla="*/ 11 w 19"/>
                  <a:gd name="T3" fmla="*/ 7 h 8"/>
                  <a:gd name="T4" fmla="*/ 14 w 19"/>
                  <a:gd name="T5" fmla="*/ 4 h 8"/>
                  <a:gd name="T6" fmla="*/ 19 w 19"/>
                  <a:gd name="T7" fmla="*/ 4 h 8"/>
                  <a:gd name="T8" fmla="*/ 14 w 19"/>
                  <a:gd name="T9" fmla="*/ 0 h 8"/>
                  <a:gd name="T10" fmla="*/ 11 w 19"/>
                  <a:gd name="T11" fmla="*/ 0 h 8"/>
                  <a:gd name="T12" fmla="*/ 8 w 19"/>
                  <a:gd name="T13" fmla="*/ 0 h 8"/>
                  <a:gd name="T14" fmla="*/ 5 w 19"/>
                  <a:gd name="T15" fmla="*/ 0 h 8"/>
                  <a:gd name="T16" fmla="*/ 0 w 19"/>
                  <a:gd name="T17" fmla="*/ 4 h 8"/>
                  <a:gd name="T18" fmla="*/ 5 w 19"/>
                  <a:gd name="T19" fmla="*/ 7 h 8"/>
                  <a:gd name="T20" fmla="*/ 8 w 19"/>
                  <a:gd name="T2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" h="8">
                    <a:moveTo>
                      <a:pt x="8" y="8"/>
                    </a:moveTo>
                    <a:lnTo>
                      <a:pt x="11" y="7"/>
                    </a:lnTo>
                    <a:lnTo>
                      <a:pt x="14" y="4"/>
                    </a:lnTo>
                    <a:lnTo>
                      <a:pt x="19" y="4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0" y="4"/>
                    </a:lnTo>
                    <a:lnTo>
                      <a:pt x="5" y="7"/>
                    </a:lnTo>
                    <a:lnTo>
                      <a:pt x="8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57" name="Freeform 768"/>
              <p:cNvSpPr>
                <a:spLocks/>
              </p:cNvSpPr>
              <p:nvPr/>
            </p:nvSpPr>
            <p:spPr bwMode="auto">
              <a:xfrm>
                <a:off x="1412" y="3421"/>
                <a:ext cx="1" cy="1"/>
              </a:xfrm>
              <a:custGeom>
                <a:avLst/>
                <a:gdLst>
                  <a:gd name="T0" fmla="*/ 3 w 3"/>
                  <a:gd name="T1" fmla="*/ 2 h 2"/>
                  <a:gd name="T2" fmla="*/ 3 w 3"/>
                  <a:gd name="T3" fmla="*/ 0 h 2"/>
                  <a:gd name="T4" fmla="*/ 0 w 3"/>
                  <a:gd name="T5" fmla="*/ 0 h 2"/>
                  <a:gd name="T6" fmla="*/ 3 w 3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lnTo>
                      <a:pt x="3" y="0"/>
                    </a:lnTo>
                    <a:lnTo>
                      <a:pt x="0" y="0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58" name="Freeform 769"/>
              <p:cNvSpPr>
                <a:spLocks/>
              </p:cNvSpPr>
              <p:nvPr/>
            </p:nvSpPr>
            <p:spPr bwMode="auto">
              <a:xfrm>
                <a:off x="1414" y="3419"/>
                <a:ext cx="2" cy="4"/>
              </a:xfrm>
              <a:custGeom>
                <a:avLst/>
                <a:gdLst>
                  <a:gd name="T0" fmla="*/ 1 w 5"/>
                  <a:gd name="T1" fmla="*/ 7 h 8"/>
                  <a:gd name="T2" fmla="*/ 5 w 5"/>
                  <a:gd name="T3" fmla="*/ 8 h 8"/>
                  <a:gd name="T4" fmla="*/ 5 w 5"/>
                  <a:gd name="T5" fmla="*/ 5 h 8"/>
                  <a:gd name="T6" fmla="*/ 3 w 5"/>
                  <a:gd name="T7" fmla="*/ 0 h 8"/>
                  <a:gd name="T8" fmla="*/ 0 w 5"/>
                  <a:gd name="T9" fmla="*/ 4 h 8"/>
                  <a:gd name="T10" fmla="*/ 1 w 5"/>
                  <a:gd name="T11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8">
                    <a:moveTo>
                      <a:pt x="1" y="7"/>
                    </a:moveTo>
                    <a:lnTo>
                      <a:pt x="5" y="8"/>
                    </a:lnTo>
                    <a:lnTo>
                      <a:pt x="5" y="5"/>
                    </a:lnTo>
                    <a:lnTo>
                      <a:pt x="3" y="0"/>
                    </a:lnTo>
                    <a:lnTo>
                      <a:pt x="0" y="4"/>
                    </a:lnTo>
                    <a:lnTo>
                      <a:pt x="1" y="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59" name="Freeform 770"/>
              <p:cNvSpPr>
                <a:spLocks/>
              </p:cNvSpPr>
              <p:nvPr/>
            </p:nvSpPr>
            <p:spPr bwMode="auto">
              <a:xfrm>
                <a:off x="1415" y="3418"/>
                <a:ext cx="1" cy="2"/>
              </a:xfrm>
              <a:custGeom>
                <a:avLst/>
                <a:gdLst>
                  <a:gd name="T0" fmla="*/ 4 w 4"/>
                  <a:gd name="T1" fmla="*/ 3 h 3"/>
                  <a:gd name="T2" fmla="*/ 4 w 4"/>
                  <a:gd name="T3" fmla="*/ 3 h 3"/>
                  <a:gd name="T4" fmla="*/ 0 w 4"/>
                  <a:gd name="T5" fmla="*/ 0 h 3"/>
                  <a:gd name="T6" fmla="*/ 4 w 4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lnTo>
                      <a:pt x="4" y="3"/>
                    </a:lnTo>
                    <a:lnTo>
                      <a:pt x="0" y="0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60" name="Freeform 771"/>
              <p:cNvSpPr>
                <a:spLocks/>
              </p:cNvSpPr>
              <p:nvPr/>
            </p:nvSpPr>
            <p:spPr bwMode="auto">
              <a:xfrm>
                <a:off x="1415" y="3414"/>
                <a:ext cx="1" cy="2"/>
              </a:xfrm>
              <a:custGeom>
                <a:avLst/>
                <a:gdLst>
                  <a:gd name="T0" fmla="*/ 4 w 4"/>
                  <a:gd name="T1" fmla="*/ 3 h 3"/>
                  <a:gd name="T2" fmla="*/ 4 w 4"/>
                  <a:gd name="T3" fmla="*/ 0 h 3"/>
                  <a:gd name="T4" fmla="*/ 0 w 4"/>
                  <a:gd name="T5" fmla="*/ 2 h 3"/>
                  <a:gd name="T6" fmla="*/ 4 w 4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61" name="Freeform 772"/>
              <p:cNvSpPr>
                <a:spLocks/>
              </p:cNvSpPr>
              <p:nvPr/>
            </p:nvSpPr>
            <p:spPr bwMode="auto">
              <a:xfrm>
                <a:off x="1416" y="3403"/>
                <a:ext cx="2" cy="1"/>
              </a:xfrm>
              <a:custGeom>
                <a:avLst/>
                <a:gdLst>
                  <a:gd name="T0" fmla="*/ 3 w 3"/>
                  <a:gd name="T1" fmla="*/ 3 h 3"/>
                  <a:gd name="T2" fmla="*/ 3 w 3"/>
                  <a:gd name="T3" fmla="*/ 3 h 3"/>
                  <a:gd name="T4" fmla="*/ 3 w 3"/>
                  <a:gd name="T5" fmla="*/ 0 h 3"/>
                  <a:gd name="T6" fmla="*/ 0 w 3"/>
                  <a:gd name="T7" fmla="*/ 3 h 3"/>
                  <a:gd name="T8" fmla="*/ 3 w 3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3" y="3"/>
                    </a:lnTo>
                    <a:lnTo>
                      <a:pt x="3" y="0"/>
                    </a:lnTo>
                    <a:lnTo>
                      <a:pt x="0" y="3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62" name="Freeform 773"/>
              <p:cNvSpPr>
                <a:spLocks/>
              </p:cNvSpPr>
              <p:nvPr/>
            </p:nvSpPr>
            <p:spPr bwMode="auto">
              <a:xfrm>
                <a:off x="1419" y="3412"/>
                <a:ext cx="7" cy="3"/>
              </a:xfrm>
              <a:custGeom>
                <a:avLst/>
                <a:gdLst>
                  <a:gd name="T0" fmla="*/ 8 w 15"/>
                  <a:gd name="T1" fmla="*/ 7 h 7"/>
                  <a:gd name="T2" fmla="*/ 12 w 15"/>
                  <a:gd name="T3" fmla="*/ 7 h 7"/>
                  <a:gd name="T4" fmla="*/ 15 w 15"/>
                  <a:gd name="T5" fmla="*/ 5 h 7"/>
                  <a:gd name="T6" fmla="*/ 12 w 15"/>
                  <a:gd name="T7" fmla="*/ 2 h 7"/>
                  <a:gd name="T8" fmla="*/ 8 w 15"/>
                  <a:gd name="T9" fmla="*/ 3 h 7"/>
                  <a:gd name="T10" fmla="*/ 5 w 15"/>
                  <a:gd name="T11" fmla="*/ 0 h 7"/>
                  <a:gd name="T12" fmla="*/ 0 w 15"/>
                  <a:gd name="T13" fmla="*/ 2 h 7"/>
                  <a:gd name="T14" fmla="*/ 5 w 15"/>
                  <a:gd name="T15" fmla="*/ 5 h 7"/>
                  <a:gd name="T16" fmla="*/ 8 w 15"/>
                  <a:gd name="T1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" h="7">
                    <a:moveTo>
                      <a:pt x="8" y="7"/>
                    </a:moveTo>
                    <a:lnTo>
                      <a:pt x="12" y="7"/>
                    </a:lnTo>
                    <a:lnTo>
                      <a:pt x="15" y="5"/>
                    </a:lnTo>
                    <a:lnTo>
                      <a:pt x="12" y="2"/>
                    </a:lnTo>
                    <a:lnTo>
                      <a:pt x="8" y="3"/>
                    </a:lnTo>
                    <a:lnTo>
                      <a:pt x="5" y="0"/>
                    </a:lnTo>
                    <a:lnTo>
                      <a:pt x="0" y="2"/>
                    </a:lnTo>
                    <a:lnTo>
                      <a:pt x="5" y="5"/>
                    </a:lnTo>
                    <a:lnTo>
                      <a:pt x="8" y="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63" name="Freeform 774"/>
              <p:cNvSpPr>
                <a:spLocks/>
              </p:cNvSpPr>
              <p:nvPr/>
            </p:nvSpPr>
            <p:spPr bwMode="auto">
              <a:xfrm>
                <a:off x="1420" y="3404"/>
                <a:ext cx="3" cy="3"/>
              </a:xfrm>
              <a:custGeom>
                <a:avLst/>
                <a:gdLst>
                  <a:gd name="T0" fmla="*/ 5 w 6"/>
                  <a:gd name="T1" fmla="*/ 7 h 7"/>
                  <a:gd name="T2" fmla="*/ 6 w 6"/>
                  <a:gd name="T3" fmla="*/ 4 h 7"/>
                  <a:gd name="T4" fmla="*/ 3 w 6"/>
                  <a:gd name="T5" fmla="*/ 0 h 7"/>
                  <a:gd name="T6" fmla="*/ 0 w 6"/>
                  <a:gd name="T7" fmla="*/ 0 h 7"/>
                  <a:gd name="T8" fmla="*/ 2 w 6"/>
                  <a:gd name="T9" fmla="*/ 4 h 7"/>
                  <a:gd name="T10" fmla="*/ 5 w 6"/>
                  <a:gd name="T1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7">
                    <a:moveTo>
                      <a:pt x="5" y="7"/>
                    </a:moveTo>
                    <a:lnTo>
                      <a:pt x="6" y="4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5" y="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64" name="Freeform 775"/>
              <p:cNvSpPr>
                <a:spLocks/>
              </p:cNvSpPr>
              <p:nvPr/>
            </p:nvSpPr>
            <p:spPr bwMode="auto">
              <a:xfrm>
                <a:off x="1420" y="3469"/>
                <a:ext cx="13" cy="12"/>
              </a:xfrm>
              <a:custGeom>
                <a:avLst/>
                <a:gdLst>
                  <a:gd name="T0" fmla="*/ 23 w 25"/>
                  <a:gd name="T1" fmla="*/ 26 h 26"/>
                  <a:gd name="T2" fmla="*/ 25 w 25"/>
                  <a:gd name="T3" fmla="*/ 23 h 26"/>
                  <a:gd name="T4" fmla="*/ 23 w 25"/>
                  <a:gd name="T5" fmla="*/ 19 h 26"/>
                  <a:gd name="T6" fmla="*/ 22 w 25"/>
                  <a:gd name="T7" fmla="*/ 16 h 26"/>
                  <a:gd name="T8" fmla="*/ 19 w 25"/>
                  <a:gd name="T9" fmla="*/ 15 h 26"/>
                  <a:gd name="T10" fmla="*/ 17 w 25"/>
                  <a:gd name="T11" fmla="*/ 11 h 26"/>
                  <a:gd name="T12" fmla="*/ 12 w 25"/>
                  <a:gd name="T13" fmla="*/ 7 h 26"/>
                  <a:gd name="T14" fmla="*/ 11 w 25"/>
                  <a:gd name="T15" fmla="*/ 4 h 26"/>
                  <a:gd name="T16" fmla="*/ 8 w 25"/>
                  <a:gd name="T17" fmla="*/ 0 h 26"/>
                  <a:gd name="T18" fmla="*/ 3 w 25"/>
                  <a:gd name="T19" fmla="*/ 0 h 26"/>
                  <a:gd name="T20" fmla="*/ 0 w 25"/>
                  <a:gd name="T21" fmla="*/ 2 h 26"/>
                  <a:gd name="T22" fmla="*/ 3 w 25"/>
                  <a:gd name="T23" fmla="*/ 5 h 26"/>
                  <a:gd name="T24" fmla="*/ 8 w 25"/>
                  <a:gd name="T25" fmla="*/ 7 h 26"/>
                  <a:gd name="T26" fmla="*/ 6 w 25"/>
                  <a:gd name="T27" fmla="*/ 11 h 26"/>
                  <a:gd name="T28" fmla="*/ 11 w 25"/>
                  <a:gd name="T29" fmla="*/ 11 h 26"/>
                  <a:gd name="T30" fmla="*/ 6 w 25"/>
                  <a:gd name="T31" fmla="*/ 15 h 26"/>
                  <a:gd name="T32" fmla="*/ 11 w 25"/>
                  <a:gd name="T33" fmla="*/ 15 h 26"/>
                  <a:gd name="T34" fmla="*/ 14 w 25"/>
                  <a:gd name="T35" fmla="*/ 13 h 26"/>
                  <a:gd name="T36" fmla="*/ 15 w 25"/>
                  <a:gd name="T37" fmla="*/ 16 h 26"/>
                  <a:gd name="T38" fmla="*/ 17 w 25"/>
                  <a:gd name="T39" fmla="*/ 19 h 26"/>
                  <a:gd name="T40" fmla="*/ 20 w 25"/>
                  <a:gd name="T41" fmla="*/ 24 h 26"/>
                  <a:gd name="T42" fmla="*/ 23 w 25"/>
                  <a:gd name="T43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" h="26">
                    <a:moveTo>
                      <a:pt x="23" y="26"/>
                    </a:moveTo>
                    <a:lnTo>
                      <a:pt x="25" y="23"/>
                    </a:lnTo>
                    <a:lnTo>
                      <a:pt x="23" y="19"/>
                    </a:lnTo>
                    <a:lnTo>
                      <a:pt x="22" y="16"/>
                    </a:lnTo>
                    <a:lnTo>
                      <a:pt x="19" y="15"/>
                    </a:lnTo>
                    <a:lnTo>
                      <a:pt x="17" y="11"/>
                    </a:lnTo>
                    <a:lnTo>
                      <a:pt x="12" y="7"/>
                    </a:lnTo>
                    <a:lnTo>
                      <a:pt x="11" y="4"/>
                    </a:lnTo>
                    <a:lnTo>
                      <a:pt x="8" y="0"/>
                    </a:lnTo>
                    <a:lnTo>
                      <a:pt x="3" y="0"/>
                    </a:lnTo>
                    <a:lnTo>
                      <a:pt x="0" y="2"/>
                    </a:lnTo>
                    <a:lnTo>
                      <a:pt x="3" y="5"/>
                    </a:lnTo>
                    <a:lnTo>
                      <a:pt x="8" y="7"/>
                    </a:lnTo>
                    <a:lnTo>
                      <a:pt x="6" y="11"/>
                    </a:lnTo>
                    <a:lnTo>
                      <a:pt x="11" y="11"/>
                    </a:lnTo>
                    <a:lnTo>
                      <a:pt x="6" y="15"/>
                    </a:lnTo>
                    <a:lnTo>
                      <a:pt x="11" y="15"/>
                    </a:lnTo>
                    <a:lnTo>
                      <a:pt x="14" y="13"/>
                    </a:lnTo>
                    <a:lnTo>
                      <a:pt x="15" y="16"/>
                    </a:lnTo>
                    <a:lnTo>
                      <a:pt x="17" y="19"/>
                    </a:lnTo>
                    <a:lnTo>
                      <a:pt x="20" y="24"/>
                    </a:lnTo>
                    <a:lnTo>
                      <a:pt x="23" y="26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65" name="Freeform 776"/>
              <p:cNvSpPr>
                <a:spLocks/>
              </p:cNvSpPr>
              <p:nvPr/>
            </p:nvSpPr>
            <p:spPr bwMode="auto">
              <a:xfrm>
                <a:off x="1422" y="3416"/>
                <a:ext cx="5" cy="3"/>
              </a:xfrm>
              <a:custGeom>
                <a:avLst/>
                <a:gdLst>
                  <a:gd name="T0" fmla="*/ 0 w 9"/>
                  <a:gd name="T1" fmla="*/ 4 h 4"/>
                  <a:gd name="T2" fmla="*/ 1 w 9"/>
                  <a:gd name="T3" fmla="*/ 3 h 4"/>
                  <a:gd name="T4" fmla="*/ 6 w 9"/>
                  <a:gd name="T5" fmla="*/ 3 h 4"/>
                  <a:gd name="T6" fmla="*/ 9 w 9"/>
                  <a:gd name="T7" fmla="*/ 4 h 4"/>
                  <a:gd name="T8" fmla="*/ 8 w 9"/>
                  <a:gd name="T9" fmla="*/ 1 h 4"/>
                  <a:gd name="T10" fmla="*/ 3 w 9"/>
                  <a:gd name="T11" fmla="*/ 0 h 4"/>
                  <a:gd name="T12" fmla="*/ 0 w 9"/>
                  <a:gd name="T13" fmla="*/ 1 h 4"/>
                  <a:gd name="T14" fmla="*/ 0 w 9"/>
                  <a:gd name="T1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4">
                    <a:moveTo>
                      <a:pt x="0" y="4"/>
                    </a:moveTo>
                    <a:lnTo>
                      <a:pt x="1" y="3"/>
                    </a:lnTo>
                    <a:lnTo>
                      <a:pt x="6" y="3"/>
                    </a:lnTo>
                    <a:lnTo>
                      <a:pt x="9" y="4"/>
                    </a:lnTo>
                    <a:lnTo>
                      <a:pt x="8" y="1"/>
                    </a:lnTo>
                    <a:lnTo>
                      <a:pt x="3" y="0"/>
                    </a:lnTo>
                    <a:lnTo>
                      <a:pt x="0" y="1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66" name="Freeform 777"/>
              <p:cNvSpPr>
                <a:spLocks/>
              </p:cNvSpPr>
              <p:nvPr/>
            </p:nvSpPr>
            <p:spPr bwMode="auto">
              <a:xfrm>
                <a:off x="1422" y="3402"/>
                <a:ext cx="2" cy="2"/>
              </a:xfrm>
              <a:custGeom>
                <a:avLst/>
                <a:gdLst>
                  <a:gd name="T0" fmla="*/ 3 w 5"/>
                  <a:gd name="T1" fmla="*/ 5 h 5"/>
                  <a:gd name="T2" fmla="*/ 5 w 5"/>
                  <a:gd name="T3" fmla="*/ 5 h 5"/>
                  <a:gd name="T4" fmla="*/ 5 w 5"/>
                  <a:gd name="T5" fmla="*/ 0 h 5"/>
                  <a:gd name="T6" fmla="*/ 0 w 5"/>
                  <a:gd name="T7" fmla="*/ 0 h 5"/>
                  <a:gd name="T8" fmla="*/ 3 w 5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5">
                    <a:moveTo>
                      <a:pt x="3" y="5"/>
                    </a:moveTo>
                    <a:lnTo>
                      <a:pt x="5" y="5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67" name="Freeform 778"/>
              <p:cNvSpPr>
                <a:spLocks/>
              </p:cNvSpPr>
              <p:nvPr/>
            </p:nvSpPr>
            <p:spPr bwMode="auto">
              <a:xfrm>
                <a:off x="1423" y="3415"/>
                <a:ext cx="1" cy="1"/>
              </a:xfrm>
              <a:custGeom>
                <a:avLst/>
                <a:gdLst>
                  <a:gd name="T0" fmla="*/ 4 w 4"/>
                  <a:gd name="T1" fmla="*/ 3 h 3"/>
                  <a:gd name="T2" fmla="*/ 4 w 4"/>
                  <a:gd name="T3" fmla="*/ 0 h 3"/>
                  <a:gd name="T4" fmla="*/ 0 w 4"/>
                  <a:gd name="T5" fmla="*/ 1 h 3"/>
                  <a:gd name="T6" fmla="*/ 4 w 4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lnTo>
                      <a:pt x="4" y="0"/>
                    </a:lnTo>
                    <a:lnTo>
                      <a:pt x="0" y="1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68" name="Freeform 779"/>
              <p:cNvSpPr>
                <a:spLocks/>
              </p:cNvSpPr>
              <p:nvPr/>
            </p:nvSpPr>
            <p:spPr bwMode="auto">
              <a:xfrm>
                <a:off x="1423" y="3419"/>
                <a:ext cx="4" cy="3"/>
              </a:xfrm>
              <a:custGeom>
                <a:avLst/>
                <a:gdLst>
                  <a:gd name="T0" fmla="*/ 7 w 8"/>
                  <a:gd name="T1" fmla="*/ 7 h 7"/>
                  <a:gd name="T2" fmla="*/ 8 w 8"/>
                  <a:gd name="T3" fmla="*/ 5 h 7"/>
                  <a:gd name="T4" fmla="*/ 8 w 8"/>
                  <a:gd name="T5" fmla="*/ 2 h 7"/>
                  <a:gd name="T6" fmla="*/ 4 w 8"/>
                  <a:gd name="T7" fmla="*/ 0 h 7"/>
                  <a:gd name="T8" fmla="*/ 0 w 8"/>
                  <a:gd name="T9" fmla="*/ 2 h 7"/>
                  <a:gd name="T10" fmla="*/ 4 w 8"/>
                  <a:gd name="T11" fmla="*/ 5 h 7"/>
                  <a:gd name="T12" fmla="*/ 7 w 8"/>
                  <a:gd name="T1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7">
                    <a:moveTo>
                      <a:pt x="7" y="7"/>
                    </a:moveTo>
                    <a:lnTo>
                      <a:pt x="8" y="5"/>
                    </a:lnTo>
                    <a:lnTo>
                      <a:pt x="8" y="2"/>
                    </a:lnTo>
                    <a:lnTo>
                      <a:pt x="4" y="0"/>
                    </a:lnTo>
                    <a:lnTo>
                      <a:pt x="0" y="2"/>
                    </a:lnTo>
                    <a:lnTo>
                      <a:pt x="4" y="5"/>
                    </a:lnTo>
                    <a:lnTo>
                      <a:pt x="7" y="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69" name="Freeform 780"/>
              <p:cNvSpPr>
                <a:spLocks/>
              </p:cNvSpPr>
              <p:nvPr/>
            </p:nvSpPr>
            <p:spPr bwMode="auto">
              <a:xfrm>
                <a:off x="1423" y="3476"/>
                <a:ext cx="6" cy="5"/>
              </a:xfrm>
              <a:custGeom>
                <a:avLst/>
                <a:gdLst>
                  <a:gd name="T0" fmla="*/ 5 w 11"/>
                  <a:gd name="T1" fmla="*/ 11 h 11"/>
                  <a:gd name="T2" fmla="*/ 8 w 11"/>
                  <a:gd name="T3" fmla="*/ 11 h 11"/>
                  <a:gd name="T4" fmla="*/ 11 w 11"/>
                  <a:gd name="T5" fmla="*/ 8 h 11"/>
                  <a:gd name="T6" fmla="*/ 9 w 11"/>
                  <a:gd name="T7" fmla="*/ 4 h 11"/>
                  <a:gd name="T8" fmla="*/ 6 w 11"/>
                  <a:gd name="T9" fmla="*/ 0 h 11"/>
                  <a:gd name="T10" fmla="*/ 3 w 11"/>
                  <a:gd name="T11" fmla="*/ 1 h 11"/>
                  <a:gd name="T12" fmla="*/ 0 w 11"/>
                  <a:gd name="T13" fmla="*/ 3 h 11"/>
                  <a:gd name="T14" fmla="*/ 2 w 11"/>
                  <a:gd name="T15" fmla="*/ 6 h 11"/>
                  <a:gd name="T16" fmla="*/ 5 w 11"/>
                  <a:gd name="T17" fmla="*/ 8 h 11"/>
                  <a:gd name="T18" fmla="*/ 8 w 11"/>
                  <a:gd name="T19" fmla="*/ 9 h 11"/>
                  <a:gd name="T20" fmla="*/ 5 w 11"/>
                  <a:gd name="T2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11">
                    <a:moveTo>
                      <a:pt x="5" y="11"/>
                    </a:moveTo>
                    <a:lnTo>
                      <a:pt x="8" y="11"/>
                    </a:lnTo>
                    <a:lnTo>
                      <a:pt x="11" y="8"/>
                    </a:lnTo>
                    <a:lnTo>
                      <a:pt x="9" y="4"/>
                    </a:lnTo>
                    <a:lnTo>
                      <a:pt x="6" y="0"/>
                    </a:lnTo>
                    <a:lnTo>
                      <a:pt x="3" y="1"/>
                    </a:lnTo>
                    <a:lnTo>
                      <a:pt x="0" y="3"/>
                    </a:lnTo>
                    <a:lnTo>
                      <a:pt x="2" y="6"/>
                    </a:lnTo>
                    <a:lnTo>
                      <a:pt x="5" y="8"/>
                    </a:lnTo>
                    <a:lnTo>
                      <a:pt x="8" y="9"/>
                    </a:lnTo>
                    <a:lnTo>
                      <a:pt x="5" y="1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70" name="Freeform 781"/>
              <p:cNvSpPr>
                <a:spLocks/>
              </p:cNvSpPr>
              <p:nvPr/>
            </p:nvSpPr>
            <p:spPr bwMode="auto">
              <a:xfrm>
                <a:off x="1425" y="3423"/>
                <a:ext cx="2" cy="3"/>
              </a:xfrm>
              <a:custGeom>
                <a:avLst/>
                <a:gdLst>
                  <a:gd name="T0" fmla="*/ 3 w 3"/>
                  <a:gd name="T1" fmla="*/ 7 h 7"/>
                  <a:gd name="T2" fmla="*/ 3 w 3"/>
                  <a:gd name="T3" fmla="*/ 4 h 7"/>
                  <a:gd name="T4" fmla="*/ 3 w 3"/>
                  <a:gd name="T5" fmla="*/ 0 h 7"/>
                  <a:gd name="T6" fmla="*/ 0 w 3"/>
                  <a:gd name="T7" fmla="*/ 0 h 7"/>
                  <a:gd name="T8" fmla="*/ 2 w 3"/>
                  <a:gd name="T9" fmla="*/ 4 h 7"/>
                  <a:gd name="T10" fmla="*/ 3 w 3"/>
                  <a:gd name="T1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7">
                    <a:moveTo>
                      <a:pt x="3" y="7"/>
                    </a:moveTo>
                    <a:lnTo>
                      <a:pt x="3" y="4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2" y="4"/>
                    </a:lnTo>
                    <a:lnTo>
                      <a:pt x="3" y="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71" name="Freeform 782"/>
              <p:cNvSpPr>
                <a:spLocks/>
              </p:cNvSpPr>
              <p:nvPr/>
            </p:nvSpPr>
            <p:spPr bwMode="auto">
              <a:xfrm>
                <a:off x="1425" y="3481"/>
                <a:ext cx="6" cy="2"/>
              </a:xfrm>
              <a:custGeom>
                <a:avLst/>
                <a:gdLst>
                  <a:gd name="T0" fmla="*/ 3 w 11"/>
                  <a:gd name="T1" fmla="*/ 5 h 5"/>
                  <a:gd name="T2" fmla="*/ 3 w 11"/>
                  <a:gd name="T3" fmla="*/ 5 h 5"/>
                  <a:gd name="T4" fmla="*/ 6 w 11"/>
                  <a:gd name="T5" fmla="*/ 3 h 5"/>
                  <a:gd name="T6" fmla="*/ 11 w 11"/>
                  <a:gd name="T7" fmla="*/ 0 h 5"/>
                  <a:gd name="T8" fmla="*/ 6 w 11"/>
                  <a:gd name="T9" fmla="*/ 0 h 5"/>
                  <a:gd name="T10" fmla="*/ 3 w 11"/>
                  <a:gd name="T11" fmla="*/ 3 h 5"/>
                  <a:gd name="T12" fmla="*/ 0 w 11"/>
                  <a:gd name="T13" fmla="*/ 2 h 5"/>
                  <a:gd name="T14" fmla="*/ 3 w 11"/>
                  <a:gd name="T1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1" h="5">
                    <a:moveTo>
                      <a:pt x="3" y="5"/>
                    </a:moveTo>
                    <a:lnTo>
                      <a:pt x="3" y="5"/>
                    </a:lnTo>
                    <a:lnTo>
                      <a:pt x="6" y="3"/>
                    </a:lnTo>
                    <a:lnTo>
                      <a:pt x="11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2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72" name="Freeform 783"/>
              <p:cNvSpPr>
                <a:spLocks/>
              </p:cNvSpPr>
              <p:nvPr/>
            </p:nvSpPr>
            <p:spPr bwMode="auto">
              <a:xfrm>
                <a:off x="1426" y="3395"/>
                <a:ext cx="10" cy="11"/>
              </a:xfrm>
              <a:custGeom>
                <a:avLst/>
                <a:gdLst>
                  <a:gd name="T0" fmla="*/ 20 w 20"/>
                  <a:gd name="T1" fmla="*/ 14 h 22"/>
                  <a:gd name="T2" fmla="*/ 20 w 20"/>
                  <a:gd name="T3" fmla="*/ 14 h 22"/>
                  <a:gd name="T4" fmla="*/ 17 w 20"/>
                  <a:gd name="T5" fmla="*/ 11 h 22"/>
                  <a:gd name="T6" fmla="*/ 20 w 20"/>
                  <a:gd name="T7" fmla="*/ 8 h 22"/>
                  <a:gd name="T8" fmla="*/ 20 w 20"/>
                  <a:gd name="T9" fmla="*/ 5 h 22"/>
                  <a:gd name="T10" fmla="*/ 16 w 20"/>
                  <a:gd name="T11" fmla="*/ 3 h 22"/>
                  <a:gd name="T12" fmla="*/ 12 w 20"/>
                  <a:gd name="T13" fmla="*/ 3 h 22"/>
                  <a:gd name="T14" fmla="*/ 11 w 20"/>
                  <a:gd name="T15" fmla="*/ 0 h 22"/>
                  <a:gd name="T16" fmla="*/ 8 w 20"/>
                  <a:gd name="T17" fmla="*/ 3 h 22"/>
                  <a:gd name="T18" fmla="*/ 3 w 20"/>
                  <a:gd name="T19" fmla="*/ 1 h 22"/>
                  <a:gd name="T20" fmla="*/ 3 w 20"/>
                  <a:gd name="T21" fmla="*/ 5 h 22"/>
                  <a:gd name="T22" fmla="*/ 6 w 20"/>
                  <a:gd name="T23" fmla="*/ 8 h 22"/>
                  <a:gd name="T24" fmla="*/ 3 w 20"/>
                  <a:gd name="T25" fmla="*/ 9 h 22"/>
                  <a:gd name="T26" fmla="*/ 0 w 20"/>
                  <a:gd name="T27" fmla="*/ 9 h 22"/>
                  <a:gd name="T28" fmla="*/ 1 w 20"/>
                  <a:gd name="T29" fmla="*/ 13 h 22"/>
                  <a:gd name="T30" fmla="*/ 4 w 20"/>
                  <a:gd name="T31" fmla="*/ 17 h 22"/>
                  <a:gd name="T32" fmla="*/ 8 w 20"/>
                  <a:gd name="T33" fmla="*/ 17 h 22"/>
                  <a:gd name="T34" fmla="*/ 4 w 20"/>
                  <a:gd name="T35" fmla="*/ 17 h 22"/>
                  <a:gd name="T36" fmla="*/ 8 w 20"/>
                  <a:gd name="T37" fmla="*/ 21 h 22"/>
                  <a:gd name="T38" fmla="*/ 11 w 20"/>
                  <a:gd name="T39" fmla="*/ 22 h 22"/>
                  <a:gd name="T40" fmla="*/ 14 w 20"/>
                  <a:gd name="T41" fmla="*/ 22 h 22"/>
                  <a:gd name="T42" fmla="*/ 17 w 20"/>
                  <a:gd name="T43" fmla="*/ 17 h 22"/>
                  <a:gd name="T44" fmla="*/ 20 w 20"/>
                  <a:gd name="T45" fmla="*/ 1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0" h="22">
                    <a:moveTo>
                      <a:pt x="20" y="14"/>
                    </a:moveTo>
                    <a:lnTo>
                      <a:pt x="20" y="14"/>
                    </a:lnTo>
                    <a:lnTo>
                      <a:pt x="17" y="11"/>
                    </a:lnTo>
                    <a:lnTo>
                      <a:pt x="20" y="8"/>
                    </a:lnTo>
                    <a:lnTo>
                      <a:pt x="20" y="5"/>
                    </a:lnTo>
                    <a:lnTo>
                      <a:pt x="16" y="3"/>
                    </a:lnTo>
                    <a:lnTo>
                      <a:pt x="12" y="3"/>
                    </a:lnTo>
                    <a:lnTo>
                      <a:pt x="11" y="0"/>
                    </a:lnTo>
                    <a:lnTo>
                      <a:pt x="8" y="3"/>
                    </a:lnTo>
                    <a:lnTo>
                      <a:pt x="3" y="1"/>
                    </a:lnTo>
                    <a:lnTo>
                      <a:pt x="3" y="5"/>
                    </a:lnTo>
                    <a:lnTo>
                      <a:pt x="6" y="8"/>
                    </a:lnTo>
                    <a:lnTo>
                      <a:pt x="3" y="9"/>
                    </a:lnTo>
                    <a:lnTo>
                      <a:pt x="0" y="9"/>
                    </a:lnTo>
                    <a:lnTo>
                      <a:pt x="1" y="13"/>
                    </a:lnTo>
                    <a:lnTo>
                      <a:pt x="4" y="17"/>
                    </a:lnTo>
                    <a:lnTo>
                      <a:pt x="8" y="17"/>
                    </a:lnTo>
                    <a:lnTo>
                      <a:pt x="4" y="17"/>
                    </a:lnTo>
                    <a:lnTo>
                      <a:pt x="8" y="21"/>
                    </a:lnTo>
                    <a:lnTo>
                      <a:pt x="11" y="22"/>
                    </a:lnTo>
                    <a:lnTo>
                      <a:pt x="14" y="22"/>
                    </a:lnTo>
                    <a:lnTo>
                      <a:pt x="17" y="17"/>
                    </a:lnTo>
                    <a:lnTo>
                      <a:pt x="20" y="1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73" name="Freeform 784"/>
              <p:cNvSpPr>
                <a:spLocks/>
              </p:cNvSpPr>
              <p:nvPr/>
            </p:nvSpPr>
            <p:spPr bwMode="auto">
              <a:xfrm>
                <a:off x="1427" y="3469"/>
                <a:ext cx="8" cy="8"/>
              </a:xfrm>
              <a:custGeom>
                <a:avLst/>
                <a:gdLst>
                  <a:gd name="T0" fmla="*/ 13 w 16"/>
                  <a:gd name="T1" fmla="*/ 14 h 14"/>
                  <a:gd name="T2" fmla="*/ 13 w 16"/>
                  <a:gd name="T3" fmla="*/ 13 h 14"/>
                  <a:gd name="T4" fmla="*/ 16 w 16"/>
                  <a:gd name="T5" fmla="*/ 9 h 14"/>
                  <a:gd name="T6" fmla="*/ 15 w 16"/>
                  <a:gd name="T7" fmla="*/ 6 h 14"/>
                  <a:gd name="T8" fmla="*/ 15 w 16"/>
                  <a:gd name="T9" fmla="*/ 3 h 14"/>
                  <a:gd name="T10" fmla="*/ 10 w 16"/>
                  <a:gd name="T11" fmla="*/ 3 h 14"/>
                  <a:gd name="T12" fmla="*/ 7 w 16"/>
                  <a:gd name="T13" fmla="*/ 0 h 14"/>
                  <a:gd name="T14" fmla="*/ 3 w 16"/>
                  <a:gd name="T15" fmla="*/ 0 h 14"/>
                  <a:gd name="T16" fmla="*/ 0 w 16"/>
                  <a:gd name="T17" fmla="*/ 0 h 14"/>
                  <a:gd name="T18" fmla="*/ 2 w 16"/>
                  <a:gd name="T19" fmla="*/ 5 h 14"/>
                  <a:gd name="T20" fmla="*/ 5 w 16"/>
                  <a:gd name="T21" fmla="*/ 8 h 14"/>
                  <a:gd name="T22" fmla="*/ 8 w 16"/>
                  <a:gd name="T23" fmla="*/ 11 h 14"/>
                  <a:gd name="T24" fmla="*/ 13 w 16"/>
                  <a:gd name="T2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6" h="14">
                    <a:moveTo>
                      <a:pt x="13" y="14"/>
                    </a:moveTo>
                    <a:lnTo>
                      <a:pt x="13" y="13"/>
                    </a:lnTo>
                    <a:lnTo>
                      <a:pt x="16" y="9"/>
                    </a:lnTo>
                    <a:lnTo>
                      <a:pt x="15" y="6"/>
                    </a:lnTo>
                    <a:lnTo>
                      <a:pt x="15" y="3"/>
                    </a:lnTo>
                    <a:lnTo>
                      <a:pt x="10" y="3"/>
                    </a:lnTo>
                    <a:lnTo>
                      <a:pt x="7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2" y="5"/>
                    </a:lnTo>
                    <a:lnTo>
                      <a:pt x="5" y="8"/>
                    </a:lnTo>
                    <a:lnTo>
                      <a:pt x="8" y="11"/>
                    </a:lnTo>
                    <a:lnTo>
                      <a:pt x="13" y="1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74" name="Freeform 785"/>
              <p:cNvSpPr>
                <a:spLocks/>
              </p:cNvSpPr>
              <p:nvPr/>
            </p:nvSpPr>
            <p:spPr bwMode="auto">
              <a:xfrm>
                <a:off x="1427" y="3484"/>
                <a:ext cx="8" cy="5"/>
              </a:xfrm>
              <a:custGeom>
                <a:avLst/>
                <a:gdLst>
                  <a:gd name="T0" fmla="*/ 16 w 16"/>
                  <a:gd name="T1" fmla="*/ 12 h 12"/>
                  <a:gd name="T2" fmla="*/ 16 w 16"/>
                  <a:gd name="T3" fmla="*/ 8 h 12"/>
                  <a:gd name="T4" fmla="*/ 13 w 16"/>
                  <a:gd name="T5" fmla="*/ 5 h 12"/>
                  <a:gd name="T6" fmla="*/ 10 w 16"/>
                  <a:gd name="T7" fmla="*/ 5 h 12"/>
                  <a:gd name="T8" fmla="*/ 8 w 16"/>
                  <a:gd name="T9" fmla="*/ 0 h 12"/>
                  <a:gd name="T10" fmla="*/ 3 w 16"/>
                  <a:gd name="T11" fmla="*/ 2 h 12"/>
                  <a:gd name="T12" fmla="*/ 0 w 16"/>
                  <a:gd name="T13" fmla="*/ 4 h 12"/>
                  <a:gd name="T14" fmla="*/ 2 w 16"/>
                  <a:gd name="T15" fmla="*/ 7 h 12"/>
                  <a:gd name="T16" fmla="*/ 7 w 16"/>
                  <a:gd name="T17" fmla="*/ 7 h 12"/>
                  <a:gd name="T18" fmla="*/ 10 w 16"/>
                  <a:gd name="T19" fmla="*/ 7 h 12"/>
                  <a:gd name="T20" fmla="*/ 13 w 16"/>
                  <a:gd name="T21" fmla="*/ 7 h 12"/>
                  <a:gd name="T22" fmla="*/ 16 w 16"/>
                  <a:gd name="T2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6" h="12">
                    <a:moveTo>
                      <a:pt x="16" y="12"/>
                    </a:moveTo>
                    <a:lnTo>
                      <a:pt x="16" y="8"/>
                    </a:lnTo>
                    <a:lnTo>
                      <a:pt x="13" y="5"/>
                    </a:lnTo>
                    <a:lnTo>
                      <a:pt x="10" y="5"/>
                    </a:lnTo>
                    <a:lnTo>
                      <a:pt x="8" y="0"/>
                    </a:lnTo>
                    <a:lnTo>
                      <a:pt x="3" y="2"/>
                    </a:lnTo>
                    <a:lnTo>
                      <a:pt x="0" y="4"/>
                    </a:lnTo>
                    <a:lnTo>
                      <a:pt x="2" y="7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3" y="7"/>
                    </a:lnTo>
                    <a:lnTo>
                      <a:pt x="16" y="1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75" name="Freeform 786"/>
              <p:cNvSpPr>
                <a:spLocks/>
              </p:cNvSpPr>
              <p:nvPr/>
            </p:nvSpPr>
            <p:spPr bwMode="auto">
              <a:xfrm>
                <a:off x="1428" y="3423"/>
                <a:ext cx="3" cy="4"/>
              </a:xfrm>
              <a:custGeom>
                <a:avLst/>
                <a:gdLst>
                  <a:gd name="T0" fmla="*/ 2 w 7"/>
                  <a:gd name="T1" fmla="*/ 8 h 8"/>
                  <a:gd name="T2" fmla="*/ 4 w 7"/>
                  <a:gd name="T3" fmla="*/ 5 h 8"/>
                  <a:gd name="T4" fmla="*/ 7 w 7"/>
                  <a:gd name="T5" fmla="*/ 3 h 8"/>
                  <a:gd name="T6" fmla="*/ 4 w 7"/>
                  <a:gd name="T7" fmla="*/ 0 h 8"/>
                  <a:gd name="T8" fmla="*/ 0 w 7"/>
                  <a:gd name="T9" fmla="*/ 5 h 8"/>
                  <a:gd name="T10" fmla="*/ 2 w 7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8">
                    <a:moveTo>
                      <a:pt x="2" y="8"/>
                    </a:moveTo>
                    <a:lnTo>
                      <a:pt x="4" y="5"/>
                    </a:lnTo>
                    <a:lnTo>
                      <a:pt x="7" y="3"/>
                    </a:lnTo>
                    <a:lnTo>
                      <a:pt x="4" y="0"/>
                    </a:lnTo>
                    <a:lnTo>
                      <a:pt x="0" y="5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76" name="Freeform 787"/>
              <p:cNvSpPr>
                <a:spLocks/>
              </p:cNvSpPr>
              <p:nvPr/>
            </p:nvSpPr>
            <p:spPr bwMode="auto">
              <a:xfrm>
                <a:off x="1428" y="3421"/>
                <a:ext cx="2" cy="2"/>
              </a:xfrm>
              <a:custGeom>
                <a:avLst/>
                <a:gdLst>
                  <a:gd name="T0" fmla="*/ 4 w 4"/>
                  <a:gd name="T1" fmla="*/ 3 h 3"/>
                  <a:gd name="T2" fmla="*/ 4 w 4"/>
                  <a:gd name="T3" fmla="*/ 3 h 3"/>
                  <a:gd name="T4" fmla="*/ 0 w 4"/>
                  <a:gd name="T5" fmla="*/ 0 h 3"/>
                  <a:gd name="T6" fmla="*/ 4 w 4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4" y="3"/>
                    </a:moveTo>
                    <a:lnTo>
                      <a:pt x="4" y="3"/>
                    </a:lnTo>
                    <a:lnTo>
                      <a:pt x="0" y="0"/>
                    </a:lnTo>
                    <a:lnTo>
                      <a:pt x="4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77" name="Freeform 788"/>
              <p:cNvSpPr>
                <a:spLocks/>
              </p:cNvSpPr>
              <p:nvPr/>
            </p:nvSpPr>
            <p:spPr bwMode="auto">
              <a:xfrm>
                <a:off x="1430" y="3409"/>
                <a:ext cx="1" cy="2"/>
              </a:xfrm>
              <a:custGeom>
                <a:avLst/>
                <a:gdLst>
                  <a:gd name="T0" fmla="*/ 3 w 3"/>
                  <a:gd name="T1" fmla="*/ 4 h 4"/>
                  <a:gd name="T2" fmla="*/ 3 w 3"/>
                  <a:gd name="T3" fmla="*/ 2 h 4"/>
                  <a:gd name="T4" fmla="*/ 0 w 3"/>
                  <a:gd name="T5" fmla="*/ 0 h 4"/>
                  <a:gd name="T6" fmla="*/ 3 w 3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3" y="2"/>
                    </a:lnTo>
                    <a:lnTo>
                      <a:pt x="0" y="0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78" name="Freeform 789"/>
              <p:cNvSpPr>
                <a:spLocks/>
              </p:cNvSpPr>
              <p:nvPr/>
            </p:nvSpPr>
            <p:spPr bwMode="auto">
              <a:xfrm>
                <a:off x="1430" y="3449"/>
                <a:ext cx="1" cy="1"/>
              </a:xfrm>
              <a:custGeom>
                <a:avLst/>
                <a:gdLst>
                  <a:gd name="T0" fmla="*/ 1 w 3"/>
                  <a:gd name="T1" fmla="*/ 3 h 3"/>
                  <a:gd name="T2" fmla="*/ 3 w 3"/>
                  <a:gd name="T3" fmla="*/ 3 h 3"/>
                  <a:gd name="T4" fmla="*/ 3 w 3"/>
                  <a:gd name="T5" fmla="*/ 0 h 3"/>
                  <a:gd name="T6" fmla="*/ 0 w 3"/>
                  <a:gd name="T7" fmla="*/ 0 h 3"/>
                  <a:gd name="T8" fmla="*/ 1 w 3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1" y="3"/>
                    </a:moveTo>
                    <a:lnTo>
                      <a:pt x="3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1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79" name="Freeform 790"/>
              <p:cNvSpPr>
                <a:spLocks/>
              </p:cNvSpPr>
              <p:nvPr/>
            </p:nvSpPr>
            <p:spPr bwMode="auto">
              <a:xfrm>
                <a:off x="1431" y="3484"/>
                <a:ext cx="5" cy="4"/>
              </a:xfrm>
              <a:custGeom>
                <a:avLst/>
                <a:gdLst>
                  <a:gd name="T0" fmla="*/ 6 w 9"/>
                  <a:gd name="T1" fmla="*/ 8 h 8"/>
                  <a:gd name="T2" fmla="*/ 6 w 9"/>
                  <a:gd name="T3" fmla="*/ 8 h 8"/>
                  <a:gd name="T4" fmla="*/ 9 w 9"/>
                  <a:gd name="T5" fmla="*/ 5 h 8"/>
                  <a:gd name="T6" fmla="*/ 8 w 9"/>
                  <a:gd name="T7" fmla="*/ 2 h 8"/>
                  <a:gd name="T8" fmla="*/ 5 w 9"/>
                  <a:gd name="T9" fmla="*/ 0 h 8"/>
                  <a:gd name="T10" fmla="*/ 0 w 9"/>
                  <a:gd name="T11" fmla="*/ 0 h 8"/>
                  <a:gd name="T12" fmla="*/ 3 w 9"/>
                  <a:gd name="T13" fmla="*/ 4 h 8"/>
                  <a:gd name="T14" fmla="*/ 6 w 9"/>
                  <a:gd name="T1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8">
                    <a:moveTo>
                      <a:pt x="6" y="8"/>
                    </a:moveTo>
                    <a:lnTo>
                      <a:pt x="6" y="8"/>
                    </a:lnTo>
                    <a:lnTo>
                      <a:pt x="9" y="5"/>
                    </a:lnTo>
                    <a:lnTo>
                      <a:pt x="8" y="2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3" y="4"/>
                    </a:lnTo>
                    <a:lnTo>
                      <a:pt x="6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80" name="Freeform 791"/>
              <p:cNvSpPr>
                <a:spLocks/>
              </p:cNvSpPr>
              <p:nvPr/>
            </p:nvSpPr>
            <p:spPr bwMode="auto">
              <a:xfrm>
                <a:off x="1433" y="3481"/>
                <a:ext cx="2" cy="3"/>
              </a:xfrm>
              <a:custGeom>
                <a:avLst/>
                <a:gdLst>
                  <a:gd name="T0" fmla="*/ 3 w 3"/>
                  <a:gd name="T1" fmla="*/ 4 h 4"/>
                  <a:gd name="T2" fmla="*/ 3 w 3"/>
                  <a:gd name="T3" fmla="*/ 3 h 4"/>
                  <a:gd name="T4" fmla="*/ 0 w 3"/>
                  <a:gd name="T5" fmla="*/ 0 h 4"/>
                  <a:gd name="T6" fmla="*/ 0 w 3"/>
                  <a:gd name="T7" fmla="*/ 3 h 4"/>
                  <a:gd name="T8" fmla="*/ 3 w 3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4">
                    <a:moveTo>
                      <a:pt x="3" y="4"/>
                    </a:moveTo>
                    <a:lnTo>
                      <a:pt x="3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3" y="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81" name="Freeform 792"/>
              <p:cNvSpPr>
                <a:spLocks/>
              </p:cNvSpPr>
              <p:nvPr/>
            </p:nvSpPr>
            <p:spPr bwMode="auto">
              <a:xfrm>
                <a:off x="1433" y="3470"/>
                <a:ext cx="10" cy="11"/>
              </a:xfrm>
              <a:custGeom>
                <a:avLst/>
                <a:gdLst>
                  <a:gd name="T0" fmla="*/ 16 w 19"/>
                  <a:gd name="T1" fmla="*/ 22 h 22"/>
                  <a:gd name="T2" fmla="*/ 19 w 19"/>
                  <a:gd name="T3" fmla="*/ 20 h 22"/>
                  <a:gd name="T4" fmla="*/ 19 w 19"/>
                  <a:gd name="T5" fmla="*/ 17 h 22"/>
                  <a:gd name="T6" fmla="*/ 14 w 19"/>
                  <a:gd name="T7" fmla="*/ 17 h 22"/>
                  <a:gd name="T8" fmla="*/ 13 w 19"/>
                  <a:gd name="T9" fmla="*/ 14 h 22"/>
                  <a:gd name="T10" fmla="*/ 13 w 19"/>
                  <a:gd name="T11" fmla="*/ 9 h 22"/>
                  <a:gd name="T12" fmla="*/ 9 w 19"/>
                  <a:gd name="T13" fmla="*/ 6 h 22"/>
                  <a:gd name="T14" fmla="*/ 5 w 19"/>
                  <a:gd name="T15" fmla="*/ 3 h 22"/>
                  <a:gd name="T16" fmla="*/ 2 w 19"/>
                  <a:gd name="T17" fmla="*/ 0 h 22"/>
                  <a:gd name="T18" fmla="*/ 3 w 19"/>
                  <a:gd name="T19" fmla="*/ 3 h 22"/>
                  <a:gd name="T20" fmla="*/ 3 w 19"/>
                  <a:gd name="T21" fmla="*/ 7 h 22"/>
                  <a:gd name="T22" fmla="*/ 6 w 19"/>
                  <a:gd name="T23" fmla="*/ 11 h 22"/>
                  <a:gd name="T24" fmla="*/ 8 w 19"/>
                  <a:gd name="T25" fmla="*/ 14 h 22"/>
                  <a:gd name="T26" fmla="*/ 5 w 19"/>
                  <a:gd name="T27" fmla="*/ 11 h 22"/>
                  <a:gd name="T28" fmla="*/ 2 w 19"/>
                  <a:gd name="T29" fmla="*/ 11 h 22"/>
                  <a:gd name="T30" fmla="*/ 0 w 19"/>
                  <a:gd name="T31" fmla="*/ 14 h 22"/>
                  <a:gd name="T32" fmla="*/ 2 w 19"/>
                  <a:gd name="T33" fmla="*/ 17 h 22"/>
                  <a:gd name="T34" fmla="*/ 6 w 19"/>
                  <a:gd name="T35" fmla="*/ 19 h 22"/>
                  <a:gd name="T36" fmla="*/ 9 w 19"/>
                  <a:gd name="T37" fmla="*/ 20 h 22"/>
                  <a:gd name="T38" fmla="*/ 13 w 19"/>
                  <a:gd name="T39" fmla="*/ 20 h 22"/>
                  <a:gd name="T40" fmla="*/ 16 w 19"/>
                  <a:gd name="T41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9" h="22">
                    <a:moveTo>
                      <a:pt x="16" y="22"/>
                    </a:moveTo>
                    <a:lnTo>
                      <a:pt x="19" y="20"/>
                    </a:lnTo>
                    <a:lnTo>
                      <a:pt x="19" y="17"/>
                    </a:lnTo>
                    <a:lnTo>
                      <a:pt x="14" y="17"/>
                    </a:lnTo>
                    <a:lnTo>
                      <a:pt x="13" y="14"/>
                    </a:lnTo>
                    <a:lnTo>
                      <a:pt x="13" y="9"/>
                    </a:lnTo>
                    <a:lnTo>
                      <a:pt x="9" y="6"/>
                    </a:lnTo>
                    <a:lnTo>
                      <a:pt x="5" y="3"/>
                    </a:lnTo>
                    <a:lnTo>
                      <a:pt x="2" y="0"/>
                    </a:lnTo>
                    <a:lnTo>
                      <a:pt x="3" y="3"/>
                    </a:lnTo>
                    <a:lnTo>
                      <a:pt x="3" y="7"/>
                    </a:lnTo>
                    <a:lnTo>
                      <a:pt x="6" y="11"/>
                    </a:lnTo>
                    <a:lnTo>
                      <a:pt x="8" y="14"/>
                    </a:lnTo>
                    <a:lnTo>
                      <a:pt x="5" y="11"/>
                    </a:lnTo>
                    <a:lnTo>
                      <a:pt x="2" y="11"/>
                    </a:lnTo>
                    <a:lnTo>
                      <a:pt x="0" y="14"/>
                    </a:lnTo>
                    <a:lnTo>
                      <a:pt x="2" y="17"/>
                    </a:lnTo>
                    <a:lnTo>
                      <a:pt x="6" y="19"/>
                    </a:lnTo>
                    <a:lnTo>
                      <a:pt x="9" y="20"/>
                    </a:lnTo>
                    <a:lnTo>
                      <a:pt x="13" y="20"/>
                    </a:lnTo>
                    <a:lnTo>
                      <a:pt x="16" y="2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82" name="Freeform 793"/>
              <p:cNvSpPr>
                <a:spLocks/>
              </p:cNvSpPr>
              <p:nvPr/>
            </p:nvSpPr>
            <p:spPr bwMode="auto">
              <a:xfrm>
                <a:off x="1434" y="3481"/>
                <a:ext cx="20" cy="27"/>
              </a:xfrm>
              <a:custGeom>
                <a:avLst/>
                <a:gdLst>
                  <a:gd name="T0" fmla="*/ 31 w 41"/>
                  <a:gd name="T1" fmla="*/ 52 h 54"/>
                  <a:gd name="T2" fmla="*/ 36 w 41"/>
                  <a:gd name="T3" fmla="*/ 52 h 54"/>
                  <a:gd name="T4" fmla="*/ 36 w 41"/>
                  <a:gd name="T5" fmla="*/ 54 h 54"/>
                  <a:gd name="T6" fmla="*/ 38 w 41"/>
                  <a:gd name="T7" fmla="*/ 49 h 54"/>
                  <a:gd name="T8" fmla="*/ 41 w 41"/>
                  <a:gd name="T9" fmla="*/ 46 h 54"/>
                  <a:gd name="T10" fmla="*/ 36 w 41"/>
                  <a:gd name="T11" fmla="*/ 41 h 54"/>
                  <a:gd name="T12" fmla="*/ 38 w 41"/>
                  <a:gd name="T13" fmla="*/ 38 h 54"/>
                  <a:gd name="T14" fmla="*/ 34 w 41"/>
                  <a:gd name="T15" fmla="*/ 41 h 54"/>
                  <a:gd name="T16" fmla="*/ 33 w 41"/>
                  <a:gd name="T17" fmla="*/ 33 h 54"/>
                  <a:gd name="T18" fmla="*/ 31 w 41"/>
                  <a:gd name="T19" fmla="*/ 27 h 54"/>
                  <a:gd name="T20" fmla="*/ 28 w 41"/>
                  <a:gd name="T21" fmla="*/ 19 h 54"/>
                  <a:gd name="T22" fmla="*/ 23 w 41"/>
                  <a:gd name="T23" fmla="*/ 12 h 54"/>
                  <a:gd name="T24" fmla="*/ 20 w 41"/>
                  <a:gd name="T25" fmla="*/ 8 h 54"/>
                  <a:gd name="T26" fmla="*/ 17 w 41"/>
                  <a:gd name="T27" fmla="*/ 1 h 54"/>
                  <a:gd name="T28" fmla="*/ 14 w 41"/>
                  <a:gd name="T29" fmla="*/ 1 h 54"/>
                  <a:gd name="T30" fmla="*/ 7 w 41"/>
                  <a:gd name="T31" fmla="*/ 0 h 54"/>
                  <a:gd name="T32" fmla="*/ 6 w 41"/>
                  <a:gd name="T33" fmla="*/ 6 h 54"/>
                  <a:gd name="T34" fmla="*/ 6 w 41"/>
                  <a:gd name="T35" fmla="*/ 8 h 54"/>
                  <a:gd name="T36" fmla="*/ 12 w 41"/>
                  <a:gd name="T37" fmla="*/ 9 h 54"/>
                  <a:gd name="T38" fmla="*/ 14 w 41"/>
                  <a:gd name="T39" fmla="*/ 16 h 54"/>
                  <a:gd name="T40" fmla="*/ 15 w 41"/>
                  <a:gd name="T41" fmla="*/ 22 h 54"/>
                  <a:gd name="T42" fmla="*/ 14 w 41"/>
                  <a:gd name="T43" fmla="*/ 24 h 54"/>
                  <a:gd name="T44" fmla="*/ 11 w 41"/>
                  <a:gd name="T45" fmla="*/ 25 h 54"/>
                  <a:gd name="T46" fmla="*/ 9 w 41"/>
                  <a:gd name="T47" fmla="*/ 27 h 54"/>
                  <a:gd name="T48" fmla="*/ 3 w 41"/>
                  <a:gd name="T49" fmla="*/ 24 h 54"/>
                  <a:gd name="T50" fmla="*/ 9 w 41"/>
                  <a:gd name="T51" fmla="*/ 31 h 54"/>
                  <a:gd name="T52" fmla="*/ 3 w 41"/>
                  <a:gd name="T53" fmla="*/ 25 h 54"/>
                  <a:gd name="T54" fmla="*/ 0 w 41"/>
                  <a:gd name="T55" fmla="*/ 27 h 54"/>
                  <a:gd name="T56" fmla="*/ 6 w 41"/>
                  <a:gd name="T57" fmla="*/ 30 h 54"/>
                  <a:gd name="T58" fmla="*/ 11 w 41"/>
                  <a:gd name="T59" fmla="*/ 38 h 54"/>
                  <a:gd name="T60" fmla="*/ 17 w 41"/>
                  <a:gd name="T61" fmla="*/ 43 h 54"/>
                  <a:gd name="T62" fmla="*/ 23 w 41"/>
                  <a:gd name="T63" fmla="*/ 47 h 54"/>
                  <a:gd name="T64" fmla="*/ 22 w 41"/>
                  <a:gd name="T65" fmla="*/ 39 h 54"/>
                  <a:gd name="T66" fmla="*/ 19 w 41"/>
                  <a:gd name="T67" fmla="*/ 33 h 54"/>
                  <a:gd name="T68" fmla="*/ 23 w 41"/>
                  <a:gd name="T69" fmla="*/ 28 h 54"/>
                  <a:gd name="T70" fmla="*/ 25 w 41"/>
                  <a:gd name="T71" fmla="*/ 33 h 54"/>
                  <a:gd name="T72" fmla="*/ 23 w 41"/>
                  <a:gd name="T73" fmla="*/ 35 h 54"/>
                  <a:gd name="T74" fmla="*/ 23 w 41"/>
                  <a:gd name="T75" fmla="*/ 39 h 54"/>
                  <a:gd name="T76" fmla="*/ 28 w 41"/>
                  <a:gd name="T77" fmla="*/ 43 h 54"/>
                  <a:gd name="T78" fmla="*/ 30 w 41"/>
                  <a:gd name="T79" fmla="*/ 49 h 54"/>
                  <a:gd name="T80" fmla="*/ 30 w 41"/>
                  <a:gd name="T81" fmla="*/ 5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1" h="54">
                    <a:moveTo>
                      <a:pt x="30" y="52"/>
                    </a:moveTo>
                    <a:lnTo>
                      <a:pt x="31" y="52"/>
                    </a:lnTo>
                    <a:lnTo>
                      <a:pt x="33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4"/>
                    </a:lnTo>
                    <a:lnTo>
                      <a:pt x="41" y="52"/>
                    </a:lnTo>
                    <a:lnTo>
                      <a:pt x="38" y="49"/>
                    </a:lnTo>
                    <a:lnTo>
                      <a:pt x="41" y="50"/>
                    </a:lnTo>
                    <a:lnTo>
                      <a:pt x="41" y="46"/>
                    </a:lnTo>
                    <a:lnTo>
                      <a:pt x="39" y="43"/>
                    </a:lnTo>
                    <a:lnTo>
                      <a:pt x="36" y="41"/>
                    </a:lnTo>
                    <a:lnTo>
                      <a:pt x="39" y="41"/>
                    </a:lnTo>
                    <a:lnTo>
                      <a:pt x="38" y="38"/>
                    </a:lnTo>
                    <a:lnTo>
                      <a:pt x="34" y="36"/>
                    </a:lnTo>
                    <a:lnTo>
                      <a:pt x="34" y="41"/>
                    </a:lnTo>
                    <a:lnTo>
                      <a:pt x="33" y="38"/>
                    </a:lnTo>
                    <a:lnTo>
                      <a:pt x="33" y="33"/>
                    </a:lnTo>
                    <a:lnTo>
                      <a:pt x="33" y="30"/>
                    </a:lnTo>
                    <a:lnTo>
                      <a:pt x="31" y="27"/>
                    </a:lnTo>
                    <a:lnTo>
                      <a:pt x="30" y="24"/>
                    </a:lnTo>
                    <a:lnTo>
                      <a:pt x="28" y="19"/>
                    </a:lnTo>
                    <a:lnTo>
                      <a:pt x="27" y="16"/>
                    </a:lnTo>
                    <a:lnTo>
                      <a:pt x="23" y="12"/>
                    </a:lnTo>
                    <a:lnTo>
                      <a:pt x="23" y="9"/>
                    </a:lnTo>
                    <a:lnTo>
                      <a:pt x="20" y="8"/>
                    </a:lnTo>
                    <a:lnTo>
                      <a:pt x="19" y="4"/>
                    </a:lnTo>
                    <a:lnTo>
                      <a:pt x="17" y="1"/>
                    </a:lnTo>
                    <a:lnTo>
                      <a:pt x="17" y="4"/>
                    </a:lnTo>
                    <a:lnTo>
                      <a:pt x="14" y="1"/>
                    </a:lnTo>
                    <a:lnTo>
                      <a:pt x="11" y="0"/>
                    </a:lnTo>
                    <a:lnTo>
                      <a:pt x="7" y="0"/>
                    </a:lnTo>
                    <a:lnTo>
                      <a:pt x="4" y="3"/>
                    </a:lnTo>
                    <a:lnTo>
                      <a:pt x="6" y="6"/>
                    </a:lnTo>
                    <a:lnTo>
                      <a:pt x="9" y="6"/>
                    </a:lnTo>
                    <a:lnTo>
                      <a:pt x="6" y="8"/>
                    </a:lnTo>
                    <a:lnTo>
                      <a:pt x="9" y="11"/>
                    </a:lnTo>
                    <a:lnTo>
                      <a:pt x="12" y="9"/>
                    </a:lnTo>
                    <a:lnTo>
                      <a:pt x="11" y="12"/>
                    </a:lnTo>
                    <a:lnTo>
                      <a:pt x="14" y="16"/>
                    </a:lnTo>
                    <a:lnTo>
                      <a:pt x="15" y="19"/>
                    </a:lnTo>
                    <a:lnTo>
                      <a:pt x="15" y="22"/>
                    </a:lnTo>
                    <a:lnTo>
                      <a:pt x="17" y="25"/>
                    </a:lnTo>
                    <a:lnTo>
                      <a:pt x="14" y="24"/>
                    </a:lnTo>
                    <a:lnTo>
                      <a:pt x="9" y="22"/>
                    </a:lnTo>
                    <a:lnTo>
                      <a:pt x="11" y="25"/>
                    </a:lnTo>
                    <a:lnTo>
                      <a:pt x="7" y="24"/>
                    </a:lnTo>
                    <a:lnTo>
                      <a:pt x="9" y="27"/>
                    </a:lnTo>
                    <a:lnTo>
                      <a:pt x="6" y="24"/>
                    </a:lnTo>
                    <a:lnTo>
                      <a:pt x="3" y="24"/>
                    </a:lnTo>
                    <a:lnTo>
                      <a:pt x="7" y="27"/>
                    </a:lnTo>
                    <a:lnTo>
                      <a:pt x="9" y="31"/>
                    </a:lnTo>
                    <a:lnTo>
                      <a:pt x="6" y="28"/>
                    </a:lnTo>
                    <a:lnTo>
                      <a:pt x="3" y="25"/>
                    </a:lnTo>
                    <a:lnTo>
                      <a:pt x="0" y="24"/>
                    </a:lnTo>
                    <a:lnTo>
                      <a:pt x="0" y="27"/>
                    </a:lnTo>
                    <a:lnTo>
                      <a:pt x="3" y="30"/>
                    </a:lnTo>
                    <a:lnTo>
                      <a:pt x="6" y="30"/>
                    </a:lnTo>
                    <a:lnTo>
                      <a:pt x="7" y="33"/>
                    </a:lnTo>
                    <a:lnTo>
                      <a:pt x="11" y="38"/>
                    </a:lnTo>
                    <a:lnTo>
                      <a:pt x="14" y="39"/>
                    </a:lnTo>
                    <a:lnTo>
                      <a:pt x="17" y="43"/>
                    </a:lnTo>
                    <a:lnTo>
                      <a:pt x="20" y="46"/>
                    </a:lnTo>
                    <a:lnTo>
                      <a:pt x="23" y="47"/>
                    </a:lnTo>
                    <a:lnTo>
                      <a:pt x="23" y="43"/>
                    </a:lnTo>
                    <a:lnTo>
                      <a:pt x="22" y="39"/>
                    </a:lnTo>
                    <a:lnTo>
                      <a:pt x="19" y="36"/>
                    </a:lnTo>
                    <a:lnTo>
                      <a:pt x="19" y="33"/>
                    </a:lnTo>
                    <a:lnTo>
                      <a:pt x="22" y="31"/>
                    </a:lnTo>
                    <a:lnTo>
                      <a:pt x="23" y="28"/>
                    </a:lnTo>
                    <a:lnTo>
                      <a:pt x="27" y="28"/>
                    </a:lnTo>
                    <a:lnTo>
                      <a:pt x="25" y="33"/>
                    </a:lnTo>
                    <a:lnTo>
                      <a:pt x="22" y="31"/>
                    </a:lnTo>
                    <a:lnTo>
                      <a:pt x="23" y="35"/>
                    </a:lnTo>
                    <a:lnTo>
                      <a:pt x="27" y="38"/>
                    </a:lnTo>
                    <a:lnTo>
                      <a:pt x="23" y="39"/>
                    </a:lnTo>
                    <a:lnTo>
                      <a:pt x="25" y="43"/>
                    </a:lnTo>
                    <a:lnTo>
                      <a:pt x="28" y="43"/>
                    </a:lnTo>
                    <a:lnTo>
                      <a:pt x="31" y="46"/>
                    </a:lnTo>
                    <a:lnTo>
                      <a:pt x="30" y="49"/>
                    </a:lnTo>
                    <a:lnTo>
                      <a:pt x="34" y="49"/>
                    </a:lnTo>
                    <a:lnTo>
                      <a:pt x="30" y="5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83" name="Freeform 794"/>
              <p:cNvSpPr>
                <a:spLocks/>
              </p:cNvSpPr>
              <p:nvPr/>
            </p:nvSpPr>
            <p:spPr bwMode="auto">
              <a:xfrm>
                <a:off x="1435" y="3481"/>
                <a:ext cx="1" cy="1"/>
              </a:xfrm>
              <a:custGeom>
                <a:avLst/>
                <a:gdLst>
                  <a:gd name="T0" fmla="*/ 2 w 3"/>
                  <a:gd name="T1" fmla="*/ 3 h 3"/>
                  <a:gd name="T2" fmla="*/ 3 w 3"/>
                  <a:gd name="T3" fmla="*/ 3 h 3"/>
                  <a:gd name="T4" fmla="*/ 3 w 3"/>
                  <a:gd name="T5" fmla="*/ 0 h 3"/>
                  <a:gd name="T6" fmla="*/ 0 w 3"/>
                  <a:gd name="T7" fmla="*/ 0 h 3"/>
                  <a:gd name="T8" fmla="*/ 2 w 3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3">
                    <a:moveTo>
                      <a:pt x="2" y="3"/>
                    </a:moveTo>
                    <a:lnTo>
                      <a:pt x="3" y="3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2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84" name="Freeform 795"/>
              <p:cNvSpPr>
                <a:spLocks/>
              </p:cNvSpPr>
              <p:nvPr/>
            </p:nvSpPr>
            <p:spPr bwMode="auto">
              <a:xfrm>
                <a:off x="1435" y="3500"/>
                <a:ext cx="8" cy="5"/>
              </a:xfrm>
              <a:custGeom>
                <a:avLst/>
                <a:gdLst>
                  <a:gd name="T0" fmla="*/ 18 w 18"/>
                  <a:gd name="T1" fmla="*/ 11 h 11"/>
                  <a:gd name="T2" fmla="*/ 18 w 18"/>
                  <a:gd name="T3" fmla="*/ 11 h 11"/>
                  <a:gd name="T4" fmla="*/ 14 w 18"/>
                  <a:gd name="T5" fmla="*/ 8 h 11"/>
                  <a:gd name="T6" fmla="*/ 11 w 18"/>
                  <a:gd name="T7" fmla="*/ 5 h 11"/>
                  <a:gd name="T8" fmla="*/ 8 w 18"/>
                  <a:gd name="T9" fmla="*/ 2 h 11"/>
                  <a:gd name="T10" fmla="*/ 3 w 18"/>
                  <a:gd name="T11" fmla="*/ 0 h 11"/>
                  <a:gd name="T12" fmla="*/ 0 w 18"/>
                  <a:gd name="T13" fmla="*/ 0 h 11"/>
                  <a:gd name="T14" fmla="*/ 2 w 18"/>
                  <a:gd name="T15" fmla="*/ 3 h 11"/>
                  <a:gd name="T16" fmla="*/ 5 w 18"/>
                  <a:gd name="T17" fmla="*/ 7 h 11"/>
                  <a:gd name="T18" fmla="*/ 10 w 18"/>
                  <a:gd name="T19" fmla="*/ 5 h 11"/>
                  <a:gd name="T20" fmla="*/ 11 w 18"/>
                  <a:gd name="T21" fmla="*/ 10 h 11"/>
                  <a:gd name="T22" fmla="*/ 14 w 18"/>
                  <a:gd name="T23" fmla="*/ 10 h 11"/>
                  <a:gd name="T24" fmla="*/ 18 w 18"/>
                  <a:gd name="T2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" h="11">
                    <a:moveTo>
                      <a:pt x="18" y="11"/>
                    </a:moveTo>
                    <a:lnTo>
                      <a:pt x="18" y="11"/>
                    </a:lnTo>
                    <a:lnTo>
                      <a:pt x="14" y="8"/>
                    </a:lnTo>
                    <a:lnTo>
                      <a:pt x="11" y="5"/>
                    </a:lnTo>
                    <a:lnTo>
                      <a:pt x="8" y="2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2" y="3"/>
                    </a:lnTo>
                    <a:lnTo>
                      <a:pt x="5" y="7"/>
                    </a:lnTo>
                    <a:lnTo>
                      <a:pt x="10" y="5"/>
                    </a:lnTo>
                    <a:lnTo>
                      <a:pt x="11" y="10"/>
                    </a:lnTo>
                    <a:lnTo>
                      <a:pt x="14" y="10"/>
                    </a:lnTo>
                    <a:lnTo>
                      <a:pt x="18" y="1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85" name="Freeform 796"/>
              <p:cNvSpPr>
                <a:spLocks/>
              </p:cNvSpPr>
              <p:nvPr/>
            </p:nvSpPr>
            <p:spPr bwMode="auto">
              <a:xfrm>
                <a:off x="1437" y="3471"/>
                <a:ext cx="3" cy="3"/>
              </a:xfrm>
              <a:custGeom>
                <a:avLst/>
                <a:gdLst>
                  <a:gd name="T0" fmla="*/ 5 w 6"/>
                  <a:gd name="T1" fmla="*/ 6 h 6"/>
                  <a:gd name="T2" fmla="*/ 6 w 6"/>
                  <a:gd name="T3" fmla="*/ 5 h 6"/>
                  <a:gd name="T4" fmla="*/ 6 w 6"/>
                  <a:gd name="T5" fmla="*/ 2 h 6"/>
                  <a:gd name="T6" fmla="*/ 3 w 6"/>
                  <a:gd name="T7" fmla="*/ 0 h 6"/>
                  <a:gd name="T8" fmla="*/ 0 w 6"/>
                  <a:gd name="T9" fmla="*/ 0 h 6"/>
                  <a:gd name="T10" fmla="*/ 3 w 6"/>
                  <a:gd name="T11" fmla="*/ 3 h 6"/>
                  <a:gd name="T12" fmla="*/ 5 w 6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6">
                    <a:moveTo>
                      <a:pt x="5" y="6"/>
                    </a:moveTo>
                    <a:lnTo>
                      <a:pt x="6" y="5"/>
                    </a:lnTo>
                    <a:lnTo>
                      <a:pt x="6" y="2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3"/>
                    </a:lnTo>
                    <a:lnTo>
                      <a:pt x="5" y="6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86" name="Freeform 797"/>
              <p:cNvSpPr>
                <a:spLocks/>
              </p:cNvSpPr>
              <p:nvPr/>
            </p:nvSpPr>
            <p:spPr bwMode="auto">
              <a:xfrm>
                <a:off x="1441" y="3473"/>
                <a:ext cx="4" cy="4"/>
              </a:xfrm>
              <a:custGeom>
                <a:avLst/>
                <a:gdLst>
                  <a:gd name="T0" fmla="*/ 8 w 8"/>
                  <a:gd name="T1" fmla="*/ 6 h 6"/>
                  <a:gd name="T2" fmla="*/ 8 w 8"/>
                  <a:gd name="T3" fmla="*/ 5 h 6"/>
                  <a:gd name="T4" fmla="*/ 5 w 8"/>
                  <a:gd name="T5" fmla="*/ 3 h 6"/>
                  <a:gd name="T6" fmla="*/ 1 w 8"/>
                  <a:gd name="T7" fmla="*/ 0 h 6"/>
                  <a:gd name="T8" fmla="*/ 0 w 8"/>
                  <a:gd name="T9" fmla="*/ 3 h 6"/>
                  <a:gd name="T10" fmla="*/ 5 w 8"/>
                  <a:gd name="T11" fmla="*/ 5 h 6"/>
                  <a:gd name="T12" fmla="*/ 8 w 8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6">
                    <a:moveTo>
                      <a:pt x="8" y="6"/>
                    </a:moveTo>
                    <a:lnTo>
                      <a:pt x="8" y="5"/>
                    </a:lnTo>
                    <a:lnTo>
                      <a:pt x="5" y="3"/>
                    </a:lnTo>
                    <a:lnTo>
                      <a:pt x="1" y="0"/>
                    </a:lnTo>
                    <a:lnTo>
                      <a:pt x="0" y="3"/>
                    </a:lnTo>
                    <a:lnTo>
                      <a:pt x="5" y="5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87" name="Freeform 798"/>
              <p:cNvSpPr>
                <a:spLocks/>
              </p:cNvSpPr>
              <p:nvPr/>
            </p:nvSpPr>
            <p:spPr bwMode="auto">
              <a:xfrm>
                <a:off x="1441" y="3508"/>
                <a:ext cx="10" cy="7"/>
              </a:xfrm>
              <a:custGeom>
                <a:avLst/>
                <a:gdLst>
                  <a:gd name="T0" fmla="*/ 16 w 20"/>
                  <a:gd name="T1" fmla="*/ 11 h 16"/>
                  <a:gd name="T2" fmla="*/ 17 w 20"/>
                  <a:gd name="T3" fmla="*/ 8 h 16"/>
                  <a:gd name="T4" fmla="*/ 20 w 20"/>
                  <a:gd name="T5" fmla="*/ 5 h 16"/>
                  <a:gd name="T6" fmla="*/ 17 w 20"/>
                  <a:gd name="T7" fmla="*/ 6 h 16"/>
                  <a:gd name="T8" fmla="*/ 14 w 20"/>
                  <a:gd name="T9" fmla="*/ 6 h 16"/>
                  <a:gd name="T10" fmla="*/ 14 w 20"/>
                  <a:gd name="T11" fmla="*/ 2 h 16"/>
                  <a:gd name="T12" fmla="*/ 11 w 20"/>
                  <a:gd name="T13" fmla="*/ 3 h 16"/>
                  <a:gd name="T14" fmla="*/ 8 w 20"/>
                  <a:gd name="T15" fmla="*/ 0 h 16"/>
                  <a:gd name="T16" fmla="*/ 5 w 20"/>
                  <a:gd name="T17" fmla="*/ 2 h 16"/>
                  <a:gd name="T18" fmla="*/ 0 w 20"/>
                  <a:gd name="T19" fmla="*/ 2 h 16"/>
                  <a:gd name="T20" fmla="*/ 5 w 20"/>
                  <a:gd name="T21" fmla="*/ 3 h 16"/>
                  <a:gd name="T22" fmla="*/ 8 w 20"/>
                  <a:gd name="T23" fmla="*/ 6 h 16"/>
                  <a:gd name="T24" fmla="*/ 11 w 20"/>
                  <a:gd name="T25" fmla="*/ 6 h 16"/>
                  <a:gd name="T26" fmla="*/ 11 w 20"/>
                  <a:gd name="T27" fmla="*/ 10 h 16"/>
                  <a:gd name="T28" fmla="*/ 8 w 20"/>
                  <a:gd name="T29" fmla="*/ 10 h 16"/>
                  <a:gd name="T30" fmla="*/ 6 w 20"/>
                  <a:gd name="T31" fmla="*/ 6 h 16"/>
                  <a:gd name="T32" fmla="*/ 3 w 20"/>
                  <a:gd name="T33" fmla="*/ 5 h 16"/>
                  <a:gd name="T34" fmla="*/ 3 w 20"/>
                  <a:gd name="T35" fmla="*/ 8 h 16"/>
                  <a:gd name="T36" fmla="*/ 5 w 20"/>
                  <a:gd name="T37" fmla="*/ 13 h 16"/>
                  <a:gd name="T38" fmla="*/ 8 w 20"/>
                  <a:gd name="T39" fmla="*/ 13 h 16"/>
                  <a:gd name="T40" fmla="*/ 11 w 20"/>
                  <a:gd name="T41" fmla="*/ 13 h 16"/>
                  <a:gd name="T42" fmla="*/ 9 w 20"/>
                  <a:gd name="T43" fmla="*/ 16 h 16"/>
                  <a:gd name="T44" fmla="*/ 14 w 20"/>
                  <a:gd name="T45" fmla="*/ 14 h 16"/>
                  <a:gd name="T46" fmla="*/ 16 w 20"/>
                  <a:gd name="T47" fmla="*/ 1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20" h="16">
                    <a:moveTo>
                      <a:pt x="16" y="11"/>
                    </a:moveTo>
                    <a:lnTo>
                      <a:pt x="17" y="8"/>
                    </a:lnTo>
                    <a:lnTo>
                      <a:pt x="20" y="5"/>
                    </a:lnTo>
                    <a:lnTo>
                      <a:pt x="17" y="6"/>
                    </a:lnTo>
                    <a:lnTo>
                      <a:pt x="14" y="6"/>
                    </a:lnTo>
                    <a:lnTo>
                      <a:pt x="14" y="2"/>
                    </a:lnTo>
                    <a:lnTo>
                      <a:pt x="11" y="3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0" y="2"/>
                    </a:lnTo>
                    <a:lnTo>
                      <a:pt x="5" y="3"/>
                    </a:lnTo>
                    <a:lnTo>
                      <a:pt x="8" y="6"/>
                    </a:lnTo>
                    <a:lnTo>
                      <a:pt x="11" y="6"/>
                    </a:lnTo>
                    <a:lnTo>
                      <a:pt x="11" y="10"/>
                    </a:lnTo>
                    <a:lnTo>
                      <a:pt x="8" y="10"/>
                    </a:lnTo>
                    <a:lnTo>
                      <a:pt x="6" y="6"/>
                    </a:lnTo>
                    <a:lnTo>
                      <a:pt x="3" y="5"/>
                    </a:lnTo>
                    <a:lnTo>
                      <a:pt x="3" y="8"/>
                    </a:lnTo>
                    <a:lnTo>
                      <a:pt x="5" y="13"/>
                    </a:lnTo>
                    <a:lnTo>
                      <a:pt x="8" y="13"/>
                    </a:lnTo>
                    <a:lnTo>
                      <a:pt x="11" y="13"/>
                    </a:lnTo>
                    <a:lnTo>
                      <a:pt x="9" y="16"/>
                    </a:lnTo>
                    <a:lnTo>
                      <a:pt x="14" y="14"/>
                    </a:lnTo>
                    <a:lnTo>
                      <a:pt x="16" y="1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88" name="Freeform 799"/>
              <p:cNvSpPr>
                <a:spLocks/>
              </p:cNvSpPr>
              <p:nvPr/>
            </p:nvSpPr>
            <p:spPr bwMode="auto">
              <a:xfrm>
                <a:off x="1445" y="3476"/>
                <a:ext cx="3" cy="1"/>
              </a:xfrm>
              <a:custGeom>
                <a:avLst/>
                <a:gdLst>
                  <a:gd name="T0" fmla="*/ 6 w 6"/>
                  <a:gd name="T1" fmla="*/ 3 h 3"/>
                  <a:gd name="T2" fmla="*/ 6 w 6"/>
                  <a:gd name="T3" fmla="*/ 1 h 3"/>
                  <a:gd name="T4" fmla="*/ 3 w 6"/>
                  <a:gd name="T5" fmla="*/ 0 h 3"/>
                  <a:gd name="T6" fmla="*/ 0 w 6"/>
                  <a:gd name="T7" fmla="*/ 0 h 3"/>
                  <a:gd name="T8" fmla="*/ 3 w 6"/>
                  <a:gd name="T9" fmla="*/ 1 h 3"/>
                  <a:gd name="T10" fmla="*/ 6 w 6"/>
                  <a:gd name="T11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3">
                    <a:moveTo>
                      <a:pt x="6" y="3"/>
                    </a:moveTo>
                    <a:lnTo>
                      <a:pt x="6" y="1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1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89" name="Freeform 800"/>
              <p:cNvSpPr>
                <a:spLocks/>
              </p:cNvSpPr>
              <p:nvPr/>
            </p:nvSpPr>
            <p:spPr bwMode="auto">
              <a:xfrm>
                <a:off x="1445" y="3516"/>
                <a:ext cx="5" cy="7"/>
              </a:xfrm>
              <a:custGeom>
                <a:avLst/>
                <a:gdLst>
                  <a:gd name="T0" fmla="*/ 9 w 11"/>
                  <a:gd name="T1" fmla="*/ 12 h 12"/>
                  <a:gd name="T2" fmla="*/ 9 w 11"/>
                  <a:gd name="T3" fmla="*/ 11 h 12"/>
                  <a:gd name="T4" fmla="*/ 6 w 11"/>
                  <a:gd name="T5" fmla="*/ 4 h 12"/>
                  <a:gd name="T6" fmla="*/ 9 w 11"/>
                  <a:gd name="T7" fmla="*/ 4 h 12"/>
                  <a:gd name="T8" fmla="*/ 11 w 11"/>
                  <a:gd name="T9" fmla="*/ 1 h 12"/>
                  <a:gd name="T10" fmla="*/ 8 w 11"/>
                  <a:gd name="T11" fmla="*/ 1 h 12"/>
                  <a:gd name="T12" fmla="*/ 5 w 11"/>
                  <a:gd name="T13" fmla="*/ 0 h 12"/>
                  <a:gd name="T14" fmla="*/ 0 w 11"/>
                  <a:gd name="T15" fmla="*/ 3 h 12"/>
                  <a:gd name="T16" fmla="*/ 3 w 11"/>
                  <a:gd name="T17" fmla="*/ 4 h 12"/>
                  <a:gd name="T18" fmla="*/ 1 w 11"/>
                  <a:gd name="T19" fmla="*/ 7 h 12"/>
                  <a:gd name="T20" fmla="*/ 5 w 11"/>
                  <a:gd name="T21" fmla="*/ 9 h 12"/>
                  <a:gd name="T22" fmla="*/ 5 w 11"/>
                  <a:gd name="T23" fmla="*/ 12 h 12"/>
                  <a:gd name="T24" fmla="*/ 9 w 11"/>
                  <a:gd name="T25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1" h="12">
                    <a:moveTo>
                      <a:pt x="9" y="12"/>
                    </a:moveTo>
                    <a:lnTo>
                      <a:pt x="9" y="11"/>
                    </a:lnTo>
                    <a:lnTo>
                      <a:pt x="6" y="4"/>
                    </a:lnTo>
                    <a:lnTo>
                      <a:pt x="9" y="4"/>
                    </a:lnTo>
                    <a:lnTo>
                      <a:pt x="11" y="1"/>
                    </a:lnTo>
                    <a:lnTo>
                      <a:pt x="8" y="1"/>
                    </a:lnTo>
                    <a:lnTo>
                      <a:pt x="5" y="0"/>
                    </a:lnTo>
                    <a:lnTo>
                      <a:pt x="0" y="3"/>
                    </a:lnTo>
                    <a:lnTo>
                      <a:pt x="3" y="4"/>
                    </a:lnTo>
                    <a:lnTo>
                      <a:pt x="1" y="7"/>
                    </a:lnTo>
                    <a:lnTo>
                      <a:pt x="5" y="9"/>
                    </a:lnTo>
                    <a:lnTo>
                      <a:pt x="5" y="12"/>
                    </a:lnTo>
                    <a:lnTo>
                      <a:pt x="9" y="1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90" name="Freeform 801"/>
              <p:cNvSpPr>
                <a:spLocks/>
              </p:cNvSpPr>
              <p:nvPr/>
            </p:nvSpPr>
            <p:spPr bwMode="auto">
              <a:xfrm>
                <a:off x="1457" y="3522"/>
                <a:ext cx="9" cy="7"/>
              </a:xfrm>
              <a:custGeom>
                <a:avLst/>
                <a:gdLst>
                  <a:gd name="T0" fmla="*/ 9 w 19"/>
                  <a:gd name="T1" fmla="*/ 14 h 14"/>
                  <a:gd name="T2" fmla="*/ 12 w 19"/>
                  <a:gd name="T3" fmla="*/ 12 h 14"/>
                  <a:gd name="T4" fmla="*/ 15 w 19"/>
                  <a:gd name="T5" fmla="*/ 11 h 14"/>
                  <a:gd name="T6" fmla="*/ 19 w 19"/>
                  <a:gd name="T7" fmla="*/ 11 h 14"/>
                  <a:gd name="T8" fmla="*/ 15 w 19"/>
                  <a:gd name="T9" fmla="*/ 8 h 14"/>
                  <a:gd name="T10" fmla="*/ 15 w 19"/>
                  <a:gd name="T11" fmla="*/ 4 h 14"/>
                  <a:gd name="T12" fmla="*/ 12 w 19"/>
                  <a:gd name="T13" fmla="*/ 1 h 14"/>
                  <a:gd name="T14" fmla="*/ 7 w 19"/>
                  <a:gd name="T15" fmla="*/ 0 h 14"/>
                  <a:gd name="T16" fmla="*/ 4 w 19"/>
                  <a:gd name="T17" fmla="*/ 0 h 14"/>
                  <a:gd name="T18" fmla="*/ 7 w 19"/>
                  <a:gd name="T19" fmla="*/ 4 h 14"/>
                  <a:gd name="T20" fmla="*/ 9 w 19"/>
                  <a:gd name="T21" fmla="*/ 8 h 14"/>
                  <a:gd name="T22" fmla="*/ 6 w 19"/>
                  <a:gd name="T23" fmla="*/ 6 h 14"/>
                  <a:gd name="T24" fmla="*/ 3 w 19"/>
                  <a:gd name="T25" fmla="*/ 6 h 14"/>
                  <a:gd name="T26" fmla="*/ 0 w 19"/>
                  <a:gd name="T27" fmla="*/ 6 h 14"/>
                  <a:gd name="T28" fmla="*/ 0 w 19"/>
                  <a:gd name="T29" fmla="*/ 9 h 14"/>
                  <a:gd name="T30" fmla="*/ 4 w 19"/>
                  <a:gd name="T31" fmla="*/ 9 h 14"/>
                  <a:gd name="T32" fmla="*/ 6 w 19"/>
                  <a:gd name="T33" fmla="*/ 12 h 14"/>
                  <a:gd name="T34" fmla="*/ 9 w 19"/>
                  <a:gd name="T35" fmla="*/ 11 h 14"/>
                  <a:gd name="T36" fmla="*/ 9 w 19"/>
                  <a:gd name="T3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9" h="14">
                    <a:moveTo>
                      <a:pt x="9" y="14"/>
                    </a:moveTo>
                    <a:lnTo>
                      <a:pt x="12" y="12"/>
                    </a:lnTo>
                    <a:lnTo>
                      <a:pt x="15" y="11"/>
                    </a:lnTo>
                    <a:lnTo>
                      <a:pt x="19" y="11"/>
                    </a:lnTo>
                    <a:lnTo>
                      <a:pt x="15" y="8"/>
                    </a:lnTo>
                    <a:lnTo>
                      <a:pt x="15" y="4"/>
                    </a:lnTo>
                    <a:lnTo>
                      <a:pt x="12" y="1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7" y="4"/>
                    </a:lnTo>
                    <a:lnTo>
                      <a:pt x="9" y="8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0" y="6"/>
                    </a:lnTo>
                    <a:lnTo>
                      <a:pt x="0" y="9"/>
                    </a:lnTo>
                    <a:lnTo>
                      <a:pt x="4" y="9"/>
                    </a:lnTo>
                    <a:lnTo>
                      <a:pt x="6" y="12"/>
                    </a:lnTo>
                    <a:lnTo>
                      <a:pt x="9" y="11"/>
                    </a:lnTo>
                    <a:lnTo>
                      <a:pt x="9" y="1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91" name="Freeform 802"/>
              <p:cNvSpPr>
                <a:spLocks/>
              </p:cNvSpPr>
              <p:nvPr/>
            </p:nvSpPr>
            <p:spPr bwMode="auto">
              <a:xfrm>
                <a:off x="1463" y="3541"/>
                <a:ext cx="2" cy="4"/>
              </a:xfrm>
              <a:custGeom>
                <a:avLst/>
                <a:gdLst>
                  <a:gd name="T0" fmla="*/ 2 w 3"/>
                  <a:gd name="T1" fmla="*/ 8 h 8"/>
                  <a:gd name="T2" fmla="*/ 2 w 3"/>
                  <a:gd name="T3" fmla="*/ 8 h 8"/>
                  <a:gd name="T4" fmla="*/ 3 w 3"/>
                  <a:gd name="T5" fmla="*/ 3 h 8"/>
                  <a:gd name="T6" fmla="*/ 0 w 3"/>
                  <a:gd name="T7" fmla="*/ 0 h 8"/>
                  <a:gd name="T8" fmla="*/ 0 w 3"/>
                  <a:gd name="T9" fmla="*/ 3 h 8"/>
                  <a:gd name="T10" fmla="*/ 2 w 3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" h="8">
                    <a:moveTo>
                      <a:pt x="2" y="8"/>
                    </a:moveTo>
                    <a:lnTo>
                      <a:pt x="2" y="8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92" name="Freeform 803"/>
              <p:cNvSpPr>
                <a:spLocks/>
              </p:cNvSpPr>
              <p:nvPr/>
            </p:nvSpPr>
            <p:spPr bwMode="auto">
              <a:xfrm>
                <a:off x="1465" y="3540"/>
                <a:ext cx="4" cy="9"/>
              </a:xfrm>
              <a:custGeom>
                <a:avLst/>
                <a:gdLst>
                  <a:gd name="T0" fmla="*/ 7 w 8"/>
                  <a:gd name="T1" fmla="*/ 18 h 18"/>
                  <a:gd name="T2" fmla="*/ 8 w 8"/>
                  <a:gd name="T3" fmla="*/ 14 h 18"/>
                  <a:gd name="T4" fmla="*/ 8 w 8"/>
                  <a:gd name="T5" fmla="*/ 11 h 18"/>
                  <a:gd name="T6" fmla="*/ 7 w 8"/>
                  <a:gd name="T7" fmla="*/ 8 h 18"/>
                  <a:gd name="T8" fmla="*/ 7 w 8"/>
                  <a:gd name="T9" fmla="*/ 5 h 18"/>
                  <a:gd name="T10" fmla="*/ 4 w 8"/>
                  <a:gd name="T11" fmla="*/ 2 h 18"/>
                  <a:gd name="T12" fmla="*/ 0 w 8"/>
                  <a:gd name="T13" fmla="*/ 0 h 18"/>
                  <a:gd name="T14" fmla="*/ 2 w 8"/>
                  <a:gd name="T15" fmla="*/ 5 h 18"/>
                  <a:gd name="T16" fmla="*/ 5 w 8"/>
                  <a:gd name="T17" fmla="*/ 8 h 18"/>
                  <a:gd name="T18" fmla="*/ 2 w 8"/>
                  <a:gd name="T19" fmla="*/ 6 h 18"/>
                  <a:gd name="T20" fmla="*/ 4 w 8"/>
                  <a:gd name="T21" fmla="*/ 11 h 18"/>
                  <a:gd name="T22" fmla="*/ 4 w 8"/>
                  <a:gd name="T23" fmla="*/ 14 h 18"/>
                  <a:gd name="T24" fmla="*/ 7 w 8"/>
                  <a:gd name="T2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" h="18">
                    <a:moveTo>
                      <a:pt x="7" y="18"/>
                    </a:moveTo>
                    <a:lnTo>
                      <a:pt x="8" y="14"/>
                    </a:lnTo>
                    <a:lnTo>
                      <a:pt x="8" y="11"/>
                    </a:lnTo>
                    <a:lnTo>
                      <a:pt x="7" y="8"/>
                    </a:lnTo>
                    <a:lnTo>
                      <a:pt x="7" y="5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2" y="5"/>
                    </a:lnTo>
                    <a:lnTo>
                      <a:pt x="5" y="8"/>
                    </a:lnTo>
                    <a:lnTo>
                      <a:pt x="2" y="6"/>
                    </a:lnTo>
                    <a:lnTo>
                      <a:pt x="4" y="11"/>
                    </a:lnTo>
                    <a:lnTo>
                      <a:pt x="4" y="14"/>
                    </a:lnTo>
                    <a:lnTo>
                      <a:pt x="7" y="1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93" name="Freeform 804"/>
              <p:cNvSpPr>
                <a:spLocks/>
              </p:cNvSpPr>
              <p:nvPr/>
            </p:nvSpPr>
            <p:spPr bwMode="auto">
              <a:xfrm>
                <a:off x="1466" y="3526"/>
                <a:ext cx="5" cy="5"/>
              </a:xfrm>
              <a:custGeom>
                <a:avLst/>
                <a:gdLst>
                  <a:gd name="T0" fmla="*/ 6 w 9"/>
                  <a:gd name="T1" fmla="*/ 11 h 11"/>
                  <a:gd name="T2" fmla="*/ 9 w 9"/>
                  <a:gd name="T3" fmla="*/ 9 h 11"/>
                  <a:gd name="T4" fmla="*/ 6 w 9"/>
                  <a:gd name="T5" fmla="*/ 6 h 11"/>
                  <a:gd name="T6" fmla="*/ 3 w 9"/>
                  <a:gd name="T7" fmla="*/ 3 h 11"/>
                  <a:gd name="T8" fmla="*/ 0 w 9"/>
                  <a:gd name="T9" fmla="*/ 0 h 11"/>
                  <a:gd name="T10" fmla="*/ 1 w 9"/>
                  <a:gd name="T11" fmla="*/ 3 h 11"/>
                  <a:gd name="T12" fmla="*/ 4 w 9"/>
                  <a:gd name="T13" fmla="*/ 7 h 11"/>
                  <a:gd name="T14" fmla="*/ 6 w 9"/>
                  <a:gd name="T1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1">
                    <a:moveTo>
                      <a:pt x="6" y="11"/>
                    </a:moveTo>
                    <a:lnTo>
                      <a:pt x="9" y="9"/>
                    </a:lnTo>
                    <a:lnTo>
                      <a:pt x="6" y="6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1" y="3"/>
                    </a:lnTo>
                    <a:lnTo>
                      <a:pt x="4" y="7"/>
                    </a:lnTo>
                    <a:lnTo>
                      <a:pt x="6" y="1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94" name="Freeform 805"/>
              <p:cNvSpPr>
                <a:spLocks/>
              </p:cNvSpPr>
              <p:nvPr/>
            </p:nvSpPr>
            <p:spPr bwMode="auto">
              <a:xfrm>
                <a:off x="1469" y="3544"/>
                <a:ext cx="1" cy="6"/>
              </a:xfrm>
              <a:custGeom>
                <a:avLst/>
                <a:gdLst>
                  <a:gd name="T0" fmla="*/ 2 w 4"/>
                  <a:gd name="T1" fmla="*/ 11 h 11"/>
                  <a:gd name="T2" fmla="*/ 4 w 4"/>
                  <a:gd name="T3" fmla="*/ 11 h 11"/>
                  <a:gd name="T4" fmla="*/ 4 w 4"/>
                  <a:gd name="T5" fmla="*/ 6 h 11"/>
                  <a:gd name="T6" fmla="*/ 4 w 4"/>
                  <a:gd name="T7" fmla="*/ 3 h 11"/>
                  <a:gd name="T8" fmla="*/ 4 w 4"/>
                  <a:gd name="T9" fmla="*/ 0 h 11"/>
                  <a:gd name="T10" fmla="*/ 0 w 4"/>
                  <a:gd name="T11" fmla="*/ 0 h 11"/>
                  <a:gd name="T12" fmla="*/ 0 w 4"/>
                  <a:gd name="T13" fmla="*/ 3 h 11"/>
                  <a:gd name="T14" fmla="*/ 2 w 4"/>
                  <a:gd name="T15" fmla="*/ 6 h 11"/>
                  <a:gd name="T16" fmla="*/ 2 w 4"/>
                  <a:gd name="T1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" h="11">
                    <a:moveTo>
                      <a:pt x="2" y="11"/>
                    </a:moveTo>
                    <a:lnTo>
                      <a:pt x="4" y="11"/>
                    </a:lnTo>
                    <a:lnTo>
                      <a:pt x="4" y="6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2" y="6"/>
                    </a:lnTo>
                    <a:lnTo>
                      <a:pt x="2" y="1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95" name="Freeform 806"/>
              <p:cNvSpPr>
                <a:spLocks/>
              </p:cNvSpPr>
              <p:nvPr/>
            </p:nvSpPr>
            <p:spPr bwMode="auto">
              <a:xfrm>
                <a:off x="1470" y="3551"/>
                <a:ext cx="4" cy="2"/>
              </a:xfrm>
              <a:custGeom>
                <a:avLst/>
                <a:gdLst>
                  <a:gd name="T0" fmla="*/ 6 w 7"/>
                  <a:gd name="T1" fmla="*/ 3 h 3"/>
                  <a:gd name="T2" fmla="*/ 7 w 7"/>
                  <a:gd name="T3" fmla="*/ 3 h 3"/>
                  <a:gd name="T4" fmla="*/ 6 w 7"/>
                  <a:gd name="T5" fmla="*/ 0 h 3"/>
                  <a:gd name="T6" fmla="*/ 3 w 7"/>
                  <a:gd name="T7" fmla="*/ 0 h 3"/>
                  <a:gd name="T8" fmla="*/ 0 w 7"/>
                  <a:gd name="T9" fmla="*/ 0 h 3"/>
                  <a:gd name="T10" fmla="*/ 3 w 7"/>
                  <a:gd name="T11" fmla="*/ 2 h 3"/>
                  <a:gd name="T12" fmla="*/ 6 w 7"/>
                  <a:gd name="T13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3">
                    <a:moveTo>
                      <a:pt x="6" y="3"/>
                    </a:moveTo>
                    <a:lnTo>
                      <a:pt x="7" y="3"/>
                    </a:lnTo>
                    <a:lnTo>
                      <a:pt x="6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96" name="Freeform 807"/>
              <p:cNvSpPr>
                <a:spLocks/>
              </p:cNvSpPr>
              <p:nvPr/>
            </p:nvSpPr>
            <p:spPr bwMode="auto">
              <a:xfrm>
                <a:off x="1471" y="3546"/>
                <a:ext cx="3" cy="2"/>
              </a:xfrm>
              <a:custGeom>
                <a:avLst/>
                <a:gdLst>
                  <a:gd name="T0" fmla="*/ 0 w 6"/>
                  <a:gd name="T1" fmla="*/ 3 h 3"/>
                  <a:gd name="T2" fmla="*/ 3 w 6"/>
                  <a:gd name="T3" fmla="*/ 3 h 3"/>
                  <a:gd name="T4" fmla="*/ 6 w 6"/>
                  <a:gd name="T5" fmla="*/ 0 h 3"/>
                  <a:gd name="T6" fmla="*/ 2 w 6"/>
                  <a:gd name="T7" fmla="*/ 0 h 3"/>
                  <a:gd name="T8" fmla="*/ 0 w 6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">
                    <a:moveTo>
                      <a:pt x="0" y="3"/>
                    </a:moveTo>
                    <a:lnTo>
                      <a:pt x="3" y="3"/>
                    </a:lnTo>
                    <a:lnTo>
                      <a:pt x="6" y="0"/>
                    </a:lnTo>
                    <a:lnTo>
                      <a:pt x="2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97" name="Freeform 808"/>
              <p:cNvSpPr>
                <a:spLocks/>
              </p:cNvSpPr>
              <p:nvPr/>
            </p:nvSpPr>
            <p:spPr bwMode="auto">
              <a:xfrm>
                <a:off x="1472" y="3542"/>
                <a:ext cx="7" cy="4"/>
              </a:xfrm>
              <a:custGeom>
                <a:avLst/>
                <a:gdLst>
                  <a:gd name="T0" fmla="*/ 14 w 14"/>
                  <a:gd name="T1" fmla="*/ 8 h 8"/>
                  <a:gd name="T2" fmla="*/ 12 w 14"/>
                  <a:gd name="T3" fmla="*/ 5 h 8"/>
                  <a:gd name="T4" fmla="*/ 9 w 14"/>
                  <a:gd name="T5" fmla="*/ 3 h 8"/>
                  <a:gd name="T6" fmla="*/ 6 w 14"/>
                  <a:gd name="T7" fmla="*/ 2 h 8"/>
                  <a:gd name="T8" fmla="*/ 3 w 14"/>
                  <a:gd name="T9" fmla="*/ 0 h 8"/>
                  <a:gd name="T10" fmla="*/ 0 w 14"/>
                  <a:gd name="T11" fmla="*/ 0 h 8"/>
                  <a:gd name="T12" fmla="*/ 3 w 14"/>
                  <a:gd name="T13" fmla="*/ 2 h 8"/>
                  <a:gd name="T14" fmla="*/ 6 w 14"/>
                  <a:gd name="T15" fmla="*/ 7 h 8"/>
                  <a:gd name="T16" fmla="*/ 11 w 14"/>
                  <a:gd name="T17" fmla="*/ 7 h 8"/>
                  <a:gd name="T18" fmla="*/ 14 w 14"/>
                  <a:gd name="T1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" h="8">
                    <a:moveTo>
                      <a:pt x="14" y="8"/>
                    </a:moveTo>
                    <a:lnTo>
                      <a:pt x="12" y="5"/>
                    </a:lnTo>
                    <a:lnTo>
                      <a:pt x="9" y="3"/>
                    </a:lnTo>
                    <a:lnTo>
                      <a:pt x="6" y="2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6" y="7"/>
                    </a:lnTo>
                    <a:lnTo>
                      <a:pt x="11" y="7"/>
                    </a:lnTo>
                    <a:lnTo>
                      <a:pt x="14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98" name="Freeform 809"/>
              <p:cNvSpPr>
                <a:spLocks/>
              </p:cNvSpPr>
              <p:nvPr/>
            </p:nvSpPr>
            <p:spPr bwMode="auto">
              <a:xfrm>
                <a:off x="1476" y="3538"/>
                <a:ext cx="5" cy="4"/>
              </a:xfrm>
              <a:custGeom>
                <a:avLst/>
                <a:gdLst>
                  <a:gd name="T0" fmla="*/ 8 w 9"/>
                  <a:gd name="T1" fmla="*/ 10 h 10"/>
                  <a:gd name="T2" fmla="*/ 9 w 9"/>
                  <a:gd name="T3" fmla="*/ 8 h 10"/>
                  <a:gd name="T4" fmla="*/ 6 w 9"/>
                  <a:gd name="T5" fmla="*/ 7 h 10"/>
                  <a:gd name="T6" fmla="*/ 3 w 9"/>
                  <a:gd name="T7" fmla="*/ 3 h 10"/>
                  <a:gd name="T8" fmla="*/ 0 w 9"/>
                  <a:gd name="T9" fmla="*/ 0 h 10"/>
                  <a:gd name="T10" fmla="*/ 0 w 9"/>
                  <a:gd name="T11" fmla="*/ 3 h 10"/>
                  <a:gd name="T12" fmla="*/ 0 w 9"/>
                  <a:gd name="T13" fmla="*/ 8 h 10"/>
                  <a:gd name="T14" fmla="*/ 8 w 9"/>
                  <a:gd name="T1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10">
                    <a:moveTo>
                      <a:pt x="8" y="10"/>
                    </a:moveTo>
                    <a:lnTo>
                      <a:pt x="9" y="8"/>
                    </a:lnTo>
                    <a:lnTo>
                      <a:pt x="6" y="7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0" y="8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99" name="Freeform 810"/>
              <p:cNvSpPr>
                <a:spLocks/>
              </p:cNvSpPr>
              <p:nvPr/>
            </p:nvSpPr>
            <p:spPr bwMode="auto">
              <a:xfrm>
                <a:off x="1478" y="3561"/>
                <a:ext cx="30" cy="12"/>
              </a:xfrm>
              <a:custGeom>
                <a:avLst/>
                <a:gdLst>
                  <a:gd name="T0" fmla="*/ 51 w 61"/>
                  <a:gd name="T1" fmla="*/ 22 h 22"/>
                  <a:gd name="T2" fmla="*/ 53 w 61"/>
                  <a:gd name="T3" fmla="*/ 22 h 22"/>
                  <a:gd name="T4" fmla="*/ 56 w 61"/>
                  <a:gd name="T5" fmla="*/ 22 h 22"/>
                  <a:gd name="T6" fmla="*/ 61 w 61"/>
                  <a:gd name="T7" fmla="*/ 22 h 22"/>
                  <a:gd name="T8" fmla="*/ 56 w 61"/>
                  <a:gd name="T9" fmla="*/ 21 h 22"/>
                  <a:gd name="T10" fmla="*/ 53 w 61"/>
                  <a:gd name="T11" fmla="*/ 17 h 22"/>
                  <a:gd name="T12" fmla="*/ 50 w 61"/>
                  <a:gd name="T13" fmla="*/ 16 h 22"/>
                  <a:gd name="T14" fmla="*/ 46 w 61"/>
                  <a:gd name="T15" fmla="*/ 14 h 22"/>
                  <a:gd name="T16" fmla="*/ 48 w 61"/>
                  <a:gd name="T17" fmla="*/ 17 h 22"/>
                  <a:gd name="T18" fmla="*/ 45 w 61"/>
                  <a:gd name="T19" fmla="*/ 17 h 22"/>
                  <a:gd name="T20" fmla="*/ 43 w 61"/>
                  <a:gd name="T21" fmla="*/ 14 h 22"/>
                  <a:gd name="T22" fmla="*/ 40 w 61"/>
                  <a:gd name="T23" fmla="*/ 11 h 22"/>
                  <a:gd name="T24" fmla="*/ 42 w 61"/>
                  <a:gd name="T25" fmla="*/ 16 h 22"/>
                  <a:gd name="T26" fmla="*/ 32 w 61"/>
                  <a:gd name="T27" fmla="*/ 9 h 22"/>
                  <a:gd name="T28" fmla="*/ 21 w 61"/>
                  <a:gd name="T29" fmla="*/ 8 h 22"/>
                  <a:gd name="T30" fmla="*/ 18 w 61"/>
                  <a:gd name="T31" fmla="*/ 8 h 22"/>
                  <a:gd name="T32" fmla="*/ 15 w 61"/>
                  <a:gd name="T33" fmla="*/ 6 h 22"/>
                  <a:gd name="T34" fmla="*/ 10 w 61"/>
                  <a:gd name="T35" fmla="*/ 3 h 22"/>
                  <a:gd name="T36" fmla="*/ 7 w 61"/>
                  <a:gd name="T37" fmla="*/ 1 h 22"/>
                  <a:gd name="T38" fmla="*/ 4 w 61"/>
                  <a:gd name="T39" fmla="*/ 0 h 22"/>
                  <a:gd name="T40" fmla="*/ 0 w 61"/>
                  <a:gd name="T41" fmla="*/ 0 h 22"/>
                  <a:gd name="T42" fmla="*/ 4 w 61"/>
                  <a:gd name="T43" fmla="*/ 1 h 22"/>
                  <a:gd name="T44" fmla="*/ 7 w 61"/>
                  <a:gd name="T45" fmla="*/ 3 h 22"/>
                  <a:gd name="T46" fmla="*/ 8 w 61"/>
                  <a:gd name="T47" fmla="*/ 6 h 22"/>
                  <a:gd name="T48" fmla="*/ 13 w 61"/>
                  <a:gd name="T49" fmla="*/ 8 h 22"/>
                  <a:gd name="T50" fmla="*/ 16 w 61"/>
                  <a:gd name="T51" fmla="*/ 11 h 22"/>
                  <a:gd name="T52" fmla="*/ 19 w 61"/>
                  <a:gd name="T53" fmla="*/ 13 h 22"/>
                  <a:gd name="T54" fmla="*/ 23 w 61"/>
                  <a:gd name="T55" fmla="*/ 13 h 22"/>
                  <a:gd name="T56" fmla="*/ 27 w 61"/>
                  <a:gd name="T57" fmla="*/ 13 h 22"/>
                  <a:gd name="T58" fmla="*/ 31 w 61"/>
                  <a:gd name="T59" fmla="*/ 13 h 22"/>
                  <a:gd name="T60" fmla="*/ 34 w 61"/>
                  <a:gd name="T61" fmla="*/ 13 h 22"/>
                  <a:gd name="T62" fmla="*/ 37 w 61"/>
                  <a:gd name="T63" fmla="*/ 14 h 22"/>
                  <a:gd name="T64" fmla="*/ 42 w 61"/>
                  <a:gd name="T65" fmla="*/ 16 h 22"/>
                  <a:gd name="T66" fmla="*/ 45 w 61"/>
                  <a:gd name="T67" fmla="*/ 19 h 22"/>
                  <a:gd name="T68" fmla="*/ 46 w 61"/>
                  <a:gd name="T69" fmla="*/ 22 h 22"/>
                  <a:gd name="T70" fmla="*/ 51 w 61"/>
                  <a:gd name="T71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61" h="22">
                    <a:moveTo>
                      <a:pt x="51" y="22"/>
                    </a:moveTo>
                    <a:lnTo>
                      <a:pt x="53" y="22"/>
                    </a:lnTo>
                    <a:lnTo>
                      <a:pt x="56" y="22"/>
                    </a:lnTo>
                    <a:lnTo>
                      <a:pt x="61" y="22"/>
                    </a:lnTo>
                    <a:lnTo>
                      <a:pt x="56" y="21"/>
                    </a:lnTo>
                    <a:lnTo>
                      <a:pt x="53" y="17"/>
                    </a:lnTo>
                    <a:lnTo>
                      <a:pt x="50" y="16"/>
                    </a:lnTo>
                    <a:lnTo>
                      <a:pt x="46" y="14"/>
                    </a:lnTo>
                    <a:lnTo>
                      <a:pt x="48" y="17"/>
                    </a:lnTo>
                    <a:lnTo>
                      <a:pt x="45" y="17"/>
                    </a:lnTo>
                    <a:lnTo>
                      <a:pt x="43" y="14"/>
                    </a:lnTo>
                    <a:lnTo>
                      <a:pt x="40" y="11"/>
                    </a:lnTo>
                    <a:lnTo>
                      <a:pt x="42" y="16"/>
                    </a:lnTo>
                    <a:lnTo>
                      <a:pt x="32" y="9"/>
                    </a:lnTo>
                    <a:lnTo>
                      <a:pt x="21" y="8"/>
                    </a:lnTo>
                    <a:lnTo>
                      <a:pt x="18" y="8"/>
                    </a:lnTo>
                    <a:lnTo>
                      <a:pt x="15" y="6"/>
                    </a:lnTo>
                    <a:lnTo>
                      <a:pt x="10" y="3"/>
                    </a:lnTo>
                    <a:lnTo>
                      <a:pt x="7" y="1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4" y="1"/>
                    </a:lnTo>
                    <a:lnTo>
                      <a:pt x="7" y="3"/>
                    </a:lnTo>
                    <a:lnTo>
                      <a:pt x="8" y="6"/>
                    </a:lnTo>
                    <a:lnTo>
                      <a:pt x="13" y="8"/>
                    </a:lnTo>
                    <a:lnTo>
                      <a:pt x="16" y="11"/>
                    </a:lnTo>
                    <a:lnTo>
                      <a:pt x="19" y="13"/>
                    </a:lnTo>
                    <a:lnTo>
                      <a:pt x="23" y="13"/>
                    </a:lnTo>
                    <a:lnTo>
                      <a:pt x="27" y="13"/>
                    </a:lnTo>
                    <a:lnTo>
                      <a:pt x="31" y="13"/>
                    </a:lnTo>
                    <a:lnTo>
                      <a:pt x="34" y="13"/>
                    </a:lnTo>
                    <a:lnTo>
                      <a:pt x="37" y="14"/>
                    </a:lnTo>
                    <a:lnTo>
                      <a:pt x="42" y="16"/>
                    </a:lnTo>
                    <a:lnTo>
                      <a:pt x="45" y="19"/>
                    </a:lnTo>
                    <a:lnTo>
                      <a:pt x="46" y="22"/>
                    </a:lnTo>
                    <a:lnTo>
                      <a:pt x="51" y="2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00" name="Freeform 811"/>
              <p:cNvSpPr>
                <a:spLocks/>
              </p:cNvSpPr>
              <p:nvPr/>
            </p:nvSpPr>
            <p:spPr bwMode="auto">
              <a:xfrm>
                <a:off x="1480" y="3545"/>
                <a:ext cx="8" cy="6"/>
              </a:xfrm>
              <a:custGeom>
                <a:avLst/>
                <a:gdLst>
                  <a:gd name="T0" fmla="*/ 17 w 17"/>
                  <a:gd name="T1" fmla="*/ 12 h 12"/>
                  <a:gd name="T2" fmla="*/ 17 w 17"/>
                  <a:gd name="T3" fmla="*/ 11 h 12"/>
                  <a:gd name="T4" fmla="*/ 14 w 17"/>
                  <a:gd name="T5" fmla="*/ 8 h 12"/>
                  <a:gd name="T6" fmla="*/ 11 w 17"/>
                  <a:gd name="T7" fmla="*/ 4 h 12"/>
                  <a:gd name="T8" fmla="*/ 6 w 17"/>
                  <a:gd name="T9" fmla="*/ 3 h 12"/>
                  <a:gd name="T10" fmla="*/ 3 w 17"/>
                  <a:gd name="T11" fmla="*/ 1 h 12"/>
                  <a:gd name="T12" fmla="*/ 0 w 17"/>
                  <a:gd name="T13" fmla="*/ 0 h 12"/>
                  <a:gd name="T14" fmla="*/ 3 w 17"/>
                  <a:gd name="T15" fmla="*/ 4 h 12"/>
                  <a:gd name="T16" fmla="*/ 6 w 17"/>
                  <a:gd name="T17" fmla="*/ 6 h 12"/>
                  <a:gd name="T18" fmla="*/ 9 w 17"/>
                  <a:gd name="T19" fmla="*/ 8 h 12"/>
                  <a:gd name="T20" fmla="*/ 14 w 17"/>
                  <a:gd name="T21" fmla="*/ 9 h 12"/>
                  <a:gd name="T22" fmla="*/ 17 w 17"/>
                  <a:gd name="T2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7" h="12">
                    <a:moveTo>
                      <a:pt x="17" y="12"/>
                    </a:moveTo>
                    <a:lnTo>
                      <a:pt x="17" y="11"/>
                    </a:lnTo>
                    <a:lnTo>
                      <a:pt x="14" y="8"/>
                    </a:lnTo>
                    <a:lnTo>
                      <a:pt x="11" y="4"/>
                    </a:lnTo>
                    <a:lnTo>
                      <a:pt x="6" y="3"/>
                    </a:lnTo>
                    <a:lnTo>
                      <a:pt x="3" y="1"/>
                    </a:lnTo>
                    <a:lnTo>
                      <a:pt x="0" y="0"/>
                    </a:lnTo>
                    <a:lnTo>
                      <a:pt x="3" y="4"/>
                    </a:lnTo>
                    <a:lnTo>
                      <a:pt x="6" y="6"/>
                    </a:lnTo>
                    <a:lnTo>
                      <a:pt x="9" y="8"/>
                    </a:lnTo>
                    <a:lnTo>
                      <a:pt x="14" y="9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01" name="Freeform 812"/>
              <p:cNvSpPr>
                <a:spLocks/>
              </p:cNvSpPr>
              <p:nvPr/>
            </p:nvSpPr>
            <p:spPr bwMode="auto">
              <a:xfrm>
                <a:off x="1500" y="3574"/>
                <a:ext cx="5" cy="3"/>
              </a:xfrm>
              <a:custGeom>
                <a:avLst/>
                <a:gdLst>
                  <a:gd name="T0" fmla="*/ 10 w 11"/>
                  <a:gd name="T1" fmla="*/ 0 h 5"/>
                  <a:gd name="T2" fmla="*/ 8 w 11"/>
                  <a:gd name="T3" fmla="*/ 0 h 5"/>
                  <a:gd name="T4" fmla="*/ 5 w 11"/>
                  <a:gd name="T5" fmla="*/ 0 h 5"/>
                  <a:gd name="T6" fmla="*/ 8 w 11"/>
                  <a:gd name="T7" fmla="*/ 3 h 5"/>
                  <a:gd name="T8" fmla="*/ 3 w 11"/>
                  <a:gd name="T9" fmla="*/ 2 h 5"/>
                  <a:gd name="T10" fmla="*/ 0 w 11"/>
                  <a:gd name="T11" fmla="*/ 2 h 5"/>
                  <a:gd name="T12" fmla="*/ 3 w 11"/>
                  <a:gd name="T13" fmla="*/ 3 h 5"/>
                  <a:gd name="T14" fmla="*/ 8 w 11"/>
                  <a:gd name="T15" fmla="*/ 5 h 5"/>
                  <a:gd name="T16" fmla="*/ 11 w 11"/>
                  <a:gd name="T17" fmla="*/ 3 h 5"/>
                  <a:gd name="T18" fmla="*/ 10 w 11"/>
                  <a:gd name="T1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1" h="5">
                    <a:moveTo>
                      <a:pt x="10" y="0"/>
                    </a:moveTo>
                    <a:lnTo>
                      <a:pt x="8" y="0"/>
                    </a:lnTo>
                    <a:lnTo>
                      <a:pt x="5" y="0"/>
                    </a:lnTo>
                    <a:lnTo>
                      <a:pt x="8" y="3"/>
                    </a:lnTo>
                    <a:lnTo>
                      <a:pt x="3" y="2"/>
                    </a:lnTo>
                    <a:lnTo>
                      <a:pt x="0" y="2"/>
                    </a:lnTo>
                    <a:lnTo>
                      <a:pt x="3" y="3"/>
                    </a:lnTo>
                    <a:lnTo>
                      <a:pt x="8" y="5"/>
                    </a:lnTo>
                    <a:lnTo>
                      <a:pt x="11" y="3"/>
                    </a:lnTo>
                    <a:lnTo>
                      <a:pt x="10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02" name="Freeform 813"/>
              <p:cNvSpPr>
                <a:spLocks/>
              </p:cNvSpPr>
              <p:nvPr/>
            </p:nvSpPr>
            <p:spPr bwMode="auto">
              <a:xfrm>
                <a:off x="1504" y="3573"/>
                <a:ext cx="23" cy="15"/>
              </a:xfrm>
              <a:custGeom>
                <a:avLst/>
                <a:gdLst>
                  <a:gd name="T0" fmla="*/ 33 w 46"/>
                  <a:gd name="T1" fmla="*/ 30 h 30"/>
                  <a:gd name="T2" fmla="*/ 35 w 46"/>
                  <a:gd name="T3" fmla="*/ 28 h 30"/>
                  <a:gd name="T4" fmla="*/ 39 w 46"/>
                  <a:gd name="T5" fmla="*/ 27 h 30"/>
                  <a:gd name="T6" fmla="*/ 43 w 46"/>
                  <a:gd name="T7" fmla="*/ 25 h 30"/>
                  <a:gd name="T8" fmla="*/ 46 w 46"/>
                  <a:gd name="T9" fmla="*/ 23 h 30"/>
                  <a:gd name="T10" fmla="*/ 43 w 46"/>
                  <a:gd name="T11" fmla="*/ 22 h 30"/>
                  <a:gd name="T12" fmla="*/ 43 w 46"/>
                  <a:gd name="T13" fmla="*/ 19 h 30"/>
                  <a:gd name="T14" fmla="*/ 46 w 46"/>
                  <a:gd name="T15" fmla="*/ 19 h 30"/>
                  <a:gd name="T16" fmla="*/ 46 w 46"/>
                  <a:gd name="T17" fmla="*/ 16 h 30"/>
                  <a:gd name="T18" fmla="*/ 41 w 46"/>
                  <a:gd name="T19" fmla="*/ 12 h 30"/>
                  <a:gd name="T20" fmla="*/ 38 w 46"/>
                  <a:gd name="T21" fmla="*/ 12 h 30"/>
                  <a:gd name="T22" fmla="*/ 35 w 46"/>
                  <a:gd name="T23" fmla="*/ 12 h 30"/>
                  <a:gd name="T24" fmla="*/ 35 w 46"/>
                  <a:gd name="T25" fmla="*/ 8 h 30"/>
                  <a:gd name="T26" fmla="*/ 31 w 46"/>
                  <a:gd name="T27" fmla="*/ 8 h 30"/>
                  <a:gd name="T28" fmla="*/ 27 w 46"/>
                  <a:gd name="T29" fmla="*/ 8 h 30"/>
                  <a:gd name="T30" fmla="*/ 28 w 46"/>
                  <a:gd name="T31" fmla="*/ 11 h 30"/>
                  <a:gd name="T32" fmla="*/ 25 w 46"/>
                  <a:gd name="T33" fmla="*/ 8 h 30"/>
                  <a:gd name="T34" fmla="*/ 22 w 46"/>
                  <a:gd name="T35" fmla="*/ 6 h 30"/>
                  <a:gd name="T36" fmla="*/ 20 w 46"/>
                  <a:gd name="T37" fmla="*/ 9 h 30"/>
                  <a:gd name="T38" fmla="*/ 17 w 46"/>
                  <a:gd name="T39" fmla="*/ 6 h 30"/>
                  <a:gd name="T40" fmla="*/ 14 w 46"/>
                  <a:gd name="T41" fmla="*/ 3 h 30"/>
                  <a:gd name="T42" fmla="*/ 12 w 46"/>
                  <a:gd name="T43" fmla="*/ 0 h 30"/>
                  <a:gd name="T44" fmla="*/ 8 w 46"/>
                  <a:gd name="T45" fmla="*/ 1 h 30"/>
                  <a:gd name="T46" fmla="*/ 11 w 46"/>
                  <a:gd name="T47" fmla="*/ 4 h 30"/>
                  <a:gd name="T48" fmla="*/ 6 w 46"/>
                  <a:gd name="T49" fmla="*/ 4 h 30"/>
                  <a:gd name="T50" fmla="*/ 3 w 46"/>
                  <a:gd name="T51" fmla="*/ 4 h 30"/>
                  <a:gd name="T52" fmla="*/ 6 w 46"/>
                  <a:gd name="T53" fmla="*/ 8 h 30"/>
                  <a:gd name="T54" fmla="*/ 11 w 46"/>
                  <a:gd name="T55" fmla="*/ 11 h 30"/>
                  <a:gd name="T56" fmla="*/ 14 w 46"/>
                  <a:gd name="T57" fmla="*/ 11 h 30"/>
                  <a:gd name="T58" fmla="*/ 17 w 46"/>
                  <a:gd name="T59" fmla="*/ 11 h 30"/>
                  <a:gd name="T60" fmla="*/ 14 w 46"/>
                  <a:gd name="T61" fmla="*/ 11 h 30"/>
                  <a:gd name="T62" fmla="*/ 11 w 46"/>
                  <a:gd name="T63" fmla="*/ 11 h 30"/>
                  <a:gd name="T64" fmla="*/ 6 w 46"/>
                  <a:gd name="T65" fmla="*/ 8 h 30"/>
                  <a:gd name="T66" fmla="*/ 3 w 46"/>
                  <a:gd name="T67" fmla="*/ 8 h 30"/>
                  <a:gd name="T68" fmla="*/ 0 w 46"/>
                  <a:gd name="T69" fmla="*/ 11 h 30"/>
                  <a:gd name="T70" fmla="*/ 3 w 46"/>
                  <a:gd name="T71" fmla="*/ 11 h 30"/>
                  <a:gd name="T72" fmla="*/ 4 w 46"/>
                  <a:gd name="T73" fmla="*/ 14 h 30"/>
                  <a:gd name="T74" fmla="*/ 8 w 46"/>
                  <a:gd name="T75" fmla="*/ 12 h 30"/>
                  <a:gd name="T76" fmla="*/ 11 w 46"/>
                  <a:gd name="T77" fmla="*/ 12 h 30"/>
                  <a:gd name="T78" fmla="*/ 14 w 46"/>
                  <a:gd name="T79" fmla="*/ 16 h 30"/>
                  <a:gd name="T80" fmla="*/ 14 w 46"/>
                  <a:gd name="T81" fmla="*/ 20 h 30"/>
                  <a:gd name="T82" fmla="*/ 16 w 46"/>
                  <a:gd name="T83" fmla="*/ 23 h 30"/>
                  <a:gd name="T84" fmla="*/ 19 w 46"/>
                  <a:gd name="T85" fmla="*/ 23 h 30"/>
                  <a:gd name="T86" fmla="*/ 22 w 46"/>
                  <a:gd name="T87" fmla="*/ 22 h 30"/>
                  <a:gd name="T88" fmla="*/ 22 w 46"/>
                  <a:gd name="T89" fmla="*/ 19 h 30"/>
                  <a:gd name="T90" fmla="*/ 27 w 46"/>
                  <a:gd name="T91" fmla="*/ 19 h 30"/>
                  <a:gd name="T92" fmla="*/ 30 w 46"/>
                  <a:gd name="T93" fmla="*/ 19 h 30"/>
                  <a:gd name="T94" fmla="*/ 33 w 46"/>
                  <a:gd name="T95" fmla="*/ 19 h 30"/>
                  <a:gd name="T96" fmla="*/ 30 w 46"/>
                  <a:gd name="T97" fmla="*/ 22 h 30"/>
                  <a:gd name="T98" fmla="*/ 33 w 46"/>
                  <a:gd name="T99" fmla="*/ 25 h 30"/>
                  <a:gd name="T100" fmla="*/ 30 w 46"/>
                  <a:gd name="T101" fmla="*/ 27 h 30"/>
                  <a:gd name="T102" fmla="*/ 27 w 46"/>
                  <a:gd name="T103" fmla="*/ 28 h 30"/>
                  <a:gd name="T104" fmla="*/ 30 w 46"/>
                  <a:gd name="T105" fmla="*/ 28 h 30"/>
                  <a:gd name="T106" fmla="*/ 33 w 46"/>
                  <a:gd name="T10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6" h="30">
                    <a:moveTo>
                      <a:pt x="33" y="30"/>
                    </a:moveTo>
                    <a:lnTo>
                      <a:pt x="35" y="28"/>
                    </a:lnTo>
                    <a:lnTo>
                      <a:pt x="39" y="27"/>
                    </a:lnTo>
                    <a:lnTo>
                      <a:pt x="43" y="25"/>
                    </a:lnTo>
                    <a:lnTo>
                      <a:pt x="46" y="23"/>
                    </a:lnTo>
                    <a:lnTo>
                      <a:pt x="43" y="22"/>
                    </a:lnTo>
                    <a:lnTo>
                      <a:pt x="43" y="19"/>
                    </a:lnTo>
                    <a:lnTo>
                      <a:pt x="46" y="19"/>
                    </a:lnTo>
                    <a:lnTo>
                      <a:pt x="46" y="16"/>
                    </a:lnTo>
                    <a:lnTo>
                      <a:pt x="41" y="12"/>
                    </a:lnTo>
                    <a:lnTo>
                      <a:pt x="38" y="12"/>
                    </a:lnTo>
                    <a:lnTo>
                      <a:pt x="35" y="12"/>
                    </a:lnTo>
                    <a:lnTo>
                      <a:pt x="35" y="8"/>
                    </a:lnTo>
                    <a:lnTo>
                      <a:pt x="31" y="8"/>
                    </a:lnTo>
                    <a:lnTo>
                      <a:pt x="27" y="8"/>
                    </a:lnTo>
                    <a:lnTo>
                      <a:pt x="28" y="11"/>
                    </a:lnTo>
                    <a:lnTo>
                      <a:pt x="25" y="8"/>
                    </a:lnTo>
                    <a:lnTo>
                      <a:pt x="22" y="6"/>
                    </a:lnTo>
                    <a:lnTo>
                      <a:pt x="20" y="9"/>
                    </a:lnTo>
                    <a:lnTo>
                      <a:pt x="17" y="6"/>
                    </a:lnTo>
                    <a:lnTo>
                      <a:pt x="14" y="3"/>
                    </a:lnTo>
                    <a:lnTo>
                      <a:pt x="12" y="0"/>
                    </a:lnTo>
                    <a:lnTo>
                      <a:pt x="8" y="1"/>
                    </a:lnTo>
                    <a:lnTo>
                      <a:pt x="11" y="4"/>
                    </a:lnTo>
                    <a:lnTo>
                      <a:pt x="6" y="4"/>
                    </a:lnTo>
                    <a:lnTo>
                      <a:pt x="3" y="4"/>
                    </a:lnTo>
                    <a:lnTo>
                      <a:pt x="6" y="8"/>
                    </a:lnTo>
                    <a:lnTo>
                      <a:pt x="11" y="11"/>
                    </a:lnTo>
                    <a:lnTo>
                      <a:pt x="14" y="11"/>
                    </a:lnTo>
                    <a:lnTo>
                      <a:pt x="17" y="11"/>
                    </a:lnTo>
                    <a:lnTo>
                      <a:pt x="14" y="11"/>
                    </a:lnTo>
                    <a:lnTo>
                      <a:pt x="11" y="11"/>
                    </a:lnTo>
                    <a:lnTo>
                      <a:pt x="6" y="8"/>
                    </a:lnTo>
                    <a:lnTo>
                      <a:pt x="3" y="8"/>
                    </a:lnTo>
                    <a:lnTo>
                      <a:pt x="0" y="11"/>
                    </a:lnTo>
                    <a:lnTo>
                      <a:pt x="3" y="11"/>
                    </a:lnTo>
                    <a:lnTo>
                      <a:pt x="4" y="14"/>
                    </a:lnTo>
                    <a:lnTo>
                      <a:pt x="8" y="12"/>
                    </a:lnTo>
                    <a:lnTo>
                      <a:pt x="11" y="12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6" y="23"/>
                    </a:lnTo>
                    <a:lnTo>
                      <a:pt x="19" y="23"/>
                    </a:lnTo>
                    <a:lnTo>
                      <a:pt x="22" y="22"/>
                    </a:lnTo>
                    <a:lnTo>
                      <a:pt x="22" y="19"/>
                    </a:lnTo>
                    <a:lnTo>
                      <a:pt x="27" y="19"/>
                    </a:lnTo>
                    <a:lnTo>
                      <a:pt x="30" y="19"/>
                    </a:lnTo>
                    <a:lnTo>
                      <a:pt x="33" y="19"/>
                    </a:lnTo>
                    <a:lnTo>
                      <a:pt x="30" y="22"/>
                    </a:lnTo>
                    <a:lnTo>
                      <a:pt x="33" y="25"/>
                    </a:lnTo>
                    <a:lnTo>
                      <a:pt x="30" y="27"/>
                    </a:lnTo>
                    <a:lnTo>
                      <a:pt x="27" y="28"/>
                    </a:lnTo>
                    <a:lnTo>
                      <a:pt x="30" y="28"/>
                    </a:lnTo>
                    <a:lnTo>
                      <a:pt x="33" y="3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03" name="Freeform 814"/>
              <p:cNvSpPr>
                <a:spLocks/>
              </p:cNvSpPr>
              <p:nvPr/>
            </p:nvSpPr>
            <p:spPr bwMode="auto">
              <a:xfrm>
                <a:off x="1511" y="3586"/>
                <a:ext cx="4" cy="2"/>
              </a:xfrm>
              <a:custGeom>
                <a:avLst/>
                <a:gdLst>
                  <a:gd name="T0" fmla="*/ 8 w 8"/>
                  <a:gd name="T1" fmla="*/ 5 h 5"/>
                  <a:gd name="T2" fmla="*/ 8 w 8"/>
                  <a:gd name="T3" fmla="*/ 2 h 5"/>
                  <a:gd name="T4" fmla="*/ 5 w 8"/>
                  <a:gd name="T5" fmla="*/ 0 h 5"/>
                  <a:gd name="T6" fmla="*/ 0 w 8"/>
                  <a:gd name="T7" fmla="*/ 2 h 5"/>
                  <a:gd name="T8" fmla="*/ 4 w 8"/>
                  <a:gd name="T9" fmla="*/ 2 h 5"/>
                  <a:gd name="T10" fmla="*/ 8 w 8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5">
                    <a:moveTo>
                      <a:pt x="8" y="5"/>
                    </a:moveTo>
                    <a:lnTo>
                      <a:pt x="8" y="2"/>
                    </a:lnTo>
                    <a:lnTo>
                      <a:pt x="5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8" y="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04" name="Freeform 815"/>
              <p:cNvSpPr>
                <a:spLocks/>
              </p:cNvSpPr>
              <p:nvPr/>
            </p:nvSpPr>
            <p:spPr bwMode="auto">
              <a:xfrm>
                <a:off x="1527" y="3587"/>
                <a:ext cx="4" cy="4"/>
              </a:xfrm>
              <a:custGeom>
                <a:avLst/>
                <a:gdLst>
                  <a:gd name="T0" fmla="*/ 5 w 8"/>
                  <a:gd name="T1" fmla="*/ 0 h 8"/>
                  <a:gd name="T2" fmla="*/ 2 w 8"/>
                  <a:gd name="T3" fmla="*/ 0 h 8"/>
                  <a:gd name="T4" fmla="*/ 3 w 8"/>
                  <a:gd name="T5" fmla="*/ 4 h 8"/>
                  <a:gd name="T6" fmla="*/ 0 w 8"/>
                  <a:gd name="T7" fmla="*/ 4 h 8"/>
                  <a:gd name="T8" fmla="*/ 3 w 8"/>
                  <a:gd name="T9" fmla="*/ 8 h 8"/>
                  <a:gd name="T10" fmla="*/ 8 w 8"/>
                  <a:gd name="T11" fmla="*/ 6 h 8"/>
                  <a:gd name="T12" fmla="*/ 8 w 8"/>
                  <a:gd name="T13" fmla="*/ 3 h 8"/>
                  <a:gd name="T14" fmla="*/ 5 w 8"/>
                  <a:gd name="T1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8">
                    <a:moveTo>
                      <a:pt x="5" y="0"/>
                    </a:moveTo>
                    <a:lnTo>
                      <a:pt x="2" y="0"/>
                    </a:lnTo>
                    <a:lnTo>
                      <a:pt x="3" y="4"/>
                    </a:lnTo>
                    <a:lnTo>
                      <a:pt x="0" y="4"/>
                    </a:lnTo>
                    <a:lnTo>
                      <a:pt x="3" y="8"/>
                    </a:lnTo>
                    <a:lnTo>
                      <a:pt x="8" y="6"/>
                    </a:lnTo>
                    <a:lnTo>
                      <a:pt x="8" y="3"/>
                    </a:lnTo>
                    <a:lnTo>
                      <a:pt x="5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05" name="Freeform 816"/>
              <p:cNvSpPr>
                <a:spLocks/>
              </p:cNvSpPr>
              <p:nvPr/>
            </p:nvSpPr>
            <p:spPr bwMode="auto">
              <a:xfrm>
                <a:off x="1528" y="3592"/>
                <a:ext cx="3" cy="2"/>
              </a:xfrm>
              <a:custGeom>
                <a:avLst/>
                <a:gdLst>
                  <a:gd name="T0" fmla="*/ 3 w 7"/>
                  <a:gd name="T1" fmla="*/ 5 h 5"/>
                  <a:gd name="T2" fmla="*/ 3 w 7"/>
                  <a:gd name="T3" fmla="*/ 3 h 5"/>
                  <a:gd name="T4" fmla="*/ 7 w 7"/>
                  <a:gd name="T5" fmla="*/ 2 h 5"/>
                  <a:gd name="T6" fmla="*/ 3 w 7"/>
                  <a:gd name="T7" fmla="*/ 0 h 5"/>
                  <a:gd name="T8" fmla="*/ 0 w 7"/>
                  <a:gd name="T9" fmla="*/ 2 h 5"/>
                  <a:gd name="T10" fmla="*/ 3 w 7"/>
                  <a:gd name="T11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5">
                    <a:moveTo>
                      <a:pt x="3" y="5"/>
                    </a:moveTo>
                    <a:lnTo>
                      <a:pt x="3" y="3"/>
                    </a:lnTo>
                    <a:lnTo>
                      <a:pt x="7" y="2"/>
                    </a:lnTo>
                    <a:lnTo>
                      <a:pt x="3" y="0"/>
                    </a:lnTo>
                    <a:lnTo>
                      <a:pt x="0" y="2"/>
                    </a:lnTo>
                    <a:lnTo>
                      <a:pt x="3" y="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06" name="Freeform 817"/>
              <p:cNvSpPr>
                <a:spLocks/>
              </p:cNvSpPr>
              <p:nvPr/>
            </p:nvSpPr>
            <p:spPr bwMode="auto">
              <a:xfrm>
                <a:off x="1529" y="3582"/>
                <a:ext cx="2" cy="2"/>
              </a:xfrm>
              <a:custGeom>
                <a:avLst/>
                <a:gdLst>
                  <a:gd name="T0" fmla="*/ 3 w 3"/>
                  <a:gd name="T1" fmla="*/ 2 h 3"/>
                  <a:gd name="T2" fmla="*/ 3 w 3"/>
                  <a:gd name="T3" fmla="*/ 0 h 3"/>
                  <a:gd name="T4" fmla="*/ 0 w 3"/>
                  <a:gd name="T5" fmla="*/ 3 h 3"/>
                  <a:gd name="T6" fmla="*/ 3 w 3"/>
                  <a:gd name="T7" fmla="*/ 2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3" y="2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07" name="Freeform 818"/>
              <p:cNvSpPr>
                <a:spLocks/>
              </p:cNvSpPr>
              <p:nvPr/>
            </p:nvSpPr>
            <p:spPr bwMode="auto">
              <a:xfrm>
                <a:off x="1529" y="3583"/>
                <a:ext cx="9" cy="9"/>
              </a:xfrm>
              <a:custGeom>
                <a:avLst/>
                <a:gdLst>
                  <a:gd name="T0" fmla="*/ 16 w 19"/>
                  <a:gd name="T1" fmla="*/ 3 h 19"/>
                  <a:gd name="T2" fmla="*/ 14 w 19"/>
                  <a:gd name="T3" fmla="*/ 1 h 19"/>
                  <a:gd name="T4" fmla="*/ 11 w 19"/>
                  <a:gd name="T5" fmla="*/ 4 h 19"/>
                  <a:gd name="T6" fmla="*/ 8 w 19"/>
                  <a:gd name="T7" fmla="*/ 1 h 19"/>
                  <a:gd name="T8" fmla="*/ 5 w 19"/>
                  <a:gd name="T9" fmla="*/ 0 h 19"/>
                  <a:gd name="T10" fmla="*/ 3 w 19"/>
                  <a:gd name="T11" fmla="*/ 3 h 19"/>
                  <a:gd name="T12" fmla="*/ 0 w 19"/>
                  <a:gd name="T13" fmla="*/ 4 h 19"/>
                  <a:gd name="T14" fmla="*/ 1 w 19"/>
                  <a:gd name="T15" fmla="*/ 8 h 19"/>
                  <a:gd name="T16" fmla="*/ 5 w 19"/>
                  <a:gd name="T17" fmla="*/ 8 h 19"/>
                  <a:gd name="T18" fmla="*/ 8 w 19"/>
                  <a:gd name="T19" fmla="*/ 11 h 19"/>
                  <a:gd name="T20" fmla="*/ 11 w 19"/>
                  <a:gd name="T21" fmla="*/ 12 h 19"/>
                  <a:gd name="T22" fmla="*/ 14 w 19"/>
                  <a:gd name="T23" fmla="*/ 14 h 19"/>
                  <a:gd name="T24" fmla="*/ 14 w 19"/>
                  <a:gd name="T25" fmla="*/ 19 h 19"/>
                  <a:gd name="T26" fmla="*/ 17 w 19"/>
                  <a:gd name="T27" fmla="*/ 17 h 19"/>
                  <a:gd name="T28" fmla="*/ 19 w 19"/>
                  <a:gd name="T29" fmla="*/ 14 h 19"/>
                  <a:gd name="T30" fmla="*/ 16 w 19"/>
                  <a:gd name="T31" fmla="*/ 12 h 19"/>
                  <a:gd name="T32" fmla="*/ 13 w 19"/>
                  <a:gd name="T33" fmla="*/ 8 h 19"/>
                  <a:gd name="T34" fmla="*/ 16 w 19"/>
                  <a:gd name="T35" fmla="*/ 11 h 19"/>
                  <a:gd name="T36" fmla="*/ 19 w 19"/>
                  <a:gd name="T37" fmla="*/ 11 h 19"/>
                  <a:gd name="T38" fmla="*/ 17 w 19"/>
                  <a:gd name="T39" fmla="*/ 6 h 19"/>
                  <a:gd name="T40" fmla="*/ 16 w 19"/>
                  <a:gd name="T41" fmla="*/ 3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9" h="19">
                    <a:moveTo>
                      <a:pt x="16" y="3"/>
                    </a:moveTo>
                    <a:lnTo>
                      <a:pt x="14" y="1"/>
                    </a:lnTo>
                    <a:lnTo>
                      <a:pt x="11" y="4"/>
                    </a:lnTo>
                    <a:lnTo>
                      <a:pt x="8" y="1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0" y="4"/>
                    </a:lnTo>
                    <a:lnTo>
                      <a:pt x="1" y="8"/>
                    </a:lnTo>
                    <a:lnTo>
                      <a:pt x="5" y="8"/>
                    </a:lnTo>
                    <a:lnTo>
                      <a:pt x="8" y="11"/>
                    </a:lnTo>
                    <a:lnTo>
                      <a:pt x="11" y="12"/>
                    </a:lnTo>
                    <a:lnTo>
                      <a:pt x="14" y="14"/>
                    </a:lnTo>
                    <a:lnTo>
                      <a:pt x="14" y="19"/>
                    </a:lnTo>
                    <a:lnTo>
                      <a:pt x="17" y="17"/>
                    </a:lnTo>
                    <a:lnTo>
                      <a:pt x="19" y="14"/>
                    </a:lnTo>
                    <a:lnTo>
                      <a:pt x="16" y="12"/>
                    </a:lnTo>
                    <a:lnTo>
                      <a:pt x="13" y="8"/>
                    </a:lnTo>
                    <a:lnTo>
                      <a:pt x="16" y="11"/>
                    </a:lnTo>
                    <a:lnTo>
                      <a:pt x="19" y="11"/>
                    </a:lnTo>
                    <a:lnTo>
                      <a:pt x="17" y="6"/>
                    </a:lnTo>
                    <a:lnTo>
                      <a:pt x="16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08" name="Freeform 819"/>
              <p:cNvSpPr>
                <a:spLocks/>
              </p:cNvSpPr>
              <p:nvPr/>
            </p:nvSpPr>
            <p:spPr bwMode="auto">
              <a:xfrm>
                <a:off x="1548" y="3578"/>
                <a:ext cx="9" cy="12"/>
              </a:xfrm>
              <a:custGeom>
                <a:avLst/>
                <a:gdLst>
                  <a:gd name="T0" fmla="*/ 19 w 19"/>
                  <a:gd name="T1" fmla="*/ 24 h 24"/>
                  <a:gd name="T2" fmla="*/ 19 w 19"/>
                  <a:gd name="T3" fmla="*/ 24 h 24"/>
                  <a:gd name="T4" fmla="*/ 16 w 19"/>
                  <a:gd name="T5" fmla="*/ 21 h 24"/>
                  <a:gd name="T6" fmla="*/ 13 w 19"/>
                  <a:gd name="T7" fmla="*/ 18 h 24"/>
                  <a:gd name="T8" fmla="*/ 11 w 19"/>
                  <a:gd name="T9" fmla="*/ 13 h 24"/>
                  <a:gd name="T10" fmla="*/ 14 w 19"/>
                  <a:gd name="T11" fmla="*/ 16 h 24"/>
                  <a:gd name="T12" fmla="*/ 17 w 19"/>
                  <a:gd name="T13" fmla="*/ 14 h 24"/>
                  <a:gd name="T14" fmla="*/ 14 w 19"/>
                  <a:gd name="T15" fmla="*/ 11 h 24"/>
                  <a:gd name="T16" fmla="*/ 13 w 19"/>
                  <a:gd name="T17" fmla="*/ 8 h 24"/>
                  <a:gd name="T18" fmla="*/ 9 w 19"/>
                  <a:gd name="T19" fmla="*/ 5 h 24"/>
                  <a:gd name="T20" fmla="*/ 8 w 19"/>
                  <a:gd name="T21" fmla="*/ 2 h 24"/>
                  <a:gd name="T22" fmla="*/ 5 w 19"/>
                  <a:gd name="T23" fmla="*/ 0 h 24"/>
                  <a:gd name="T24" fmla="*/ 3 w 19"/>
                  <a:gd name="T25" fmla="*/ 3 h 24"/>
                  <a:gd name="T26" fmla="*/ 3 w 19"/>
                  <a:gd name="T27" fmla="*/ 7 h 24"/>
                  <a:gd name="T28" fmla="*/ 8 w 19"/>
                  <a:gd name="T29" fmla="*/ 10 h 24"/>
                  <a:gd name="T30" fmla="*/ 3 w 19"/>
                  <a:gd name="T31" fmla="*/ 10 h 24"/>
                  <a:gd name="T32" fmla="*/ 0 w 19"/>
                  <a:gd name="T33" fmla="*/ 10 h 24"/>
                  <a:gd name="T34" fmla="*/ 3 w 19"/>
                  <a:gd name="T35" fmla="*/ 16 h 24"/>
                  <a:gd name="T36" fmla="*/ 6 w 19"/>
                  <a:gd name="T37" fmla="*/ 19 h 24"/>
                  <a:gd name="T38" fmla="*/ 11 w 19"/>
                  <a:gd name="T39" fmla="*/ 22 h 24"/>
                  <a:gd name="T40" fmla="*/ 19 w 19"/>
                  <a:gd name="T41" fmla="*/ 2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9" h="24">
                    <a:moveTo>
                      <a:pt x="19" y="24"/>
                    </a:moveTo>
                    <a:lnTo>
                      <a:pt x="19" y="24"/>
                    </a:lnTo>
                    <a:lnTo>
                      <a:pt x="16" y="21"/>
                    </a:lnTo>
                    <a:lnTo>
                      <a:pt x="13" y="18"/>
                    </a:lnTo>
                    <a:lnTo>
                      <a:pt x="11" y="13"/>
                    </a:lnTo>
                    <a:lnTo>
                      <a:pt x="14" y="16"/>
                    </a:lnTo>
                    <a:lnTo>
                      <a:pt x="17" y="14"/>
                    </a:lnTo>
                    <a:lnTo>
                      <a:pt x="14" y="11"/>
                    </a:lnTo>
                    <a:lnTo>
                      <a:pt x="13" y="8"/>
                    </a:lnTo>
                    <a:lnTo>
                      <a:pt x="9" y="5"/>
                    </a:lnTo>
                    <a:lnTo>
                      <a:pt x="8" y="2"/>
                    </a:lnTo>
                    <a:lnTo>
                      <a:pt x="5" y="0"/>
                    </a:lnTo>
                    <a:lnTo>
                      <a:pt x="3" y="3"/>
                    </a:lnTo>
                    <a:lnTo>
                      <a:pt x="3" y="7"/>
                    </a:lnTo>
                    <a:lnTo>
                      <a:pt x="8" y="10"/>
                    </a:lnTo>
                    <a:lnTo>
                      <a:pt x="3" y="10"/>
                    </a:lnTo>
                    <a:lnTo>
                      <a:pt x="0" y="10"/>
                    </a:lnTo>
                    <a:lnTo>
                      <a:pt x="3" y="16"/>
                    </a:lnTo>
                    <a:lnTo>
                      <a:pt x="6" y="19"/>
                    </a:lnTo>
                    <a:lnTo>
                      <a:pt x="11" y="22"/>
                    </a:lnTo>
                    <a:lnTo>
                      <a:pt x="19" y="2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09" name="Freeform 820"/>
              <p:cNvSpPr>
                <a:spLocks/>
              </p:cNvSpPr>
              <p:nvPr/>
            </p:nvSpPr>
            <p:spPr bwMode="auto">
              <a:xfrm>
                <a:off x="1557" y="3587"/>
                <a:ext cx="2" cy="1"/>
              </a:xfrm>
              <a:custGeom>
                <a:avLst/>
                <a:gdLst>
                  <a:gd name="T0" fmla="*/ 3 w 3"/>
                  <a:gd name="T1" fmla="*/ 3 h 3"/>
                  <a:gd name="T2" fmla="*/ 3 w 3"/>
                  <a:gd name="T3" fmla="*/ 0 h 3"/>
                  <a:gd name="T4" fmla="*/ 0 w 3"/>
                  <a:gd name="T5" fmla="*/ 1 h 3"/>
                  <a:gd name="T6" fmla="*/ 3 w 3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3" y="3"/>
                    </a:moveTo>
                    <a:lnTo>
                      <a:pt x="3" y="0"/>
                    </a:lnTo>
                    <a:lnTo>
                      <a:pt x="0" y="1"/>
                    </a:lnTo>
                    <a:lnTo>
                      <a:pt x="3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10" name="Freeform 821"/>
              <p:cNvSpPr>
                <a:spLocks/>
              </p:cNvSpPr>
              <p:nvPr/>
            </p:nvSpPr>
            <p:spPr bwMode="auto">
              <a:xfrm>
                <a:off x="1557" y="3589"/>
                <a:ext cx="4" cy="2"/>
              </a:xfrm>
              <a:custGeom>
                <a:avLst/>
                <a:gdLst>
                  <a:gd name="T0" fmla="*/ 8 w 8"/>
                  <a:gd name="T1" fmla="*/ 4 h 4"/>
                  <a:gd name="T2" fmla="*/ 8 w 8"/>
                  <a:gd name="T3" fmla="*/ 2 h 4"/>
                  <a:gd name="T4" fmla="*/ 5 w 8"/>
                  <a:gd name="T5" fmla="*/ 0 h 4"/>
                  <a:gd name="T6" fmla="*/ 0 w 8"/>
                  <a:gd name="T7" fmla="*/ 2 h 4"/>
                  <a:gd name="T8" fmla="*/ 5 w 8"/>
                  <a:gd name="T9" fmla="*/ 4 h 4"/>
                  <a:gd name="T10" fmla="*/ 8 w 8"/>
                  <a:gd name="T11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4">
                    <a:moveTo>
                      <a:pt x="8" y="4"/>
                    </a:moveTo>
                    <a:lnTo>
                      <a:pt x="8" y="2"/>
                    </a:lnTo>
                    <a:lnTo>
                      <a:pt x="5" y="0"/>
                    </a:lnTo>
                    <a:lnTo>
                      <a:pt x="0" y="2"/>
                    </a:lnTo>
                    <a:lnTo>
                      <a:pt x="5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11" name="Freeform 822"/>
              <p:cNvSpPr>
                <a:spLocks/>
              </p:cNvSpPr>
              <p:nvPr/>
            </p:nvSpPr>
            <p:spPr bwMode="auto">
              <a:xfrm>
                <a:off x="1574" y="3603"/>
                <a:ext cx="35" cy="15"/>
              </a:xfrm>
              <a:custGeom>
                <a:avLst/>
                <a:gdLst>
                  <a:gd name="T0" fmla="*/ 2 w 70"/>
                  <a:gd name="T1" fmla="*/ 9 h 28"/>
                  <a:gd name="T2" fmla="*/ 7 w 70"/>
                  <a:gd name="T3" fmla="*/ 9 h 28"/>
                  <a:gd name="T4" fmla="*/ 11 w 70"/>
                  <a:gd name="T5" fmla="*/ 13 h 28"/>
                  <a:gd name="T6" fmla="*/ 13 w 70"/>
                  <a:gd name="T7" fmla="*/ 16 h 28"/>
                  <a:gd name="T8" fmla="*/ 21 w 70"/>
                  <a:gd name="T9" fmla="*/ 17 h 28"/>
                  <a:gd name="T10" fmla="*/ 27 w 70"/>
                  <a:gd name="T11" fmla="*/ 21 h 28"/>
                  <a:gd name="T12" fmla="*/ 27 w 70"/>
                  <a:gd name="T13" fmla="*/ 17 h 28"/>
                  <a:gd name="T14" fmla="*/ 19 w 70"/>
                  <a:gd name="T15" fmla="*/ 13 h 28"/>
                  <a:gd name="T16" fmla="*/ 19 w 70"/>
                  <a:gd name="T17" fmla="*/ 8 h 28"/>
                  <a:gd name="T18" fmla="*/ 27 w 70"/>
                  <a:gd name="T19" fmla="*/ 11 h 28"/>
                  <a:gd name="T20" fmla="*/ 34 w 70"/>
                  <a:gd name="T21" fmla="*/ 13 h 28"/>
                  <a:gd name="T22" fmla="*/ 38 w 70"/>
                  <a:gd name="T23" fmla="*/ 17 h 28"/>
                  <a:gd name="T24" fmla="*/ 40 w 70"/>
                  <a:gd name="T25" fmla="*/ 21 h 28"/>
                  <a:gd name="T26" fmla="*/ 46 w 70"/>
                  <a:gd name="T27" fmla="*/ 21 h 28"/>
                  <a:gd name="T28" fmla="*/ 54 w 70"/>
                  <a:gd name="T29" fmla="*/ 22 h 28"/>
                  <a:gd name="T30" fmla="*/ 61 w 70"/>
                  <a:gd name="T31" fmla="*/ 24 h 28"/>
                  <a:gd name="T32" fmla="*/ 67 w 70"/>
                  <a:gd name="T33" fmla="*/ 28 h 28"/>
                  <a:gd name="T34" fmla="*/ 67 w 70"/>
                  <a:gd name="T35" fmla="*/ 25 h 28"/>
                  <a:gd name="T36" fmla="*/ 61 w 70"/>
                  <a:gd name="T37" fmla="*/ 19 h 28"/>
                  <a:gd name="T38" fmla="*/ 54 w 70"/>
                  <a:gd name="T39" fmla="*/ 16 h 28"/>
                  <a:gd name="T40" fmla="*/ 46 w 70"/>
                  <a:gd name="T41" fmla="*/ 16 h 28"/>
                  <a:gd name="T42" fmla="*/ 46 w 70"/>
                  <a:gd name="T43" fmla="*/ 16 h 28"/>
                  <a:gd name="T44" fmla="*/ 54 w 70"/>
                  <a:gd name="T45" fmla="*/ 14 h 28"/>
                  <a:gd name="T46" fmla="*/ 43 w 70"/>
                  <a:gd name="T47" fmla="*/ 9 h 28"/>
                  <a:gd name="T48" fmla="*/ 32 w 70"/>
                  <a:gd name="T49" fmla="*/ 6 h 28"/>
                  <a:gd name="T50" fmla="*/ 40 w 70"/>
                  <a:gd name="T51" fmla="*/ 8 h 28"/>
                  <a:gd name="T52" fmla="*/ 46 w 70"/>
                  <a:gd name="T53" fmla="*/ 6 h 28"/>
                  <a:gd name="T54" fmla="*/ 45 w 70"/>
                  <a:gd name="T55" fmla="*/ 2 h 28"/>
                  <a:gd name="T56" fmla="*/ 37 w 70"/>
                  <a:gd name="T57" fmla="*/ 2 h 28"/>
                  <a:gd name="T58" fmla="*/ 30 w 70"/>
                  <a:gd name="T59" fmla="*/ 2 h 28"/>
                  <a:gd name="T60" fmla="*/ 22 w 70"/>
                  <a:gd name="T61" fmla="*/ 3 h 28"/>
                  <a:gd name="T62" fmla="*/ 16 w 70"/>
                  <a:gd name="T63" fmla="*/ 5 h 28"/>
                  <a:gd name="T64" fmla="*/ 13 w 70"/>
                  <a:gd name="T65" fmla="*/ 8 h 28"/>
                  <a:gd name="T66" fmla="*/ 8 w 70"/>
                  <a:gd name="T67" fmla="*/ 5 h 28"/>
                  <a:gd name="T68" fmla="*/ 0 w 70"/>
                  <a:gd name="T69" fmla="*/ 8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0" h="28">
                    <a:moveTo>
                      <a:pt x="0" y="8"/>
                    </a:moveTo>
                    <a:lnTo>
                      <a:pt x="2" y="9"/>
                    </a:lnTo>
                    <a:lnTo>
                      <a:pt x="2" y="9"/>
                    </a:lnTo>
                    <a:lnTo>
                      <a:pt x="7" y="9"/>
                    </a:lnTo>
                    <a:lnTo>
                      <a:pt x="7" y="13"/>
                    </a:lnTo>
                    <a:lnTo>
                      <a:pt x="11" y="13"/>
                    </a:lnTo>
                    <a:lnTo>
                      <a:pt x="15" y="11"/>
                    </a:lnTo>
                    <a:lnTo>
                      <a:pt x="13" y="16"/>
                    </a:lnTo>
                    <a:lnTo>
                      <a:pt x="16" y="17"/>
                    </a:lnTo>
                    <a:lnTo>
                      <a:pt x="21" y="17"/>
                    </a:lnTo>
                    <a:lnTo>
                      <a:pt x="24" y="21"/>
                    </a:lnTo>
                    <a:lnTo>
                      <a:pt x="27" y="21"/>
                    </a:lnTo>
                    <a:lnTo>
                      <a:pt x="30" y="21"/>
                    </a:lnTo>
                    <a:lnTo>
                      <a:pt x="27" y="17"/>
                    </a:lnTo>
                    <a:lnTo>
                      <a:pt x="24" y="14"/>
                    </a:lnTo>
                    <a:lnTo>
                      <a:pt x="19" y="13"/>
                    </a:lnTo>
                    <a:lnTo>
                      <a:pt x="24" y="11"/>
                    </a:lnTo>
                    <a:lnTo>
                      <a:pt x="19" y="8"/>
                    </a:lnTo>
                    <a:lnTo>
                      <a:pt x="24" y="8"/>
                    </a:lnTo>
                    <a:lnTo>
                      <a:pt x="27" y="11"/>
                    </a:lnTo>
                    <a:lnTo>
                      <a:pt x="30" y="11"/>
                    </a:lnTo>
                    <a:lnTo>
                      <a:pt x="34" y="13"/>
                    </a:lnTo>
                    <a:lnTo>
                      <a:pt x="37" y="13"/>
                    </a:lnTo>
                    <a:lnTo>
                      <a:pt x="38" y="17"/>
                    </a:lnTo>
                    <a:lnTo>
                      <a:pt x="42" y="17"/>
                    </a:lnTo>
                    <a:lnTo>
                      <a:pt x="40" y="21"/>
                    </a:lnTo>
                    <a:lnTo>
                      <a:pt x="43" y="19"/>
                    </a:lnTo>
                    <a:lnTo>
                      <a:pt x="46" y="21"/>
                    </a:lnTo>
                    <a:lnTo>
                      <a:pt x="51" y="21"/>
                    </a:lnTo>
                    <a:lnTo>
                      <a:pt x="54" y="22"/>
                    </a:lnTo>
                    <a:lnTo>
                      <a:pt x="57" y="22"/>
                    </a:lnTo>
                    <a:lnTo>
                      <a:pt x="61" y="24"/>
                    </a:lnTo>
                    <a:lnTo>
                      <a:pt x="64" y="27"/>
                    </a:lnTo>
                    <a:lnTo>
                      <a:pt x="67" y="28"/>
                    </a:lnTo>
                    <a:lnTo>
                      <a:pt x="70" y="28"/>
                    </a:lnTo>
                    <a:lnTo>
                      <a:pt x="67" y="25"/>
                    </a:lnTo>
                    <a:lnTo>
                      <a:pt x="65" y="21"/>
                    </a:lnTo>
                    <a:lnTo>
                      <a:pt x="61" y="19"/>
                    </a:lnTo>
                    <a:lnTo>
                      <a:pt x="57" y="17"/>
                    </a:lnTo>
                    <a:lnTo>
                      <a:pt x="54" y="16"/>
                    </a:lnTo>
                    <a:lnTo>
                      <a:pt x="51" y="16"/>
                    </a:lnTo>
                    <a:lnTo>
                      <a:pt x="46" y="16"/>
                    </a:lnTo>
                    <a:lnTo>
                      <a:pt x="43" y="13"/>
                    </a:lnTo>
                    <a:lnTo>
                      <a:pt x="46" y="16"/>
                    </a:lnTo>
                    <a:lnTo>
                      <a:pt x="51" y="14"/>
                    </a:lnTo>
                    <a:lnTo>
                      <a:pt x="54" y="14"/>
                    </a:lnTo>
                    <a:lnTo>
                      <a:pt x="57" y="14"/>
                    </a:lnTo>
                    <a:lnTo>
                      <a:pt x="43" y="9"/>
                    </a:lnTo>
                    <a:lnTo>
                      <a:pt x="29" y="5"/>
                    </a:lnTo>
                    <a:lnTo>
                      <a:pt x="32" y="6"/>
                    </a:lnTo>
                    <a:lnTo>
                      <a:pt x="35" y="8"/>
                    </a:lnTo>
                    <a:lnTo>
                      <a:pt x="40" y="8"/>
                    </a:lnTo>
                    <a:lnTo>
                      <a:pt x="43" y="6"/>
                    </a:lnTo>
                    <a:lnTo>
                      <a:pt x="46" y="6"/>
                    </a:lnTo>
                    <a:lnTo>
                      <a:pt x="48" y="3"/>
                    </a:lnTo>
                    <a:lnTo>
                      <a:pt x="45" y="2"/>
                    </a:lnTo>
                    <a:lnTo>
                      <a:pt x="40" y="0"/>
                    </a:lnTo>
                    <a:lnTo>
                      <a:pt x="37" y="2"/>
                    </a:lnTo>
                    <a:lnTo>
                      <a:pt x="34" y="2"/>
                    </a:lnTo>
                    <a:lnTo>
                      <a:pt x="30" y="2"/>
                    </a:lnTo>
                    <a:lnTo>
                      <a:pt x="26" y="3"/>
                    </a:lnTo>
                    <a:lnTo>
                      <a:pt x="22" y="3"/>
                    </a:lnTo>
                    <a:lnTo>
                      <a:pt x="19" y="3"/>
                    </a:lnTo>
                    <a:lnTo>
                      <a:pt x="16" y="5"/>
                    </a:lnTo>
                    <a:lnTo>
                      <a:pt x="13" y="5"/>
                    </a:lnTo>
                    <a:lnTo>
                      <a:pt x="13" y="8"/>
                    </a:lnTo>
                    <a:lnTo>
                      <a:pt x="11" y="5"/>
                    </a:lnTo>
                    <a:lnTo>
                      <a:pt x="8" y="5"/>
                    </a:lnTo>
                    <a:lnTo>
                      <a:pt x="3" y="6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12" name="Freeform 823"/>
              <p:cNvSpPr>
                <a:spLocks/>
              </p:cNvSpPr>
              <p:nvPr/>
            </p:nvSpPr>
            <p:spPr bwMode="auto">
              <a:xfrm>
                <a:off x="1598" y="3603"/>
                <a:ext cx="21" cy="8"/>
              </a:xfrm>
              <a:custGeom>
                <a:avLst/>
                <a:gdLst>
                  <a:gd name="T0" fmla="*/ 41 w 41"/>
                  <a:gd name="T1" fmla="*/ 6 h 14"/>
                  <a:gd name="T2" fmla="*/ 36 w 41"/>
                  <a:gd name="T3" fmla="*/ 3 h 14"/>
                  <a:gd name="T4" fmla="*/ 32 w 41"/>
                  <a:gd name="T5" fmla="*/ 2 h 14"/>
                  <a:gd name="T6" fmla="*/ 27 w 41"/>
                  <a:gd name="T7" fmla="*/ 0 h 14"/>
                  <a:gd name="T8" fmla="*/ 22 w 41"/>
                  <a:gd name="T9" fmla="*/ 0 h 14"/>
                  <a:gd name="T10" fmla="*/ 19 w 41"/>
                  <a:gd name="T11" fmla="*/ 0 h 14"/>
                  <a:gd name="T12" fmla="*/ 16 w 41"/>
                  <a:gd name="T13" fmla="*/ 0 h 14"/>
                  <a:gd name="T14" fmla="*/ 11 w 41"/>
                  <a:gd name="T15" fmla="*/ 0 h 14"/>
                  <a:gd name="T16" fmla="*/ 8 w 41"/>
                  <a:gd name="T17" fmla="*/ 0 h 14"/>
                  <a:gd name="T18" fmla="*/ 5 w 41"/>
                  <a:gd name="T19" fmla="*/ 0 h 14"/>
                  <a:gd name="T20" fmla="*/ 0 w 41"/>
                  <a:gd name="T21" fmla="*/ 3 h 14"/>
                  <a:gd name="T22" fmla="*/ 5 w 41"/>
                  <a:gd name="T23" fmla="*/ 2 h 14"/>
                  <a:gd name="T24" fmla="*/ 6 w 41"/>
                  <a:gd name="T25" fmla="*/ 6 h 14"/>
                  <a:gd name="T26" fmla="*/ 8 w 41"/>
                  <a:gd name="T27" fmla="*/ 9 h 14"/>
                  <a:gd name="T28" fmla="*/ 13 w 41"/>
                  <a:gd name="T29" fmla="*/ 13 h 14"/>
                  <a:gd name="T30" fmla="*/ 16 w 41"/>
                  <a:gd name="T31" fmla="*/ 11 h 14"/>
                  <a:gd name="T32" fmla="*/ 19 w 41"/>
                  <a:gd name="T33" fmla="*/ 11 h 14"/>
                  <a:gd name="T34" fmla="*/ 22 w 41"/>
                  <a:gd name="T35" fmla="*/ 13 h 14"/>
                  <a:gd name="T36" fmla="*/ 19 w 41"/>
                  <a:gd name="T37" fmla="*/ 13 h 14"/>
                  <a:gd name="T38" fmla="*/ 22 w 41"/>
                  <a:gd name="T39" fmla="*/ 13 h 14"/>
                  <a:gd name="T40" fmla="*/ 27 w 41"/>
                  <a:gd name="T41" fmla="*/ 13 h 14"/>
                  <a:gd name="T42" fmla="*/ 27 w 41"/>
                  <a:gd name="T43" fmla="*/ 9 h 14"/>
                  <a:gd name="T44" fmla="*/ 30 w 41"/>
                  <a:gd name="T45" fmla="*/ 11 h 14"/>
                  <a:gd name="T46" fmla="*/ 33 w 41"/>
                  <a:gd name="T47" fmla="*/ 14 h 14"/>
                  <a:gd name="T48" fmla="*/ 36 w 41"/>
                  <a:gd name="T49" fmla="*/ 14 h 14"/>
                  <a:gd name="T50" fmla="*/ 40 w 41"/>
                  <a:gd name="T51" fmla="*/ 14 h 14"/>
                  <a:gd name="T52" fmla="*/ 41 w 41"/>
                  <a:gd name="T53" fmla="*/ 11 h 14"/>
                  <a:gd name="T54" fmla="*/ 41 w 41"/>
                  <a:gd name="T5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41" h="14">
                    <a:moveTo>
                      <a:pt x="41" y="6"/>
                    </a:moveTo>
                    <a:lnTo>
                      <a:pt x="36" y="3"/>
                    </a:lnTo>
                    <a:lnTo>
                      <a:pt x="32" y="2"/>
                    </a:lnTo>
                    <a:lnTo>
                      <a:pt x="27" y="0"/>
                    </a:lnTo>
                    <a:lnTo>
                      <a:pt x="22" y="0"/>
                    </a:lnTo>
                    <a:lnTo>
                      <a:pt x="19" y="0"/>
                    </a:lnTo>
                    <a:lnTo>
                      <a:pt x="16" y="0"/>
                    </a:lnTo>
                    <a:lnTo>
                      <a:pt x="11" y="0"/>
                    </a:lnTo>
                    <a:lnTo>
                      <a:pt x="8" y="0"/>
                    </a:lnTo>
                    <a:lnTo>
                      <a:pt x="5" y="0"/>
                    </a:lnTo>
                    <a:lnTo>
                      <a:pt x="0" y="3"/>
                    </a:lnTo>
                    <a:lnTo>
                      <a:pt x="5" y="2"/>
                    </a:lnTo>
                    <a:lnTo>
                      <a:pt x="6" y="6"/>
                    </a:lnTo>
                    <a:lnTo>
                      <a:pt x="8" y="9"/>
                    </a:lnTo>
                    <a:lnTo>
                      <a:pt x="13" y="13"/>
                    </a:lnTo>
                    <a:lnTo>
                      <a:pt x="16" y="11"/>
                    </a:lnTo>
                    <a:lnTo>
                      <a:pt x="19" y="11"/>
                    </a:lnTo>
                    <a:lnTo>
                      <a:pt x="22" y="13"/>
                    </a:lnTo>
                    <a:lnTo>
                      <a:pt x="19" y="13"/>
                    </a:lnTo>
                    <a:lnTo>
                      <a:pt x="22" y="13"/>
                    </a:lnTo>
                    <a:lnTo>
                      <a:pt x="27" y="13"/>
                    </a:lnTo>
                    <a:lnTo>
                      <a:pt x="27" y="9"/>
                    </a:lnTo>
                    <a:lnTo>
                      <a:pt x="30" y="11"/>
                    </a:lnTo>
                    <a:lnTo>
                      <a:pt x="33" y="14"/>
                    </a:lnTo>
                    <a:lnTo>
                      <a:pt x="36" y="14"/>
                    </a:lnTo>
                    <a:lnTo>
                      <a:pt x="40" y="14"/>
                    </a:lnTo>
                    <a:lnTo>
                      <a:pt x="41" y="11"/>
                    </a:lnTo>
                    <a:lnTo>
                      <a:pt x="41" y="6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13" name="Freeform 824"/>
              <p:cNvSpPr>
                <a:spLocks/>
              </p:cNvSpPr>
              <p:nvPr/>
            </p:nvSpPr>
            <p:spPr bwMode="auto">
              <a:xfrm>
                <a:off x="1349" y="2847"/>
                <a:ext cx="220" cy="737"/>
              </a:xfrm>
              <a:custGeom>
                <a:avLst/>
                <a:gdLst>
                  <a:gd name="T0" fmla="*/ 47 w 441"/>
                  <a:gd name="T1" fmla="*/ 35 h 1473"/>
                  <a:gd name="T2" fmla="*/ 70 w 441"/>
                  <a:gd name="T3" fmla="*/ 110 h 1473"/>
                  <a:gd name="T4" fmla="*/ 109 w 441"/>
                  <a:gd name="T5" fmla="*/ 203 h 1473"/>
                  <a:gd name="T6" fmla="*/ 127 w 441"/>
                  <a:gd name="T7" fmla="*/ 271 h 1473"/>
                  <a:gd name="T8" fmla="*/ 108 w 441"/>
                  <a:gd name="T9" fmla="*/ 362 h 1473"/>
                  <a:gd name="T10" fmla="*/ 93 w 441"/>
                  <a:gd name="T11" fmla="*/ 435 h 1473"/>
                  <a:gd name="T12" fmla="*/ 89 w 441"/>
                  <a:gd name="T13" fmla="*/ 511 h 1473"/>
                  <a:gd name="T14" fmla="*/ 93 w 441"/>
                  <a:gd name="T15" fmla="*/ 587 h 1473"/>
                  <a:gd name="T16" fmla="*/ 122 w 441"/>
                  <a:gd name="T17" fmla="*/ 644 h 1473"/>
                  <a:gd name="T18" fmla="*/ 124 w 441"/>
                  <a:gd name="T19" fmla="*/ 728 h 1473"/>
                  <a:gd name="T20" fmla="*/ 120 w 441"/>
                  <a:gd name="T21" fmla="*/ 793 h 1473"/>
                  <a:gd name="T22" fmla="*/ 147 w 441"/>
                  <a:gd name="T23" fmla="*/ 868 h 1473"/>
                  <a:gd name="T24" fmla="*/ 143 w 441"/>
                  <a:gd name="T25" fmla="*/ 929 h 1473"/>
                  <a:gd name="T26" fmla="*/ 163 w 441"/>
                  <a:gd name="T27" fmla="*/ 1015 h 1473"/>
                  <a:gd name="T28" fmla="*/ 200 w 441"/>
                  <a:gd name="T29" fmla="*/ 1080 h 1473"/>
                  <a:gd name="T30" fmla="*/ 212 w 441"/>
                  <a:gd name="T31" fmla="*/ 1118 h 1473"/>
                  <a:gd name="T32" fmla="*/ 241 w 441"/>
                  <a:gd name="T33" fmla="*/ 1183 h 1473"/>
                  <a:gd name="T34" fmla="*/ 249 w 441"/>
                  <a:gd name="T35" fmla="*/ 1248 h 1473"/>
                  <a:gd name="T36" fmla="*/ 239 w 441"/>
                  <a:gd name="T37" fmla="*/ 1318 h 1473"/>
                  <a:gd name="T38" fmla="*/ 303 w 441"/>
                  <a:gd name="T39" fmla="*/ 1367 h 1473"/>
                  <a:gd name="T40" fmla="*/ 420 w 441"/>
                  <a:gd name="T41" fmla="*/ 1407 h 1473"/>
                  <a:gd name="T42" fmla="*/ 392 w 441"/>
                  <a:gd name="T43" fmla="*/ 1424 h 1473"/>
                  <a:gd name="T44" fmla="*/ 350 w 441"/>
                  <a:gd name="T45" fmla="*/ 1461 h 1473"/>
                  <a:gd name="T46" fmla="*/ 371 w 441"/>
                  <a:gd name="T47" fmla="*/ 1432 h 1473"/>
                  <a:gd name="T48" fmla="*/ 339 w 441"/>
                  <a:gd name="T49" fmla="*/ 1457 h 1473"/>
                  <a:gd name="T50" fmla="*/ 341 w 441"/>
                  <a:gd name="T51" fmla="*/ 1424 h 1473"/>
                  <a:gd name="T52" fmla="*/ 315 w 441"/>
                  <a:gd name="T53" fmla="*/ 1434 h 1473"/>
                  <a:gd name="T54" fmla="*/ 295 w 441"/>
                  <a:gd name="T55" fmla="*/ 1421 h 1473"/>
                  <a:gd name="T56" fmla="*/ 304 w 441"/>
                  <a:gd name="T57" fmla="*/ 1407 h 1473"/>
                  <a:gd name="T58" fmla="*/ 293 w 441"/>
                  <a:gd name="T59" fmla="*/ 1381 h 1473"/>
                  <a:gd name="T60" fmla="*/ 282 w 441"/>
                  <a:gd name="T61" fmla="*/ 1391 h 1473"/>
                  <a:gd name="T62" fmla="*/ 271 w 441"/>
                  <a:gd name="T63" fmla="*/ 1384 h 1473"/>
                  <a:gd name="T64" fmla="*/ 249 w 441"/>
                  <a:gd name="T65" fmla="*/ 1346 h 1473"/>
                  <a:gd name="T66" fmla="*/ 223 w 441"/>
                  <a:gd name="T67" fmla="*/ 1332 h 1473"/>
                  <a:gd name="T68" fmla="*/ 227 w 441"/>
                  <a:gd name="T69" fmla="*/ 1321 h 1473"/>
                  <a:gd name="T70" fmla="*/ 214 w 441"/>
                  <a:gd name="T71" fmla="*/ 1300 h 1473"/>
                  <a:gd name="T72" fmla="*/ 192 w 441"/>
                  <a:gd name="T73" fmla="*/ 1272 h 1473"/>
                  <a:gd name="T74" fmla="*/ 173 w 441"/>
                  <a:gd name="T75" fmla="*/ 1240 h 1473"/>
                  <a:gd name="T76" fmla="*/ 206 w 441"/>
                  <a:gd name="T77" fmla="*/ 1240 h 1473"/>
                  <a:gd name="T78" fmla="*/ 163 w 441"/>
                  <a:gd name="T79" fmla="*/ 1229 h 1473"/>
                  <a:gd name="T80" fmla="*/ 176 w 441"/>
                  <a:gd name="T81" fmla="*/ 1204 h 1473"/>
                  <a:gd name="T82" fmla="*/ 131 w 441"/>
                  <a:gd name="T83" fmla="*/ 1185 h 1473"/>
                  <a:gd name="T84" fmla="*/ 131 w 441"/>
                  <a:gd name="T85" fmla="*/ 1170 h 1473"/>
                  <a:gd name="T86" fmla="*/ 147 w 441"/>
                  <a:gd name="T87" fmla="*/ 1153 h 1473"/>
                  <a:gd name="T88" fmla="*/ 170 w 441"/>
                  <a:gd name="T89" fmla="*/ 1178 h 1473"/>
                  <a:gd name="T90" fmla="*/ 166 w 441"/>
                  <a:gd name="T91" fmla="*/ 1148 h 1473"/>
                  <a:gd name="T92" fmla="*/ 171 w 441"/>
                  <a:gd name="T93" fmla="*/ 1115 h 1473"/>
                  <a:gd name="T94" fmla="*/ 152 w 441"/>
                  <a:gd name="T95" fmla="*/ 1067 h 1473"/>
                  <a:gd name="T96" fmla="*/ 139 w 441"/>
                  <a:gd name="T97" fmla="*/ 1013 h 1473"/>
                  <a:gd name="T98" fmla="*/ 143 w 441"/>
                  <a:gd name="T99" fmla="*/ 980 h 1473"/>
                  <a:gd name="T100" fmla="*/ 98 w 441"/>
                  <a:gd name="T101" fmla="*/ 983 h 1473"/>
                  <a:gd name="T102" fmla="*/ 81 w 441"/>
                  <a:gd name="T103" fmla="*/ 904 h 1473"/>
                  <a:gd name="T104" fmla="*/ 40 w 441"/>
                  <a:gd name="T105" fmla="*/ 810 h 1473"/>
                  <a:gd name="T106" fmla="*/ 55 w 441"/>
                  <a:gd name="T107" fmla="*/ 752 h 1473"/>
                  <a:gd name="T108" fmla="*/ 59 w 441"/>
                  <a:gd name="T109" fmla="*/ 679 h 1473"/>
                  <a:gd name="T110" fmla="*/ 47 w 441"/>
                  <a:gd name="T111" fmla="*/ 576 h 1473"/>
                  <a:gd name="T112" fmla="*/ 28 w 441"/>
                  <a:gd name="T113" fmla="*/ 479 h 1473"/>
                  <a:gd name="T114" fmla="*/ 33 w 441"/>
                  <a:gd name="T115" fmla="*/ 401 h 1473"/>
                  <a:gd name="T116" fmla="*/ 33 w 441"/>
                  <a:gd name="T117" fmla="*/ 325 h 1473"/>
                  <a:gd name="T118" fmla="*/ 27 w 441"/>
                  <a:gd name="T119" fmla="*/ 221 h 1473"/>
                  <a:gd name="T120" fmla="*/ 19 w 441"/>
                  <a:gd name="T121" fmla="*/ 110 h 1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41" h="1473">
                    <a:moveTo>
                      <a:pt x="0" y="33"/>
                    </a:moveTo>
                    <a:lnTo>
                      <a:pt x="6" y="33"/>
                    </a:lnTo>
                    <a:lnTo>
                      <a:pt x="16" y="30"/>
                    </a:lnTo>
                    <a:lnTo>
                      <a:pt x="19" y="24"/>
                    </a:lnTo>
                    <a:lnTo>
                      <a:pt x="20" y="19"/>
                    </a:lnTo>
                    <a:lnTo>
                      <a:pt x="19" y="16"/>
                    </a:lnTo>
                    <a:lnTo>
                      <a:pt x="17" y="10"/>
                    </a:lnTo>
                    <a:lnTo>
                      <a:pt x="19" y="5"/>
                    </a:lnTo>
                    <a:lnTo>
                      <a:pt x="22" y="6"/>
                    </a:lnTo>
                    <a:lnTo>
                      <a:pt x="25" y="2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3"/>
                    </a:lnTo>
                    <a:lnTo>
                      <a:pt x="32" y="6"/>
                    </a:lnTo>
                    <a:lnTo>
                      <a:pt x="35" y="11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1" y="19"/>
                    </a:lnTo>
                    <a:lnTo>
                      <a:pt x="44" y="21"/>
                    </a:lnTo>
                    <a:lnTo>
                      <a:pt x="46" y="21"/>
                    </a:lnTo>
                    <a:lnTo>
                      <a:pt x="44" y="25"/>
                    </a:lnTo>
                    <a:lnTo>
                      <a:pt x="46" y="29"/>
                    </a:lnTo>
                    <a:lnTo>
                      <a:pt x="46" y="32"/>
                    </a:lnTo>
                    <a:lnTo>
                      <a:pt x="47" y="35"/>
                    </a:lnTo>
                    <a:lnTo>
                      <a:pt x="49" y="38"/>
                    </a:lnTo>
                    <a:lnTo>
                      <a:pt x="49" y="41"/>
                    </a:lnTo>
                    <a:lnTo>
                      <a:pt x="51" y="45"/>
                    </a:lnTo>
                    <a:lnTo>
                      <a:pt x="51" y="48"/>
                    </a:lnTo>
                    <a:lnTo>
                      <a:pt x="52" y="51"/>
                    </a:lnTo>
                    <a:lnTo>
                      <a:pt x="54" y="54"/>
                    </a:lnTo>
                    <a:lnTo>
                      <a:pt x="54" y="59"/>
                    </a:lnTo>
                    <a:lnTo>
                      <a:pt x="55" y="62"/>
                    </a:lnTo>
                    <a:lnTo>
                      <a:pt x="57" y="64"/>
                    </a:lnTo>
                    <a:lnTo>
                      <a:pt x="65" y="70"/>
                    </a:lnTo>
                    <a:lnTo>
                      <a:pt x="73" y="76"/>
                    </a:lnTo>
                    <a:lnTo>
                      <a:pt x="73" y="79"/>
                    </a:lnTo>
                    <a:lnTo>
                      <a:pt x="71" y="84"/>
                    </a:lnTo>
                    <a:lnTo>
                      <a:pt x="71" y="84"/>
                    </a:lnTo>
                    <a:lnTo>
                      <a:pt x="70" y="87"/>
                    </a:lnTo>
                    <a:lnTo>
                      <a:pt x="66" y="91"/>
                    </a:lnTo>
                    <a:lnTo>
                      <a:pt x="71" y="94"/>
                    </a:lnTo>
                    <a:lnTo>
                      <a:pt x="73" y="95"/>
                    </a:lnTo>
                    <a:lnTo>
                      <a:pt x="74" y="98"/>
                    </a:lnTo>
                    <a:lnTo>
                      <a:pt x="74" y="102"/>
                    </a:lnTo>
                    <a:lnTo>
                      <a:pt x="73" y="105"/>
                    </a:lnTo>
                    <a:lnTo>
                      <a:pt x="70" y="105"/>
                    </a:lnTo>
                    <a:lnTo>
                      <a:pt x="66" y="106"/>
                    </a:lnTo>
                    <a:lnTo>
                      <a:pt x="70" y="110"/>
                    </a:lnTo>
                    <a:lnTo>
                      <a:pt x="70" y="114"/>
                    </a:lnTo>
                    <a:lnTo>
                      <a:pt x="68" y="117"/>
                    </a:lnTo>
                    <a:lnTo>
                      <a:pt x="70" y="121"/>
                    </a:lnTo>
                    <a:lnTo>
                      <a:pt x="74" y="124"/>
                    </a:lnTo>
                    <a:lnTo>
                      <a:pt x="78" y="125"/>
                    </a:lnTo>
                    <a:lnTo>
                      <a:pt x="79" y="129"/>
                    </a:lnTo>
                    <a:lnTo>
                      <a:pt x="78" y="133"/>
                    </a:lnTo>
                    <a:lnTo>
                      <a:pt x="78" y="136"/>
                    </a:lnTo>
                    <a:lnTo>
                      <a:pt x="81" y="140"/>
                    </a:lnTo>
                    <a:lnTo>
                      <a:pt x="84" y="143"/>
                    </a:lnTo>
                    <a:lnTo>
                      <a:pt x="90" y="151"/>
                    </a:lnTo>
                    <a:lnTo>
                      <a:pt x="93" y="156"/>
                    </a:lnTo>
                    <a:lnTo>
                      <a:pt x="93" y="159"/>
                    </a:lnTo>
                    <a:lnTo>
                      <a:pt x="95" y="168"/>
                    </a:lnTo>
                    <a:lnTo>
                      <a:pt x="98" y="173"/>
                    </a:lnTo>
                    <a:lnTo>
                      <a:pt x="100" y="176"/>
                    </a:lnTo>
                    <a:lnTo>
                      <a:pt x="100" y="179"/>
                    </a:lnTo>
                    <a:lnTo>
                      <a:pt x="101" y="182"/>
                    </a:lnTo>
                    <a:lnTo>
                      <a:pt x="105" y="186"/>
                    </a:lnTo>
                    <a:lnTo>
                      <a:pt x="105" y="189"/>
                    </a:lnTo>
                    <a:lnTo>
                      <a:pt x="108" y="194"/>
                    </a:lnTo>
                    <a:lnTo>
                      <a:pt x="106" y="197"/>
                    </a:lnTo>
                    <a:lnTo>
                      <a:pt x="109" y="200"/>
                    </a:lnTo>
                    <a:lnTo>
                      <a:pt x="109" y="203"/>
                    </a:lnTo>
                    <a:lnTo>
                      <a:pt x="111" y="208"/>
                    </a:lnTo>
                    <a:lnTo>
                      <a:pt x="111" y="211"/>
                    </a:lnTo>
                    <a:lnTo>
                      <a:pt x="111" y="214"/>
                    </a:lnTo>
                    <a:lnTo>
                      <a:pt x="112" y="217"/>
                    </a:lnTo>
                    <a:lnTo>
                      <a:pt x="117" y="219"/>
                    </a:lnTo>
                    <a:lnTo>
                      <a:pt x="120" y="221"/>
                    </a:lnTo>
                    <a:lnTo>
                      <a:pt x="125" y="219"/>
                    </a:lnTo>
                    <a:lnTo>
                      <a:pt x="128" y="219"/>
                    </a:lnTo>
                    <a:lnTo>
                      <a:pt x="133" y="217"/>
                    </a:lnTo>
                    <a:lnTo>
                      <a:pt x="136" y="217"/>
                    </a:lnTo>
                    <a:lnTo>
                      <a:pt x="143" y="224"/>
                    </a:lnTo>
                    <a:lnTo>
                      <a:pt x="143" y="227"/>
                    </a:lnTo>
                    <a:lnTo>
                      <a:pt x="143" y="233"/>
                    </a:lnTo>
                    <a:lnTo>
                      <a:pt x="141" y="243"/>
                    </a:lnTo>
                    <a:lnTo>
                      <a:pt x="139" y="246"/>
                    </a:lnTo>
                    <a:lnTo>
                      <a:pt x="139" y="251"/>
                    </a:lnTo>
                    <a:lnTo>
                      <a:pt x="139" y="254"/>
                    </a:lnTo>
                    <a:lnTo>
                      <a:pt x="139" y="255"/>
                    </a:lnTo>
                    <a:lnTo>
                      <a:pt x="138" y="262"/>
                    </a:lnTo>
                    <a:lnTo>
                      <a:pt x="138" y="265"/>
                    </a:lnTo>
                    <a:lnTo>
                      <a:pt x="135" y="268"/>
                    </a:lnTo>
                    <a:lnTo>
                      <a:pt x="130" y="270"/>
                    </a:lnTo>
                    <a:lnTo>
                      <a:pt x="127" y="271"/>
                    </a:lnTo>
                    <a:lnTo>
                      <a:pt x="127" y="271"/>
                    </a:lnTo>
                    <a:lnTo>
                      <a:pt x="124" y="273"/>
                    </a:lnTo>
                    <a:lnTo>
                      <a:pt x="120" y="274"/>
                    </a:lnTo>
                    <a:lnTo>
                      <a:pt x="112" y="279"/>
                    </a:lnTo>
                    <a:lnTo>
                      <a:pt x="106" y="286"/>
                    </a:lnTo>
                    <a:lnTo>
                      <a:pt x="103" y="287"/>
                    </a:lnTo>
                    <a:lnTo>
                      <a:pt x="100" y="290"/>
                    </a:lnTo>
                    <a:lnTo>
                      <a:pt x="100" y="293"/>
                    </a:lnTo>
                    <a:lnTo>
                      <a:pt x="98" y="297"/>
                    </a:lnTo>
                    <a:lnTo>
                      <a:pt x="100" y="301"/>
                    </a:lnTo>
                    <a:lnTo>
                      <a:pt x="103" y="303"/>
                    </a:lnTo>
                    <a:lnTo>
                      <a:pt x="105" y="306"/>
                    </a:lnTo>
                    <a:lnTo>
                      <a:pt x="105" y="308"/>
                    </a:lnTo>
                    <a:lnTo>
                      <a:pt x="106" y="311"/>
                    </a:lnTo>
                    <a:lnTo>
                      <a:pt x="103" y="313"/>
                    </a:lnTo>
                    <a:lnTo>
                      <a:pt x="103" y="314"/>
                    </a:lnTo>
                    <a:lnTo>
                      <a:pt x="101" y="317"/>
                    </a:lnTo>
                    <a:lnTo>
                      <a:pt x="101" y="320"/>
                    </a:lnTo>
                    <a:lnTo>
                      <a:pt x="101" y="324"/>
                    </a:lnTo>
                    <a:lnTo>
                      <a:pt x="103" y="327"/>
                    </a:lnTo>
                    <a:lnTo>
                      <a:pt x="108" y="339"/>
                    </a:lnTo>
                    <a:lnTo>
                      <a:pt x="112" y="352"/>
                    </a:lnTo>
                    <a:lnTo>
                      <a:pt x="111" y="355"/>
                    </a:lnTo>
                    <a:lnTo>
                      <a:pt x="108" y="359"/>
                    </a:lnTo>
                    <a:lnTo>
                      <a:pt x="108" y="362"/>
                    </a:lnTo>
                    <a:lnTo>
                      <a:pt x="108" y="366"/>
                    </a:lnTo>
                    <a:lnTo>
                      <a:pt x="109" y="370"/>
                    </a:lnTo>
                    <a:lnTo>
                      <a:pt x="112" y="373"/>
                    </a:lnTo>
                    <a:lnTo>
                      <a:pt x="116" y="376"/>
                    </a:lnTo>
                    <a:lnTo>
                      <a:pt x="122" y="382"/>
                    </a:lnTo>
                    <a:lnTo>
                      <a:pt x="122" y="384"/>
                    </a:lnTo>
                    <a:lnTo>
                      <a:pt x="122" y="387"/>
                    </a:lnTo>
                    <a:lnTo>
                      <a:pt x="119" y="390"/>
                    </a:lnTo>
                    <a:lnTo>
                      <a:pt x="116" y="392"/>
                    </a:lnTo>
                    <a:lnTo>
                      <a:pt x="111" y="393"/>
                    </a:lnTo>
                    <a:lnTo>
                      <a:pt x="108" y="392"/>
                    </a:lnTo>
                    <a:lnTo>
                      <a:pt x="105" y="395"/>
                    </a:lnTo>
                    <a:lnTo>
                      <a:pt x="103" y="398"/>
                    </a:lnTo>
                    <a:lnTo>
                      <a:pt x="105" y="401"/>
                    </a:lnTo>
                    <a:lnTo>
                      <a:pt x="103" y="406"/>
                    </a:lnTo>
                    <a:lnTo>
                      <a:pt x="101" y="409"/>
                    </a:lnTo>
                    <a:lnTo>
                      <a:pt x="100" y="412"/>
                    </a:lnTo>
                    <a:lnTo>
                      <a:pt x="100" y="416"/>
                    </a:lnTo>
                    <a:lnTo>
                      <a:pt x="100" y="419"/>
                    </a:lnTo>
                    <a:lnTo>
                      <a:pt x="100" y="420"/>
                    </a:lnTo>
                    <a:lnTo>
                      <a:pt x="98" y="425"/>
                    </a:lnTo>
                    <a:lnTo>
                      <a:pt x="95" y="428"/>
                    </a:lnTo>
                    <a:lnTo>
                      <a:pt x="93" y="431"/>
                    </a:lnTo>
                    <a:lnTo>
                      <a:pt x="93" y="435"/>
                    </a:lnTo>
                    <a:lnTo>
                      <a:pt x="90" y="438"/>
                    </a:lnTo>
                    <a:lnTo>
                      <a:pt x="89" y="443"/>
                    </a:lnTo>
                    <a:lnTo>
                      <a:pt x="86" y="446"/>
                    </a:lnTo>
                    <a:lnTo>
                      <a:pt x="86" y="447"/>
                    </a:lnTo>
                    <a:lnTo>
                      <a:pt x="86" y="450"/>
                    </a:lnTo>
                    <a:lnTo>
                      <a:pt x="86" y="454"/>
                    </a:lnTo>
                    <a:lnTo>
                      <a:pt x="84" y="457"/>
                    </a:lnTo>
                    <a:lnTo>
                      <a:pt x="86" y="462"/>
                    </a:lnTo>
                    <a:lnTo>
                      <a:pt x="86" y="465"/>
                    </a:lnTo>
                    <a:lnTo>
                      <a:pt x="86" y="468"/>
                    </a:lnTo>
                    <a:lnTo>
                      <a:pt x="86" y="471"/>
                    </a:lnTo>
                    <a:lnTo>
                      <a:pt x="86" y="474"/>
                    </a:lnTo>
                    <a:lnTo>
                      <a:pt x="82" y="477"/>
                    </a:lnTo>
                    <a:lnTo>
                      <a:pt x="81" y="481"/>
                    </a:lnTo>
                    <a:lnTo>
                      <a:pt x="79" y="481"/>
                    </a:lnTo>
                    <a:lnTo>
                      <a:pt x="81" y="485"/>
                    </a:lnTo>
                    <a:lnTo>
                      <a:pt x="82" y="489"/>
                    </a:lnTo>
                    <a:lnTo>
                      <a:pt x="84" y="492"/>
                    </a:lnTo>
                    <a:lnTo>
                      <a:pt x="84" y="495"/>
                    </a:lnTo>
                    <a:lnTo>
                      <a:pt x="87" y="498"/>
                    </a:lnTo>
                    <a:lnTo>
                      <a:pt x="87" y="500"/>
                    </a:lnTo>
                    <a:lnTo>
                      <a:pt x="89" y="503"/>
                    </a:lnTo>
                    <a:lnTo>
                      <a:pt x="89" y="508"/>
                    </a:lnTo>
                    <a:lnTo>
                      <a:pt x="89" y="511"/>
                    </a:lnTo>
                    <a:lnTo>
                      <a:pt x="90" y="514"/>
                    </a:lnTo>
                    <a:lnTo>
                      <a:pt x="93" y="517"/>
                    </a:lnTo>
                    <a:lnTo>
                      <a:pt x="93" y="520"/>
                    </a:lnTo>
                    <a:lnTo>
                      <a:pt x="93" y="523"/>
                    </a:lnTo>
                    <a:lnTo>
                      <a:pt x="90" y="527"/>
                    </a:lnTo>
                    <a:lnTo>
                      <a:pt x="87" y="527"/>
                    </a:lnTo>
                    <a:lnTo>
                      <a:pt x="84" y="525"/>
                    </a:lnTo>
                    <a:lnTo>
                      <a:pt x="86" y="528"/>
                    </a:lnTo>
                    <a:lnTo>
                      <a:pt x="84" y="533"/>
                    </a:lnTo>
                    <a:lnTo>
                      <a:pt x="84" y="536"/>
                    </a:lnTo>
                    <a:lnTo>
                      <a:pt x="84" y="539"/>
                    </a:lnTo>
                    <a:lnTo>
                      <a:pt x="84" y="549"/>
                    </a:lnTo>
                    <a:lnTo>
                      <a:pt x="84" y="557"/>
                    </a:lnTo>
                    <a:lnTo>
                      <a:pt x="81" y="555"/>
                    </a:lnTo>
                    <a:lnTo>
                      <a:pt x="79" y="560"/>
                    </a:lnTo>
                    <a:lnTo>
                      <a:pt x="79" y="563"/>
                    </a:lnTo>
                    <a:lnTo>
                      <a:pt x="81" y="566"/>
                    </a:lnTo>
                    <a:lnTo>
                      <a:pt x="81" y="569"/>
                    </a:lnTo>
                    <a:lnTo>
                      <a:pt x="81" y="573"/>
                    </a:lnTo>
                    <a:lnTo>
                      <a:pt x="82" y="577"/>
                    </a:lnTo>
                    <a:lnTo>
                      <a:pt x="86" y="581"/>
                    </a:lnTo>
                    <a:lnTo>
                      <a:pt x="87" y="584"/>
                    </a:lnTo>
                    <a:lnTo>
                      <a:pt x="90" y="587"/>
                    </a:lnTo>
                    <a:lnTo>
                      <a:pt x="93" y="587"/>
                    </a:lnTo>
                    <a:lnTo>
                      <a:pt x="97" y="592"/>
                    </a:lnTo>
                    <a:lnTo>
                      <a:pt x="97" y="595"/>
                    </a:lnTo>
                    <a:lnTo>
                      <a:pt x="93" y="593"/>
                    </a:lnTo>
                    <a:lnTo>
                      <a:pt x="93" y="598"/>
                    </a:lnTo>
                    <a:lnTo>
                      <a:pt x="97" y="601"/>
                    </a:lnTo>
                    <a:lnTo>
                      <a:pt x="97" y="601"/>
                    </a:lnTo>
                    <a:lnTo>
                      <a:pt x="100" y="604"/>
                    </a:lnTo>
                    <a:lnTo>
                      <a:pt x="100" y="606"/>
                    </a:lnTo>
                    <a:lnTo>
                      <a:pt x="101" y="609"/>
                    </a:lnTo>
                    <a:lnTo>
                      <a:pt x="105" y="612"/>
                    </a:lnTo>
                    <a:lnTo>
                      <a:pt x="106" y="615"/>
                    </a:lnTo>
                    <a:lnTo>
                      <a:pt x="106" y="619"/>
                    </a:lnTo>
                    <a:lnTo>
                      <a:pt x="108" y="622"/>
                    </a:lnTo>
                    <a:lnTo>
                      <a:pt x="109" y="625"/>
                    </a:lnTo>
                    <a:lnTo>
                      <a:pt x="111" y="626"/>
                    </a:lnTo>
                    <a:lnTo>
                      <a:pt x="114" y="628"/>
                    </a:lnTo>
                    <a:lnTo>
                      <a:pt x="114" y="630"/>
                    </a:lnTo>
                    <a:lnTo>
                      <a:pt x="114" y="631"/>
                    </a:lnTo>
                    <a:lnTo>
                      <a:pt x="112" y="634"/>
                    </a:lnTo>
                    <a:lnTo>
                      <a:pt x="112" y="638"/>
                    </a:lnTo>
                    <a:lnTo>
                      <a:pt x="116" y="642"/>
                    </a:lnTo>
                    <a:lnTo>
                      <a:pt x="119" y="646"/>
                    </a:lnTo>
                    <a:lnTo>
                      <a:pt x="119" y="646"/>
                    </a:lnTo>
                    <a:lnTo>
                      <a:pt x="122" y="644"/>
                    </a:lnTo>
                    <a:lnTo>
                      <a:pt x="125" y="647"/>
                    </a:lnTo>
                    <a:lnTo>
                      <a:pt x="127" y="650"/>
                    </a:lnTo>
                    <a:lnTo>
                      <a:pt x="127" y="653"/>
                    </a:lnTo>
                    <a:lnTo>
                      <a:pt x="125" y="658"/>
                    </a:lnTo>
                    <a:lnTo>
                      <a:pt x="127" y="661"/>
                    </a:lnTo>
                    <a:lnTo>
                      <a:pt x="127" y="665"/>
                    </a:lnTo>
                    <a:lnTo>
                      <a:pt x="128" y="668"/>
                    </a:lnTo>
                    <a:lnTo>
                      <a:pt x="128" y="671"/>
                    </a:lnTo>
                    <a:lnTo>
                      <a:pt x="131" y="676"/>
                    </a:lnTo>
                    <a:lnTo>
                      <a:pt x="131" y="679"/>
                    </a:lnTo>
                    <a:lnTo>
                      <a:pt x="133" y="682"/>
                    </a:lnTo>
                    <a:lnTo>
                      <a:pt x="131" y="685"/>
                    </a:lnTo>
                    <a:lnTo>
                      <a:pt x="128" y="685"/>
                    </a:lnTo>
                    <a:lnTo>
                      <a:pt x="127" y="685"/>
                    </a:lnTo>
                    <a:lnTo>
                      <a:pt x="128" y="688"/>
                    </a:lnTo>
                    <a:lnTo>
                      <a:pt x="127" y="693"/>
                    </a:lnTo>
                    <a:lnTo>
                      <a:pt x="127" y="696"/>
                    </a:lnTo>
                    <a:lnTo>
                      <a:pt x="125" y="699"/>
                    </a:lnTo>
                    <a:lnTo>
                      <a:pt x="125" y="703"/>
                    </a:lnTo>
                    <a:lnTo>
                      <a:pt x="125" y="714"/>
                    </a:lnTo>
                    <a:lnTo>
                      <a:pt x="125" y="722"/>
                    </a:lnTo>
                    <a:lnTo>
                      <a:pt x="122" y="723"/>
                    </a:lnTo>
                    <a:lnTo>
                      <a:pt x="120" y="726"/>
                    </a:lnTo>
                    <a:lnTo>
                      <a:pt x="124" y="728"/>
                    </a:lnTo>
                    <a:lnTo>
                      <a:pt x="125" y="731"/>
                    </a:lnTo>
                    <a:lnTo>
                      <a:pt x="128" y="734"/>
                    </a:lnTo>
                    <a:lnTo>
                      <a:pt x="130" y="738"/>
                    </a:lnTo>
                    <a:lnTo>
                      <a:pt x="130" y="742"/>
                    </a:lnTo>
                    <a:lnTo>
                      <a:pt x="131" y="745"/>
                    </a:lnTo>
                    <a:lnTo>
                      <a:pt x="133" y="749"/>
                    </a:lnTo>
                    <a:lnTo>
                      <a:pt x="135" y="752"/>
                    </a:lnTo>
                    <a:lnTo>
                      <a:pt x="135" y="757"/>
                    </a:lnTo>
                    <a:lnTo>
                      <a:pt x="136" y="758"/>
                    </a:lnTo>
                    <a:lnTo>
                      <a:pt x="135" y="761"/>
                    </a:lnTo>
                    <a:lnTo>
                      <a:pt x="133" y="763"/>
                    </a:lnTo>
                    <a:lnTo>
                      <a:pt x="130" y="763"/>
                    </a:lnTo>
                    <a:lnTo>
                      <a:pt x="127" y="766"/>
                    </a:lnTo>
                    <a:lnTo>
                      <a:pt x="128" y="769"/>
                    </a:lnTo>
                    <a:lnTo>
                      <a:pt x="125" y="774"/>
                    </a:lnTo>
                    <a:lnTo>
                      <a:pt x="122" y="772"/>
                    </a:lnTo>
                    <a:lnTo>
                      <a:pt x="122" y="776"/>
                    </a:lnTo>
                    <a:lnTo>
                      <a:pt x="119" y="776"/>
                    </a:lnTo>
                    <a:lnTo>
                      <a:pt x="119" y="779"/>
                    </a:lnTo>
                    <a:lnTo>
                      <a:pt x="119" y="782"/>
                    </a:lnTo>
                    <a:lnTo>
                      <a:pt x="117" y="785"/>
                    </a:lnTo>
                    <a:lnTo>
                      <a:pt x="117" y="790"/>
                    </a:lnTo>
                    <a:lnTo>
                      <a:pt x="119" y="793"/>
                    </a:lnTo>
                    <a:lnTo>
                      <a:pt x="120" y="793"/>
                    </a:lnTo>
                    <a:lnTo>
                      <a:pt x="120" y="795"/>
                    </a:lnTo>
                    <a:lnTo>
                      <a:pt x="122" y="798"/>
                    </a:lnTo>
                    <a:lnTo>
                      <a:pt x="124" y="801"/>
                    </a:lnTo>
                    <a:lnTo>
                      <a:pt x="124" y="804"/>
                    </a:lnTo>
                    <a:lnTo>
                      <a:pt x="122" y="807"/>
                    </a:lnTo>
                    <a:lnTo>
                      <a:pt x="125" y="812"/>
                    </a:lnTo>
                    <a:lnTo>
                      <a:pt x="128" y="815"/>
                    </a:lnTo>
                    <a:lnTo>
                      <a:pt x="128" y="818"/>
                    </a:lnTo>
                    <a:lnTo>
                      <a:pt x="127" y="822"/>
                    </a:lnTo>
                    <a:lnTo>
                      <a:pt x="128" y="826"/>
                    </a:lnTo>
                    <a:lnTo>
                      <a:pt x="131" y="829"/>
                    </a:lnTo>
                    <a:lnTo>
                      <a:pt x="135" y="833"/>
                    </a:lnTo>
                    <a:lnTo>
                      <a:pt x="136" y="837"/>
                    </a:lnTo>
                    <a:lnTo>
                      <a:pt x="139" y="841"/>
                    </a:lnTo>
                    <a:lnTo>
                      <a:pt x="139" y="844"/>
                    </a:lnTo>
                    <a:lnTo>
                      <a:pt x="141" y="847"/>
                    </a:lnTo>
                    <a:lnTo>
                      <a:pt x="143" y="850"/>
                    </a:lnTo>
                    <a:lnTo>
                      <a:pt x="144" y="853"/>
                    </a:lnTo>
                    <a:lnTo>
                      <a:pt x="146" y="856"/>
                    </a:lnTo>
                    <a:lnTo>
                      <a:pt x="151" y="858"/>
                    </a:lnTo>
                    <a:lnTo>
                      <a:pt x="151" y="861"/>
                    </a:lnTo>
                    <a:lnTo>
                      <a:pt x="152" y="866"/>
                    </a:lnTo>
                    <a:lnTo>
                      <a:pt x="151" y="866"/>
                    </a:lnTo>
                    <a:lnTo>
                      <a:pt x="147" y="868"/>
                    </a:lnTo>
                    <a:lnTo>
                      <a:pt x="144" y="871"/>
                    </a:lnTo>
                    <a:lnTo>
                      <a:pt x="139" y="872"/>
                    </a:lnTo>
                    <a:lnTo>
                      <a:pt x="136" y="875"/>
                    </a:lnTo>
                    <a:lnTo>
                      <a:pt x="136" y="879"/>
                    </a:lnTo>
                    <a:lnTo>
                      <a:pt x="139" y="882"/>
                    </a:lnTo>
                    <a:lnTo>
                      <a:pt x="139" y="885"/>
                    </a:lnTo>
                    <a:lnTo>
                      <a:pt x="141" y="888"/>
                    </a:lnTo>
                    <a:lnTo>
                      <a:pt x="141" y="891"/>
                    </a:lnTo>
                    <a:lnTo>
                      <a:pt x="141" y="896"/>
                    </a:lnTo>
                    <a:lnTo>
                      <a:pt x="141" y="899"/>
                    </a:lnTo>
                    <a:lnTo>
                      <a:pt x="143" y="902"/>
                    </a:lnTo>
                    <a:lnTo>
                      <a:pt x="141" y="902"/>
                    </a:lnTo>
                    <a:lnTo>
                      <a:pt x="138" y="902"/>
                    </a:lnTo>
                    <a:lnTo>
                      <a:pt x="136" y="904"/>
                    </a:lnTo>
                    <a:lnTo>
                      <a:pt x="136" y="907"/>
                    </a:lnTo>
                    <a:lnTo>
                      <a:pt x="139" y="910"/>
                    </a:lnTo>
                    <a:lnTo>
                      <a:pt x="139" y="912"/>
                    </a:lnTo>
                    <a:lnTo>
                      <a:pt x="143" y="915"/>
                    </a:lnTo>
                    <a:lnTo>
                      <a:pt x="143" y="918"/>
                    </a:lnTo>
                    <a:lnTo>
                      <a:pt x="143" y="920"/>
                    </a:lnTo>
                    <a:lnTo>
                      <a:pt x="143" y="923"/>
                    </a:lnTo>
                    <a:lnTo>
                      <a:pt x="139" y="923"/>
                    </a:lnTo>
                    <a:lnTo>
                      <a:pt x="139" y="926"/>
                    </a:lnTo>
                    <a:lnTo>
                      <a:pt x="143" y="929"/>
                    </a:lnTo>
                    <a:lnTo>
                      <a:pt x="146" y="931"/>
                    </a:lnTo>
                    <a:lnTo>
                      <a:pt x="146" y="934"/>
                    </a:lnTo>
                    <a:lnTo>
                      <a:pt x="144" y="937"/>
                    </a:lnTo>
                    <a:lnTo>
                      <a:pt x="144" y="940"/>
                    </a:lnTo>
                    <a:lnTo>
                      <a:pt x="144" y="945"/>
                    </a:lnTo>
                    <a:lnTo>
                      <a:pt x="143" y="948"/>
                    </a:lnTo>
                    <a:lnTo>
                      <a:pt x="144" y="950"/>
                    </a:lnTo>
                    <a:lnTo>
                      <a:pt x="146" y="953"/>
                    </a:lnTo>
                    <a:lnTo>
                      <a:pt x="149" y="956"/>
                    </a:lnTo>
                    <a:lnTo>
                      <a:pt x="151" y="960"/>
                    </a:lnTo>
                    <a:lnTo>
                      <a:pt x="152" y="963"/>
                    </a:lnTo>
                    <a:lnTo>
                      <a:pt x="152" y="967"/>
                    </a:lnTo>
                    <a:lnTo>
                      <a:pt x="154" y="971"/>
                    </a:lnTo>
                    <a:lnTo>
                      <a:pt x="154" y="974"/>
                    </a:lnTo>
                    <a:lnTo>
                      <a:pt x="155" y="979"/>
                    </a:lnTo>
                    <a:lnTo>
                      <a:pt x="157" y="982"/>
                    </a:lnTo>
                    <a:lnTo>
                      <a:pt x="157" y="985"/>
                    </a:lnTo>
                    <a:lnTo>
                      <a:pt x="163" y="994"/>
                    </a:lnTo>
                    <a:lnTo>
                      <a:pt x="170" y="1004"/>
                    </a:lnTo>
                    <a:lnTo>
                      <a:pt x="166" y="1005"/>
                    </a:lnTo>
                    <a:lnTo>
                      <a:pt x="163" y="1005"/>
                    </a:lnTo>
                    <a:lnTo>
                      <a:pt x="160" y="1009"/>
                    </a:lnTo>
                    <a:lnTo>
                      <a:pt x="160" y="1012"/>
                    </a:lnTo>
                    <a:lnTo>
                      <a:pt x="163" y="1015"/>
                    </a:lnTo>
                    <a:lnTo>
                      <a:pt x="165" y="1018"/>
                    </a:lnTo>
                    <a:lnTo>
                      <a:pt x="163" y="1021"/>
                    </a:lnTo>
                    <a:lnTo>
                      <a:pt x="165" y="1025"/>
                    </a:lnTo>
                    <a:lnTo>
                      <a:pt x="166" y="1028"/>
                    </a:lnTo>
                    <a:lnTo>
                      <a:pt x="168" y="1031"/>
                    </a:lnTo>
                    <a:lnTo>
                      <a:pt x="170" y="1036"/>
                    </a:lnTo>
                    <a:lnTo>
                      <a:pt x="170" y="1039"/>
                    </a:lnTo>
                    <a:lnTo>
                      <a:pt x="173" y="1042"/>
                    </a:lnTo>
                    <a:lnTo>
                      <a:pt x="176" y="1045"/>
                    </a:lnTo>
                    <a:lnTo>
                      <a:pt x="179" y="1045"/>
                    </a:lnTo>
                    <a:lnTo>
                      <a:pt x="182" y="1045"/>
                    </a:lnTo>
                    <a:lnTo>
                      <a:pt x="185" y="1047"/>
                    </a:lnTo>
                    <a:lnTo>
                      <a:pt x="187" y="1051"/>
                    </a:lnTo>
                    <a:lnTo>
                      <a:pt x="184" y="1053"/>
                    </a:lnTo>
                    <a:lnTo>
                      <a:pt x="184" y="1056"/>
                    </a:lnTo>
                    <a:lnTo>
                      <a:pt x="187" y="1059"/>
                    </a:lnTo>
                    <a:lnTo>
                      <a:pt x="190" y="1063"/>
                    </a:lnTo>
                    <a:lnTo>
                      <a:pt x="192" y="1063"/>
                    </a:lnTo>
                    <a:lnTo>
                      <a:pt x="193" y="1064"/>
                    </a:lnTo>
                    <a:lnTo>
                      <a:pt x="195" y="1067"/>
                    </a:lnTo>
                    <a:lnTo>
                      <a:pt x="193" y="1071"/>
                    </a:lnTo>
                    <a:lnTo>
                      <a:pt x="198" y="1075"/>
                    </a:lnTo>
                    <a:lnTo>
                      <a:pt x="200" y="1078"/>
                    </a:lnTo>
                    <a:lnTo>
                      <a:pt x="200" y="1080"/>
                    </a:lnTo>
                    <a:lnTo>
                      <a:pt x="197" y="1086"/>
                    </a:lnTo>
                    <a:lnTo>
                      <a:pt x="200" y="1090"/>
                    </a:lnTo>
                    <a:lnTo>
                      <a:pt x="201" y="1093"/>
                    </a:lnTo>
                    <a:lnTo>
                      <a:pt x="201" y="1096"/>
                    </a:lnTo>
                    <a:lnTo>
                      <a:pt x="204" y="1096"/>
                    </a:lnTo>
                    <a:lnTo>
                      <a:pt x="209" y="1097"/>
                    </a:lnTo>
                    <a:lnTo>
                      <a:pt x="212" y="1097"/>
                    </a:lnTo>
                    <a:lnTo>
                      <a:pt x="216" y="1096"/>
                    </a:lnTo>
                    <a:lnTo>
                      <a:pt x="219" y="1097"/>
                    </a:lnTo>
                    <a:lnTo>
                      <a:pt x="223" y="1097"/>
                    </a:lnTo>
                    <a:lnTo>
                      <a:pt x="228" y="1102"/>
                    </a:lnTo>
                    <a:lnTo>
                      <a:pt x="225" y="1105"/>
                    </a:lnTo>
                    <a:lnTo>
                      <a:pt x="227" y="1110"/>
                    </a:lnTo>
                    <a:lnTo>
                      <a:pt x="223" y="1113"/>
                    </a:lnTo>
                    <a:lnTo>
                      <a:pt x="220" y="1112"/>
                    </a:lnTo>
                    <a:lnTo>
                      <a:pt x="217" y="1112"/>
                    </a:lnTo>
                    <a:lnTo>
                      <a:pt x="212" y="1112"/>
                    </a:lnTo>
                    <a:lnTo>
                      <a:pt x="209" y="1110"/>
                    </a:lnTo>
                    <a:lnTo>
                      <a:pt x="206" y="1112"/>
                    </a:lnTo>
                    <a:lnTo>
                      <a:pt x="203" y="1112"/>
                    </a:lnTo>
                    <a:lnTo>
                      <a:pt x="201" y="1115"/>
                    </a:lnTo>
                    <a:lnTo>
                      <a:pt x="206" y="1118"/>
                    </a:lnTo>
                    <a:lnTo>
                      <a:pt x="209" y="1118"/>
                    </a:lnTo>
                    <a:lnTo>
                      <a:pt x="212" y="1118"/>
                    </a:lnTo>
                    <a:lnTo>
                      <a:pt x="216" y="1120"/>
                    </a:lnTo>
                    <a:lnTo>
                      <a:pt x="220" y="1120"/>
                    </a:lnTo>
                    <a:lnTo>
                      <a:pt x="220" y="1121"/>
                    </a:lnTo>
                    <a:lnTo>
                      <a:pt x="223" y="1124"/>
                    </a:lnTo>
                    <a:lnTo>
                      <a:pt x="228" y="1128"/>
                    </a:lnTo>
                    <a:lnTo>
                      <a:pt x="231" y="1129"/>
                    </a:lnTo>
                    <a:lnTo>
                      <a:pt x="235" y="1134"/>
                    </a:lnTo>
                    <a:lnTo>
                      <a:pt x="230" y="1137"/>
                    </a:lnTo>
                    <a:lnTo>
                      <a:pt x="231" y="1140"/>
                    </a:lnTo>
                    <a:lnTo>
                      <a:pt x="230" y="1142"/>
                    </a:lnTo>
                    <a:lnTo>
                      <a:pt x="225" y="1142"/>
                    </a:lnTo>
                    <a:lnTo>
                      <a:pt x="223" y="1145"/>
                    </a:lnTo>
                    <a:lnTo>
                      <a:pt x="225" y="1148"/>
                    </a:lnTo>
                    <a:lnTo>
                      <a:pt x="227" y="1153"/>
                    </a:lnTo>
                    <a:lnTo>
                      <a:pt x="228" y="1155"/>
                    </a:lnTo>
                    <a:lnTo>
                      <a:pt x="231" y="1156"/>
                    </a:lnTo>
                    <a:lnTo>
                      <a:pt x="233" y="1159"/>
                    </a:lnTo>
                    <a:lnTo>
                      <a:pt x="233" y="1161"/>
                    </a:lnTo>
                    <a:lnTo>
                      <a:pt x="231" y="1166"/>
                    </a:lnTo>
                    <a:lnTo>
                      <a:pt x="228" y="1166"/>
                    </a:lnTo>
                    <a:lnTo>
                      <a:pt x="235" y="1172"/>
                    </a:lnTo>
                    <a:lnTo>
                      <a:pt x="238" y="1178"/>
                    </a:lnTo>
                    <a:lnTo>
                      <a:pt x="241" y="1182"/>
                    </a:lnTo>
                    <a:lnTo>
                      <a:pt x="241" y="1183"/>
                    </a:lnTo>
                    <a:lnTo>
                      <a:pt x="243" y="1183"/>
                    </a:lnTo>
                    <a:lnTo>
                      <a:pt x="244" y="1186"/>
                    </a:lnTo>
                    <a:lnTo>
                      <a:pt x="243" y="1191"/>
                    </a:lnTo>
                    <a:lnTo>
                      <a:pt x="238" y="1193"/>
                    </a:lnTo>
                    <a:lnTo>
                      <a:pt x="239" y="1197"/>
                    </a:lnTo>
                    <a:lnTo>
                      <a:pt x="241" y="1201"/>
                    </a:lnTo>
                    <a:lnTo>
                      <a:pt x="239" y="1204"/>
                    </a:lnTo>
                    <a:lnTo>
                      <a:pt x="244" y="1205"/>
                    </a:lnTo>
                    <a:lnTo>
                      <a:pt x="247" y="1208"/>
                    </a:lnTo>
                    <a:lnTo>
                      <a:pt x="247" y="1208"/>
                    </a:lnTo>
                    <a:lnTo>
                      <a:pt x="243" y="1210"/>
                    </a:lnTo>
                    <a:lnTo>
                      <a:pt x="243" y="1212"/>
                    </a:lnTo>
                    <a:lnTo>
                      <a:pt x="243" y="1213"/>
                    </a:lnTo>
                    <a:lnTo>
                      <a:pt x="241" y="1216"/>
                    </a:lnTo>
                    <a:lnTo>
                      <a:pt x="238" y="1218"/>
                    </a:lnTo>
                    <a:lnTo>
                      <a:pt x="238" y="1221"/>
                    </a:lnTo>
                    <a:lnTo>
                      <a:pt x="238" y="1224"/>
                    </a:lnTo>
                    <a:lnTo>
                      <a:pt x="238" y="1228"/>
                    </a:lnTo>
                    <a:lnTo>
                      <a:pt x="238" y="1232"/>
                    </a:lnTo>
                    <a:lnTo>
                      <a:pt x="238" y="1235"/>
                    </a:lnTo>
                    <a:lnTo>
                      <a:pt x="238" y="1239"/>
                    </a:lnTo>
                    <a:lnTo>
                      <a:pt x="243" y="1242"/>
                    </a:lnTo>
                    <a:lnTo>
                      <a:pt x="246" y="1245"/>
                    </a:lnTo>
                    <a:lnTo>
                      <a:pt x="249" y="1248"/>
                    </a:lnTo>
                    <a:lnTo>
                      <a:pt x="252" y="1253"/>
                    </a:lnTo>
                    <a:lnTo>
                      <a:pt x="249" y="1258"/>
                    </a:lnTo>
                    <a:lnTo>
                      <a:pt x="246" y="1259"/>
                    </a:lnTo>
                    <a:lnTo>
                      <a:pt x="244" y="1261"/>
                    </a:lnTo>
                    <a:lnTo>
                      <a:pt x="247" y="1264"/>
                    </a:lnTo>
                    <a:lnTo>
                      <a:pt x="249" y="1267"/>
                    </a:lnTo>
                    <a:lnTo>
                      <a:pt x="250" y="1270"/>
                    </a:lnTo>
                    <a:lnTo>
                      <a:pt x="250" y="1273"/>
                    </a:lnTo>
                    <a:lnTo>
                      <a:pt x="249" y="1277"/>
                    </a:lnTo>
                    <a:lnTo>
                      <a:pt x="246" y="1278"/>
                    </a:lnTo>
                    <a:lnTo>
                      <a:pt x="243" y="1280"/>
                    </a:lnTo>
                    <a:lnTo>
                      <a:pt x="239" y="1283"/>
                    </a:lnTo>
                    <a:lnTo>
                      <a:pt x="241" y="1286"/>
                    </a:lnTo>
                    <a:lnTo>
                      <a:pt x="239" y="1289"/>
                    </a:lnTo>
                    <a:lnTo>
                      <a:pt x="239" y="1291"/>
                    </a:lnTo>
                    <a:lnTo>
                      <a:pt x="236" y="1293"/>
                    </a:lnTo>
                    <a:lnTo>
                      <a:pt x="233" y="1293"/>
                    </a:lnTo>
                    <a:lnTo>
                      <a:pt x="233" y="1297"/>
                    </a:lnTo>
                    <a:lnTo>
                      <a:pt x="233" y="1300"/>
                    </a:lnTo>
                    <a:lnTo>
                      <a:pt x="233" y="1304"/>
                    </a:lnTo>
                    <a:lnTo>
                      <a:pt x="236" y="1307"/>
                    </a:lnTo>
                    <a:lnTo>
                      <a:pt x="239" y="1310"/>
                    </a:lnTo>
                    <a:lnTo>
                      <a:pt x="239" y="1315"/>
                    </a:lnTo>
                    <a:lnTo>
                      <a:pt x="239" y="1318"/>
                    </a:lnTo>
                    <a:lnTo>
                      <a:pt x="243" y="1319"/>
                    </a:lnTo>
                    <a:lnTo>
                      <a:pt x="244" y="1321"/>
                    </a:lnTo>
                    <a:lnTo>
                      <a:pt x="244" y="1324"/>
                    </a:lnTo>
                    <a:lnTo>
                      <a:pt x="247" y="1327"/>
                    </a:lnTo>
                    <a:lnTo>
                      <a:pt x="250" y="1329"/>
                    </a:lnTo>
                    <a:lnTo>
                      <a:pt x="254" y="1332"/>
                    </a:lnTo>
                    <a:lnTo>
                      <a:pt x="257" y="1335"/>
                    </a:lnTo>
                    <a:lnTo>
                      <a:pt x="262" y="1342"/>
                    </a:lnTo>
                    <a:lnTo>
                      <a:pt x="265" y="1345"/>
                    </a:lnTo>
                    <a:lnTo>
                      <a:pt x="266" y="1350"/>
                    </a:lnTo>
                    <a:lnTo>
                      <a:pt x="269" y="1351"/>
                    </a:lnTo>
                    <a:lnTo>
                      <a:pt x="273" y="1348"/>
                    </a:lnTo>
                    <a:lnTo>
                      <a:pt x="277" y="1345"/>
                    </a:lnTo>
                    <a:lnTo>
                      <a:pt x="281" y="1346"/>
                    </a:lnTo>
                    <a:lnTo>
                      <a:pt x="284" y="1346"/>
                    </a:lnTo>
                    <a:lnTo>
                      <a:pt x="287" y="1345"/>
                    </a:lnTo>
                    <a:lnTo>
                      <a:pt x="292" y="1346"/>
                    </a:lnTo>
                    <a:lnTo>
                      <a:pt x="293" y="1348"/>
                    </a:lnTo>
                    <a:lnTo>
                      <a:pt x="295" y="1351"/>
                    </a:lnTo>
                    <a:lnTo>
                      <a:pt x="298" y="1356"/>
                    </a:lnTo>
                    <a:lnTo>
                      <a:pt x="300" y="1359"/>
                    </a:lnTo>
                    <a:lnTo>
                      <a:pt x="298" y="1362"/>
                    </a:lnTo>
                    <a:lnTo>
                      <a:pt x="300" y="1365"/>
                    </a:lnTo>
                    <a:lnTo>
                      <a:pt x="303" y="1367"/>
                    </a:lnTo>
                    <a:lnTo>
                      <a:pt x="306" y="1370"/>
                    </a:lnTo>
                    <a:lnTo>
                      <a:pt x="304" y="1372"/>
                    </a:lnTo>
                    <a:lnTo>
                      <a:pt x="306" y="1375"/>
                    </a:lnTo>
                    <a:lnTo>
                      <a:pt x="308" y="1378"/>
                    </a:lnTo>
                    <a:lnTo>
                      <a:pt x="306" y="1381"/>
                    </a:lnTo>
                    <a:lnTo>
                      <a:pt x="309" y="1383"/>
                    </a:lnTo>
                    <a:lnTo>
                      <a:pt x="312" y="1386"/>
                    </a:lnTo>
                    <a:lnTo>
                      <a:pt x="312" y="1388"/>
                    </a:lnTo>
                    <a:lnTo>
                      <a:pt x="317" y="1388"/>
                    </a:lnTo>
                    <a:lnTo>
                      <a:pt x="320" y="1389"/>
                    </a:lnTo>
                    <a:lnTo>
                      <a:pt x="323" y="1392"/>
                    </a:lnTo>
                    <a:lnTo>
                      <a:pt x="327" y="1394"/>
                    </a:lnTo>
                    <a:lnTo>
                      <a:pt x="328" y="1399"/>
                    </a:lnTo>
                    <a:lnTo>
                      <a:pt x="330" y="1399"/>
                    </a:lnTo>
                    <a:lnTo>
                      <a:pt x="347" y="1399"/>
                    </a:lnTo>
                    <a:lnTo>
                      <a:pt x="363" y="1399"/>
                    </a:lnTo>
                    <a:lnTo>
                      <a:pt x="380" y="1399"/>
                    </a:lnTo>
                    <a:lnTo>
                      <a:pt x="396" y="1400"/>
                    </a:lnTo>
                    <a:lnTo>
                      <a:pt x="400" y="1402"/>
                    </a:lnTo>
                    <a:lnTo>
                      <a:pt x="403" y="1404"/>
                    </a:lnTo>
                    <a:lnTo>
                      <a:pt x="406" y="1404"/>
                    </a:lnTo>
                    <a:lnTo>
                      <a:pt x="409" y="1405"/>
                    </a:lnTo>
                    <a:lnTo>
                      <a:pt x="417" y="1405"/>
                    </a:lnTo>
                    <a:lnTo>
                      <a:pt x="420" y="1407"/>
                    </a:lnTo>
                    <a:lnTo>
                      <a:pt x="422" y="1407"/>
                    </a:lnTo>
                    <a:lnTo>
                      <a:pt x="425" y="1408"/>
                    </a:lnTo>
                    <a:lnTo>
                      <a:pt x="428" y="1408"/>
                    </a:lnTo>
                    <a:lnTo>
                      <a:pt x="428" y="1410"/>
                    </a:lnTo>
                    <a:lnTo>
                      <a:pt x="434" y="1410"/>
                    </a:lnTo>
                    <a:lnTo>
                      <a:pt x="441" y="1411"/>
                    </a:lnTo>
                    <a:lnTo>
                      <a:pt x="436" y="1411"/>
                    </a:lnTo>
                    <a:lnTo>
                      <a:pt x="430" y="1411"/>
                    </a:lnTo>
                    <a:lnTo>
                      <a:pt x="425" y="1410"/>
                    </a:lnTo>
                    <a:lnTo>
                      <a:pt x="422" y="1408"/>
                    </a:lnTo>
                    <a:lnTo>
                      <a:pt x="417" y="1407"/>
                    </a:lnTo>
                    <a:lnTo>
                      <a:pt x="412" y="1408"/>
                    </a:lnTo>
                    <a:lnTo>
                      <a:pt x="411" y="1413"/>
                    </a:lnTo>
                    <a:lnTo>
                      <a:pt x="411" y="1416"/>
                    </a:lnTo>
                    <a:lnTo>
                      <a:pt x="411" y="1416"/>
                    </a:lnTo>
                    <a:lnTo>
                      <a:pt x="411" y="1418"/>
                    </a:lnTo>
                    <a:lnTo>
                      <a:pt x="411" y="1418"/>
                    </a:lnTo>
                    <a:lnTo>
                      <a:pt x="411" y="1418"/>
                    </a:lnTo>
                    <a:lnTo>
                      <a:pt x="406" y="1419"/>
                    </a:lnTo>
                    <a:lnTo>
                      <a:pt x="403" y="1418"/>
                    </a:lnTo>
                    <a:lnTo>
                      <a:pt x="400" y="1421"/>
                    </a:lnTo>
                    <a:lnTo>
                      <a:pt x="398" y="1421"/>
                    </a:lnTo>
                    <a:lnTo>
                      <a:pt x="395" y="1424"/>
                    </a:lnTo>
                    <a:lnTo>
                      <a:pt x="392" y="1424"/>
                    </a:lnTo>
                    <a:lnTo>
                      <a:pt x="387" y="1426"/>
                    </a:lnTo>
                    <a:lnTo>
                      <a:pt x="384" y="1426"/>
                    </a:lnTo>
                    <a:lnTo>
                      <a:pt x="380" y="1427"/>
                    </a:lnTo>
                    <a:lnTo>
                      <a:pt x="377" y="1427"/>
                    </a:lnTo>
                    <a:lnTo>
                      <a:pt x="384" y="1442"/>
                    </a:lnTo>
                    <a:lnTo>
                      <a:pt x="384" y="1450"/>
                    </a:lnTo>
                    <a:lnTo>
                      <a:pt x="385" y="1453"/>
                    </a:lnTo>
                    <a:lnTo>
                      <a:pt x="387" y="1456"/>
                    </a:lnTo>
                    <a:lnTo>
                      <a:pt x="390" y="1459"/>
                    </a:lnTo>
                    <a:lnTo>
                      <a:pt x="392" y="1464"/>
                    </a:lnTo>
                    <a:lnTo>
                      <a:pt x="393" y="1467"/>
                    </a:lnTo>
                    <a:lnTo>
                      <a:pt x="392" y="1470"/>
                    </a:lnTo>
                    <a:lnTo>
                      <a:pt x="388" y="1472"/>
                    </a:lnTo>
                    <a:lnTo>
                      <a:pt x="385" y="1473"/>
                    </a:lnTo>
                    <a:lnTo>
                      <a:pt x="382" y="1472"/>
                    </a:lnTo>
                    <a:lnTo>
                      <a:pt x="379" y="1470"/>
                    </a:lnTo>
                    <a:lnTo>
                      <a:pt x="374" y="1470"/>
                    </a:lnTo>
                    <a:lnTo>
                      <a:pt x="371" y="1469"/>
                    </a:lnTo>
                    <a:lnTo>
                      <a:pt x="368" y="1469"/>
                    </a:lnTo>
                    <a:lnTo>
                      <a:pt x="365" y="1467"/>
                    </a:lnTo>
                    <a:lnTo>
                      <a:pt x="360" y="1465"/>
                    </a:lnTo>
                    <a:lnTo>
                      <a:pt x="357" y="1465"/>
                    </a:lnTo>
                    <a:lnTo>
                      <a:pt x="354" y="1462"/>
                    </a:lnTo>
                    <a:lnTo>
                      <a:pt x="350" y="1461"/>
                    </a:lnTo>
                    <a:lnTo>
                      <a:pt x="346" y="1459"/>
                    </a:lnTo>
                    <a:lnTo>
                      <a:pt x="342" y="1456"/>
                    </a:lnTo>
                    <a:lnTo>
                      <a:pt x="341" y="1453"/>
                    </a:lnTo>
                    <a:lnTo>
                      <a:pt x="342" y="1450"/>
                    </a:lnTo>
                    <a:lnTo>
                      <a:pt x="346" y="1448"/>
                    </a:lnTo>
                    <a:lnTo>
                      <a:pt x="349" y="1450"/>
                    </a:lnTo>
                    <a:lnTo>
                      <a:pt x="352" y="1453"/>
                    </a:lnTo>
                    <a:lnTo>
                      <a:pt x="349" y="1456"/>
                    </a:lnTo>
                    <a:lnTo>
                      <a:pt x="354" y="1454"/>
                    </a:lnTo>
                    <a:lnTo>
                      <a:pt x="352" y="1451"/>
                    </a:lnTo>
                    <a:lnTo>
                      <a:pt x="354" y="1448"/>
                    </a:lnTo>
                    <a:lnTo>
                      <a:pt x="357" y="1450"/>
                    </a:lnTo>
                    <a:lnTo>
                      <a:pt x="360" y="1453"/>
                    </a:lnTo>
                    <a:lnTo>
                      <a:pt x="363" y="1456"/>
                    </a:lnTo>
                    <a:lnTo>
                      <a:pt x="360" y="1459"/>
                    </a:lnTo>
                    <a:lnTo>
                      <a:pt x="363" y="1457"/>
                    </a:lnTo>
                    <a:lnTo>
                      <a:pt x="361" y="1453"/>
                    </a:lnTo>
                    <a:lnTo>
                      <a:pt x="360" y="1450"/>
                    </a:lnTo>
                    <a:lnTo>
                      <a:pt x="361" y="1446"/>
                    </a:lnTo>
                    <a:lnTo>
                      <a:pt x="365" y="1443"/>
                    </a:lnTo>
                    <a:lnTo>
                      <a:pt x="369" y="1443"/>
                    </a:lnTo>
                    <a:lnTo>
                      <a:pt x="369" y="1440"/>
                    </a:lnTo>
                    <a:lnTo>
                      <a:pt x="371" y="1435"/>
                    </a:lnTo>
                    <a:lnTo>
                      <a:pt x="371" y="1432"/>
                    </a:lnTo>
                    <a:lnTo>
                      <a:pt x="368" y="1430"/>
                    </a:lnTo>
                    <a:lnTo>
                      <a:pt x="363" y="1430"/>
                    </a:lnTo>
                    <a:lnTo>
                      <a:pt x="360" y="1427"/>
                    </a:lnTo>
                    <a:lnTo>
                      <a:pt x="360" y="1429"/>
                    </a:lnTo>
                    <a:lnTo>
                      <a:pt x="358" y="1432"/>
                    </a:lnTo>
                    <a:lnTo>
                      <a:pt x="352" y="1437"/>
                    </a:lnTo>
                    <a:lnTo>
                      <a:pt x="350" y="1440"/>
                    </a:lnTo>
                    <a:lnTo>
                      <a:pt x="347" y="1443"/>
                    </a:lnTo>
                    <a:lnTo>
                      <a:pt x="342" y="1442"/>
                    </a:lnTo>
                    <a:lnTo>
                      <a:pt x="339" y="1442"/>
                    </a:lnTo>
                    <a:lnTo>
                      <a:pt x="336" y="1440"/>
                    </a:lnTo>
                    <a:lnTo>
                      <a:pt x="333" y="1442"/>
                    </a:lnTo>
                    <a:lnTo>
                      <a:pt x="336" y="1442"/>
                    </a:lnTo>
                    <a:lnTo>
                      <a:pt x="339" y="1443"/>
                    </a:lnTo>
                    <a:lnTo>
                      <a:pt x="342" y="1446"/>
                    </a:lnTo>
                    <a:lnTo>
                      <a:pt x="339" y="1446"/>
                    </a:lnTo>
                    <a:lnTo>
                      <a:pt x="336" y="1446"/>
                    </a:lnTo>
                    <a:lnTo>
                      <a:pt x="336" y="1450"/>
                    </a:lnTo>
                    <a:lnTo>
                      <a:pt x="335" y="1453"/>
                    </a:lnTo>
                    <a:lnTo>
                      <a:pt x="339" y="1454"/>
                    </a:lnTo>
                    <a:lnTo>
                      <a:pt x="342" y="1456"/>
                    </a:lnTo>
                    <a:lnTo>
                      <a:pt x="346" y="1459"/>
                    </a:lnTo>
                    <a:lnTo>
                      <a:pt x="342" y="1459"/>
                    </a:lnTo>
                    <a:lnTo>
                      <a:pt x="339" y="1457"/>
                    </a:lnTo>
                    <a:lnTo>
                      <a:pt x="335" y="1456"/>
                    </a:lnTo>
                    <a:lnTo>
                      <a:pt x="331" y="1456"/>
                    </a:lnTo>
                    <a:lnTo>
                      <a:pt x="328" y="1453"/>
                    </a:lnTo>
                    <a:lnTo>
                      <a:pt x="319" y="1450"/>
                    </a:lnTo>
                    <a:lnTo>
                      <a:pt x="311" y="1445"/>
                    </a:lnTo>
                    <a:lnTo>
                      <a:pt x="314" y="1445"/>
                    </a:lnTo>
                    <a:lnTo>
                      <a:pt x="317" y="1445"/>
                    </a:lnTo>
                    <a:lnTo>
                      <a:pt x="322" y="1445"/>
                    </a:lnTo>
                    <a:lnTo>
                      <a:pt x="325" y="1446"/>
                    </a:lnTo>
                    <a:lnTo>
                      <a:pt x="328" y="1446"/>
                    </a:lnTo>
                    <a:lnTo>
                      <a:pt x="328" y="1443"/>
                    </a:lnTo>
                    <a:lnTo>
                      <a:pt x="323" y="1445"/>
                    </a:lnTo>
                    <a:lnTo>
                      <a:pt x="320" y="1442"/>
                    </a:lnTo>
                    <a:lnTo>
                      <a:pt x="319" y="1437"/>
                    </a:lnTo>
                    <a:lnTo>
                      <a:pt x="317" y="1434"/>
                    </a:lnTo>
                    <a:lnTo>
                      <a:pt x="317" y="1430"/>
                    </a:lnTo>
                    <a:lnTo>
                      <a:pt x="320" y="1427"/>
                    </a:lnTo>
                    <a:lnTo>
                      <a:pt x="323" y="1429"/>
                    </a:lnTo>
                    <a:lnTo>
                      <a:pt x="323" y="1432"/>
                    </a:lnTo>
                    <a:lnTo>
                      <a:pt x="327" y="1430"/>
                    </a:lnTo>
                    <a:lnTo>
                      <a:pt x="330" y="1432"/>
                    </a:lnTo>
                    <a:lnTo>
                      <a:pt x="333" y="1427"/>
                    </a:lnTo>
                    <a:lnTo>
                      <a:pt x="335" y="1424"/>
                    </a:lnTo>
                    <a:lnTo>
                      <a:pt x="341" y="1424"/>
                    </a:lnTo>
                    <a:lnTo>
                      <a:pt x="346" y="1426"/>
                    </a:lnTo>
                    <a:lnTo>
                      <a:pt x="350" y="1426"/>
                    </a:lnTo>
                    <a:lnTo>
                      <a:pt x="355" y="1424"/>
                    </a:lnTo>
                    <a:lnTo>
                      <a:pt x="352" y="1421"/>
                    </a:lnTo>
                    <a:lnTo>
                      <a:pt x="349" y="1421"/>
                    </a:lnTo>
                    <a:lnTo>
                      <a:pt x="346" y="1421"/>
                    </a:lnTo>
                    <a:lnTo>
                      <a:pt x="341" y="1419"/>
                    </a:lnTo>
                    <a:lnTo>
                      <a:pt x="338" y="1421"/>
                    </a:lnTo>
                    <a:lnTo>
                      <a:pt x="335" y="1419"/>
                    </a:lnTo>
                    <a:lnTo>
                      <a:pt x="331" y="1419"/>
                    </a:lnTo>
                    <a:lnTo>
                      <a:pt x="327" y="1421"/>
                    </a:lnTo>
                    <a:lnTo>
                      <a:pt x="327" y="1424"/>
                    </a:lnTo>
                    <a:lnTo>
                      <a:pt x="322" y="1421"/>
                    </a:lnTo>
                    <a:lnTo>
                      <a:pt x="325" y="1419"/>
                    </a:lnTo>
                    <a:lnTo>
                      <a:pt x="322" y="1419"/>
                    </a:lnTo>
                    <a:lnTo>
                      <a:pt x="319" y="1421"/>
                    </a:lnTo>
                    <a:lnTo>
                      <a:pt x="315" y="1421"/>
                    </a:lnTo>
                    <a:lnTo>
                      <a:pt x="312" y="1423"/>
                    </a:lnTo>
                    <a:lnTo>
                      <a:pt x="312" y="1426"/>
                    </a:lnTo>
                    <a:lnTo>
                      <a:pt x="315" y="1424"/>
                    </a:lnTo>
                    <a:lnTo>
                      <a:pt x="319" y="1426"/>
                    </a:lnTo>
                    <a:lnTo>
                      <a:pt x="317" y="1429"/>
                    </a:lnTo>
                    <a:lnTo>
                      <a:pt x="314" y="1430"/>
                    </a:lnTo>
                    <a:lnTo>
                      <a:pt x="315" y="1434"/>
                    </a:lnTo>
                    <a:lnTo>
                      <a:pt x="317" y="1437"/>
                    </a:lnTo>
                    <a:lnTo>
                      <a:pt x="317" y="1442"/>
                    </a:lnTo>
                    <a:lnTo>
                      <a:pt x="312" y="1442"/>
                    </a:lnTo>
                    <a:lnTo>
                      <a:pt x="309" y="1442"/>
                    </a:lnTo>
                    <a:lnTo>
                      <a:pt x="306" y="1440"/>
                    </a:lnTo>
                    <a:lnTo>
                      <a:pt x="304" y="1437"/>
                    </a:lnTo>
                    <a:lnTo>
                      <a:pt x="309" y="1434"/>
                    </a:lnTo>
                    <a:lnTo>
                      <a:pt x="304" y="1435"/>
                    </a:lnTo>
                    <a:lnTo>
                      <a:pt x="301" y="1432"/>
                    </a:lnTo>
                    <a:lnTo>
                      <a:pt x="298" y="1430"/>
                    </a:lnTo>
                    <a:lnTo>
                      <a:pt x="301" y="1430"/>
                    </a:lnTo>
                    <a:lnTo>
                      <a:pt x="304" y="1430"/>
                    </a:lnTo>
                    <a:lnTo>
                      <a:pt x="301" y="1427"/>
                    </a:lnTo>
                    <a:lnTo>
                      <a:pt x="304" y="1424"/>
                    </a:lnTo>
                    <a:lnTo>
                      <a:pt x="303" y="1421"/>
                    </a:lnTo>
                    <a:lnTo>
                      <a:pt x="308" y="1421"/>
                    </a:lnTo>
                    <a:lnTo>
                      <a:pt x="303" y="1419"/>
                    </a:lnTo>
                    <a:lnTo>
                      <a:pt x="308" y="1418"/>
                    </a:lnTo>
                    <a:lnTo>
                      <a:pt x="303" y="1418"/>
                    </a:lnTo>
                    <a:lnTo>
                      <a:pt x="300" y="1418"/>
                    </a:lnTo>
                    <a:lnTo>
                      <a:pt x="303" y="1423"/>
                    </a:lnTo>
                    <a:lnTo>
                      <a:pt x="301" y="1426"/>
                    </a:lnTo>
                    <a:lnTo>
                      <a:pt x="298" y="1423"/>
                    </a:lnTo>
                    <a:lnTo>
                      <a:pt x="295" y="1421"/>
                    </a:lnTo>
                    <a:lnTo>
                      <a:pt x="295" y="1426"/>
                    </a:lnTo>
                    <a:lnTo>
                      <a:pt x="292" y="1427"/>
                    </a:lnTo>
                    <a:lnTo>
                      <a:pt x="292" y="1424"/>
                    </a:lnTo>
                    <a:lnTo>
                      <a:pt x="289" y="1424"/>
                    </a:lnTo>
                    <a:lnTo>
                      <a:pt x="290" y="1421"/>
                    </a:lnTo>
                    <a:lnTo>
                      <a:pt x="289" y="1416"/>
                    </a:lnTo>
                    <a:lnTo>
                      <a:pt x="285" y="1413"/>
                    </a:lnTo>
                    <a:lnTo>
                      <a:pt x="284" y="1410"/>
                    </a:lnTo>
                    <a:lnTo>
                      <a:pt x="281" y="1407"/>
                    </a:lnTo>
                    <a:lnTo>
                      <a:pt x="277" y="1404"/>
                    </a:lnTo>
                    <a:lnTo>
                      <a:pt x="276" y="1400"/>
                    </a:lnTo>
                    <a:lnTo>
                      <a:pt x="279" y="1404"/>
                    </a:lnTo>
                    <a:lnTo>
                      <a:pt x="282" y="1407"/>
                    </a:lnTo>
                    <a:lnTo>
                      <a:pt x="285" y="1405"/>
                    </a:lnTo>
                    <a:lnTo>
                      <a:pt x="290" y="1408"/>
                    </a:lnTo>
                    <a:lnTo>
                      <a:pt x="293" y="1407"/>
                    </a:lnTo>
                    <a:lnTo>
                      <a:pt x="295" y="1404"/>
                    </a:lnTo>
                    <a:lnTo>
                      <a:pt x="298" y="1405"/>
                    </a:lnTo>
                    <a:lnTo>
                      <a:pt x="298" y="1408"/>
                    </a:lnTo>
                    <a:lnTo>
                      <a:pt x="303" y="1407"/>
                    </a:lnTo>
                    <a:lnTo>
                      <a:pt x="304" y="1407"/>
                    </a:lnTo>
                    <a:lnTo>
                      <a:pt x="306" y="1407"/>
                    </a:lnTo>
                    <a:lnTo>
                      <a:pt x="304" y="1404"/>
                    </a:lnTo>
                    <a:lnTo>
                      <a:pt x="304" y="1407"/>
                    </a:lnTo>
                    <a:lnTo>
                      <a:pt x="301" y="1404"/>
                    </a:lnTo>
                    <a:lnTo>
                      <a:pt x="301" y="1397"/>
                    </a:lnTo>
                    <a:lnTo>
                      <a:pt x="304" y="1399"/>
                    </a:lnTo>
                    <a:lnTo>
                      <a:pt x="306" y="1402"/>
                    </a:lnTo>
                    <a:lnTo>
                      <a:pt x="311" y="1404"/>
                    </a:lnTo>
                    <a:lnTo>
                      <a:pt x="314" y="1407"/>
                    </a:lnTo>
                    <a:lnTo>
                      <a:pt x="315" y="1410"/>
                    </a:lnTo>
                    <a:lnTo>
                      <a:pt x="312" y="1413"/>
                    </a:lnTo>
                    <a:lnTo>
                      <a:pt x="309" y="1416"/>
                    </a:lnTo>
                    <a:lnTo>
                      <a:pt x="314" y="1415"/>
                    </a:lnTo>
                    <a:lnTo>
                      <a:pt x="317" y="1416"/>
                    </a:lnTo>
                    <a:lnTo>
                      <a:pt x="320" y="1416"/>
                    </a:lnTo>
                    <a:lnTo>
                      <a:pt x="317" y="1413"/>
                    </a:lnTo>
                    <a:lnTo>
                      <a:pt x="317" y="1410"/>
                    </a:lnTo>
                    <a:lnTo>
                      <a:pt x="315" y="1407"/>
                    </a:lnTo>
                    <a:lnTo>
                      <a:pt x="312" y="1404"/>
                    </a:lnTo>
                    <a:lnTo>
                      <a:pt x="309" y="1402"/>
                    </a:lnTo>
                    <a:lnTo>
                      <a:pt x="308" y="1399"/>
                    </a:lnTo>
                    <a:lnTo>
                      <a:pt x="312" y="1397"/>
                    </a:lnTo>
                    <a:lnTo>
                      <a:pt x="309" y="1394"/>
                    </a:lnTo>
                    <a:lnTo>
                      <a:pt x="308" y="1389"/>
                    </a:lnTo>
                    <a:lnTo>
                      <a:pt x="304" y="1388"/>
                    </a:lnTo>
                    <a:lnTo>
                      <a:pt x="301" y="1384"/>
                    </a:lnTo>
                    <a:lnTo>
                      <a:pt x="293" y="1381"/>
                    </a:lnTo>
                    <a:lnTo>
                      <a:pt x="282" y="1377"/>
                    </a:lnTo>
                    <a:lnTo>
                      <a:pt x="281" y="1380"/>
                    </a:lnTo>
                    <a:lnTo>
                      <a:pt x="293" y="1383"/>
                    </a:lnTo>
                    <a:lnTo>
                      <a:pt x="306" y="1389"/>
                    </a:lnTo>
                    <a:lnTo>
                      <a:pt x="304" y="1392"/>
                    </a:lnTo>
                    <a:lnTo>
                      <a:pt x="301" y="1392"/>
                    </a:lnTo>
                    <a:lnTo>
                      <a:pt x="298" y="1391"/>
                    </a:lnTo>
                    <a:lnTo>
                      <a:pt x="295" y="1389"/>
                    </a:lnTo>
                    <a:lnTo>
                      <a:pt x="292" y="1388"/>
                    </a:lnTo>
                    <a:lnTo>
                      <a:pt x="287" y="1388"/>
                    </a:lnTo>
                    <a:lnTo>
                      <a:pt x="284" y="1384"/>
                    </a:lnTo>
                    <a:lnTo>
                      <a:pt x="281" y="1384"/>
                    </a:lnTo>
                    <a:lnTo>
                      <a:pt x="284" y="1388"/>
                    </a:lnTo>
                    <a:lnTo>
                      <a:pt x="287" y="1388"/>
                    </a:lnTo>
                    <a:lnTo>
                      <a:pt x="290" y="1391"/>
                    </a:lnTo>
                    <a:lnTo>
                      <a:pt x="290" y="1394"/>
                    </a:lnTo>
                    <a:lnTo>
                      <a:pt x="293" y="1396"/>
                    </a:lnTo>
                    <a:lnTo>
                      <a:pt x="292" y="1399"/>
                    </a:lnTo>
                    <a:lnTo>
                      <a:pt x="290" y="1402"/>
                    </a:lnTo>
                    <a:lnTo>
                      <a:pt x="289" y="1399"/>
                    </a:lnTo>
                    <a:lnTo>
                      <a:pt x="285" y="1396"/>
                    </a:lnTo>
                    <a:lnTo>
                      <a:pt x="284" y="1391"/>
                    </a:lnTo>
                    <a:lnTo>
                      <a:pt x="281" y="1388"/>
                    </a:lnTo>
                    <a:lnTo>
                      <a:pt x="282" y="1391"/>
                    </a:lnTo>
                    <a:lnTo>
                      <a:pt x="284" y="1396"/>
                    </a:lnTo>
                    <a:lnTo>
                      <a:pt x="287" y="1399"/>
                    </a:lnTo>
                    <a:lnTo>
                      <a:pt x="289" y="1402"/>
                    </a:lnTo>
                    <a:lnTo>
                      <a:pt x="289" y="1405"/>
                    </a:lnTo>
                    <a:lnTo>
                      <a:pt x="285" y="1404"/>
                    </a:lnTo>
                    <a:lnTo>
                      <a:pt x="281" y="1402"/>
                    </a:lnTo>
                    <a:lnTo>
                      <a:pt x="277" y="1399"/>
                    </a:lnTo>
                    <a:lnTo>
                      <a:pt x="274" y="1392"/>
                    </a:lnTo>
                    <a:lnTo>
                      <a:pt x="277" y="1394"/>
                    </a:lnTo>
                    <a:lnTo>
                      <a:pt x="281" y="1397"/>
                    </a:lnTo>
                    <a:lnTo>
                      <a:pt x="279" y="1394"/>
                    </a:lnTo>
                    <a:lnTo>
                      <a:pt x="274" y="1391"/>
                    </a:lnTo>
                    <a:lnTo>
                      <a:pt x="274" y="1388"/>
                    </a:lnTo>
                    <a:lnTo>
                      <a:pt x="271" y="1388"/>
                    </a:lnTo>
                    <a:lnTo>
                      <a:pt x="268" y="1389"/>
                    </a:lnTo>
                    <a:lnTo>
                      <a:pt x="266" y="1384"/>
                    </a:lnTo>
                    <a:lnTo>
                      <a:pt x="263" y="1384"/>
                    </a:lnTo>
                    <a:lnTo>
                      <a:pt x="262" y="1381"/>
                    </a:lnTo>
                    <a:lnTo>
                      <a:pt x="258" y="1378"/>
                    </a:lnTo>
                    <a:lnTo>
                      <a:pt x="257" y="1375"/>
                    </a:lnTo>
                    <a:lnTo>
                      <a:pt x="260" y="1375"/>
                    </a:lnTo>
                    <a:lnTo>
                      <a:pt x="263" y="1378"/>
                    </a:lnTo>
                    <a:lnTo>
                      <a:pt x="266" y="1381"/>
                    </a:lnTo>
                    <a:lnTo>
                      <a:pt x="271" y="1384"/>
                    </a:lnTo>
                    <a:lnTo>
                      <a:pt x="268" y="1381"/>
                    </a:lnTo>
                    <a:lnTo>
                      <a:pt x="266" y="1378"/>
                    </a:lnTo>
                    <a:lnTo>
                      <a:pt x="263" y="1375"/>
                    </a:lnTo>
                    <a:lnTo>
                      <a:pt x="262" y="1372"/>
                    </a:lnTo>
                    <a:lnTo>
                      <a:pt x="258" y="1367"/>
                    </a:lnTo>
                    <a:lnTo>
                      <a:pt x="262" y="1370"/>
                    </a:lnTo>
                    <a:lnTo>
                      <a:pt x="260" y="1367"/>
                    </a:lnTo>
                    <a:lnTo>
                      <a:pt x="257" y="1365"/>
                    </a:lnTo>
                    <a:lnTo>
                      <a:pt x="255" y="1369"/>
                    </a:lnTo>
                    <a:lnTo>
                      <a:pt x="252" y="1367"/>
                    </a:lnTo>
                    <a:lnTo>
                      <a:pt x="247" y="1365"/>
                    </a:lnTo>
                    <a:lnTo>
                      <a:pt x="249" y="1369"/>
                    </a:lnTo>
                    <a:lnTo>
                      <a:pt x="246" y="1367"/>
                    </a:lnTo>
                    <a:lnTo>
                      <a:pt x="244" y="1364"/>
                    </a:lnTo>
                    <a:lnTo>
                      <a:pt x="243" y="1359"/>
                    </a:lnTo>
                    <a:lnTo>
                      <a:pt x="239" y="1358"/>
                    </a:lnTo>
                    <a:lnTo>
                      <a:pt x="239" y="1354"/>
                    </a:lnTo>
                    <a:lnTo>
                      <a:pt x="243" y="1356"/>
                    </a:lnTo>
                    <a:lnTo>
                      <a:pt x="246" y="1354"/>
                    </a:lnTo>
                    <a:lnTo>
                      <a:pt x="249" y="1356"/>
                    </a:lnTo>
                    <a:lnTo>
                      <a:pt x="247" y="1351"/>
                    </a:lnTo>
                    <a:lnTo>
                      <a:pt x="250" y="1353"/>
                    </a:lnTo>
                    <a:lnTo>
                      <a:pt x="249" y="1350"/>
                    </a:lnTo>
                    <a:lnTo>
                      <a:pt x="249" y="1346"/>
                    </a:lnTo>
                    <a:lnTo>
                      <a:pt x="254" y="1345"/>
                    </a:lnTo>
                    <a:lnTo>
                      <a:pt x="249" y="1345"/>
                    </a:lnTo>
                    <a:lnTo>
                      <a:pt x="246" y="1342"/>
                    </a:lnTo>
                    <a:lnTo>
                      <a:pt x="247" y="1337"/>
                    </a:lnTo>
                    <a:lnTo>
                      <a:pt x="246" y="1340"/>
                    </a:lnTo>
                    <a:lnTo>
                      <a:pt x="244" y="1343"/>
                    </a:lnTo>
                    <a:lnTo>
                      <a:pt x="246" y="1348"/>
                    </a:lnTo>
                    <a:lnTo>
                      <a:pt x="247" y="1351"/>
                    </a:lnTo>
                    <a:lnTo>
                      <a:pt x="243" y="1353"/>
                    </a:lnTo>
                    <a:lnTo>
                      <a:pt x="239" y="1351"/>
                    </a:lnTo>
                    <a:lnTo>
                      <a:pt x="236" y="1350"/>
                    </a:lnTo>
                    <a:lnTo>
                      <a:pt x="233" y="1345"/>
                    </a:lnTo>
                    <a:lnTo>
                      <a:pt x="231" y="1342"/>
                    </a:lnTo>
                    <a:lnTo>
                      <a:pt x="228" y="1339"/>
                    </a:lnTo>
                    <a:lnTo>
                      <a:pt x="231" y="1340"/>
                    </a:lnTo>
                    <a:lnTo>
                      <a:pt x="235" y="1343"/>
                    </a:lnTo>
                    <a:lnTo>
                      <a:pt x="231" y="1340"/>
                    </a:lnTo>
                    <a:lnTo>
                      <a:pt x="235" y="1342"/>
                    </a:lnTo>
                    <a:lnTo>
                      <a:pt x="239" y="1342"/>
                    </a:lnTo>
                    <a:lnTo>
                      <a:pt x="235" y="1339"/>
                    </a:lnTo>
                    <a:lnTo>
                      <a:pt x="231" y="1335"/>
                    </a:lnTo>
                    <a:lnTo>
                      <a:pt x="228" y="1337"/>
                    </a:lnTo>
                    <a:lnTo>
                      <a:pt x="225" y="1335"/>
                    </a:lnTo>
                    <a:lnTo>
                      <a:pt x="223" y="1332"/>
                    </a:lnTo>
                    <a:lnTo>
                      <a:pt x="223" y="1335"/>
                    </a:lnTo>
                    <a:lnTo>
                      <a:pt x="219" y="1334"/>
                    </a:lnTo>
                    <a:lnTo>
                      <a:pt x="216" y="1331"/>
                    </a:lnTo>
                    <a:lnTo>
                      <a:pt x="212" y="1329"/>
                    </a:lnTo>
                    <a:lnTo>
                      <a:pt x="209" y="1327"/>
                    </a:lnTo>
                    <a:lnTo>
                      <a:pt x="212" y="1324"/>
                    </a:lnTo>
                    <a:lnTo>
                      <a:pt x="216" y="1324"/>
                    </a:lnTo>
                    <a:lnTo>
                      <a:pt x="219" y="1324"/>
                    </a:lnTo>
                    <a:lnTo>
                      <a:pt x="223" y="1327"/>
                    </a:lnTo>
                    <a:lnTo>
                      <a:pt x="227" y="1331"/>
                    </a:lnTo>
                    <a:lnTo>
                      <a:pt x="230" y="1331"/>
                    </a:lnTo>
                    <a:lnTo>
                      <a:pt x="233" y="1332"/>
                    </a:lnTo>
                    <a:lnTo>
                      <a:pt x="238" y="1332"/>
                    </a:lnTo>
                    <a:lnTo>
                      <a:pt x="233" y="1331"/>
                    </a:lnTo>
                    <a:lnTo>
                      <a:pt x="230" y="1329"/>
                    </a:lnTo>
                    <a:lnTo>
                      <a:pt x="227" y="1329"/>
                    </a:lnTo>
                    <a:lnTo>
                      <a:pt x="223" y="1326"/>
                    </a:lnTo>
                    <a:lnTo>
                      <a:pt x="219" y="1323"/>
                    </a:lnTo>
                    <a:lnTo>
                      <a:pt x="216" y="1321"/>
                    </a:lnTo>
                    <a:lnTo>
                      <a:pt x="216" y="1318"/>
                    </a:lnTo>
                    <a:lnTo>
                      <a:pt x="219" y="1318"/>
                    </a:lnTo>
                    <a:lnTo>
                      <a:pt x="222" y="1321"/>
                    </a:lnTo>
                    <a:lnTo>
                      <a:pt x="223" y="1321"/>
                    </a:lnTo>
                    <a:lnTo>
                      <a:pt x="227" y="1321"/>
                    </a:lnTo>
                    <a:lnTo>
                      <a:pt x="230" y="1321"/>
                    </a:lnTo>
                    <a:lnTo>
                      <a:pt x="227" y="1321"/>
                    </a:lnTo>
                    <a:lnTo>
                      <a:pt x="227" y="1319"/>
                    </a:lnTo>
                    <a:lnTo>
                      <a:pt x="228" y="1316"/>
                    </a:lnTo>
                    <a:lnTo>
                      <a:pt x="225" y="1319"/>
                    </a:lnTo>
                    <a:lnTo>
                      <a:pt x="222" y="1316"/>
                    </a:lnTo>
                    <a:lnTo>
                      <a:pt x="219" y="1316"/>
                    </a:lnTo>
                    <a:lnTo>
                      <a:pt x="214" y="1315"/>
                    </a:lnTo>
                    <a:lnTo>
                      <a:pt x="216" y="1312"/>
                    </a:lnTo>
                    <a:lnTo>
                      <a:pt x="219" y="1310"/>
                    </a:lnTo>
                    <a:lnTo>
                      <a:pt x="216" y="1310"/>
                    </a:lnTo>
                    <a:lnTo>
                      <a:pt x="212" y="1308"/>
                    </a:lnTo>
                    <a:lnTo>
                      <a:pt x="211" y="1305"/>
                    </a:lnTo>
                    <a:lnTo>
                      <a:pt x="216" y="1304"/>
                    </a:lnTo>
                    <a:lnTo>
                      <a:pt x="217" y="1302"/>
                    </a:lnTo>
                    <a:lnTo>
                      <a:pt x="220" y="1302"/>
                    </a:lnTo>
                    <a:lnTo>
                      <a:pt x="222" y="1304"/>
                    </a:lnTo>
                    <a:lnTo>
                      <a:pt x="225" y="1307"/>
                    </a:lnTo>
                    <a:lnTo>
                      <a:pt x="231" y="1310"/>
                    </a:lnTo>
                    <a:lnTo>
                      <a:pt x="228" y="1307"/>
                    </a:lnTo>
                    <a:lnTo>
                      <a:pt x="223" y="1305"/>
                    </a:lnTo>
                    <a:lnTo>
                      <a:pt x="222" y="1300"/>
                    </a:lnTo>
                    <a:lnTo>
                      <a:pt x="219" y="1300"/>
                    </a:lnTo>
                    <a:lnTo>
                      <a:pt x="214" y="1300"/>
                    </a:lnTo>
                    <a:lnTo>
                      <a:pt x="212" y="1296"/>
                    </a:lnTo>
                    <a:lnTo>
                      <a:pt x="216" y="1293"/>
                    </a:lnTo>
                    <a:lnTo>
                      <a:pt x="219" y="1294"/>
                    </a:lnTo>
                    <a:lnTo>
                      <a:pt x="216" y="1293"/>
                    </a:lnTo>
                    <a:lnTo>
                      <a:pt x="214" y="1289"/>
                    </a:lnTo>
                    <a:lnTo>
                      <a:pt x="211" y="1285"/>
                    </a:lnTo>
                    <a:lnTo>
                      <a:pt x="212" y="1281"/>
                    </a:lnTo>
                    <a:lnTo>
                      <a:pt x="216" y="1283"/>
                    </a:lnTo>
                    <a:lnTo>
                      <a:pt x="212" y="1281"/>
                    </a:lnTo>
                    <a:lnTo>
                      <a:pt x="209" y="1283"/>
                    </a:lnTo>
                    <a:lnTo>
                      <a:pt x="211" y="1286"/>
                    </a:lnTo>
                    <a:lnTo>
                      <a:pt x="209" y="1291"/>
                    </a:lnTo>
                    <a:lnTo>
                      <a:pt x="211" y="1294"/>
                    </a:lnTo>
                    <a:lnTo>
                      <a:pt x="211" y="1297"/>
                    </a:lnTo>
                    <a:lnTo>
                      <a:pt x="209" y="1300"/>
                    </a:lnTo>
                    <a:lnTo>
                      <a:pt x="206" y="1297"/>
                    </a:lnTo>
                    <a:lnTo>
                      <a:pt x="203" y="1296"/>
                    </a:lnTo>
                    <a:lnTo>
                      <a:pt x="201" y="1291"/>
                    </a:lnTo>
                    <a:lnTo>
                      <a:pt x="201" y="1288"/>
                    </a:lnTo>
                    <a:lnTo>
                      <a:pt x="198" y="1285"/>
                    </a:lnTo>
                    <a:lnTo>
                      <a:pt x="197" y="1281"/>
                    </a:lnTo>
                    <a:lnTo>
                      <a:pt x="197" y="1278"/>
                    </a:lnTo>
                    <a:lnTo>
                      <a:pt x="193" y="1275"/>
                    </a:lnTo>
                    <a:lnTo>
                      <a:pt x="192" y="1272"/>
                    </a:lnTo>
                    <a:lnTo>
                      <a:pt x="197" y="1270"/>
                    </a:lnTo>
                    <a:lnTo>
                      <a:pt x="200" y="1270"/>
                    </a:lnTo>
                    <a:lnTo>
                      <a:pt x="203" y="1270"/>
                    </a:lnTo>
                    <a:lnTo>
                      <a:pt x="203" y="1270"/>
                    </a:lnTo>
                    <a:lnTo>
                      <a:pt x="198" y="1269"/>
                    </a:lnTo>
                    <a:lnTo>
                      <a:pt x="195" y="1270"/>
                    </a:lnTo>
                    <a:lnTo>
                      <a:pt x="192" y="1267"/>
                    </a:lnTo>
                    <a:lnTo>
                      <a:pt x="190" y="1264"/>
                    </a:lnTo>
                    <a:lnTo>
                      <a:pt x="193" y="1261"/>
                    </a:lnTo>
                    <a:lnTo>
                      <a:pt x="197" y="1261"/>
                    </a:lnTo>
                    <a:lnTo>
                      <a:pt x="200" y="1262"/>
                    </a:lnTo>
                    <a:lnTo>
                      <a:pt x="203" y="1264"/>
                    </a:lnTo>
                    <a:lnTo>
                      <a:pt x="200" y="1261"/>
                    </a:lnTo>
                    <a:lnTo>
                      <a:pt x="201" y="1258"/>
                    </a:lnTo>
                    <a:lnTo>
                      <a:pt x="198" y="1258"/>
                    </a:lnTo>
                    <a:lnTo>
                      <a:pt x="193" y="1256"/>
                    </a:lnTo>
                    <a:lnTo>
                      <a:pt x="190" y="1254"/>
                    </a:lnTo>
                    <a:lnTo>
                      <a:pt x="193" y="1253"/>
                    </a:lnTo>
                    <a:lnTo>
                      <a:pt x="190" y="1254"/>
                    </a:lnTo>
                    <a:lnTo>
                      <a:pt x="187" y="1251"/>
                    </a:lnTo>
                    <a:lnTo>
                      <a:pt x="179" y="1247"/>
                    </a:lnTo>
                    <a:lnTo>
                      <a:pt x="176" y="1243"/>
                    </a:lnTo>
                    <a:lnTo>
                      <a:pt x="173" y="1243"/>
                    </a:lnTo>
                    <a:lnTo>
                      <a:pt x="173" y="1240"/>
                    </a:lnTo>
                    <a:lnTo>
                      <a:pt x="177" y="1240"/>
                    </a:lnTo>
                    <a:lnTo>
                      <a:pt x="181" y="1242"/>
                    </a:lnTo>
                    <a:lnTo>
                      <a:pt x="184" y="1245"/>
                    </a:lnTo>
                    <a:lnTo>
                      <a:pt x="187" y="1248"/>
                    </a:lnTo>
                    <a:lnTo>
                      <a:pt x="185" y="1245"/>
                    </a:lnTo>
                    <a:lnTo>
                      <a:pt x="182" y="1240"/>
                    </a:lnTo>
                    <a:lnTo>
                      <a:pt x="185" y="1240"/>
                    </a:lnTo>
                    <a:lnTo>
                      <a:pt x="189" y="1240"/>
                    </a:lnTo>
                    <a:lnTo>
                      <a:pt x="193" y="1243"/>
                    </a:lnTo>
                    <a:lnTo>
                      <a:pt x="197" y="1243"/>
                    </a:lnTo>
                    <a:lnTo>
                      <a:pt x="200" y="1245"/>
                    </a:lnTo>
                    <a:lnTo>
                      <a:pt x="204" y="1245"/>
                    </a:lnTo>
                    <a:lnTo>
                      <a:pt x="208" y="1247"/>
                    </a:lnTo>
                    <a:lnTo>
                      <a:pt x="209" y="1250"/>
                    </a:lnTo>
                    <a:lnTo>
                      <a:pt x="212" y="1248"/>
                    </a:lnTo>
                    <a:lnTo>
                      <a:pt x="216" y="1250"/>
                    </a:lnTo>
                    <a:lnTo>
                      <a:pt x="217" y="1248"/>
                    </a:lnTo>
                    <a:lnTo>
                      <a:pt x="216" y="1243"/>
                    </a:lnTo>
                    <a:lnTo>
                      <a:pt x="214" y="1248"/>
                    </a:lnTo>
                    <a:lnTo>
                      <a:pt x="211" y="1245"/>
                    </a:lnTo>
                    <a:lnTo>
                      <a:pt x="206" y="1243"/>
                    </a:lnTo>
                    <a:lnTo>
                      <a:pt x="203" y="1240"/>
                    </a:lnTo>
                    <a:lnTo>
                      <a:pt x="203" y="1237"/>
                    </a:lnTo>
                    <a:lnTo>
                      <a:pt x="206" y="1240"/>
                    </a:lnTo>
                    <a:lnTo>
                      <a:pt x="209" y="1240"/>
                    </a:lnTo>
                    <a:lnTo>
                      <a:pt x="212" y="1240"/>
                    </a:lnTo>
                    <a:lnTo>
                      <a:pt x="217" y="1240"/>
                    </a:lnTo>
                    <a:lnTo>
                      <a:pt x="212" y="1240"/>
                    </a:lnTo>
                    <a:lnTo>
                      <a:pt x="209" y="1240"/>
                    </a:lnTo>
                    <a:lnTo>
                      <a:pt x="206" y="1237"/>
                    </a:lnTo>
                    <a:lnTo>
                      <a:pt x="203" y="1234"/>
                    </a:lnTo>
                    <a:lnTo>
                      <a:pt x="203" y="1234"/>
                    </a:lnTo>
                    <a:lnTo>
                      <a:pt x="198" y="1232"/>
                    </a:lnTo>
                    <a:lnTo>
                      <a:pt x="195" y="1229"/>
                    </a:lnTo>
                    <a:lnTo>
                      <a:pt x="195" y="1226"/>
                    </a:lnTo>
                    <a:lnTo>
                      <a:pt x="192" y="1223"/>
                    </a:lnTo>
                    <a:lnTo>
                      <a:pt x="193" y="1226"/>
                    </a:lnTo>
                    <a:lnTo>
                      <a:pt x="193" y="1229"/>
                    </a:lnTo>
                    <a:lnTo>
                      <a:pt x="195" y="1232"/>
                    </a:lnTo>
                    <a:lnTo>
                      <a:pt x="192" y="1235"/>
                    </a:lnTo>
                    <a:lnTo>
                      <a:pt x="189" y="1234"/>
                    </a:lnTo>
                    <a:lnTo>
                      <a:pt x="184" y="1232"/>
                    </a:lnTo>
                    <a:lnTo>
                      <a:pt x="181" y="1232"/>
                    </a:lnTo>
                    <a:lnTo>
                      <a:pt x="177" y="1232"/>
                    </a:lnTo>
                    <a:lnTo>
                      <a:pt x="174" y="1231"/>
                    </a:lnTo>
                    <a:lnTo>
                      <a:pt x="171" y="1232"/>
                    </a:lnTo>
                    <a:lnTo>
                      <a:pt x="166" y="1231"/>
                    </a:lnTo>
                    <a:lnTo>
                      <a:pt x="163" y="1229"/>
                    </a:lnTo>
                    <a:lnTo>
                      <a:pt x="166" y="1228"/>
                    </a:lnTo>
                    <a:lnTo>
                      <a:pt x="165" y="1223"/>
                    </a:lnTo>
                    <a:lnTo>
                      <a:pt x="170" y="1223"/>
                    </a:lnTo>
                    <a:lnTo>
                      <a:pt x="173" y="1224"/>
                    </a:lnTo>
                    <a:lnTo>
                      <a:pt x="174" y="1228"/>
                    </a:lnTo>
                    <a:lnTo>
                      <a:pt x="177" y="1231"/>
                    </a:lnTo>
                    <a:lnTo>
                      <a:pt x="181" y="1231"/>
                    </a:lnTo>
                    <a:lnTo>
                      <a:pt x="177" y="1229"/>
                    </a:lnTo>
                    <a:lnTo>
                      <a:pt x="179" y="1226"/>
                    </a:lnTo>
                    <a:lnTo>
                      <a:pt x="184" y="1226"/>
                    </a:lnTo>
                    <a:lnTo>
                      <a:pt x="182" y="1223"/>
                    </a:lnTo>
                    <a:lnTo>
                      <a:pt x="177" y="1224"/>
                    </a:lnTo>
                    <a:lnTo>
                      <a:pt x="174" y="1224"/>
                    </a:lnTo>
                    <a:lnTo>
                      <a:pt x="171" y="1223"/>
                    </a:lnTo>
                    <a:lnTo>
                      <a:pt x="170" y="1220"/>
                    </a:lnTo>
                    <a:lnTo>
                      <a:pt x="166" y="1220"/>
                    </a:lnTo>
                    <a:lnTo>
                      <a:pt x="166" y="1216"/>
                    </a:lnTo>
                    <a:lnTo>
                      <a:pt x="168" y="1212"/>
                    </a:lnTo>
                    <a:lnTo>
                      <a:pt x="171" y="1208"/>
                    </a:lnTo>
                    <a:lnTo>
                      <a:pt x="174" y="1212"/>
                    </a:lnTo>
                    <a:lnTo>
                      <a:pt x="174" y="1208"/>
                    </a:lnTo>
                    <a:lnTo>
                      <a:pt x="177" y="1208"/>
                    </a:lnTo>
                    <a:lnTo>
                      <a:pt x="177" y="1204"/>
                    </a:lnTo>
                    <a:lnTo>
                      <a:pt x="176" y="1204"/>
                    </a:lnTo>
                    <a:lnTo>
                      <a:pt x="174" y="1207"/>
                    </a:lnTo>
                    <a:lnTo>
                      <a:pt x="173" y="1208"/>
                    </a:lnTo>
                    <a:lnTo>
                      <a:pt x="170" y="1204"/>
                    </a:lnTo>
                    <a:lnTo>
                      <a:pt x="173" y="1204"/>
                    </a:lnTo>
                    <a:lnTo>
                      <a:pt x="176" y="1202"/>
                    </a:lnTo>
                    <a:lnTo>
                      <a:pt x="174" y="1201"/>
                    </a:lnTo>
                    <a:lnTo>
                      <a:pt x="168" y="1199"/>
                    </a:lnTo>
                    <a:lnTo>
                      <a:pt x="163" y="1194"/>
                    </a:lnTo>
                    <a:lnTo>
                      <a:pt x="162" y="1193"/>
                    </a:lnTo>
                    <a:lnTo>
                      <a:pt x="158" y="1191"/>
                    </a:lnTo>
                    <a:lnTo>
                      <a:pt x="155" y="1193"/>
                    </a:lnTo>
                    <a:lnTo>
                      <a:pt x="151" y="1194"/>
                    </a:lnTo>
                    <a:lnTo>
                      <a:pt x="154" y="1194"/>
                    </a:lnTo>
                    <a:lnTo>
                      <a:pt x="158" y="1197"/>
                    </a:lnTo>
                    <a:lnTo>
                      <a:pt x="154" y="1197"/>
                    </a:lnTo>
                    <a:lnTo>
                      <a:pt x="151" y="1196"/>
                    </a:lnTo>
                    <a:lnTo>
                      <a:pt x="147" y="1194"/>
                    </a:lnTo>
                    <a:lnTo>
                      <a:pt x="144" y="1194"/>
                    </a:lnTo>
                    <a:lnTo>
                      <a:pt x="139" y="1191"/>
                    </a:lnTo>
                    <a:lnTo>
                      <a:pt x="136" y="1189"/>
                    </a:lnTo>
                    <a:lnTo>
                      <a:pt x="135" y="1186"/>
                    </a:lnTo>
                    <a:lnTo>
                      <a:pt x="136" y="1183"/>
                    </a:lnTo>
                    <a:lnTo>
                      <a:pt x="135" y="1178"/>
                    </a:lnTo>
                    <a:lnTo>
                      <a:pt x="131" y="1185"/>
                    </a:lnTo>
                    <a:lnTo>
                      <a:pt x="128" y="1186"/>
                    </a:lnTo>
                    <a:lnTo>
                      <a:pt x="125" y="1186"/>
                    </a:lnTo>
                    <a:lnTo>
                      <a:pt x="119" y="1188"/>
                    </a:lnTo>
                    <a:lnTo>
                      <a:pt x="117" y="1193"/>
                    </a:lnTo>
                    <a:lnTo>
                      <a:pt x="122" y="1189"/>
                    </a:lnTo>
                    <a:lnTo>
                      <a:pt x="125" y="1193"/>
                    </a:lnTo>
                    <a:lnTo>
                      <a:pt x="128" y="1196"/>
                    </a:lnTo>
                    <a:lnTo>
                      <a:pt x="127" y="1199"/>
                    </a:lnTo>
                    <a:lnTo>
                      <a:pt x="124" y="1199"/>
                    </a:lnTo>
                    <a:lnTo>
                      <a:pt x="120" y="1196"/>
                    </a:lnTo>
                    <a:lnTo>
                      <a:pt x="119" y="1196"/>
                    </a:lnTo>
                    <a:lnTo>
                      <a:pt x="117" y="1193"/>
                    </a:lnTo>
                    <a:lnTo>
                      <a:pt x="117" y="1193"/>
                    </a:lnTo>
                    <a:lnTo>
                      <a:pt x="114" y="1189"/>
                    </a:lnTo>
                    <a:lnTo>
                      <a:pt x="114" y="1186"/>
                    </a:lnTo>
                    <a:lnTo>
                      <a:pt x="116" y="1185"/>
                    </a:lnTo>
                    <a:lnTo>
                      <a:pt x="117" y="1182"/>
                    </a:lnTo>
                    <a:lnTo>
                      <a:pt x="120" y="1180"/>
                    </a:lnTo>
                    <a:lnTo>
                      <a:pt x="124" y="1175"/>
                    </a:lnTo>
                    <a:lnTo>
                      <a:pt x="127" y="1174"/>
                    </a:lnTo>
                    <a:lnTo>
                      <a:pt x="130" y="1175"/>
                    </a:lnTo>
                    <a:lnTo>
                      <a:pt x="127" y="1174"/>
                    </a:lnTo>
                    <a:lnTo>
                      <a:pt x="128" y="1169"/>
                    </a:lnTo>
                    <a:lnTo>
                      <a:pt x="131" y="1170"/>
                    </a:lnTo>
                    <a:lnTo>
                      <a:pt x="133" y="1167"/>
                    </a:lnTo>
                    <a:lnTo>
                      <a:pt x="136" y="1169"/>
                    </a:lnTo>
                    <a:lnTo>
                      <a:pt x="133" y="1166"/>
                    </a:lnTo>
                    <a:lnTo>
                      <a:pt x="136" y="1162"/>
                    </a:lnTo>
                    <a:lnTo>
                      <a:pt x="133" y="1158"/>
                    </a:lnTo>
                    <a:lnTo>
                      <a:pt x="133" y="1162"/>
                    </a:lnTo>
                    <a:lnTo>
                      <a:pt x="130" y="1166"/>
                    </a:lnTo>
                    <a:lnTo>
                      <a:pt x="125" y="1166"/>
                    </a:lnTo>
                    <a:lnTo>
                      <a:pt x="125" y="1162"/>
                    </a:lnTo>
                    <a:lnTo>
                      <a:pt x="130" y="1161"/>
                    </a:lnTo>
                    <a:lnTo>
                      <a:pt x="125" y="1161"/>
                    </a:lnTo>
                    <a:lnTo>
                      <a:pt x="122" y="1159"/>
                    </a:lnTo>
                    <a:lnTo>
                      <a:pt x="120" y="1156"/>
                    </a:lnTo>
                    <a:lnTo>
                      <a:pt x="124" y="1156"/>
                    </a:lnTo>
                    <a:lnTo>
                      <a:pt x="127" y="1156"/>
                    </a:lnTo>
                    <a:lnTo>
                      <a:pt x="131" y="1153"/>
                    </a:lnTo>
                    <a:lnTo>
                      <a:pt x="135" y="1155"/>
                    </a:lnTo>
                    <a:lnTo>
                      <a:pt x="138" y="1155"/>
                    </a:lnTo>
                    <a:lnTo>
                      <a:pt x="141" y="1158"/>
                    </a:lnTo>
                    <a:lnTo>
                      <a:pt x="144" y="1159"/>
                    </a:lnTo>
                    <a:lnTo>
                      <a:pt x="141" y="1156"/>
                    </a:lnTo>
                    <a:lnTo>
                      <a:pt x="143" y="1153"/>
                    </a:lnTo>
                    <a:lnTo>
                      <a:pt x="144" y="1153"/>
                    </a:lnTo>
                    <a:lnTo>
                      <a:pt x="147" y="1153"/>
                    </a:lnTo>
                    <a:lnTo>
                      <a:pt x="151" y="1153"/>
                    </a:lnTo>
                    <a:lnTo>
                      <a:pt x="151" y="1156"/>
                    </a:lnTo>
                    <a:lnTo>
                      <a:pt x="155" y="1158"/>
                    </a:lnTo>
                    <a:lnTo>
                      <a:pt x="154" y="1162"/>
                    </a:lnTo>
                    <a:lnTo>
                      <a:pt x="157" y="1164"/>
                    </a:lnTo>
                    <a:lnTo>
                      <a:pt x="157" y="1161"/>
                    </a:lnTo>
                    <a:lnTo>
                      <a:pt x="160" y="1164"/>
                    </a:lnTo>
                    <a:lnTo>
                      <a:pt x="160" y="1167"/>
                    </a:lnTo>
                    <a:lnTo>
                      <a:pt x="157" y="1169"/>
                    </a:lnTo>
                    <a:lnTo>
                      <a:pt x="152" y="1170"/>
                    </a:lnTo>
                    <a:lnTo>
                      <a:pt x="149" y="1170"/>
                    </a:lnTo>
                    <a:lnTo>
                      <a:pt x="146" y="1169"/>
                    </a:lnTo>
                    <a:lnTo>
                      <a:pt x="149" y="1170"/>
                    </a:lnTo>
                    <a:lnTo>
                      <a:pt x="152" y="1170"/>
                    </a:lnTo>
                    <a:lnTo>
                      <a:pt x="155" y="1170"/>
                    </a:lnTo>
                    <a:lnTo>
                      <a:pt x="160" y="1170"/>
                    </a:lnTo>
                    <a:lnTo>
                      <a:pt x="163" y="1174"/>
                    </a:lnTo>
                    <a:lnTo>
                      <a:pt x="166" y="1174"/>
                    </a:lnTo>
                    <a:lnTo>
                      <a:pt x="163" y="1170"/>
                    </a:lnTo>
                    <a:lnTo>
                      <a:pt x="163" y="1167"/>
                    </a:lnTo>
                    <a:lnTo>
                      <a:pt x="166" y="1169"/>
                    </a:lnTo>
                    <a:lnTo>
                      <a:pt x="170" y="1170"/>
                    </a:lnTo>
                    <a:lnTo>
                      <a:pt x="171" y="1174"/>
                    </a:lnTo>
                    <a:lnTo>
                      <a:pt x="170" y="1178"/>
                    </a:lnTo>
                    <a:lnTo>
                      <a:pt x="168" y="1182"/>
                    </a:lnTo>
                    <a:lnTo>
                      <a:pt x="170" y="1185"/>
                    </a:lnTo>
                    <a:lnTo>
                      <a:pt x="173" y="1183"/>
                    </a:lnTo>
                    <a:lnTo>
                      <a:pt x="173" y="1180"/>
                    </a:lnTo>
                    <a:lnTo>
                      <a:pt x="174" y="1177"/>
                    </a:lnTo>
                    <a:lnTo>
                      <a:pt x="177" y="1174"/>
                    </a:lnTo>
                    <a:lnTo>
                      <a:pt x="176" y="1169"/>
                    </a:lnTo>
                    <a:lnTo>
                      <a:pt x="177" y="1166"/>
                    </a:lnTo>
                    <a:lnTo>
                      <a:pt x="177" y="1162"/>
                    </a:lnTo>
                    <a:lnTo>
                      <a:pt x="176" y="1166"/>
                    </a:lnTo>
                    <a:lnTo>
                      <a:pt x="174" y="1169"/>
                    </a:lnTo>
                    <a:lnTo>
                      <a:pt x="173" y="1174"/>
                    </a:lnTo>
                    <a:lnTo>
                      <a:pt x="173" y="1169"/>
                    </a:lnTo>
                    <a:lnTo>
                      <a:pt x="173" y="1166"/>
                    </a:lnTo>
                    <a:lnTo>
                      <a:pt x="170" y="1162"/>
                    </a:lnTo>
                    <a:lnTo>
                      <a:pt x="170" y="1159"/>
                    </a:lnTo>
                    <a:lnTo>
                      <a:pt x="170" y="1155"/>
                    </a:lnTo>
                    <a:lnTo>
                      <a:pt x="171" y="1151"/>
                    </a:lnTo>
                    <a:lnTo>
                      <a:pt x="174" y="1148"/>
                    </a:lnTo>
                    <a:lnTo>
                      <a:pt x="177" y="1148"/>
                    </a:lnTo>
                    <a:lnTo>
                      <a:pt x="174" y="1147"/>
                    </a:lnTo>
                    <a:lnTo>
                      <a:pt x="170" y="1148"/>
                    </a:lnTo>
                    <a:lnTo>
                      <a:pt x="168" y="1151"/>
                    </a:lnTo>
                    <a:lnTo>
                      <a:pt x="166" y="1148"/>
                    </a:lnTo>
                    <a:lnTo>
                      <a:pt x="166" y="1145"/>
                    </a:lnTo>
                    <a:lnTo>
                      <a:pt x="165" y="1140"/>
                    </a:lnTo>
                    <a:lnTo>
                      <a:pt x="166" y="1137"/>
                    </a:lnTo>
                    <a:lnTo>
                      <a:pt x="170" y="1137"/>
                    </a:lnTo>
                    <a:lnTo>
                      <a:pt x="173" y="1132"/>
                    </a:lnTo>
                    <a:lnTo>
                      <a:pt x="176" y="1137"/>
                    </a:lnTo>
                    <a:lnTo>
                      <a:pt x="179" y="1137"/>
                    </a:lnTo>
                    <a:lnTo>
                      <a:pt x="182" y="1139"/>
                    </a:lnTo>
                    <a:lnTo>
                      <a:pt x="185" y="1140"/>
                    </a:lnTo>
                    <a:lnTo>
                      <a:pt x="187" y="1137"/>
                    </a:lnTo>
                    <a:lnTo>
                      <a:pt x="184" y="1137"/>
                    </a:lnTo>
                    <a:lnTo>
                      <a:pt x="181" y="1137"/>
                    </a:lnTo>
                    <a:lnTo>
                      <a:pt x="177" y="1136"/>
                    </a:lnTo>
                    <a:lnTo>
                      <a:pt x="174" y="1132"/>
                    </a:lnTo>
                    <a:lnTo>
                      <a:pt x="170" y="1131"/>
                    </a:lnTo>
                    <a:lnTo>
                      <a:pt x="166" y="1132"/>
                    </a:lnTo>
                    <a:lnTo>
                      <a:pt x="163" y="1132"/>
                    </a:lnTo>
                    <a:lnTo>
                      <a:pt x="166" y="1128"/>
                    </a:lnTo>
                    <a:lnTo>
                      <a:pt x="163" y="1124"/>
                    </a:lnTo>
                    <a:lnTo>
                      <a:pt x="160" y="1121"/>
                    </a:lnTo>
                    <a:lnTo>
                      <a:pt x="163" y="1120"/>
                    </a:lnTo>
                    <a:lnTo>
                      <a:pt x="166" y="1120"/>
                    </a:lnTo>
                    <a:lnTo>
                      <a:pt x="170" y="1120"/>
                    </a:lnTo>
                    <a:lnTo>
                      <a:pt x="171" y="1115"/>
                    </a:lnTo>
                    <a:lnTo>
                      <a:pt x="174" y="1113"/>
                    </a:lnTo>
                    <a:lnTo>
                      <a:pt x="179" y="1110"/>
                    </a:lnTo>
                    <a:lnTo>
                      <a:pt x="177" y="1105"/>
                    </a:lnTo>
                    <a:lnTo>
                      <a:pt x="177" y="1102"/>
                    </a:lnTo>
                    <a:lnTo>
                      <a:pt x="177" y="1099"/>
                    </a:lnTo>
                    <a:lnTo>
                      <a:pt x="176" y="1096"/>
                    </a:lnTo>
                    <a:lnTo>
                      <a:pt x="173" y="1099"/>
                    </a:lnTo>
                    <a:lnTo>
                      <a:pt x="170" y="1097"/>
                    </a:lnTo>
                    <a:lnTo>
                      <a:pt x="165" y="1096"/>
                    </a:lnTo>
                    <a:lnTo>
                      <a:pt x="162" y="1093"/>
                    </a:lnTo>
                    <a:lnTo>
                      <a:pt x="158" y="1091"/>
                    </a:lnTo>
                    <a:lnTo>
                      <a:pt x="155" y="1090"/>
                    </a:lnTo>
                    <a:lnTo>
                      <a:pt x="154" y="1090"/>
                    </a:lnTo>
                    <a:lnTo>
                      <a:pt x="151" y="1086"/>
                    </a:lnTo>
                    <a:lnTo>
                      <a:pt x="152" y="1083"/>
                    </a:lnTo>
                    <a:lnTo>
                      <a:pt x="155" y="1085"/>
                    </a:lnTo>
                    <a:lnTo>
                      <a:pt x="154" y="1080"/>
                    </a:lnTo>
                    <a:lnTo>
                      <a:pt x="154" y="1077"/>
                    </a:lnTo>
                    <a:lnTo>
                      <a:pt x="155" y="1074"/>
                    </a:lnTo>
                    <a:lnTo>
                      <a:pt x="158" y="1072"/>
                    </a:lnTo>
                    <a:lnTo>
                      <a:pt x="157" y="1067"/>
                    </a:lnTo>
                    <a:lnTo>
                      <a:pt x="155" y="1072"/>
                    </a:lnTo>
                    <a:lnTo>
                      <a:pt x="152" y="1069"/>
                    </a:lnTo>
                    <a:lnTo>
                      <a:pt x="152" y="1067"/>
                    </a:lnTo>
                    <a:lnTo>
                      <a:pt x="154" y="1064"/>
                    </a:lnTo>
                    <a:lnTo>
                      <a:pt x="152" y="1064"/>
                    </a:lnTo>
                    <a:lnTo>
                      <a:pt x="149" y="1063"/>
                    </a:lnTo>
                    <a:lnTo>
                      <a:pt x="146" y="1059"/>
                    </a:lnTo>
                    <a:lnTo>
                      <a:pt x="144" y="1055"/>
                    </a:lnTo>
                    <a:lnTo>
                      <a:pt x="146" y="1051"/>
                    </a:lnTo>
                    <a:lnTo>
                      <a:pt x="147" y="1048"/>
                    </a:lnTo>
                    <a:lnTo>
                      <a:pt x="146" y="1045"/>
                    </a:lnTo>
                    <a:lnTo>
                      <a:pt x="146" y="1040"/>
                    </a:lnTo>
                    <a:lnTo>
                      <a:pt x="151" y="1040"/>
                    </a:lnTo>
                    <a:lnTo>
                      <a:pt x="149" y="1037"/>
                    </a:lnTo>
                    <a:lnTo>
                      <a:pt x="149" y="1036"/>
                    </a:lnTo>
                    <a:lnTo>
                      <a:pt x="144" y="1034"/>
                    </a:lnTo>
                    <a:lnTo>
                      <a:pt x="143" y="1031"/>
                    </a:lnTo>
                    <a:lnTo>
                      <a:pt x="143" y="1026"/>
                    </a:lnTo>
                    <a:lnTo>
                      <a:pt x="139" y="1023"/>
                    </a:lnTo>
                    <a:lnTo>
                      <a:pt x="141" y="1020"/>
                    </a:lnTo>
                    <a:lnTo>
                      <a:pt x="144" y="1020"/>
                    </a:lnTo>
                    <a:lnTo>
                      <a:pt x="149" y="1021"/>
                    </a:lnTo>
                    <a:lnTo>
                      <a:pt x="149" y="1021"/>
                    </a:lnTo>
                    <a:lnTo>
                      <a:pt x="149" y="1021"/>
                    </a:lnTo>
                    <a:lnTo>
                      <a:pt x="146" y="1020"/>
                    </a:lnTo>
                    <a:lnTo>
                      <a:pt x="143" y="1017"/>
                    </a:lnTo>
                    <a:lnTo>
                      <a:pt x="139" y="1013"/>
                    </a:lnTo>
                    <a:lnTo>
                      <a:pt x="136" y="1010"/>
                    </a:lnTo>
                    <a:lnTo>
                      <a:pt x="141" y="1009"/>
                    </a:lnTo>
                    <a:lnTo>
                      <a:pt x="144" y="1009"/>
                    </a:lnTo>
                    <a:lnTo>
                      <a:pt x="146" y="1012"/>
                    </a:lnTo>
                    <a:lnTo>
                      <a:pt x="149" y="1015"/>
                    </a:lnTo>
                    <a:lnTo>
                      <a:pt x="152" y="1018"/>
                    </a:lnTo>
                    <a:lnTo>
                      <a:pt x="152" y="1018"/>
                    </a:lnTo>
                    <a:lnTo>
                      <a:pt x="151" y="1017"/>
                    </a:lnTo>
                    <a:lnTo>
                      <a:pt x="149" y="1012"/>
                    </a:lnTo>
                    <a:lnTo>
                      <a:pt x="147" y="1009"/>
                    </a:lnTo>
                    <a:lnTo>
                      <a:pt x="146" y="1005"/>
                    </a:lnTo>
                    <a:lnTo>
                      <a:pt x="146" y="1005"/>
                    </a:lnTo>
                    <a:lnTo>
                      <a:pt x="144" y="1002"/>
                    </a:lnTo>
                    <a:lnTo>
                      <a:pt x="143" y="998"/>
                    </a:lnTo>
                    <a:lnTo>
                      <a:pt x="139" y="1001"/>
                    </a:lnTo>
                    <a:lnTo>
                      <a:pt x="136" y="1001"/>
                    </a:lnTo>
                    <a:lnTo>
                      <a:pt x="131" y="999"/>
                    </a:lnTo>
                    <a:lnTo>
                      <a:pt x="130" y="996"/>
                    </a:lnTo>
                    <a:lnTo>
                      <a:pt x="131" y="993"/>
                    </a:lnTo>
                    <a:lnTo>
                      <a:pt x="135" y="988"/>
                    </a:lnTo>
                    <a:lnTo>
                      <a:pt x="138" y="988"/>
                    </a:lnTo>
                    <a:lnTo>
                      <a:pt x="141" y="986"/>
                    </a:lnTo>
                    <a:lnTo>
                      <a:pt x="143" y="983"/>
                    </a:lnTo>
                    <a:lnTo>
                      <a:pt x="143" y="980"/>
                    </a:lnTo>
                    <a:lnTo>
                      <a:pt x="139" y="977"/>
                    </a:lnTo>
                    <a:lnTo>
                      <a:pt x="141" y="982"/>
                    </a:lnTo>
                    <a:lnTo>
                      <a:pt x="139" y="986"/>
                    </a:lnTo>
                    <a:lnTo>
                      <a:pt x="139" y="988"/>
                    </a:lnTo>
                    <a:lnTo>
                      <a:pt x="136" y="988"/>
                    </a:lnTo>
                    <a:lnTo>
                      <a:pt x="135" y="988"/>
                    </a:lnTo>
                    <a:lnTo>
                      <a:pt x="131" y="986"/>
                    </a:lnTo>
                    <a:lnTo>
                      <a:pt x="130" y="983"/>
                    </a:lnTo>
                    <a:lnTo>
                      <a:pt x="128" y="982"/>
                    </a:lnTo>
                    <a:lnTo>
                      <a:pt x="125" y="980"/>
                    </a:lnTo>
                    <a:lnTo>
                      <a:pt x="122" y="979"/>
                    </a:lnTo>
                    <a:lnTo>
                      <a:pt x="117" y="980"/>
                    </a:lnTo>
                    <a:lnTo>
                      <a:pt x="117" y="985"/>
                    </a:lnTo>
                    <a:lnTo>
                      <a:pt x="119" y="988"/>
                    </a:lnTo>
                    <a:lnTo>
                      <a:pt x="117" y="991"/>
                    </a:lnTo>
                    <a:lnTo>
                      <a:pt x="112" y="991"/>
                    </a:lnTo>
                    <a:lnTo>
                      <a:pt x="109" y="991"/>
                    </a:lnTo>
                    <a:lnTo>
                      <a:pt x="106" y="991"/>
                    </a:lnTo>
                    <a:lnTo>
                      <a:pt x="105" y="991"/>
                    </a:lnTo>
                    <a:lnTo>
                      <a:pt x="101" y="990"/>
                    </a:lnTo>
                    <a:lnTo>
                      <a:pt x="98" y="990"/>
                    </a:lnTo>
                    <a:lnTo>
                      <a:pt x="98" y="986"/>
                    </a:lnTo>
                    <a:lnTo>
                      <a:pt x="101" y="983"/>
                    </a:lnTo>
                    <a:lnTo>
                      <a:pt x="98" y="983"/>
                    </a:lnTo>
                    <a:lnTo>
                      <a:pt x="95" y="983"/>
                    </a:lnTo>
                    <a:lnTo>
                      <a:pt x="92" y="980"/>
                    </a:lnTo>
                    <a:lnTo>
                      <a:pt x="90" y="977"/>
                    </a:lnTo>
                    <a:lnTo>
                      <a:pt x="86" y="969"/>
                    </a:lnTo>
                    <a:lnTo>
                      <a:pt x="79" y="960"/>
                    </a:lnTo>
                    <a:lnTo>
                      <a:pt x="81" y="955"/>
                    </a:lnTo>
                    <a:lnTo>
                      <a:pt x="79" y="952"/>
                    </a:lnTo>
                    <a:lnTo>
                      <a:pt x="79" y="948"/>
                    </a:lnTo>
                    <a:lnTo>
                      <a:pt x="79" y="945"/>
                    </a:lnTo>
                    <a:lnTo>
                      <a:pt x="79" y="942"/>
                    </a:lnTo>
                    <a:lnTo>
                      <a:pt x="79" y="937"/>
                    </a:lnTo>
                    <a:lnTo>
                      <a:pt x="78" y="934"/>
                    </a:lnTo>
                    <a:lnTo>
                      <a:pt x="76" y="931"/>
                    </a:lnTo>
                    <a:lnTo>
                      <a:pt x="76" y="928"/>
                    </a:lnTo>
                    <a:lnTo>
                      <a:pt x="76" y="926"/>
                    </a:lnTo>
                    <a:lnTo>
                      <a:pt x="76" y="921"/>
                    </a:lnTo>
                    <a:lnTo>
                      <a:pt x="74" y="918"/>
                    </a:lnTo>
                    <a:lnTo>
                      <a:pt x="76" y="917"/>
                    </a:lnTo>
                    <a:lnTo>
                      <a:pt x="79" y="914"/>
                    </a:lnTo>
                    <a:lnTo>
                      <a:pt x="82" y="912"/>
                    </a:lnTo>
                    <a:lnTo>
                      <a:pt x="82" y="912"/>
                    </a:lnTo>
                    <a:lnTo>
                      <a:pt x="82" y="912"/>
                    </a:lnTo>
                    <a:lnTo>
                      <a:pt x="81" y="909"/>
                    </a:lnTo>
                    <a:lnTo>
                      <a:pt x="81" y="904"/>
                    </a:lnTo>
                    <a:lnTo>
                      <a:pt x="82" y="901"/>
                    </a:lnTo>
                    <a:lnTo>
                      <a:pt x="81" y="893"/>
                    </a:lnTo>
                    <a:lnTo>
                      <a:pt x="79" y="887"/>
                    </a:lnTo>
                    <a:lnTo>
                      <a:pt x="79" y="887"/>
                    </a:lnTo>
                    <a:lnTo>
                      <a:pt x="73" y="877"/>
                    </a:lnTo>
                    <a:lnTo>
                      <a:pt x="66" y="868"/>
                    </a:lnTo>
                    <a:lnTo>
                      <a:pt x="65" y="868"/>
                    </a:lnTo>
                    <a:lnTo>
                      <a:pt x="63" y="864"/>
                    </a:lnTo>
                    <a:lnTo>
                      <a:pt x="62" y="860"/>
                    </a:lnTo>
                    <a:lnTo>
                      <a:pt x="60" y="856"/>
                    </a:lnTo>
                    <a:lnTo>
                      <a:pt x="59" y="856"/>
                    </a:lnTo>
                    <a:lnTo>
                      <a:pt x="59" y="852"/>
                    </a:lnTo>
                    <a:lnTo>
                      <a:pt x="57" y="849"/>
                    </a:lnTo>
                    <a:lnTo>
                      <a:pt x="57" y="845"/>
                    </a:lnTo>
                    <a:lnTo>
                      <a:pt x="57" y="842"/>
                    </a:lnTo>
                    <a:lnTo>
                      <a:pt x="55" y="837"/>
                    </a:lnTo>
                    <a:lnTo>
                      <a:pt x="52" y="834"/>
                    </a:lnTo>
                    <a:lnTo>
                      <a:pt x="51" y="831"/>
                    </a:lnTo>
                    <a:lnTo>
                      <a:pt x="46" y="826"/>
                    </a:lnTo>
                    <a:lnTo>
                      <a:pt x="44" y="823"/>
                    </a:lnTo>
                    <a:lnTo>
                      <a:pt x="43" y="820"/>
                    </a:lnTo>
                    <a:lnTo>
                      <a:pt x="44" y="817"/>
                    </a:lnTo>
                    <a:lnTo>
                      <a:pt x="43" y="814"/>
                    </a:lnTo>
                    <a:lnTo>
                      <a:pt x="40" y="810"/>
                    </a:lnTo>
                    <a:lnTo>
                      <a:pt x="40" y="806"/>
                    </a:lnTo>
                    <a:lnTo>
                      <a:pt x="40" y="803"/>
                    </a:lnTo>
                    <a:lnTo>
                      <a:pt x="43" y="806"/>
                    </a:lnTo>
                    <a:lnTo>
                      <a:pt x="47" y="806"/>
                    </a:lnTo>
                    <a:lnTo>
                      <a:pt x="51" y="806"/>
                    </a:lnTo>
                    <a:lnTo>
                      <a:pt x="54" y="803"/>
                    </a:lnTo>
                    <a:lnTo>
                      <a:pt x="54" y="798"/>
                    </a:lnTo>
                    <a:lnTo>
                      <a:pt x="52" y="795"/>
                    </a:lnTo>
                    <a:lnTo>
                      <a:pt x="52" y="791"/>
                    </a:lnTo>
                    <a:lnTo>
                      <a:pt x="51" y="788"/>
                    </a:lnTo>
                    <a:lnTo>
                      <a:pt x="49" y="788"/>
                    </a:lnTo>
                    <a:lnTo>
                      <a:pt x="49" y="783"/>
                    </a:lnTo>
                    <a:lnTo>
                      <a:pt x="51" y="780"/>
                    </a:lnTo>
                    <a:lnTo>
                      <a:pt x="52" y="783"/>
                    </a:lnTo>
                    <a:lnTo>
                      <a:pt x="55" y="785"/>
                    </a:lnTo>
                    <a:lnTo>
                      <a:pt x="55" y="782"/>
                    </a:lnTo>
                    <a:lnTo>
                      <a:pt x="54" y="779"/>
                    </a:lnTo>
                    <a:lnTo>
                      <a:pt x="55" y="774"/>
                    </a:lnTo>
                    <a:lnTo>
                      <a:pt x="55" y="771"/>
                    </a:lnTo>
                    <a:lnTo>
                      <a:pt x="55" y="769"/>
                    </a:lnTo>
                    <a:lnTo>
                      <a:pt x="55" y="764"/>
                    </a:lnTo>
                    <a:lnTo>
                      <a:pt x="54" y="758"/>
                    </a:lnTo>
                    <a:lnTo>
                      <a:pt x="54" y="755"/>
                    </a:lnTo>
                    <a:lnTo>
                      <a:pt x="55" y="752"/>
                    </a:lnTo>
                    <a:lnTo>
                      <a:pt x="57" y="745"/>
                    </a:lnTo>
                    <a:lnTo>
                      <a:pt x="55" y="742"/>
                    </a:lnTo>
                    <a:lnTo>
                      <a:pt x="52" y="739"/>
                    </a:lnTo>
                    <a:lnTo>
                      <a:pt x="55" y="736"/>
                    </a:lnTo>
                    <a:lnTo>
                      <a:pt x="57" y="733"/>
                    </a:lnTo>
                    <a:lnTo>
                      <a:pt x="57" y="728"/>
                    </a:lnTo>
                    <a:lnTo>
                      <a:pt x="57" y="728"/>
                    </a:lnTo>
                    <a:lnTo>
                      <a:pt x="57" y="726"/>
                    </a:lnTo>
                    <a:lnTo>
                      <a:pt x="59" y="723"/>
                    </a:lnTo>
                    <a:lnTo>
                      <a:pt x="62" y="720"/>
                    </a:lnTo>
                    <a:lnTo>
                      <a:pt x="62" y="717"/>
                    </a:lnTo>
                    <a:lnTo>
                      <a:pt x="62" y="715"/>
                    </a:lnTo>
                    <a:lnTo>
                      <a:pt x="62" y="712"/>
                    </a:lnTo>
                    <a:lnTo>
                      <a:pt x="62" y="709"/>
                    </a:lnTo>
                    <a:lnTo>
                      <a:pt x="62" y="706"/>
                    </a:lnTo>
                    <a:lnTo>
                      <a:pt x="62" y="704"/>
                    </a:lnTo>
                    <a:lnTo>
                      <a:pt x="62" y="701"/>
                    </a:lnTo>
                    <a:lnTo>
                      <a:pt x="62" y="698"/>
                    </a:lnTo>
                    <a:lnTo>
                      <a:pt x="62" y="693"/>
                    </a:lnTo>
                    <a:lnTo>
                      <a:pt x="60" y="690"/>
                    </a:lnTo>
                    <a:lnTo>
                      <a:pt x="62" y="688"/>
                    </a:lnTo>
                    <a:lnTo>
                      <a:pt x="60" y="685"/>
                    </a:lnTo>
                    <a:lnTo>
                      <a:pt x="59" y="682"/>
                    </a:lnTo>
                    <a:lnTo>
                      <a:pt x="59" y="679"/>
                    </a:lnTo>
                    <a:lnTo>
                      <a:pt x="60" y="674"/>
                    </a:lnTo>
                    <a:lnTo>
                      <a:pt x="60" y="671"/>
                    </a:lnTo>
                    <a:lnTo>
                      <a:pt x="62" y="668"/>
                    </a:lnTo>
                    <a:lnTo>
                      <a:pt x="62" y="665"/>
                    </a:lnTo>
                    <a:lnTo>
                      <a:pt x="65" y="661"/>
                    </a:lnTo>
                    <a:lnTo>
                      <a:pt x="63" y="652"/>
                    </a:lnTo>
                    <a:lnTo>
                      <a:pt x="62" y="647"/>
                    </a:lnTo>
                    <a:lnTo>
                      <a:pt x="60" y="644"/>
                    </a:lnTo>
                    <a:lnTo>
                      <a:pt x="59" y="641"/>
                    </a:lnTo>
                    <a:lnTo>
                      <a:pt x="59" y="638"/>
                    </a:lnTo>
                    <a:lnTo>
                      <a:pt x="62" y="633"/>
                    </a:lnTo>
                    <a:lnTo>
                      <a:pt x="62" y="630"/>
                    </a:lnTo>
                    <a:lnTo>
                      <a:pt x="62" y="628"/>
                    </a:lnTo>
                    <a:lnTo>
                      <a:pt x="60" y="625"/>
                    </a:lnTo>
                    <a:lnTo>
                      <a:pt x="62" y="622"/>
                    </a:lnTo>
                    <a:lnTo>
                      <a:pt x="62" y="619"/>
                    </a:lnTo>
                    <a:lnTo>
                      <a:pt x="60" y="614"/>
                    </a:lnTo>
                    <a:lnTo>
                      <a:pt x="60" y="611"/>
                    </a:lnTo>
                    <a:lnTo>
                      <a:pt x="60" y="607"/>
                    </a:lnTo>
                    <a:lnTo>
                      <a:pt x="57" y="604"/>
                    </a:lnTo>
                    <a:lnTo>
                      <a:pt x="54" y="600"/>
                    </a:lnTo>
                    <a:lnTo>
                      <a:pt x="54" y="598"/>
                    </a:lnTo>
                    <a:lnTo>
                      <a:pt x="54" y="595"/>
                    </a:lnTo>
                    <a:lnTo>
                      <a:pt x="47" y="576"/>
                    </a:lnTo>
                    <a:lnTo>
                      <a:pt x="40" y="557"/>
                    </a:lnTo>
                    <a:lnTo>
                      <a:pt x="36" y="547"/>
                    </a:lnTo>
                    <a:lnTo>
                      <a:pt x="35" y="539"/>
                    </a:lnTo>
                    <a:lnTo>
                      <a:pt x="33" y="539"/>
                    </a:lnTo>
                    <a:lnTo>
                      <a:pt x="33" y="536"/>
                    </a:lnTo>
                    <a:lnTo>
                      <a:pt x="33" y="531"/>
                    </a:lnTo>
                    <a:lnTo>
                      <a:pt x="32" y="528"/>
                    </a:lnTo>
                    <a:lnTo>
                      <a:pt x="32" y="525"/>
                    </a:lnTo>
                    <a:lnTo>
                      <a:pt x="33" y="522"/>
                    </a:lnTo>
                    <a:lnTo>
                      <a:pt x="36" y="520"/>
                    </a:lnTo>
                    <a:lnTo>
                      <a:pt x="40" y="517"/>
                    </a:lnTo>
                    <a:lnTo>
                      <a:pt x="40" y="514"/>
                    </a:lnTo>
                    <a:lnTo>
                      <a:pt x="38" y="511"/>
                    </a:lnTo>
                    <a:lnTo>
                      <a:pt x="38" y="509"/>
                    </a:lnTo>
                    <a:lnTo>
                      <a:pt x="41" y="506"/>
                    </a:lnTo>
                    <a:lnTo>
                      <a:pt x="41" y="504"/>
                    </a:lnTo>
                    <a:lnTo>
                      <a:pt x="38" y="501"/>
                    </a:lnTo>
                    <a:lnTo>
                      <a:pt x="38" y="498"/>
                    </a:lnTo>
                    <a:lnTo>
                      <a:pt x="38" y="495"/>
                    </a:lnTo>
                    <a:lnTo>
                      <a:pt x="36" y="492"/>
                    </a:lnTo>
                    <a:lnTo>
                      <a:pt x="36" y="489"/>
                    </a:lnTo>
                    <a:lnTo>
                      <a:pt x="35" y="484"/>
                    </a:lnTo>
                    <a:lnTo>
                      <a:pt x="32" y="481"/>
                    </a:lnTo>
                    <a:lnTo>
                      <a:pt x="28" y="479"/>
                    </a:lnTo>
                    <a:lnTo>
                      <a:pt x="28" y="477"/>
                    </a:lnTo>
                    <a:lnTo>
                      <a:pt x="27" y="471"/>
                    </a:lnTo>
                    <a:lnTo>
                      <a:pt x="25" y="468"/>
                    </a:lnTo>
                    <a:lnTo>
                      <a:pt x="25" y="465"/>
                    </a:lnTo>
                    <a:lnTo>
                      <a:pt x="28" y="460"/>
                    </a:lnTo>
                    <a:lnTo>
                      <a:pt x="30" y="457"/>
                    </a:lnTo>
                    <a:lnTo>
                      <a:pt x="30" y="454"/>
                    </a:lnTo>
                    <a:lnTo>
                      <a:pt x="30" y="450"/>
                    </a:lnTo>
                    <a:lnTo>
                      <a:pt x="32" y="447"/>
                    </a:lnTo>
                    <a:lnTo>
                      <a:pt x="32" y="446"/>
                    </a:lnTo>
                    <a:lnTo>
                      <a:pt x="33" y="443"/>
                    </a:lnTo>
                    <a:lnTo>
                      <a:pt x="32" y="439"/>
                    </a:lnTo>
                    <a:lnTo>
                      <a:pt x="32" y="436"/>
                    </a:lnTo>
                    <a:lnTo>
                      <a:pt x="30" y="433"/>
                    </a:lnTo>
                    <a:lnTo>
                      <a:pt x="30" y="433"/>
                    </a:lnTo>
                    <a:lnTo>
                      <a:pt x="30" y="428"/>
                    </a:lnTo>
                    <a:lnTo>
                      <a:pt x="30" y="425"/>
                    </a:lnTo>
                    <a:lnTo>
                      <a:pt x="30" y="422"/>
                    </a:lnTo>
                    <a:lnTo>
                      <a:pt x="32" y="419"/>
                    </a:lnTo>
                    <a:lnTo>
                      <a:pt x="35" y="414"/>
                    </a:lnTo>
                    <a:lnTo>
                      <a:pt x="35" y="411"/>
                    </a:lnTo>
                    <a:lnTo>
                      <a:pt x="35" y="408"/>
                    </a:lnTo>
                    <a:lnTo>
                      <a:pt x="33" y="404"/>
                    </a:lnTo>
                    <a:lnTo>
                      <a:pt x="33" y="401"/>
                    </a:lnTo>
                    <a:lnTo>
                      <a:pt x="33" y="400"/>
                    </a:lnTo>
                    <a:lnTo>
                      <a:pt x="32" y="397"/>
                    </a:lnTo>
                    <a:lnTo>
                      <a:pt x="33" y="393"/>
                    </a:lnTo>
                    <a:lnTo>
                      <a:pt x="35" y="390"/>
                    </a:lnTo>
                    <a:lnTo>
                      <a:pt x="35" y="389"/>
                    </a:lnTo>
                    <a:lnTo>
                      <a:pt x="35" y="385"/>
                    </a:lnTo>
                    <a:lnTo>
                      <a:pt x="33" y="382"/>
                    </a:lnTo>
                    <a:lnTo>
                      <a:pt x="33" y="379"/>
                    </a:lnTo>
                    <a:lnTo>
                      <a:pt x="35" y="376"/>
                    </a:lnTo>
                    <a:lnTo>
                      <a:pt x="35" y="371"/>
                    </a:lnTo>
                    <a:lnTo>
                      <a:pt x="35" y="368"/>
                    </a:lnTo>
                    <a:lnTo>
                      <a:pt x="35" y="365"/>
                    </a:lnTo>
                    <a:lnTo>
                      <a:pt x="35" y="362"/>
                    </a:lnTo>
                    <a:lnTo>
                      <a:pt x="33" y="359"/>
                    </a:lnTo>
                    <a:lnTo>
                      <a:pt x="33" y="355"/>
                    </a:lnTo>
                    <a:lnTo>
                      <a:pt x="33" y="352"/>
                    </a:lnTo>
                    <a:lnTo>
                      <a:pt x="33" y="347"/>
                    </a:lnTo>
                    <a:lnTo>
                      <a:pt x="33" y="346"/>
                    </a:lnTo>
                    <a:lnTo>
                      <a:pt x="30" y="341"/>
                    </a:lnTo>
                    <a:lnTo>
                      <a:pt x="28" y="338"/>
                    </a:lnTo>
                    <a:lnTo>
                      <a:pt x="30" y="335"/>
                    </a:lnTo>
                    <a:lnTo>
                      <a:pt x="30" y="332"/>
                    </a:lnTo>
                    <a:lnTo>
                      <a:pt x="30" y="327"/>
                    </a:lnTo>
                    <a:lnTo>
                      <a:pt x="33" y="325"/>
                    </a:lnTo>
                    <a:lnTo>
                      <a:pt x="35" y="322"/>
                    </a:lnTo>
                    <a:lnTo>
                      <a:pt x="35" y="314"/>
                    </a:lnTo>
                    <a:lnTo>
                      <a:pt x="33" y="311"/>
                    </a:lnTo>
                    <a:lnTo>
                      <a:pt x="33" y="308"/>
                    </a:lnTo>
                    <a:lnTo>
                      <a:pt x="28" y="297"/>
                    </a:lnTo>
                    <a:lnTo>
                      <a:pt x="25" y="287"/>
                    </a:lnTo>
                    <a:lnTo>
                      <a:pt x="27" y="282"/>
                    </a:lnTo>
                    <a:lnTo>
                      <a:pt x="27" y="279"/>
                    </a:lnTo>
                    <a:lnTo>
                      <a:pt x="25" y="276"/>
                    </a:lnTo>
                    <a:lnTo>
                      <a:pt x="27" y="273"/>
                    </a:lnTo>
                    <a:lnTo>
                      <a:pt x="27" y="270"/>
                    </a:lnTo>
                    <a:lnTo>
                      <a:pt x="25" y="265"/>
                    </a:lnTo>
                    <a:lnTo>
                      <a:pt x="25" y="259"/>
                    </a:lnTo>
                    <a:lnTo>
                      <a:pt x="25" y="255"/>
                    </a:lnTo>
                    <a:lnTo>
                      <a:pt x="27" y="251"/>
                    </a:lnTo>
                    <a:lnTo>
                      <a:pt x="27" y="247"/>
                    </a:lnTo>
                    <a:lnTo>
                      <a:pt x="25" y="244"/>
                    </a:lnTo>
                    <a:lnTo>
                      <a:pt x="22" y="244"/>
                    </a:lnTo>
                    <a:lnTo>
                      <a:pt x="19" y="243"/>
                    </a:lnTo>
                    <a:lnTo>
                      <a:pt x="19" y="235"/>
                    </a:lnTo>
                    <a:lnTo>
                      <a:pt x="19" y="225"/>
                    </a:lnTo>
                    <a:lnTo>
                      <a:pt x="22" y="227"/>
                    </a:lnTo>
                    <a:lnTo>
                      <a:pt x="25" y="224"/>
                    </a:lnTo>
                    <a:lnTo>
                      <a:pt x="27" y="221"/>
                    </a:lnTo>
                    <a:lnTo>
                      <a:pt x="27" y="217"/>
                    </a:lnTo>
                    <a:lnTo>
                      <a:pt x="25" y="214"/>
                    </a:lnTo>
                    <a:lnTo>
                      <a:pt x="25" y="211"/>
                    </a:lnTo>
                    <a:lnTo>
                      <a:pt x="25" y="208"/>
                    </a:lnTo>
                    <a:lnTo>
                      <a:pt x="27" y="203"/>
                    </a:lnTo>
                    <a:lnTo>
                      <a:pt x="25" y="200"/>
                    </a:lnTo>
                    <a:lnTo>
                      <a:pt x="27" y="184"/>
                    </a:lnTo>
                    <a:lnTo>
                      <a:pt x="25" y="168"/>
                    </a:lnTo>
                    <a:lnTo>
                      <a:pt x="27" y="163"/>
                    </a:lnTo>
                    <a:lnTo>
                      <a:pt x="28" y="160"/>
                    </a:lnTo>
                    <a:lnTo>
                      <a:pt x="28" y="160"/>
                    </a:lnTo>
                    <a:lnTo>
                      <a:pt x="27" y="159"/>
                    </a:lnTo>
                    <a:lnTo>
                      <a:pt x="25" y="149"/>
                    </a:lnTo>
                    <a:lnTo>
                      <a:pt x="22" y="141"/>
                    </a:lnTo>
                    <a:lnTo>
                      <a:pt x="22" y="138"/>
                    </a:lnTo>
                    <a:lnTo>
                      <a:pt x="19" y="135"/>
                    </a:lnTo>
                    <a:lnTo>
                      <a:pt x="19" y="130"/>
                    </a:lnTo>
                    <a:lnTo>
                      <a:pt x="19" y="127"/>
                    </a:lnTo>
                    <a:lnTo>
                      <a:pt x="17" y="124"/>
                    </a:lnTo>
                    <a:lnTo>
                      <a:pt x="19" y="121"/>
                    </a:lnTo>
                    <a:lnTo>
                      <a:pt x="17" y="117"/>
                    </a:lnTo>
                    <a:lnTo>
                      <a:pt x="19" y="113"/>
                    </a:lnTo>
                    <a:lnTo>
                      <a:pt x="17" y="110"/>
                    </a:lnTo>
                    <a:lnTo>
                      <a:pt x="19" y="110"/>
                    </a:lnTo>
                    <a:lnTo>
                      <a:pt x="19" y="105"/>
                    </a:lnTo>
                    <a:lnTo>
                      <a:pt x="17" y="102"/>
                    </a:lnTo>
                    <a:lnTo>
                      <a:pt x="17" y="100"/>
                    </a:lnTo>
                    <a:lnTo>
                      <a:pt x="16" y="97"/>
                    </a:lnTo>
                    <a:lnTo>
                      <a:pt x="16" y="94"/>
                    </a:lnTo>
                    <a:lnTo>
                      <a:pt x="13" y="83"/>
                    </a:lnTo>
                    <a:lnTo>
                      <a:pt x="9" y="71"/>
                    </a:lnTo>
                    <a:lnTo>
                      <a:pt x="6" y="60"/>
                    </a:lnTo>
                    <a:lnTo>
                      <a:pt x="5" y="51"/>
                    </a:lnTo>
                    <a:lnTo>
                      <a:pt x="3" y="46"/>
                    </a:lnTo>
                    <a:lnTo>
                      <a:pt x="3" y="43"/>
                    </a:lnTo>
                    <a:lnTo>
                      <a:pt x="3" y="40"/>
                    </a:lnTo>
                    <a:lnTo>
                      <a:pt x="3" y="38"/>
                    </a:lnTo>
                    <a:lnTo>
                      <a:pt x="3" y="37"/>
                    </a:lnTo>
                    <a:lnTo>
                      <a:pt x="0" y="3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14" name="Freeform 825"/>
              <p:cNvSpPr>
                <a:spLocks/>
              </p:cNvSpPr>
              <p:nvPr/>
            </p:nvSpPr>
            <p:spPr bwMode="auto">
              <a:xfrm>
                <a:off x="1421" y="3422"/>
                <a:ext cx="2" cy="1"/>
              </a:xfrm>
              <a:custGeom>
                <a:avLst/>
                <a:gdLst>
                  <a:gd name="T0" fmla="*/ 0 w 3"/>
                  <a:gd name="T1" fmla="*/ 3 h 3"/>
                  <a:gd name="T2" fmla="*/ 0 w 3"/>
                  <a:gd name="T3" fmla="*/ 0 h 3"/>
                  <a:gd name="T4" fmla="*/ 3 w 3"/>
                  <a:gd name="T5" fmla="*/ 1 h 3"/>
                  <a:gd name="T6" fmla="*/ 0 w 3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3">
                    <a:moveTo>
                      <a:pt x="0" y="3"/>
                    </a:moveTo>
                    <a:lnTo>
                      <a:pt x="0" y="0"/>
                    </a:lnTo>
                    <a:lnTo>
                      <a:pt x="3" y="1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15" name="Freeform 826"/>
              <p:cNvSpPr>
                <a:spLocks/>
              </p:cNvSpPr>
              <p:nvPr/>
            </p:nvSpPr>
            <p:spPr bwMode="auto">
              <a:xfrm>
                <a:off x="1538" y="3556"/>
                <a:ext cx="54" cy="48"/>
              </a:xfrm>
              <a:custGeom>
                <a:avLst/>
                <a:gdLst>
                  <a:gd name="T0" fmla="*/ 19 w 110"/>
                  <a:gd name="T1" fmla="*/ 25 h 97"/>
                  <a:gd name="T2" fmla="*/ 21 w 110"/>
                  <a:gd name="T3" fmla="*/ 22 h 97"/>
                  <a:gd name="T4" fmla="*/ 23 w 110"/>
                  <a:gd name="T5" fmla="*/ 16 h 97"/>
                  <a:gd name="T6" fmla="*/ 19 w 110"/>
                  <a:gd name="T7" fmla="*/ 9 h 97"/>
                  <a:gd name="T8" fmla="*/ 27 w 110"/>
                  <a:gd name="T9" fmla="*/ 14 h 97"/>
                  <a:gd name="T10" fmla="*/ 35 w 110"/>
                  <a:gd name="T11" fmla="*/ 11 h 97"/>
                  <a:gd name="T12" fmla="*/ 37 w 110"/>
                  <a:gd name="T13" fmla="*/ 0 h 97"/>
                  <a:gd name="T14" fmla="*/ 49 w 110"/>
                  <a:gd name="T15" fmla="*/ 6 h 97"/>
                  <a:gd name="T16" fmla="*/ 62 w 110"/>
                  <a:gd name="T17" fmla="*/ 3 h 97"/>
                  <a:gd name="T18" fmla="*/ 69 w 110"/>
                  <a:gd name="T19" fmla="*/ 9 h 97"/>
                  <a:gd name="T20" fmla="*/ 80 w 110"/>
                  <a:gd name="T21" fmla="*/ 33 h 97"/>
                  <a:gd name="T22" fmla="*/ 94 w 110"/>
                  <a:gd name="T23" fmla="*/ 63 h 97"/>
                  <a:gd name="T24" fmla="*/ 107 w 110"/>
                  <a:gd name="T25" fmla="*/ 92 h 97"/>
                  <a:gd name="T26" fmla="*/ 102 w 110"/>
                  <a:gd name="T27" fmla="*/ 92 h 97"/>
                  <a:gd name="T28" fmla="*/ 95 w 110"/>
                  <a:gd name="T29" fmla="*/ 97 h 97"/>
                  <a:gd name="T30" fmla="*/ 84 w 110"/>
                  <a:gd name="T31" fmla="*/ 93 h 97"/>
                  <a:gd name="T32" fmla="*/ 76 w 110"/>
                  <a:gd name="T33" fmla="*/ 87 h 97"/>
                  <a:gd name="T34" fmla="*/ 67 w 110"/>
                  <a:gd name="T35" fmla="*/ 87 h 97"/>
                  <a:gd name="T36" fmla="*/ 67 w 110"/>
                  <a:gd name="T37" fmla="*/ 92 h 97"/>
                  <a:gd name="T38" fmla="*/ 57 w 110"/>
                  <a:gd name="T39" fmla="*/ 90 h 97"/>
                  <a:gd name="T40" fmla="*/ 53 w 110"/>
                  <a:gd name="T41" fmla="*/ 90 h 97"/>
                  <a:gd name="T42" fmla="*/ 42 w 110"/>
                  <a:gd name="T43" fmla="*/ 92 h 97"/>
                  <a:gd name="T44" fmla="*/ 45 w 110"/>
                  <a:gd name="T45" fmla="*/ 85 h 97"/>
                  <a:gd name="T46" fmla="*/ 35 w 110"/>
                  <a:gd name="T47" fmla="*/ 89 h 97"/>
                  <a:gd name="T48" fmla="*/ 30 w 110"/>
                  <a:gd name="T49" fmla="*/ 85 h 97"/>
                  <a:gd name="T50" fmla="*/ 21 w 110"/>
                  <a:gd name="T51" fmla="*/ 79 h 97"/>
                  <a:gd name="T52" fmla="*/ 5 w 110"/>
                  <a:gd name="T53" fmla="*/ 84 h 97"/>
                  <a:gd name="T54" fmla="*/ 3 w 110"/>
                  <a:gd name="T55" fmla="*/ 78 h 97"/>
                  <a:gd name="T56" fmla="*/ 10 w 110"/>
                  <a:gd name="T57" fmla="*/ 78 h 97"/>
                  <a:gd name="T58" fmla="*/ 13 w 110"/>
                  <a:gd name="T59" fmla="*/ 79 h 97"/>
                  <a:gd name="T60" fmla="*/ 19 w 110"/>
                  <a:gd name="T61" fmla="*/ 76 h 97"/>
                  <a:gd name="T62" fmla="*/ 30 w 110"/>
                  <a:gd name="T63" fmla="*/ 76 h 97"/>
                  <a:gd name="T64" fmla="*/ 37 w 110"/>
                  <a:gd name="T65" fmla="*/ 73 h 97"/>
                  <a:gd name="T66" fmla="*/ 40 w 110"/>
                  <a:gd name="T67" fmla="*/ 82 h 97"/>
                  <a:gd name="T68" fmla="*/ 40 w 110"/>
                  <a:gd name="T69" fmla="*/ 76 h 97"/>
                  <a:gd name="T70" fmla="*/ 51 w 110"/>
                  <a:gd name="T71" fmla="*/ 79 h 97"/>
                  <a:gd name="T72" fmla="*/ 54 w 110"/>
                  <a:gd name="T73" fmla="*/ 79 h 97"/>
                  <a:gd name="T74" fmla="*/ 40 w 110"/>
                  <a:gd name="T75" fmla="*/ 70 h 97"/>
                  <a:gd name="T76" fmla="*/ 29 w 110"/>
                  <a:gd name="T77" fmla="*/ 68 h 97"/>
                  <a:gd name="T78" fmla="*/ 54 w 110"/>
                  <a:gd name="T79" fmla="*/ 76 h 97"/>
                  <a:gd name="T80" fmla="*/ 56 w 110"/>
                  <a:gd name="T81" fmla="*/ 70 h 97"/>
                  <a:gd name="T82" fmla="*/ 67 w 110"/>
                  <a:gd name="T83" fmla="*/ 78 h 97"/>
                  <a:gd name="T84" fmla="*/ 64 w 110"/>
                  <a:gd name="T85" fmla="*/ 71 h 97"/>
                  <a:gd name="T86" fmla="*/ 75 w 110"/>
                  <a:gd name="T87" fmla="*/ 73 h 97"/>
                  <a:gd name="T88" fmla="*/ 83 w 110"/>
                  <a:gd name="T89" fmla="*/ 79 h 97"/>
                  <a:gd name="T90" fmla="*/ 88 w 110"/>
                  <a:gd name="T91" fmla="*/ 81 h 97"/>
                  <a:gd name="T92" fmla="*/ 91 w 110"/>
                  <a:gd name="T93" fmla="*/ 78 h 97"/>
                  <a:gd name="T94" fmla="*/ 57 w 110"/>
                  <a:gd name="T95" fmla="*/ 66 h 97"/>
                  <a:gd name="T96" fmla="*/ 40 w 110"/>
                  <a:gd name="T97" fmla="*/ 51 h 97"/>
                  <a:gd name="T98" fmla="*/ 48 w 110"/>
                  <a:gd name="T99" fmla="*/ 46 h 97"/>
                  <a:gd name="T100" fmla="*/ 59 w 110"/>
                  <a:gd name="T101" fmla="*/ 41 h 97"/>
                  <a:gd name="T102" fmla="*/ 54 w 110"/>
                  <a:gd name="T103" fmla="*/ 33 h 97"/>
                  <a:gd name="T104" fmla="*/ 43 w 110"/>
                  <a:gd name="T105" fmla="*/ 33 h 97"/>
                  <a:gd name="T106" fmla="*/ 35 w 110"/>
                  <a:gd name="T107" fmla="*/ 38 h 97"/>
                  <a:gd name="T108" fmla="*/ 24 w 110"/>
                  <a:gd name="T109" fmla="*/ 35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0" h="97">
                    <a:moveTo>
                      <a:pt x="23" y="32"/>
                    </a:moveTo>
                    <a:lnTo>
                      <a:pt x="21" y="28"/>
                    </a:lnTo>
                    <a:lnTo>
                      <a:pt x="19" y="25"/>
                    </a:lnTo>
                    <a:lnTo>
                      <a:pt x="18" y="22"/>
                    </a:lnTo>
                    <a:lnTo>
                      <a:pt x="19" y="19"/>
                    </a:lnTo>
                    <a:lnTo>
                      <a:pt x="21" y="22"/>
                    </a:lnTo>
                    <a:lnTo>
                      <a:pt x="26" y="20"/>
                    </a:lnTo>
                    <a:lnTo>
                      <a:pt x="26" y="17"/>
                    </a:lnTo>
                    <a:lnTo>
                      <a:pt x="23" y="16"/>
                    </a:lnTo>
                    <a:lnTo>
                      <a:pt x="19" y="12"/>
                    </a:lnTo>
                    <a:lnTo>
                      <a:pt x="16" y="11"/>
                    </a:lnTo>
                    <a:lnTo>
                      <a:pt x="19" y="9"/>
                    </a:lnTo>
                    <a:lnTo>
                      <a:pt x="23" y="9"/>
                    </a:lnTo>
                    <a:lnTo>
                      <a:pt x="26" y="12"/>
                    </a:lnTo>
                    <a:lnTo>
                      <a:pt x="27" y="14"/>
                    </a:lnTo>
                    <a:lnTo>
                      <a:pt x="30" y="12"/>
                    </a:lnTo>
                    <a:lnTo>
                      <a:pt x="35" y="11"/>
                    </a:lnTo>
                    <a:lnTo>
                      <a:pt x="35" y="11"/>
                    </a:lnTo>
                    <a:lnTo>
                      <a:pt x="35" y="8"/>
                    </a:lnTo>
                    <a:lnTo>
                      <a:pt x="35" y="3"/>
                    </a:lnTo>
                    <a:lnTo>
                      <a:pt x="37" y="0"/>
                    </a:lnTo>
                    <a:lnTo>
                      <a:pt x="38" y="0"/>
                    </a:lnTo>
                    <a:lnTo>
                      <a:pt x="42" y="1"/>
                    </a:lnTo>
                    <a:lnTo>
                      <a:pt x="49" y="6"/>
                    </a:lnTo>
                    <a:lnTo>
                      <a:pt x="53" y="8"/>
                    </a:lnTo>
                    <a:lnTo>
                      <a:pt x="56" y="6"/>
                    </a:lnTo>
                    <a:lnTo>
                      <a:pt x="62" y="3"/>
                    </a:lnTo>
                    <a:lnTo>
                      <a:pt x="67" y="6"/>
                    </a:lnTo>
                    <a:lnTo>
                      <a:pt x="67" y="8"/>
                    </a:lnTo>
                    <a:lnTo>
                      <a:pt x="69" y="9"/>
                    </a:lnTo>
                    <a:lnTo>
                      <a:pt x="72" y="16"/>
                    </a:lnTo>
                    <a:lnTo>
                      <a:pt x="75" y="24"/>
                    </a:lnTo>
                    <a:lnTo>
                      <a:pt x="80" y="33"/>
                    </a:lnTo>
                    <a:lnTo>
                      <a:pt x="80" y="33"/>
                    </a:lnTo>
                    <a:lnTo>
                      <a:pt x="88" y="47"/>
                    </a:lnTo>
                    <a:lnTo>
                      <a:pt x="94" y="63"/>
                    </a:lnTo>
                    <a:lnTo>
                      <a:pt x="102" y="79"/>
                    </a:lnTo>
                    <a:lnTo>
                      <a:pt x="110" y="93"/>
                    </a:lnTo>
                    <a:lnTo>
                      <a:pt x="107" y="92"/>
                    </a:lnTo>
                    <a:lnTo>
                      <a:pt x="102" y="92"/>
                    </a:lnTo>
                    <a:lnTo>
                      <a:pt x="99" y="89"/>
                    </a:lnTo>
                    <a:lnTo>
                      <a:pt x="102" y="92"/>
                    </a:lnTo>
                    <a:lnTo>
                      <a:pt x="105" y="93"/>
                    </a:lnTo>
                    <a:lnTo>
                      <a:pt x="102" y="97"/>
                    </a:lnTo>
                    <a:lnTo>
                      <a:pt x="95" y="97"/>
                    </a:lnTo>
                    <a:lnTo>
                      <a:pt x="92" y="95"/>
                    </a:lnTo>
                    <a:lnTo>
                      <a:pt x="89" y="93"/>
                    </a:lnTo>
                    <a:lnTo>
                      <a:pt x="84" y="93"/>
                    </a:lnTo>
                    <a:lnTo>
                      <a:pt x="81" y="92"/>
                    </a:lnTo>
                    <a:lnTo>
                      <a:pt x="78" y="92"/>
                    </a:lnTo>
                    <a:lnTo>
                      <a:pt x="76" y="87"/>
                    </a:lnTo>
                    <a:lnTo>
                      <a:pt x="73" y="89"/>
                    </a:lnTo>
                    <a:lnTo>
                      <a:pt x="70" y="92"/>
                    </a:lnTo>
                    <a:lnTo>
                      <a:pt x="67" y="87"/>
                    </a:lnTo>
                    <a:lnTo>
                      <a:pt x="65" y="87"/>
                    </a:lnTo>
                    <a:lnTo>
                      <a:pt x="65" y="89"/>
                    </a:lnTo>
                    <a:lnTo>
                      <a:pt x="67" y="92"/>
                    </a:lnTo>
                    <a:lnTo>
                      <a:pt x="64" y="90"/>
                    </a:lnTo>
                    <a:lnTo>
                      <a:pt x="61" y="92"/>
                    </a:lnTo>
                    <a:lnTo>
                      <a:pt x="57" y="90"/>
                    </a:lnTo>
                    <a:lnTo>
                      <a:pt x="57" y="87"/>
                    </a:lnTo>
                    <a:lnTo>
                      <a:pt x="56" y="90"/>
                    </a:lnTo>
                    <a:lnTo>
                      <a:pt x="53" y="90"/>
                    </a:lnTo>
                    <a:lnTo>
                      <a:pt x="49" y="89"/>
                    </a:lnTo>
                    <a:lnTo>
                      <a:pt x="45" y="92"/>
                    </a:lnTo>
                    <a:lnTo>
                      <a:pt x="42" y="92"/>
                    </a:lnTo>
                    <a:lnTo>
                      <a:pt x="45" y="89"/>
                    </a:lnTo>
                    <a:lnTo>
                      <a:pt x="49" y="85"/>
                    </a:lnTo>
                    <a:lnTo>
                      <a:pt x="45" y="85"/>
                    </a:lnTo>
                    <a:lnTo>
                      <a:pt x="42" y="89"/>
                    </a:lnTo>
                    <a:lnTo>
                      <a:pt x="38" y="89"/>
                    </a:lnTo>
                    <a:lnTo>
                      <a:pt x="35" y="89"/>
                    </a:lnTo>
                    <a:lnTo>
                      <a:pt x="34" y="85"/>
                    </a:lnTo>
                    <a:lnTo>
                      <a:pt x="32" y="82"/>
                    </a:lnTo>
                    <a:lnTo>
                      <a:pt x="30" y="85"/>
                    </a:lnTo>
                    <a:lnTo>
                      <a:pt x="26" y="85"/>
                    </a:lnTo>
                    <a:lnTo>
                      <a:pt x="24" y="82"/>
                    </a:lnTo>
                    <a:lnTo>
                      <a:pt x="21" y="79"/>
                    </a:lnTo>
                    <a:lnTo>
                      <a:pt x="23" y="84"/>
                    </a:lnTo>
                    <a:lnTo>
                      <a:pt x="15" y="84"/>
                    </a:lnTo>
                    <a:lnTo>
                      <a:pt x="5" y="84"/>
                    </a:lnTo>
                    <a:lnTo>
                      <a:pt x="3" y="81"/>
                    </a:lnTo>
                    <a:lnTo>
                      <a:pt x="0" y="78"/>
                    </a:lnTo>
                    <a:lnTo>
                      <a:pt x="3" y="78"/>
                    </a:lnTo>
                    <a:lnTo>
                      <a:pt x="7" y="81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5" y="78"/>
                    </a:lnTo>
                    <a:lnTo>
                      <a:pt x="10" y="78"/>
                    </a:lnTo>
                    <a:lnTo>
                      <a:pt x="13" y="79"/>
                    </a:lnTo>
                    <a:lnTo>
                      <a:pt x="10" y="76"/>
                    </a:lnTo>
                    <a:lnTo>
                      <a:pt x="16" y="78"/>
                    </a:lnTo>
                    <a:lnTo>
                      <a:pt x="19" y="76"/>
                    </a:lnTo>
                    <a:lnTo>
                      <a:pt x="23" y="76"/>
                    </a:lnTo>
                    <a:lnTo>
                      <a:pt x="29" y="79"/>
                    </a:lnTo>
                    <a:lnTo>
                      <a:pt x="30" y="76"/>
                    </a:lnTo>
                    <a:lnTo>
                      <a:pt x="30" y="73"/>
                    </a:lnTo>
                    <a:lnTo>
                      <a:pt x="34" y="71"/>
                    </a:lnTo>
                    <a:lnTo>
                      <a:pt x="37" y="73"/>
                    </a:lnTo>
                    <a:lnTo>
                      <a:pt x="38" y="76"/>
                    </a:lnTo>
                    <a:lnTo>
                      <a:pt x="38" y="79"/>
                    </a:lnTo>
                    <a:lnTo>
                      <a:pt x="40" y="82"/>
                    </a:lnTo>
                    <a:lnTo>
                      <a:pt x="43" y="82"/>
                    </a:lnTo>
                    <a:lnTo>
                      <a:pt x="40" y="79"/>
                    </a:lnTo>
                    <a:lnTo>
                      <a:pt x="40" y="76"/>
                    </a:lnTo>
                    <a:lnTo>
                      <a:pt x="43" y="76"/>
                    </a:lnTo>
                    <a:lnTo>
                      <a:pt x="46" y="78"/>
                    </a:lnTo>
                    <a:lnTo>
                      <a:pt x="51" y="79"/>
                    </a:lnTo>
                    <a:lnTo>
                      <a:pt x="54" y="81"/>
                    </a:lnTo>
                    <a:lnTo>
                      <a:pt x="57" y="81"/>
                    </a:lnTo>
                    <a:lnTo>
                      <a:pt x="54" y="79"/>
                    </a:lnTo>
                    <a:lnTo>
                      <a:pt x="46" y="76"/>
                    </a:lnTo>
                    <a:lnTo>
                      <a:pt x="43" y="74"/>
                    </a:lnTo>
                    <a:lnTo>
                      <a:pt x="40" y="70"/>
                    </a:lnTo>
                    <a:lnTo>
                      <a:pt x="35" y="70"/>
                    </a:lnTo>
                    <a:lnTo>
                      <a:pt x="32" y="70"/>
                    </a:lnTo>
                    <a:lnTo>
                      <a:pt x="29" y="68"/>
                    </a:lnTo>
                    <a:lnTo>
                      <a:pt x="26" y="65"/>
                    </a:lnTo>
                    <a:lnTo>
                      <a:pt x="42" y="70"/>
                    </a:lnTo>
                    <a:lnTo>
                      <a:pt x="54" y="76"/>
                    </a:lnTo>
                    <a:lnTo>
                      <a:pt x="51" y="73"/>
                    </a:lnTo>
                    <a:lnTo>
                      <a:pt x="54" y="70"/>
                    </a:lnTo>
                    <a:lnTo>
                      <a:pt x="56" y="70"/>
                    </a:lnTo>
                    <a:lnTo>
                      <a:pt x="59" y="73"/>
                    </a:lnTo>
                    <a:lnTo>
                      <a:pt x="62" y="76"/>
                    </a:lnTo>
                    <a:lnTo>
                      <a:pt x="67" y="78"/>
                    </a:lnTo>
                    <a:lnTo>
                      <a:pt x="64" y="74"/>
                    </a:lnTo>
                    <a:lnTo>
                      <a:pt x="61" y="71"/>
                    </a:lnTo>
                    <a:lnTo>
                      <a:pt x="64" y="71"/>
                    </a:lnTo>
                    <a:lnTo>
                      <a:pt x="67" y="73"/>
                    </a:lnTo>
                    <a:lnTo>
                      <a:pt x="72" y="74"/>
                    </a:lnTo>
                    <a:lnTo>
                      <a:pt x="75" y="73"/>
                    </a:lnTo>
                    <a:lnTo>
                      <a:pt x="78" y="74"/>
                    </a:lnTo>
                    <a:lnTo>
                      <a:pt x="81" y="76"/>
                    </a:lnTo>
                    <a:lnTo>
                      <a:pt x="83" y="79"/>
                    </a:lnTo>
                    <a:lnTo>
                      <a:pt x="81" y="84"/>
                    </a:lnTo>
                    <a:lnTo>
                      <a:pt x="84" y="79"/>
                    </a:lnTo>
                    <a:lnTo>
                      <a:pt x="88" y="81"/>
                    </a:lnTo>
                    <a:lnTo>
                      <a:pt x="86" y="78"/>
                    </a:lnTo>
                    <a:lnTo>
                      <a:pt x="89" y="78"/>
                    </a:lnTo>
                    <a:lnTo>
                      <a:pt x="91" y="78"/>
                    </a:lnTo>
                    <a:lnTo>
                      <a:pt x="78" y="71"/>
                    </a:lnTo>
                    <a:lnTo>
                      <a:pt x="65" y="66"/>
                    </a:lnTo>
                    <a:lnTo>
                      <a:pt x="57" y="66"/>
                    </a:lnTo>
                    <a:lnTo>
                      <a:pt x="51" y="62"/>
                    </a:lnTo>
                    <a:lnTo>
                      <a:pt x="46" y="57"/>
                    </a:lnTo>
                    <a:lnTo>
                      <a:pt x="40" y="51"/>
                    </a:lnTo>
                    <a:lnTo>
                      <a:pt x="45" y="47"/>
                    </a:lnTo>
                    <a:lnTo>
                      <a:pt x="45" y="47"/>
                    </a:lnTo>
                    <a:lnTo>
                      <a:pt x="48" y="46"/>
                    </a:lnTo>
                    <a:lnTo>
                      <a:pt x="51" y="44"/>
                    </a:lnTo>
                    <a:lnTo>
                      <a:pt x="56" y="43"/>
                    </a:lnTo>
                    <a:lnTo>
                      <a:pt x="59" y="41"/>
                    </a:lnTo>
                    <a:lnTo>
                      <a:pt x="59" y="38"/>
                    </a:lnTo>
                    <a:lnTo>
                      <a:pt x="57" y="33"/>
                    </a:lnTo>
                    <a:lnTo>
                      <a:pt x="54" y="33"/>
                    </a:lnTo>
                    <a:lnTo>
                      <a:pt x="51" y="33"/>
                    </a:lnTo>
                    <a:lnTo>
                      <a:pt x="48" y="33"/>
                    </a:lnTo>
                    <a:lnTo>
                      <a:pt x="43" y="33"/>
                    </a:lnTo>
                    <a:lnTo>
                      <a:pt x="40" y="35"/>
                    </a:lnTo>
                    <a:lnTo>
                      <a:pt x="38" y="35"/>
                    </a:lnTo>
                    <a:lnTo>
                      <a:pt x="35" y="38"/>
                    </a:lnTo>
                    <a:lnTo>
                      <a:pt x="32" y="38"/>
                    </a:lnTo>
                    <a:lnTo>
                      <a:pt x="29" y="36"/>
                    </a:lnTo>
                    <a:lnTo>
                      <a:pt x="24" y="35"/>
                    </a:lnTo>
                    <a:lnTo>
                      <a:pt x="23" y="3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516" name="Freeform 827"/>
              <p:cNvSpPr>
                <a:spLocks/>
              </p:cNvSpPr>
              <p:nvPr/>
            </p:nvSpPr>
            <p:spPr bwMode="auto">
              <a:xfrm>
                <a:off x="1571" y="3555"/>
                <a:ext cx="1" cy="1"/>
              </a:xfrm>
              <a:custGeom>
                <a:avLst/>
                <a:gdLst>
                  <a:gd name="T0" fmla="*/ 0 h 2"/>
                  <a:gd name="T1" fmla="*/ 0 h 2"/>
                  <a:gd name="T2" fmla="*/ 2 h 2"/>
                  <a:gd name="T3" fmla="*/ 0 h 2"/>
                </a:gdLst>
                <a:ahLst/>
                <a:cxnLst>
                  <a:cxn ang="0">
                    <a:pos x="0" y="T0"/>
                  </a:cxn>
                  <a:cxn ang="0">
                    <a:pos x="0" y="T1"/>
                  </a:cxn>
                  <a:cxn ang="0">
                    <a:pos x="0" y="T2"/>
                  </a:cxn>
                  <a:cxn ang="0">
                    <a:pos x="0" y="T3"/>
                  </a:cxn>
                </a:cxnLst>
                <a:rect l="0" t="0" r="r" b="b"/>
                <a:pathLst>
                  <a:path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D9DCE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grpSp>
          <p:nvGrpSpPr>
            <p:cNvPr id="387" name="Group 828"/>
            <p:cNvGrpSpPr>
              <a:grpSpLocks/>
            </p:cNvGrpSpPr>
            <p:nvPr/>
          </p:nvGrpSpPr>
          <p:grpSpPr bwMode="auto">
            <a:xfrm>
              <a:off x="3588789" y="5583794"/>
              <a:ext cx="502865" cy="1137320"/>
              <a:chOff x="1389" y="2935"/>
              <a:chExt cx="342" cy="672"/>
            </a:xfrm>
            <a:solidFill>
              <a:srgbClr val="A6A6A6"/>
            </a:solidFill>
          </p:grpSpPr>
          <p:sp>
            <p:nvSpPr>
              <p:cNvPr id="450" name="Freeform 829"/>
              <p:cNvSpPr>
                <a:spLocks/>
              </p:cNvSpPr>
              <p:nvPr/>
            </p:nvSpPr>
            <p:spPr bwMode="auto">
              <a:xfrm>
                <a:off x="1389" y="2935"/>
                <a:ext cx="276" cy="620"/>
              </a:xfrm>
              <a:custGeom>
                <a:avLst/>
                <a:gdLst>
                  <a:gd name="T0" fmla="*/ 19 w 554"/>
                  <a:gd name="T1" fmla="*/ 250 h 1240"/>
                  <a:gd name="T2" fmla="*/ 35 w 554"/>
                  <a:gd name="T3" fmla="*/ 199 h 1240"/>
                  <a:gd name="T4" fmla="*/ 26 w 554"/>
                  <a:gd name="T5" fmla="*/ 131 h 1240"/>
                  <a:gd name="T6" fmla="*/ 60 w 554"/>
                  <a:gd name="T7" fmla="*/ 71 h 1240"/>
                  <a:gd name="T8" fmla="*/ 81 w 554"/>
                  <a:gd name="T9" fmla="*/ 14 h 1240"/>
                  <a:gd name="T10" fmla="*/ 138 w 554"/>
                  <a:gd name="T11" fmla="*/ 14 h 1240"/>
                  <a:gd name="T12" fmla="*/ 164 w 554"/>
                  <a:gd name="T13" fmla="*/ 19 h 1240"/>
                  <a:gd name="T14" fmla="*/ 227 w 554"/>
                  <a:gd name="T15" fmla="*/ 28 h 1240"/>
                  <a:gd name="T16" fmla="*/ 279 w 554"/>
                  <a:gd name="T17" fmla="*/ 82 h 1240"/>
                  <a:gd name="T18" fmla="*/ 363 w 554"/>
                  <a:gd name="T19" fmla="*/ 122 h 1240"/>
                  <a:gd name="T20" fmla="*/ 405 w 554"/>
                  <a:gd name="T21" fmla="*/ 161 h 1240"/>
                  <a:gd name="T22" fmla="*/ 386 w 554"/>
                  <a:gd name="T23" fmla="*/ 214 h 1240"/>
                  <a:gd name="T24" fmla="*/ 457 w 554"/>
                  <a:gd name="T25" fmla="*/ 231 h 1240"/>
                  <a:gd name="T26" fmla="*/ 508 w 554"/>
                  <a:gd name="T27" fmla="*/ 204 h 1240"/>
                  <a:gd name="T28" fmla="*/ 530 w 554"/>
                  <a:gd name="T29" fmla="*/ 153 h 1240"/>
                  <a:gd name="T30" fmla="*/ 547 w 554"/>
                  <a:gd name="T31" fmla="*/ 220 h 1240"/>
                  <a:gd name="T32" fmla="*/ 495 w 554"/>
                  <a:gd name="T33" fmla="*/ 258 h 1240"/>
                  <a:gd name="T34" fmla="*/ 465 w 554"/>
                  <a:gd name="T35" fmla="*/ 304 h 1240"/>
                  <a:gd name="T36" fmla="*/ 432 w 554"/>
                  <a:gd name="T37" fmla="*/ 356 h 1240"/>
                  <a:gd name="T38" fmla="*/ 435 w 554"/>
                  <a:gd name="T39" fmla="*/ 425 h 1240"/>
                  <a:gd name="T40" fmla="*/ 435 w 554"/>
                  <a:gd name="T41" fmla="*/ 474 h 1240"/>
                  <a:gd name="T42" fmla="*/ 447 w 554"/>
                  <a:gd name="T43" fmla="*/ 521 h 1240"/>
                  <a:gd name="T44" fmla="*/ 503 w 554"/>
                  <a:gd name="T45" fmla="*/ 588 h 1240"/>
                  <a:gd name="T46" fmla="*/ 511 w 554"/>
                  <a:gd name="T47" fmla="*/ 656 h 1240"/>
                  <a:gd name="T48" fmla="*/ 371 w 554"/>
                  <a:gd name="T49" fmla="*/ 700 h 1240"/>
                  <a:gd name="T50" fmla="*/ 378 w 554"/>
                  <a:gd name="T51" fmla="*/ 734 h 1240"/>
                  <a:gd name="T52" fmla="*/ 379 w 554"/>
                  <a:gd name="T53" fmla="*/ 783 h 1240"/>
                  <a:gd name="T54" fmla="*/ 297 w 554"/>
                  <a:gd name="T55" fmla="*/ 794 h 1240"/>
                  <a:gd name="T56" fmla="*/ 343 w 554"/>
                  <a:gd name="T57" fmla="*/ 835 h 1240"/>
                  <a:gd name="T58" fmla="*/ 355 w 554"/>
                  <a:gd name="T59" fmla="*/ 859 h 1240"/>
                  <a:gd name="T60" fmla="*/ 328 w 554"/>
                  <a:gd name="T61" fmla="*/ 880 h 1240"/>
                  <a:gd name="T62" fmla="*/ 332 w 554"/>
                  <a:gd name="T63" fmla="*/ 940 h 1240"/>
                  <a:gd name="T64" fmla="*/ 297 w 554"/>
                  <a:gd name="T65" fmla="*/ 954 h 1240"/>
                  <a:gd name="T66" fmla="*/ 328 w 554"/>
                  <a:gd name="T67" fmla="*/ 1027 h 1240"/>
                  <a:gd name="T68" fmla="*/ 355 w 554"/>
                  <a:gd name="T69" fmla="*/ 1060 h 1240"/>
                  <a:gd name="T70" fmla="*/ 338 w 554"/>
                  <a:gd name="T71" fmla="*/ 1100 h 1240"/>
                  <a:gd name="T72" fmla="*/ 328 w 554"/>
                  <a:gd name="T73" fmla="*/ 1151 h 1240"/>
                  <a:gd name="T74" fmla="*/ 308 w 554"/>
                  <a:gd name="T75" fmla="*/ 1146 h 1240"/>
                  <a:gd name="T76" fmla="*/ 311 w 554"/>
                  <a:gd name="T77" fmla="*/ 1187 h 1240"/>
                  <a:gd name="T78" fmla="*/ 327 w 554"/>
                  <a:gd name="T79" fmla="*/ 1209 h 1240"/>
                  <a:gd name="T80" fmla="*/ 352 w 554"/>
                  <a:gd name="T81" fmla="*/ 1235 h 1240"/>
                  <a:gd name="T82" fmla="*/ 233 w 554"/>
                  <a:gd name="T83" fmla="*/ 1211 h 1240"/>
                  <a:gd name="T84" fmla="*/ 198 w 554"/>
                  <a:gd name="T85" fmla="*/ 1170 h 1240"/>
                  <a:gd name="T86" fmla="*/ 154 w 554"/>
                  <a:gd name="T87" fmla="*/ 1125 h 1240"/>
                  <a:gd name="T88" fmla="*/ 173 w 554"/>
                  <a:gd name="T89" fmla="*/ 1078 h 1240"/>
                  <a:gd name="T90" fmla="*/ 160 w 554"/>
                  <a:gd name="T91" fmla="*/ 1029 h 1240"/>
                  <a:gd name="T92" fmla="*/ 152 w 554"/>
                  <a:gd name="T93" fmla="*/ 981 h 1240"/>
                  <a:gd name="T94" fmla="*/ 127 w 554"/>
                  <a:gd name="T95" fmla="*/ 943 h 1240"/>
                  <a:gd name="T96" fmla="*/ 122 w 554"/>
                  <a:gd name="T97" fmla="*/ 921 h 1240"/>
                  <a:gd name="T98" fmla="*/ 100 w 554"/>
                  <a:gd name="T99" fmla="*/ 870 h 1240"/>
                  <a:gd name="T100" fmla="*/ 78 w 554"/>
                  <a:gd name="T101" fmla="*/ 807 h 1240"/>
                  <a:gd name="T102" fmla="*/ 60 w 554"/>
                  <a:gd name="T103" fmla="*/ 748 h 1240"/>
                  <a:gd name="T104" fmla="*/ 57 w 554"/>
                  <a:gd name="T105" fmla="*/ 704 h 1240"/>
                  <a:gd name="T106" fmla="*/ 49 w 554"/>
                  <a:gd name="T107" fmla="*/ 651 h 1240"/>
                  <a:gd name="T108" fmla="*/ 43 w 554"/>
                  <a:gd name="T109" fmla="*/ 597 h 1240"/>
                  <a:gd name="T110" fmla="*/ 43 w 554"/>
                  <a:gd name="T111" fmla="*/ 548 h 1240"/>
                  <a:gd name="T112" fmla="*/ 48 w 554"/>
                  <a:gd name="T113" fmla="*/ 486 h 1240"/>
                  <a:gd name="T114" fmla="*/ 27 w 554"/>
                  <a:gd name="T115" fmla="*/ 440 h 1240"/>
                  <a:gd name="T116" fmla="*/ 5 w 554"/>
                  <a:gd name="T117" fmla="*/ 382 h 1240"/>
                  <a:gd name="T118" fmla="*/ 10 w 554"/>
                  <a:gd name="T119" fmla="*/ 328 h 1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54" h="1240">
                    <a:moveTo>
                      <a:pt x="2" y="306"/>
                    </a:moveTo>
                    <a:lnTo>
                      <a:pt x="3" y="302"/>
                    </a:lnTo>
                    <a:lnTo>
                      <a:pt x="7" y="299"/>
                    </a:lnTo>
                    <a:lnTo>
                      <a:pt x="7" y="296"/>
                    </a:lnTo>
                    <a:lnTo>
                      <a:pt x="7" y="293"/>
                    </a:lnTo>
                    <a:lnTo>
                      <a:pt x="7" y="290"/>
                    </a:lnTo>
                    <a:lnTo>
                      <a:pt x="7" y="287"/>
                    </a:lnTo>
                    <a:lnTo>
                      <a:pt x="5" y="282"/>
                    </a:lnTo>
                    <a:lnTo>
                      <a:pt x="7" y="279"/>
                    </a:lnTo>
                    <a:lnTo>
                      <a:pt x="7" y="275"/>
                    </a:lnTo>
                    <a:lnTo>
                      <a:pt x="7" y="272"/>
                    </a:lnTo>
                    <a:lnTo>
                      <a:pt x="7" y="271"/>
                    </a:lnTo>
                    <a:lnTo>
                      <a:pt x="10" y="268"/>
                    </a:lnTo>
                    <a:lnTo>
                      <a:pt x="11" y="263"/>
                    </a:lnTo>
                    <a:lnTo>
                      <a:pt x="14" y="260"/>
                    </a:lnTo>
                    <a:lnTo>
                      <a:pt x="14" y="256"/>
                    </a:lnTo>
                    <a:lnTo>
                      <a:pt x="16" y="253"/>
                    </a:lnTo>
                    <a:lnTo>
                      <a:pt x="19" y="250"/>
                    </a:lnTo>
                    <a:lnTo>
                      <a:pt x="21" y="245"/>
                    </a:lnTo>
                    <a:lnTo>
                      <a:pt x="21" y="244"/>
                    </a:lnTo>
                    <a:lnTo>
                      <a:pt x="21" y="241"/>
                    </a:lnTo>
                    <a:lnTo>
                      <a:pt x="21" y="237"/>
                    </a:lnTo>
                    <a:lnTo>
                      <a:pt x="22" y="234"/>
                    </a:lnTo>
                    <a:lnTo>
                      <a:pt x="24" y="231"/>
                    </a:lnTo>
                    <a:lnTo>
                      <a:pt x="26" y="226"/>
                    </a:lnTo>
                    <a:lnTo>
                      <a:pt x="24" y="223"/>
                    </a:lnTo>
                    <a:lnTo>
                      <a:pt x="26" y="220"/>
                    </a:lnTo>
                    <a:lnTo>
                      <a:pt x="29" y="217"/>
                    </a:lnTo>
                    <a:lnTo>
                      <a:pt x="32" y="218"/>
                    </a:lnTo>
                    <a:lnTo>
                      <a:pt x="37" y="217"/>
                    </a:lnTo>
                    <a:lnTo>
                      <a:pt x="40" y="215"/>
                    </a:lnTo>
                    <a:lnTo>
                      <a:pt x="43" y="212"/>
                    </a:lnTo>
                    <a:lnTo>
                      <a:pt x="43" y="209"/>
                    </a:lnTo>
                    <a:lnTo>
                      <a:pt x="43" y="207"/>
                    </a:lnTo>
                    <a:lnTo>
                      <a:pt x="40" y="204"/>
                    </a:lnTo>
                    <a:lnTo>
                      <a:pt x="35" y="199"/>
                    </a:lnTo>
                    <a:lnTo>
                      <a:pt x="30" y="193"/>
                    </a:lnTo>
                    <a:lnTo>
                      <a:pt x="29" y="190"/>
                    </a:lnTo>
                    <a:lnTo>
                      <a:pt x="29" y="187"/>
                    </a:lnTo>
                    <a:lnTo>
                      <a:pt x="30" y="184"/>
                    </a:lnTo>
                    <a:lnTo>
                      <a:pt x="32" y="180"/>
                    </a:lnTo>
                    <a:lnTo>
                      <a:pt x="33" y="177"/>
                    </a:lnTo>
                    <a:lnTo>
                      <a:pt x="29" y="166"/>
                    </a:lnTo>
                    <a:lnTo>
                      <a:pt x="29" y="163"/>
                    </a:lnTo>
                    <a:lnTo>
                      <a:pt x="27" y="160"/>
                    </a:lnTo>
                    <a:lnTo>
                      <a:pt x="24" y="152"/>
                    </a:lnTo>
                    <a:lnTo>
                      <a:pt x="22" y="149"/>
                    </a:lnTo>
                    <a:lnTo>
                      <a:pt x="22" y="145"/>
                    </a:lnTo>
                    <a:lnTo>
                      <a:pt x="22" y="142"/>
                    </a:lnTo>
                    <a:lnTo>
                      <a:pt x="24" y="139"/>
                    </a:lnTo>
                    <a:lnTo>
                      <a:pt x="24" y="138"/>
                    </a:lnTo>
                    <a:lnTo>
                      <a:pt x="27" y="136"/>
                    </a:lnTo>
                    <a:lnTo>
                      <a:pt x="26" y="133"/>
                    </a:lnTo>
                    <a:lnTo>
                      <a:pt x="26" y="131"/>
                    </a:lnTo>
                    <a:lnTo>
                      <a:pt x="24" y="128"/>
                    </a:lnTo>
                    <a:lnTo>
                      <a:pt x="21" y="126"/>
                    </a:lnTo>
                    <a:lnTo>
                      <a:pt x="19" y="122"/>
                    </a:lnTo>
                    <a:lnTo>
                      <a:pt x="21" y="118"/>
                    </a:lnTo>
                    <a:lnTo>
                      <a:pt x="21" y="115"/>
                    </a:lnTo>
                    <a:lnTo>
                      <a:pt x="24" y="112"/>
                    </a:lnTo>
                    <a:lnTo>
                      <a:pt x="27" y="111"/>
                    </a:lnTo>
                    <a:lnTo>
                      <a:pt x="27" y="109"/>
                    </a:lnTo>
                    <a:lnTo>
                      <a:pt x="30" y="104"/>
                    </a:lnTo>
                    <a:lnTo>
                      <a:pt x="45" y="98"/>
                    </a:lnTo>
                    <a:lnTo>
                      <a:pt x="48" y="96"/>
                    </a:lnTo>
                    <a:lnTo>
                      <a:pt x="48" y="96"/>
                    </a:lnTo>
                    <a:lnTo>
                      <a:pt x="51" y="95"/>
                    </a:lnTo>
                    <a:lnTo>
                      <a:pt x="54" y="93"/>
                    </a:lnTo>
                    <a:lnTo>
                      <a:pt x="57" y="92"/>
                    </a:lnTo>
                    <a:lnTo>
                      <a:pt x="59" y="88"/>
                    </a:lnTo>
                    <a:lnTo>
                      <a:pt x="60" y="79"/>
                    </a:lnTo>
                    <a:lnTo>
                      <a:pt x="60" y="71"/>
                    </a:lnTo>
                    <a:lnTo>
                      <a:pt x="62" y="68"/>
                    </a:lnTo>
                    <a:lnTo>
                      <a:pt x="62" y="63"/>
                    </a:lnTo>
                    <a:lnTo>
                      <a:pt x="62" y="60"/>
                    </a:lnTo>
                    <a:lnTo>
                      <a:pt x="64" y="57"/>
                    </a:lnTo>
                    <a:lnTo>
                      <a:pt x="65" y="50"/>
                    </a:lnTo>
                    <a:lnTo>
                      <a:pt x="62" y="47"/>
                    </a:lnTo>
                    <a:lnTo>
                      <a:pt x="59" y="42"/>
                    </a:lnTo>
                    <a:lnTo>
                      <a:pt x="57" y="42"/>
                    </a:lnTo>
                    <a:lnTo>
                      <a:pt x="59" y="39"/>
                    </a:lnTo>
                    <a:lnTo>
                      <a:pt x="62" y="34"/>
                    </a:lnTo>
                    <a:lnTo>
                      <a:pt x="62" y="31"/>
                    </a:lnTo>
                    <a:lnTo>
                      <a:pt x="65" y="28"/>
                    </a:lnTo>
                    <a:lnTo>
                      <a:pt x="70" y="27"/>
                    </a:lnTo>
                    <a:lnTo>
                      <a:pt x="70" y="23"/>
                    </a:lnTo>
                    <a:lnTo>
                      <a:pt x="70" y="20"/>
                    </a:lnTo>
                    <a:lnTo>
                      <a:pt x="73" y="17"/>
                    </a:lnTo>
                    <a:lnTo>
                      <a:pt x="78" y="15"/>
                    </a:lnTo>
                    <a:lnTo>
                      <a:pt x="81" y="14"/>
                    </a:lnTo>
                    <a:lnTo>
                      <a:pt x="84" y="14"/>
                    </a:lnTo>
                    <a:lnTo>
                      <a:pt x="84" y="9"/>
                    </a:lnTo>
                    <a:lnTo>
                      <a:pt x="86" y="6"/>
                    </a:lnTo>
                    <a:lnTo>
                      <a:pt x="86" y="0"/>
                    </a:lnTo>
                    <a:lnTo>
                      <a:pt x="89" y="1"/>
                    </a:lnTo>
                    <a:lnTo>
                      <a:pt x="94" y="4"/>
                    </a:lnTo>
                    <a:lnTo>
                      <a:pt x="97" y="6"/>
                    </a:lnTo>
                    <a:lnTo>
                      <a:pt x="100" y="9"/>
                    </a:lnTo>
                    <a:lnTo>
                      <a:pt x="103" y="12"/>
                    </a:lnTo>
                    <a:lnTo>
                      <a:pt x="108" y="12"/>
                    </a:lnTo>
                    <a:lnTo>
                      <a:pt x="110" y="12"/>
                    </a:lnTo>
                    <a:lnTo>
                      <a:pt x="110" y="12"/>
                    </a:lnTo>
                    <a:lnTo>
                      <a:pt x="113" y="12"/>
                    </a:lnTo>
                    <a:lnTo>
                      <a:pt x="124" y="12"/>
                    </a:lnTo>
                    <a:lnTo>
                      <a:pt x="129" y="12"/>
                    </a:lnTo>
                    <a:lnTo>
                      <a:pt x="130" y="12"/>
                    </a:lnTo>
                    <a:lnTo>
                      <a:pt x="135" y="14"/>
                    </a:lnTo>
                    <a:lnTo>
                      <a:pt x="138" y="14"/>
                    </a:lnTo>
                    <a:lnTo>
                      <a:pt x="141" y="15"/>
                    </a:lnTo>
                    <a:lnTo>
                      <a:pt x="143" y="15"/>
                    </a:lnTo>
                    <a:lnTo>
                      <a:pt x="146" y="17"/>
                    </a:lnTo>
                    <a:lnTo>
                      <a:pt x="148" y="22"/>
                    </a:lnTo>
                    <a:lnTo>
                      <a:pt x="149" y="25"/>
                    </a:lnTo>
                    <a:lnTo>
                      <a:pt x="151" y="28"/>
                    </a:lnTo>
                    <a:lnTo>
                      <a:pt x="154" y="31"/>
                    </a:lnTo>
                    <a:lnTo>
                      <a:pt x="154" y="34"/>
                    </a:lnTo>
                    <a:lnTo>
                      <a:pt x="154" y="36"/>
                    </a:lnTo>
                    <a:lnTo>
                      <a:pt x="156" y="38"/>
                    </a:lnTo>
                    <a:lnTo>
                      <a:pt x="157" y="41"/>
                    </a:lnTo>
                    <a:lnTo>
                      <a:pt x="159" y="44"/>
                    </a:lnTo>
                    <a:lnTo>
                      <a:pt x="159" y="44"/>
                    </a:lnTo>
                    <a:lnTo>
                      <a:pt x="159" y="36"/>
                    </a:lnTo>
                    <a:lnTo>
                      <a:pt x="160" y="30"/>
                    </a:lnTo>
                    <a:lnTo>
                      <a:pt x="164" y="27"/>
                    </a:lnTo>
                    <a:lnTo>
                      <a:pt x="164" y="22"/>
                    </a:lnTo>
                    <a:lnTo>
                      <a:pt x="164" y="19"/>
                    </a:lnTo>
                    <a:lnTo>
                      <a:pt x="165" y="15"/>
                    </a:lnTo>
                    <a:lnTo>
                      <a:pt x="167" y="12"/>
                    </a:lnTo>
                    <a:lnTo>
                      <a:pt x="170" y="9"/>
                    </a:lnTo>
                    <a:lnTo>
                      <a:pt x="175" y="11"/>
                    </a:lnTo>
                    <a:lnTo>
                      <a:pt x="176" y="11"/>
                    </a:lnTo>
                    <a:lnTo>
                      <a:pt x="176" y="11"/>
                    </a:lnTo>
                    <a:lnTo>
                      <a:pt x="176" y="9"/>
                    </a:lnTo>
                    <a:lnTo>
                      <a:pt x="178" y="9"/>
                    </a:lnTo>
                    <a:lnTo>
                      <a:pt x="187" y="9"/>
                    </a:lnTo>
                    <a:lnTo>
                      <a:pt x="198" y="7"/>
                    </a:lnTo>
                    <a:lnTo>
                      <a:pt x="208" y="9"/>
                    </a:lnTo>
                    <a:lnTo>
                      <a:pt x="210" y="12"/>
                    </a:lnTo>
                    <a:lnTo>
                      <a:pt x="211" y="15"/>
                    </a:lnTo>
                    <a:lnTo>
                      <a:pt x="214" y="19"/>
                    </a:lnTo>
                    <a:lnTo>
                      <a:pt x="217" y="22"/>
                    </a:lnTo>
                    <a:lnTo>
                      <a:pt x="222" y="23"/>
                    </a:lnTo>
                    <a:lnTo>
                      <a:pt x="225" y="28"/>
                    </a:lnTo>
                    <a:lnTo>
                      <a:pt x="227" y="28"/>
                    </a:lnTo>
                    <a:lnTo>
                      <a:pt x="230" y="30"/>
                    </a:lnTo>
                    <a:lnTo>
                      <a:pt x="230" y="33"/>
                    </a:lnTo>
                    <a:lnTo>
                      <a:pt x="233" y="38"/>
                    </a:lnTo>
                    <a:lnTo>
                      <a:pt x="235" y="41"/>
                    </a:lnTo>
                    <a:lnTo>
                      <a:pt x="238" y="44"/>
                    </a:lnTo>
                    <a:lnTo>
                      <a:pt x="241" y="47"/>
                    </a:lnTo>
                    <a:lnTo>
                      <a:pt x="243" y="50"/>
                    </a:lnTo>
                    <a:lnTo>
                      <a:pt x="248" y="53"/>
                    </a:lnTo>
                    <a:lnTo>
                      <a:pt x="251" y="57"/>
                    </a:lnTo>
                    <a:lnTo>
                      <a:pt x="252" y="60"/>
                    </a:lnTo>
                    <a:lnTo>
                      <a:pt x="256" y="61"/>
                    </a:lnTo>
                    <a:lnTo>
                      <a:pt x="259" y="63"/>
                    </a:lnTo>
                    <a:lnTo>
                      <a:pt x="263" y="66"/>
                    </a:lnTo>
                    <a:lnTo>
                      <a:pt x="268" y="69"/>
                    </a:lnTo>
                    <a:lnTo>
                      <a:pt x="275" y="74"/>
                    </a:lnTo>
                    <a:lnTo>
                      <a:pt x="276" y="77"/>
                    </a:lnTo>
                    <a:lnTo>
                      <a:pt x="279" y="80"/>
                    </a:lnTo>
                    <a:lnTo>
                      <a:pt x="279" y="82"/>
                    </a:lnTo>
                    <a:lnTo>
                      <a:pt x="282" y="82"/>
                    </a:lnTo>
                    <a:lnTo>
                      <a:pt x="287" y="85"/>
                    </a:lnTo>
                    <a:lnTo>
                      <a:pt x="297" y="87"/>
                    </a:lnTo>
                    <a:lnTo>
                      <a:pt x="301" y="90"/>
                    </a:lnTo>
                    <a:lnTo>
                      <a:pt x="309" y="92"/>
                    </a:lnTo>
                    <a:lnTo>
                      <a:pt x="317" y="92"/>
                    </a:lnTo>
                    <a:lnTo>
                      <a:pt x="317" y="92"/>
                    </a:lnTo>
                    <a:lnTo>
                      <a:pt x="321" y="93"/>
                    </a:lnTo>
                    <a:lnTo>
                      <a:pt x="324" y="96"/>
                    </a:lnTo>
                    <a:lnTo>
                      <a:pt x="327" y="98"/>
                    </a:lnTo>
                    <a:lnTo>
                      <a:pt x="330" y="99"/>
                    </a:lnTo>
                    <a:lnTo>
                      <a:pt x="333" y="103"/>
                    </a:lnTo>
                    <a:lnTo>
                      <a:pt x="338" y="106"/>
                    </a:lnTo>
                    <a:lnTo>
                      <a:pt x="341" y="109"/>
                    </a:lnTo>
                    <a:lnTo>
                      <a:pt x="344" y="112"/>
                    </a:lnTo>
                    <a:lnTo>
                      <a:pt x="346" y="112"/>
                    </a:lnTo>
                    <a:lnTo>
                      <a:pt x="354" y="115"/>
                    </a:lnTo>
                    <a:lnTo>
                      <a:pt x="363" y="122"/>
                    </a:lnTo>
                    <a:lnTo>
                      <a:pt x="367" y="123"/>
                    </a:lnTo>
                    <a:lnTo>
                      <a:pt x="370" y="123"/>
                    </a:lnTo>
                    <a:lnTo>
                      <a:pt x="373" y="125"/>
                    </a:lnTo>
                    <a:lnTo>
                      <a:pt x="378" y="126"/>
                    </a:lnTo>
                    <a:lnTo>
                      <a:pt x="379" y="131"/>
                    </a:lnTo>
                    <a:lnTo>
                      <a:pt x="382" y="128"/>
                    </a:lnTo>
                    <a:lnTo>
                      <a:pt x="390" y="133"/>
                    </a:lnTo>
                    <a:lnTo>
                      <a:pt x="398" y="136"/>
                    </a:lnTo>
                    <a:lnTo>
                      <a:pt x="401" y="138"/>
                    </a:lnTo>
                    <a:lnTo>
                      <a:pt x="403" y="141"/>
                    </a:lnTo>
                    <a:lnTo>
                      <a:pt x="403" y="142"/>
                    </a:lnTo>
                    <a:lnTo>
                      <a:pt x="405" y="142"/>
                    </a:lnTo>
                    <a:lnTo>
                      <a:pt x="406" y="147"/>
                    </a:lnTo>
                    <a:lnTo>
                      <a:pt x="409" y="150"/>
                    </a:lnTo>
                    <a:lnTo>
                      <a:pt x="409" y="153"/>
                    </a:lnTo>
                    <a:lnTo>
                      <a:pt x="408" y="157"/>
                    </a:lnTo>
                    <a:lnTo>
                      <a:pt x="405" y="158"/>
                    </a:lnTo>
                    <a:lnTo>
                      <a:pt x="405" y="161"/>
                    </a:lnTo>
                    <a:lnTo>
                      <a:pt x="403" y="164"/>
                    </a:lnTo>
                    <a:lnTo>
                      <a:pt x="403" y="166"/>
                    </a:lnTo>
                    <a:lnTo>
                      <a:pt x="401" y="169"/>
                    </a:lnTo>
                    <a:lnTo>
                      <a:pt x="401" y="172"/>
                    </a:lnTo>
                    <a:lnTo>
                      <a:pt x="398" y="176"/>
                    </a:lnTo>
                    <a:lnTo>
                      <a:pt x="395" y="179"/>
                    </a:lnTo>
                    <a:lnTo>
                      <a:pt x="395" y="182"/>
                    </a:lnTo>
                    <a:lnTo>
                      <a:pt x="393" y="185"/>
                    </a:lnTo>
                    <a:lnTo>
                      <a:pt x="392" y="188"/>
                    </a:lnTo>
                    <a:lnTo>
                      <a:pt x="393" y="191"/>
                    </a:lnTo>
                    <a:lnTo>
                      <a:pt x="395" y="196"/>
                    </a:lnTo>
                    <a:lnTo>
                      <a:pt x="395" y="196"/>
                    </a:lnTo>
                    <a:lnTo>
                      <a:pt x="393" y="201"/>
                    </a:lnTo>
                    <a:lnTo>
                      <a:pt x="392" y="204"/>
                    </a:lnTo>
                    <a:lnTo>
                      <a:pt x="392" y="207"/>
                    </a:lnTo>
                    <a:lnTo>
                      <a:pt x="390" y="207"/>
                    </a:lnTo>
                    <a:lnTo>
                      <a:pt x="387" y="210"/>
                    </a:lnTo>
                    <a:lnTo>
                      <a:pt x="386" y="214"/>
                    </a:lnTo>
                    <a:lnTo>
                      <a:pt x="384" y="217"/>
                    </a:lnTo>
                    <a:lnTo>
                      <a:pt x="382" y="220"/>
                    </a:lnTo>
                    <a:lnTo>
                      <a:pt x="384" y="225"/>
                    </a:lnTo>
                    <a:lnTo>
                      <a:pt x="384" y="226"/>
                    </a:lnTo>
                    <a:lnTo>
                      <a:pt x="398" y="223"/>
                    </a:lnTo>
                    <a:lnTo>
                      <a:pt x="413" y="225"/>
                    </a:lnTo>
                    <a:lnTo>
                      <a:pt x="416" y="226"/>
                    </a:lnTo>
                    <a:lnTo>
                      <a:pt x="420" y="228"/>
                    </a:lnTo>
                    <a:lnTo>
                      <a:pt x="424" y="229"/>
                    </a:lnTo>
                    <a:lnTo>
                      <a:pt x="427" y="229"/>
                    </a:lnTo>
                    <a:lnTo>
                      <a:pt x="432" y="231"/>
                    </a:lnTo>
                    <a:lnTo>
                      <a:pt x="435" y="233"/>
                    </a:lnTo>
                    <a:lnTo>
                      <a:pt x="438" y="233"/>
                    </a:lnTo>
                    <a:lnTo>
                      <a:pt x="444" y="229"/>
                    </a:lnTo>
                    <a:lnTo>
                      <a:pt x="447" y="231"/>
                    </a:lnTo>
                    <a:lnTo>
                      <a:pt x="451" y="234"/>
                    </a:lnTo>
                    <a:lnTo>
                      <a:pt x="454" y="231"/>
                    </a:lnTo>
                    <a:lnTo>
                      <a:pt x="457" y="231"/>
                    </a:lnTo>
                    <a:lnTo>
                      <a:pt x="460" y="234"/>
                    </a:lnTo>
                    <a:lnTo>
                      <a:pt x="465" y="237"/>
                    </a:lnTo>
                    <a:lnTo>
                      <a:pt x="465" y="233"/>
                    </a:lnTo>
                    <a:lnTo>
                      <a:pt x="468" y="229"/>
                    </a:lnTo>
                    <a:lnTo>
                      <a:pt x="470" y="226"/>
                    </a:lnTo>
                    <a:lnTo>
                      <a:pt x="471" y="225"/>
                    </a:lnTo>
                    <a:lnTo>
                      <a:pt x="478" y="226"/>
                    </a:lnTo>
                    <a:lnTo>
                      <a:pt x="484" y="231"/>
                    </a:lnTo>
                    <a:lnTo>
                      <a:pt x="487" y="229"/>
                    </a:lnTo>
                    <a:lnTo>
                      <a:pt x="490" y="225"/>
                    </a:lnTo>
                    <a:lnTo>
                      <a:pt x="490" y="222"/>
                    </a:lnTo>
                    <a:lnTo>
                      <a:pt x="490" y="218"/>
                    </a:lnTo>
                    <a:lnTo>
                      <a:pt x="493" y="214"/>
                    </a:lnTo>
                    <a:lnTo>
                      <a:pt x="497" y="212"/>
                    </a:lnTo>
                    <a:lnTo>
                      <a:pt x="498" y="210"/>
                    </a:lnTo>
                    <a:lnTo>
                      <a:pt x="505" y="210"/>
                    </a:lnTo>
                    <a:lnTo>
                      <a:pt x="505" y="207"/>
                    </a:lnTo>
                    <a:lnTo>
                      <a:pt x="508" y="204"/>
                    </a:lnTo>
                    <a:lnTo>
                      <a:pt x="509" y="203"/>
                    </a:lnTo>
                    <a:lnTo>
                      <a:pt x="509" y="199"/>
                    </a:lnTo>
                    <a:lnTo>
                      <a:pt x="512" y="199"/>
                    </a:lnTo>
                    <a:lnTo>
                      <a:pt x="516" y="187"/>
                    </a:lnTo>
                    <a:lnTo>
                      <a:pt x="516" y="176"/>
                    </a:lnTo>
                    <a:lnTo>
                      <a:pt x="514" y="172"/>
                    </a:lnTo>
                    <a:lnTo>
                      <a:pt x="516" y="169"/>
                    </a:lnTo>
                    <a:lnTo>
                      <a:pt x="516" y="164"/>
                    </a:lnTo>
                    <a:lnTo>
                      <a:pt x="514" y="161"/>
                    </a:lnTo>
                    <a:lnTo>
                      <a:pt x="514" y="158"/>
                    </a:lnTo>
                    <a:lnTo>
                      <a:pt x="514" y="155"/>
                    </a:lnTo>
                    <a:lnTo>
                      <a:pt x="514" y="155"/>
                    </a:lnTo>
                    <a:lnTo>
                      <a:pt x="516" y="155"/>
                    </a:lnTo>
                    <a:lnTo>
                      <a:pt x="517" y="157"/>
                    </a:lnTo>
                    <a:lnTo>
                      <a:pt x="522" y="158"/>
                    </a:lnTo>
                    <a:lnTo>
                      <a:pt x="524" y="155"/>
                    </a:lnTo>
                    <a:lnTo>
                      <a:pt x="527" y="155"/>
                    </a:lnTo>
                    <a:lnTo>
                      <a:pt x="530" y="153"/>
                    </a:lnTo>
                    <a:lnTo>
                      <a:pt x="533" y="153"/>
                    </a:lnTo>
                    <a:lnTo>
                      <a:pt x="536" y="155"/>
                    </a:lnTo>
                    <a:lnTo>
                      <a:pt x="541" y="158"/>
                    </a:lnTo>
                    <a:lnTo>
                      <a:pt x="541" y="161"/>
                    </a:lnTo>
                    <a:lnTo>
                      <a:pt x="546" y="172"/>
                    </a:lnTo>
                    <a:lnTo>
                      <a:pt x="552" y="182"/>
                    </a:lnTo>
                    <a:lnTo>
                      <a:pt x="552" y="184"/>
                    </a:lnTo>
                    <a:lnTo>
                      <a:pt x="550" y="187"/>
                    </a:lnTo>
                    <a:lnTo>
                      <a:pt x="550" y="190"/>
                    </a:lnTo>
                    <a:lnTo>
                      <a:pt x="550" y="196"/>
                    </a:lnTo>
                    <a:lnTo>
                      <a:pt x="550" y="201"/>
                    </a:lnTo>
                    <a:lnTo>
                      <a:pt x="552" y="204"/>
                    </a:lnTo>
                    <a:lnTo>
                      <a:pt x="554" y="207"/>
                    </a:lnTo>
                    <a:lnTo>
                      <a:pt x="552" y="210"/>
                    </a:lnTo>
                    <a:lnTo>
                      <a:pt x="552" y="214"/>
                    </a:lnTo>
                    <a:lnTo>
                      <a:pt x="550" y="217"/>
                    </a:lnTo>
                    <a:lnTo>
                      <a:pt x="550" y="220"/>
                    </a:lnTo>
                    <a:lnTo>
                      <a:pt x="547" y="220"/>
                    </a:lnTo>
                    <a:lnTo>
                      <a:pt x="543" y="223"/>
                    </a:lnTo>
                    <a:lnTo>
                      <a:pt x="539" y="225"/>
                    </a:lnTo>
                    <a:lnTo>
                      <a:pt x="538" y="228"/>
                    </a:lnTo>
                    <a:lnTo>
                      <a:pt x="535" y="229"/>
                    </a:lnTo>
                    <a:lnTo>
                      <a:pt x="530" y="229"/>
                    </a:lnTo>
                    <a:lnTo>
                      <a:pt x="527" y="233"/>
                    </a:lnTo>
                    <a:lnTo>
                      <a:pt x="524" y="234"/>
                    </a:lnTo>
                    <a:lnTo>
                      <a:pt x="520" y="236"/>
                    </a:lnTo>
                    <a:lnTo>
                      <a:pt x="516" y="239"/>
                    </a:lnTo>
                    <a:lnTo>
                      <a:pt x="516" y="242"/>
                    </a:lnTo>
                    <a:lnTo>
                      <a:pt x="514" y="245"/>
                    </a:lnTo>
                    <a:lnTo>
                      <a:pt x="509" y="249"/>
                    </a:lnTo>
                    <a:lnTo>
                      <a:pt x="506" y="249"/>
                    </a:lnTo>
                    <a:lnTo>
                      <a:pt x="503" y="250"/>
                    </a:lnTo>
                    <a:lnTo>
                      <a:pt x="503" y="252"/>
                    </a:lnTo>
                    <a:lnTo>
                      <a:pt x="500" y="256"/>
                    </a:lnTo>
                    <a:lnTo>
                      <a:pt x="498" y="256"/>
                    </a:lnTo>
                    <a:lnTo>
                      <a:pt x="495" y="258"/>
                    </a:lnTo>
                    <a:lnTo>
                      <a:pt x="493" y="260"/>
                    </a:lnTo>
                    <a:lnTo>
                      <a:pt x="492" y="261"/>
                    </a:lnTo>
                    <a:lnTo>
                      <a:pt x="490" y="264"/>
                    </a:lnTo>
                    <a:lnTo>
                      <a:pt x="493" y="268"/>
                    </a:lnTo>
                    <a:lnTo>
                      <a:pt x="492" y="271"/>
                    </a:lnTo>
                    <a:lnTo>
                      <a:pt x="489" y="269"/>
                    </a:lnTo>
                    <a:lnTo>
                      <a:pt x="485" y="269"/>
                    </a:lnTo>
                    <a:lnTo>
                      <a:pt x="485" y="272"/>
                    </a:lnTo>
                    <a:lnTo>
                      <a:pt x="482" y="274"/>
                    </a:lnTo>
                    <a:lnTo>
                      <a:pt x="482" y="277"/>
                    </a:lnTo>
                    <a:lnTo>
                      <a:pt x="481" y="282"/>
                    </a:lnTo>
                    <a:lnTo>
                      <a:pt x="478" y="285"/>
                    </a:lnTo>
                    <a:lnTo>
                      <a:pt x="474" y="288"/>
                    </a:lnTo>
                    <a:lnTo>
                      <a:pt x="474" y="291"/>
                    </a:lnTo>
                    <a:lnTo>
                      <a:pt x="473" y="295"/>
                    </a:lnTo>
                    <a:lnTo>
                      <a:pt x="470" y="298"/>
                    </a:lnTo>
                    <a:lnTo>
                      <a:pt x="466" y="301"/>
                    </a:lnTo>
                    <a:lnTo>
                      <a:pt x="465" y="304"/>
                    </a:lnTo>
                    <a:lnTo>
                      <a:pt x="465" y="309"/>
                    </a:lnTo>
                    <a:lnTo>
                      <a:pt x="462" y="312"/>
                    </a:lnTo>
                    <a:lnTo>
                      <a:pt x="462" y="314"/>
                    </a:lnTo>
                    <a:lnTo>
                      <a:pt x="459" y="317"/>
                    </a:lnTo>
                    <a:lnTo>
                      <a:pt x="455" y="323"/>
                    </a:lnTo>
                    <a:lnTo>
                      <a:pt x="454" y="325"/>
                    </a:lnTo>
                    <a:lnTo>
                      <a:pt x="452" y="326"/>
                    </a:lnTo>
                    <a:lnTo>
                      <a:pt x="447" y="328"/>
                    </a:lnTo>
                    <a:lnTo>
                      <a:pt x="447" y="333"/>
                    </a:lnTo>
                    <a:lnTo>
                      <a:pt x="447" y="336"/>
                    </a:lnTo>
                    <a:lnTo>
                      <a:pt x="444" y="339"/>
                    </a:lnTo>
                    <a:lnTo>
                      <a:pt x="441" y="342"/>
                    </a:lnTo>
                    <a:lnTo>
                      <a:pt x="439" y="344"/>
                    </a:lnTo>
                    <a:lnTo>
                      <a:pt x="438" y="344"/>
                    </a:lnTo>
                    <a:lnTo>
                      <a:pt x="439" y="347"/>
                    </a:lnTo>
                    <a:lnTo>
                      <a:pt x="438" y="350"/>
                    </a:lnTo>
                    <a:lnTo>
                      <a:pt x="435" y="353"/>
                    </a:lnTo>
                    <a:lnTo>
                      <a:pt x="432" y="356"/>
                    </a:lnTo>
                    <a:lnTo>
                      <a:pt x="432" y="358"/>
                    </a:lnTo>
                    <a:lnTo>
                      <a:pt x="435" y="364"/>
                    </a:lnTo>
                    <a:lnTo>
                      <a:pt x="438" y="371"/>
                    </a:lnTo>
                    <a:lnTo>
                      <a:pt x="435" y="374"/>
                    </a:lnTo>
                    <a:lnTo>
                      <a:pt x="436" y="379"/>
                    </a:lnTo>
                    <a:lnTo>
                      <a:pt x="436" y="385"/>
                    </a:lnTo>
                    <a:lnTo>
                      <a:pt x="435" y="391"/>
                    </a:lnTo>
                    <a:lnTo>
                      <a:pt x="433" y="396"/>
                    </a:lnTo>
                    <a:lnTo>
                      <a:pt x="435" y="398"/>
                    </a:lnTo>
                    <a:lnTo>
                      <a:pt x="436" y="401"/>
                    </a:lnTo>
                    <a:lnTo>
                      <a:pt x="436" y="404"/>
                    </a:lnTo>
                    <a:lnTo>
                      <a:pt x="436" y="407"/>
                    </a:lnTo>
                    <a:lnTo>
                      <a:pt x="433" y="410"/>
                    </a:lnTo>
                    <a:lnTo>
                      <a:pt x="433" y="415"/>
                    </a:lnTo>
                    <a:lnTo>
                      <a:pt x="435" y="418"/>
                    </a:lnTo>
                    <a:lnTo>
                      <a:pt x="435" y="421"/>
                    </a:lnTo>
                    <a:lnTo>
                      <a:pt x="435" y="421"/>
                    </a:lnTo>
                    <a:lnTo>
                      <a:pt x="435" y="425"/>
                    </a:lnTo>
                    <a:lnTo>
                      <a:pt x="436" y="426"/>
                    </a:lnTo>
                    <a:lnTo>
                      <a:pt x="438" y="428"/>
                    </a:lnTo>
                    <a:lnTo>
                      <a:pt x="439" y="431"/>
                    </a:lnTo>
                    <a:lnTo>
                      <a:pt x="436" y="434"/>
                    </a:lnTo>
                    <a:lnTo>
                      <a:pt x="436" y="436"/>
                    </a:lnTo>
                    <a:lnTo>
                      <a:pt x="436" y="437"/>
                    </a:lnTo>
                    <a:lnTo>
                      <a:pt x="436" y="440"/>
                    </a:lnTo>
                    <a:lnTo>
                      <a:pt x="438" y="445"/>
                    </a:lnTo>
                    <a:lnTo>
                      <a:pt x="439" y="448"/>
                    </a:lnTo>
                    <a:lnTo>
                      <a:pt x="441" y="451"/>
                    </a:lnTo>
                    <a:lnTo>
                      <a:pt x="443" y="455"/>
                    </a:lnTo>
                    <a:lnTo>
                      <a:pt x="443" y="458"/>
                    </a:lnTo>
                    <a:lnTo>
                      <a:pt x="443" y="463"/>
                    </a:lnTo>
                    <a:lnTo>
                      <a:pt x="438" y="461"/>
                    </a:lnTo>
                    <a:lnTo>
                      <a:pt x="435" y="464"/>
                    </a:lnTo>
                    <a:lnTo>
                      <a:pt x="435" y="467"/>
                    </a:lnTo>
                    <a:lnTo>
                      <a:pt x="436" y="471"/>
                    </a:lnTo>
                    <a:lnTo>
                      <a:pt x="435" y="474"/>
                    </a:lnTo>
                    <a:lnTo>
                      <a:pt x="435" y="478"/>
                    </a:lnTo>
                    <a:lnTo>
                      <a:pt x="435" y="482"/>
                    </a:lnTo>
                    <a:lnTo>
                      <a:pt x="435" y="485"/>
                    </a:lnTo>
                    <a:lnTo>
                      <a:pt x="436" y="488"/>
                    </a:lnTo>
                    <a:lnTo>
                      <a:pt x="439" y="493"/>
                    </a:lnTo>
                    <a:lnTo>
                      <a:pt x="441" y="496"/>
                    </a:lnTo>
                    <a:lnTo>
                      <a:pt x="441" y="497"/>
                    </a:lnTo>
                    <a:lnTo>
                      <a:pt x="441" y="499"/>
                    </a:lnTo>
                    <a:lnTo>
                      <a:pt x="444" y="502"/>
                    </a:lnTo>
                    <a:lnTo>
                      <a:pt x="446" y="505"/>
                    </a:lnTo>
                    <a:lnTo>
                      <a:pt x="444" y="507"/>
                    </a:lnTo>
                    <a:lnTo>
                      <a:pt x="444" y="509"/>
                    </a:lnTo>
                    <a:lnTo>
                      <a:pt x="444" y="510"/>
                    </a:lnTo>
                    <a:lnTo>
                      <a:pt x="439" y="510"/>
                    </a:lnTo>
                    <a:lnTo>
                      <a:pt x="441" y="512"/>
                    </a:lnTo>
                    <a:lnTo>
                      <a:pt x="444" y="515"/>
                    </a:lnTo>
                    <a:lnTo>
                      <a:pt x="444" y="518"/>
                    </a:lnTo>
                    <a:lnTo>
                      <a:pt x="447" y="521"/>
                    </a:lnTo>
                    <a:lnTo>
                      <a:pt x="451" y="523"/>
                    </a:lnTo>
                    <a:lnTo>
                      <a:pt x="452" y="526"/>
                    </a:lnTo>
                    <a:lnTo>
                      <a:pt x="455" y="528"/>
                    </a:lnTo>
                    <a:lnTo>
                      <a:pt x="468" y="532"/>
                    </a:lnTo>
                    <a:lnTo>
                      <a:pt x="481" y="540"/>
                    </a:lnTo>
                    <a:lnTo>
                      <a:pt x="481" y="540"/>
                    </a:lnTo>
                    <a:lnTo>
                      <a:pt x="489" y="545"/>
                    </a:lnTo>
                    <a:lnTo>
                      <a:pt x="497" y="553"/>
                    </a:lnTo>
                    <a:lnTo>
                      <a:pt x="500" y="556"/>
                    </a:lnTo>
                    <a:lnTo>
                      <a:pt x="500" y="561"/>
                    </a:lnTo>
                    <a:lnTo>
                      <a:pt x="498" y="564"/>
                    </a:lnTo>
                    <a:lnTo>
                      <a:pt x="497" y="567"/>
                    </a:lnTo>
                    <a:lnTo>
                      <a:pt x="495" y="570"/>
                    </a:lnTo>
                    <a:lnTo>
                      <a:pt x="495" y="574"/>
                    </a:lnTo>
                    <a:lnTo>
                      <a:pt x="495" y="577"/>
                    </a:lnTo>
                    <a:lnTo>
                      <a:pt x="498" y="580"/>
                    </a:lnTo>
                    <a:lnTo>
                      <a:pt x="500" y="585"/>
                    </a:lnTo>
                    <a:lnTo>
                      <a:pt x="503" y="588"/>
                    </a:lnTo>
                    <a:lnTo>
                      <a:pt x="506" y="591"/>
                    </a:lnTo>
                    <a:lnTo>
                      <a:pt x="509" y="593"/>
                    </a:lnTo>
                    <a:lnTo>
                      <a:pt x="514" y="594"/>
                    </a:lnTo>
                    <a:lnTo>
                      <a:pt x="517" y="596"/>
                    </a:lnTo>
                    <a:lnTo>
                      <a:pt x="520" y="593"/>
                    </a:lnTo>
                    <a:lnTo>
                      <a:pt x="522" y="594"/>
                    </a:lnTo>
                    <a:lnTo>
                      <a:pt x="524" y="597"/>
                    </a:lnTo>
                    <a:lnTo>
                      <a:pt x="525" y="601"/>
                    </a:lnTo>
                    <a:lnTo>
                      <a:pt x="527" y="604"/>
                    </a:lnTo>
                    <a:lnTo>
                      <a:pt x="527" y="607"/>
                    </a:lnTo>
                    <a:lnTo>
                      <a:pt x="528" y="612"/>
                    </a:lnTo>
                    <a:lnTo>
                      <a:pt x="530" y="615"/>
                    </a:lnTo>
                    <a:lnTo>
                      <a:pt x="530" y="618"/>
                    </a:lnTo>
                    <a:lnTo>
                      <a:pt x="524" y="632"/>
                    </a:lnTo>
                    <a:lnTo>
                      <a:pt x="517" y="647"/>
                    </a:lnTo>
                    <a:lnTo>
                      <a:pt x="516" y="650"/>
                    </a:lnTo>
                    <a:lnTo>
                      <a:pt x="512" y="653"/>
                    </a:lnTo>
                    <a:lnTo>
                      <a:pt x="511" y="656"/>
                    </a:lnTo>
                    <a:lnTo>
                      <a:pt x="511" y="661"/>
                    </a:lnTo>
                    <a:lnTo>
                      <a:pt x="512" y="664"/>
                    </a:lnTo>
                    <a:lnTo>
                      <a:pt x="512" y="667"/>
                    </a:lnTo>
                    <a:lnTo>
                      <a:pt x="509" y="672"/>
                    </a:lnTo>
                    <a:lnTo>
                      <a:pt x="505" y="674"/>
                    </a:lnTo>
                    <a:lnTo>
                      <a:pt x="490" y="681"/>
                    </a:lnTo>
                    <a:lnTo>
                      <a:pt x="474" y="688"/>
                    </a:lnTo>
                    <a:lnTo>
                      <a:pt x="460" y="693"/>
                    </a:lnTo>
                    <a:lnTo>
                      <a:pt x="446" y="696"/>
                    </a:lnTo>
                    <a:lnTo>
                      <a:pt x="432" y="699"/>
                    </a:lnTo>
                    <a:lnTo>
                      <a:pt x="417" y="700"/>
                    </a:lnTo>
                    <a:lnTo>
                      <a:pt x="403" y="702"/>
                    </a:lnTo>
                    <a:lnTo>
                      <a:pt x="389" y="704"/>
                    </a:lnTo>
                    <a:lnTo>
                      <a:pt x="386" y="704"/>
                    </a:lnTo>
                    <a:lnTo>
                      <a:pt x="382" y="702"/>
                    </a:lnTo>
                    <a:lnTo>
                      <a:pt x="379" y="702"/>
                    </a:lnTo>
                    <a:lnTo>
                      <a:pt x="376" y="702"/>
                    </a:lnTo>
                    <a:lnTo>
                      <a:pt x="371" y="700"/>
                    </a:lnTo>
                    <a:lnTo>
                      <a:pt x="368" y="699"/>
                    </a:lnTo>
                    <a:lnTo>
                      <a:pt x="365" y="696"/>
                    </a:lnTo>
                    <a:lnTo>
                      <a:pt x="362" y="696"/>
                    </a:lnTo>
                    <a:lnTo>
                      <a:pt x="359" y="696"/>
                    </a:lnTo>
                    <a:lnTo>
                      <a:pt x="360" y="699"/>
                    </a:lnTo>
                    <a:lnTo>
                      <a:pt x="363" y="702"/>
                    </a:lnTo>
                    <a:lnTo>
                      <a:pt x="363" y="705"/>
                    </a:lnTo>
                    <a:lnTo>
                      <a:pt x="363" y="708"/>
                    </a:lnTo>
                    <a:lnTo>
                      <a:pt x="365" y="712"/>
                    </a:lnTo>
                    <a:lnTo>
                      <a:pt x="368" y="715"/>
                    </a:lnTo>
                    <a:lnTo>
                      <a:pt x="373" y="715"/>
                    </a:lnTo>
                    <a:lnTo>
                      <a:pt x="374" y="719"/>
                    </a:lnTo>
                    <a:lnTo>
                      <a:pt x="370" y="718"/>
                    </a:lnTo>
                    <a:lnTo>
                      <a:pt x="374" y="721"/>
                    </a:lnTo>
                    <a:lnTo>
                      <a:pt x="378" y="723"/>
                    </a:lnTo>
                    <a:lnTo>
                      <a:pt x="378" y="726"/>
                    </a:lnTo>
                    <a:lnTo>
                      <a:pt x="378" y="731"/>
                    </a:lnTo>
                    <a:lnTo>
                      <a:pt x="378" y="734"/>
                    </a:lnTo>
                    <a:lnTo>
                      <a:pt x="378" y="737"/>
                    </a:lnTo>
                    <a:lnTo>
                      <a:pt x="376" y="739"/>
                    </a:lnTo>
                    <a:lnTo>
                      <a:pt x="373" y="737"/>
                    </a:lnTo>
                    <a:lnTo>
                      <a:pt x="373" y="740"/>
                    </a:lnTo>
                    <a:lnTo>
                      <a:pt x="374" y="743"/>
                    </a:lnTo>
                    <a:lnTo>
                      <a:pt x="373" y="745"/>
                    </a:lnTo>
                    <a:lnTo>
                      <a:pt x="374" y="748"/>
                    </a:lnTo>
                    <a:lnTo>
                      <a:pt x="374" y="753"/>
                    </a:lnTo>
                    <a:lnTo>
                      <a:pt x="373" y="756"/>
                    </a:lnTo>
                    <a:lnTo>
                      <a:pt x="374" y="759"/>
                    </a:lnTo>
                    <a:lnTo>
                      <a:pt x="378" y="762"/>
                    </a:lnTo>
                    <a:lnTo>
                      <a:pt x="381" y="764"/>
                    </a:lnTo>
                    <a:lnTo>
                      <a:pt x="384" y="767"/>
                    </a:lnTo>
                    <a:lnTo>
                      <a:pt x="382" y="770"/>
                    </a:lnTo>
                    <a:lnTo>
                      <a:pt x="387" y="770"/>
                    </a:lnTo>
                    <a:lnTo>
                      <a:pt x="386" y="777"/>
                    </a:lnTo>
                    <a:lnTo>
                      <a:pt x="382" y="780"/>
                    </a:lnTo>
                    <a:lnTo>
                      <a:pt x="379" y="783"/>
                    </a:lnTo>
                    <a:lnTo>
                      <a:pt x="373" y="786"/>
                    </a:lnTo>
                    <a:lnTo>
                      <a:pt x="367" y="789"/>
                    </a:lnTo>
                    <a:lnTo>
                      <a:pt x="362" y="791"/>
                    </a:lnTo>
                    <a:lnTo>
                      <a:pt x="357" y="791"/>
                    </a:lnTo>
                    <a:lnTo>
                      <a:pt x="349" y="791"/>
                    </a:lnTo>
                    <a:lnTo>
                      <a:pt x="335" y="788"/>
                    </a:lnTo>
                    <a:lnTo>
                      <a:pt x="325" y="785"/>
                    </a:lnTo>
                    <a:lnTo>
                      <a:pt x="313" y="780"/>
                    </a:lnTo>
                    <a:lnTo>
                      <a:pt x="300" y="777"/>
                    </a:lnTo>
                    <a:lnTo>
                      <a:pt x="303" y="777"/>
                    </a:lnTo>
                    <a:lnTo>
                      <a:pt x="300" y="773"/>
                    </a:lnTo>
                    <a:lnTo>
                      <a:pt x="297" y="775"/>
                    </a:lnTo>
                    <a:lnTo>
                      <a:pt x="294" y="777"/>
                    </a:lnTo>
                    <a:lnTo>
                      <a:pt x="292" y="780"/>
                    </a:lnTo>
                    <a:lnTo>
                      <a:pt x="292" y="783"/>
                    </a:lnTo>
                    <a:lnTo>
                      <a:pt x="294" y="786"/>
                    </a:lnTo>
                    <a:lnTo>
                      <a:pt x="295" y="791"/>
                    </a:lnTo>
                    <a:lnTo>
                      <a:pt x="297" y="794"/>
                    </a:lnTo>
                    <a:lnTo>
                      <a:pt x="303" y="804"/>
                    </a:lnTo>
                    <a:lnTo>
                      <a:pt x="306" y="811"/>
                    </a:lnTo>
                    <a:lnTo>
                      <a:pt x="308" y="821"/>
                    </a:lnTo>
                    <a:lnTo>
                      <a:pt x="311" y="827"/>
                    </a:lnTo>
                    <a:lnTo>
                      <a:pt x="313" y="829"/>
                    </a:lnTo>
                    <a:lnTo>
                      <a:pt x="316" y="832"/>
                    </a:lnTo>
                    <a:lnTo>
                      <a:pt x="324" y="834"/>
                    </a:lnTo>
                    <a:lnTo>
                      <a:pt x="327" y="835"/>
                    </a:lnTo>
                    <a:lnTo>
                      <a:pt x="330" y="835"/>
                    </a:lnTo>
                    <a:lnTo>
                      <a:pt x="332" y="838"/>
                    </a:lnTo>
                    <a:lnTo>
                      <a:pt x="330" y="842"/>
                    </a:lnTo>
                    <a:lnTo>
                      <a:pt x="333" y="842"/>
                    </a:lnTo>
                    <a:lnTo>
                      <a:pt x="336" y="843"/>
                    </a:lnTo>
                    <a:lnTo>
                      <a:pt x="341" y="842"/>
                    </a:lnTo>
                    <a:lnTo>
                      <a:pt x="344" y="842"/>
                    </a:lnTo>
                    <a:lnTo>
                      <a:pt x="347" y="842"/>
                    </a:lnTo>
                    <a:lnTo>
                      <a:pt x="347" y="837"/>
                    </a:lnTo>
                    <a:lnTo>
                      <a:pt x="343" y="835"/>
                    </a:lnTo>
                    <a:lnTo>
                      <a:pt x="340" y="835"/>
                    </a:lnTo>
                    <a:lnTo>
                      <a:pt x="336" y="834"/>
                    </a:lnTo>
                    <a:lnTo>
                      <a:pt x="340" y="834"/>
                    </a:lnTo>
                    <a:lnTo>
                      <a:pt x="344" y="832"/>
                    </a:lnTo>
                    <a:lnTo>
                      <a:pt x="347" y="830"/>
                    </a:lnTo>
                    <a:lnTo>
                      <a:pt x="351" y="829"/>
                    </a:lnTo>
                    <a:lnTo>
                      <a:pt x="354" y="829"/>
                    </a:lnTo>
                    <a:lnTo>
                      <a:pt x="357" y="832"/>
                    </a:lnTo>
                    <a:lnTo>
                      <a:pt x="360" y="835"/>
                    </a:lnTo>
                    <a:lnTo>
                      <a:pt x="363" y="840"/>
                    </a:lnTo>
                    <a:lnTo>
                      <a:pt x="363" y="843"/>
                    </a:lnTo>
                    <a:lnTo>
                      <a:pt x="365" y="846"/>
                    </a:lnTo>
                    <a:lnTo>
                      <a:pt x="367" y="850"/>
                    </a:lnTo>
                    <a:lnTo>
                      <a:pt x="367" y="853"/>
                    </a:lnTo>
                    <a:lnTo>
                      <a:pt x="367" y="856"/>
                    </a:lnTo>
                    <a:lnTo>
                      <a:pt x="363" y="859"/>
                    </a:lnTo>
                    <a:lnTo>
                      <a:pt x="359" y="859"/>
                    </a:lnTo>
                    <a:lnTo>
                      <a:pt x="355" y="859"/>
                    </a:lnTo>
                    <a:lnTo>
                      <a:pt x="352" y="861"/>
                    </a:lnTo>
                    <a:lnTo>
                      <a:pt x="349" y="857"/>
                    </a:lnTo>
                    <a:lnTo>
                      <a:pt x="346" y="854"/>
                    </a:lnTo>
                    <a:lnTo>
                      <a:pt x="346" y="851"/>
                    </a:lnTo>
                    <a:lnTo>
                      <a:pt x="340" y="846"/>
                    </a:lnTo>
                    <a:lnTo>
                      <a:pt x="333" y="845"/>
                    </a:lnTo>
                    <a:lnTo>
                      <a:pt x="328" y="848"/>
                    </a:lnTo>
                    <a:lnTo>
                      <a:pt x="322" y="854"/>
                    </a:lnTo>
                    <a:lnTo>
                      <a:pt x="322" y="857"/>
                    </a:lnTo>
                    <a:lnTo>
                      <a:pt x="335" y="861"/>
                    </a:lnTo>
                    <a:lnTo>
                      <a:pt x="347" y="864"/>
                    </a:lnTo>
                    <a:lnTo>
                      <a:pt x="346" y="867"/>
                    </a:lnTo>
                    <a:lnTo>
                      <a:pt x="341" y="869"/>
                    </a:lnTo>
                    <a:lnTo>
                      <a:pt x="338" y="870"/>
                    </a:lnTo>
                    <a:lnTo>
                      <a:pt x="335" y="872"/>
                    </a:lnTo>
                    <a:lnTo>
                      <a:pt x="332" y="873"/>
                    </a:lnTo>
                    <a:lnTo>
                      <a:pt x="328" y="878"/>
                    </a:lnTo>
                    <a:lnTo>
                      <a:pt x="328" y="880"/>
                    </a:lnTo>
                    <a:lnTo>
                      <a:pt x="328" y="883"/>
                    </a:lnTo>
                    <a:lnTo>
                      <a:pt x="327" y="886"/>
                    </a:lnTo>
                    <a:lnTo>
                      <a:pt x="324" y="889"/>
                    </a:lnTo>
                    <a:lnTo>
                      <a:pt x="324" y="892"/>
                    </a:lnTo>
                    <a:lnTo>
                      <a:pt x="325" y="897"/>
                    </a:lnTo>
                    <a:lnTo>
                      <a:pt x="328" y="903"/>
                    </a:lnTo>
                    <a:lnTo>
                      <a:pt x="332" y="907"/>
                    </a:lnTo>
                    <a:lnTo>
                      <a:pt x="333" y="908"/>
                    </a:lnTo>
                    <a:lnTo>
                      <a:pt x="332" y="915"/>
                    </a:lnTo>
                    <a:lnTo>
                      <a:pt x="335" y="918"/>
                    </a:lnTo>
                    <a:lnTo>
                      <a:pt x="336" y="921"/>
                    </a:lnTo>
                    <a:lnTo>
                      <a:pt x="335" y="924"/>
                    </a:lnTo>
                    <a:lnTo>
                      <a:pt x="335" y="927"/>
                    </a:lnTo>
                    <a:lnTo>
                      <a:pt x="332" y="929"/>
                    </a:lnTo>
                    <a:lnTo>
                      <a:pt x="328" y="932"/>
                    </a:lnTo>
                    <a:lnTo>
                      <a:pt x="327" y="935"/>
                    </a:lnTo>
                    <a:lnTo>
                      <a:pt x="328" y="938"/>
                    </a:lnTo>
                    <a:lnTo>
                      <a:pt x="332" y="940"/>
                    </a:lnTo>
                    <a:lnTo>
                      <a:pt x="335" y="943"/>
                    </a:lnTo>
                    <a:lnTo>
                      <a:pt x="335" y="946"/>
                    </a:lnTo>
                    <a:lnTo>
                      <a:pt x="333" y="948"/>
                    </a:lnTo>
                    <a:lnTo>
                      <a:pt x="330" y="946"/>
                    </a:lnTo>
                    <a:lnTo>
                      <a:pt x="327" y="946"/>
                    </a:lnTo>
                    <a:lnTo>
                      <a:pt x="325" y="946"/>
                    </a:lnTo>
                    <a:lnTo>
                      <a:pt x="325" y="946"/>
                    </a:lnTo>
                    <a:lnTo>
                      <a:pt x="322" y="946"/>
                    </a:lnTo>
                    <a:lnTo>
                      <a:pt x="321" y="945"/>
                    </a:lnTo>
                    <a:lnTo>
                      <a:pt x="317" y="945"/>
                    </a:lnTo>
                    <a:lnTo>
                      <a:pt x="314" y="946"/>
                    </a:lnTo>
                    <a:lnTo>
                      <a:pt x="313" y="946"/>
                    </a:lnTo>
                    <a:lnTo>
                      <a:pt x="309" y="948"/>
                    </a:lnTo>
                    <a:lnTo>
                      <a:pt x="306" y="951"/>
                    </a:lnTo>
                    <a:lnTo>
                      <a:pt x="308" y="954"/>
                    </a:lnTo>
                    <a:lnTo>
                      <a:pt x="303" y="954"/>
                    </a:lnTo>
                    <a:lnTo>
                      <a:pt x="300" y="954"/>
                    </a:lnTo>
                    <a:lnTo>
                      <a:pt x="297" y="954"/>
                    </a:lnTo>
                    <a:lnTo>
                      <a:pt x="294" y="957"/>
                    </a:lnTo>
                    <a:lnTo>
                      <a:pt x="292" y="962"/>
                    </a:lnTo>
                    <a:lnTo>
                      <a:pt x="290" y="968"/>
                    </a:lnTo>
                    <a:lnTo>
                      <a:pt x="289" y="972"/>
                    </a:lnTo>
                    <a:lnTo>
                      <a:pt x="289" y="976"/>
                    </a:lnTo>
                    <a:lnTo>
                      <a:pt x="287" y="980"/>
                    </a:lnTo>
                    <a:lnTo>
                      <a:pt x="286" y="983"/>
                    </a:lnTo>
                    <a:lnTo>
                      <a:pt x="286" y="986"/>
                    </a:lnTo>
                    <a:lnTo>
                      <a:pt x="286" y="987"/>
                    </a:lnTo>
                    <a:lnTo>
                      <a:pt x="286" y="991"/>
                    </a:lnTo>
                    <a:lnTo>
                      <a:pt x="289" y="995"/>
                    </a:lnTo>
                    <a:lnTo>
                      <a:pt x="292" y="1000"/>
                    </a:lnTo>
                    <a:lnTo>
                      <a:pt x="297" y="1005"/>
                    </a:lnTo>
                    <a:lnTo>
                      <a:pt x="301" y="1010"/>
                    </a:lnTo>
                    <a:lnTo>
                      <a:pt x="306" y="1013"/>
                    </a:lnTo>
                    <a:lnTo>
                      <a:pt x="316" y="1019"/>
                    </a:lnTo>
                    <a:lnTo>
                      <a:pt x="324" y="1024"/>
                    </a:lnTo>
                    <a:lnTo>
                      <a:pt x="328" y="1027"/>
                    </a:lnTo>
                    <a:lnTo>
                      <a:pt x="332" y="1029"/>
                    </a:lnTo>
                    <a:lnTo>
                      <a:pt x="335" y="1029"/>
                    </a:lnTo>
                    <a:lnTo>
                      <a:pt x="338" y="1029"/>
                    </a:lnTo>
                    <a:lnTo>
                      <a:pt x="341" y="1029"/>
                    </a:lnTo>
                    <a:lnTo>
                      <a:pt x="346" y="1029"/>
                    </a:lnTo>
                    <a:lnTo>
                      <a:pt x="351" y="1029"/>
                    </a:lnTo>
                    <a:lnTo>
                      <a:pt x="354" y="1029"/>
                    </a:lnTo>
                    <a:lnTo>
                      <a:pt x="357" y="1030"/>
                    </a:lnTo>
                    <a:lnTo>
                      <a:pt x="363" y="1035"/>
                    </a:lnTo>
                    <a:lnTo>
                      <a:pt x="365" y="1040"/>
                    </a:lnTo>
                    <a:lnTo>
                      <a:pt x="368" y="1046"/>
                    </a:lnTo>
                    <a:lnTo>
                      <a:pt x="368" y="1051"/>
                    </a:lnTo>
                    <a:lnTo>
                      <a:pt x="367" y="1057"/>
                    </a:lnTo>
                    <a:lnTo>
                      <a:pt x="363" y="1056"/>
                    </a:lnTo>
                    <a:lnTo>
                      <a:pt x="360" y="1059"/>
                    </a:lnTo>
                    <a:lnTo>
                      <a:pt x="355" y="1060"/>
                    </a:lnTo>
                    <a:lnTo>
                      <a:pt x="352" y="1060"/>
                    </a:lnTo>
                    <a:lnTo>
                      <a:pt x="355" y="1060"/>
                    </a:lnTo>
                    <a:lnTo>
                      <a:pt x="359" y="1059"/>
                    </a:lnTo>
                    <a:lnTo>
                      <a:pt x="362" y="1059"/>
                    </a:lnTo>
                    <a:lnTo>
                      <a:pt x="367" y="1057"/>
                    </a:lnTo>
                    <a:lnTo>
                      <a:pt x="370" y="1060"/>
                    </a:lnTo>
                    <a:lnTo>
                      <a:pt x="373" y="1065"/>
                    </a:lnTo>
                    <a:lnTo>
                      <a:pt x="370" y="1067"/>
                    </a:lnTo>
                    <a:lnTo>
                      <a:pt x="370" y="1070"/>
                    </a:lnTo>
                    <a:lnTo>
                      <a:pt x="367" y="1070"/>
                    </a:lnTo>
                    <a:lnTo>
                      <a:pt x="365" y="1073"/>
                    </a:lnTo>
                    <a:lnTo>
                      <a:pt x="362" y="1076"/>
                    </a:lnTo>
                    <a:lnTo>
                      <a:pt x="359" y="1079"/>
                    </a:lnTo>
                    <a:lnTo>
                      <a:pt x="355" y="1083"/>
                    </a:lnTo>
                    <a:lnTo>
                      <a:pt x="352" y="1086"/>
                    </a:lnTo>
                    <a:lnTo>
                      <a:pt x="349" y="1089"/>
                    </a:lnTo>
                    <a:lnTo>
                      <a:pt x="346" y="1091"/>
                    </a:lnTo>
                    <a:lnTo>
                      <a:pt x="341" y="1094"/>
                    </a:lnTo>
                    <a:lnTo>
                      <a:pt x="341" y="1097"/>
                    </a:lnTo>
                    <a:lnTo>
                      <a:pt x="338" y="1100"/>
                    </a:lnTo>
                    <a:lnTo>
                      <a:pt x="336" y="1103"/>
                    </a:lnTo>
                    <a:lnTo>
                      <a:pt x="333" y="1106"/>
                    </a:lnTo>
                    <a:lnTo>
                      <a:pt x="333" y="1111"/>
                    </a:lnTo>
                    <a:lnTo>
                      <a:pt x="335" y="1114"/>
                    </a:lnTo>
                    <a:lnTo>
                      <a:pt x="333" y="1118"/>
                    </a:lnTo>
                    <a:lnTo>
                      <a:pt x="332" y="1121"/>
                    </a:lnTo>
                    <a:lnTo>
                      <a:pt x="335" y="1121"/>
                    </a:lnTo>
                    <a:lnTo>
                      <a:pt x="336" y="1118"/>
                    </a:lnTo>
                    <a:lnTo>
                      <a:pt x="336" y="1121"/>
                    </a:lnTo>
                    <a:lnTo>
                      <a:pt x="338" y="1124"/>
                    </a:lnTo>
                    <a:lnTo>
                      <a:pt x="338" y="1127"/>
                    </a:lnTo>
                    <a:lnTo>
                      <a:pt x="340" y="1132"/>
                    </a:lnTo>
                    <a:lnTo>
                      <a:pt x="341" y="1137"/>
                    </a:lnTo>
                    <a:lnTo>
                      <a:pt x="341" y="1141"/>
                    </a:lnTo>
                    <a:lnTo>
                      <a:pt x="340" y="1144"/>
                    </a:lnTo>
                    <a:lnTo>
                      <a:pt x="336" y="1149"/>
                    </a:lnTo>
                    <a:lnTo>
                      <a:pt x="332" y="1149"/>
                    </a:lnTo>
                    <a:lnTo>
                      <a:pt x="328" y="1151"/>
                    </a:lnTo>
                    <a:lnTo>
                      <a:pt x="325" y="1149"/>
                    </a:lnTo>
                    <a:lnTo>
                      <a:pt x="322" y="1146"/>
                    </a:lnTo>
                    <a:lnTo>
                      <a:pt x="322" y="1144"/>
                    </a:lnTo>
                    <a:lnTo>
                      <a:pt x="317" y="1141"/>
                    </a:lnTo>
                    <a:lnTo>
                      <a:pt x="314" y="1140"/>
                    </a:lnTo>
                    <a:lnTo>
                      <a:pt x="313" y="1137"/>
                    </a:lnTo>
                    <a:lnTo>
                      <a:pt x="313" y="1137"/>
                    </a:lnTo>
                    <a:lnTo>
                      <a:pt x="309" y="1135"/>
                    </a:lnTo>
                    <a:lnTo>
                      <a:pt x="313" y="1137"/>
                    </a:lnTo>
                    <a:lnTo>
                      <a:pt x="314" y="1140"/>
                    </a:lnTo>
                    <a:lnTo>
                      <a:pt x="316" y="1140"/>
                    </a:lnTo>
                    <a:lnTo>
                      <a:pt x="316" y="1144"/>
                    </a:lnTo>
                    <a:lnTo>
                      <a:pt x="309" y="1144"/>
                    </a:lnTo>
                    <a:lnTo>
                      <a:pt x="306" y="1144"/>
                    </a:lnTo>
                    <a:lnTo>
                      <a:pt x="305" y="1146"/>
                    </a:lnTo>
                    <a:lnTo>
                      <a:pt x="305" y="1146"/>
                    </a:lnTo>
                    <a:lnTo>
                      <a:pt x="308" y="1146"/>
                    </a:lnTo>
                    <a:lnTo>
                      <a:pt x="308" y="1146"/>
                    </a:lnTo>
                    <a:lnTo>
                      <a:pt x="309" y="1144"/>
                    </a:lnTo>
                    <a:lnTo>
                      <a:pt x="313" y="1144"/>
                    </a:lnTo>
                    <a:lnTo>
                      <a:pt x="316" y="1144"/>
                    </a:lnTo>
                    <a:lnTo>
                      <a:pt x="319" y="1146"/>
                    </a:lnTo>
                    <a:lnTo>
                      <a:pt x="322" y="1149"/>
                    </a:lnTo>
                    <a:lnTo>
                      <a:pt x="327" y="1151"/>
                    </a:lnTo>
                    <a:lnTo>
                      <a:pt x="325" y="1154"/>
                    </a:lnTo>
                    <a:lnTo>
                      <a:pt x="322" y="1156"/>
                    </a:lnTo>
                    <a:lnTo>
                      <a:pt x="317" y="1157"/>
                    </a:lnTo>
                    <a:lnTo>
                      <a:pt x="314" y="1160"/>
                    </a:lnTo>
                    <a:lnTo>
                      <a:pt x="313" y="1164"/>
                    </a:lnTo>
                    <a:lnTo>
                      <a:pt x="313" y="1167"/>
                    </a:lnTo>
                    <a:lnTo>
                      <a:pt x="313" y="1170"/>
                    </a:lnTo>
                    <a:lnTo>
                      <a:pt x="314" y="1175"/>
                    </a:lnTo>
                    <a:lnTo>
                      <a:pt x="314" y="1178"/>
                    </a:lnTo>
                    <a:lnTo>
                      <a:pt x="316" y="1181"/>
                    </a:lnTo>
                    <a:lnTo>
                      <a:pt x="314" y="1184"/>
                    </a:lnTo>
                    <a:lnTo>
                      <a:pt x="311" y="1187"/>
                    </a:lnTo>
                    <a:lnTo>
                      <a:pt x="313" y="1187"/>
                    </a:lnTo>
                    <a:lnTo>
                      <a:pt x="316" y="1184"/>
                    </a:lnTo>
                    <a:lnTo>
                      <a:pt x="319" y="1186"/>
                    </a:lnTo>
                    <a:lnTo>
                      <a:pt x="321" y="1190"/>
                    </a:lnTo>
                    <a:lnTo>
                      <a:pt x="324" y="1194"/>
                    </a:lnTo>
                    <a:lnTo>
                      <a:pt x="327" y="1197"/>
                    </a:lnTo>
                    <a:lnTo>
                      <a:pt x="328" y="1200"/>
                    </a:lnTo>
                    <a:lnTo>
                      <a:pt x="332" y="1203"/>
                    </a:lnTo>
                    <a:lnTo>
                      <a:pt x="333" y="1206"/>
                    </a:lnTo>
                    <a:lnTo>
                      <a:pt x="330" y="1209"/>
                    </a:lnTo>
                    <a:lnTo>
                      <a:pt x="325" y="1208"/>
                    </a:lnTo>
                    <a:lnTo>
                      <a:pt x="322" y="1206"/>
                    </a:lnTo>
                    <a:lnTo>
                      <a:pt x="319" y="1208"/>
                    </a:lnTo>
                    <a:lnTo>
                      <a:pt x="316" y="1209"/>
                    </a:lnTo>
                    <a:lnTo>
                      <a:pt x="316" y="1209"/>
                    </a:lnTo>
                    <a:lnTo>
                      <a:pt x="319" y="1208"/>
                    </a:lnTo>
                    <a:lnTo>
                      <a:pt x="322" y="1208"/>
                    </a:lnTo>
                    <a:lnTo>
                      <a:pt x="327" y="1209"/>
                    </a:lnTo>
                    <a:lnTo>
                      <a:pt x="330" y="1211"/>
                    </a:lnTo>
                    <a:lnTo>
                      <a:pt x="333" y="1209"/>
                    </a:lnTo>
                    <a:lnTo>
                      <a:pt x="343" y="1216"/>
                    </a:lnTo>
                    <a:lnTo>
                      <a:pt x="351" y="1224"/>
                    </a:lnTo>
                    <a:lnTo>
                      <a:pt x="354" y="1227"/>
                    </a:lnTo>
                    <a:lnTo>
                      <a:pt x="357" y="1230"/>
                    </a:lnTo>
                    <a:lnTo>
                      <a:pt x="360" y="1232"/>
                    </a:lnTo>
                    <a:lnTo>
                      <a:pt x="365" y="1235"/>
                    </a:lnTo>
                    <a:lnTo>
                      <a:pt x="367" y="1238"/>
                    </a:lnTo>
                    <a:lnTo>
                      <a:pt x="365" y="1238"/>
                    </a:lnTo>
                    <a:lnTo>
                      <a:pt x="365" y="1240"/>
                    </a:lnTo>
                    <a:lnTo>
                      <a:pt x="365" y="1238"/>
                    </a:lnTo>
                    <a:lnTo>
                      <a:pt x="365" y="1238"/>
                    </a:lnTo>
                    <a:lnTo>
                      <a:pt x="362" y="1236"/>
                    </a:lnTo>
                    <a:lnTo>
                      <a:pt x="360" y="1236"/>
                    </a:lnTo>
                    <a:lnTo>
                      <a:pt x="357" y="1236"/>
                    </a:lnTo>
                    <a:lnTo>
                      <a:pt x="354" y="1235"/>
                    </a:lnTo>
                    <a:lnTo>
                      <a:pt x="352" y="1235"/>
                    </a:lnTo>
                    <a:lnTo>
                      <a:pt x="349" y="1235"/>
                    </a:lnTo>
                    <a:lnTo>
                      <a:pt x="349" y="1233"/>
                    </a:lnTo>
                    <a:lnTo>
                      <a:pt x="335" y="1230"/>
                    </a:lnTo>
                    <a:lnTo>
                      <a:pt x="321" y="1227"/>
                    </a:lnTo>
                    <a:lnTo>
                      <a:pt x="311" y="1225"/>
                    </a:lnTo>
                    <a:lnTo>
                      <a:pt x="303" y="1224"/>
                    </a:lnTo>
                    <a:lnTo>
                      <a:pt x="294" y="1224"/>
                    </a:lnTo>
                    <a:lnTo>
                      <a:pt x="284" y="1224"/>
                    </a:lnTo>
                    <a:lnTo>
                      <a:pt x="270" y="1224"/>
                    </a:lnTo>
                    <a:lnTo>
                      <a:pt x="256" y="1224"/>
                    </a:lnTo>
                    <a:lnTo>
                      <a:pt x="251" y="1224"/>
                    </a:lnTo>
                    <a:lnTo>
                      <a:pt x="249" y="1224"/>
                    </a:lnTo>
                    <a:lnTo>
                      <a:pt x="248" y="1219"/>
                    </a:lnTo>
                    <a:lnTo>
                      <a:pt x="244" y="1217"/>
                    </a:lnTo>
                    <a:lnTo>
                      <a:pt x="241" y="1214"/>
                    </a:lnTo>
                    <a:lnTo>
                      <a:pt x="238" y="1213"/>
                    </a:lnTo>
                    <a:lnTo>
                      <a:pt x="233" y="1213"/>
                    </a:lnTo>
                    <a:lnTo>
                      <a:pt x="233" y="1211"/>
                    </a:lnTo>
                    <a:lnTo>
                      <a:pt x="230" y="1208"/>
                    </a:lnTo>
                    <a:lnTo>
                      <a:pt x="227" y="1206"/>
                    </a:lnTo>
                    <a:lnTo>
                      <a:pt x="229" y="1203"/>
                    </a:lnTo>
                    <a:lnTo>
                      <a:pt x="227" y="1200"/>
                    </a:lnTo>
                    <a:lnTo>
                      <a:pt x="225" y="1197"/>
                    </a:lnTo>
                    <a:lnTo>
                      <a:pt x="227" y="1195"/>
                    </a:lnTo>
                    <a:lnTo>
                      <a:pt x="224" y="1192"/>
                    </a:lnTo>
                    <a:lnTo>
                      <a:pt x="221" y="1190"/>
                    </a:lnTo>
                    <a:lnTo>
                      <a:pt x="219" y="1187"/>
                    </a:lnTo>
                    <a:lnTo>
                      <a:pt x="221" y="1184"/>
                    </a:lnTo>
                    <a:lnTo>
                      <a:pt x="219" y="1181"/>
                    </a:lnTo>
                    <a:lnTo>
                      <a:pt x="216" y="1176"/>
                    </a:lnTo>
                    <a:lnTo>
                      <a:pt x="214" y="1173"/>
                    </a:lnTo>
                    <a:lnTo>
                      <a:pt x="213" y="1171"/>
                    </a:lnTo>
                    <a:lnTo>
                      <a:pt x="208" y="1170"/>
                    </a:lnTo>
                    <a:lnTo>
                      <a:pt x="205" y="1171"/>
                    </a:lnTo>
                    <a:lnTo>
                      <a:pt x="202" y="1171"/>
                    </a:lnTo>
                    <a:lnTo>
                      <a:pt x="198" y="1170"/>
                    </a:lnTo>
                    <a:lnTo>
                      <a:pt x="194" y="1173"/>
                    </a:lnTo>
                    <a:lnTo>
                      <a:pt x="190" y="1176"/>
                    </a:lnTo>
                    <a:lnTo>
                      <a:pt x="187" y="1175"/>
                    </a:lnTo>
                    <a:lnTo>
                      <a:pt x="186" y="1170"/>
                    </a:lnTo>
                    <a:lnTo>
                      <a:pt x="183" y="1167"/>
                    </a:lnTo>
                    <a:lnTo>
                      <a:pt x="178" y="1160"/>
                    </a:lnTo>
                    <a:lnTo>
                      <a:pt x="175" y="1157"/>
                    </a:lnTo>
                    <a:lnTo>
                      <a:pt x="171" y="1154"/>
                    </a:lnTo>
                    <a:lnTo>
                      <a:pt x="168" y="1152"/>
                    </a:lnTo>
                    <a:lnTo>
                      <a:pt x="165" y="1149"/>
                    </a:lnTo>
                    <a:lnTo>
                      <a:pt x="165" y="1146"/>
                    </a:lnTo>
                    <a:lnTo>
                      <a:pt x="164" y="1144"/>
                    </a:lnTo>
                    <a:lnTo>
                      <a:pt x="160" y="1143"/>
                    </a:lnTo>
                    <a:lnTo>
                      <a:pt x="160" y="1140"/>
                    </a:lnTo>
                    <a:lnTo>
                      <a:pt x="160" y="1135"/>
                    </a:lnTo>
                    <a:lnTo>
                      <a:pt x="157" y="1132"/>
                    </a:lnTo>
                    <a:lnTo>
                      <a:pt x="154" y="1129"/>
                    </a:lnTo>
                    <a:lnTo>
                      <a:pt x="154" y="1125"/>
                    </a:lnTo>
                    <a:lnTo>
                      <a:pt x="154" y="1122"/>
                    </a:lnTo>
                    <a:lnTo>
                      <a:pt x="154" y="1118"/>
                    </a:lnTo>
                    <a:lnTo>
                      <a:pt x="157" y="1118"/>
                    </a:lnTo>
                    <a:lnTo>
                      <a:pt x="160" y="1116"/>
                    </a:lnTo>
                    <a:lnTo>
                      <a:pt x="160" y="1114"/>
                    </a:lnTo>
                    <a:lnTo>
                      <a:pt x="162" y="1111"/>
                    </a:lnTo>
                    <a:lnTo>
                      <a:pt x="160" y="1108"/>
                    </a:lnTo>
                    <a:lnTo>
                      <a:pt x="164" y="1105"/>
                    </a:lnTo>
                    <a:lnTo>
                      <a:pt x="167" y="1103"/>
                    </a:lnTo>
                    <a:lnTo>
                      <a:pt x="170" y="1102"/>
                    </a:lnTo>
                    <a:lnTo>
                      <a:pt x="171" y="1100"/>
                    </a:lnTo>
                    <a:lnTo>
                      <a:pt x="171" y="1097"/>
                    </a:lnTo>
                    <a:lnTo>
                      <a:pt x="171" y="1095"/>
                    </a:lnTo>
                    <a:lnTo>
                      <a:pt x="168" y="1091"/>
                    </a:lnTo>
                    <a:lnTo>
                      <a:pt x="165" y="1086"/>
                    </a:lnTo>
                    <a:lnTo>
                      <a:pt x="167" y="1084"/>
                    </a:lnTo>
                    <a:lnTo>
                      <a:pt x="170" y="1083"/>
                    </a:lnTo>
                    <a:lnTo>
                      <a:pt x="173" y="1078"/>
                    </a:lnTo>
                    <a:lnTo>
                      <a:pt x="170" y="1073"/>
                    </a:lnTo>
                    <a:lnTo>
                      <a:pt x="167" y="1070"/>
                    </a:lnTo>
                    <a:lnTo>
                      <a:pt x="164" y="1067"/>
                    </a:lnTo>
                    <a:lnTo>
                      <a:pt x="159" y="1064"/>
                    </a:lnTo>
                    <a:lnTo>
                      <a:pt x="159" y="1060"/>
                    </a:lnTo>
                    <a:lnTo>
                      <a:pt x="159" y="1057"/>
                    </a:lnTo>
                    <a:lnTo>
                      <a:pt x="159" y="1053"/>
                    </a:lnTo>
                    <a:lnTo>
                      <a:pt x="159" y="1049"/>
                    </a:lnTo>
                    <a:lnTo>
                      <a:pt x="159" y="1046"/>
                    </a:lnTo>
                    <a:lnTo>
                      <a:pt x="159" y="1043"/>
                    </a:lnTo>
                    <a:lnTo>
                      <a:pt x="162" y="1041"/>
                    </a:lnTo>
                    <a:lnTo>
                      <a:pt x="164" y="1038"/>
                    </a:lnTo>
                    <a:lnTo>
                      <a:pt x="164" y="1037"/>
                    </a:lnTo>
                    <a:lnTo>
                      <a:pt x="164" y="1035"/>
                    </a:lnTo>
                    <a:lnTo>
                      <a:pt x="168" y="1033"/>
                    </a:lnTo>
                    <a:lnTo>
                      <a:pt x="168" y="1033"/>
                    </a:lnTo>
                    <a:lnTo>
                      <a:pt x="165" y="1030"/>
                    </a:lnTo>
                    <a:lnTo>
                      <a:pt x="160" y="1029"/>
                    </a:lnTo>
                    <a:lnTo>
                      <a:pt x="162" y="1026"/>
                    </a:lnTo>
                    <a:lnTo>
                      <a:pt x="160" y="1022"/>
                    </a:lnTo>
                    <a:lnTo>
                      <a:pt x="159" y="1018"/>
                    </a:lnTo>
                    <a:lnTo>
                      <a:pt x="164" y="1016"/>
                    </a:lnTo>
                    <a:lnTo>
                      <a:pt x="165" y="1011"/>
                    </a:lnTo>
                    <a:lnTo>
                      <a:pt x="164" y="1008"/>
                    </a:lnTo>
                    <a:lnTo>
                      <a:pt x="162" y="1008"/>
                    </a:lnTo>
                    <a:lnTo>
                      <a:pt x="162" y="1007"/>
                    </a:lnTo>
                    <a:lnTo>
                      <a:pt x="159" y="1003"/>
                    </a:lnTo>
                    <a:lnTo>
                      <a:pt x="157" y="1000"/>
                    </a:lnTo>
                    <a:lnTo>
                      <a:pt x="156" y="999"/>
                    </a:lnTo>
                    <a:lnTo>
                      <a:pt x="156" y="999"/>
                    </a:lnTo>
                    <a:lnTo>
                      <a:pt x="154" y="994"/>
                    </a:lnTo>
                    <a:lnTo>
                      <a:pt x="149" y="991"/>
                    </a:lnTo>
                    <a:lnTo>
                      <a:pt x="152" y="991"/>
                    </a:lnTo>
                    <a:lnTo>
                      <a:pt x="154" y="986"/>
                    </a:lnTo>
                    <a:lnTo>
                      <a:pt x="154" y="984"/>
                    </a:lnTo>
                    <a:lnTo>
                      <a:pt x="152" y="981"/>
                    </a:lnTo>
                    <a:lnTo>
                      <a:pt x="149" y="980"/>
                    </a:lnTo>
                    <a:lnTo>
                      <a:pt x="148" y="978"/>
                    </a:lnTo>
                    <a:lnTo>
                      <a:pt x="146" y="973"/>
                    </a:lnTo>
                    <a:lnTo>
                      <a:pt x="144" y="970"/>
                    </a:lnTo>
                    <a:lnTo>
                      <a:pt x="146" y="967"/>
                    </a:lnTo>
                    <a:lnTo>
                      <a:pt x="151" y="967"/>
                    </a:lnTo>
                    <a:lnTo>
                      <a:pt x="152" y="965"/>
                    </a:lnTo>
                    <a:lnTo>
                      <a:pt x="151" y="962"/>
                    </a:lnTo>
                    <a:lnTo>
                      <a:pt x="156" y="959"/>
                    </a:lnTo>
                    <a:lnTo>
                      <a:pt x="152" y="954"/>
                    </a:lnTo>
                    <a:lnTo>
                      <a:pt x="149" y="953"/>
                    </a:lnTo>
                    <a:lnTo>
                      <a:pt x="144" y="949"/>
                    </a:lnTo>
                    <a:lnTo>
                      <a:pt x="141" y="946"/>
                    </a:lnTo>
                    <a:lnTo>
                      <a:pt x="141" y="945"/>
                    </a:lnTo>
                    <a:lnTo>
                      <a:pt x="137" y="945"/>
                    </a:lnTo>
                    <a:lnTo>
                      <a:pt x="133" y="943"/>
                    </a:lnTo>
                    <a:lnTo>
                      <a:pt x="130" y="943"/>
                    </a:lnTo>
                    <a:lnTo>
                      <a:pt x="127" y="943"/>
                    </a:lnTo>
                    <a:lnTo>
                      <a:pt x="122" y="940"/>
                    </a:lnTo>
                    <a:lnTo>
                      <a:pt x="124" y="937"/>
                    </a:lnTo>
                    <a:lnTo>
                      <a:pt x="127" y="937"/>
                    </a:lnTo>
                    <a:lnTo>
                      <a:pt x="130" y="935"/>
                    </a:lnTo>
                    <a:lnTo>
                      <a:pt x="133" y="937"/>
                    </a:lnTo>
                    <a:lnTo>
                      <a:pt x="138" y="937"/>
                    </a:lnTo>
                    <a:lnTo>
                      <a:pt x="141" y="937"/>
                    </a:lnTo>
                    <a:lnTo>
                      <a:pt x="144" y="938"/>
                    </a:lnTo>
                    <a:lnTo>
                      <a:pt x="148" y="935"/>
                    </a:lnTo>
                    <a:lnTo>
                      <a:pt x="146" y="930"/>
                    </a:lnTo>
                    <a:lnTo>
                      <a:pt x="149" y="927"/>
                    </a:lnTo>
                    <a:lnTo>
                      <a:pt x="144" y="922"/>
                    </a:lnTo>
                    <a:lnTo>
                      <a:pt x="140" y="922"/>
                    </a:lnTo>
                    <a:lnTo>
                      <a:pt x="137" y="921"/>
                    </a:lnTo>
                    <a:lnTo>
                      <a:pt x="133" y="922"/>
                    </a:lnTo>
                    <a:lnTo>
                      <a:pt x="130" y="922"/>
                    </a:lnTo>
                    <a:lnTo>
                      <a:pt x="125" y="921"/>
                    </a:lnTo>
                    <a:lnTo>
                      <a:pt x="122" y="921"/>
                    </a:lnTo>
                    <a:lnTo>
                      <a:pt x="122" y="918"/>
                    </a:lnTo>
                    <a:lnTo>
                      <a:pt x="121" y="915"/>
                    </a:lnTo>
                    <a:lnTo>
                      <a:pt x="118" y="911"/>
                    </a:lnTo>
                    <a:lnTo>
                      <a:pt x="121" y="905"/>
                    </a:lnTo>
                    <a:lnTo>
                      <a:pt x="121" y="903"/>
                    </a:lnTo>
                    <a:lnTo>
                      <a:pt x="119" y="900"/>
                    </a:lnTo>
                    <a:lnTo>
                      <a:pt x="114" y="896"/>
                    </a:lnTo>
                    <a:lnTo>
                      <a:pt x="116" y="892"/>
                    </a:lnTo>
                    <a:lnTo>
                      <a:pt x="114" y="889"/>
                    </a:lnTo>
                    <a:lnTo>
                      <a:pt x="113" y="888"/>
                    </a:lnTo>
                    <a:lnTo>
                      <a:pt x="111" y="888"/>
                    </a:lnTo>
                    <a:lnTo>
                      <a:pt x="108" y="884"/>
                    </a:lnTo>
                    <a:lnTo>
                      <a:pt x="105" y="881"/>
                    </a:lnTo>
                    <a:lnTo>
                      <a:pt x="105" y="878"/>
                    </a:lnTo>
                    <a:lnTo>
                      <a:pt x="108" y="876"/>
                    </a:lnTo>
                    <a:lnTo>
                      <a:pt x="106" y="872"/>
                    </a:lnTo>
                    <a:lnTo>
                      <a:pt x="103" y="870"/>
                    </a:lnTo>
                    <a:lnTo>
                      <a:pt x="100" y="870"/>
                    </a:lnTo>
                    <a:lnTo>
                      <a:pt x="97" y="870"/>
                    </a:lnTo>
                    <a:lnTo>
                      <a:pt x="94" y="867"/>
                    </a:lnTo>
                    <a:lnTo>
                      <a:pt x="91" y="864"/>
                    </a:lnTo>
                    <a:lnTo>
                      <a:pt x="91" y="861"/>
                    </a:lnTo>
                    <a:lnTo>
                      <a:pt x="89" y="856"/>
                    </a:lnTo>
                    <a:lnTo>
                      <a:pt x="87" y="853"/>
                    </a:lnTo>
                    <a:lnTo>
                      <a:pt x="86" y="850"/>
                    </a:lnTo>
                    <a:lnTo>
                      <a:pt x="84" y="846"/>
                    </a:lnTo>
                    <a:lnTo>
                      <a:pt x="86" y="843"/>
                    </a:lnTo>
                    <a:lnTo>
                      <a:pt x="84" y="840"/>
                    </a:lnTo>
                    <a:lnTo>
                      <a:pt x="81" y="837"/>
                    </a:lnTo>
                    <a:lnTo>
                      <a:pt x="81" y="834"/>
                    </a:lnTo>
                    <a:lnTo>
                      <a:pt x="84" y="830"/>
                    </a:lnTo>
                    <a:lnTo>
                      <a:pt x="87" y="830"/>
                    </a:lnTo>
                    <a:lnTo>
                      <a:pt x="91" y="829"/>
                    </a:lnTo>
                    <a:lnTo>
                      <a:pt x="84" y="819"/>
                    </a:lnTo>
                    <a:lnTo>
                      <a:pt x="78" y="810"/>
                    </a:lnTo>
                    <a:lnTo>
                      <a:pt x="78" y="807"/>
                    </a:lnTo>
                    <a:lnTo>
                      <a:pt x="76" y="804"/>
                    </a:lnTo>
                    <a:lnTo>
                      <a:pt x="75" y="799"/>
                    </a:lnTo>
                    <a:lnTo>
                      <a:pt x="75" y="796"/>
                    </a:lnTo>
                    <a:lnTo>
                      <a:pt x="73" y="792"/>
                    </a:lnTo>
                    <a:lnTo>
                      <a:pt x="73" y="788"/>
                    </a:lnTo>
                    <a:lnTo>
                      <a:pt x="72" y="785"/>
                    </a:lnTo>
                    <a:lnTo>
                      <a:pt x="70" y="781"/>
                    </a:lnTo>
                    <a:lnTo>
                      <a:pt x="67" y="778"/>
                    </a:lnTo>
                    <a:lnTo>
                      <a:pt x="65" y="775"/>
                    </a:lnTo>
                    <a:lnTo>
                      <a:pt x="64" y="773"/>
                    </a:lnTo>
                    <a:lnTo>
                      <a:pt x="65" y="770"/>
                    </a:lnTo>
                    <a:lnTo>
                      <a:pt x="65" y="765"/>
                    </a:lnTo>
                    <a:lnTo>
                      <a:pt x="65" y="762"/>
                    </a:lnTo>
                    <a:lnTo>
                      <a:pt x="67" y="759"/>
                    </a:lnTo>
                    <a:lnTo>
                      <a:pt x="67" y="756"/>
                    </a:lnTo>
                    <a:lnTo>
                      <a:pt x="64" y="754"/>
                    </a:lnTo>
                    <a:lnTo>
                      <a:pt x="60" y="751"/>
                    </a:lnTo>
                    <a:lnTo>
                      <a:pt x="60" y="748"/>
                    </a:lnTo>
                    <a:lnTo>
                      <a:pt x="64" y="748"/>
                    </a:lnTo>
                    <a:lnTo>
                      <a:pt x="64" y="745"/>
                    </a:lnTo>
                    <a:lnTo>
                      <a:pt x="64" y="743"/>
                    </a:lnTo>
                    <a:lnTo>
                      <a:pt x="64" y="740"/>
                    </a:lnTo>
                    <a:lnTo>
                      <a:pt x="60" y="737"/>
                    </a:lnTo>
                    <a:lnTo>
                      <a:pt x="60" y="735"/>
                    </a:lnTo>
                    <a:lnTo>
                      <a:pt x="57" y="732"/>
                    </a:lnTo>
                    <a:lnTo>
                      <a:pt x="57" y="729"/>
                    </a:lnTo>
                    <a:lnTo>
                      <a:pt x="59" y="727"/>
                    </a:lnTo>
                    <a:lnTo>
                      <a:pt x="62" y="727"/>
                    </a:lnTo>
                    <a:lnTo>
                      <a:pt x="64" y="727"/>
                    </a:lnTo>
                    <a:lnTo>
                      <a:pt x="62" y="724"/>
                    </a:lnTo>
                    <a:lnTo>
                      <a:pt x="62" y="721"/>
                    </a:lnTo>
                    <a:lnTo>
                      <a:pt x="62" y="716"/>
                    </a:lnTo>
                    <a:lnTo>
                      <a:pt x="62" y="713"/>
                    </a:lnTo>
                    <a:lnTo>
                      <a:pt x="60" y="710"/>
                    </a:lnTo>
                    <a:lnTo>
                      <a:pt x="60" y="707"/>
                    </a:lnTo>
                    <a:lnTo>
                      <a:pt x="57" y="704"/>
                    </a:lnTo>
                    <a:lnTo>
                      <a:pt x="57" y="700"/>
                    </a:lnTo>
                    <a:lnTo>
                      <a:pt x="60" y="697"/>
                    </a:lnTo>
                    <a:lnTo>
                      <a:pt x="65" y="696"/>
                    </a:lnTo>
                    <a:lnTo>
                      <a:pt x="68" y="693"/>
                    </a:lnTo>
                    <a:lnTo>
                      <a:pt x="72" y="691"/>
                    </a:lnTo>
                    <a:lnTo>
                      <a:pt x="73" y="691"/>
                    </a:lnTo>
                    <a:lnTo>
                      <a:pt x="72" y="686"/>
                    </a:lnTo>
                    <a:lnTo>
                      <a:pt x="72" y="683"/>
                    </a:lnTo>
                    <a:lnTo>
                      <a:pt x="67" y="681"/>
                    </a:lnTo>
                    <a:lnTo>
                      <a:pt x="65" y="678"/>
                    </a:lnTo>
                    <a:lnTo>
                      <a:pt x="64" y="675"/>
                    </a:lnTo>
                    <a:lnTo>
                      <a:pt x="62" y="672"/>
                    </a:lnTo>
                    <a:lnTo>
                      <a:pt x="60" y="669"/>
                    </a:lnTo>
                    <a:lnTo>
                      <a:pt x="60" y="666"/>
                    </a:lnTo>
                    <a:lnTo>
                      <a:pt x="57" y="662"/>
                    </a:lnTo>
                    <a:lnTo>
                      <a:pt x="56" y="658"/>
                    </a:lnTo>
                    <a:lnTo>
                      <a:pt x="52" y="654"/>
                    </a:lnTo>
                    <a:lnTo>
                      <a:pt x="49" y="651"/>
                    </a:lnTo>
                    <a:lnTo>
                      <a:pt x="48" y="647"/>
                    </a:lnTo>
                    <a:lnTo>
                      <a:pt x="49" y="643"/>
                    </a:lnTo>
                    <a:lnTo>
                      <a:pt x="49" y="640"/>
                    </a:lnTo>
                    <a:lnTo>
                      <a:pt x="46" y="637"/>
                    </a:lnTo>
                    <a:lnTo>
                      <a:pt x="43" y="632"/>
                    </a:lnTo>
                    <a:lnTo>
                      <a:pt x="45" y="629"/>
                    </a:lnTo>
                    <a:lnTo>
                      <a:pt x="45" y="626"/>
                    </a:lnTo>
                    <a:lnTo>
                      <a:pt x="43" y="623"/>
                    </a:lnTo>
                    <a:lnTo>
                      <a:pt x="41" y="620"/>
                    </a:lnTo>
                    <a:lnTo>
                      <a:pt x="41" y="618"/>
                    </a:lnTo>
                    <a:lnTo>
                      <a:pt x="40" y="618"/>
                    </a:lnTo>
                    <a:lnTo>
                      <a:pt x="38" y="615"/>
                    </a:lnTo>
                    <a:lnTo>
                      <a:pt x="38" y="610"/>
                    </a:lnTo>
                    <a:lnTo>
                      <a:pt x="40" y="607"/>
                    </a:lnTo>
                    <a:lnTo>
                      <a:pt x="40" y="604"/>
                    </a:lnTo>
                    <a:lnTo>
                      <a:pt x="40" y="601"/>
                    </a:lnTo>
                    <a:lnTo>
                      <a:pt x="43" y="601"/>
                    </a:lnTo>
                    <a:lnTo>
                      <a:pt x="43" y="597"/>
                    </a:lnTo>
                    <a:lnTo>
                      <a:pt x="46" y="599"/>
                    </a:lnTo>
                    <a:lnTo>
                      <a:pt x="49" y="594"/>
                    </a:lnTo>
                    <a:lnTo>
                      <a:pt x="48" y="591"/>
                    </a:lnTo>
                    <a:lnTo>
                      <a:pt x="51" y="588"/>
                    </a:lnTo>
                    <a:lnTo>
                      <a:pt x="54" y="588"/>
                    </a:lnTo>
                    <a:lnTo>
                      <a:pt x="56" y="586"/>
                    </a:lnTo>
                    <a:lnTo>
                      <a:pt x="57" y="583"/>
                    </a:lnTo>
                    <a:lnTo>
                      <a:pt x="56" y="582"/>
                    </a:lnTo>
                    <a:lnTo>
                      <a:pt x="56" y="577"/>
                    </a:lnTo>
                    <a:lnTo>
                      <a:pt x="54" y="574"/>
                    </a:lnTo>
                    <a:lnTo>
                      <a:pt x="52" y="570"/>
                    </a:lnTo>
                    <a:lnTo>
                      <a:pt x="51" y="567"/>
                    </a:lnTo>
                    <a:lnTo>
                      <a:pt x="51" y="563"/>
                    </a:lnTo>
                    <a:lnTo>
                      <a:pt x="49" y="559"/>
                    </a:lnTo>
                    <a:lnTo>
                      <a:pt x="46" y="556"/>
                    </a:lnTo>
                    <a:lnTo>
                      <a:pt x="45" y="553"/>
                    </a:lnTo>
                    <a:lnTo>
                      <a:pt x="41" y="551"/>
                    </a:lnTo>
                    <a:lnTo>
                      <a:pt x="43" y="548"/>
                    </a:lnTo>
                    <a:lnTo>
                      <a:pt x="46" y="547"/>
                    </a:lnTo>
                    <a:lnTo>
                      <a:pt x="46" y="539"/>
                    </a:lnTo>
                    <a:lnTo>
                      <a:pt x="46" y="531"/>
                    </a:lnTo>
                    <a:lnTo>
                      <a:pt x="46" y="528"/>
                    </a:lnTo>
                    <a:lnTo>
                      <a:pt x="46" y="524"/>
                    </a:lnTo>
                    <a:lnTo>
                      <a:pt x="48" y="521"/>
                    </a:lnTo>
                    <a:lnTo>
                      <a:pt x="48" y="518"/>
                    </a:lnTo>
                    <a:lnTo>
                      <a:pt x="49" y="513"/>
                    </a:lnTo>
                    <a:lnTo>
                      <a:pt x="48" y="510"/>
                    </a:lnTo>
                    <a:lnTo>
                      <a:pt x="49" y="510"/>
                    </a:lnTo>
                    <a:lnTo>
                      <a:pt x="52" y="510"/>
                    </a:lnTo>
                    <a:lnTo>
                      <a:pt x="54" y="507"/>
                    </a:lnTo>
                    <a:lnTo>
                      <a:pt x="52" y="504"/>
                    </a:lnTo>
                    <a:lnTo>
                      <a:pt x="52" y="501"/>
                    </a:lnTo>
                    <a:lnTo>
                      <a:pt x="49" y="496"/>
                    </a:lnTo>
                    <a:lnTo>
                      <a:pt x="49" y="493"/>
                    </a:lnTo>
                    <a:lnTo>
                      <a:pt x="48" y="490"/>
                    </a:lnTo>
                    <a:lnTo>
                      <a:pt x="48" y="486"/>
                    </a:lnTo>
                    <a:lnTo>
                      <a:pt x="46" y="483"/>
                    </a:lnTo>
                    <a:lnTo>
                      <a:pt x="48" y="478"/>
                    </a:lnTo>
                    <a:lnTo>
                      <a:pt x="48" y="475"/>
                    </a:lnTo>
                    <a:lnTo>
                      <a:pt x="46" y="472"/>
                    </a:lnTo>
                    <a:lnTo>
                      <a:pt x="43" y="469"/>
                    </a:lnTo>
                    <a:lnTo>
                      <a:pt x="40" y="471"/>
                    </a:lnTo>
                    <a:lnTo>
                      <a:pt x="40" y="471"/>
                    </a:lnTo>
                    <a:lnTo>
                      <a:pt x="37" y="467"/>
                    </a:lnTo>
                    <a:lnTo>
                      <a:pt x="33" y="463"/>
                    </a:lnTo>
                    <a:lnTo>
                      <a:pt x="33" y="459"/>
                    </a:lnTo>
                    <a:lnTo>
                      <a:pt x="35" y="456"/>
                    </a:lnTo>
                    <a:lnTo>
                      <a:pt x="35" y="455"/>
                    </a:lnTo>
                    <a:lnTo>
                      <a:pt x="35" y="453"/>
                    </a:lnTo>
                    <a:lnTo>
                      <a:pt x="32" y="451"/>
                    </a:lnTo>
                    <a:lnTo>
                      <a:pt x="30" y="450"/>
                    </a:lnTo>
                    <a:lnTo>
                      <a:pt x="29" y="447"/>
                    </a:lnTo>
                    <a:lnTo>
                      <a:pt x="27" y="444"/>
                    </a:lnTo>
                    <a:lnTo>
                      <a:pt x="27" y="440"/>
                    </a:lnTo>
                    <a:lnTo>
                      <a:pt x="26" y="437"/>
                    </a:lnTo>
                    <a:lnTo>
                      <a:pt x="22" y="434"/>
                    </a:lnTo>
                    <a:lnTo>
                      <a:pt x="21" y="431"/>
                    </a:lnTo>
                    <a:lnTo>
                      <a:pt x="21" y="429"/>
                    </a:lnTo>
                    <a:lnTo>
                      <a:pt x="18" y="426"/>
                    </a:lnTo>
                    <a:lnTo>
                      <a:pt x="18" y="426"/>
                    </a:lnTo>
                    <a:lnTo>
                      <a:pt x="14" y="423"/>
                    </a:lnTo>
                    <a:lnTo>
                      <a:pt x="14" y="418"/>
                    </a:lnTo>
                    <a:lnTo>
                      <a:pt x="18" y="420"/>
                    </a:lnTo>
                    <a:lnTo>
                      <a:pt x="18" y="417"/>
                    </a:lnTo>
                    <a:lnTo>
                      <a:pt x="14" y="412"/>
                    </a:lnTo>
                    <a:lnTo>
                      <a:pt x="11" y="412"/>
                    </a:lnTo>
                    <a:lnTo>
                      <a:pt x="8" y="409"/>
                    </a:lnTo>
                    <a:lnTo>
                      <a:pt x="7" y="406"/>
                    </a:lnTo>
                    <a:lnTo>
                      <a:pt x="3" y="402"/>
                    </a:lnTo>
                    <a:lnTo>
                      <a:pt x="0" y="391"/>
                    </a:lnTo>
                    <a:lnTo>
                      <a:pt x="2" y="380"/>
                    </a:lnTo>
                    <a:lnTo>
                      <a:pt x="5" y="382"/>
                    </a:lnTo>
                    <a:lnTo>
                      <a:pt x="5" y="379"/>
                    </a:lnTo>
                    <a:lnTo>
                      <a:pt x="5" y="375"/>
                    </a:lnTo>
                    <a:lnTo>
                      <a:pt x="5" y="372"/>
                    </a:lnTo>
                    <a:lnTo>
                      <a:pt x="5" y="367"/>
                    </a:lnTo>
                    <a:lnTo>
                      <a:pt x="5" y="364"/>
                    </a:lnTo>
                    <a:lnTo>
                      <a:pt x="5" y="361"/>
                    </a:lnTo>
                    <a:lnTo>
                      <a:pt x="5" y="358"/>
                    </a:lnTo>
                    <a:lnTo>
                      <a:pt x="7" y="353"/>
                    </a:lnTo>
                    <a:lnTo>
                      <a:pt x="5" y="350"/>
                    </a:lnTo>
                    <a:lnTo>
                      <a:pt x="8" y="352"/>
                    </a:lnTo>
                    <a:lnTo>
                      <a:pt x="11" y="352"/>
                    </a:lnTo>
                    <a:lnTo>
                      <a:pt x="14" y="348"/>
                    </a:lnTo>
                    <a:lnTo>
                      <a:pt x="14" y="345"/>
                    </a:lnTo>
                    <a:lnTo>
                      <a:pt x="14" y="342"/>
                    </a:lnTo>
                    <a:lnTo>
                      <a:pt x="11" y="339"/>
                    </a:lnTo>
                    <a:lnTo>
                      <a:pt x="10" y="336"/>
                    </a:lnTo>
                    <a:lnTo>
                      <a:pt x="10" y="333"/>
                    </a:lnTo>
                    <a:lnTo>
                      <a:pt x="10" y="328"/>
                    </a:lnTo>
                    <a:lnTo>
                      <a:pt x="8" y="325"/>
                    </a:lnTo>
                    <a:lnTo>
                      <a:pt x="8" y="323"/>
                    </a:lnTo>
                    <a:lnTo>
                      <a:pt x="5" y="320"/>
                    </a:lnTo>
                    <a:lnTo>
                      <a:pt x="5" y="317"/>
                    </a:lnTo>
                    <a:lnTo>
                      <a:pt x="3" y="314"/>
                    </a:lnTo>
                    <a:lnTo>
                      <a:pt x="2" y="310"/>
                    </a:lnTo>
                    <a:lnTo>
                      <a:pt x="0" y="306"/>
                    </a:lnTo>
                    <a:lnTo>
                      <a:pt x="2" y="306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51" name="Freeform 830"/>
              <p:cNvSpPr>
                <a:spLocks/>
              </p:cNvSpPr>
              <p:nvPr/>
            </p:nvSpPr>
            <p:spPr bwMode="auto">
              <a:xfrm>
                <a:off x="1571" y="3560"/>
                <a:ext cx="72" cy="47"/>
              </a:xfrm>
              <a:custGeom>
                <a:avLst/>
                <a:gdLst>
                  <a:gd name="T0" fmla="*/ 11 w 144"/>
                  <a:gd name="T1" fmla="*/ 8 h 94"/>
                  <a:gd name="T2" fmla="*/ 17 w 144"/>
                  <a:gd name="T3" fmla="*/ 14 h 94"/>
                  <a:gd name="T4" fmla="*/ 13 w 144"/>
                  <a:gd name="T5" fmla="*/ 18 h 94"/>
                  <a:gd name="T6" fmla="*/ 16 w 144"/>
                  <a:gd name="T7" fmla="*/ 26 h 94"/>
                  <a:gd name="T8" fmla="*/ 27 w 144"/>
                  <a:gd name="T9" fmla="*/ 26 h 94"/>
                  <a:gd name="T10" fmla="*/ 43 w 144"/>
                  <a:gd name="T11" fmla="*/ 40 h 94"/>
                  <a:gd name="T12" fmla="*/ 49 w 144"/>
                  <a:gd name="T13" fmla="*/ 45 h 94"/>
                  <a:gd name="T14" fmla="*/ 55 w 144"/>
                  <a:gd name="T15" fmla="*/ 49 h 94"/>
                  <a:gd name="T16" fmla="*/ 68 w 144"/>
                  <a:gd name="T17" fmla="*/ 56 h 94"/>
                  <a:gd name="T18" fmla="*/ 81 w 144"/>
                  <a:gd name="T19" fmla="*/ 60 h 94"/>
                  <a:gd name="T20" fmla="*/ 87 w 144"/>
                  <a:gd name="T21" fmla="*/ 64 h 94"/>
                  <a:gd name="T22" fmla="*/ 100 w 144"/>
                  <a:gd name="T23" fmla="*/ 70 h 94"/>
                  <a:gd name="T24" fmla="*/ 117 w 144"/>
                  <a:gd name="T25" fmla="*/ 76 h 94"/>
                  <a:gd name="T26" fmla="*/ 130 w 144"/>
                  <a:gd name="T27" fmla="*/ 79 h 94"/>
                  <a:gd name="T28" fmla="*/ 141 w 144"/>
                  <a:gd name="T29" fmla="*/ 78 h 94"/>
                  <a:gd name="T30" fmla="*/ 143 w 144"/>
                  <a:gd name="T31" fmla="*/ 83 h 94"/>
                  <a:gd name="T32" fmla="*/ 143 w 144"/>
                  <a:gd name="T33" fmla="*/ 89 h 94"/>
                  <a:gd name="T34" fmla="*/ 136 w 144"/>
                  <a:gd name="T35" fmla="*/ 89 h 94"/>
                  <a:gd name="T36" fmla="*/ 128 w 144"/>
                  <a:gd name="T37" fmla="*/ 87 h 94"/>
                  <a:gd name="T38" fmla="*/ 122 w 144"/>
                  <a:gd name="T39" fmla="*/ 91 h 94"/>
                  <a:gd name="T40" fmla="*/ 114 w 144"/>
                  <a:gd name="T41" fmla="*/ 92 h 94"/>
                  <a:gd name="T42" fmla="*/ 108 w 144"/>
                  <a:gd name="T43" fmla="*/ 94 h 94"/>
                  <a:gd name="T44" fmla="*/ 100 w 144"/>
                  <a:gd name="T45" fmla="*/ 91 h 94"/>
                  <a:gd name="T46" fmla="*/ 79 w 144"/>
                  <a:gd name="T47" fmla="*/ 87 h 94"/>
                  <a:gd name="T48" fmla="*/ 57 w 144"/>
                  <a:gd name="T49" fmla="*/ 86 h 94"/>
                  <a:gd name="T50" fmla="*/ 52 w 144"/>
                  <a:gd name="T51" fmla="*/ 84 h 94"/>
                  <a:gd name="T52" fmla="*/ 48 w 144"/>
                  <a:gd name="T53" fmla="*/ 86 h 94"/>
                  <a:gd name="T54" fmla="*/ 41 w 144"/>
                  <a:gd name="T55" fmla="*/ 84 h 94"/>
                  <a:gd name="T56" fmla="*/ 40 w 144"/>
                  <a:gd name="T57" fmla="*/ 81 h 94"/>
                  <a:gd name="T58" fmla="*/ 36 w 144"/>
                  <a:gd name="T59" fmla="*/ 75 h 94"/>
                  <a:gd name="T60" fmla="*/ 35 w 144"/>
                  <a:gd name="T61" fmla="*/ 72 h 94"/>
                  <a:gd name="T62" fmla="*/ 13 w 144"/>
                  <a:gd name="T63" fmla="*/ 27 h 94"/>
                  <a:gd name="T64" fmla="*/ 6 w 144"/>
                  <a:gd name="T65" fmla="*/ 13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44" h="94">
                    <a:moveTo>
                      <a:pt x="0" y="0"/>
                    </a:moveTo>
                    <a:lnTo>
                      <a:pt x="11" y="8"/>
                    </a:lnTo>
                    <a:lnTo>
                      <a:pt x="21" y="19"/>
                    </a:lnTo>
                    <a:lnTo>
                      <a:pt x="17" y="14"/>
                    </a:lnTo>
                    <a:lnTo>
                      <a:pt x="14" y="14"/>
                    </a:lnTo>
                    <a:lnTo>
                      <a:pt x="13" y="18"/>
                    </a:lnTo>
                    <a:lnTo>
                      <a:pt x="13" y="22"/>
                    </a:lnTo>
                    <a:lnTo>
                      <a:pt x="16" y="26"/>
                    </a:lnTo>
                    <a:lnTo>
                      <a:pt x="19" y="26"/>
                    </a:lnTo>
                    <a:lnTo>
                      <a:pt x="27" y="26"/>
                    </a:lnTo>
                    <a:lnTo>
                      <a:pt x="33" y="33"/>
                    </a:lnTo>
                    <a:lnTo>
                      <a:pt x="43" y="40"/>
                    </a:lnTo>
                    <a:lnTo>
                      <a:pt x="46" y="43"/>
                    </a:lnTo>
                    <a:lnTo>
                      <a:pt x="49" y="45"/>
                    </a:lnTo>
                    <a:lnTo>
                      <a:pt x="52" y="46"/>
                    </a:lnTo>
                    <a:lnTo>
                      <a:pt x="55" y="49"/>
                    </a:lnTo>
                    <a:lnTo>
                      <a:pt x="59" y="51"/>
                    </a:lnTo>
                    <a:lnTo>
                      <a:pt x="68" y="56"/>
                    </a:lnTo>
                    <a:lnTo>
                      <a:pt x="78" y="59"/>
                    </a:lnTo>
                    <a:lnTo>
                      <a:pt x="81" y="60"/>
                    </a:lnTo>
                    <a:lnTo>
                      <a:pt x="84" y="62"/>
                    </a:lnTo>
                    <a:lnTo>
                      <a:pt x="87" y="64"/>
                    </a:lnTo>
                    <a:lnTo>
                      <a:pt x="90" y="65"/>
                    </a:lnTo>
                    <a:lnTo>
                      <a:pt x="100" y="70"/>
                    </a:lnTo>
                    <a:lnTo>
                      <a:pt x="108" y="75"/>
                    </a:lnTo>
                    <a:lnTo>
                      <a:pt x="117" y="76"/>
                    </a:lnTo>
                    <a:lnTo>
                      <a:pt x="127" y="79"/>
                    </a:lnTo>
                    <a:lnTo>
                      <a:pt x="130" y="79"/>
                    </a:lnTo>
                    <a:lnTo>
                      <a:pt x="133" y="78"/>
                    </a:lnTo>
                    <a:lnTo>
                      <a:pt x="141" y="78"/>
                    </a:lnTo>
                    <a:lnTo>
                      <a:pt x="144" y="78"/>
                    </a:lnTo>
                    <a:lnTo>
                      <a:pt x="143" y="83"/>
                    </a:lnTo>
                    <a:lnTo>
                      <a:pt x="144" y="86"/>
                    </a:lnTo>
                    <a:lnTo>
                      <a:pt x="143" y="89"/>
                    </a:lnTo>
                    <a:lnTo>
                      <a:pt x="140" y="87"/>
                    </a:lnTo>
                    <a:lnTo>
                      <a:pt x="136" y="89"/>
                    </a:lnTo>
                    <a:lnTo>
                      <a:pt x="132" y="91"/>
                    </a:lnTo>
                    <a:lnTo>
                      <a:pt x="128" y="87"/>
                    </a:lnTo>
                    <a:lnTo>
                      <a:pt x="125" y="87"/>
                    </a:lnTo>
                    <a:lnTo>
                      <a:pt x="122" y="91"/>
                    </a:lnTo>
                    <a:lnTo>
                      <a:pt x="117" y="92"/>
                    </a:lnTo>
                    <a:lnTo>
                      <a:pt x="114" y="92"/>
                    </a:lnTo>
                    <a:lnTo>
                      <a:pt x="111" y="94"/>
                    </a:lnTo>
                    <a:lnTo>
                      <a:pt x="108" y="94"/>
                    </a:lnTo>
                    <a:lnTo>
                      <a:pt x="103" y="92"/>
                    </a:lnTo>
                    <a:lnTo>
                      <a:pt x="100" y="91"/>
                    </a:lnTo>
                    <a:lnTo>
                      <a:pt x="90" y="89"/>
                    </a:lnTo>
                    <a:lnTo>
                      <a:pt x="79" y="87"/>
                    </a:lnTo>
                    <a:lnTo>
                      <a:pt x="68" y="87"/>
                    </a:lnTo>
                    <a:lnTo>
                      <a:pt x="57" y="86"/>
                    </a:lnTo>
                    <a:lnTo>
                      <a:pt x="54" y="86"/>
                    </a:lnTo>
                    <a:lnTo>
                      <a:pt x="52" y="84"/>
                    </a:lnTo>
                    <a:lnTo>
                      <a:pt x="51" y="84"/>
                    </a:lnTo>
                    <a:lnTo>
                      <a:pt x="48" y="86"/>
                    </a:lnTo>
                    <a:lnTo>
                      <a:pt x="46" y="86"/>
                    </a:lnTo>
                    <a:lnTo>
                      <a:pt x="41" y="84"/>
                    </a:lnTo>
                    <a:lnTo>
                      <a:pt x="41" y="84"/>
                    </a:lnTo>
                    <a:lnTo>
                      <a:pt x="40" y="81"/>
                    </a:lnTo>
                    <a:lnTo>
                      <a:pt x="38" y="78"/>
                    </a:lnTo>
                    <a:lnTo>
                      <a:pt x="36" y="75"/>
                    </a:lnTo>
                    <a:lnTo>
                      <a:pt x="35" y="73"/>
                    </a:lnTo>
                    <a:lnTo>
                      <a:pt x="35" y="72"/>
                    </a:lnTo>
                    <a:lnTo>
                      <a:pt x="24" y="49"/>
                    </a:lnTo>
                    <a:lnTo>
                      <a:pt x="13" y="27"/>
                    </a:lnTo>
                    <a:lnTo>
                      <a:pt x="13" y="27"/>
                    </a:lnTo>
                    <a:lnTo>
                      <a:pt x="6" y="1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52" name="Freeform 831"/>
              <p:cNvSpPr>
                <a:spLocks/>
              </p:cNvSpPr>
              <p:nvPr/>
            </p:nvSpPr>
            <p:spPr bwMode="auto">
              <a:xfrm>
                <a:off x="1650" y="3601"/>
                <a:ext cx="13" cy="3"/>
              </a:xfrm>
              <a:custGeom>
                <a:avLst/>
                <a:gdLst>
                  <a:gd name="T0" fmla="*/ 4 w 25"/>
                  <a:gd name="T1" fmla="*/ 8 h 8"/>
                  <a:gd name="T2" fmla="*/ 7 w 25"/>
                  <a:gd name="T3" fmla="*/ 5 h 8"/>
                  <a:gd name="T4" fmla="*/ 11 w 25"/>
                  <a:gd name="T5" fmla="*/ 5 h 8"/>
                  <a:gd name="T6" fmla="*/ 19 w 25"/>
                  <a:gd name="T7" fmla="*/ 5 h 8"/>
                  <a:gd name="T8" fmla="*/ 22 w 25"/>
                  <a:gd name="T9" fmla="*/ 2 h 8"/>
                  <a:gd name="T10" fmla="*/ 25 w 25"/>
                  <a:gd name="T11" fmla="*/ 2 h 8"/>
                  <a:gd name="T12" fmla="*/ 19 w 25"/>
                  <a:gd name="T13" fmla="*/ 0 h 8"/>
                  <a:gd name="T14" fmla="*/ 12 w 25"/>
                  <a:gd name="T15" fmla="*/ 0 h 8"/>
                  <a:gd name="T16" fmla="*/ 6 w 25"/>
                  <a:gd name="T17" fmla="*/ 2 h 8"/>
                  <a:gd name="T18" fmla="*/ 0 w 25"/>
                  <a:gd name="T19" fmla="*/ 5 h 8"/>
                  <a:gd name="T20" fmla="*/ 4 w 25"/>
                  <a:gd name="T2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" h="8">
                    <a:moveTo>
                      <a:pt x="4" y="8"/>
                    </a:moveTo>
                    <a:lnTo>
                      <a:pt x="7" y="5"/>
                    </a:lnTo>
                    <a:lnTo>
                      <a:pt x="11" y="5"/>
                    </a:lnTo>
                    <a:lnTo>
                      <a:pt x="19" y="5"/>
                    </a:lnTo>
                    <a:lnTo>
                      <a:pt x="22" y="2"/>
                    </a:lnTo>
                    <a:lnTo>
                      <a:pt x="25" y="2"/>
                    </a:lnTo>
                    <a:lnTo>
                      <a:pt x="19" y="0"/>
                    </a:lnTo>
                    <a:lnTo>
                      <a:pt x="12" y="0"/>
                    </a:lnTo>
                    <a:lnTo>
                      <a:pt x="6" y="2"/>
                    </a:lnTo>
                    <a:lnTo>
                      <a:pt x="0" y="5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53" name="Freeform 832"/>
              <p:cNvSpPr>
                <a:spLocks/>
              </p:cNvSpPr>
              <p:nvPr/>
            </p:nvSpPr>
            <p:spPr bwMode="auto">
              <a:xfrm>
                <a:off x="1683" y="3535"/>
                <a:ext cx="22" cy="17"/>
              </a:xfrm>
              <a:custGeom>
                <a:avLst/>
                <a:gdLst>
                  <a:gd name="T0" fmla="*/ 22 w 44"/>
                  <a:gd name="T1" fmla="*/ 3 h 33"/>
                  <a:gd name="T2" fmla="*/ 22 w 44"/>
                  <a:gd name="T3" fmla="*/ 3 h 33"/>
                  <a:gd name="T4" fmla="*/ 14 w 44"/>
                  <a:gd name="T5" fmla="*/ 5 h 33"/>
                  <a:gd name="T6" fmla="*/ 7 w 44"/>
                  <a:gd name="T7" fmla="*/ 0 h 33"/>
                  <a:gd name="T8" fmla="*/ 0 w 44"/>
                  <a:gd name="T9" fmla="*/ 0 h 33"/>
                  <a:gd name="T10" fmla="*/ 7 w 44"/>
                  <a:gd name="T11" fmla="*/ 2 h 33"/>
                  <a:gd name="T12" fmla="*/ 12 w 44"/>
                  <a:gd name="T13" fmla="*/ 8 h 33"/>
                  <a:gd name="T14" fmla="*/ 19 w 44"/>
                  <a:gd name="T15" fmla="*/ 11 h 33"/>
                  <a:gd name="T16" fmla="*/ 17 w 44"/>
                  <a:gd name="T17" fmla="*/ 11 h 33"/>
                  <a:gd name="T18" fmla="*/ 12 w 44"/>
                  <a:gd name="T19" fmla="*/ 11 h 33"/>
                  <a:gd name="T20" fmla="*/ 9 w 44"/>
                  <a:gd name="T21" fmla="*/ 16 h 33"/>
                  <a:gd name="T22" fmla="*/ 17 w 44"/>
                  <a:gd name="T23" fmla="*/ 13 h 33"/>
                  <a:gd name="T24" fmla="*/ 17 w 44"/>
                  <a:gd name="T25" fmla="*/ 16 h 33"/>
                  <a:gd name="T26" fmla="*/ 14 w 44"/>
                  <a:gd name="T27" fmla="*/ 14 h 33"/>
                  <a:gd name="T28" fmla="*/ 12 w 44"/>
                  <a:gd name="T29" fmla="*/ 22 h 33"/>
                  <a:gd name="T30" fmla="*/ 14 w 44"/>
                  <a:gd name="T31" fmla="*/ 24 h 33"/>
                  <a:gd name="T32" fmla="*/ 7 w 44"/>
                  <a:gd name="T33" fmla="*/ 25 h 33"/>
                  <a:gd name="T34" fmla="*/ 0 w 44"/>
                  <a:gd name="T35" fmla="*/ 27 h 33"/>
                  <a:gd name="T36" fmla="*/ 7 w 44"/>
                  <a:gd name="T37" fmla="*/ 30 h 33"/>
                  <a:gd name="T38" fmla="*/ 7 w 44"/>
                  <a:gd name="T39" fmla="*/ 29 h 33"/>
                  <a:gd name="T40" fmla="*/ 12 w 44"/>
                  <a:gd name="T41" fmla="*/ 32 h 33"/>
                  <a:gd name="T42" fmla="*/ 19 w 44"/>
                  <a:gd name="T43" fmla="*/ 30 h 33"/>
                  <a:gd name="T44" fmla="*/ 23 w 44"/>
                  <a:gd name="T45" fmla="*/ 27 h 33"/>
                  <a:gd name="T46" fmla="*/ 27 w 44"/>
                  <a:gd name="T47" fmla="*/ 24 h 33"/>
                  <a:gd name="T48" fmla="*/ 31 w 44"/>
                  <a:gd name="T49" fmla="*/ 24 h 33"/>
                  <a:gd name="T50" fmla="*/ 36 w 44"/>
                  <a:gd name="T51" fmla="*/ 16 h 33"/>
                  <a:gd name="T52" fmla="*/ 39 w 44"/>
                  <a:gd name="T53" fmla="*/ 9 h 33"/>
                  <a:gd name="T54" fmla="*/ 44 w 44"/>
                  <a:gd name="T55" fmla="*/ 5 h 33"/>
                  <a:gd name="T56" fmla="*/ 41 w 44"/>
                  <a:gd name="T57" fmla="*/ 0 h 33"/>
                  <a:gd name="T58" fmla="*/ 38 w 44"/>
                  <a:gd name="T59" fmla="*/ 3 h 33"/>
                  <a:gd name="T60" fmla="*/ 31 w 44"/>
                  <a:gd name="T61" fmla="*/ 2 h 33"/>
                  <a:gd name="T62" fmla="*/ 23 w 44"/>
                  <a:gd name="T63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44" h="33">
                    <a:moveTo>
                      <a:pt x="20" y="0"/>
                    </a:moveTo>
                    <a:lnTo>
                      <a:pt x="22" y="3"/>
                    </a:lnTo>
                    <a:lnTo>
                      <a:pt x="22" y="3"/>
                    </a:lnTo>
                    <a:lnTo>
                      <a:pt x="22" y="3"/>
                    </a:lnTo>
                    <a:lnTo>
                      <a:pt x="19" y="5"/>
                    </a:lnTo>
                    <a:lnTo>
                      <a:pt x="14" y="5"/>
                    </a:lnTo>
                    <a:lnTo>
                      <a:pt x="11" y="3"/>
                    </a:lnTo>
                    <a:lnTo>
                      <a:pt x="7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4" y="2"/>
                    </a:lnTo>
                    <a:lnTo>
                      <a:pt x="7" y="2"/>
                    </a:lnTo>
                    <a:lnTo>
                      <a:pt x="9" y="6"/>
                    </a:lnTo>
                    <a:lnTo>
                      <a:pt x="12" y="8"/>
                    </a:lnTo>
                    <a:lnTo>
                      <a:pt x="15" y="9"/>
                    </a:lnTo>
                    <a:lnTo>
                      <a:pt x="19" y="11"/>
                    </a:lnTo>
                    <a:lnTo>
                      <a:pt x="23" y="13"/>
                    </a:lnTo>
                    <a:lnTo>
                      <a:pt x="17" y="11"/>
                    </a:lnTo>
                    <a:lnTo>
                      <a:pt x="15" y="11"/>
                    </a:lnTo>
                    <a:lnTo>
                      <a:pt x="12" y="11"/>
                    </a:lnTo>
                    <a:lnTo>
                      <a:pt x="6" y="14"/>
                    </a:lnTo>
                    <a:lnTo>
                      <a:pt x="9" y="16"/>
                    </a:lnTo>
                    <a:lnTo>
                      <a:pt x="14" y="14"/>
                    </a:lnTo>
                    <a:lnTo>
                      <a:pt x="17" y="13"/>
                    </a:lnTo>
                    <a:lnTo>
                      <a:pt x="20" y="16"/>
                    </a:lnTo>
                    <a:lnTo>
                      <a:pt x="17" y="16"/>
                    </a:lnTo>
                    <a:lnTo>
                      <a:pt x="17" y="19"/>
                    </a:lnTo>
                    <a:lnTo>
                      <a:pt x="14" y="14"/>
                    </a:lnTo>
                    <a:lnTo>
                      <a:pt x="14" y="19"/>
                    </a:lnTo>
                    <a:lnTo>
                      <a:pt x="12" y="22"/>
                    </a:lnTo>
                    <a:lnTo>
                      <a:pt x="17" y="21"/>
                    </a:lnTo>
                    <a:lnTo>
                      <a:pt x="14" y="24"/>
                    </a:lnTo>
                    <a:lnTo>
                      <a:pt x="11" y="24"/>
                    </a:lnTo>
                    <a:lnTo>
                      <a:pt x="7" y="25"/>
                    </a:lnTo>
                    <a:lnTo>
                      <a:pt x="3" y="25"/>
                    </a:lnTo>
                    <a:lnTo>
                      <a:pt x="0" y="27"/>
                    </a:lnTo>
                    <a:lnTo>
                      <a:pt x="3" y="29"/>
                    </a:lnTo>
                    <a:lnTo>
                      <a:pt x="7" y="30"/>
                    </a:lnTo>
                    <a:lnTo>
                      <a:pt x="11" y="30"/>
                    </a:lnTo>
                    <a:lnTo>
                      <a:pt x="7" y="29"/>
                    </a:lnTo>
                    <a:lnTo>
                      <a:pt x="11" y="29"/>
                    </a:lnTo>
                    <a:lnTo>
                      <a:pt x="12" y="32"/>
                    </a:lnTo>
                    <a:lnTo>
                      <a:pt x="17" y="33"/>
                    </a:lnTo>
                    <a:lnTo>
                      <a:pt x="19" y="30"/>
                    </a:lnTo>
                    <a:lnTo>
                      <a:pt x="22" y="30"/>
                    </a:lnTo>
                    <a:lnTo>
                      <a:pt x="23" y="27"/>
                    </a:lnTo>
                    <a:lnTo>
                      <a:pt x="23" y="24"/>
                    </a:lnTo>
                    <a:lnTo>
                      <a:pt x="27" y="24"/>
                    </a:lnTo>
                    <a:lnTo>
                      <a:pt x="30" y="24"/>
                    </a:lnTo>
                    <a:lnTo>
                      <a:pt x="31" y="24"/>
                    </a:lnTo>
                    <a:lnTo>
                      <a:pt x="33" y="19"/>
                    </a:lnTo>
                    <a:lnTo>
                      <a:pt x="36" y="16"/>
                    </a:lnTo>
                    <a:lnTo>
                      <a:pt x="38" y="13"/>
                    </a:lnTo>
                    <a:lnTo>
                      <a:pt x="39" y="9"/>
                    </a:lnTo>
                    <a:lnTo>
                      <a:pt x="42" y="8"/>
                    </a:lnTo>
                    <a:lnTo>
                      <a:pt x="44" y="5"/>
                    </a:lnTo>
                    <a:lnTo>
                      <a:pt x="44" y="0"/>
                    </a:lnTo>
                    <a:lnTo>
                      <a:pt x="41" y="0"/>
                    </a:lnTo>
                    <a:lnTo>
                      <a:pt x="38" y="0"/>
                    </a:lnTo>
                    <a:lnTo>
                      <a:pt x="38" y="3"/>
                    </a:lnTo>
                    <a:lnTo>
                      <a:pt x="34" y="2"/>
                    </a:lnTo>
                    <a:lnTo>
                      <a:pt x="31" y="2"/>
                    </a:lnTo>
                    <a:lnTo>
                      <a:pt x="28" y="2"/>
                    </a:lnTo>
                    <a:lnTo>
                      <a:pt x="23" y="0"/>
                    </a:lnTo>
                    <a:lnTo>
                      <a:pt x="20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54" name="Freeform 833"/>
              <p:cNvSpPr>
                <a:spLocks/>
              </p:cNvSpPr>
              <p:nvPr/>
            </p:nvSpPr>
            <p:spPr bwMode="auto">
              <a:xfrm>
                <a:off x="1703" y="3534"/>
                <a:ext cx="28" cy="20"/>
              </a:xfrm>
              <a:custGeom>
                <a:avLst/>
                <a:gdLst>
                  <a:gd name="T0" fmla="*/ 0 w 55"/>
                  <a:gd name="T1" fmla="*/ 32 h 39"/>
                  <a:gd name="T2" fmla="*/ 6 w 55"/>
                  <a:gd name="T3" fmla="*/ 36 h 39"/>
                  <a:gd name="T4" fmla="*/ 14 w 55"/>
                  <a:gd name="T5" fmla="*/ 39 h 39"/>
                  <a:gd name="T6" fmla="*/ 11 w 55"/>
                  <a:gd name="T7" fmla="*/ 32 h 39"/>
                  <a:gd name="T8" fmla="*/ 19 w 55"/>
                  <a:gd name="T9" fmla="*/ 35 h 39"/>
                  <a:gd name="T10" fmla="*/ 20 w 55"/>
                  <a:gd name="T11" fmla="*/ 33 h 39"/>
                  <a:gd name="T12" fmla="*/ 14 w 55"/>
                  <a:gd name="T13" fmla="*/ 28 h 39"/>
                  <a:gd name="T14" fmla="*/ 20 w 55"/>
                  <a:gd name="T15" fmla="*/ 28 h 39"/>
                  <a:gd name="T16" fmla="*/ 28 w 55"/>
                  <a:gd name="T17" fmla="*/ 28 h 39"/>
                  <a:gd name="T18" fmla="*/ 30 w 55"/>
                  <a:gd name="T19" fmla="*/ 25 h 39"/>
                  <a:gd name="T20" fmla="*/ 24 w 55"/>
                  <a:gd name="T21" fmla="*/ 24 h 39"/>
                  <a:gd name="T22" fmla="*/ 25 w 55"/>
                  <a:gd name="T23" fmla="*/ 22 h 39"/>
                  <a:gd name="T24" fmla="*/ 33 w 55"/>
                  <a:gd name="T25" fmla="*/ 24 h 39"/>
                  <a:gd name="T26" fmla="*/ 39 w 55"/>
                  <a:gd name="T27" fmla="*/ 19 h 39"/>
                  <a:gd name="T28" fmla="*/ 39 w 55"/>
                  <a:gd name="T29" fmla="*/ 17 h 39"/>
                  <a:gd name="T30" fmla="*/ 55 w 55"/>
                  <a:gd name="T31" fmla="*/ 16 h 39"/>
                  <a:gd name="T32" fmla="*/ 51 w 55"/>
                  <a:gd name="T33" fmla="*/ 12 h 39"/>
                  <a:gd name="T34" fmla="*/ 43 w 55"/>
                  <a:gd name="T35" fmla="*/ 11 h 39"/>
                  <a:gd name="T36" fmla="*/ 43 w 55"/>
                  <a:gd name="T37" fmla="*/ 8 h 39"/>
                  <a:gd name="T38" fmla="*/ 51 w 55"/>
                  <a:gd name="T39" fmla="*/ 9 h 39"/>
                  <a:gd name="T40" fmla="*/ 43 w 55"/>
                  <a:gd name="T41" fmla="*/ 3 h 39"/>
                  <a:gd name="T42" fmla="*/ 33 w 55"/>
                  <a:gd name="T43" fmla="*/ 5 h 39"/>
                  <a:gd name="T44" fmla="*/ 36 w 55"/>
                  <a:gd name="T45" fmla="*/ 9 h 39"/>
                  <a:gd name="T46" fmla="*/ 36 w 55"/>
                  <a:gd name="T47" fmla="*/ 11 h 39"/>
                  <a:gd name="T48" fmla="*/ 30 w 55"/>
                  <a:gd name="T49" fmla="*/ 9 h 39"/>
                  <a:gd name="T50" fmla="*/ 32 w 55"/>
                  <a:gd name="T51" fmla="*/ 5 h 39"/>
                  <a:gd name="T52" fmla="*/ 25 w 55"/>
                  <a:gd name="T53" fmla="*/ 0 h 39"/>
                  <a:gd name="T54" fmla="*/ 19 w 55"/>
                  <a:gd name="T55" fmla="*/ 1 h 39"/>
                  <a:gd name="T56" fmla="*/ 11 w 55"/>
                  <a:gd name="T57" fmla="*/ 0 h 39"/>
                  <a:gd name="T58" fmla="*/ 9 w 55"/>
                  <a:gd name="T59" fmla="*/ 6 h 39"/>
                  <a:gd name="T60" fmla="*/ 12 w 55"/>
                  <a:gd name="T61" fmla="*/ 11 h 39"/>
                  <a:gd name="T62" fmla="*/ 11 w 55"/>
                  <a:gd name="T63" fmla="*/ 12 h 39"/>
                  <a:gd name="T64" fmla="*/ 16 w 55"/>
                  <a:gd name="T65" fmla="*/ 17 h 39"/>
                  <a:gd name="T66" fmla="*/ 8 w 55"/>
                  <a:gd name="T67" fmla="*/ 17 h 39"/>
                  <a:gd name="T68" fmla="*/ 3 w 55"/>
                  <a:gd name="T69" fmla="*/ 24 h 39"/>
                  <a:gd name="T70" fmla="*/ 3 w 55"/>
                  <a:gd name="T71" fmla="*/ 3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55" h="39">
                    <a:moveTo>
                      <a:pt x="0" y="32"/>
                    </a:moveTo>
                    <a:lnTo>
                      <a:pt x="0" y="32"/>
                    </a:lnTo>
                    <a:lnTo>
                      <a:pt x="3" y="33"/>
                    </a:lnTo>
                    <a:lnTo>
                      <a:pt x="6" y="36"/>
                    </a:lnTo>
                    <a:lnTo>
                      <a:pt x="11" y="39"/>
                    </a:lnTo>
                    <a:lnTo>
                      <a:pt x="14" y="39"/>
                    </a:lnTo>
                    <a:lnTo>
                      <a:pt x="11" y="36"/>
                    </a:lnTo>
                    <a:lnTo>
                      <a:pt x="11" y="32"/>
                    </a:lnTo>
                    <a:lnTo>
                      <a:pt x="14" y="33"/>
                    </a:lnTo>
                    <a:lnTo>
                      <a:pt x="19" y="35"/>
                    </a:lnTo>
                    <a:lnTo>
                      <a:pt x="22" y="36"/>
                    </a:lnTo>
                    <a:lnTo>
                      <a:pt x="20" y="33"/>
                    </a:lnTo>
                    <a:lnTo>
                      <a:pt x="17" y="30"/>
                    </a:lnTo>
                    <a:lnTo>
                      <a:pt x="14" y="28"/>
                    </a:lnTo>
                    <a:lnTo>
                      <a:pt x="17" y="28"/>
                    </a:lnTo>
                    <a:lnTo>
                      <a:pt x="20" y="28"/>
                    </a:lnTo>
                    <a:lnTo>
                      <a:pt x="25" y="32"/>
                    </a:lnTo>
                    <a:lnTo>
                      <a:pt x="28" y="28"/>
                    </a:lnTo>
                    <a:lnTo>
                      <a:pt x="32" y="28"/>
                    </a:lnTo>
                    <a:lnTo>
                      <a:pt x="30" y="25"/>
                    </a:lnTo>
                    <a:lnTo>
                      <a:pt x="27" y="25"/>
                    </a:lnTo>
                    <a:lnTo>
                      <a:pt x="24" y="24"/>
                    </a:lnTo>
                    <a:lnTo>
                      <a:pt x="20" y="20"/>
                    </a:lnTo>
                    <a:lnTo>
                      <a:pt x="25" y="22"/>
                    </a:lnTo>
                    <a:lnTo>
                      <a:pt x="30" y="24"/>
                    </a:lnTo>
                    <a:lnTo>
                      <a:pt x="33" y="24"/>
                    </a:lnTo>
                    <a:lnTo>
                      <a:pt x="38" y="22"/>
                    </a:lnTo>
                    <a:lnTo>
                      <a:pt x="39" y="19"/>
                    </a:lnTo>
                    <a:lnTo>
                      <a:pt x="43" y="19"/>
                    </a:lnTo>
                    <a:lnTo>
                      <a:pt x="39" y="17"/>
                    </a:lnTo>
                    <a:lnTo>
                      <a:pt x="47" y="17"/>
                    </a:lnTo>
                    <a:lnTo>
                      <a:pt x="55" y="16"/>
                    </a:lnTo>
                    <a:lnTo>
                      <a:pt x="51" y="16"/>
                    </a:lnTo>
                    <a:lnTo>
                      <a:pt x="51" y="12"/>
                    </a:lnTo>
                    <a:lnTo>
                      <a:pt x="47" y="11"/>
                    </a:lnTo>
                    <a:lnTo>
                      <a:pt x="43" y="11"/>
                    </a:lnTo>
                    <a:lnTo>
                      <a:pt x="39" y="9"/>
                    </a:lnTo>
                    <a:lnTo>
                      <a:pt x="43" y="8"/>
                    </a:lnTo>
                    <a:lnTo>
                      <a:pt x="47" y="9"/>
                    </a:lnTo>
                    <a:lnTo>
                      <a:pt x="51" y="9"/>
                    </a:lnTo>
                    <a:lnTo>
                      <a:pt x="46" y="5"/>
                    </a:lnTo>
                    <a:lnTo>
                      <a:pt x="43" y="3"/>
                    </a:lnTo>
                    <a:lnTo>
                      <a:pt x="39" y="3"/>
                    </a:lnTo>
                    <a:lnTo>
                      <a:pt x="33" y="5"/>
                    </a:lnTo>
                    <a:lnTo>
                      <a:pt x="32" y="8"/>
                    </a:lnTo>
                    <a:lnTo>
                      <a:pt x="36" y="9"/>
                    </a:lnTo>
                    <a:lnTo>
                      <a:pt x="39" y="12"/>
                    </a:lnTo>
                    <a:lnTo>
                      <a:pt x="36" y="11"/>
                    </a:lnTo>
                    <a:lnTo>
                      <a:pt x="33" y="9"/>
                    </a:lnTo>
                    <a:lnTo>
                      <a:pt x="30" y="9"/>
                    </a:lnTo>
                    <a:lnTo>
                      <a:pt x="28" y="5"/>
                    </a:lnTo>
                    <a:lnTo>
                      <a:pt x="32" y="5"/>
                    </a:lnTo>
                    <a:lnTo>
                      <a:pt x="28" y="1"/>
                    </a:lnTo>
                    <a:lnTo>
                      <a:pt x="25" y="0"/>
                    </a:lnTo>
                    <a:lnTo>
                      <a:pt x="22" y="0"/>
                    </a:lnTo>
                    <a:lnTo>
                      <a:pt x="19" y="1"/>
                    </a:lnTo>
                    <a:lnTo>
                      <a:pt x="14" y="0"/>
                    </a:lnTo>
                    <a:lnTo>
                      <a:pt x="11" y="0"/>
                    </a:lnTo>
                    <a:lnTo>
                      <a:pt x="12" y="3"/>
                    </a:lnTo>
                    <a:lnTo>
                      <a:pt x="9" y="6"/>
                    </a:lnTo>
                    <a:lnTo>
                      <a:pt x="12" y="8"/>
                    </a:lnTo>
                    <a:lnTo>
                      <a:pt x="12" y="11"/>
                    </a:lnTo>
                    <a:lnTo>
                      <a:pt x="9" y="9"/>
                    </a:lnTo>
                    <a:lnTo>
                      <a:pt x="11" y="12"/>
                    </a:lnTo>
                    <a:lnTo>
                      <a:pt x="14" y="14"/>
                    </a:lnTo>
                    <a:lnTo>
                      <a:pt x="16" y="17"/>
                    </a:lnTo>
                    <a:lnTo>
                      <a:pt x="12" y="16"/>
                    </a:lnTo>
                    <a:lnTo>
                      <a:pt x="8" y="17"/>
                    </a:lnTo>
                    <a:lnTo>
                      <a:pt x="6" y="20"/>
                    </a:lnTo>
                    <a:lnTo>
                      <a:pt x="3" y="24"/>
                    </a:lnTo>
                    <a:lnTo>
                      <a:pt x="1" y="27"/>
                    </a:lnTo>
                    <a:lnTo>
                      <a:pt x="3" y="30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sp>
          <p:nvSpPr>
            <p:cNvPr id="388" name="Freeform 834"/>
            <p:cNvSpPr>
              <a:spLocks/>
            </p:cNvSpPr>
            <p:nvPr/>
          </p:nvSpPr>
          <p:spPr bwMode="auto">
            <a:xfrm>
              <a:off x="3732877" y="4454910"/>
              <a:ext cx="24997" cy="27079"/>
            </a:xfrm>
            <a:custGeom>
              <a:avLst/>
              <a:gdLst>
                <a:gd name="T0" fmla="*/ 0 w 35"/>
                <a:gd name="T1" fmla="*/ 32 h 32"/>
                <a:gd name="T2" fmla="*/ 3 w 35"/>
                <a:gd name="T3" fmla="*/ 28 h 32"/>
                <a:gd name="T4" fmla="*/ 6 w 35"/>
                <a:gd name="T5" fmla="*/ 28 h 32"/>
                <a:gd name="T6" fmla="*/ 9 w 35"/>
                <a:gd name="T7" fmla="*/ 25 h 32"/>
                <a:gd name="T8" fmla="*/ 13 w 35"/>
                <a:gd name="T9" fmla="*/ 24 h 32"/>
                <a:gd name="T10" fmla="*/ 16 w 35"/>
                <a:gd name="T11" fmla="*/ 21 h 32"/>
                <a:gd name="T12" fmla="*/ 16 w 35"/>
                <a:gd name="T13" fmla="*/ 17 h 32"/>
                <a:gd name="T14" fmla="*/ 16 w 35"/>
                <a:gd name="T15" fmla="*/ 14 h 32"/>
                <a:gd name="T16" fmla="*/ 17 w 35"/>
                <a:gd name="T17" fmla="*/ 9 h 32"/>
                <a:gd name="T18" fmla="*/ 14 w 35"/>
                <a:gd name="T19" fmla="*/ 6 h 32"/>
                <a:gd name="T20" fmla="*/ 11 w 35"/>
                <a:gd name="T21" fmla="*/ 6 h 32"/>
                <a:gd name="T22" fmla="*/ 14 w 35"/>
                <a:gd name="T23" fmla="*/ 3 h 32"/>
                <a:gd name="T24" fmla="*/ 17 w 35"/>
                <a:gd name="T25" fmla="*/ 3 h 32"/>
                <a:gd name="T26" fmla="*/ 20 w 35"/>
                <a:gd name="T27" fmla="*/ 1 h 32"/>
                <a:gd name="T28" fmla="*/ 25 w 35"/>
                <a:gd name="T29" fmla="*/ 1 h 32"/>
                <a:gd name="T30" fmla="*/ 28 w 35"/>
                <a:gd name="T31" fmla="*/ 1 h 32"/>
                <a:gd name="T32" fmla="*/ 32 w 35"/>
                <a:gd name="T33" fmla="*/ 0 h 32"/>
                <a:gd name="T34" fmla="*/ 35 w 35"/>
                <a:gd name="T35" fmla="*/ 0 h 32"/>
                <a:gd name="T36" fmla="*/ 35 w 35"/>
                <a:gd name="T37" fmla="*/ 3 h 32"/>
                <a:gd name="T38" fmla="*/ 32 w 35"/>
                <a:gd name="T39" fmla="*/ 6 h 32"/>
                <a:gd name="T40" fmla="*/ 33 w 35"/>
                <a:gd name="T41" fmla="*/ 9 h 32"/>
                <a:gd name="T42" fmla="*/ 32 w 35"/>
                <a:gd name="T43" fmla="*/ 14 h 32"/>
                <a:gd name="T44" fmla="*/ 32 w 35"/>
                <a:gd name="T45" fmla="*/ 17 h 32"/>
                <a:gd name="T46" fmla="*/ 33 w 35"/>
                <a:gd name="T47" fmla="*/ 21 h 32"/>
                <a:gd name="T48" fmla="*/ 33 w 35"/>
                <a:gd name="T49" fmla="*/ 24 h 32"/>
                <a:gd name="T50" fmla="*/ 32 w 35"/>
                <a:gd name="T51" fmla="*/ 27 h 32"/>
                <a:gd name="T52" fmla="*/ 28 w 35"/>
                <a:gd name="T53" fmla="*/ 30 h 32"/>
                <a:gd name="T54" fmla="*/ 14 w 35"/>
                <a:gd name="T55" fmla="*/ 32 h 32"/>
                <a:gd name="T56" fmla="*/ 0 w 35"/>
                <a:gd name="T5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" h="32">
                  <a:moveTo>
                    <a:pt x="0" y="32"/>
                  </a:moveTo>
                  <a:lnTo>
                    <a:pt x="3" y="28"/>
                  </a:lnTo>
                  <a:lnTo>
                    <a:pt x="6" y="28"/>
                  </a:lnTo>
                  <a:lnTo>
                    <a:pt x="9" y="25"/>
                  </a:lnTo>
                  <a:lnTo>
                    <a:pt x="13" y="24"/>
                  </a:lnTo>
                  <a:lnTo>
                    <a:pt x="16" y="21"/>
                  </a:lnTo>
                  <a:lnTo>
                    <a:pt x="16" y="17"/>
                  </a:lnTo>
                  <a:lnTo>
                    <a:pt x="16" y="14"/>
                  </a:lnTo>
                  <a:lnTo>
                    <a:pt x="17" y="9"/>
                  </a:lnTo>
                  <a:lnTo>
                    <a:pt x="14" y="6"/>
                  </a:lnTo>
                  <a:lnTo>
                    <a:pt x="11" y="6"/>
                  </a:lnTo>
                  <a:lnTo>
                    <a:pt x="14" y="3"/>
                  </a:lnTo>
                  <a:lnTo>
                    <a:pt x="17" y="3"/>
                  </a:lnTo>
                  <a:lnTo>
                    <a:pt x="20" y="1"/>
                  </a:lnTo>
                  <a:lnTo>
                    <a:pt x="25" y="1"/>
                  </a:lnTo>
                  <a:lnTo>
                    <a:pt x="28" y="1"/>
                  </a:lnTo>
                  <a:lnTo>
                    <a:pt x="32" y="0"/>
                  </a:lnTo>
                  <a:lnTo>
                    <a:pt x="35" y="0"/>
                  </a:lnTo>
                  <a:lnTo>
                    <a:pt x="35" y="3"/>
                  </a:lnTo>
                  <a:lnTo>
                    <a:pt x="32" y="6"/>
                  </a:lnTo>
                  <a:lnTo>
                    <a:pt x="33" y="9"/>
                  </a:lnTo>
                  <a:lnTo>
                    <a:pt x="32" y="14"/>
                  </a:lnTo>
                  <a:lnTo>
                    <a:pt x="32" y="17"/>
                  </a:lnTo>
                  <a:lnTo>
                    <a:pt x="33" y="21"/>
                  </a:lnTo>
                  <a:lnTo>
                    <a:pt x="33" y="24"/>
                  </a:lnTo>
                  <a:lnTo>
                    <a:pt x="32" y="27"/>
                  </a:lnTo>
                  <a:lnTo>
                    <a:pt x="28" y="30"/>
                  </a:lnTo>
                  <a:lnTo>
                    <a:pt x="14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89" name="Freeform 835"/>
            <p:cNvSpPr>
              <a:spLocks/>
            </p:cNvSpPr>
            <p:nvPr/>
          </p:nvSpPr>
          <p:spPr bwMode="auto">
            <a:xfrm>
              <a:off x="2934471" y="4839090"/>
              <a:ext cx="5881" cy="8462"/>
            </a:xfrm>
            <a:custGeom>
              <a:avLst/>
              <a:gdLst>
                <a:gd name="T0" fmla="*/ 5 w 8"/>
                <a:gd name="T1" fmla="*/ 10 h 10"/>
                <a:gd name="T2" fmla="*/ 8 w 8"/>
                <a:gd name="T3" fmla="*/ 8 h 10"/>
                <a:gd name="T4" fmla="*/ 8 w 8"/>
                <a:gd name="T5" fmla="*/ 5 h 10"/>
                <a:gd name="T6" fmla="*/ 8 w 8"/>
                <a:gd name="T7" fmla="*/ 2 h 10"/>
                <a:gd name="T8" fmla="*/ 5 w 8"/>
                <a:gd name="T9" fmla="*/ 0 h 10"/>
                <a:gd name="T10" fmla="*/ 0 w 8"/>
                <a:gd name="T11" fmla="*/ 2 h 10"/>
                <a:gd name="T12" fmla="*/ 0 w 8"/>
                <a:gd name="T13" fmla="*/ 5 h 10"/>
                <a:gd name="T14" fmla="*/ 4 w 8"/>
                <a:gd name="T15" fmla="*/ 8 h 10"/>
                <a:gd name="T16" fmla="*/ 5 w 8"/>
                <a:gd name="T1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" h="10">
                  <a:moveTo>
                    <a:pt x="5" y="10"/>
                  </a:moveTo>
                  <a:lnTo>
                    <a:pt x="8" y="8"/>
                  </a:lnTo>
                  <a:lnTo>
                    <a:pt x="8" y="5"/>
                  </a:lnTo>
                  <a:lnTo>
                    <a:pt x="8" y="2"/>
                  </a:lnTo>
                  <a:lnTo>
                    <a:pt x="5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4" y="8"/>
                  </a:lnTo>
                  <a:lnTo>
                    <a:pt x="5" y="10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90" name="Freeform 836"/>
            <p:cNvSpPr>
              <a:spLocks/>
            </p:cNvSpPr>
            <p:nvPr/>
          </p:nvSpPr>
          <p:spPr bwMode="auto">
            <a:xfrm>
              <a:off x="2934471" y="4825551"/>
              <a:ext cx="22055" cy="40619"/>
            </a:xfrm>
            <a:custGeom>
              <a:avLst/>
              <a:gdLst>
                <a:gd name="T0" fmla="*/ 0 w 29"/>
                <a:gd name="T1" fmla="*/ 4 h 47"/>
                <a:gd name="T2" fmla="*/ 3 w 29"/>
                <a:gd name="T3" fmla="*/ 6 h 47"/>
                <a:gd name="T4" fmla="*/ 6 w 29"/>
                <a:gd name="T5" fmla="*/ 8 h 47"/>
                <a:gd name="T6" fmla="*/ 6 w 29"/>
                <a:gd name="T7" fmla="*/ 11 h 47"/>
                <a:gd name="T8" fmla="*/ 6 w 29"/>
                <a:gd name="T9" fmla="*/ 14 h 47"/>
                <a:gd name="T10" fmla="*/ 10 w 29"/>
                <a:gd name="T11" fmla="*/ 19 h 47"/>
                <a:gd name="T12" fmla="*/ 13 w 29"/>
                <a:gd name="T13" fmla="*/ 20 h 47"/>
                <a:gd name="T14" fmla="*/ 13 w 29"/>
                <a:gd name="T15" fmla="*/ 23 h 47"/>
                <a:gd name="T16" fmla="*/ 16 w 29"/>
                <a:gd name="T17" fmla="*/ 27 h 47"/>
                <a:gd name="T18" fmla="*/ 17 w 29"/>
                <a:gd name="T19" fmla="*/ 30 h 47"/>
                <a:gd name="T20" fmla="*/ 13 w 29"/>
                <a:gd name="T21" fmla="*/ 31 h 47"/>
                <a:gd name="T22" fmla="*/ 10 w 29"/>
                <a:gd name="T23" fmla="*/ 34 h 47"/>
                <a:gd name="T24" fmla="*/ 6 w 29"/>
                <a:gd name="T25" fmla="*/ 36 h 47"/>
                <a:gd name="T26" fmla="*/ 3 w 29"/>
                <a:gd name="T27" fmla="*/ 39 h 47"/>
                <a:gd name="T28" fmla="*/ 5 w 29"/>
                <a:gd name="T29" fmla="*/ 44 h 47"/>
                <a:gd name="T30" fmla="*/ 10 w 29"/>
                <a:gd name="T31" fmla="*/ 47 h 47"/>
                <a:gd name="T32" fmla="*/ 13 w 29"/>
                <a:gd name="T33" fmla="*/ 47 h 47"/>
                <a:gd name="T34" fmla="*/ 16 w 29"/>
                <a:gd name="T35" fmla="*/ 47 h 47"/>
                <a:gd name="T36" fmla="*/ 19 w 29"/>
                <a:gd name="T37" fmla="*/ 46 h 47"/>
                <a:gd name="T38" fmla="*/ 22 w 29"/>
                <a:gd name="T39" fmla="*/ 44 h 47"/>
                <a:gd name="T40" fmla="*/ 27 w 29"/>
                <a:gd name="T41" fmla="*/ 42 h 47"/>
                <a:gd name="T42" fmla="*/ 27 w 29"/>
                <a:gd name="T43" fmla="*/ 39 h 47"/>
                <a:gd name="T44" fmla="*/ 29 w 29"/>
                <a:gd name="T45" fmla="*/ 34 h 47"/>
                <a:gd name="T46" fmla="*/ 25 w 29"/>
                <a:gd name="T47" fmla="*/ 31 h 47"/>
                <a:gd name="T48" fmla="*/ 22 w 29"/>
                <a:gd name="T49" fmla="*/ 30 h 47"/>
                <a:gd name="T50" fmla="*/ 24 w 29"/>
                <a:gd name="T51" fmla="*/ 23 h 47"/>
                <a:gd name="T52" fmla="*/ 21 w 29"/>
                <a:gd name="T53" fmla="*/ 20 h 47"/>
                <a:gd name="T54" fmla="*/ 17 w 29"/>
                <a:gd name="T55" fmla="*/ 17 h 47"/>
                <a:gd name="T56" fmla="*/ 14 w 29"/>
                <a:gd name="T57" fmla="*/ 12 h 47"/>
                <a:gd name="T58" fmla="*/ 14 w 29"/>
                <a:gd name="T59" fmla="*/ 9 h 47"/>
                <a:gd name="T60" fmla="*/ 13 w 29"/>
                <a:gd name="T61" fmla="*/ 4 h 47"/>
                <a:gd name="T62" fmla="*/ 10 w 29"/>
                <a:gd name="T63" fmla="*/ 1 h 47"/>
                <a:gd name="T64" fmla="*/ 6 w 29"/>
                <a:gd name="T65" fmla="*/ 0 h 47"/>
                <a:gd name="T66" fmla="*/ 3 w 29"/>
                <a:gd name="T67" fmla="*/ 3 h 47"/>
                <a:gd name="T68" fmla="*/ 0 w 29"/>
                <a:gd name="T69" fmla="*/ 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9" h="47">
                  <a:moveTo>
                    <a:pt x="0" y="4"/>
                  </a:moveTo>
                  <a:lnTo>
                    <a:pt x="3" y="6"/>
                  </a:lnTo>
                  <a:lnTo>
                    <a:pt x="6" y="8"/>
                  </a:lnTo>
                  <a:lnTo>
                    <a:pt x="6" y="11"/>
                  </a:lnTo>
                  <a:lnTo>
                    <a:pt x="6" y="14"/>
                  </a:lnTo>
                  <a:lnTo>
                    <a:pt x="10" y="19"/>
                  </a:lnTo>
                  <a:lnTo>
                    <a:pt x="13" y="20"/>
                  </a:lnTo>
                  <a:lnTo>
                    <a:pt x="13" y="23"/>
                  </a:lnTo>
                  <a:lnTo>
                    <a:pt x="16" y="27"/>
                  </a:lnTo>
                  <a:lnTo>
                    <a:pt x="17" y="30"/>
                  </a:lnTo>
                  <a:lnTo>
                    <a:pt x="13" y="31"/>
                  </a:lnTo>
                  <a:lnTo>
                    <a:pt x="10" y="34"/>
                  </a:lnTo>
                  <a:lnTo>
                    <a:pt x="6" y="36"/>
                  </a:lnTo>
                  <a:lnTo>
                    <a:pt x="3" y="39"/>
                  </a:lnTo>
                  <a:lnTo>
                    <a:pt x="5" y="44"/>
                  </a:lnTo>
                  <a:lnTo>
                    <a:pt x="10" y="47"/>
                  </a:lnTo>
                  <a:lnTo>
                    <a:pt x="13" y="47"/>
                  </a:lnTo>
                  <a:lnTo>
                    <a:pt x="16" y="47"/>
                  </a:lnTo>
                  <a:lnTo>
                    <a:pt x="19" y="46"/>
                  </a:lnTo>
                  <a:lnTo>
                    <a:pt x="22" y="44"/>
                  </a:lnTo>
                  <a:lnTo>
                    <a:pt x="27" y="42"/>
                  </a:lnTo>
                  <a:lnTo>
                    <a:pt x="27" y="39"/>
                  </a:lnTo>
                  <a:lnTo>
                    <a:pt x="29" y="34"/>
                  </a:lnTo>
                  <a:lnTo>
                    <a:pt x="25" y="31"/>
                  </a:lnTo>
                  <a:lnTo>
                    <a:pt x="22" y="30"/>
                  </a:lnTo>
                  <a:lnTo>
                    <a:pt x="24" y="23"/>
                  </a:lnTo>
                  <a:lnTo>
                    <a:pt x="21" y="20"/>
                  </a:lnTo>
                  <a:lnTo>
                    <a:pt x="17" y="17"/>
                  </a:lnTo>
                  <a:lnTo>
                    <a:pt x="14" y="12"/>
                  </a:lnTo>
                  <a:lnTo>
                    <a:pt x="14" y="9"/>
                  </a:lnTo>
                  <a:lnTo>
                    <a:pt x="13" y="4"/>
                  </a:lnTo>
                  <a:lnTo>
                    <a:pt x="10" y="1"/>
                  </a:lnTo>
                  <a:lnTo>
                    <a:pt x="6" y="0"/>
                  </a:lnTo>
                  <a:lnTo>
                    <a:pt x="3" y="3"/>
                  </a:lnTo>
                  <a:lnTo>
                    <a:pt x="0" y="4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91" name="Freeform 837"/>
            <p:cNvSpPr>
              <a:spLocks/>
            </p:cNvSpPr>
            <p:nvPr/>
          </p:nvSpPr>
          <p:spPr bwMode="auto">
            <a:xfrm>
              <a:off x="2953586" y="4837398"/>
              <a:ext cx="8822" cy="6770"/>
            </a:xfrm>
            <a:custGeom>
              <a:avLst/>
              <a:gdLst>
                <a:gd name="T0" fmla="*/ 10 w 11"/>
                <a:gd name="T1" fmla="*/ 8 h 8"/>
                <a:gd name="T2" fmla="*/ 11 w 11"/>
                <a:gd name="T3" fmla="*/ 5 h 8"/>
                <a:gd name="T4" fmla="*/ 10 w 11"/>
                <a:gd name="T5" fmla="*/ 2 h 8"/>
                <a:gd name="T6" fmla="*/ 5 w 11"/>
                <a:gd name="T7" fmla="*/ 0 h 8"/>
                <a:gd name="T8" fmla="*/ 2 w 11"/>
                <a:gd name="T9" fmla="*/ 0 h 8"/>
                <a:gd name="T10" fmla="*/ 0 w 11"/>
                <a:gd name="T11" fmla="*/ 3 h 8"/>
                <a:gd name="T12" fmla="*/ 5 w 11"/>
                <a:gd name="T13" fmla="*/ 7 h 8"/>
                <a:gd name="T14" fmla="*/ 8 w 11"/>
                <a:gd name="T15" fmla="*/ 7 h 8"/>
                <a:gd name="T16" fmla="*/ 10 w 11"/>
                <a:gd name="T1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" h="8">
                  <a:moveTo>
                    <a:pt x="10" y="8"/>
                  </a:moveTo>
                  <a:lnTo>
                    <a:pt x="11" y="5"/>
                  </a:lnTo>
                  <a:lnTo>
                    <a:pt x="10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3"/>
                  </a:lnTo>
                  <a:lnTo>
                    <a:pt x="5" y="7"/>
                  </a:lnTo>
                  <a:lnTo>
                    <a:pt x="8" y="7"/>
                  </a:lnTo>
                  <a:lnTo>
                    <a:pt x="10" y="8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92" name="Freeform 838"/>
            <p:cNvSpPr>
              <a:spLocks/>
            </p:cNvSpPr>
            <p:nvPr/>
          </p:nvSpPr>
          <p:spPr bwMode="auto">
            <a:xfrm>
              <a:off x="2963879" y="4847551"/>
              <a:ext cx="8822" cy="10155"/>
            </a:xfrm>
            <a:custGeom>
              <a:avLst/>
              <a:gdLst>
                <a:gd name="T0" fmla="*/ 8 w 13"/>
                <a:gd name="T1" fmla="*/ 11 h 11"/>
                <a:gd name="T2" fmla="*/ 11 w 13"/>
                <a:gd name="T3" fmla="*/ 9 h 11"/>
                <a:gd name="T4" fmla="*/ 13 w 13"/>
                <a:gd name="T5" fmla="*/ 6 h 11"/>
                <a:gd name="T6" fmla="*/ 13 w 13"/>
                <a:gd name="T7" fmla="*/ 3 h 11"/>
                <a:gd name="T8" fmla="*/ 10 w 13"/>
                <a:gd name="T9" fmla="*/ 0 h 11"/>
                <a:gd name="T10" fmla="*/ 6 w 13"/>
                <a:gd name="T11" fmla="*/ 0 h 11"/>
                <a:gd name="T12" fmla="*/ 2 w 13"/>
                <a:gd name="T13" fmla="*/ 2 h 11"/>
                <a:gd name="T14" fmla="*/ 0 w 13"/>
                <a:gd name="T15" fmla="*/ 5 h 11"/>
                <a:gd name="T16" fmla="*/ 0 w 13"/>
                <a:gd name="T17" fmla="*/ 8 h 11"/>
                <a:gd name="T18" fmla="*/ 3 w 13"/>
                <a:gd name="T19" fmla="*/ 11 h 11"/>
                <a:gd name="T20" fmla="*/ 6 w 13"/>
                <a:gd name="T21" fmla="*/ 11 h 11"/>
                <a:gd name="T22" fmla="*/ 8 w 13"/>
                <a:gd name="T23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3" h="11">
                  <a:moveTo>
                    <a:pt x="8" y="11"/>
                  </a:moveTo>
                  <a:lnTo>
                    <a:pt x="11" y="9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0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8"/>
                  </a:lnTo>
                  <a:lnTo>
                    <a:pt x="3" y="11"/>
                  </a:lnTo>
                  <a:lnTo>
                    <a:pt x="6" y="11"/>
                  </a:lnTo>
                  <a:lnTo>
                    <a:pt x="8" y="1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sp>
          <p:nvSpPr>
            <p:cNvPr id="393" name="Freeform 839"/>
            <p:cNvSpPr>
              <a:spLocks/>
            </p:cNvSpPr>
            <p:nvPr/>
          </p:nvSpPr>
          <p:spPr bwMode="auto">
            <a:xfrm>
              <a:off x="2988875" y="4854322"/>
              <a:ext cx="8822" cy="8462"/>
            </a:xfrm>
            <a:custGeom>
              <a:avLst/>
              <a:gdLst>
                <a:gd name="T0" fmla="*/ 2 w 11"/>
                <a:gd name="T1" fmla="*/ 11 h 11"/>
                <a:gd name="T2" fmla="*/ 5 w 11"/>
                <a:gd name="T3" fmla="*/ 9 h 11"/>
                <a:gd name="T4" fmla="*/ 8 w 11"/>
                <a:gd name="T5" fmla="*/ 6 h 11"/>
                <a:gd name="T6" fmla="*/ 11 w 11"/>
                <a:gd name="T7" fmla="*/ 3 h 11"/>
                <a:gd name="T8" fmla="*/ 9 w 11"/>
                <a:gd name="T9" fmla="*/ 0 h 11"/>
                <a:gd name="T10" fmla="*/ 6 w 11"/>
                <a:gd name="T11" fmla="*/ 1 h 11"/>
                <a:gd name="T12" fmla="*/ 3 w 11"/>
                <a:gd name="T13" fmla="*/ 5 h 11"/>
                <a:gd name="T14" fmla="*/ 0 w 11"/>
                <a:gd name="T15" fmla="*/ 8 h 11"/>
                <a:gd name="T16" fmla="*/ 2 w 11"/>
                <a:gd name="T17" fmla="*/ 11 h 11"/>
                <a:gd name="T18" fmla="*/ 2 w 11"/>
                <a:gd name="T1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1" h="11">
                  <a:moveTo>
                    <a:pt x="2" y="11"/>
                  </a:moveTo>
                  <a:lnTo>
                    <a:pt x="5" y="9"/>
                  </a:lnTo>
                  <a:lnTo>
                    <a:pt x="8" y="6"/>
                  </a:lnTo>
                  <a:lnTo>
                    <a:pt x="11" y="3"/>
                  </a:lnTo>
                  <a:lnTo>
                    <a:pt x="9" y="0"/>
                  </a:lnTo>
                  <a:lnTo>
                    <a:pt x="6" y="1"/>
                  </a:lnTo>
                  <a:lnTo>
                    <a:pt x="3" y="5"/>
                  </a:lnTo>
                  <a:lnTo>
                    <a:pt x="0" y="8"/>
                  </a:lnTo>
                  <a:lnTo>
                    <a:pt x="2" y="11"/>
                  </a:lnTo>
                  <a:lnTo>
                    <a:pt x="2" y="11"/>
                  </a:lnTo>
                  <a:close/>
                </a:path>
              </a:pathLst>
            </a:custGeom>
            <a:solidFill>
              <a:srgbClr val="A6A6A6"/>
            </a:solidFill>
            <a:ln w="1270" cap="flat" cmpd="sng">
              <a:solidFill>
                <a:srgbClr val="D9DCEB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  <p:grpSp>
          <p:nvGrpSpPr>
            <p:cNvPr id="394" name="Group 918"/>
            <p:cNvGrpSpPr/>
            <p:nvPr/>
          </p:nvGrpSpPr>
          <p:grpSpPr>
            <a:xfrm>
              <a:off x="3203518" y="3945401"/>
              <a:ext cx="487628" cy="477096"/>
              <a:chOff x="1825467" y="3119339"/>
              <a:chExt cx="515860" cy="425687"/>
            </a:xfrm>
            <a:solidFill>
              <a:srgbClr val="A6A6A6"/>
            </a:solidFill>
          </p:grpSpPr>
          <p:sp>
            <p:nvSpPr>
              <p:cNvPr id="396" name="Freeform 1605"/>
              <p:cNvSpPr>
                <a:spLocks noChangeAspect="1"/>
              </p:cNvSpPr>
              <p:nvPr/>
            </p:nvSpPr>
            <p:spPr bwMode="auto">
              <a:xfrm>
                <a:off x="2187640" y="3346018"/>
                <a:ext cx="34549" cy="15816"/>
              </a:xfrm>
              <a:custGeom>
                <a:avLst/>
                <a:gdLst>
                  <a:gd name="T0" fmla="*/ 45 w 58"/>
                  <a:gd name="T1" fmla="*/ 22 h 24"/>
                  <a:gd name="T2" fmla="*/ 42 w 58"/>
                  <a:gd name="T3" fmla="*/ 22 h 24"/>
                  <a:gd name="T4" fmla="*/ 37 w 58"/>
                  <a:gd name="T5" fmla="*/ 24 h 24"/>
                  <a:gd name="T6" fmla="*/ 34 w 58"/>
                  <a:gd name="T7" fmla="*/ 24 h 24"/>
                  <a:gd name="T8" fmla="*/ 31 w 58"/>
                  <a:gd name="T9" fmla="*/ 22 h 24"/>
                  <a:gd name="T10" fmla="*/ 27 w 58"/>
                  <a:gd name="T11" fmla="*/ 22 h 24"/>
                  <a:gd name="T12" fmla="*/ 21 w 58"/>
                  <a:gd name="T13" fmla="*/ 22 h 24"/>
                  <a:gd name="T14" fmla="*/ 16 w 58"/>
                  <a:gd name="T15" fmla="*/ 22 h 24"/>
                  <a:gd name="T16" fmla="*/ 13 w 58"/>
                  <a:gd name="T17" fmla="*/ 22 h 24"/>
                  <a:gd name="T18" fmla="*/ 10 w 58"/>
                  <a:gd name="T19" fmla="*/ 24 h 24"/>
                  <a:gd name="T20" fmla="*/ 7 w 58"/>
                  <a:gd name="T21" fmla="*/ 22 h 24"/>
                  <a:gd name="T22" fmla="*/ 4 w 58"/>
                  <a:gd name="T23" fmla="*/ 24 h 24"/>
                  <a:gd name="T24" fmla="*/ 0 w 58"/>
                  <a:gd name="T25" fmla="*/ 19 h 24"/>
                  <a:gd name="T26" fmla="*/ 2 w 58"/>
                  <a:gd name="T27" fmla="*/ 16 h 24"/>
                  <a:gd name="T28" fmla="*/ 4 w 58"/>
                  <a:gd name="T29" fmla="*/ 13 h 24"/>
                  <a:gd name="T30" fmla="*/ 0 w 58"/>
                  <a:gd name="T31" fmla="*/ 9 h 24"/>
                  <a:gd name="T32" fmla="*/ 0 w 58"/>
                  <a:gd name="T33" fmla="*/ 5 h 24"/>
                  <a:gd name="T34" fmla="*/ 4 w 58"/>
                  <a:gd name="T35" fmla="*/ 3 h 24"/>
                  <a:gd name="T36" fmla="*/ 4 w 58"/>
                  <a:gd name="T37" fmla="*/ 0 h 24"/>
                  <a:gd name="T38" fmla="*/ 7 w 58"/>
                  <a:gd name="T39" fmla="*/ 0 h 24"/>
                  <a:gd name="T40" fmla="*/ 12 w 58"/>
                  <a:gd name="T41" fmla="*/ 0 h 24"/>
                  <a:gd name="T42" fmla="*/ 15 w 58"/>
                  <a:gd name="T43" fmla="*/ 0 h 24"/>
                  <a:gd name="T44" fmla="*/ 18 w 58"/>
                  <a:gd name="T45" fmla="*/ 2 h 24"/>
                  <a:gd name="T46" fmla="*/ 21 w 58"/>
                  <a:gd name="T47" fmla="*/ 0 h 24"/>
                  <a:gd name="T48" fmla="*/ 24 w 58"/>
                  <a:gd name="T49" fmla="*/ 2 h 24"/>
                  <a:gd name="T50" fmla="*/ 29 w 58"/>
                  <a:gd name="T51" fmla="*/ 2 h 24"/>
                  <a:gd name="T52" fmla="*/ 32 w 58"/>
                  <a:gd name="T53" fmla="*/ 2 h 24"/>
                  <a:gd name="T54" fmla="*/ 35 w 58"/>
                  <a:gd name="T55" fmla="*/ 2 h 24"/>
                  <a:gd name="T56" fmla="*/ 39 w 58"/>
                  <a:gd name="T57" fmla="*/ 2 h 24"/>
                  <a:gd name="T58" fmla="*/ 43 w 58"/>
                  <a:gd name="T59" fmla="*/ 3 h 24"/>
                  <a:gd name="T60" fmla="*/ 46 w 58"/>
                  <a:gd name="T61" fmla="*/ 2 h 24"/>
                  <a:gd name="T62" fmla="*/ 50 w 58"/>
                  <a:gd name="T63" fmla="*/ 3 h 24"/>
                  <a:gd name="T64" fmla="*/ 53 w 58"/>
                  <a:gd name="T65" fmla="*/ 5 h 24"/>
                  <a:gd name="T66" fmla="*/ 56 w 58"/>
                  <a:gd name="T67" fmla="*/ 6 h 24"/>
                  <a:gd name="T68" fmla="*/ 58 w 58"/>
                  <a:gd name="T69" fmla="*/ 9 h 24"/>
                  <a:gd name="T70" fmla="*/ 56 w 58"/>
                  <a:gd name="T71" fmla="*/ 13 h 24"/>
                  <a:gd name="T72" fmla="*/ 53 w 58"/>
                  <a:gd name="T73" fmla="*/ 14 h 24"/>
                  <a:gd name="T74" fmla="*/ 51 w 58"/>
                  <a:gd name="T75" fmla="*/ 17 h 24"/>
                  <a:gd name="T76" fmla="*/ 48 w 58"/>
                  <a:gd name="T77" fmla="*/ 21 h 24"/>
                  <a:gd name="T78" fmla="*/ 45 w 58"/>
                  <a:gd name="T79" fmla="*/ 22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8" h="24">
                    <a:moveTo>
                      <a:pt x="45" y="22"/>
                    </a:moveTo>
                    <a:lnTo>
                      <a:pt x="42" y="22"/>
                    </a:lnTo>
                    <a:lnTo>
                      <a:pt x="37" y="24"/>
                    </a:lnTo>
                    <a:lnTo>
                      <a:pt x="34" y="24"/>
                    </a:lnTo>
                    <a:lnTo>
                      <a:pt x="31" y="22"/>
                    </a:lnTo>
                    <a:lnTo>
                      <a:pt x="27" y="22"/>
                    </a:lnTo>
                    <a:lnTo>
                      <a:pt x="21" y="22"/>
                    </a:lnTo>
                    <a:lnTo>
                      <a:pt x="16" y="22"/>
                    </a:lnTo>
                    <a:lnTo>
                      <a:pt x="13" y="22"/>
                    </a:lnTo>
                    <a:lnTo>
                      <a:pt x="10" y="24"/>
                    </a:lnTo>
                    <a:lnTo>
                      <a:pt x="7" y="22"/>
                    </a:lnTo>
                    <a:lnTo>
                      <a:pt x="4" y="24"/>
                    </a:lnTo>
                    <a:lnTo>
                      <a:pt x="0" y="19"/>
                    </a:lnTo>
                    <a:lnTo>
                      <a:pt x="2" y="16"/>
                    </a:lnTo>
                    <a:lnTo>
                      <a:pt x="4" y="13"/>
                    </a:lnTo>
                    <a:lnTo>
                      <a:pt x="0" y="9"/>
                    </a:lnTo>
                    <a:lnTo>
                      <a:pt x="0" y="5"/>
                    </a:lnTo>
                    <a:lnTo>
                      <a:pt x="4" y="3"/>
                    </a:lnTo>
                    <a:lnTo>
                      <a:pt x="4" y="0"/>
                    </a:lnTo>
                    <a:lnTo>
                      <a:pt x="7" y="0"/>
                    </a:lnTo>
                    <a:lnTo>
                      <a:pt x="12" y="0"/>
                    </a:lnTo>
                    <a:lnTo>
                      <a:pt x="15" y="0"/>
                    </a:lnTo>
                    <a:lnTo>
                      <a:pt x="18" y="2"/>
                    </a:lnTo>
                    <a:lnTo>
                      <a:pt x="21" y="0"/>
                    </a:lnTo>
                    <a:lnTo>
                      <a:pt x="24" y="2"/>
                    </a:lnTo>
                    <a:lnTo>
                      <a:pt x="29" y="2"/>
                    </a:lnTo>
                    <a:lnTo>
                      <a:pt x="32" y="2"/>
                    </a:lnTo>
                    <a:lnTo>
                      <a:pt x="35" y="2"/>
                    </a:lnTo>
                    <a:lnTo>
                      <a:pt x="39" y="2"/>
                    </a:lnTo>
                    <a:lnTo>
                      <a:pt x="43" y="3"/>
                    </a:lnTo>
                    <a:lnTo>
                      <a:pt x="46" y="2"/>
                    </a:lnTo>
                    <a:lnTo>
                      <a:pt x="50" y="3"/>
                    </a:lnTo>
                    <a:lnTo>
                      <a:pt x="53" y="5"/>
                    </a:lnTo>
                    <a:lnTo>
                      <a:pt x="56" y="6"/>
                    </a:lnTo>
                    <a:lnTo>
                      <a:pt x="58" y="9"/>
                    </a:lnTo>
                    <a:lnTo>
                      <a:pt x="56" y="13"/>
                    </a:lnTo>
                    <a:lnTo>
                      <a:pt x="53" y="14"/>
                    </a:lnTo>
                    <a:lnTo>
                      <a:pt x="51" y="17"/>
                    </a:lnTo>
                    <a:lnTo>
                      <a:pt x="48" y="21"/>
                    </a:lnTo>
                    <a:lnTo>
                      <a:pt x="45" y="2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grpSp>
            <p:nvGrpSpPr>
              <p:cNvPr id="397" name="Group 1606"/>
              <p:cNvGrpSpPr>
                <a:grpSpLocks noChangeAspect="1"/>
              </p:cNvGrpSpPr>
              <p:nvPr/>
            </p:nvGrpSpPr>
            <p:grpSpPr bwMode="auto">
              <a:xfrm>
                <a:off x="2035145" y="3307798"/>
                <a:ext cx="61950" cy="52717"/>
                <a:chOff x="1277" y="2082"/>
                <a:chExt cx="52" cy="40"/>
              </a:xfrm>
              <a:grpFill/>
            </p:grpSpPr>
            <p:sp>
              <p:nvSpPr>
                <p:cNvPr id="448" name="Freeform 1607"/>
                <p:cNvSpPr>
                  <a:spLocks noChangeAspect="1"/>
                </p:cNvSpPr>
                <p:nvPr/>
              </p:nvSpPr>
              <p:spPr bwMode="auto">
                <a:xfrm>
                  <a:off x="1277" y="2082"/>
                  <a:ext cx="52" cy="40"/>
                </a:xfrm>
                <a:custGeom>
                  <a:avLst/>
                  <a:gdLst>
                    <a:gd name="T0" fmla="*/ 22 w 104"/>
                    <a:gd name="T1" fmla="*/ 57 h 80"/>
                    <a:gd name="T2" fmla="*/ 25 w 104"/>
                    <a:gd name="T3" fmla="*/ 57 h 80"/>
                    <a:gd name="T4" fmla="*/ 28 w 104"/>
                    <a:gd name="T5" fmla="*/ 57 h 80"/>
                    <a:gd name="T6" fmla="*/ 36 w 104"/>
                    <a:gd name="T7" fmla="*/ 59 h 80"/>
                    <a:gd name="T8" fmla="*/ 42 w 104"/>
                    <a:gd name="T9" fmla="*/ 61 h 80"/>
                    <a:gd name="T10" fmla="*/ 50 w 104"/>
                    <a:gd name="T11" fmla="*/ 61 h 80"/>
                    <a:gd name="T12" fmla="*/ 57 w 104"/>
                    <a:gd name="T13" fmla="*/ 62 h 80"/>
                    <a:gd name="T14" fmla="*/ 61 w 104"/>
                    <a:gd name="T15" fmla="*/ 62 h 80"/>
                    <a:gd name="T16" fmla="*/ 68 w 104"/>
                    <a:gd name="T17" fmla="*/ 57 h 80"/>
                    <a:gd name="T18" fmla="*/ 74 w 104"/>
                    <a:gd name="T19" fmla="*/ 57 h 80"/>
                    <a:gd name="T20" fmla="*/ 76 w 104"/>
                    <a:gd name="T21" fmla="*/ 51 h 80"/>
                    <a:gd name="T22" fmla="*/ 69 w 104"/>
                    <a:gd name="T23" fmla="*/ 46 h 80"/>
                    <a:gd name="T24" fmla="*/ 63 w 104"/>
                    <a:gd name="T25" fmla="*/ 38 h 80"/>
                    <a:gd name="T26" fmla="*/ 65 w 104"/>
                    <a:gd name="T27" fmla="*/ 32 h 80"/>
                    <a:gd name="T28" fmla="*/ 63 w 104"/>
                    <a:gd name="T29" fmla="*/ 29 h 80"/>
                    <a:gd name="T30" fmla="*/ 66 w 104"/>
                    <a:gd name="T31" fmla="*/ 22 h 80"/>
                    <a:gd name="T32" fmla="*/ 61 w 104"/>
                    <a:gd name="T33" fmla="*/ 16 h 80"/>
                    <a:gd name="T34" fmla="*/ 52 w 104"/>
                    <a:gd name="T35" fmla="*/ 13 h 80"/>
                    <a:gd name="T36" fmla="*/ 44 w 104"/>
                    <a:gd name="T37" fmla="*/ 13 h 80"/>
                    <a:gd name="T38" fmla="*/ 49 w 104"/>
                    <a:gd name="T39" fmla="*/ 5 h 80"/>
                    <a:gd name="T40" fmla="*/ 65 w 104"/>
                    <a:gd name="T41" fmla="*/ 0 h 80"/>
                    <a:gd name="T42" fmla="*/ 76 w 104"/>
                    <a:gd name="T43" fmla="*/ 5 h 80"/>
                    <a:gd name="T44" fmla="*/ 82 w 104"/>
                    <a:gd name="T45" fmla="*/ 8 h 80"/>
                    <a:gd name="T46" fmla="*/ 88 w 104"/>
                    <a:gd name="T47" fmla="*/ 8 h 80"/>
                    <a:gd name="T48" fmla="*/ 95 w 104"/>
                    <a:gd name="T49" fmla="*/ 10 h 80"/>
                    <a:gd name="T50" fmla="*/ 101 w 104"/>
                    <a:gd name="T51" fmla="*/ 10 h 80"/>
                    <a:gd name="T52" fmla="*/ 103 w 104"/>
                    <a:gd name="T53" fmla="*/ 19 h 80"/>
                    <a:gd name="T54" fmla="*/ 104 w 104"/>
                    <a:gd name="T55" fmla="*/ 30 h 80"/>
                    <a:gd name="T56" fmla="*/ 103 w 104"/>
                    <a:gd name="T57" fmla="*/ 35 h 80"/>
                    <a:gd name="T58" fmla="*/ 95 w 104"/>
                    <a:gd name="T59" fmla="*/ 40 h 80"/>
                    <a:gd name="T60" fmla="*/ 95 w 104"/>
                    <a:gd name="T61" fmla="*/ 41 h 80"/>
                    <a:gd name="T62" fmla="*/ 99 w 104"/>
                    <a:gd name="T63" fmla="*/ 46 h 80"/>
                    <a:gd name="T64" fmla="*/ 95 w 104"/>
                    <a:gd name="T65" fmla="*/ 53 h 80"/>
                    <a:gd name="T66" fmla="*/ 88 w 104"/>
                    <a:gd name="T67" fmla="*/ 56 h 80"/>
                    <a:gd name="T68" fmla="*/ 92 w 104"/>
                    <a:gd name="T69" fmla="*/ 62 h 80"/>
                    <a:gd name="T70" fmla="*/ 96 w 104"/>
                    <a:gd name="T71" fmla="*/ 68 h 80"/>
                    <a:gd name="T72" fmla="*/ 95 w 104"/>
                    <a:gd name="T73" fmla="*/ 75 h 80"/>
                    <a:gd name="T74" fmla="*/ 90 w 104"/>
                    <a:gd name="T75" fmla="*/ 73 h 80"/>
                    <a:gd name="T76" fmla="*/ 84 w 104"/>
                    <a:gd name="T77" fmla="*/ 70 h 80"/>
                    <a:gd name="T78" fmla="*/ 68 w 104"/>
                    <a:gd name="T79" fmla="*/ 70 h 80"/>
                    <a:gd name="T80" fmla="*/ 57 w 104"/>
                    <a:gd name="T81" fmla="*/ 75 h 80"/>
                    <a:gd name="T82" fmla="*/ 50 w 104"/>
                    <a:gd name="T83" fmla="*/ 72 h 80"/>
                    <a:gd name="T84" fmla="*/ 42 w 104"/>
                    <a:gd name="T85" fmla="*/ 70 h 80"/>
                    <a:gd name="T86" fmla="*/ 33 w 104"/>
                    <a:gd name="T87" fmla="*/ 68 h 80"/>
                    <a:gd name="T88" fmla="*/ 22 w 104"/>
                    <a:gd name="T89" fmla="*/ 73 h 80"/>
                    <a:gd name="T90" fmla="*/ 19 w 104"/>
                    <a:gd name="T91" fmla="*/ 80 h 80"/>
                    <a:gd name="T92" fmla="*/ 14 w 104"/>
                    <a:gd name="T93" fmla="*/ 72 h 80"/>
                    <a:gd name="T94" fmla="*/ 7 w 104"/>
                    <a:gd name="T95" fmla="*/ 67 h 80"/>
                    <a:gd name="T96" fmla="*/ 1 w 104"/>
                    <a:gd name="T97" fmla="*/ 65 h 80"/>
                    <a:gd name="T98" fmla="*/ 1 w 104"/>
                    <a:gd name="T99" fmla="*/ 57 h 80"/>
                    <a:gd name="T100" fmla="*/ 7 w 104"/>
                    <a:gd name="T101" fmla="*/ 53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04" h="80">
                      <a:moveTo>
                        <a:pt x="14" y="54"/>
                      </a:moveTo>
                      <a:lnTo>
                        <a:pt x="22" y="57"/>
                      </a:lnTo>
                      <a:lnTo>
                        <a:pt x="25" y="57"/>
                      </a:lnTo>
                      <a:lnTo>
                        <a:pt x="25" y="57"/>
                      </a:lnTo>
                      <a:lnTo>
                        <a:pt x="33" y="56"/>
                      </a:lnTo>
                      <a:lnTo>
                        <a:pt x="28" y="57"/>
                      </a:lnTo>
                      <a:lnTo>
                        <a:pt x="33" y="59"/>
                      </a:lnTo>
                      <a:lnTo>
                        <a:pt x="36" y="59"/>
                      </a:lnTo>
                      <a:lnTo>
                        <a:pt x="39" y="59"/>
                      </a:lnTo>
                      <a:lnTo>
                        <a:pt x="42" y="61"/>
                      </a:lnTo>
                      <a:lnTo>
                        <a:pt x="46" y="61"/>
                      </a:lnTo>
                      <a:lnTo>
                        <a:pt x="50" y="61"/>
                      </a:lnTo>
                      <a:lnTo>
                        <a:pt x="53" y="61"/>
                      </a:lnTo>
                      <a:lnTo>
                        <a:pt x="57" y="62"/>
                      </a:lnTo>
                      <a:lnTo>
                        <a:pt x="60" y="62"/>
                      </a:lnTo>
                      <a:lnTo>
                        <a:pt x="61" y="62"/>
                      </a:lnTo>
                      <a:lnTo>
                        <a:pt x="65" y="59"/>
                      </a:lnTo>
                      <a:lnTo>
                        <a:pt x="68" y="57"/>
                      </a:lnTo>
                      <a:lnTo>
                        <a:pt x="71" y="57"/>
                      </a:lnTo>
                      <a:lnTo>
                        <a:pt x="74" y="57"/>
                      </a:lnTo>
                      <a:lnTo>
                        <a:pt x="76" y="54"/>
                      </a:lnTo>
                      <a:lnTo>
                        <a:pt x="76" y="51"/>
                      </a:lnTo>
                      <a:lnTo>
                        <a:pt x="72" y="48"/>
                      </a:lnTo>
                      <a:lnTo>
                        <a:pt x="69" y="46"/>
                      </a:lnTo>
                      <a:lnTo>
                        <a:pt x="66" y="41"/>
                      </a:lnTo>
                      <a:lnTo>
                        <a:pt x="63" y="38"/>
                      </a:lnTo>
                      <a:lnTo>
                        <a:pt x="63" y="35"/>
                      </a:lnTo>
                      <a:lnTo>
                        <a:pt x="65" y="32"/>
                      </a:lnTo>
                      <a:lnTo>
                        <a:pt x="63" y="29"/>
                      </a:lnTo>
                      <a:lnTo>
                        <a:pt x="63" y="29"/>
                      </a:lnTo>
                      <a:lnTo>
                        <a:pt x="65" y="26"/>
                      </a:lnTo>
                      <a:lnTo>
                        <a:pt x="66" y="22"/>
                      </a:lnTo>
                      <a:lnTo>
                        <a:pt x="65" y="18"/>
                      </a:lnTo>
                      <a:lnTo>
                        <a:pt x="61" y="16"/>
                      </a:lnTo>
                      <a:lnTo>
                        <a:pt x="55" y="13"/>
                      </a:lnTo>
                      <a:lnTo>
                        <a:pt x="52" y="13"/>
                      </a:lnTo>
                      <a:lnTo>
                        <a:pt x="47" y="13"/>
                      </a:lnTo>
                      <a:lnTo>
                        <a:pt x="44" y="13"/>
                      </a:lnTo>
                      <a:lnTo>
                        <a:pt x="42" y="10"/>
                      </a:lnTo>
                      <a:lnTo>
                        <a:pt x="49" y="5"/>
                      </a:lnTo>
                      <a:lnTo>
                        <a:pt x="57" y="2"/>
                      </a:lnTo>
                      <a:lnTo>
                        <a:pt x="65" y="0"/>
                      </a:lnTo>
                      <a:lnTo>
                        <a:pt x="72" y="2"/>
                      </a:lnTo>
                      <a:lnTo>
                        <a:pt x="76" y="5"/>
                      </a:lnTo>
                      <a:lnTo>
                        <a:pt x="79" y="5"/>
                      </a:lnTo>
                      <a:lnTo>
                        <a:pt x="82" y="8"/>
                      </a:lnTo>
                      <a:lnTo>
                        <a:pt x="85" y="7"/>
                      </a:lnTo>
                      <a:lnTo>
                        <a:pt x="88" y="8"/>
                      </a:lnTo>
                      <a:lnTo>
                        <a:pt x="93" y="10"/>
                      </a:lnTo>
                      <a:lnTo>
                        <a:pt x="95" y="10"/>
                      </a:lnTo>
                      <a:lnTo>
                        <a:pt x="98" y="10"/>
                      </a:lnTo>
                      <a:lnTo>
                        <a:pt x="101" y="10"/>
                      </a:lnTo>
                      <a:lnTo>
                        <a:pt x="103" y="10"/>
                      </a:lnTo>
                      <a:lnTo>
                        <a:pt x="103" y="19"/>
                      </a:lnTo>
                      <a:lnTo>
                        <a:pt x="101" y="27"/>
                      </a:lnTo>
                      <a:lnTo>
                        <a:pt x="104" y="30"/>
                      </a:lnTo>
                      <a:lnTo>
                        <a:pt x="103" y="35"/>
                      </a:lnTo>
                      <a:lnTo>
                        <a:pt x="103" y="35"/>
                      </a:lnTo>
                      <a:lnTo>
                        <a:pt x="99" y="38"/>
                      </a:lnTo>
                      <a:lnTo>
                        <a:pt x="95" y="40"/>
                      </a:lnTo>
                      <a:lnTo>
                        <a:pt x="95" y="40"/>
                      </a:lnTo>
                      <a:lnTo>
                        <a:pt x="95" y="41"/>
                      </a:lnTo>
                      <a:lnTo>
                        <a:pt x="98" y="43"/>
                      </a:lnTo>
                      <a:lnTo>
                        <a:pt x="99" y="46"/>
                      </a:lnTo>
                      <a:lnTo>
                        <a:pt x="99" y="49"/>
                      </a:lnTo>
                      <a:lnTo>
                        <a:pt x="95" y="53"/>
                      </a:lnTo>
                      <a:lnTo>
                        <a:pt x="92" y="54"/>
                      </a:lnTo>
                      <a:lnTo>
                        <a:pt x="88" y="56"/>
                      </a:lnTo>
                      <a:lnTo>
                        <a:pt x="90" y="59"/>
                      </a:lnTo>
                      <a:lnTo>
                        <a:pt x="92" y="62"/>
                      </a:lnTo>
                      <a:lnTo>
                        <a:pt x="95" y="65"/>
                      </a:lnTo>
                      <a:lnTo>
                        <a:pt x="96" y="68"/>
                      </a:lnTo>
                      <a:lnTo>
                        <a:pt x="95" y="72"/>
                      </a:lnTo>
                      <a:lnTo>
                        <a:pt x="95" y="75"/>
                      </a:lnTo>
                      <a:lnTo>
                        <a:pt x="93" y="78"/>
                      </a:lnTo>
                      <a:lnTo>
                        <a:pt x="90" y="73"/>
                      </a:lnTo>
                      <a:lnTo>
                        <a:pt x="87" y="72"/>
                      </a:lnTo>
                      <a:lnTo>
                        <a:pt x="84" y="70"/>
                      </a:lnTo>
                      <a:lnTo>
                        <a:pt x="77" y="70"/>
                      </a:lnTo>
                      <a:lnTo>
                        <a:pt x="68" y="70"/>
                      </a:lnTo>
                      <a:lnTo>
                        <a:pt x="60" y="73"/>
                      </a:lnTo>
                      <a:lnTo>
                        <a:pt x="57" y="75"/>
                      </a:lnTo>
                      <a:lnTo>
                        <a:pt x="53" y="73"/>
                      </a:lnTo>
                      <a:lnTo>
                        <a:pt x="50" y="72"/>
                      </a:lnTo>
                      <a:lnTo>
                        <a:pt x="46" y="72"/>
                      </a:lnTo>
                      <a:lnTo>
                        <a:pt x="42" y="70"/>
                      </a:lnTo>
                      <a:lnTo>
                        <a:pt x="38" y="70"/>
                      </a:lnTo>
                      <a:lnTo>
                        <a:pt x="33" y="68"/>
                      </a:lnTo>
                      <a:lnTo>
                        <a:pt x="28" y="70"/>
                      </a:lnTo>
                      <a:lnTo>
                        <a:pt x="22" y="73"/>
                      </a:lnTo>
                      <a:lnTo>
                        <a:pt x="22" y="78"/>
                      </a:lnTo>
                      <a:lnTo>
                        <a:pt x="19" y="80"/>
                      </a:lnTo>
                      <a:lnTo>
                        <a:pt x="17" y="75"/>
                      </a:lnTo>
                      <a:lnTo>
                        <a:pt x="14" y="72"/>
                      </a:lnTo>
                      <a:lnTo>
                        <a:pt x="11" y="70"/>
                      </a:lnTo>
                      <a:lnTo>
                        <a:pt x="7" y="67"/>
                      </a:lnTo>
                      <a:lnTo>
                        <a:pt x="4" y="68"/>
                      </a:lnTo>
                      <a:lnTo>
                        <a:pt x="1" y="65"/>
                      </a:lnTo>
                      <a:lnTo>
                        <a:pt x="0" y="62"/>
                      </a:lnTo>
                      <a:lnTo>
                        <a:pt x="1" y="57"/>
                      </a:lnTo>
                      <a:lnTo>
                        <a:pt x="4" y="54"/>
                      </a:lnTo>
                      <a:lnTo>
                        <a:pt x="7" y="53"/>
                      </a:lnTo>
                      <a:lnTo>
                        <a:pt x="14" y="54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B9BFDB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449" name="Freeform 1608"/>
                <p:cNvSpPr>
                  <a:spLocks noChangeAspect="1"/>
                </p:cNvSpPr>
                <p:nvPr/>
              </p:nvSpPr>
              <p:spPr bwMode="auto">
                <a:xfrm>
                  <a:off x="1299" y="2102"/>
                  <a:ext cx="8" cy="5"/>
                </a:xfrm>
                <a:custGeom>
                  <a:avLst/>
                  <a:gdLst>
                    <a:gd name="T0" fmla="*/ 16 w 16"/>
                    <a:gd name="T1" fmla="*/ 11 h 11"/>
                    <a:gd name="T2" fmla="*/ 11 w 16"/>
                    <a:gd name="T3" fmla="*/ 9 h 11"/>
                    <a:gd name="T4" fmla="*/ 8 w 16"/>
                    <a:gd name="T5" fmla="*/ 9 h 11"/>
                    <a:gd name="T6" fmla="*/ 5 w 16"/>
                    <a:gd name="T7" fmla="*/ 6 h 11"/>
                    <a:gd name="T8" fmla="*/ 2 w 16"/>
                    <a:gd name="T9" fmla="*/ 5 h 11"/>
                    <a:gd name="T10" fmla="*/ 0 w 16"/>
                    <a:gd name="T11" fmla="*/ 1 h 11"/>
                    <a:gd name="T12" fmla="*/ 3 w 16"/>
                    <a:gd name="T13" fmla="*/ 0 h 11"/>
                    <a:gd name="T14" fmla="*/ 6 w 16"/>
                    <a:gd name="T15" fmla="*/ 1 h 11"/>
                    <a:gd name="T16" fmla="*/ 11 w 16"/>
                    <a:gd name="T17" fmla="*/ 3 h 11"/>
                    <a:gd name="T18" fmla="*/ 14 w 16"/>
                    <a:gd name="T19" fmla="*/ 5 h 11"/>
                    <a:gd name="T20" fmla="*/ 16 w 16"/>
                    <a:gd name="T21" fmla="*/ 8 h 11"/>
                    <a:gd name="T22" fmla="*/ 16 w 16"/>
                    <a:gd name="T23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6" h="11">
                      <a:moveTo>
                        <a:pt x="16" y="11"/>
                      </a:moveTo>
                      <a:lnTo>
                        <a:pt x="11" y="9"/>
                      </a:lnTo>
                      <a:lnTo>
                        <a:pt x="8" y="9"/>
                      </a:lnTo>
                      <a:lnTo>
                        <a:pt x="5" y="6"/>
                      </a:lnTo>
                      <a:lnTo>
                        <a:pt x="2" y="5"/>
                      </a:lnTo>
                      <a:lnTo>
                        <a:pt x="0" y="1"/>
                      </a:lnTo>
                      <a:lnTo>
                        <a:pt x="3" y="0"/>
                      </a:lnTo>
                      <a:lnTo>
                        <a:pt x="6" y="1"/>
                      </a:lnTo>
                      <a:lnTo>
                        <a:pt x="11" y="3"/>
                      </a:lnTo>
                      <a:lnTo>
                        <a:pt x="14" y="5"/>
                      </a:lnTo>
                      <a:lnTo>
                        <a:pt x="16" y="8"/>
                      </a:lnTo>
                      <a:lnTo>
                        <a:pt x="16" y="11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B9BFDB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</p:grpSp>
          <p:sp>
            <p:nvSpPr>
              <p:cNvPr id="398" name="Freeform 1609"/>
              <p:cNvSpPr>
                <a:spLocks noChangeAspect="1"/>
              </p:cNvSpPr>
              <p:nvPr/>
            </p:nvSpPr>
            <p:spPr bwMode="auto">
              <a:xfrm>
                <a:off x="2087565" y="3307798"/>
                <a:ext cx="77438" cy="63261"/>
              </a:xfrm>
              <a:custGeom>
                <a:avLst/>
                <a:gdLst>
                  <a:gd name="T0" fmla="*/ 7 w 130"/>
                  <a:gd name="T1" fmla="*/ 75 h 95"/>
                  <a:gd name="T2" fmla="*/ 8 w 130"/>
                  <a:gd name="T3" fmla="*/ 68 h 95"/>
                  <a:gd name="T4" fmla="*/ 4 w 130"/>
                  <a:gd name="T5" fmla="*/ 62 h 95"/>
                  <a:gd name="T6" fmla="*/ 0 w 130"/>
                  <a:gd name="T7" fmla="*/ 56 h 95"/>
                  <a:gd name="T8" fmla="*/ 7 w 130"/>
                  <a:gd name="T9" fmla="*/ 53 h 95"/>
                  <a:gd name="T10" fmla="*/ 11 w 130"/>
                  <a:gd name="T11" fmla="*/ 46 h 95"/>
                  <a:gd name="T12" fmla="*/ 7 w 130"/>
                  <a:gd name="T13" fmla="*/ 41 h 95"/>
                  <a:gd name="T14" fmla="*/ 7 w 130"/>
                  <a:gd name="T15" fmla="*/ 40 h 95"/>
                  <a:gd name="T16" fmla="*/ 15 w 130"/>
                  <a:gd name="T17" fmla="*/ 35 h 95"/>
                  <a:gd name="T18" fmla="*/ 16 w 130"/>
                  <a:gd name="T19" fmla="*/ 30 h 95"/>
                  <a:gd name="T20" fmla="*/ 15 w 130"/>
                  <a:gd name="T21" fmla="*/ 24 h 95"/>
                  <a:gd name="T22" fmla="*/ 16 w 130"/>
                  <a:gd name="T23" fmla="*/ 18 h 95"/>
                  <a:gd name="T24" fmla="*/ 15 w 130"/>
                  <a:gd name="T25" fmla="*/ 7 h 95"/>
                  <a:gd name="T26" fmla="*/ 21 w 130"/>
                  <a:gd name="T27" fmla="*/ 2 h 95"/>
                  <a:gd name="T28" fmla="*/ 29 w 130"/>
                  <a:gd name="T29" fmla="*/ 3 h 95"/>
                  <a:gd name="T30" fmla="*/ 35 w 130"/>
                  <a:gd name="T31" fmla="*/ 3 h 95"/>
                  <a:gd name="T32" fmla="*/ 43 w 130"/>
                  <a:gd name="T33" fmla="*/ 0 h 95"/>
                  <a:gd name="T34" fmla="*/ 50 w 130"/>
                  <a:gd name="T35" fmla="*/ 3 h 95"/>
                  <a:gd name="T36" fmla="*/ 56 w 130"/>
                  <a:gd name="T37" fmla="*/ 8 h 95"/>
                  <a:gd name="T38" fmla="*/ 64 w 130"/>
                  <a:gd name="T39" fmla="*/ 8 h 95"/>
                  <a:gd name="T40" fmla="*/ 70 w 130"/>
                  <a:gd name="T41" fmla="*/ 13 h 95"/>
                  <a:gd name="T42" fmla="*/ 76 w 130"/>
                  <a:gd name="T43" fmla="*/ 11 h 95"/>
                  <a:gd name="T44" fmla="*/ 80 w 130"/>
                  <a:gd name="T45" fmla="*/ 16 h 95"/>
                  <a:gd name="T46" fmla="*/ 81 w 130"/>
                  <a:gd name="T47" fmla="*/ 24 h 95"/>
                  <a:gd name="T48" fmla="*/ 86 w 130"/>
                  <a:gd name="T49" fmla="*/ 27 h 95"/>
                  <a:gd name="T50" fmla="*/ 94 w 130"/>
                  <a:gd name="T51" fmla="*/ 26 h 95"/>
                  <a:gd name="T52" fmla="*/ 100 w 130"/>
                  <a:gd name="T53" fmla="*/ 24 h 95"/>
                  <a:gd name="T54" fmla="*/ 102 w 130"/>
                  <a:gd name="T55" fmla="*/ 30 h 95"/>
                  <a:gd name="T56" fmla="*/ 96 w 130"/>
                  <a:gd name="T57" fmla="*/ 30 h 95"/>
                  <a:gd name="T58" fmla="*/ 88 w 130"/>
                  <a:gd name="T59" fmla="*/ 30 h 95"/>
                  <a:gd name="T60" fmla="*/ 91 w 130"/>
                  <a:gd name="T61" fmla="*/ 35 h 95"/>
                  <a:gd name="T62" fmla="*/ 97 w 130"/>
                  <a:gd name="T63" fmla="*/ 37 h 95"/>
                  <a:gd name="T64" fmla="*/ 105 w 130"/>
                  <a:gd name="T65" fmla="*/ 37 h 95"/>
                  <a:gd name="T66" fmla="*/ 111 w 130"/>
                  <a:gd name="T67" fmla="*/ 38 h 95"/>
                  <a:gd name="T68" fmla="*/ 118 w 130"/>
                  <a:gd name="T69" fmla="*/ 41 h 95"/>
                  <a:gd name="T70" fmla="*/ 124 w 130"/>
                  <a:gd name="T71" fmla="*/ 48 h 95"/>
                  <a:gd name="T72" fmla="*/ 130 w 130"/>
                  <a:gd name="T73" fmla="*/ 54 h 95"/>
                  <a:gd name="T74" fmla="*/ 127 w 130"/>
                  <a:gd name="T75" fmla="*/ 62 h 95"/>
                  <a:gd name="T76" fmla="*/ 122 w 130"/>
                  <a:gd name="T77" fmla="*/ 65 h 95"/>
                  <a:gd name="T78" fmla="*/ 119 w 130"/>
                  <a:gd name="T79" fmla="*/ 67 h 95"/>
                  <a:gd name="T80" fmla="*/ 115 w 130"/>
                  <a:gd name="T81" fmla="*/ 72 h 95"/>
                  <a:gd name="T82" fmla="*/ 111 w 130"/>
                  <a:gd name="T83" fmla="*/ 65 h 95"/>
                  <a:gd name="T84" fmla="*/ 105 w 130"/>
                  <a:gd name="T85" fmla="*/ 64 h 95"/>
                  <a:gd name="T86" fmla="*/ 97 w 130"/>
                  <a:gd name="T87" fmla="*/ 62 h 95"/>
                  <a:gd name="T88" fmla="*/ 91 w 130"/>
                  <a:gd name="T89" fmla="*/ 62 h 95"/>
                  <a:gd name="T90" fmla="*/ 84 w 130"/>
                  <a:gd name="T91" fmla="*/ 61 h 95"/>
                  <a:gd name="T92" fmla="*/ 76 w 130"/>
                  <a:gd name="T93" fmla="*/ 61 h 95"/>
                  <a:gd name="T94" fmla="*/ 72 w 130"/>
                  <a:gd name="T95" fmla="*/ 62 h 95"/>
                  <a:gd name="T96" fmla="*/ 65 w 130"/>
                  <a:gd name="T97" fmla="*/ 68 h 95"/>
                  <a:gd name="T98" fmla="*/ 57 w 130"/>
                  <a:gd name="T99" fmla="*/ 70 h 95"/>
                  <a:gd name="T100" fmla="*/ 50 w 130"/>
                  <a:gd name="T101" fmla="*/ 68 h 95"/>
                  <a:gd name="T102" fmla="*/ 46 w 130"/>
                  <a:gd name="T103" fmla="*/ 62 h 95"/>
                  <a:gd name="T104" fmla="*/ 40 w 130"/>
                  <a:gd name="T105" fmla="*/ 65 h 95"/>
                  <a:gd name="T106" fmla="*/ 34 w 130"/>
                  <a:gd name="T107" fmla="*/ 67 h 95"/>
                  <a:gd name="T108" fmla="*/ 30 w 130"/>
                  <a:gd name="T109" fmla="*/ 72 h 95"/>
                  <a:gd name="T110" fmla="*/ 29 w 130"/>
                  <a:gd name="T111" fmla="*/ 80 h 95"/>
                  <a:gd name="T112" fmla="*/ 23 w 130"/>
                  <a:gd name="T113" fmla="*/ 86 h 95"/>
                  <a:gd name="T114" fmla="*/ 19 w 130"/>
                  <a:gd name="T115" fmla="*/ 92 h 95"/>
                  <a:gd name="T116" fmla="*/ 15 w 130"/>
                  <a:gd name="T117" fmla="*/ 92 h 95"/>
                  <a:gd name="T118" fmla="*/ 10 w 130"/>
                  <a:gd name="T119" fmla="*/ 86 h 95"/>
                  <a:gd name="T120" fmla="*/ 7 w 130"/>
                  <a:gd name="T121" fmla="*/ 80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0" h="95">
                    <a:moveTo>
                      <a:pt x="5" y="78"/>
                    </a:moveTo>
                    <a:lnTo>
                      <a:pt x="7" y="75"/>
                    </a:lnTo>
                    <a:lnTo>
                      <a:pt x="7" y="72"/>
                    </a:lnTo>
                    <a:lnTo>
                      <a:pt x="8" y="68"/>
                    </a:lnTo>
                    <a:lnTo>
                      <a:pt x="7" y="65"/>
                    </a:lnTo>
                    <a:lnTo>
                      <a:pt x="4" y="62"/>
                    </a:lnTo>
                    <a:lnTo>
                      <a:pt x="2" y="59"/>
                    </a:lnTo>
                    <a:lnTo>
                      <a:pt x="0" y="56"/>
                    </a:lnTo>
                    <a:lnTo>
                      <a:pt x="4" y="54"/>
                    </a:lnTo>
                    <a:lnTo>
                      <a:pt x="7" y="53"/>
                    </a:lnTo>
                    <a:lnTo>
                      <a:pt x="11" y="49"/>
                    </a:lnTo>
                    <a:lnTo>
                      <a:pt x="11" y="46"/>
                    </a:lnTo>
                    <a:lnTo>
                      <a:pt x="10" y="43"/>
                    </a:lnTo>
                    <a:lnTo>
                      <a:pt x="7" y="41"/>
                    </a:lnTo>
                    <a:lnTo>
                      <a:pt x="7" y="40"/>
                    </a:lnTo>
                    <a:lnTo>
                      <a:pt x="7" y="40"/>
                    </a:lnTo>
                    <a:lnTo>
                      <a:pt x="11" y="38"/>
                    </a:lnTo>
                    <a:lnTo>
                      <a:pt x="15" y="35"/>
                    </a:lnTo>
                    <a:lnTo>
                      <a:pt x="15" y="35"/>
                    </a:lnTo>
                    <a:lnTo>
                      <a:pt x="16" y="30"/>
                    </a:lnTo>
                    <a:lnTo>
                      <a:pt x="13" y="27"/>
                    </a:lnTo>
                    <a:lnTo>
                      <a:pt x="15" y="24"/>
                    </a:lnTo>
                    <a:lnTo>
                      <a:pt x="15" y="21"/>
                    </a:lnTo>
                    <a:lnTo>
                      <a:pt x="16" y="18"/>
                    </a:lnTo>
                    <a:lnTo>
                      <a:pt x="15" y="13"/>
                    </a:lnTo>
                    <a:lnTo>
                      <a:pt x="15" y="7"/>
                    </a:lnTo>
                    <a:lnTo>
                      <a:pt x="18" y="5"/>
                    </a:lnTo>
                    <a:lnTo>
                      <a:pt x="21" y="2"/>
                    </a:lnTo>
                    <a:lnTo>
                      <a:pt x="24" y="2"/>
                    </a:lnTo>
                    <a:lnTo>
                      <a:pt x="29" y="3"/>
                    </a:lnTo>
                    <a:lnTo>
                      <a:pt x="32" y="5"/>
                    </a:lnTo>
                    <a:lnTo>
                      <a:pt x="35" y="3"/>
                    </a:lnTo>
                    <a:lnTo>
                      <a:pt x="38" y="3"/>
                    </a:lnTo>
                    <a:lnTo>
                      <a:pt x="43" y="0"/>
                    </a:lnTo>
                    <a:lnTo>
                      <a:pt x="46" y="2"/>
                    </a:lnTo>
                    <a:lnTo>
                      <a:pt x="50" y="3"/>
                    </a:lnTo>
                    <a:lnTo>
                      <a:pt x="53" y="7"/>
                    </a:lnTo>
                    <a:lnTo>
                      <a:pt x="56" y="8"/>
                    </a:lnTo>
                    <a:lnTo>
                      <a:pt x="61" y="7"/>
                    </a:lnTo>
                    <a:lnTo>
                      <a:pt x="64" y="8"/>
                    </a:lnTo>
                    <a:lnTo>
                      <a:pt x="67" y="13"/>
                    </a:lnTo>
                    <a:lnTo>
                      <a:pt x="70" y="13"/>
                    </a:lnTo>
                    <a:lnTo>
                      <a:pt x="73" y="13"/>
                    </a:lnTo>
                    <a:lnTo>
                      <a:pt x="76" y="11"/>
                    </a:lnTo>
                    <a:lnTo>
                      <a:pt x="80" y="13"/>
                    </a:lnTo>
                    <a:lnTo>
                      <a:pt x="80" y="16"/>
                    </a:lnTo>
                    <a:lnTo>
                      <a:pt x="80" y="19"/>
                    </a:lnTo>
                    <a:lnTo>
                      <a:pt x="81" y="24"/>
                    </a:lnTo>
                    <a:lnTo>
                      <a:pt x="83" y="27"/>
                    </a:lnTo>
                    <a:lnTo>
                      <a:pt x="86" y="27"/>
                    </a:lnTo>
                    <a:lnTo>
                      <a:pt x="91" y="26"/>
                    </a:lnTo>
                    <a:lnTo>
                      <a:pt x="94" y="26"/>
                    </a:lnTo>
                    <a:lnTo>
                      <a:pt x="97" y="27"/>
                    </a:lnTo>
                    <a:lnTo>
                      <a:pt x="100" y="24"/>
                    </a:lnTo>
                    <a:lnTo>
                      <a:pt x="105" y="27"/>
                    </a:lnTo>
                    <a:lnTo>
                      <a:pt x="102" y="30"/>
                    </a:lnTo>
                    <a:lnTo>
                      <a:pt x="99" y="30"/>
                    </a:lnTo>
                    <a:lnTo>
                      <a:pt x="96" y="30"/>
                    </a:lnTo>
                    <a:lnTo>
                      <a:pt x="89" y="29"/>
                    </a:lnTo>
                    <a:lnTo>
                      <a:pt x="88" y="30"/>
                    </a:lnTo>
                    <a:lnTo>
                      <a:pt x="86" y="34"/>
                    </a:lnTo>
                    <a:lnTo>
                      <a:pt x="91" y="35"/>
                    </a:lnTo>
                    <a:lnTo>
                      <a:pt x="94" y="34"/>
                    </a:lnTo>
                    <a:lnTo>
                      <a:pt x="97" y="37"/>
                    </a:lnTo>
                    <a:lnTo>
                      <a:pt x="100" y="38"/>
                    </a:lnTo>
                    <a:lnTo>
                      <a:pt x="105" y="37"/>
                    </a:lnTo>
                    <a:lnTo>
                      <a:pt x="108" y="40"/>
                    </a:lnTo>
                    <a:lnTo>
                      <a:pt x="111" y="38"/>
                    </a:lnTo>
                    <a:lnTo>
                      <a:pt x="115" y="40"/>
                    </a:lnTo>
                    <a:lnTo>
                      <a:pt x="118" y="41"/>
                    </a:lnTo>
                    <a:lnTo>
                      <a:pt x="121" y="45"/>
                    </a:lnTo>
                    <a:lnTo>
                      <a:pt x="124" y="48"/>
                    </a:lnTo>
                    <a:lnTo>
                      <a:pt x="127" y="51"/>
                    </a:lnTo>
                    <a:lnTo>
                      <a:pt x="130" y="54"/>
                    </a:lnTo>
                    <a:lnTo>
                      <a:pt x="129" y="57"/>
                    </a:lnTo>
                    <a:lnTo>
                      <a:pt x="127" y="62"/>
                    </a:lnTo>
                    <a:lnTo>
                      <a:pt x="126" y="65"/>
                    </a:lnTo>
                    <a:lnTo>
                      <a:pt x="122" y="65"/>
                    </a:lnTo>
                    <a:lnTo>
                      <a:pt x="121" y="64"/>
                    </a:lnTo>
                    <a:lnTo>
                      <a:pt x="119" y="67"/>
                    </a:lnTo>
                    <a:lnTo>
                      <a:pt x="118" y="72"/>
                    </a:lnTo>
                    <a:lnTo>
                      <a:pt x="115" y="72"/>
                    </a:lnTo>
                    <a:lnTo>
                      <a:pt x="113" y="68"/>
                    </a:lnTo>
                    <a:lnTo>
                      <a:pt x="111" y="65"/>
                    </a:lnTo>
                    <a:lnTo>
                      <a:pt x="108" y="62"/>
                    </a:lnTo>
                    <a:lnTo>
                      <a:pt x="105" y="64"/>
                    </a:lnTo>
                    <a:lnTo>
                      <a:pt x="100" y="64"/>
                    </a:lnTo>
                    <a:lnTo>
                      <a:pt x="97" y="62"/>
                    </a:lnTo>
                    <a:lnTo>
                      <a:pt x="96" y="62"/>
                    </a:lnTo>
                    <a:lnTo>
                      <a:pt x="91" y="62"/>
                    </a:lnTo>
                    <a:lnTo>
                      <a:pt x="88" y="64"/>
                    </a:lnTo>
                    <a:lnTo>
                      <a:pt x="84" y="61"/>
                    </a:lnTo>
                    <a:lnTo>
                      <a:pt x="81" y="61"/>
                    </a:lnTo>
                    <a:lnTo>
                      <a:pt x="76" y="61"/>
                    </a:lnTo>
                    <a:lnTo>
                      <a:pt x="75" y="61"/>
                    </a:lnTo>
                    <a:lnTo>
                      <a:pt x="72" y="62"/>
                    </a:lnTo>
                    <a:lnTo>
                      <a:pt x="70" y="62"/>
                    </a:lnTo>
                    <a:lnTo>
                      <a:pt x="65" y="68"/>
                    </a:lnTo>
                    <a:lnTo>
                      <a:pt x="62" y="70"/>
                    </a:lnTo>
                    <a:lnTo>
                      <a:pt x="57" y="70"/>
                    </a:lnTo>
                    <a:lnTo>
                      <a:pt x="51" y="72"/>
                    </a:lnTo>
                    <a:lnTo>
                      <a:pt x="50" y="68"/>
                    </a:lnTo>
                    <a:lnTo>
                      <a:pt x="50" y="65"/>
                    </a:lnTo>
                    <a:lnTo>
                      <a:pt x="46" y="62"/>
                    </a:lnTo>
                    <a:lnTo>
                      <a:pt x="43" y="65"/>
                    </a:lnTo>
                    <a:lnTo>
                      <a:pt x="40" y="65"/>
                    </a:lnTo>
                    <a:lnTo>
                      <a:pt x="37" y="68"/>
                    </a:lnTo>
                    <a:lnTo>
                      <a:pt x="34" y="67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30" y="75"/>
                    </a:lnTo>
                    <a:lnTo>
                      <a:pt x="29" y="80"/>
                    </a:lnTo>
                    <a:lnTo>
                      <a:pt x="26" y="83"/>
                    </a:lnTo>
                    <a:lnTo>
                      <a:pt x="23" y="86"/>
                    </a:lnTo>
                    <a:lnTo>
                      <a:pt x="19" y="89"/>
                    </a:lnTo>
                    <a:lnTo>
                      <a:pt x="19" y="92"/>
                    </a:lnTo>
                    <a:lnTo>
                      <a:pt x="16" y="95"/>
                    </a:lnTo>
                    <a:lnTo>
                      <a:pt x="15" y="92"/>
                    </a:lnTo>
                    <a:lnTo>
                      <a:pt x="10" y="89"/>
                    </a:lnTo>
                    <a:lnTo>
                      <a:pt x="10" y="86"/>
                    </a:lnTo>
                    <a:lnTo>
                      <a:pt x="10" y="83"/>
                    </a:lnTo>
                    <a:lnTo>
                      <a:pt x="7" y="80"/>
                    </a:lnTo>
                    <a:lnTo>
                      <a:pt x="5" y="7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399" name="Freeform 1610"/>
              <p:cNvSpPr>
                <a:spLocks noChangeAspect="1"/>
              </p:cNvSpPr>
              <p:nvPr/>
            </p:nvSpPr>
            <p:spPr bwMode="auto">
              <a:xfrm>
                <a:off x="2310349" y="3539754"/>
                <a:ext cx="4765" cy="5272"/>
              </a:xfrm>
              <a:custGeom>
                <a:avLst/>
                <a:gdLst>
                  <a:gd name="T0" fmla="*/ 0 w 10"/>
                  <a:gd name="T1" fmla="*/ 8 h 8"/>
                  <a:gd name="T2" fmla="*/ 2 w 10"/>
                  <a:gd name="T3" fmla="*/ 5 h 8"/>
                  <a:gd name="T4" fmla="*/ 5 w 10"/>
                  <a:gd name="T5" fmla="*/ 2 h 8"/>
                  <a:gd name="T6" fmla="*/ 10 w 10"/>
                  <a:gd name="T7" fmla="*/ 0 h 8"/>
                  <a:gd name="T8" fmla="*/ 8 w 10"/>
                  <a:gd name="T9" fmla="*/ 3 h 8"/>
                  <a:gd name="T10" fmla="*/ 5 w 10"/>
                  <a:gd name="T11" fmla="*/ 5 h 8"/>
                  <a:gd name="T12" fmla="*/ 2 w 10"/>
                  <a:gd name="T13" fmla="*/ 8 h 8"/>
                  <a:gd name="T14" fmla="*/ 0 w 10"/>
                  <a:gd name="T1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" h="8">
                    <a:moveTo>
                      <a:pt x="0" y="8"/>
                    </a:moveTo>
                    <a:lnTo>
                      <a:pt x="2" y="5"/>
                    </a:lnTo>
                    <a:lnTo>
                      <a:pt x="5" y="2"/>
                    </a:lnTo>
                    <a:lnTo>
                      <a:pt x="10" y="0"/>
                    </a:lnTo>
                    <a:lnTo>
                      <a:pt x="8" y="3"/>
                    </a:lnTo>
                    <a:lnTo>
                      <a:pt x="5" y="5"/>
                    </a:lnTo>
                    <a:lnTo>
                      <a:pt x="2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00" name="Freeform 1611"/>
              <p:cNvSpPr>
                <a:spLocks noChangeAspect="1"/>
              </p:cNvSpPr>
              <p:nvPr/>
            </p:nvSpPr>
            <p:spPr bwMode="auto">
              <a:xfrm>
                <a:off x="1951750" y="3346017"/>
                <a:ext cx="45271" cy="22406"/>
              </a:xfrm>
              <a:custGeom>
                <a:avLst/>
                <a:gdLst>
                  <a:gd name="T0" fmla="*/ 0 w 76"/>
                  <a:gd name="T1" fmla="*/ 9 h 33"/>
                  <a:gd name="T2" fmla="*/ 2 w 76"/>
                  <a:gd name="T3" fmla="*/ 8 h 33"/>
                  <a:gd name="T4" fmla="*/ 3 w 76"/>
                  <a:gd name="T5" fmla="*/ 5 h 33"/>
                  <a:gd name="T6" fmla="*/ 6 w 76"/>
                  <a:gd name="T7" fmla="*/ 2 h 33"/>
                  <a:gd name="T8" fmla="*/ 9 w 76"/>
                  <a:gd name="T9" fmla="*/ 3 h 33"/>
                  <a:gd name="T10" fmla="*/ 14 w 76"/>
                  <a:gd name="T11" fmla="*/ 3 h 33"/>
                  <a:gd name="T12" fmla="*/ 17 w 76"/>
                  <a:gd name="T13" fmla="*/ 0 h 33"/>
                  <a:gd name="T14" fmla="*/ 21 w 76"/>
                  <a:gd name="T15" fmla="*/ 0 h 33"/>
                  <a:gd name="T16" fmla="*/ 24 w 76"/>
                  <a:gd name="T17" fmla="*/ 0 h 33"/>
                  <a:gd name="T18" fmla="*/ 27 w 76"/>
                  <a:gd name="T19" fmla="*/ 2 h 33"/>
                  <a:gd name="T20" fmla="*/ 30 w 76"/>
                  <a:gd name="T21" fmla="*/ 2 h 33"/>
                  <a:gd name="T22" fmla="*/ 33 w 76"/>
                  <a:gd name="T23" fmla="*/ 2 h 33"/>
                  <a:gd name="T24" fmla="*/ 36 w 76"/>
                  <a:gd name="T25" fmla="*/ 2 h 33"/>
                  <a:gd name="T26" fmla="*/ 40 w 76"/>
                  <a:gd name="T27" fmla="*/ 2 h 33"/>
                  <a:gd name="T28" fmla="*/ 48 w 76"/>
                  <a:gd name="T29" fmla="*/ 5 h 33"/>
                  <a:gd name="T30" fmla="*/ 51 w 76"/>
                  <a:gd name="T31" fmla="*/ 5 h 33"/>
                  <a:gd name="T32" fmla="*/ 54 w 76"/>
                  <a:gd name="T33" fmla="*/ 6 h 33"/>
                  <a:gd name="T34" fmla="*/ 57 w 76"/>
                  <a:gd name="T35" fmla="*/ 9 h 33"/>
                  <a:gd name="T36" fmla="*/ 59 w 76"/>
                  <a:gd name="T37" fmla="*/ 9 h 33"/>
                  <a:gd name="T38" fmla="*/ 63 w 76"/>
                  <a:gd name="T39" fmla="*/ 11 h 33"/>
                  <a:gd name="T40" fmla="*/ 67 w 76"/>
                  <a:gd name="T41" fmla="*/ 13 h 33"/>
                  <a:gd name="T42" fmla="*/ 70 w 76"/>
                  <a:gd name="T43" fmla="*/ 14 h 33"/>
                  <a:gd name="T44" fmla="*/ 73 w 76"/>
                  <a:gd name="T45" fmla="*/ 17 h 33"/>
                  <a:gd name="T46" fmla="*/ 75 w 76"/>
                  <a:gd name="T47" fmla="*/ 21 h 33"/>
                  <a:gd name="T48" fmla="*/ 76 w 76"/>
                  <a:gd name="T49" fmla="*/ 24 h 33"/>
                  <a:gd name="T50" fmla="*/ 71 w 76"/>
                  <a:gd name="T51" fmla="*/ 25 h 33"/>
                  <a:gd name="T52" fmla="*/ 68 w 76"/>
                  <a:gd name="T53" fmla="*/ 27 h 33"/>
                  <a:gd name="T54" fmla="*/ 62 w 76"/>
                  <a:gd name="T55" fmla="*/ 27 h 33"/>
                  <a:gd name="T56" fmla="*/ 59 w 76"/>
                  <a:gd name="T57" fmla="*/ 24 h 33"/>
                  <a:gd name="T58" fmla="*/ 55 w 76"/>
                  <a:gd name="T59" fmla="*/ 24 h 33"/>
                  <a:gd name="T60" fmla="*/ 55 w 76"/>
                  <a:gd name="T61" fmla="*/ 24 h 33"/>
                  <a:gd name="T62" fmla="*/ 57 w 76"/>
                  <a:gd name="T63" fmla="*/ 24 h 33"/>
                  <a:gd name="T64" fmla="*/ 55 w 76"/>
                  <a:gd name="T65" fmla="*/ 22 h 33"/>
                  <a:gd name="T66" fmla="*/ 54 w 76"/>
                  <a:gd name="T67" fmla="*/ 22 h 33"/>
                  <a:gd name="T68" fmla="*/ 52 w 76"/>
                  <a:gd name="T69" fmla="*/ 22 h 33"/>
                  <a:gd name="T70" fmla="*/ 51 w 76"/>
                  <a:gd name="T71" fmla="*/ 25 h 33"/>
                  <a:gd name="T72" fmla="*/ 48 w 76"/>
                  <a:gd name="T73" fmla="*/ 27 h 33"/>
                  <a:gd name="T74" fmla="*/ 43 w 76"/>
                  <a:gd name="T75" fmla="*/ 25 h 33"/>
                  <a:gd name="T76" fmla="*/ 41 w 76"/>
                  <a:gd name="T77" fmla="*/ 25 h 33"/>
                  <a:gd name="T78" fmla="*/ 40 w 76"/>
                  <a:gd name="T79" fmla="*/ 28 h 33"/>
                  <a:gd name="T80" fmla="*/ 41 w 76"/>
                  <a:gd name="T81" fmla="*/ 33 h 33"/>
                  <a:gd name="T82" fmla="*/ 38 w 76"/>
                  <a:gd name="T83" fmla="*/ 32 h 33"/>
                  <a:gd name="T84" fmla="*/ 35 w 76"/>
                  <a:gd name="T85" fmla="*/ 28 h 33"/>
                  <a:gd name="T86" fmla="*/ 32 w 76"/>
                  <a:gd name="T87" fmla="*/ 27 h 33"/>
                  <a:gd name="T88" fmla="*/ 29 w 76"/>
                  <a:gd name="T89" fmla="*/ 27 h 33"/>
                  <a:gd name="T90" fmla="*/ 27 w 76"/>
                  <a:gd name="T91" fmla="*/ 27 h 33"/>
                  <a:gd name="T92" fmla="*/ 22 w 76"/>
                  <a:gd name="T93" fmla="*/ 27 h 33"/>
                  <a:gd name="T94" fmla="*/ 19 w 76"/>
                  <a:gd name="T95" fmla="*/ 25 h 33"/>
                  <a:gd name="T96" fmla="*/ 17 w 76"/>
                  <a:gd name="T97" fmla="*/ 22 h 33"/>
                  <a:gd name="T98" fmla="*/ 14 w 76"/>
                  <a:gd name="T99" fmla="*/ 19 h 33"/>
                  <a:gd name="T100" fmla="*/ 13 w 76"/>
                  <a:gd name="T101" fmla="*/ 19 h 33"/>
                  <a:gd name="T102" fmla="*/ 11 w 76"/>
                  <a:gd name="T103" fmla="*/ 16 h 33"/>
                  <a:gd name="T104" fmla="*/ 8 w 76"/>
                  <a:gd name="T105" fmla="*/ 13 h 33"/>
                  <a:gd name="T106" fmla="*/ 5 w 76"/>
                  <a:gd name="T107" fmla="*/ 13 h 33"/>
                  <a:gd name="T108" fmla="*/ 0 w 76"/>
                  <a:gd name="T109" fmla="*/ 11 h 33"/>
                  <a:gd name="T110" fmla="*/ 0 w 76"/>
                  <a:gd name="T111" fmla="*/ 9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76" h="33">
                    <a:moveTo>
                      <a:pt x="0" y="9"/>
                    </a:moveTo>
                    <a:lnTo>
                      <a:pt x="2" y="8"/>
                    </a:lnTo>
                    <a:lnTo>
                      <a:pt x="3" y="5"/>
                    </a:lnTo>
                    <a:lnTo>
                      <a:pt x="6" y="2"/>
                    </a:lnTo>
                    <a:lnTo>
                      <a:pt x="9" y="3"/>
                    </a:lnTo>
                    <a:lnTo>
                      <a:pt x="14" y="3"/>
                    </a:lnTo>
                    <a:lnTo>
                      <a:pt x="17" y="0"/>
                    </a:lnTo>
                    <a:lnTo>
                      <a:pt x="21" y="0"/>
                    </a:lnTo>
                    <a:lnTo>
                      <a:pt x="24" y="0"/>
                    </a:lnTo>
                    <a:lnTo>
                      <a:pt x="27" y="2"/>
                    </a:lnTo>
                    <a:lnTo>
                      <a:pt x="30" y="2"/>
                    </a:lnTo>
                    <a:lnTo>
                      <a:pt x="33" y="2"/>
                    </a:lnTo>
                    <a:lnTo>
                      <a:pt x="36" y="2"/>
                    </a:lnTo>
                    <a:lnTo>
                      <a:pt x="40" y="2"/>
                    </a:lnTo>
                    <a:lnTo>
                      <a:pt x="48" y="5"/>
                    </a:lnTo>
                    <a:lnTo>
                      <a:pt x="51" y="5"/>
                    </a:lnTo>
                    <a:lnTo>
                      <a:pt x="54" y="6"/>
                    </a:lnTo>
                    <a:lnTo>
                      <a:pt x="57" y="9"/>
                    </a:lnTo>
                    <a:lnTo>
                      <a:pt x="59" y="9"/>
                    </a:lnTo>
                    <a:lnTo>
                      <a:pt x="63" y="11"/>
                    </a:lnTo>
                    <a:lnTo>
                      <a:pt x="67" y="13"/>
                    </a:lnTo>
                    <a:lnTo>
                      <a:pt x="70" y="14"/>
                    </a:lnTo>
                    <a:lnTo>
                      <a:pt x="73" y="17"/>
                    </a:lnTo>
                    <a:lnTo>
                      <a:pt x="75" y="21"/>
                    </a:lnTo>
                    <a:lnTo>
                      <a:pt x="76" y="24"/>
                    </a:lnTo>
                    <a:lnTo>
                      <a:pt x="71" y="25"/>
                    </a:lnTo>
                    <a:lnTo>
                      <a:pt x="68" y="27"/>
                    </a:lnTo>
                    <a:lnTo>
                      <a:pt x="62" y="27"/>
                    </a:lnTo>
                    <a:lnTo>
                      <a:pt x="59" y="24"/>
                    </a:lnTo>
                    <a:lnTo>
                      <a:pt x="55" y="24"/>
                    </a:lnTo>
                    <a:lnTo>
                      <a:pt x="55" y="24"/>
                    </a:lnTo>
                    <a:lnTo>
                      <a:pt x="57" y="24"/>
                    </a:lnTo>
                    <a:lnTo>
                      <a:pt x="55" y="22"/>
                    </a:lnTo>
                    <a:lnTo>
                      <a:pt x="54" y="22"/>
                    </a:lnTo>
                    <a:lnTo>
                      <a:pt x="52" y="22"/>
                    </a:lnTo>
                    <a:lnTo>
                      <a:pt x="51" y="25"/>
                    </a:lnTo>
                    <a:lnTo>
                      <a:pt x="48" y="27"/>
                    </a:lnTo>
                    <a:lnTo>
                      <a:pt x="43" y="25"/>
                    </a:lnTo>
                    <a:lnTo>
                      <a:pt x="41" y="25"/>
                    </a:lnTo>
                    <a:lnTo>
                      <a:pt x="40" y="28"/>
                    </a:lnTo>
                    <a:lnTo>
                      <a:pt x="41" y="33"/>
                    </a:lnTo>
                    <a:lnTo>
                      <a:pt x="38" y="32"/>
                    </a:lnTo>
                    <a:lnTo>
                      <a:pt x="35" y="28"/>
                    </a:lnTo>
                    <a:lnTo>
                      <a:pt x="32" y="27"/>
                    </a:lnTo>
                    <a:lnTo>
                      <a:pt x="29" y="27"/>
                    </a:lnTo>
                    <a:lnTo>
                      <a:pt x="27" y="27"/>
                    </a:lnTo>
                    <a:lnTo>
                      <a:pt x="22" y="27"/>
                    </a:lnTo>
                    <a:lnTo>
                      <a:pt x="19" y="25"/>
                    </a:lnTo>
                    <a:lnTo>
                      <a:pt x="17" y="22"/>
                    </a:lnTo>
                    <a:lnTo>
                      <a:pt x="14" y="19"/>
                    </a:lnTo>
                    <a:lnTo>
                      <a:pt x="13" y="19"/>
                    </a:lnTo>
                    <a:lnTo>
                      <a:pt x="11" y="16"/>
                    </a:lnTo>
                    <a:lnTo>
                      <a:pt x="8" y="13"/>
                    </a:lnTo>
                    <a:lnTo>
                      <a:pt x="5" y="13"/>
                    </a:lnTo>
                    <a:lnTo>
                      <a:pt x="0" y="11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grpSp>
            <p:nvGrpSpPr>
              <p:cNvPr id="401" name="Group 1612"/>
              <p:cNvGrpSpPr>
                <a:grpSpLocks noChangeAspect="1"/>
              </p:cNvGrpSpPr>
              <p:nvPr/>
            </p:nvGrpSpPr>
            <p:grpSpPr bwMode="auto">
              <a:xfrm>
                <a:off x="1825467" y="3220813"/>
                <a:ext cx="221593" cy="90938"/>
                <a:chOff x="1101" y="2016"/>
                <a:chExt cx="186" cy="69"/>
              </a:xfrm>
              <a:grpFill/>
            </p:grpSpPr>
            <p:sp>
              <p:nvSpPr>
                <p:cNvPr id="445" name="Freeform 1613"/>
                <p:cNvSpPr>
                  <a:spLocks noChangeAspect="1"/>
                </p:cNvSpPr>
                <p:nvPr/>
              </p:nvSpPr>
              <p:spPr bwMode="auto">
                <a:xfrm>
                  <a:off x="1101" y="2016"/>
                  <a:ext cx="186" cy="69"/>
                </a:xfrm>
                <a:custGeom>
                  <a:avLst/>
                  <a:gdLst>
                    <a:gd name="T0" fmla="*/ 16 w 373"/>
                    <a:gd name="T1" fmla="*/ 48 h 138"/>
                    <a:gd name="T2" fmla="*/ 21 w 373"/>
                    <a:gd name="T3" fmla="*/ 38 h 138"/>
                    <a:gd name="T4" fmla="*/ 35 w 373"/>
                    <a:gd name="T5" fmla="*/ 24 h 138"/>
                    <a:gd name="T6" fmla="*/ 51 w 373"/>
                    <a:gd name="T7" fmla="*/ 16 h 138"/>
                    <a:gd name="T8" fmla="*/ 67 w 373"/>
                    <a:gd name="T9" fmla="*/ 8 h 138"/>
                    <a:gd name="T10" fmla="*/ 84 w 373"/>
                    <a:gd name="T11" fmla="*/ 6 h 138"/>
                    <a:gd name="T12" fmla="*/ 100 w 373"/>
                    <a:gd name="T13" fmla="*/ 2 h 138"/>
                    <a:gd name="T14" fmla="*/ 129 w 373"/>
                    <a:gd name="T15" fmla="*/ 5 h 138"/>
                    <a:gd name="T16" fmla="*/ 138 w 373"/>
                    <a:gd name="T17" fmla="*/ 2 h 138"/>
                    <a:gd name="T18" fmla="*/ 154 w 373"/>
                    <a:gd name="T19" fmla="*/ 5 h 138"/>
                    <a:gd name="T20" fmla="*/ 169 w 373"/>
                    <a:gd name="T21" fmla="*/ 11 h 138"/>
                    <a:gd name="T22" fmla="*/ 184 w 373"/>
                    <a:gd name="T23" fmla="*/ 14 h 138"/>
                    <a:gd name="T24" fmla="*/ 192 w 373"/>
                    <a:gd name="T25" fmla="*/ 22 h 138"/>
                    <a:gd name="T26" fmla="*/ 211 w 373"/>
                    <a:gd name="T27" fmla="*/ 33 h 138"/>
                    <a:gd name="T28" fmla="*/ 234 w 373"/>
                    <a:gd name="T29" fmla="*/ 38 h 138"/>
                    <a:gd name="T30" fmla="*/ 246 w 373"/>
                    <a:gd name="T31" fmla="*/ 49 h 138"/>
                    <a:gd name="T32" fmla="*/ 259 w 373"/>
                    <a:gd name="T33" fmla="*/ 59 h 138"/>
                    <a:gd name="T34" fmla="*/ 261 w 373"/>
                    <a:gd name="T35" fmla="*/ 56 h 138"/>
                    <a:gd name="T36" fmla="*/ 275 w 373"/>
                    <a:gd name="T37" fmla="*/ 67 h 138"/>
                    <a:gd name="T38" fmla="*/ 272 w 373"/>
                    <a:gd name="T39" fmla="*/ 71 h 138"/>
                    <a:gd name="T40" fmla="*/ 284 w 373"/>
                    <a:gd name="T41" fmla="*/ 73 h 138"/>
                    <a:gd name="T42" fmla="*/ 291 w 373"/>
                    <a:gd name="T43" fmla="*/ 79 h 138"/>
                    <a:gd name="T44" fmla="*/ 302 w 373"/>
                    <a:gd name="T45" fmla="*/ 79 h 138"/>
                    <a:gd name="T46" fmla="*/ 316 w 373"/>
                    <a:gd name="T47" fmla="*/ 86 h 138"/>
                    <a:gd name="T48" fmla="*/ 321 w 373"/>
                    <a:gd name="T49" fmla="*/ 94 h 138"/>
                    <a:gd name="T50" fmla="*/ 329 w 373"/>
                    <a:gd name="T51" fmla="*/ 102 h 138"/>
                    <a:gd name="T52" fmla="*/ 345 w 373"/>
                    <a:gd name="T53" fmla="*/ 103 h 138"/>
                    <a:gd name="T54" fmla="*/ 360 w 373"/>
                    <a:gd name="T55" fmla="*/ 114 h 138"/>
                    <a:gd name="T56" fmla="*/ 373 w 373"/>
                    <a:gd name="T57" fmla="*/ 122 h 138"/>
                    <a:gd name="T58" fmla="*/ 357 w 373"/>
                    <a:gd name="T59" fmla="*/ 128 h 138"/>
                    <a:gd name="T60" fmla="*/ 343 w 373"/>
                    <a:gd name="T61" fmla="*/ 132 h 138"/>
                    <a:gd name="T62" fmla="*/ 335 w 373"/>
                    <a:gd name="T63" fmla="*/ 132 h 138"/>
                    <a:gd name="T64" fmla="*/ 324 w 373"/>
                    <a:gd name="T65" fmla="*/ 136 h 138"/>
                    <a:gd name="T66" fmla="*/ 303 w 373"/>
                    <a:gd name="T67" fmla="*/ 132 h 138"/>
                    <a:gd name="T68" fmla="*/ 280 w 373"/>
                    <a:gd name="T69" fmla="*/ 133 h 138"/>
                    <a:gd name="T70" fmla="*/ 245 w 373"/>
                    <a:gd name="T71" fmla="*/ 138 h 138"/>
                    <a:gd name="T72" fmla="*/ 257 w 373"/>
                    <a:gd name="T73" fmla="*/ 124 h 138"/>
                    <a:gd name="T74" fmla="*/ 270 w 373"/>
                    <a:gd name="T75" fmla="*/ 113 h 138"/>
                    <a:gd name="T76" fmla="*/ 264 w 373"/>
                    <a:gd name="T77" fmla="*/ 102 h 138"/>
                    <a:gd name="T78" fmla="*/ 249 w 373"/>
                    <a:gd name="T79" fmla="*/ 103 h 138"/>
                    <a:gd name="T80" fmla="*/ 232 w 373"/>
                    <a:gd name="T81" fmla="*/ 97 h 138"/>
                    <a:gd name="T82" fmla="*/ 226 w 373"/>
                    <a:gd name="T83" fmla="*/ 79 h 138"/>
                    <a:gd name="T84" fmla="*/ 218 w 373"/>
                    <a:gd name="T85" fmla="*/ 67 h 138"/>
                    <a:gd name="T86" fmla="*/ 210 w 373"/>
                    <a:gd name="T87" fmla="*/ 65 h 138"/>
                    <a:gd name="T88" fmla="*/ 192 w 373"/>
                    <a:gd name="T89" fmla="*/ 67 h 138"/>
                    <a:gd name="T90" fmla="*/ 178 w 373"/>
                    <a:gd name="T91" fmla="*/ 62 h 138"/>
                    <a:gd name="T92" fmla="*/ 173 w 373"/>
                    <a:gd name="T93" fmla="*/ 57 h 138"/>
                    <a:gd name="T94" fmla="*/ 162 w 373"/>
                    <a:gd name="T95" fmla="*/ 48 h 138"/>
                    <a:gd name="T96" fmla="*/ 138 w 373"/>
                    <a:gd name="T97" fmla="*/ 46 h 138"/>
                    <a:gd name="T98" fmla="*/ 130 w 373"/>
                    <a:gd name="T99" fmla="*/ 44 h 138"/>
                    <a:gd name="T100" fmla="*/ 113 w 373"/>
                    <a:gd name="T101" fmla="*/ 41 h 138"/>
                    <a:gd name="T102" fmla="*/ 113 w 373"/>
                    <a:gd name="T103" fmla="*/ 32 h 138"/>
                    <a:gd name="T104" fmla="*/ 116 w 373"/>
                    <a:gd name="T105" fmla="*/ 22 h 138"/>
                    <a:gd name="T106" fmla="*/ 81 w 373"/>
                    <a:gd name="T107" fmla="*/ 21 h 138"/>
                    <a:gd name="T108" fmla="*/ 69 w 373"/>
                    <a:gd name="T109" fmla="*/ 32 h 138"/>
                    <a:gd name="T110" fmla="*/ 51 w 373"/>
                    <a:gd name="T111" fmla="*/ 40 h 138"/>
                    <a:gd name="T112" fmla="*/ 37 w 373"/>
                    <a:gd name="T113" fmla="*/ 44 h 138"/>
                    <a:gd name="T114" fmla="*/ 24 w 373"/>
                    <a:gd name="T115" fmla="*/ 54 h 138"/>
                    <a:gd name="T116" fmla="*/ 10 w 373"/>
                    <a:gd name="T117" fmla="*/ 54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373" h="138">
                      <a:moveTo>
                        <a:pt x="2" y="54"/>
                      </a:moveTo>
                      <a:lnTo>
                        <a:pt x="5" y="52"/>
                      </a:lnTo>
                      <a:lnTo>
                        <a:pt x="8" y="51"/>
                      </a:lnTo>
                      <a:lnTo>
                        <a:pt x="13" y="49"/>
                      </a:lnTo>
                      <a:lnTo>
                        <a:pt x="16" y="48"/>
                      </a:lnTo>
                      <a:lnTo>
                        <a:pt x="19" y="48"/>
                      </a:lnTo>
                      <a:lnTo>
                        <a:pt x="23" y="49"/>
                      </a:lnTo>
                      <a:lnTo>
                        <a:pt x="24" y="46"/>
                      </a:lnTo>
                      <a:lnTo>
                        <a:pt x="21" y="41"/>
                      </a:lnTo>
                      <a:lnTo>
                        <a:pt x="21" y="38"/>
                      </a:lnTo>
                      <a:lnTo>
                        <a:pt x="23" y="35"/>
                      </a:lnTo>
                      <a:lnTo>
                        <a:pt x="26" y="32"/>
                      </a:lnTo>
                      <a:lnTo>
                        <a:pt x="29" y="29"/>
                      </a:lnTo>
                      <a:lnTo>
                        <a:pt x="32" y="25"/>
                      </a:lnTo>
                      <a:lnTo>
                        <a:pt x="35" y="24"/>
                      </a:lnTo>
                      <a:lnTo>
                        <a:pt x="37" y="21"/>
                      </a:lnTo>
                      <a:lnTo>
                        <a:pt x="40" y="21"/>
                      </a:lnTo>
                      <a:lnTo>
                        <a:pt x="43" y="17"/>
                      </a:lnTo>
                      <a:lnTo>
                        <a:pt x="48" y="17"/>
                      </a:lnTo>
                      <a:lnTo>
                        <a:pt x="51" y="16"/>
                      </a:lnTo>
                      <a:lnTo>
                        <a:pt x="54" y="16"/>
                      </a:lnTo>
                      <a:lnTo>
                        <a:pt x="58" y="13"/>
                      </a:lnTo>
                      <a:lnTo>
                        <a:pt x="61" y="13"/>
                      </a:lnTo>
                      <a:lnTo>
                        <a:pt x="64" y="11"/>
                      </a:lnTo>
                      <a:lnTo>
                        <a:pt x="67" y="8"/>
                      </a:lnTo>
                      <a:lnTo>
                        <a:pt x="72" y="8"/>
                      </a:lnTo>
                      <a:lnTo>
                        <a:pt x="75" y="8"/>
                      </a:lnTo>
                      <a:lnTo>
                        <a:pt x="78" y="10"/>
                      </a:lnTo>
                      <a:lnTo>
                        <a:pt x="81" y="6"/>
                      </a:lnTo>
                      <a:lnTo>
                        <a:pt x="84" y="6"/>
                      </a:lnTo>
                      <a:lnTo>
                        <a:pt x="88" y="6"/>
                      </a:lnTo>
                      <a:lnTo>
                        <a:pt x="92" y="6"/>
                      </a:lnTo>
                      <a:lnTo>
                        <a:pt x="92" y="5"/>
                      </a:lnTo>
                      <a:lnTo>
                        <a:pt x="97" y="3"/>
                      </a:lnTo>
                      <a:lnTo>
                        <a:pt x="100" y="2"/>
                      </a:lnTo>
                      <a:lnTo>
                        <a:pt x="104" y="0"/>
                      </a:lnTo>
                      <a:lnTo>
                        <a:pt x="107" y="2"/>
                      </a:lnTo>
                      <a:lnTo>
                        <a:pt x="116" y="2"/>
                      </a:lnTo>
                      <a:lnTo>
                        <a:pt x="127" y="2"/>
                      </a:lnTo>
                      <a:lnTo>
                        <a:pt x="129" y="5"/>
                      </a:lnTo>
                      <a:lnTo>
                        <a:pt x="132" y="3"/>
                      </a:lnTo>
                      <a:lnTo>
                        <a:pt x="135" y="3"/>
                      </a:lnTo>
                      <a:lnTo>
                        <a:pt x="138" y="2"/>
                      </a:lnTo>
                      <a:lnTo>
                        <a:pt x="142" y="0"/>
                      </a:lnTo>
                      <a:lnTo>
                        <a:pt x="138" y="2"/>
                      </a:lnTo>
                      <a:lnTo>
                        <a:pt x="140" y="6"/>
                      </a:lnTo>
                      <a:lnTo>
                        <a:pt x="143" y="6"/>
                      </a:lnTo>
                      <a:lnTo>
                        <a:pt x="148" y="5"/>
                      </a:lnTo>
                      <a:lnTo>
                        <a:pt x="151" y="6"/>
                      </a:lnTo>
                      <a:lnTo>
                        <a:pt x="154" y="5"/>
                      </a:lnTo>
                      <a:lnTo>
                        <a:pt x="157" y="5"/>
                      </a:lnTo>
                      <a:lnTo>
                        <a:pt x="161" y="3"/>
                      </a:lnTo>
                      <a:lnTo>
                        <a:pt x="161" y="5"/>
                      </a:lnTo>
                      <a:lnTo>
                        <a:pt x="165" y="8"/>
                      </a:lnTo>
                      <a:lnTo>
                        <a:pt x="169" y="11"/>
                      </a:lnTo>
                      <a:lnTo>
                        <a:pt x="172" y="13"/>
                      </a:lnTo>
                      <a:lnTo>
                        <a:pt x="175" y="11"/>
                      </a:lnTo>
                      <a:lnTo>
                        <a:pt x="180" y="11"/>
                      </a:lnTo>
                      <a:lnTo>
                        <a:pt x="181" y="11"/>
                      </a:lnTo>
                      <a:lnTo>
                        <a:pt x="184" y="14"/>
                      </a:lnTo>
                      <a:lnTo>
                        <a:pt x="189" y="13"/>
                      </a:lnTo>
                      <a:lnTo>
                        <a:pt x="186" y="16"/>
                      </a:lnTo>
                      <a:lnTo>
                        <a:pt x="189" y="17"/>
                      </a:lnTo>
                      <a:lnTo>
                        <a:pt x="192" y="17"/>
                      </a:lnTo>
                      <a:lnTo>
                        <a:pt x="192" y="22"/>
                      </a:lnTo>
                      <a:lnTo>
                        <a:pt x="196" y="25"/>
                      </a:lnTo>
                      <a:lnTo>
                        <a:pt x="199" y="29"/>
                      </a:lnTo>
                      <a:lnTo>
                        <a:pt x="200" y="30"/>
                      </a:lnTo>
                      <a:lnTo>
                        <a:pt x="203" y="33"/>
                      </a:lnTo>
                      <a:lnTo>
                        <a:pt x="211" y="33"/>
                      </a:lnTo>
                      <a:lnTo>
                        <a:pt x="219" y="33"/>
                      </a:lnTo>
                      <a:lnTo>
                        <a:pt x="222" y="35"/>
                      </a:lnTo>
                      <a:lnTo>
                        <a:pt x="227" y="35"/>
                      </a:lnTo>
                      <a:lnTo>
                        <a:pt x="230" y="38"/>
                      </a:lnTo>
                      <a:lnTo>
                        <a:pt x="234" y="38"/>
                      </a:lnTo>
                      <a:lnTo>
                        <a:pt x="237" y="43"/>
                      </a:lnTo>
                      <a:lnTo>
                        <a:pt x="240" y="43"/>
                      </a:lnTo>
                      <a:lnTo>
                        <a:pt x="243" y="46"/>
                      </a:lnTo>
                      <a:lnTo>
                        <a:pt x="245" y="46"/>
                      </a:lnTo>
                      <a:lnTo>
                        <a:pt x="246" y="49"/>
                      </a:lnTo>
                      <a:lnTo>
                        <a:pt x="249" y="52"/>
                      </a:lnTo>
                      <a:lnTo>
                        <a:pt x="253" y="51"/>
                      </a:lnTo>
                      <a:lnTo>
                        <a:pt x="253" y="54"/>
                      </a:lnTo>
                      <a:lnTo>
                        <a:pt x="256" y="57"/>
                      </a:lnTo>
                      <a:lnTo>
                        <a:pt x="259" y="59"/>
                      </a:lnTo>
                      <a:lnTo>
                        <a:pt x="262" y="59"/>
                      </a:lnTo>
                      <a:lnTo>
                        <a:pt x="265" y="62"/>
                      </a:lnTo>
                      <a:lnTo>
                        <a:pt x="268" y="63"/>
                      </a:lnTo>
                      <a:lnTo>
                        <a:pt x="265" y="57"/>
                      </a:lnTo>
                      <a:lnTo>
                        <a:pt x="261" y="56"/>
                      </a:lnTo>
                      <a:lnTo>
                        <a:pt x="265" y="57"/>
                      </a:lnTo>
                      <a:lnTo>
                        <a:pt x="268" y="59"/>
                      </a:lnTo>
                      <a:lnTo>
                        <a:pt x="272" y="62"/>
                      </a:lnTo>
                      <a:lnTo>
                        <a:pt x="275" y="63"/>
                      </a:lnTo>
                      <a:lnTo>
                        <a:pt x="275" y="67"/>
                      </a:lnTo>
                      <a:lnTo>
                        <a:pt x="272" y="65"/>
                      </a:lnTo>
                      <a:lnTo>
                        <a:pt x="268" y="65"/>
                      </a:lnTo>
                      <a:lnTo>
                        <a:pt x="270" y="68"/>
                      </a:lnTo>
                      <a:lnTo>
                        <a:pt x="270" y="70"/>
                      </a:lnTo>
                      <a:lnTo>
                        <a:pt x="272" y="71"/>
                      </a:lnTo>
                      <a:lnTo>
                        <a:pt x="275" y="68"/>
                      </a:lnTo>
                      <a:lnTo>
                        <a:pt x="278" y="67"/>
                      </a:lnTo>
                      <a:lnTo>
                        <a:pt x="280" y="70"/>
                      </a:lnTo>
                      <a:lnTo>
                        <a:pt x="281" y="71"/>
                      </a:lnTo>
                      <a:lnTo>
                        <a:pt x="284" y="73"/>
                      </a:lnTo>
                      <a:lnTo>
                        <a:pt x="281" y="76"/>
                      </a:lnTo>
                      <a:lnTo>
                        <a:pt x="284" y="75"/>
                      </a:lnTo>
                      <a:lnTo>
                        <a:pt x="289" y="75"/>
                      </a:lnTo>
                      <a:lnTo>
                        <a:pt x="288" y="79"/>
                      </a:lnTo>
                      <a:lnTo>
                        <a:pt x="291" y="79"/>
                      </a:lnTo>
                      <a:lnTo>
                        <a:pt x="294" y="83"/>
                      </a:lnTo>
                      <a:lnTo>
                        <a:pt x="295" y="79"/>
                      </a:lnTo>
                      <a:lnTo>
                        <a:pt x="299" y="79"/>
                      </a:lnTo>
                      <a:lnTo>
                        <a:pt x="302" y="79"/>
                      </a:lnTo>
                      <a:lnTo>
                        <a:pt x="302" y="79"/>
                      </a:lnTo>
                      <a:lnTo>
                        <a:pt x="305" y="81"/>
                      </a:lnTo>
                      <a:lnTo>
                        <a:pt x="308" y="86"/>
                      </a:lnTo>
                      <a:lnTo>
                        <a:pt x="311" y="87"/>
                      </a:lnTo>
                      <a:lnTo>
                        <a:pt x="314" y="86"/>
                      </a:lnTo>
                      <a:lnTo>
                        <a:pt x="316" y="86"/>
                      </a:lnTo>
                      <a:lnTo>
                        <a:pt x="319" y="86"/>
                      </a:lnTo>
                      <a:lnTo>
                        <a:pt x="322" y="86"/>
                      </a:lnTo>
                      <a:lnTo>
                        <a:pt x="326" y="89"/>
                      </a:lnTo>
                      <a:lnTo>
                        <a:pt x="326" y="92"/>
                      </a:lnTo>
                      <a:lnTo>
                        <a:pt x="321" y="94"/>
                      </a:lnTo>
                      <a:lnTo>
                        <a:pt x="326" y="95"/>
                      </a:lnTo>
                      <a:lnTo>
                        <a:pt x="321" y="97"/>
                      </a:lnTo>
                      <a:lnTo>
                        <a:pt x="318" y="100"/>
                      </a:lnTo>
                      <a:lnTo>
                        <a:pt x="322" y="102"/>
                      </a:lnTo>
                      <a:lnTo>
                        <a:pt x="329" y="102"/>
                      </a:lnTo>
                      <a:lnTo>
                        <a:pt x="332" y="102"/>
                      </a:lnTo>
                      <a:lnTo>
                        <a:pt x="335" y="103"/>
                      </a:lnTo>
                      <a:lnTo>
                        <a:pt x="340" y="102"/>
                      </a:lnTo>
                      <a:lnTo>
                        <a:pt x="341" y="103"/>
                      </a:lnTo>
                      <a:lnTo>
                        <a:pt x="345" y="103"/>
                      </a:lnTo>
                      <a:lnTo>
                        <a:pt x="348" y="103"/>
                      </a:lnTo>
                      <a:lnTo>
                        <a:pt x="351" y="105"/>
                      </a:lnTo>
                      <a:lnTo>
                        <a:pt x="354" y="108"/>
                      </a:lnTo>
                      <a:lnTo>
                        <a:pt x="359" y="111"/>
                      </a:lnTo>
                      <a:lnTo>
                        <a:pt x="360" y="114"/>
                      </a:lnTo>
                      <a:lnTo>
                        <a:pt x="360" y="116"/>
                      </a:lnTo>
                      <a:lnTo>
                        <a:pt x="364" y="117"/>
                      </a:lnTo>
                      <a:lnTo>
                        <a:pt x="367" y="119"/>
                      </a:lnTo>
                      <a:lnTo>
                        <a:pt x="372" y="117"/>
                      </a:lnTo>
                      <a:lnTo>
                        <a:pt x="373" y="122"/>
                      </a:lnTo>
                      <a:lnTo>
                        <a:pt x="372" y="125"/>
                      </a:lnTo>
                      <a:lnTo>
                        <a:pt x="368" y="128"/>
                      </a:lnTo>
                      <a:lnTo>
                        <a:pt x="364" y="128"/>
                      </a:lnTo>
                      <a:lnTo>
                        <a:pt x="360" y="128"/>
                      </a:lnTo>
                      <a:lnTo>
                        <a:pt x="357" y="128"/>
                      </a:lnTo>
                      <a:lnTo>
                        <a:pt x="354" y="128"/>
                      </a:lnTo>
                      <a:lnTo>
                        <a:pt x="351" y="128"/>
                      </a:lnTo>
                      <a:lnTo>
                        <a:pt x="348" y="130"/>
                      </a:lnTo>
                      <a:lnTo>
                        <a:pt x="346" y="132"/>
                      </a:lnTo>
                      <a:lnTo>
                        <a:pt x="343" y="132"/>
                      </a:lnTo>
                      <a:lnTo>
                        <a:pt x="340" y="135"/>
                      </a:lnTo>
                      <a:lnTo>
                        <a:pt x="338" y="135"/>
                      </a:lnTo>
                      <a:lnTo>
                        <a:pt x="337" y="133"/>
                      </a:lnTo>
                      <a:lnTo>
                        <a:pt x="338" y="132"/>
                      </a:lnTo>
                      <a:lnTo>
                        <a:pt x="335" y="132"/>
                      </a:lnTo>
                      <a:lnTo>
                        <a:pt x="337" y="133"/>
                      </a:lnTo>
                      <a:lnTo>
                        <a:pt x="333" y="135"/>
                      </a:lnTo>
                      <a:lnTo>
                        <a:pt x="330" y="136"/>
                      </a:lnTo>
                      <a:lnTo>
                        <a:pt x="327" y="136"/>
                      </a:lnTo>
                      <a:lnTo>
                        <a:pt x="324" y="136"/>
                      </a:lnTo>
                      <a:lnTo>
                        <a:pt x="321" y="135"/>
                      </a:lnTo>
                      <a:lnTo>
                        <a:pt x="318" y="133"/>
                      </a:lnTo>
                      <a:lnTo>
                        <a:pt x="310" y="132"/>
                      </a:lnTo>
                      <a:lnTo>
                        <a:pt x="307" y="133"/>
                      </a:lnTo>
                      <a:lnTo>
                        <a:pt x="303" y="132"/>
                      </a:lnTo>
                      <a:lnTo>
                        <a:pt x="300" y="132"/>
                      </a:lnTo>
                      <a:lnTo>
                        <a:pt x="297" y="132"/>
                      </a:lnTo>
                      <a:lnTo>
                        <a:pt x="286" y="133"/>
                      </a:lnTo>
                      <a:lnTo>
                        <a:pt x="283" y="133"/>
                      </a:lnTo>
                      <a:lnTo>
                        <a:pt x="280" y="133"/>
                      </a:lnTo>
                      <a:lnTo>
                        <a:pt x="275" y="133"/>
                      </a:lnTo>
                      <a:lnTo>
                        <a:pt x="272" y="135"/>
                      </a:lnTo>
                      <a:lnTo>
                        <a:pt x="268" y="135"/>
                      </a:lnTo>
                      <a:lnTo>
                        <a:pt x="257" y="136"/>
                      </a:lnTo>
                      <a:lnTo>
                        <a:pt x="245" y="138"/>
                      </a:lnTo>
                      <a:lnTo>
                        <a:pt x="245" y="135"/>
                      </a:lnTo>
                      <a:lnTo>
                        <a:pt x="249" y="132"/>
                      </a:lnTo>
                      <a:lnTo>
                        <a:pt x="251" y="127"/>
                      </a:lnTo>
                      <a:lnTo>
                        <a:pt x="254" y="125"/>
                      </a:lnTo>
                      <a:lnTo>
                        <a:pt x="257" y="124"/>
                      </a:lnTo>
                      <a:lnTo>
                        <a:pt x="261" y="121"/>
                      </a:lnTo>
                      <a:lnTo>
                        <a:pt x="265" y="119"/>
                      </a:lnTo>
                      <a:lnTo>
                        <a:pt x="268" y="116"/>
                      </a:lnTo>
                      <a:lnTo>
                        <a:pt x="268" y="116"/>
                      </a:lnTo>
                      <a:lnTo>
                        <a:pt x="270" y="113"/>
                      </a:lnTo>
                      <a:lnTo>
                        <a:pt x="270" y="111"/>
                      </a:lnTo>
                      <a:lnTo>
                        <a:pt x="267" y="109"/>
                      </a:lnTo>
                      <a:lnTo>
                        <a:pt x="265" y="108"/>
                      </a:lnTo>
                      <a:lnTo>
                        <a:pt x="267" y="105"/>
                      </a:lnTo>
                      <a:lnTo>
                        <a:pt x="264" y="102"/>
                      </a:lnTo>
                      <a:lnTo>
                        <a:pt x="264" y="102"/>
                      </a:lnTo>
                      <a:lnTo>
                        <a:pt x="259" y="103"/>
                      </a:lnTo>
                      <a:lnTo>
                        <a:pt x="256" y="103"/>
                      </a:lnTo>
                      <a:lnTo>
                        <a:pt x="253" y="103"/>
                      </a:lnTo>
                      <a:lnTo>
                        <a:pt x="249" y="103"/>
                      </a:lnTo>
                      <a:lnTo>
                        <a:pt x="245" y="102"/>
                      </a:lnTo>
                      <a:lnTo>
                        <a:pt x="242" y="103"/>
                      </a:lnTo>
                      <a:lnTo>
                        <a:pt x="238" y="102"/>
                      </a:lnTo>
                      <a:lnTo>
                        <a:pt x="235" y="100"/>
                      </a:lnTo>
                      <a:lnTo>
                        <a:pt x="232" y="97"/>
                      </a:lnTo>
                      <a:lnTo>
                        <a:pt x="229" y="94"/>
                      </a:lnTo>
                      <a:lnTo>
                        <a:pt x="226" y="90"/>
                      </a:lnTo>
                      <a:lnTo>
                        <a:pt x="224" y="87"/>
                      </a:lnTo>
                      <a:lnTo>
                        <a:pt x="224" y="83"/>
                      </a:lnTo>
                      <a:lnTo>
                        <a:pt x="226" y="79"/>
                      </a:lnTo>
                      <a:lnTo>
                        <a:pt x="222" y="76"/>
                      </a:lnTo>
                      <a:lnTo>
                        <a:pt x="222" y="73"/>
                      </a:lnTo>
                      <a:lnTo>
                        <a:pt x="222" y="68"/>
                      </a:lnTo>
                      <a:lnTo>
                        <a:pt x="221" y="68"/>
                      </a:lnTo>
                      <a:lnTo>
                        <a:pt x="218" y="67"/>
                      </a:lnTo>
                      <a:lnTo>
                        <a:pt x="219" y="65"/>
                      </a:lnTo>
                      <a:lnTo>
                        <a:pt x="216" y="65"/>
                      </a:lnTo>
                      <a:lnTo>
                        <a:pt x="215" y="65"/>
                      </a:lnTo>
                      <a:lnTo>
                        <a:pt x="211" y="65"/>
                      </a:lnTo>
                      <a:lnTo>
                        <a:pt x="210" y="65"/>
                      </a:lnTo>
                      <a:lnTo>
                        <a:pt x="207" y="67"/>
                      </a:lnTo>
                      <a:lnTo>
                        <a:pt x="203" y="68"/>
                      </a:lnTo>
                      <a:lnTo>
                        <a:pt x="200" y="68"/>
                      </a:lnTo>
                      <a:lnTo>
                        <a:pt x="197" y="67"/>
                      </a:lnTo>
                      <a:lnTo>
                        <a:pt x="192" y="67"/>
                      </a:lnTo>
                      <a:lnTo>
                        <a:pt x="189" y="63"/>
                      </a:lnTo>
                      <a:lnTo>
                        <a:pt x="189" y="63"/>
                      </a:lnTo>
                      <a:lnTo>
                        <a:pt x="186" y="62"/>
                      </a:lnTo>
                      <a:lnTo>
                        <a:pt x="181" y="62"/>
                      </a:lnTo>
                      <a:lnTo>
                        <a:pt x="178" y="62"/>
                      </a:lnTo>
                      <a:lnTo>
                        <a:pt x="175" y="59"/>
                      </a:lnTo>
                      <a:lnTo>
                        <a:pt x="175" y="59"/>
                      </a:lnTo>
                      <a:lnTo>
                        <a:pt x="175" y="60"/>
                      </a:lnTo>
                      <a:lnTo>
                        <a:pt x="175" y="60"/>
                      </a:lnTo>
                      <a:lnTo>
                        <a:pt x="173" y="57"/>
                      </a:lnTo>
                      <a:lnTo>
                        <a:pt x="172" y="57"/>
                      </a:lnTo>
                      <a:lnTo>
                        <a:pt x="169" y="56"/>
                      </a:lnTo>
                      <a:lnTo>
                        <a:pt x="165" y="52"/>
                      </a:lnTo>
                      <a:lnTo>
                        <a:pt x="162" y="49"/>
                      </a:lnTo>
                      <a:lnTo>
                        <a:pt x="162" y="48"/>
                      </a:lnTo>
                      <a:lnTo>
                        <a:pt x="162" y="44"/>
                      </a:lnTo>
                      <a:lnTo>
                        <a:pt x="161" y="43"/>
                      </a:lnTo>
                      <a:lnTo>
                        <a:pt x="161" y="46"/>
                      </a:lnTo>
                      <a:lnTo>
                        <a:pt x="150" y="48"/>
                      </a:lnTo>
                      <a:lnTo>
                        <a:pt x="138" y="46"/>
                      </a:lnTo>
                      <a:lnTo>
                        <a:pt x="137" y="41"/>
                      </a:lnTo>
                      <a:lnTo>
                        <a:pt x="137" y="38"/>
                      </a:lnTo>
                      <a:lnTo>
                        <a:pt x="135" y="43"/>
                      </a:lnTo>
                      <a:lnTo>
                        <a:pt x="134" y="46"/>
                      </a:lnTo>
                      <a:lnTo>
                        <a:pt x="130" y="44"/>
                      </a:lnTo>
                      <a:lnTo>
                        <a:pt x="127" y="41"/>
                      </a:lnTo>
                      <a:lnTo>
                        <a:pt x="124" y="41"/>
                      </a:lnTo>
                      <a:lnTo>
                        <a:pt x="119" y="41"/>
                      </a:lnTo>
                      <a:lnTo>
                        <a:pt x="116" y="41"/>
                      </a:lnTo>
                      <a:lnTo>
                        <a:pt x="113" y="41"/>
                      </a:lnTo>
                      <a:lnTo>
                        <a:pt x="110" y="38"/>
                      </a:lnTo>
                      <a:lnTo>
                        <a:pt x="107" y="37"/>
                      </a:lnTo>
                      <a:lnTo>
                        <a:pt x="104" y="33"/>
                      </a:lnTo>
                      <a:lnTo>
                        <a:pt x="107" y="32"/>
                      </a:lnTo>
                      <a:lnTo>
                        <a:pt x="113" y="32"/>
                      </a:lnTo>
                      <a:lnTo>
                        <a:pt x="116" y="30"/>
                      </a:lnTo>
                      <a:lnTo>
                        <a:pt x="121" y="29"/>
                      </a:lnTo>
                      <a:lnTo>
                        <a:pt x="121" y="27"/>
                      </a:lnTo>
                      <a:lnTo>
                        <a:pt x="121" y="25"/>
                      </a:lnTo>
                      <a:lnTo>
                        <a:pt x="116" y="22"/>
                      </a:lnTo>
                      <a:lnTo>
                        <a:pt x="111" y="21"/>
                      </a:lnTo>
                      <a:lnTo>
                        <a:pt x="108" y="22"/>
                      </a:lnTo>
                      <a:lnTo>
                        <a:pt x="102" y="21"/>
                      </a:lnTo>
                      <a:lnTo>
                        <a:pt x="92" y="21"/>
                      </a:lnTo>
                      <a:lnTo>
                        <a:pt x="81" y="21"/>
                      </a:lnTo>
                      <a:lnTo>
                        <a:pt x="80" y="24"/>
                      </a:lnTo>
                      <a:lnTo>
                        <a:pt x="77" y="27"/>
                      </a:lnTo>
                      <a:lnTo>
                        <a:pt x="75" y="27"/>
                      </a:lnTo>
                      <a:lnTo>
                        <a:pt x="72" y="29"/>
                      </a:lnTo>
                      <a:lnTo>
                        <a:pt x="69" y="32"/>
                      </a:lnTo>
                      <a:lnTo>
                        <a:pt x="64" y="35"/>
                      </a:lnTo>
                      <a:lnTo>
                        <a:pt x="61" y="37"/>
                      </a:lnTo>
                      <a:lnTo>
                        <a:pt x="58" y="41"/>
                      </a:lnTo>
                      <a:lnTo>
                        <a:pt x="54" y="41"/>
                      </a:lnTo>
                      <a:lnTo>
                        <a:pt x="51" y="40"/>
                      </a:lnTo>
                      <a:lnTo>
                        <a:pt x="48" y="41"/>
                      </a:lnTo>
                      <a:lnTo>
                        <a:pt x="45" y="41"/>
                      </a:lnTo>
                      <a:lnTo>
                        <a:pt x="43" y="41"/>
                      </a:lnTo>
                      <a:lnTo>
                        <a:pt x="40" y="41"/>
                      </a:lnTo>
                      <a:lnTo>
                        <a:pt x="37" y="44"/>
                      </a:lnTo>
                      <a:lnTo>
                        <a:pt x="35" y="46"/>
                      </a:lnTo>
                      <a:lnTo>
                        <a:pt x="35" y="49"/>
                      </a:lnTo>
                      <a:lnTo>
                        <a:pt x="31" y="52"/>
                      </a:lnTo>
                      <a:lnTo>
                        <a:pt x="27" y="52"/>
                      </a:lnTo>
                      <a:lnTo>
                        <a:pt x="24" y="54"/>
                      </a:lnTo>
                      <a:lnTo>
                        <a:pt x="21" y="56"/>
                      </a:lnTo>
                      <a:lnTo>
                        <a:pt x="18" y="59"/>
                      </a:lnTo>
                      <a:lnTo>
                        <a:pt x="16" y="56"/>
                      </a:lnTo>
                      <a:lnTo>
                        <a:pt x="13" y="52"/>
                      </a:lnTo>
                      <a:lnTo>
                        <a:pt x="10" y="54"/>
                      </a:lnTo>
                      <a:lnTo>
                        <a:pt x="7" y="56"/>
                      </a:lnTo>
                      <a:lnTo>
                        <a:pt x="2" y="57"/>
                      </a:lnTo>
                      <a:lnTo>
                        <a:pt x="0" y="52"/>
                      </a:lnTo>
                      <a:lnTo>
                        <a:pt x="2" y="54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B9BFDB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446" name="Freeform 1614"/>
                <p:cNvSpPr>
                  <a:spLocks noChangeAspect="1"/>
                </p:cNvSpPr>
                <p:nvPr/>
              </p:nvSpPr>
              <p:spPr bwMode="auto">
                <a:xfrm>
                  <a:off x="1131" y="2042"/>
                  <a:ext cx="11" cy="10"/>
                </a:xfrm>
                <a:custGeom>
                  <a:avLst/>
                  <a:gdLst>
                    <a:gd name="T0" fmla="*/ 9 w 22"/>
                    <a:gd name="T1" fmla="*/ 21 h 21"/>
                    <a:gd name="T2" fmla="*/ 6 w 22"/>
                    <a:gd name="T3" fmla="*/ 19 h 21"/>
                    <a:gd name="T4" fmla="*/ 3 w 22"/>
                    <a:gd name="T5" fmla="*/ 18 h 21"/>
                    <a:gd name="T6" fmla="*/ 0 w 22"/>
                    <a:gd name="T7" fmla="*/ 15 h 21"/>
                    <a:gd name="T8" fmla="*/ 4 w 22"/>
                    <a:gd name="T9" fmla="*/ 16 h 21"/>
                    <a:gd name="T10" fmla="*/ 8 w 22"/>
                    <a:gd name="T11" fmla="*/ 15 h 21"/>
                    <a:gd name="T12" fmla="*/ 6 w 22"/>
                    <a:gd name="T13" fmla="*/ 10 h 21"/>
                    <a:gd name="T14" fmla="*/ 4 w 22"/>
                    <a:gd name="T15" fmla="*/ 7 h 21"/>
                    <a:gd name="T16" fmla="*/ 4 w 22"/>
                    <a:gd name="T17" fmla="*/ 4 h 21"/>
                    <a:gd name="T18" fmla="*/ 9 w 22"/>
                    <a:gd name="T19" fmla="*/ 0 h 21"/>
                    <a:gd name="T20" fmla="*/ 12 w 22"/>
                    <a:gd name="T21" fmla="*/ 0 h 21"/>
                    <a:gd name="T22" fmla="*/ 16 w 22"/>
                    <a:gd name="T23" fmla="*/ 0 h 21"/>
                    <a:gd name="T24" fmla="*/ 19 w 22"/>
                    <a:gd name="T25" fmla="*/ 5 h 21"/>
                    <a:gd name="T26" fmla="*/ 22 w 22"/>
                    <a:gd name="T27" fmla="*/ 8 h 21"/>
                    <a:gd name="T28" fmla="*/ 22 w 22"/>
                    <a:gd name="T29" fmla="*/ 11 h 21"/>
                    <a:gd name="T30" fmla="*/ 22 w 22"/>
                    <a:gd name="T31" fmla="*/ 15 h 21"/>
                    <a:gd name="T32" fmla="*/ 19 w 22"/>
                    <a:gd name="T33" fmla="*/ 16 h 21"/>
                    <a:gd name="T34" fmla="*/ 16 w 22"/>
                    <a:gd name="T35" fmla="*/ 19 h 21"/>
                    <a:gd name="T36" fmla="*/ 11 w 22"/>
                    <a:gd name="T37" fmla="*/ 19 h 21"/>
                    <a:gd name="T38" fmla="*/ 9 w 22"/>
                    <a:gd name="T39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2" h="21">
                      <a:moveTo>
                        <a:pt x="9" y="21"/>
                      </a:moveTo>
                      <a:lnTo>
                        <a:pt x="6" y="19"/>
                      </a:lnTo>
                      <a:lnTo>
                        <a:pt x="3" y="18"/>
                      </a:lnTo>
                      <a:lnTo>
                        <a:pt x="0" y="15"/>
                      </a:lnTo>
                      <a:lnTo>
                        <a:pt x="4" y="16"/>
                      </a:lnTo>
                      <a:lnTo>
                        <a:pt x="8" y="15"/>
                      </a:lnTo>
                      <a:lnTo>
                        <a:pt x="6" y="10"/>
                      </a:lnTo>
                      <a:lnTo>
                        <a:pt x="4" y="7"/>
                      </a:lnTo>
                      <a:lnTo>
                        <a:pt x="4" y="4"/>
                      </a:lnTo>
                      <a:lnTo>
                        <a:pt x="9" y="0"/>
                      </a:lnTo>
                      <a:lnTo>
                        <a:pt x="12" y="0"/>
                      </a:lnTo>
                      <a:lnTo>
                        <a:pt x="16" y="0"/>
                      </a:lnTo>
                      <a:lnTo>
                        <a:pt x="19" y="5"/>
                      </a:lnTo>
                      <a:lnTo>
                        <a:pt x="22" y="8"/>
                      </a:lnTo>
                      <a:lnTo>
                        <a:pt x="22" y="11"/>
                      </a:lnTo>
                      <a:lnTo>
                        <a:pt x="22" y="15"/>
                      </a:lnTo>
                      <a:lnTo>
                        <a:pt x="19" y="16"/>
                      </a:lnTo>
                      <a:lnTo>
                        <a:pt x="16" y="19"/>
                      </a:lnTo>
                      <a:lnTo>
                        <a:pt x="11" y="19"/>
                      </a:lnTo>
                      <a:lnTo>
                        <a:pt x="9" y="21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B9BFDB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  <p:sp>
              <p:nvSpPr>
                <p:cNvPr id="447" name="Freeform 1615"/>
                <p:cNvSpPr>
                  <a:spLocks noChangeAspect="1"/>
                </p:cNvSpPr>
                <p:nvPr/>
              </p:nvSpPr>
              <p:spPr bwMode="auto">
                <a:xfrm>
                  <a:off x="1220" y="2031"/>
                  <a:ext cx="4" cy="4"/>
                </a:xfrm>
                <a:custGeom>
                  <a:avLst/>
                  <a:gdLst>
                    <a:gd name="T0" fmla="*/ 10 w 10"/>
                    <a:gd name="T1" fmla="*/ 6 h 6"/>
                    <a:gd name="T2" fmla="*/ 7 w 10"/>
                    <a:gd name="T3" fmla="*/ 5 h 6"/>
                    <a:gd name="T4" fmla="*/ 2 w 10"/>
                    <a:gd name="T5" fmla="*/ 3 h 6"/>
                    <a:gd name="T6" fmla="*/ 0 w 10"/>
                    <a:gd name="T7" fmla="*/ 0 h 6"/>
                    <a:gd name="T8" fmla="*/ 4 w 10"/>
                    <a:gd name="T9" fmla="*/ 0 h 6"/>
                    <a:gd name="T10" fmla="*/ 8 w 10"/>
                    <a:gd name="T11" fmla="*/ 1 h 6"/>
                    <a:gd name="T12" fmla="*/ 8 w 10"/>
                    <a:gd name="T13" fmla="*/ 5 h 6"/>
                    <a:gd name="T14" fmla="*/ 10 w 10"/>
                    <a:gd name="T1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0" h="6">
                      <a:moveTo>
                        <a:pt x="10" y="6"/>
                      </a:moveTo>
                      <a:lnTo>
                        <a:pt x="7" y="5"/>
                      </a:lnTo>
                      <a:lnTo>
                        <a:pt x="2" y="3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8" y="1"/>
                      </a:lnTo>
                      <a:lnTo>
                        <a:pt x="8" y="5"/>
                      </a:lnTo>
                      <a:lnTo>
                        <a:pt x="10" y="6"/>
                      </a:lnTo>
                      <a:close/>
                    </a:path>
                  </a:pathLst>
                </a:custGeom>
                <a:grpFill/>
                <a:ln w="1270" cap="flat" cmpd="sng">
                  <a:solidFill>
                    <a:srgbClr val="B9BFDB"/>
                  </a:solidFill>
                  <a:prstDash val="solid"/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0" tIns="0" rIns="0" bIns="0" anchor="ctr"/>
                <a:lstStyle/>
                <a:p>
                  <a:endParaRPr lang="en-GB" dirty="0"/>
                </a:p>
              </p:txBody>
            </p:sp>
          </p:grpSp>
          <p:sp>
            <p:nvSpPr>
              <p:cNvPr id="402" name="Freeform 1616"/>
              <p:cNvSpPr>
                <a:spLocks noChangeAspect="1"/>
              </p:cNvSpPr>
              <p:nvPr/>
            </p:nvSpPr>
            <p:spPr bwMode="auto">
              <a:xfrm>
                <a:off x="2273418" y="3356561"/>
                <a:ext cx="3574" cy="2636"/>
              </a:xfrm>
              <a:custGeom>
                <a:avLst/>
                <a:gdLst>
                  <a:gd name="T0" fmla="*/ 0 w 5"/>
                  <a:gd name="T1" fmla="*/ 3 h 3"/>
                  <a:gd name="T2" fmla="*/ 3 w 5"/>
                  <a:gd name="T3" fmla="*/ 0 h 3"/>
                  <a:gd name="T4" fmla="*/ 5 w 5"/>
                  <a:gd name="T5" fmla="*/ 3 h 3"/>
                  <a:gd name="T6" fmla="*/ 1 w 5"/>
                  <a:gd name="T7" fmla="*/ 3 h 3"/>
                  <a:gd name="T8" fmla="*/ 0 w 5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3">
                    <a:moveTo>
                      <a:pt x="0" y="3"/>
                    </a:moveTo>
                    <a:lnTo>
                      <a:pt x="3" y="0"/>
                    </a:lnTo>
                    <a:lnTo>
                      <a:pt x="5" y="3"/>
                    </a:lnTo>
                    <a:lnTo>
                      <a:pt x="1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03" name="Freeform 1617"/>
              <p:cNvSpPr>
                <a:spLocks noChangeAspect="1"/>
              </p:cNvSpPr>
              <p:nvPr/>
            </p:nvSpPr>
            <p:spPr bwMode="auto">
              <a:xfrm>
                <a:off x="2298437" y="3405324"/>
                <a:ext cx="5957" cy="10544"/>
              </a:xfrm>
              <a:custGeom>
                <a:avLst/>
                <a:gdLst>
                  <a:gd name="T0" fmla="*/ 10 w 10"/>
                  <a:gd name="T1" fmla="*/ 3 h 16"/>
                  <a:gd name="T2" fmla="*/ 8 w 10"/>
                  <a:gd name="T3" fmla="*/ 6 h 16"/>
                  <a:gd name="T4" fmla="*/ 8 w 10"/>
                  <a:gd name="T5" fmla="*/ 9 h 16"/>
                  <a:gd name="T6" fmla="*/ 6 w 10"/>
                  <a:gd name="T7" fmla="*/ 12 h 16"/>
                  <a:gd name="T8" fmla="*/ 3 w 10"/>
                  <a:gd name="T9" fmla="*/ 16 h 16"/>
                  <a:gd name="T10" fmla="*/ 0 w 10"/>
                  <a:gd name="T11" fmla="*/ 12 h 16"/>
                  <a:gd name="T12" fmla="*/ 0 w 10"/>
                  <a:gd name="T13" fmla="*/ 8 h 16"/>
                  <a:gd name="T14" fmla="*/ 0 w 10"/>
                  <a:gd name="T15" fmla="*/ 4 h 16"/>
                  <a:gd name="T16" fmla="*/ 0 w 10"/>
                  <a:gd name="T17" fmla="*/ 1 h 16"/>
                  <a:gd name="T18" fmla="*/ 3 w 10"/>
                  <a:gd name="T19" fmla="*/ 0 h 16"/>
                  <a:gd name="T20" fmla="*/ 6 w 10"/>
                  <a:gd name="T21" fmla="*/ 1 h 16"/>
                  <a:gd name="T22" fmla="*/ 10 w 10"/>
                  <a:gd name="T23" fmla="*/ 3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" h="16">
                    <a:moveTo>
                      <a:pt x="10" y="3"/>
                    </a:moveTo>
                    <a:lnTo>
                      <a:pt x="8" y="6"/>
                    </a:lnTo>
                    <a:lnTo>
                      <a:pt x="8" y="9"/>
                    </a:lnTo>
                    <a:lnTo>
                      <a:pt x="6" y="12"/>
                    </a:lnTo>
                    <a:lnTo>
                      <a:pt x="3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6" y="1"/>
                    </a:lnTo>
                    <a:lnTo>
                      <a:pt x="10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04" name="Freeform 1618"/>
              <p:cNvSpPr>
                <a:spLocks noChangeAspect="1"/>
              </p:cNvSpPr>
              <p:nvPr/>
            </p:nvSpPr>
            <p:spPr bwMode="auto">
              <a:xfrm>
                <a:off x="2304393" y="3401370"/>
                <a:ext cx="5957" cy="6590"/>
              </a:xfrm>
              <a:custGeom>
                <a:avLst/>
                <a:gdLst>
                  <a:gd name="T0" fmla="*/ 0 w 11"/>
                  <a:gd name="T1" fmla="*/ 8 h 11"/>
                  <a:gd name="T2" fmla="*/ 1 w 11"/>
                  <a:gd name="T3" fmla="*/ 5 h 11"/>
                  <a:gd name="T4" fmla="*/ 0 w 11"/>
                  <a:gd name="T5" fmla="*/ 2 h 11"/>
                  <a:gd name="T6" fmla="*/ 4 w 11"/>
                  <a:gd name="T7" fmla="*/ 0 h 11"/>
                  <a:gd name="T8" fmla="*/ 4 w 11"/>
                  <a:gd name="T9" fmla="*/ 4 h 11"/>
                  <a:gd name="T10" fmla="*/ 7 w 11"/>
                  <a:gd name="T11" fmla="*/ 7 h 11"/>
                  <a:gd name="T12" fmla="*/ 11 w 11"/>
                  <a:gd name="T13" fmla="*/ 10 h 11"/>
                  <a:gd name="T14" fmla="*/ 7 w 11"/>
                  <a:gd name="T15" fmla="*/ 10 h 11"/>
                  <a:gd name="T16" fmla="*/ 4 w 11"/>
                  <a:gd name="T17" fmla="*/ 11 h 11"/>
                  <a:gd name="T18" fmla="*/ 1 w 11"/>
                  <a:gd name="T19" fmla="*/ 11 h 11"/>
                  <a:gd name="T20" fmla="*/ 0 w 11"/>
                  <a:gd name="T21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" h="11">
                    <a:moveTo>
                      <a:pt x="0" y="8"/>
                    </a:moveTo>
                    <a:lnTo>
                      <a:pt x="1" y="5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7" y="7"/>
                    </a:lnTo>
                    <a:lnTo>
                      <a:pt x="11" y="10"/>
                    </a:lnTo>
                    <a:lnTo>
                      <a:pt x="7" y="10"/>
                    </a:lnTo>
                    <a:lnTo>
                      <a:pt x="4" y="11"/>
                    </a:lnTo>
                    <a:lnTo>
                      <a:pt x="1" y="11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05" name="Freeform 1619"/>
              <p:cNvSpPr>
                <a:spLocks noChangeAspect="1"/>
              </p:cNvSpPr>
              <p:nvPr/>
            </p:nvSpPr>
            <p:spPr bwMode="auto">
              <a:xfrm>
                <a:off x="2307968" y="3414550"/>
                <a:ext cx="2383" cy="2636"/>
              </a:xfrm>
              <a:custGeom>
                <a:avLst/>
                <a:gdLst>
                  <a:gd name="T0" fmla="*/ 1 w 3"/>
                  <a:gd name="T1" fmla="*/ 5 h 5"/>
                  <a:gd name="T2" fmla="*/ 0 w 3"/>
                  <a:gd name="T3" fmla="*/ 2 h 5"/>
                  <a:gd name="T4" fmla="*/ 3 w 3"/>
                  <a:gd name="T5" fmla="*/ 0 h 5"/>
                  <a:gd name="T6" fmla="*/ 3 w 3"/>
                  <a:gd name="T7" fmla="*/ 3 h 5"/>
                  <a:gd name="T8" fmla="*/ 1 w 3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" h="5">
                    <a:moveTo>
                      <a:pt x="1" y="5"/>
                    </a:moveTo>
                    <a:lnTo>
                      <a:pt x="0" y="2"/>
                    </a:lnTo>
                    <a:lnTo>
                      <a:pt x="3" y="0"/>
                    </a:lnTo>
                    <a:lnTo>
                      <a:pt x="3" y="3"/>
                    </a:lnTo>
                    <a:lnTo>
                      <a:pt x="1" y="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06" name="Freeform 1620"/>
              <p:cNvSpPr>
                <a:spLocks noChangeAspect="1"/>
              </p:cNvSpPr>
              <p:nvPr/>
            </p:nvSpPr>
            <p:spPr bwMode="auto">
              <a:xfrm>
                <a:off x="2306776" y="3444863"/>
                <a:ext cx="8340" cy="13180"/>
              </a:xfrm>
              <a:custGeom>
                <a:avLst/>
                <a:gdLst>
                  <a:gd name="T0" fmla="*/ 13 w 15"/>
                  <a:gd name="T1" fmla="*/ 19 h 19"/>
                  <a:gd name="T2" fmla="*/ 10 w 15"/>
                  <a:gd name="T3" fmla="*/ 16 h 19"/>
                  <a:gd name="T4" fmla="*/ 7 w 15"/>
                  <a:gd name="T5" fmla="*/ 16 h 19"/>
                  <a:gd name="T6" fmla="*/ 5 w 15"/>
                  <a:gd name="T7" fmla="*/ 13 h 19"/>
                  <a:gd name="T8" fmla="*/ 5 w 15"/>
                  <a:gd name="T9" fmla="*/ 10 h 19"/>
                  <a:gd name="T10" fmla="*/ 2 w 15"/>
                  <a:gd name="T11" fmla="*/ 6 h 19"/>
                  <a:gd name="T12" fmla="*/ 0 w 15"/>
                  <a:gd name="T13" fmla="*/ 3 h 19"/>
                  <a:gd name="T14" fmla="*/ 5 w 15"/>
                  <a:gd name="T15" fmla="*/ 0 h 19"/>
                  <a:gd name="T16" fmla="*/ 8 w 15"/>
                  <a:gd name="T17" fmla="*/ 2 h 19"/>
                  <a:gd name="T18" fmla="*/ 10 w 15"/>
                  <a:gd name="T19" fmla="*/ 5 h 19"/>
                  <a:gd name="T20" fmla="*/ 11 w 15"/>
                  <a:gd name="T21" fmla="*/ 8 h 19"/>
                  <a:gd name="T22" fmla="*/ 15 w 15"/>
                  <a:gd name="T23" fmla="*/ 11 h 19"/>
                  <a:gd name="T24" fmla="*/ 15 w 15"/>
                  <a:gd name="T25" fmla="*/ 16 h 19"/>
                  <a:gd name="T26" fmla="*/ 13 w 15"/>
                  <a:gd name="T27" fmla="*/ 19 h 19"/>
                  <a:gd name="T28" fmla="*/ 13 w 15"/>
                  <a:gd name="T29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5" h="19">
                    <a:moveTo>
                      <a:pt x="13" y="19"/>
                    </a:moveTo>
                    <a:lnTo>
                      <a:pt x="10" y="16"/>
                    </a:lnTo>
                    <a:lnTo>
                      <a:pt x="7" y="16"/>
                    </a:lnTo>
                    <a:lnTo>
                      <a:pt x="5" y="13"/>
                    </a:lnTo>
                    <a:lnTo>
                      <a:pt x="5" y="10"/>
                    </a:lnTo>
                    <a:lnTo>
                      <a:pt x="2" y="6"/>
                    </a:lnTo>
                    <a:lnTo>
                      <a:pt x="0" y="3"/>
                    </a:lnTo>
                    <a:lnTo>
                      <a:pt x="5" y="0"/>
                    </a:lnTo>
                    <a:lnTo>
                      <a:pt x="8" y="2"/>
                    </a:lnTo>
                    <a:lnTo>
                      <a:pt x="10" y="5"/>
                    </a:lnTo>
                    <a:lnTo>
                      <a:pt x="11" y="8"/>
                    </a:lnTo>
                    <a:lnTo>
                      <a:pt x="15" y="11"/>
                    </a:lnTo>
                    <a:lnTo>
                      <a:pt x="15" y="16"/>
                    </a:lnTo>
                    <a:lnTo>
                      <a:pt x="13" y="19"/>
                    </a:lnTo>
                    <a:lnTo>
                      <a:pt x="13" y="19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07" name="Freeform 1621"/>
              <p:cNvSpPr>
                <a:spLocks noChangeAspect="1"/>
              </p:cNvSpPr>
              <p:nvPr/>
            </p:nvSpPr>
            <p:spPr bwMode="auto">
              <a:xfrm>
                <a:off x="2337753" y="3487036"/>
                <a:ext cx="3574" cy="6590"/>
              </a:xfrm>
              <a:custGeom>
                <a:avLst/>
                <a:gdLst>
                  <a:gd name="T0" fmla="*/ 3 w 6"/>
                  <a:gd name="T1" fmla="*/ 12 h 12"/>
                  <a:gd name="T2" fmla="*/ 0 w 6"/>
                  <a:gd name="T3" fmla="*/ 8 h 12"/>
                  <a:gd name="T4" fmla="*/ 0 w 6"/>
                  <a:gd name="T5" fmla="*/ 0 h 12"/>
                  <a:gd name="T6" fmla="*/ 3 w 6"/>
                  <a:gd name="T7" fmla="*/ 2 h 12"/>
                  <a:gd name="T8" fmla="*/ 6 w 6"/>
                  <a:gd name="T9" fmla="*/ 5 h 12"/>
                  <a:gd name="T10" fmla="*/ 6 w 6"/>
                  <a:gd name="T11" fmla="*/ 10 h 12"/>
                  <a:gd name="T12" fmla="*/ 3 w 6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2">
                    <a:moveTo>
                      <a:pt x="3" y="12"/>
                    </a:moveTo>
                    <a:lnTo>
                      <a:pt x="0" y="8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6" y="5"/>
                    </a:lnTo>
                    <a:lnTo>
                      <a:pt x="6" y="10"/>
                    </a:lnTo>
                    <a:lnTo>
                      <a:pt x="3" y="1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08" name="Freeform 1622"/>
              <p:cNvSpPr>
                <a:spLocks noChangeAspect="1"/>
              </p:cNvSpPr>
              <p:nvPr/>
            </p:nvSpPr>
            <p:spPr bwMode="auto">
              <a:xfrm>
                <a:off x="2303204" y="3484401"/>
                <a:ext cx="3574" cy="7908"/>
              </a:xfrm>
              <a:custGeom>
                <a:avLst/>
                <a:gdLst>
                  <a:gd name="T0" fmla="*/ 3 w 6"/>
                  <a:gd name="T1" fmla="*/ 11 h 11"/>
                  <a:gd name="T2" fmla="*/ 0 w 6"/>
                  <a:gd name="T3" fmla="*/ 8 h 11"/>
                  <a:gd name="T4" fmla="*/ 2 w 6"/>
                  <a:gd name="T5" fmla="*/ 3 h 11"/>
                  <a:gd name="T6" fmla="*/ 5 w 6"/>
                  <a:gd name="T7" fmla="*/ 0 h 11"/>
                  <a:gd name="T8" fmla="*/ 6 w 6"/>
                  <a:gd name="T9" fmla="*/ 3 h 11"/>
                  <a:gd name="T10" fmla="*/ 5 w 6"/>
                  <a:gd name="T11" fmla="*/ 8 h 11"/>
                  <a:gd name="T12" fmla="*/ 3 w 6"/>
                  <a:gd name="T13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11">
                    <a:moveTo>
                      <a:pt x="3" y="11"/>
                    </a:moveTo>
                    <a:lnTo>
                      <a:pt x="0" y="8"/>
                    </a:lnTo>
                    <a:lnTo>
                      <a:pt x="2" y="3"/>
                    </a:lnTo>
                    <a:lnTo>
                      <a:pt x="5" y="0"/>
                    </a:lnTo>
                    <a:lnTo>
                      <a:pt x="6" y="3"/>
                    </a:lnTo>
                    <a:lnTo>
                      <a:pt x="5" y="8"/>
                    </a:lnTo>
                    <a:lnTo>
                      <a:pt x="3" y="1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09" name="Freeform 1623"/>
              <p:cNvSpPr>
                <a:spLocks noChangeAspect="1"/>
              </p:cNvSpPr>
              <p:nvPr/>
            </p:nvSpPr>
            <p:spPr bwMode="auto">
              <a:xfrm>
                <a:off x="2309161" y="3467268"/>
                <a:ext cx="4765" cy="9226"/>
              </a:xfrm>
              <a:custGeom>
                <a:avLst/>
                <a:gdLst>
                  <a:gd name="T0" fmla="*/ 4 w 8"/>
                  <a:gd name="T1" fmla="*/ 15 h 15"/>
                  <a:gd name="T2" fmla="*/ 0 w 8"/>
                  <a:gd name="T3" fmla="*/ 11 h 15"/>
                  <a:gd name="T4" fmla="*/ 0 w 8"/>
                  <a:gd name="T5" fmla="*/ 8 h 15"/>
                  <a:gd name="T6" fmla="*/ 2 w 8"/>
                  <a:gd name="T7" fmla="*/ 5 h 15"/>
                  <a:gd name="T8" fmla="*/ 4 w 8"/>
                  <a:gd name="T9" fmla="*/ 0 h 15"/>
                  <a:gd name="T10" fmla="*/ 8 w 8"/>
                  <a:gd name="T11" fmla="*/ 5 h 15"/>
                  <a:gd name="T12" fmla="*/ 7 w 8"/>
                  <a:gd name="T13" fmla="*/ 8 h 15"/>
                  <a:gd name="T14" fmla="*/ 7 w 8"/>
                  <a:gd name="T15" fmla="*/ 11 h 15"/>
                  <a:gd name="T16" fmla="*/ 4 w 8"/>
                  <a:gd name="T1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8" h="15">
                    <a:moveTo>
                      <a:pt x="4" y="15"/>
                    </a:moveTo>
                    <a:lnTo>
                      <a:pt x="0" y="11"/>
                    </a:lnTo>
                    <a:lnTo>
                      <a:pt x="0" y="8"/>
                    </a:lnTo>
                    <a:lnTo>
                      <a:pt x="2" y="5"/>
                    </a:lnTo>
                    <a:lnTo>
                      <a:pt x="4" y="0"/>
                    </a:lnTo>
                    <a:lnTo>
                      <a:pt x="8" y="5"/>
                    </a:lnTo>
                    <a:lnTo>
                      <a:pt x="7" y="8"/>
                    </a:lnTo>
                    <a:lnTo>
                      <a:pt x="7" y="11"/>
                    </a:lnTo>
                    <a:lnTo>
                      <a:pt x="4" y="1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10" name="Freeform 1624"/>
              <p:cNvSpPr>
                <a:spLocks noChangeAspect="1"/>
              </p:cNvSpPr>
              <p:nvPr/>
            </p:nvSpPr>
            <p:spPr bwMode="auto">
              <a:xfrm>
                <a:off x="2223383" y="3356561"/>
                <a:ext cx="4765" cy="1318"/>
              </a:xfrm>
              <a:custGeom>
                <a:avLst/>
                <a:gdLst>
                  <a:gd name="T0" fmla="*/ 0 w 6"/>
                  <a:gd name="T1" fmla="*/ 3 h 3"/>
                  <a:gd name="T2" fmla="*/ 3 w 6"/>
                  <a:gd name="T3" fmla="*/ 0 h 3"/>
                  <a:gd name="T4" fmla="*/ 6 w 6"/>
                  <a:gd name="T5" fmla="*/ 0 h 3"/>
                  <a:gd name="T6" fmla="*/ 3 w 6"/>
                  <a:gd name="T7" fmla="*/ 3 h 3"/>
                  <a:gd name="T8" fmla="*/ 0 w 6"/>
                  <a:gd name="T9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3">
                    <a:moveTo>
                      <a:pt x="0" y="3"/>
                    </a:moveTo>
                    <a:lnTo>
                      <a:pt x="3" y="0"/>
                    </a:lnTo>
                    <a:lnTo>
                      <a:pt x="6" y="0"/>
                    </a:lnTo>
                    <a:lnTo>
                      <a:pt x="3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GB" dirty="0"/>
              </a:p>
            </p:txBody>
          </p:sp>
          <p:sp>
            <p:nvSpPr>
              <p:cNvPr id="411" name="Freeform 1625"/>
              <p:cNvSpPr>
                <a:spLocks noChangeAspect="1"/>
              </p:cNvSpPr>
              <p:nvPr/>
            </p:nvSpPr>
            <p:spPr bwMode="auto">
              <a:xfrm>
                <a:off x="2291290" y="3516032"/>
                <a:ext cx="3574" cy="6590"/>
              </a:xfrm>
              <a:custGeom>
                <a:avLst/>
                <a:gdLst>
                  <a:gd name="T0" fmla="*/ 4 w 7"/>
                  <a:gd name="T1" fmla="*/ 9 h 9"/>
                  <a:gd name="T2" fmla="*/ 0 w 7"/>
                  <a:gd name="T3" fmla="*/ 6 h 9"/>
                  <a:gd name="T4" fmla="*/ 2 w 7"/>
                  <a:gd name="T5" fmla="*/ 1 h 9"/>
                  <a:gd name="T6" fmla="*/ 5 w 7"/>
                  <a:gd name="T7" fmla="*/ 0 h 9"/>
                  <a:gd name="T8" fmla="*/ 7 w 7"/>
                  <a:gd name="T9" fmla="*/ 3 h 9"/>
                  <a:gd name="T10" fmla="*/ 5 w 7"/>
                  <a:gd name="T11" fmla="*/ 6 h 9"/>
                  <a:gd name="T12" fmla="*/ 4 w 7"/>
                  <a:gd name="T13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9">
                    <a:moveTo>
                      <a:pt x="4" y="9"/>
                    </a:moveTo>
                    <a:lnTo>
                      <a:pt x="0" y="6"/>
                    </a:lnTo>
                    <a:lnTo>
                      <a:pt x="2" y="1"/>
                    </a:lnTo>
                    <a:lnTo>
                      <a:pt x="5" y="0"/>
                    </a:lnTo>
                    <a:lnTo>
                      <a:pt x="7" y="3"/>
                    </a:lnTo>
                    <a:lnTo>
                      <a:pt x="5" y="6"/>
                    </a:lnTo>
                    <a:lnTo>
                      <a:pt x="4" y="9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12" name="Freeform 1626"/>
              <p:cNvSpPr>
                <a:spLocks noChangeAspect="1"/>
              </p:cNvSpPr>
              <p:nvPr/>
            </p:nvSpPr>
            <p:spPr bwMode="auto">
              <a:xfrm>
                <a:off x="2236488" y="3367106"/>
                <a:ext cx="5957" cy="1318"/>
              </a:xfrm>
              <a:custGeom>
                <a:avLst/>
                <a:gdLst>
                  <a:gd name="T0" fmla="*/ 0 w 11"/>
                  <a:gd name="T1" fmla="*/ 3 h 3"/>
                  <a:gd name="T2" fmla="*/ 0 w 11"/>
                  <a:gd name="T3" fmla="*/ 0 h 3"/>
                  <a:gd name="T4" fmla="*/ 4 w 11"/>
                  <a:gd name="T5" fmla="*/ 0 h 3"/>
                  <a:gd name="T6" fmla="*/ 8 w 11"/>
                  <a:gd name="T7" fmla="*/ 2 h 3"/>
                  <a:gd name="T8" fmla="*/ 11 w 11"/>
                  <a:gd name="T9" fmla="*/ 0 h 3"/>
                  <a:gd name="T10" fmla="*/ 8 w 11"/>
                  <a:gd name="T11" fmla="*/ 3 h 3"/>
                  <a:gd name="T12" fmla="*/ 4 w 11"/>
                  <a:gd name="T13" fmla="*/ 3 h 3"/>
                  <a:gd name="T14" fmla="*/ 0 w 11"/>
                  <a:gd name="T15" fmla="*/ 3 h 3"/>
                  <a:gd name="T16" fmla="*/ 0 w 11"/>
                  <a:gd name="T1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1" h="3">
                    <a:moveTo>
                      <a:pt x="0" y="3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8" y="3"/>
                    </a:lnTo>
                    <a:lnTo>
                      <a:pt x="4" y="3"/>
                    </a:lnTo>
                    <a:lnTo>
                      <a:pt x="0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13" name="Freeform 1627"/>
              <p:cNvSpPr>
                <a:spLocks noChangeAspect="1"/>
              </p:cNvSpPr>
              <p:nvPr/>
            </p:nvSpPr>
            <p:spPr bwMode="auto">
              <a:xfrm>
                <a:off x="2236488" y="3351290"/>
                <a:ext cx="1191" cy="1318"/>
              </a:xfrm>
              <a:custGeom>
                <a:avLst/>
                <a:gdLst>
                  <a:gd name="T0" fmla="*/ 4 w 4"/>
                  <a:gd name="T1" fmla="*/ 2 h 2"/>
                  <a:gd name="T2" fmla="*/ 0 w 4"/>
                  <a:gd name="T3" fmla="*/ 0 h 2"/>
                  <a:gd name="T4" fmla="*/ 4 w 4"/>
                  <a:gd name="T5" fmla="*/ 0 h 2"/>
                  <a:gd name="T6" fmla="*/ 4 w 4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2">
                    <a:moveTo>
                      <a:pt x="4" y="2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4" y="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14" name="Freeform 1628"/>
              <p:cNvSpPr>
                <a:spLocks noChangeAspect="1"/>
              </p:cNvSpPr>
              <p:nvPr/>
            </p:nvSpPr>
            <p:spPr bwMode="auto">
              <a:xfrm>
                <a:off x="2249592" y="3340746"/>
                <a:ext cx="1191" cy="1318"/>
              </a:xfrm>
              <a:custGeom>
                <a:avLst/>
                <a:gdLst>
                  <a:gd name="T0" fmla="*/ 3 w 3"/>
                  <a:gd name="T1" fmla="*/ 2 h 2"/>
                  <a:gd name="T2" fmla="*/ 0 w 3"/>
                  <a:gd name="T3" fmla="*/ 0 h 2"/>
                  <a:gd name="T4" fmla="*/ 3 w 3"/>
                  <a:gd name="T5" fmla="*/ 0 h 2"/>
                  <a:gd name="T6" fmla="*/ 3 w 3"/>
                  <a:gd name="T7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2">
                    <a:moveTo>
                      <a:pt x="3" y="2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15" name="Freeform 1629"/>
              <p:cNvSpPr>
                <a:spLocks noChangeAspect="1"/>
              </p:cNvSpPr>
              <p:nvPr/>
            </p:nvSpPr>
            <p:spPr bwMode="auto">
              <a:xfrm>
                <a:off x="2273420" y="3352608"/>
                <a:ext cx="4765" cy="3954"/>
              </a:xfrm>
              <a:custGeom>
                <a:avLst/>
                <a:gdLst>
                  <a:gd name="T0" fmla="*/ 0 w 6"/>
                  <a:gd name="T1" fmla="*/ 5 h 5"/>
                  <a:gd name="T2" fmla="*/ 3 w 6"/>
                  <a:gd name="T3" fmla="*/ 2 h 5"/>
                  <a:gd name="T4" fmla="*/ 6 w 6"/>
                  <a:gd name="T5" fmla="*/ 0 h 5"/>
                  <a:gd name="T6" fmla="*/ 3 w 6"/>
                  <a:gd name="T7" fmla="*/ 4 h 5"/>
                  <a:gd name="T8" fmla="*/ 0 w 6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5">
                    <a:moveTo>
                      <a:pt x="0" y="5"/>
                    </a:moveTo>
                    <a:lnTo>
                      <a:pt x="3" y="2"/>
                    </a:lnTo>
                    <a:lnTo>
                      <a:pt x="6" y="0"/>
                    </a:lnTo>
                    <a:lnTo>
                      <a:pt x="3" y="4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16" name="Freeform 1630"/>
              <p:cNvSpPr>
                <a:spLocks noChangeAspect="1"/>
              </p:cNvSpPr>
              <p:nvPr/>
            </p:nvSpPr>
            <p:spPr bwMode="auto">
              <a:xfrm>
                <a:off x="2278185" y="3376332"/>
                <a:ext cx="4765" cy="5272"/>
              </a:xfrm>
              <a:custGeom>
                <a:avLst/>
                <a:gdLst>
                  <a:gd name="T0" fmla="*/ 8 w 8"/>
                  <a:gd name="T1" fmla="*/ 6 h 6"/>
                  <a:gd name="T2" fmla="*/ 5 w 8"/>
                  <a:gd name="T3" fmla="*/ 3 h 6"/>
                  <a:gd name="T4" fmla="*/ 0 w 8"/>
                  <a:gd name="T5" fmla="*/ 0 h 6"/>
                  <a:gd name="T6" fmla="*/ 5 w 8"/>
                  <a:gd name="T7" fmla="*/ 0 h 6"/>
                  <a:gd name="T8" fmla="*/ 6 w 8"/>
                  <a:gd name="T9" fmla="*/ 3 h 6"/>
                  <a:gd name="T10" fmla="*/ 8 w 8"/>
                  <a:gd name="T11" fmla="*/ 6 h 6"/>
                  <a:gd name="T12" fmla="*/ 8 w 8"/>
                  <a:gd name="T1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6">
                    <a:moveTo>
                      <a:pt x="8" y="6"/>
                    </a:moveTo>
                    <a:lnTo>
                      <a:pt x="5" y="3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6" y="3"/>
                    </a:lnTo>
                    <a:lnTo>
                      <a:pt x="8" y="6"/>
                    </a:lnTo>
                    <a:lnTo>
                      <a:pt x="8" y="6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17" name="Freeform 1631"/>
              <p:cNvSpPr>
                <a:spLocks noChangeAspect="1"/>
              </p:cNvSpPr>
              <p:nvPr/>
            </p:nvSpPr>
            <p:spPr bwMode="auto">
              <a:xfrm>
                <a:off x="2282951" y="3381603"/>
                <a:ext cx="1191" cy="3954"/>
              </a:xfrm>
              <a:custGeom>
                <a:avLst/>
                <a:gdLst>
                  <a:gd name="T0" fmla="*/ 0 w 1"/>
                  <a:gd name="T1" fmla="*/ 5 h 5"/>
                  <a:gd name="T2" fmla="*/ 0 w 1"/>
                  <a:gd name="T3" fmla="*/ 0 h 5"/>
                  <a:gd name="T4" fmla="*/ 1 w 1"/>
                  <a:gd name="T5" fmla="*/ 3 h 5"/>
                  <a:gd name="T6" fmla="*/ 0 w 1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5">
                    <a:moveTo>
                      <a:pt x="0" y="5"/>
                    </a:moveTo>
                    <a:lnTo>
                      <a:pt x="0" y="0"/>
                    </a:lnTo>
                    <a:lnTo>
                      <a:pt x="1" y="3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18" name="Freeform 1632"/>
              <p:cNvSpPr>
                <a:spLocks noChangeAspect="1"/>
              </p:cNvSpPr>
              <p:nvPr/>
            </p:nvSpPr>
            <p:spPr bwMode="auto">
              <a:xfrm>
                <a:off x="2298439" y="3382921"/>
                <a:ext cx="3574" cy="3954"/>
              </a:xfrm>
              <a:custGeom>
                <a:avLst/>
                <a:gdLst>
                  <a:gd name="T0" fmla="*/ 5 w 6"/>
                  <a:gd name="T1" fmla="*/ 7 h 7"/>
                  <a:gd name="T2" fmla="*/ 2 w 6"/>
                  <a:gd name="T3" fmla="*/ 7 h 7"/>
                  <a:gd name="T4" fmla="*/ 0 w 6"/>
                  <a:gd name="T5" fmla="*/ 4 h 7"/>
                  <a:gd name="T6" fmla="*/ 3 w 6"/>
                  <a:gd name="T7" fmla="*/ 0 h 7"/>
                  <a:gd name="T8" fmla="*/ 6 w 6"/>
                  <a:gd name="T9" fmla="*/ 2 h 7"/>
                  <a:gd name="T10" fmla="*/ 5 w 6"/>
                  <a:gd name="T11" fmla="*/ 7 h 7"/>
                  <a:gd name="T12" fmla="*/ 5 w 6"/>
                  <a:gd name="T13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" h="7">
                    <a:moveTo>
                      <a:pt x="5" y="7"/>
                    </a:moveTo>
                    <a:lnTo>
                      <a:pt x="2" y="7"/>
                    </a:lnTo>
                    <a:lnTo>
                      <a:pt x="0" y="4"/>
                    </a:lnTo>
                    <a:lnTo>
                      <a:pt x="3" y="0"/>
                    </a:lnTo>
                    <a:lnTo>
                      <a:pt x="6" y="2"/>
                    </a:lnTo>
                    <a:lnTo>
                      <a:pt x="5" y="7"/>
                    </a:lnTo>
                    <a:lnTo>
                      <a:pt x="5" y="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19" name="Freeform 1633"/>
              <p:cNvSpPr>
                <a:spLocks noChangeAspect="1"/>
              </p:cNvSpPr>
              <p:nvPr/>
            </p:nvSpPr>
            <p:spPr bwMode="auto">
              <a:xfrm>
                <a:off x="2300821" y="3368424"/>
                <a:ext cx="2383" cy="3954"/>
              </a:xfrm>
              <a:custGeom>
                <a:avLst/>
                <a:gdLst>
                  <a:gd name="T0" fmla="*/ 3 w 5"/>
                  <a:gd name="T1" fmla="*/ 7 h 7"/>
                  <a:gd name="T2" fmla="*/ 0 w 5"/>
                  <a:gd name="T3" fmla="*/ 5 h 7"/>
                  <a:gd name="T4" fmla="*/ 0 w 5"/>
                  <a:gd name="T5" fmla="*/ 2 h 7"/>
                  <a:gd name="T6" fmla="*/ 3 w 5"/>
                  <a:gd name="T7" fmla="*/ 0 h 7"/>
                  <a:gd name="T8" fmla="*/ 5 w 5"/>
                  <a:gd name="T9" fmla="*/ 5 h 7"/>
                  <a:gd name="T10" fmla="*/ 3 w 5"/>
                  <a:gd name="T11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7">
                    <a:moveTo>
                      <a:pt x="3" y="7"/>
                    </a:moveTo>
                    <a:lnTo>
                      <a:pt x="0" y="5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5" y="5"/>
                    </a:lnTo>
                    <a:lnTo>
                      <a:pt x="3" y="7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20" name="Freeform 1634"/>
              <p:cNvSpPr>
                <a:spLocks noChangeAspect="1"/>
              </p:cNvSpPr>
              <p:nvPr/>
            </p:nvSpPr>
            <p:spPr bwMode="auto">
              <a:xfrm>
                <a:off x="2304398" y="3423777"/>
                <a:ext cx="3574" cy="11862"/>
              </a:xfrm>
              <a:custGeom>
                <a:avLst/>
                <a:gdLst>
                  <a:gd name="T0" fmla="*/ 1 w 6"/>
                  <a:gd name="T1" fmla="*/ 18 h 18"/>
                  <a:gd name="T2" fmla="*/ 0 w 6"/>
                  <a:gd name="T3" fmla="*/ 8 h 18"/>
                  <a:gd name="T4" fmla="*/ 0 w 6"/>
                  <a:gd name="T5" fmla="*/ 0 h 18"/>
                  <a:gd name="T6" fmla="*/ 3 w 6"/>
                  <a:gd name="T7" fmla="*/ 2 h 18"/>
                  <a:gd name="T8" fmla="*/ 6 w 6"/>
                  <a:gd name="T9" fmla="*/ 5 h 18"/>
                  <a:gd name="T10" fmla="*/ 6 w 6"/>
                  <a:gd name="T11" fmla="*/ 13 h 18"/>
                  <a:gd name="T12" fmla="*/ 4 w 6"/>
                  <a:gd name="T13" fmla="*/ 16 h 18"/>
                  <a:gd name="T14" fmla="*/ 1 w 6"/>
                  <a:gd name="T15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" h="18">
                    <a:moveTo>
                      <a:pt x="1" y="18"/>
                    </a:moveTo>
                    <a:lnTo>
                      <a:pt x="0" y="8"/>
                    </a:lnTo>
                    <a:lnTo>
                      <a:pt x="0" y="0"/>
                    </a:lnTo>
                    <a:lnTo>
                      <a:pt x="3" y="2"/>
                    </a:lnTo>
                    <a:lnTo>
                      <a:pt x="6" y="5"/>
                    </a:lnTo>
                    <a:lnTo>
                      <a:pt x="6" y="13"/>
                    </a:lnTo>
                    <a:lnTo>
                      <a:pt x="4" y="16"/>
                    </a:lnTo>
                    <a:lnTo>
                      <a:pt x="1" y="1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21" name="Freeform 1635"/>
              <p:cNvSpPr>
                <a:spLocks noChangeAspect="1"/>
              </p:cNvSpPr>
              <p:nvPr/>
            </p:nvSpPr>
            <p:spPr bwMode="auto">
              <a:xfrm>
                <a:off x="2292485" y="3378968"/>
                <a:ext cx="3574" cy="3954"/>
              </a:xfrm>
              <a:custGeom>
                <a:avLst/>
                <a:gdLst>
                  <a:gd name="T0" fmla="*/ 6 w 6"/>
                  <a:gd name="T1" fmla="*/ 5 h 6"/>
                  <a:gd name="T2" fmla="*/ 6 w 6"/>
                  <a:gd name="T3" fmla="*/ 3 h 6"/>
                  <a:gd name="T4" fmla="*/ 6 w 6"/>
                  <a:gd name="T5" fmla="*/ 3 h 6"/>
                  <a:gd name="T6" fmla="*/ 6 w 6"/>
                  <a:gd name="T7" fmla="*/ 2 h 6"/>
                  <a:gd name="T8" fmla="*/ 4 w 6"/>
                  <a:gd name="T9" fmla="*/ 2 h 6"/>
                  <a:gd name="T10" fmla="*/ 4 w 6"/>
                  <a:gd name="T11" fmla="*/ 2 h 6"/>
                  <a:gd name="T12" fmla="*/ 4 w 6"/>
                  <a:gd name="T13" fmla="*/ 2 h 6"/>
                  <a:gd name="T14" fmla="*/ 4 w 6"/>
                  <a:gd name="T15" fmla="*/ 2 h 6"/>
                  <a:gd name="T16" fmla="*/ 4 w 6"/>
                  <a:gd name="T17" fmla="*/ 2 h 6"/>
                  <a:gd name="T18" fmla="*/ 4 w 6"/>
                  <a:gd name="T19" fmla="*/ 2 h 6"/>
                  <a:gd name="T20" fmla="*/ 4 w 6"/>
                  <a:gd name="T21" fmla="*/ 2 h 6"/>
                  <a:gd name="T22" fmla="*/ 4 w 6"/>
                  <a:gd name="T23" fmla="*/ 0 h 6"/>
                  <a:gd name="T24" fmla="*/ 1 w 6"/>
                  <a:gd name="T25" fmla="*/ 0 h 6"/>
                  <a:gd name="T26" fmla="*/ 1 w 6"/>
                  <a:gd name="T27" fmla="*/ 2 h 6"/>
                  <a:gd name="T28" fmla="*/ 1 w 6"/>
                  <a:gd name="T29" fmla="*/ 2 h 6"/>
                  <a:gd name="T30" fmla="*/ 1 w 6"/>
                  <a:gd name="T31" fmla="*/ 2 h 6"/>
                  <a:gd name="T32" fmla="*/ 1 w 6"/>
                  <a:gd name="T33" fmla="*/ 2 h 6"/>
                  <a:gd name="T34" fmla="*/ 1 w 6"/>
                  <a:gd name="T35" fmla="*/ 2 h 6"/>
                  <a:gd name="T36" fmla="*/ 0 w 6"/>
                  <a:gd name="T37" fmla="*/ 2 h 6"/>
                  <a:gd name="T38" fmla="*/ 0 w 6"/>
                  <a:gd name="T39" fmla="*/ 2 h 6"/>
                  <a:gd name="T40" fmla="*/ 0 w 6"/>
                  <a:gd name="T41" fmla="*/ 2 h 6"/>
                  <a:gd name="T42" fmla="*/ 0 w 6"/>
                  <a:gd name="T43" fmla="*/ 3 h 6"/>
                  <a:gd name="T44" fmla="*/ 0 w 6"/>
                  <a:gd name="T45" fmla="*/ 3 h 6"/>
                  <a:gd name="T46" fmla="*/ 0 w 6"/>
                  <a:gd name="T47" fmla="*/ 5 h 6"/>
                  <a:gd name="T48" fmla="*/ 0 w 6"/>
                  <a:gd name="T49" fmla="*/ 5 h 6"/>
                  <a:gd name="T50" fmla="*/ 0 w 6"/>
                  <a:gd name="T51" fmla="*/ 5 h 6"/>
                  <a:gd name="T52" fmla="*/ 0 w 6"/>
                  <a:gd name="T53" fmla="*/ 5 h 6"/>
                  <a:gd name="T54" fmla="*/ 0 w 6"/>
                  <a:gd name="T55" fmla="*/ 6 h 6"/>
                  <a:gd name="T56" fmla="*/ 1 w 6"/>
                  <a:gd name="T57" fmla="*/ 6 h 6"/>
                  <a:gd name="T58" fmla="*/ 1 w 6"/>
                  <a:gd name="T59" fmla="*/ 6 h 6"/>
                  <a:gd name="T60" fmla="*/ 1 w 6"/>
                  <a:gd name="T61" fmla="*/ 6 h 6"/>
                  <a:gd name="T62" fmla="*/ 1 w 6"/>
                  <a:gd name="T63" fmla="*/ 6 h 6"/>
                  <a:gd name="T64" fmla="*/ 1 w 6"/>
                  <a:gd name="T65" fmla="*/ 6 h 6"/>
                  <a:gd name="T66" fmla="*/ 1 w 6"/>
                  <a:gd name="T67" fmla="*/ 6 h 6"/>
                  <a:gd name="T68" fmla="*/ 3 w 6"/>
                  <a:gd name="T69" fmla="*/ 6 h 6"/>
                  <a:gd name="T70" fmla="*/ 4 w 6"/>
                  <a:gd name="T71" fmla="*/ 6 h 6"/>
                  <a:gd name="T72" fmla="*/ 4 w 6"/>
                  <a:gd name="T73" fmla="*/ 6 h 6"/>
                  <a:gd name="T74" fmla="*/ 4 w 6"/>
                  <a:gd name="T75" fmla="*/ 6 h 6"/>
                  <a:gd name="T76" fmla="*/ 4 w 6"/>
                  <a:gd name="T77" fmla="*/ 6 h 6"/>
                  <a:gd name="T78" fmla="*/ 4 w 6"/>
                  <a:gd name="T79" fmla="*/ 6 h 6"/>
                  <a:gd name="T80" fmla="*/ 4 w 6"/>
                  <a:gd name="T81" fmla="*/ 6 h 6"/>
                  <a:gd name="T82" fmla="*/ 4 w 6"/>
                  <a:gd name="T83" fmla="*/ 5 h 6"/>
                  <a:gd name="T84" fmla="*/ 6 w 6"/>
                  <a:gd name="T85" fmla="*/ 5 h 6"/>
                  <a:gd name="T86" fmla="*/ 6 w 6"/>
                  <a:gd name="T87" fmla="*/ 5 h 6"/>
                  <a:gd name="T88" fmla="*/ 6 w 6"/>
                  <a:gd name="T89" fmla="*/ 5 h 6"/>
                  <a:gd name="T90" fmla="*/ 6 w 6"/>
                  <a:gd name="T91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" h="6">
                    <a:moveTo>
                      <a:pt x="6" y="5"/>
                    </a:moveTo>
                    <a:lnTo>
                      <a:pt x="6" y="3"/>
                    </a:lnTo>
                    <a:lnTo>
                      <a:pt x="6" y="3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3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22" name="Freeform 1636"/>
              <p:cNvSpPr>
                <a:spLocks noChangeAspect="1"/>
              </p:cNvSpPr>
              <p:nvPr/>
            </p:nvSpPr>
            <p:spPr bwMode="auto">
              <a:xfrm>
                <a:off x="2293676" y="3363152"/>
                <a:ext cx="3574" cy="3954"/>
              </a:xfrm>
              <a:custGeom>
                <a:avLst/>
                <a:gdLst>
                  <a:gd name="T0" fmla="*/ 6 w 6"/>
                  <a:gd name="T1" fmla="*/ 3 h 7"/>
                  <a:gd name="T2" fmla="*/ 6 w 6"/>
                  <a:gd name="T3" fmla="*/ 3 h 7"/>
                  <a:gd name="T4" fmla="*/ 6 w 6"/>
                  <a:gd name="T5" fmla="*/ 3 h 7"/>
                  <a:gd name="T6" fmla="*/ 6 w 6"/>
                  <a:gd name="T7" fmla="*/ 2 h 7"/>
                  <a:gd name="T8" fmla="*/ 6 w 6"/>
                  <a:gd name="T9" fmla="*/ 2 h 7"/>
                  <a:gd name="T10" fmla="*/ 6 w 6"/>
                  <a:gd name="T11" fmla="*/ 2 h 7"/>
                  <a:gd name="T12" fmla="*/ 6 w 6"/>
                  <a:gd name="T13" fmla="*/ 2 h 7"/>
                  <a:gd name="T14" fmla="*/ 6 w 6"/>
                  <a:gd name="T15" fmla="*/ 2 h 7"/>
                  <a:gd name="T16" fmla="*/ 5 w 6"/>
                  <a:gd name="T17" fmla="*/ 2 h 7"/>
                  <a:gd name="T18" fmla="*/ 5 w 6"/>
                  <a:gd name="T19" fmla="*/ 0 h 7"/>
                  <a:gd name="T20" fmla="*/ 5 w 6"/>
                  <a:gd name="T21" fmla="*/ 0 h 7"/>
                  <a:gd name="T22" fmla="*/ 5 w 6"/>
                  <a:gd name="T23" fmla="*/ 0 h 7"/>
                  <a:gd name="T24" fmla="*/ 3 w 6"/>
                  <a:gd name="T25" fmla="*/ 0 h 7"/>
                  <a:gd name="T26" fmla="*/ 3 w 6"/>
                  <a:gd name="T27" fmla="*/ 0 h 7"/>
                  <a:gd name="T28" fmla="*/ 2 w 6"/>
                  <a:gd name="T29" fmla="*/ 0 h 7"/>
                  <a:gd name="T30" fmla="*/ 2 w 6"/>
                  <a:gd name="T31" fmla="*/ 2 h 7"/>
                  <a:gd name="T32" fmla="*/ 2 w 6"/>
                  <a:gd name="T33" fmla="*/ 2 h 7"/>
                  <a:gd name="T34" fmla="*/ 2 w 6"/>
                  <a:gd name="T35" fmla="*/ 2 h 7"/>
                  <a:gd name="T36" fmla="*/ 2 w 6"/>
                  <a:gd name="T37" fmla="*/ 2 h 7"/>
                  <a:gd name="T38" fmla="*/ 2 w 6"/>
                  <a:gd name="T39" fmla="*/ 2 h 7"/>
                  <a:gd name="T40" fmla="*/ 2 w 6"/>
                  <a:gd name="T41" fmla="*/ 2 h 7"/>
                  <a:gd name="T42" fmla="*/ 2 w 6"/>
                  <a:gd name="T43" fmla="*/ 3 h 7"/>
                  <a:gd name="T44" fmla="*/ 0 w 6"/>
                  <a:gd name="T45" fmla="*/ 3 h 7"/>
                  <a:gd name="T46" fmla="*/ 0 w 6"/>
                  <a:gd name="T47" fmla="*/ 5 h 7"/>
                  <a:gd name="T48" fmla="*/ 2 w 6"/>
                  <a:gd name="T49" fmla="*/ 5 h 7"/>
                  <a:gd name="T50" fmla="*/ 2 w 6"/>
                  <a:gd name="T51" fmla="*/ 5 h 7"/>
                  <a:gd name="T52" fmla="*/ 2 w 6"/>
                  <a:gd name="T53" fmla="*/ 5 h 7"/>
                  <a:gd name="T54" fmla="*/ 2 w 6"/>
                  <a:gd name="T55" fmla="*/ 5 h 7"/>
                  <a:gd name="T56" fmla="*/ 2 w 6"/>
                  <a:gd name="T57" fmla="*/ 5 h 7"/>
                  <a:gd name="T58" fmla="*/ 2 w 6"/>
                  <a:gd name="T59" fmla="*/ 7 h 7"/>
                  <a:gd name="T60" fmla="*/ 2 w 6"/>
                  <a:gd name="T61" fmla="*/ 7 h 7"/>
                  <a:gd name="T62" fmla="*/ 2 w 6"/>
                  <a:gd name="T63" fmla="*/ 7 h 7"/>
                  <a:gd name="T64" fmla="*/ 3 w 6"/>
                  <a:gd name="T65" fmla="*/ 7 h 7"/>
                  <a:gd name="T66" fmla="*/ 3 w 6"/>
                  <a:gd name="T67" fmla="*/ 7 h 7"/>
                  <a:gd name="T68" fmla="*/ 3 w 6"/>
                  <a:gd name="T69" fmla="*/ 7 h 7"/>
                  <a:gd name="T70" fmla="*/ 5 w 6"/>
                  <a:gd name="T71" fmla="*/ 7 h 7"/>
                  <a:gd name="T72" fmla="*/ 5 w 6"/>
                  <a:gd name="T73" fmla="*/ 7 h 7"/>
                  <a:gd name="T74" fmla="*/ 5 w 6"/>
                  <a:gd name="T75" fmla="*/ 7 h 7"/>
                  <a:gd name="T76" fmla="*/ 5 w 6"/>
                  <a:gd name="T77" fmla="*/ 7 h 7"/>
                  <a:gd name="T78" fmla="*/ 6 w 6"/>
                  <a:gd name="T79" fmla="*/ 7 h 7"/>
                  <a:gd name="T80" fmla="*/ 6 w 6"/>
                  <a:gd name="T81" fmla="*/ 5 h 7"/>
                  <a:gd name="T82" fmla="*/ 6 w 6"/>
                  <a:gd name="T83" fmla="*/ 5 h 7"/>
                  <a:gd name="T84" fmla="*/ 6 w 6"/>
                  <a:gd name="T85" fmla="*/ 5 h 7"/>
                  <a:gd name="T86" fmla="*/ 6 w 6"/>
                  <a:gd name="T87" fmla="*/ 5 h 7"/>
                  <a:gd name="T88" fmla="*/ 6 w 6"/>
                  <a:gd name="T89" fmla="*/ 5 h 7"/>
                  <a:gd name="T90" fmla="*/ 6 w 6"/>
                  <a:gd name="T91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" h="7">
                    <a:moveTo>
                      <a:pt x="6" y="3"/>
                    </a:moveTo>
                    <a:lnTo>
                      <a:pt x="6" y="3"/>
                    </a:lnTo>
                    <a:lnTo>
                      <a:pt x="6" y="3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6" y="7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23" name="Freeform 1637"/>
              <p:cNvSpPr>
                <a:spLocks noChangeAspect="1"/>
              </p:cNvSpPr>
              <p:nvPr/>
            </p:nvSpPr>
            <p:spPr bwMode="auto">
              <a:xfrm>
                <a:off x="2292485" y="3378968"/>
                <a:ext cx="3574" cy="3954"/>
              </a:xfrm>
              <a:custGeom>
                <a:avLst/>
                <a:gdLst>
                  <a:gd name="T0" fmla="*/ 6 w 6"/>
                  <a:gd name="T1" fmla="*/ 5 h 6"/>
                  <a:gd name="T2" fmla="*/ 6 w 6"/>
                  <a:gd name="T3" fmla="*/ 3 h 6"/>
                  <a:gd name="T4" fmla="*/ 6 w 6"/>
                  <a:gd name="T5" fmla="*/ 3 h 6"/>
                  <a:gd name="T6" fmla="*/ 6 w 6"/>
                  <a:gd name="T7" fmla="*/ 2 h 6"/>
                  <a:gd name="T8" fmla="*/ 4 w 6"/>
                  <a:gd name="T9" fmla="*/ 2 h 6"/>
                  <a:gd name="T10" fmla="*/ 4 w 6"/>
                  <a:gd name="T11" fmla="*/ 2 h 6"/>
                  <a:gd name="T12" fmla="*/ 4 w 6"/>
                  <a:gd name="T13" fmla="*/ 2 h 6"/>
                  <a:gd name="T14" fmla="*/ 4 w 6"/>
                  <a:gd name="T15" fmla="*/ 2 h 6"/>
                  <a:gd name="T16" fmla="*/ 4 w 6"/>
                  <a:gd name="T17" fmla="*/ 2 h 6"/>
                  <a:gd name="T18" fmla="*/ 4 w 6"/>
                  <a:gd name="T19" fmla="*/ 2 h 6"/>
                  <a:gd name="T20" fmla="*/ 4 w 6"/>
                  <a:gd name="T21" fmla="*/ 2 h 6"/>
                  <a:gd name="T22" fmla="*/ 4 w 6"/>
                  <a:gd name="T23" fmla="*/ 0 h 6"/>
                  <a:gd name="T24" fmla="*/ 1 w 6"/>
                  <a:gd name="T25" fmla="*/ 0 h 6"/>
                  <a:gd name="T26" fmla="*/ 1 w 6"/>
                  <a:gd name="T27" fmla="*/ 2 h 6"/>
                  <a:gd name="T28" fmla="*/ 1 w 6"/>
                  <a:gd name="T29" fmla="*/ 2 h 6"/>
                  <a:gd name="T30" fmla="*/ 1 w 6"/>
                  <a:gd name="T31" fmla="*/ 2 h 6"/>
                  <a:gd name="T32" fmla="*/ 1 w 6"/>
                  <a:gd name="T33" fmla="*/ 2 h 6"/>
                  <a:gd name="T34" fmla="*/ 1 w 6"/>
                  <a:gd name="T35" fmla="*/ 2 h 6"/>
                  <a:gd name="T36" fmla="*/ 0 w 6"/>
                  <a:gd name="T37" fmla="*/ 2 h 6"/>
                  <a:gd name="T38" fmla="*/ 0 w 6"/>
                  <a:gd name="T39" fmla="*/ 2 h 6"/>
                  <a:gd name="T40" fmla="*/ 0 w 6"/>
                  <a:gd name="T41" fmla="*/ 2 h 6"/>
                  <a:gd name="T42" fmla="*/ 0 w 6"/>
                  <a:gd name="T43" fmla="*/ 3 h 6"/>
                  <a:gd name="T44" fmla="*/ 0 w 6"/>
                  <a:gd name="T45" fmla="*/ 3 h 6"/>
                  <a:gd name="T46" fmla="*/ 0 w 6"/>
                  <a:gd name="T47" fmla="*/ 5 h 6"/>
                  <a:gd name="T48" fmla="*/ 0 w 6"/>
                  <a:gd name="T49" fmla="*/ 5 h 6"/>
                  <a:gd name="T50" fmla="*/ 0 w 6"/>
                  <a:gd name="T51" fmla="*/ 5 h 6"/>
                  <a:gd name="T52" fmla="*/ 0 w 6"/>
                  <a:gd name="T53" fmla="*/ 5 h 6"/>
                  <a:gd name="T54" fmla="*/ 0 w 6"/>
                  <a:gd name="T55" fmla="*/ 6 h 6"/>
                  <a:gd name="T56" fmla="*/ 1 w 6"/>
                  <a:gd name="T57" fmla="*/ 6 h 6"/>
                  <a:gd name="T58" fmla="*/ 1 w 6"/>
                  <a:gd name="T59" fmla="*/ 6 h 6"/>
                  <a:gd name="T60" fmla="*/ 1 w 6"/>
                  <a:gd name="T61" fmla="*/ 6 h 6"/>
                  <a:gd name="T62" fmla="*/ 1 w 6"/>
                  <a:gd name="T63" fmla="*/ 6 h 6"/>
                  <a:gd name="T64" fmla="*/ 1 w 6"/>
                  <a:gd name="T65" fmla="*/ 6 h 6"/>
                  <a:gd name="T66" fmla="*/ 1 w 6"/>
                  <a:gd name="T67" fmla="*/ 6 h 6"/>
                  <a:gd name="T68" fmla="*/ 3 w 6"/>
                  <a:gd name="T69" fmla="*/ 6 h 6"/>
                  <a:gd name="T70" fmla="*/ 4 w 6"/>
                  <a:gd name="T71" fmla="*/ 6 h 6"/>
                  <a:gd name="T72" fmla="*/ 4 w 6"/>
                  <a:gd name="T73" fmla="*/ 6 h 6"/>
                  <a:gd name="T74" fmla="*/ 4 w 6"/>
                  <a:gd name="T75" fmla="*/ 6 h 6"/>
                  <a:gd name="T76" fmla="*/ 4 w 6"/>
                  <a:gd name="T77" fmla="*/ 6 h 6"/>
                  <a:gd name="T78" fmla="*/ 4 w 6"/>
                  <a:gd name="T79" fmla="*/ 6 h 6"/>
                  <a:gd name="T80" fmla="*/ 4 w 6"/>
                  <a:gd name="T81" fmla="*/ 6 h 6"/>
                  <a:gd name="T82" fmla="*/ 4 w 6"/>
                  <a:gd name="T83" fmla="*/ 5 h 6"/>
                  <a:gd name="T84" fmla="*/ 6 w 6"/>
                  <a:gd name="T85" fmla="*/ 5 h 6"/>
                  <a:gd name="T86" fmla="*/ 6 w 6"/>
                  <a:gd name="T87" fmla="*/ 5 h 6"/>
                  <a:gd name="T88" fmla="*/ 6 w 6"/>
                  <a:gd name="T89" fmla="*/ 5 h 6"/>
                  <a:gd name="T90" fmla="*/ 6 w 6"/>
                  <a:gd name="T91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" h="6">
                    <a:moveTo>
                      <a:pt x="6" y="5"/>
                    </a:moveTo>
                    <a:lnTo>
                      <a:pt x="6" y="3"/>
                    </a:lnTo>
                    <a:lnTo>
                      <a:pt x="6" y="3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3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24" name="Freeform 1638"/>
              <p:cNvSpPr>
                <a:spLocks noChangeAspect="1"/>
              </p:cNvSpPr>
              <p:nvPr/>
            </p:nvSpPr>
            <p:spPr bwMode="auto">
              <a:xfrm>
                <a:off x="2293676" y="3363152"/>
                <a:ext cx="3574" cy="3954"/>
              </a:xfrm>
              <a:custGeom>
                <a:avLst/>
                <a:gdLst>
                  <a:gd name="T0" fmla="*/ 6 w 6"/>
                  <a:gd name="T1" fmla="*/ 3 h 7"/>
                  <a:gd name="T2" fmla="*/ 6 w 6"/>
                  <a:gd name="T3" fmla="*/ 3 h 7"/>
                  <a:gd name="T4" fmla="*/ 6 w 6"/>
                  <a:gd name="T5" fmla="*/ 3 h 7"/>
                  <a:gd name="T6" fmla="*/ 6 w 6"/>
                  <a:gd name="T7" fmla="*/ 2 h 7"/>
                  <a:gd name="T8" fmla="*/ 6 w 6"/>
                  <a:gd name="T9" fmla="*/ 2 h 7"/>
                  <a:gd name="T10" fmla="*/ 6 w 6"/>
                  <a:gd name="T11" fmla="*/ 2 h 7"/>
                  <a:gd name="T12" fmla="*/ 6 w 6"/>
                  <a:gd name="T13" fmla="*/ 2 h 7"/>
                  <a:gd name="T14" fmla="*/ 6 w 6"/>
                  <a:gd name="T15" fmla="*/ 2 h 7"/>
                  <a:gd name="T16" fmla="*/ 5 w 6"/>
                  <a:gd name="T17" fmla="*/ 2 h 7"/>
                  <a:gd name="T18" fmla="*/ 5 w 6"/>
                  <a:gd name="T19" fmla="*/ 0 h 7"/>
                  <a:gd name="T20" fmla="*/ 5 w 6"/>
                  <a:gd name="T21" fmla="*/ 0 h 7"/>
                  <a:gd name="T22" fmla="*/ 5 w 6"/>
                  <a:gd name="T23" fmla="*/ 0 h 7"/>
                  <a:gd name="T24" fmla="*/ 3 w 6"/>
                  <a:gd name="T25" fmla="*/ 0 h 7"/>
                  <a:gd name="T26" fmla="*/ 3 w 6"/>
                  <a:gd name="T27" fmla="*/ 0 h 7"/>
                  <a:gd name="T28" fmla="*/ 2 w 6"/>
                  <a:gd name="T29" fmla="*/ 0 h 7"/>
                  <a:gd name="T30" fmla="*/ 2 w 6"/>
                  <a:gd name="T31" fmla="*/ 2 h 7"/>
                  <a:gd name="T32" fmla="*/ 2 w 6"/>
                  <a:gd name="T33" fmla="*/ 2 h 7"/>
                  <a:gd name="T34" fmla="*/ 2 w 6"/>
                  <a:gd name="T35" fmla="*/ 2 h 7"/>
                  <a:gd name="T36" fmla="*/ 2 w 6"/>
                  <a:gd name="T37" fmla="*/ 2 h 7"/>
                  <a:gd name="T38" fmla="*/ 2 w 6"/>
                  <a:gd name="T39" fmla="*/ 2 h 7"/>
                  <a:gd name="T40" fmla="*/ 2 w 6"/>
                  <a:gd name="T41" fmla="*/ 2 h 7"/>
                  <a:gd name="T42" fmla="*/ 2 w 6"/>
                  <a:gd name="T43" fmla="*/ 3 h 7"/>
                  <a:gd name="T44" fmla="*/ 0 w 6"/>
                  <a:gd name="T45" fmla="*/ 3 h 7"/>
                  <a:gd name="T46" fmla="*/ 0 w 6"/>
                  <a:gd name="T47" fmla="*/ 5 h 7"/>
                  <a:gd name="T48" fmla="*/ 2 w 6"/>
                  <a:gd name="T49" fmla="*/ 5 h 7"/>
                  <a:gd name="T50" fmla="*/ 2 w 6"/>
                  <a:gd name="T51" fmla="*/ 5 h 7"/>
                  <a:gd name="T52" fmla="*/ 2 w 6"/>
                  <a:gd name="T53" fmla="*/ 5 h 7"/>
                  <a:gd name="T54" fmla="*/ 2 w 6"/>
                  <a:gd name="T55" fmla="*/ 5 h 7"/>
                  <a:gd name="T56" fmla="*/ 2 w 6"/>
                  <a:gd name="T57" fmla="*/ 5 h 7"/>
                  <a:gd name="T58" fmla="*/ 2 w 6"/>
                  <a:gd name="T59" fmla="*/ 7 h 7"/>
                  <a:gd name="T60" fmla="*/ 2 w 6"/>
                  <a:gd name="T61" fmla="*/ 7 h 7"/>
                  <a:gd name="T62" fmla="*/ 2 w 6"/>
                  <a:gd name="T63" fmla="*/ 7 h 7"/>
                  <a:gd name="T64" fmla="*/ 3 w 6"/>
                  <a:gd name="T65" fmla="*/ 7 h 7"/>
                  <a:gd name="T66" fmla="*/ 3 w 6"/>
                  <a:gd name="T67" fmla="*/ 7 h 7"/>
                  <a:gd name="T68" fmla="*/ 3 w 6"/>
                  <a:gd name="T69" fmla="*/ 7 h 7"/>
                  <a:gd name="T70" fmla="*/ 5 w 6"/>
                  <a:gd name="T71" fmla="*/ 7 h 7"/>
                  <a:gd name="T72" fmla="*/ 5 w 6"/>
                  <a:gd name="T73" fmla="*/ 7 h 7"/>
                  <a:gd name="T74" fmla="*/ 5 w 6"/>
                  <a:gd name="T75" fmla="*/ 7 h 7"/>
                  <a:gd name="T76" fmla="*/ 5 w 6"/>
                  <a:gd name="T77" fmla="*/ 7 h 7"/>
                  <a:gd name="T78" fmla="*/ 6 w 6"/>
                  <a:gd name="T79" fmla="*/ 7 h 7"/>
                  <a:gd name="T80" fmla="*/ 6 w 6"/>
                  <a:gd name="T81" fmla="*/ 5 h 7"/>
                  <a:gd name="T82" fmla="*/ 6 w 6"/>
                  <a:gd name="T83" fmla="*/ 5 h 7"/>
                  <a:gd name="T84" fmla="*/ 6 w 6"/>
                  <a:gd name="T85" fmla="*/ 5 h 7"/>
                  <a:gd name="T86" fmla="*/ 6 w 6"/>
                  <a:gd name="T87" fmla="*/ 5 h 7"/>
                  <a:gd name="T88" fmla="*/ 6 w 6"/>
                  <a:gd name="T89" fmla="*/ 5 h 7"/>
                  <a:gd name="T90" fmla="*/ 6 w 6"/>
                  <a:gd name="T91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" h="7">
                    <a:moveTo>
                      <a:pt x="6" y="3"/>
                    </a:moveTo>
                    <a:lnTo>
                      <a:pt x="6" y="3"/>
                    </a:lnTo>
                    <a:lnTo>
                      <a:pt x="6" y="3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6" y="7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25" name="Freeform 1639"/>
              <p:cNvSpPr>
                <a:spLocks noChangeAspect="1"/>
              </p:cNvSpPr>
              <p:nvPr/>
            </p:nvSpPr>
            <p:spPr bwMode="auto">
              <a:xfrm>
                <a:off x="2292485" y="3378974"/>
                <a:ext cx="3574" cy="3954"/>
              </a:xfrm>
              <a:custGeom>
                <a:avLst/>
                <a:gdLst>
                  <a:gd name="T0" fmla="*/ 6 w 6"/>
                  <a:gd name="T1" fmla="*/ 5 h 6"/>
                  <a:gd name="T2" fmla="*/ 6 w 6"/>
                  <a:gd name="T3" fmla="*/ 3 h 6"/>
                  <a:gd name="T4" fmla="*/ 6 w 6"/>
                  <a:gd name="T5" fmla="*/ 3 h 6"/>
                  <a:gd name="T6" fmla="*/ 6 w 6"/>
                  <a:gd name="T7" fmla="*/ 2 h 6"/>
                  <a:gd name="T8" fmla="*/ 4 w 6"/>
                  <a:gd name="T9" fmla="*/ 2 h 6"/>
                  <a:gd name="T10" fmla="*/ 4 w 6"/>
                  <a:gd name="T11" fmla="*/ 2 h 6"/>
                  <a:gd name="T12" fmla="*/ 4 w 6"/>
                  <a:gd name="T13" fmla="*/ 2 h 6"/>
                  <a:gd name="T14" fmla="*/ 4 w 6"/>
                  <a:gd name="T15" fmla="*/ 2 h 6"/>
                  <a:gd name="T16" fmla="*/ 4 w 6"/>
                  <a:gd name="T17" fmla="*/ 2 h 6"/>
                  <a:gd name="T18" fmla="*/ 4 w 6"/>
                  <a:gd name="T19" fmla="*/ 2 h 6"/>
                  <a:gd name="T20" fmla="*/ 4 w 6"/>
                  <a:gd name="T21" fmla="*/ 2 h 6"/>
                  <a:gd name="T22" fmla="*/ 4 w 6"/>
                  <a:gd name="T23" fmla="*/ 0 h 6"/>
                  <a:gd name="T24" fmla="*/ 1 w 6"/>
                  <a:gd name="T25" fmla="*/ 0 h 6"/>
                  <a:gd name="T26" fmla="*/ 1 w 6"/>
                  <a:gd name="T27" fmla="*/ 2 h 6"/>
                  <a:gd name="T28" fmla="*/ 1 w 6"/>
                  <a:gd name="T29" fmla="*/ 2 h 6"/>
                  <a:gd name="T30" fmla="*/ 1 w 6"/>
                  <a:gd name="T31" fmla="*/ 2 h 6"/>
                  <a:gd name="T32" fmla="*/ 1 w 6"/>
                  <a:gd name="T33" fmla="*/ 2 h 6"/>
                  <a:gd name="T34" fmla="*/ 1 w 6"/>
                  <a:gd name="T35" fmla="*/ 2 h 6"/>
                  <a:gd name="T36" fmla="*/ 0 w 6"/>
                  <a:gd name="T37" fmla="*/ 2 h 6"/>
                  <a:gd name="T38" fmla="*/ 0 w 6"/>
                  <a:gd name="T39" fmla="*/ 2 h 6"/>
                  <a:gd name="T40" fmla="*/ 0 w 6"/>
                  <a:gd name="T41" fmla="*/ 2 h 6"/>
                  <a:gd name="T42" fmla="*/ 0 w 6"/>
                  <a:gd name="T43" fmla="*/ 3 h 6"/>
                  <a:gd name="T44" fmla="*/ 0 w 6"/>
                  <a:gd name="T45" fmla="*/ 3 h 6"/>
                  <a:gd name="T46" fmla="*/ 0 w 6"/>
                  <a:gd name="T47" fmla="*/ 5 h 6"/>
                  <a:gd name="T48" fmla="*/ 0 w 6"/>
                  <a:gd name="T49" fmla="*/ 5 h 6"/>
                  <a:gd name="T50" fmla="*/ 0 w 6"/>
                  <a:gd name="T51" fmla="*/ 5 h 6"/>
                  <a:gd name="T52" fmla="*/ 0 w 6"/>
                  <a:gd name="T53" fmla="*/ 5 h 6"/>
                  <a:gd name="T54" fmla="*/ 0 w 6"/>
                  <a:gd name="T55" fmla="*/ 6 h 6"/>
                  <a:gd name="T56" fmla="*/ 1 w 6"/>
                  <a:gd name="T57" fmla="*/ 6 h 6"/>
                  <a:gd name="T58" fmla="*/ 1 w 6"/>
                  <a:gd name="T59" fmla="*/ 6 h 6"/>
                  <a:gd name="T60" fmla="*/ 1 w 6"/>
                  <a:gd name="T61" fmla="*/ 6 h 6"/>
                  <a:gd name="T62" fmla="*/ 1 w 6"/>
                  <a:gd name="T63" fmla="*/ 6 h 6"/>
                  <a:gd name="T64" fmla="*/ 1 w 6"/>
                  <a:gd name="T65" fmla="*/ 6 h 6"/>
                  <a:gd name="T66" fmla="*/ 1 w 6"/>
                  <a:gd name="T67" fmla="*/ 6 h 6"/>
                  <a:gd name="T68" fmla="*/ 3 w 6"/>
                  <a:gd name="T69" fmla="*/ 6 h 6"/>
                  <a:gd name="T70" fmla="*/ 4 w 6"/>
                  <a:gd name="T71" fmla="*/ 6 h 6"/>
                  <a:gd name="T72" fmla="*/ 4 w 6"/>
                  <a:gd name="T73" fmla="*/ 6 h 6"/>
                  <a:gd name="T74" fmla="*/ 4 w 6"/>
                  <a:gd name="T75" fmla="*/ 6 h 6"/>
                  <a:gd name="T76" fmla="*/ 4 w 6"/>
                  <a:gd name="T77" fmla="*/ 6 h 6"/>
                  <a:gd name="T78" fmla="*/ 4 w 6"/>
                  <a:gd name="T79" fmla="*/ 6 h 6"/>
                  <a:gd name="T80" fmla="*/ 4 w 6"/>
                  <a:gd name="T81" fmla="*/ 6 h 6"/>
                  <a:gd name="T82" fmla="*/ 4 w 6"/>
                  <a:gd name="T83" fmla="*/ 5 h 6"/>
                  <a:gd name="T84" fmla="*/ 6 w 6"/>
                  <a:gd name="T85" fmla="*/ 5 h 6"/>
                  <a:gd name="T86" fmla="*/ 6 w 6"/>
                  <a:gd name="T87" fmla="*/ 5 h 6"/>
                  <a:gd name="T88" fmla="*/ 6 w 6"/>
                  <a:gd name="T89" fmla="*/ 5 h 6"/>
                  <a:gd name="T90" fmla="*/ 6 w 6"/>
                  <a:gd name="T91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" h="6">
                    <a:moveTo>
                      <a:pt x="6" y="5"/>
                    </a:moveTo>
                    <a:lnTo>
                      <a:pt x="6" y="3"/>
                    </a:lnTo>
                    <a:lnTo>
                      <a:pt x="6" y="3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3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26" name="Freeform 1640"/>
              <p:cNvSpPr>
                <a:spLocks noChangeAspect="1"/>
              </p:cNvSpPr>
              <p:nvPr/>
            </p:nvSpPr>
            <p:spPr bwMode="auto">
              <a:xfrm>
                <a:off x="2293676" y="3363158"/>
                <a:ext cx="3574" cy="3954"/>
              </a:xfrm>
              <a:custGeom>
                <a:avLst/>
                <a:gdLst>
                  <a:gd name="T0" fmla="*/ 6 w 6"/>
                  <a:gd name="T1" fmla="*/ 3 h 7"/>
                  <a:gd name="T2" fmla="*/ 6 w 6"/>
                  <a:gd name="T3" fmla="*/ 3 h 7"/>
                  <a:gd name="T4" fmla="*/ 6 w 6"/>
                  <a:gd name="T5" fmla="*/ 3 h 7"/>
                  <a:gd name="T6" fmla="*/ 6 w 6"/>
                  <a:gd name="T7" fmla="*/ 2 h 7"/>
                  <a:gd name="T8" fmla="*/ 6 w 6"/>
                  <a:gd name="T9" fmla="*/ 2 h 7"/>
                  <a:gd name="T10" fmla="*/ 6 w 6"/>
                  <a:gd name="T11" fmla="*/ 2 h 7"/>
                  <a:gd name="T12" fmla="*/ 6 w 6"/>
                  <a:gd name="T13" fmla="*/ 2 h 7"/>
                  <a:gd name="T14" fmla="*/ 6 w 6"/>
                  <a:gd name="T15" fmla="*/ 2 h 7"/>
                  <a:gd name="T16" fmla="*/ 5 w 6"/>
                  <a:gd name="T17" fmla="*/ 2 h 7"/>
                  <a:gd name="T18" fmla="*/ 5 w 6"/>
                  <a:gd name="T19" fmla="*/ 0 h 7"/>
                  <a:gd name="T20" fmla="*/ 5 w 6"/>
                  <a:gd name="T21" fmla="*/ 0 h 7"/>
                  <a:gd name="T22" fmla="*/ 5 w 6"/>
                  <a:gd name="T23" fmla="*/ 0 h 7"/>
                  <a:gd name="T24" fmla="*/ 3 w 6"/>
                  <a:gd name="T25" fmla="*/ 0 h 7"/>
                  <a:gd name="T26" fmla="*/ 3 w 6"/>
                  <a:gd name="T27" fmla="*/ 0 h 7"/>
                  <a:gd name="T28" fmla="*/ 2 w 6"/>
                  <a:gd name="T29" fmla="*/ 0 h 7"/>
                  <a:gd name="T30" fmla="*/ 2 w 6"/>
                  <a:gd name="T31" fmla="*/ 2 h 7"/>
                  <a:gd name="T32" fmla="*/ 2 w 6"/>
                  <a:gd name="T33" fmla="*/ 2 h 7"/>
                  <a:gd name="T34" fmla="*/ 2 w 6"/>
                  <a:gd name="T35" fmla="*/ 2 h 7"/>
                  <a:gd name="T36" fmla="*/ 2 w 6"/>
                  <a:gd name="T37" fmla="*/ 2 h 7"/>
                  <a:gd name="T38" fmla="*/ 2 w 6"/>
                  <a:gd name="T39" fmla="*/ 2 h 7"/>
                  <a:gd name="T40" fmla="*/ 2 w 6"/>
                  <a:gd name="T41" fmla="*/ 2 h 7"/>
                  <a:gd name="T42" fmla="*/ 2 w 6"/>
                  <a:gd name="T43" fmla="*/ 3 h 7"/>
                  <a:gd name="T44" fmla="*/ 0 w 6"/>
                  <a:gd name="T45" fmla="*/ 3 h 7"/>
                  <a:gd name="T46" fmla="*/ 0 w 6"/>
                  <a:gd name="T47" fmla="*/ 5 h 7"/>
                  <a:gd name="T48" fmla="*/ 2 w 6"/>
                  <a:gd name="T49" fmla="*/ 5 h 7"/>
                  <a:gd name="T50" fmla="*/ 2 w 6"/>
                  <a:gd name="T51" fmla="*/ 5 h 7"/>
                  <a:gd name="T52" fmla="*/ 2 w 6"/>
                  <a:gd name="T53" fmla="*/ 5 h 7"/>
                  <a:gd name="T54" fmla="*/ 2 w 6"/>
                  <a:gd name="T55" fmla="*/ 5 h 7"/>
                  <a:gd name="T56" fmla="*/ 2 w 6"/>
                  <a:gd name="T57" fmla="*/ 5 h 7"/>
                  <a:gd name="T58" fmla="*/ 2 w 6"/>
                  <a:gd name="T59" fmla="*/ 7 h 7"/>
                  <a:gd name="T60" fmla="*/ 2 w 6"/>
                  <a:gd name="T61" fmla="*/ 7 h 7"/>
                  <a:gd name="T62" fmla="*/ 2 w 6"/>
                  <a:gd name="T63" fmla="*/ 7 h 7"/>
                  <a:gd name="T64" fmla="*/ 3 w 6"/>
                  <a:gd name="T65" fmla="*/ 7 h 7"/>
                  <a:gd name="T66" fmla="*/ 3 w 6"/>
                  <a:gd name="T67" fmla="*/ 7 h 7"/>
                  <a:gd name="T68" fmla="*/ 3 w 6"/>
                  <a:gd name="T69" fmla="*/ 7 h 7"/>
                  <a:gd name="T70" fmla="*/ 5 w 6"/>
                  <a:gd name="T71" fmla="*/ 7 h 7"/>
                  <a:gd name="T72" fmla="*/ 5 w 6"/>
                  <a:gd name="T73" fmla="*/ 7 h 7"/>
                  <a:gd name="T74" fmla="*/ 5 w 6"/>
                  <a:gd name="T75" fmla="*/ 7 h 7"/>
                  <a:gd name="T76" fmla="*/ 5 w 6"/>
                  <a:gd name="T77" fmla="*/ 7 h 7"/>
                  <a:gd name="T78" fmla="*/ 6 w 6"/>
                  <a:gd name="T79" fmla="*/ 7 h 7"/>
                  <a:gd name="T80" fmla="*/ 6 w 6"/>
                  <a:gd name="T81" fmla="*/ 5 h 7"/>
                  <a:gd name="T82" fmla="*/ 6 w 6"/>
                  <a:gd name="T83" fmla="*/ 5 h 7"/>
                  <a:gd name="T84" fmla="*/ 6 w 6"/>
                  <a:gd name="T85" fmla="*/ 5 h 7"/>
                  <a:gd name="T86" fmla="*/ 6 w 6"/>
                  <a:gd name="T87" fmla="*/ 5 h 7"/>
                  <a:gd name="T88" fmla="*/ 6 w 6"/>
                  <a:gd name="T89" fmla="*/ 5 h 7"/>
                  <a:gd name="T90" fmla="*/ 6 w 6"/>
                  <a:gd name="T91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" h="7">
                    <a:moveTo>
                      <a:pt x="6" y="3"/>
                    </a:moveTo>
                    <a:lnTo>
                      <a:pt x="6" y="3"/>
                    </a:lnTo>
                    <a:lnTo>
                      <a:pt x="6" y="3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6" y="7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27" name="Freeform 1641"/>
              <p:cNvSpPr>
                <a:spLocks noChangeAspect="1"/>
              </p:cNvSpPr>
              <p:nvPr/>
            </p:nvSpPr>
            <p:spPr bwMode="auto">
              <a:xfrm>
                <a:off x="2292485" y="3378968"/>
                <a:ext cx="3574" cy="3954"/>
              </a:xfrm>
              <a:custGeom>
                <a:avLst/>
                <a:gdLst>
                  <a:gd name="T0" fmla="*/ 6 w 6"/>
                  <a:gd name="T1" fmla="*/ 5 h 6"/>
                  <a:gd name="T2" fmla="*/ 6 w 6"/>
                  <a:gd name="T3" fmla="*/ 3 h 6"/>
                  <a:gd name="T4" fmla="*/ 6 w 6"/>
                  <a:gd name="T5" fmla="*/ 3 h 6"/>
                  <a:gd name="T6" fmla="*/ 6 w 6"/>
                  <a:gd name="T7" fmla="*/ 2 h 6"/>
                  <a:gd name="T8" fmla="*/ 4 w 6"/>
                  <a:gd name="T9" fmla="*/ 2 h 6"/>
                  <a:gd name="T10" fmla="*/ 4 w 6"/>
                  <a:gd name="T11" fmla="*/ 2 h 6"/>
                  <a:gd name="T12" fmla="*/ 4 w 6"/>
                  <a:gd name="T13" fmla="*/ 2 h 6"/>
                  <a:gd name="T14" fmla="*/ 4 w 6"/>
                  <a:gd name="T15" fmla="*/ 2 h 6"/>
                  <a:gd name="T16" fmla="*/ 4 w 6"/>
                  <a:gd name="T17" fmla="*/ 2 h 6"/>
                  <a:gd name="T18" fmla="*/ 4 w 6"/>
                  <a:gd name="T19" fmla="*/ 2 h 6"/>
                  <a:gd name="T20" fmla="*/ 4 w 6"/>
                  <a:gd name="T21" fmla="*/ 2 h 6"/>
                  <a:gd name="T22" fmla="*/ 4 w 6"/>
                  <a:gd name="T23" fmla="*/ 0 h 6"/>
                  <a:gd name="T24" fmla="*/ 1 w 6"/>
                  <a:gd name="T25" fmla="*/ 0 h 6"/>
                  <a:gd name="T26" fmla="*/ 1 w 6"/>
                  <a:gd name="T27" fmla="*/ 2 h 6"/>
                  <a:gd name="T28" fmla="*/ 1 w 6"/>
                  <a:gd name="T29" fmla="*/ 2 h 6"/>
                  <a:gd name="T30" fmla="*/ 1 w 6"/>
                  <a:gd name="T31" fmla="*/ 2 h 6"/>
                  <a:gd name="T32" fmla="*/ 1 w 6"/>
                  <a:gd name="T33" fmla="*/ 2 h 6"/>
                  <a:gd name="T34" fmla="*/ 1 w 6"/>
                  <a:gd name="T35" fmla="*/ 2 h 6"/>
                  <a:gd name="T36" fmla="*/ 0 w 6"/>
                  <a:gd name="T37" fmla="*/ 2 h 6"/>
                  <a:gd name="T38" fmla="*/ 0 w 6"/>
                  <a:gd name="T39" fmla="*/ 2 h 6"/>
                  <a:gd name="T40" fmla="*/ 0 w 6"/>
                  <a:gd name="T41" fmla="*/ 2 h 6"/>
                  <a:gd name="T42" fmla="*/ 0 w 6"/>
                  <a:gd name="T43" fmla="*/ 3 h 6"/>
                  <a:gd name="T44" fmla="*/ 0 w 6"/>
                  <a:gd name="T45" fmla="*/ 3 h 6"/>
                  <a:gd name="T46" fmla="*/ 0 w 6"/>
                  <a:gd name="T47" fmla="*/ 5 h 6"/>
                  <a:gd name="T48" fmla="*/ 0 w 6"/>
                  <a:gd name="T49" fmla="*/ 5 h 6"/>
                  <a:gd name="T50" fmla="*/ 0 w 6"/>
                  <a:gd name="T51" fmla="*/ 5 h 6"/>
                  <a:gd name="T52" fmla="*/ 0 w 6"/>
                  <a:gd name="T53" fmla="*/ 5 h 6"/>
                  <a:gd name="T54" fmla="*/ 0 w 6"/>
                  <a:gd name="T55" fmla="*/ 6 h 6"/>
                  <a:gd name="T56" fmla="*/ 1 w 6"/>
                  <a:gd name="T57" fmla="*/ 6 h 6"/>
                  <a:gd name="T58" fmla="*/ 1 w 6"/>
                  <a:gd name="T59" fmla="*/ 6 h 6"/>
                  <a:gd name="T60" fmla="*/ 1 w 6"/>
                  <a:gd name="T61" fmla="*/ 6 h 6"/>
                  <a:gd name="T62" fmla="*/ 1 w 6"/>
                  <a:gd name="T63" fmla="*/ 6 h 6"/>
                  <a:gd name="T64" fmla="*/ 1 w 6"/>
                  <a:gd name="T65" fmla="*/ 6 h 6"/>
                  <a:gd name="T66" fmla="*/ 1 w 6"/>
                  <a:gd name="T67" fmla="*/ 6 h 6"/>
                  <a:gd name="T68" fmla="*/ 3 w 6"/>
                  <a:gd name="T69" fmla="*/ 6 h 6"/>
                  <a:gd name="T70" fmla="*/ 4 w 6"/>
                  <a:gd name="T71" fmla="*/ 6 h 6"/>
                  <a:gd name="T72" fmla="*/ 4 w 6"/>
                  <a:gd name="T73" fmla="*/ 6 h 6"/>
                  <a:gd name="T74" fmla="*/ 4 w 6"/>
                  <a:gd name="T75" fmla="*/ 6 h 6"/>
                  <a:gd name="T76" fmla="*/ 4 w 6"/>
                  <a:gd name="T77" fmla="*/ 6 h 6"/>
                  <a:gd name="T78" fmla="*/ 4 w 6"/>
                  <a:gd name="T79" fmla="*/ 6 h 6"/>
                  <a:gd name="T80" fmla="*/ 4 w 6"/>
                  <a:gd name="T81" fmla="*/ 6 h 6"/>
                  <a:gd name="T82" fmla="*/ 4 w 6"/>
                  <a:gd name="T83" fmla="*/ 5 h 6"/>
                  <a:gd name="T84" fmla="*/ 6 w 6"/>
                  <a:gd name="T85" fmla="*/ 5 h 6"/>
                  <a:gd name="T86" fmla="*/ 6 w 6"/>
                  <a:gd name="T87" fmla="*/ 5 h 6"/>
                  <a:gd name="T88" fmla="*/ 6 w 6"/>
                  <a:gd name="T89" fmla="*/ 5 h 6"/>
                  <a:gd name="T90" fmla="*/ 6 w 6"/>
                  <a:gd name="T91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" h="6">
                    <a:moveTo>
                      <a:pt x="6" y="5"/>
                    </a:moveTo>
                    <a:lnTo>
                      <a:pt x="6" y="3"/>
                    </a:lnTo>
                    <a:lnTo>
                      <a:pt x="6" y="3"/>
                    </a:lnTo>
                    <a:lnTo>
                      <a:pt x="6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1" y="0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3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1" y="6"/>
                    </a:lnTo>
                    <a:lnTo>
                      <a:pt x="3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28" name="Freeform 1642"/>
              <p:cNvSpPr>
                <a:spLocks noChangeAspect="1"/>
              </p:cNvSpPr>
              <p:nvPr/>
            </p:nvSpPr>
            <p:spPr bwMode="auto">
              <a:xfrm>
                <a:off x="2293677" y="3363149"/>
                <a:ext cx="3574" cy="3954"/>
              </a:xfrm>
              <a:custGeom>
                <a:avLst/>
                <a:gdLst>
                  <a:gd name="T0" fmla="*/ 6 w 6"/>
                  <a:gd name="T1" fmla="*/ 3 h 7"/>
                  <a:gd name="T2" fmla="*/ 6 w 6"/>
                  <a:gd name="T3" fmla="*/ 3 h 7"/>
                  <a:gd name="T4" fmla="*/ 6 w 6"/>
                  <a:gd name="T5" fmla="*/ 3 h 7"/>
                  <a:gd name="T6" fmla="*/ 6 w 6"/>
                  <a:gd name="T7" fmla="*/ 2 h 7"/>
                  <a:gd name="T8" fmla="*/ 6 w 6"/>
                  <a:gd name="T9" fmla="*/ 2 h 7"/>
                  <a:gd name="T10" fmla="*/ 6 w 6"/>
                  <a:gd name="T11" fmla="*/ 2 h 7"/>
                  <a:gd name="T12" fmla="*/ 6 w 6"/>
                  <a:gd name="T13" fmla="*/ 2 h 7"/>
                  <a:gd name="T14" fmla="*/ 6 w 6"/>
                  <a:gd name="T15" fmla="*/ 2 h 7"/>
                  <a:gd name="T16" fmla="*/ 5 w 6"/>
                  <a:gd name="T17" fmla="*/ 2 h 7"/>
                  <a:gd name="T18" fmla="*/ 5 w 6"/>
                  <a:gd name="T19" fmla="*/ 0 h 7"/>
                  <a:gd name="T20" fmla="*/ 5 w 6"/>
                  <a:gd name="T21" fmla="*/ 0 h 7"/>
                  <a:gd name="T22" fmla="*/ 5 w 6"/>
                  <a:gd name="T23" fmla="*/ 0 h 7"/>
                  <a:gd name="T24" fmla="*/ 3 w 6"/>
                  <a:gd name="T25" fmla="*/ 0 h 7"/>
                  <a:gd name="T26" fmla="*/ 3 w 6"/>
                  <a:gd name="T27" fmla="*/ 0 h 7"/>
                  <a:gd name="T28" fmla="*/ 2 w 6"/>
                  <a:gd name="T29" fmla="*/ 0 h 7"/>
                  <a:gd name="T30" fmla="*/ 2 w 6"/>
                  <a:gd name="T31" fmla="*/ 2 h 7"/>
                  <a:gd name="T32" fmla="*/ 2 w 6"/>
                  <a:gd name="T33" fmla="*/ 2 h 7"/>
                  <a:gd name="T34" fmla="*/ 2 w 6"/>
                  <a:gd name="T35" fmla="*/ 2 h 7"/>
                  <a:gd name="T36" fmla="*/ 2 w 6"/>
                  <a:gd name="T37" fmla="*/ 2 h 7"/>
                  <a:gd name="T38" fmla="*/ 2 w 6"/>
                  <a:gd name="T39" fmla="*/ 2 h 7"/>
                  <a:gd name="T40" fmla="*/ 2 w 6"/>
                  <a:gd name="T41" fmla="*/ 2 h 7"/>
                  <a:gd name="T42" fmla="*/ 2 w 6"/>
                  <a:gd name="T43" fmla="*/ 3 h 7"/>
                  <a:gd name="T44" fmla="*/ 0 w 6"/>
                  <a:gd name="T45" fmla="*/ 3 h 7"/>
                  <a:gd name="T46" fmla="*/ 0 w 6"/>
                  <a:gd name="T47" fmla="*/ 5 h 7"/>
                  <a:gd name="T48" fmla="*/ 2 w 6"/>
                  <a:gd name="T49" fmla="*/ 5 h 7"/>
                  <a:gd name="T50" fmla="*/ 2 w 6"/>
                  <a:gd name="T51" fmla="*/ 5 h 7"/>
                  <a:gd name="T52" fmla="*/ 2 w 6"/>
                  <a:gd name="T53" fmla="*/ 5 h 7"/>
                  <a:gd name="T54" fmla="*/ 2 w 6"/>
                  <a:gd name="T55" fmla="*/ 5 h 7"/>
                  <a:gd name="T56" fmla="*/ 2 w 6"/>
                  <a:gd name="T57" fmla="*/ 5 h 7"/>
                  <a:gd name="T58" fmla="*/ 2 w 6"/>
                  <a:gd name="T59" fmla="*/ 7 h 7"/>
                  <a:gd name="T60" fmla="*/ 2 w 6"/>
                  <a:gd name="T61" fmla="*/ 7 h 7"/>
                  <a:gd name="T62" fmla="*/ 2 w 6"/>
                  <a:gd name="T63" fmla="*/ 7 h 7"/>
                  <a:gd name="T64" fmla="*/ 3 w 6"/>
                  <a:gd name="T65" fmla="*/ 7 h 7"/>
                  <a:gd name="T66" fmla="*/ 3 w 6"/>
                  <a:gd name="T67" fmla="*/ 7 h 7"/>
                  <a:gd name="T68" fmla="*/ 3 w 6"/>
                  <a:gd name="T69" fmla="*/ 7 h 7"/>
                  <a:gd name="T70" fmla="*/ 5 w 6"/>
                  <a:gd name="T71" fmla="*/ 7 h 7"/>
                  <a:gd name="T72" fmla="*/ 5 w 6"/>
                  <a:gd name="T73" fmla="*/ 7 h 7"/>
                  <a:gd name="T74" fmla="*/ 5 w 6"/>
                  <a:gd name="T75" fmla="*/ 7 h 7"/>
                  <a:gd name="T76" fmla="*/ 5 w 6"/>
                  <a:gd name="T77" fmla="*/ 7 h 7"/>
                  <a:gd name="T78" fmla="*/ 6 w 6"/>
                  <a:gd name="T79" fmla="*/ 7 h 7"/>
                  <a:gd name="T80" fmla="*/ 6 w 6"/>
                  <a:gd name="T81" fmla="*/ 5 h 7"/>
                  <a:gd name="T82" fmla="*/ 6 w 6"/>
                  <a:gd name="T83" fmla="*/ 5 h 7"/>
                  <a:gd name="T84" fmla="*/ 6 w 6"/>
                  <a:gd name="T85" fmla="*/ 5 h 7"/>
                  <a:gd name="T86" fmla="*/ 6 w 6"/>
                  <a:gd name="T87" fmla="*/ 5 h 7"/>
                  <a:gd name="T88" fmla="*/ 6 w 6"/>
                  <a:gd name="T89" fmla="*/ 5 h 7"/>
                  <a:gd name="T90" fmla="*/ 6 w 6"/>
                  <a:gd name="T91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6" h="7">
                    <a:moveTo>
                      <a:pt x="6" y="3"/>
                    </a:moveTo>
                    <a:lnTo>
                      <a:pt x="6" y="3"/>
                    </a:lnTo>
                    <a:lnTo>
                      <a:pt x="6" y="3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5" y="2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5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0" y="3"/>
                    </a:lnTo>
                    <a:lnTo>
                      <a:pt x="0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5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2" y="7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5" y="7"/>
                    </a:lnTo>
                    <a:lnTo>
                      <a:pt x="6" y="7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5"/>
                    </a:lnTo>
                    <a:lnTo>
                      <a:pt x="6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29" name="Freeform 1643"/>
              <p:cNvSpPr>
                <a:spLocks noChangeAspect="1"/>
              </p:cNvSpPr>
              <p:nvPr/>
            </p:nvSpPr>
            <p:spPr bwMode="auto">
              <a:xfrm>
                <a:off x="1970824" y="3124603"/>
                <a:ext cx="21445" cy="6590"/>
              </a:xfrm>
              <a:custGeom>
                <a:avLst/>
                <a:gdLst>
                  <a:gd name="T0" fmla="*/ 6 w 36"/>
                  <a:gd name="T1" fmla="*/ 11 h 11"/>
                  <a:gd name="T2" fmla="*/ 3 w 36"/>
                  <a:gd name="T3" fmla="*/ 10 h 11"/>
                  <a:gd name="T4" fmla="*/ 0 w 36"/>
                  <a:gd name="T5" fmla="*/ 5 h 11"/>
                  <a:gd name="T6" fmla="*/ 3 w 36"/>
                  <a:gd name="T7" fmla="*/ 8 h 11"/>
                  <a:gd name="T8" fmla="*/ 6 w 36"/>
                  <a:gd name="T9" fmla="*/ 8 h 11"/>
                  <a:gd name="T10" fmla="*/ 11 w 36"/>
                  <a:gd name="T11" fmla="*/ 5 h 11"/>
                  <a:gd name="T12" fmla="*/ 11 w 36"/>
                  <a:gd name="T13" fmla="*/ 2 h 11"/>
                  <a:gd name="T14" fmla="*/ 17 w 36"/>
                  <a:gd name="T15" fmla="*/ 2 h 11"/>
                  <a:gd name="T16" fmla="*/ 23 w 36"/>
                  <a:gd name="T17" fmla="*/ 3 h 11"/>
                  <a:gd name="T18" fmla="*/ 30 w 36"/>
                  <a:gd name="T19" fmla="*/ 3 h 11"/>
                  <a:gd name="T20" fmla="*/ 36 w 36"/>
                  <a:gd name="T21" fmla="*/ 0 h 11"/>
                  <a:gd name="T22" fmla="*/ 36 w 36"/>
                  <a:gd name="T23" fmla="*/ 3 h 11"/>
                  <a:gd name="T24" fmla="*/ 31 w 36"/>
                  <a:gd name="T25" fmla="*/ 5 h 11"/>
                  <a:gd name="T26" fmla="*/ 28 w 36"/>
                  <a:gd name="T27" fmla="*/ 5 h 11"/>
                  <a:gd name="T28" fmla="*/ 25 w 36"/>
                  <a:gd name="T29" fmla="*/ 5 h 11"/>
                  <a:gd name="T30" fmla="*/ 22 w 36"/>
                  <a:gd name="T31" fmla="*/ 6 h 11"/>
                  <a:gd name="T32" fmla="*/ 14 w 36"/>
                  <a:gd name="T33" fmla="*/ 8 h 11"/>
                  <a:gd name="T34" fmla="*/ 6 w 36"/>
                  <a:gd name="T35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6" h="11">
                    <a:moveTo>
                      <a:pt x="6" y="11"/>
                    </a:moveTo>
                    <a:lnTo>
                      <a:pt x="3" y="10"/>
                    </a:lnTo>
                    <a:lnTo>
                      <a:pt x="0" y="5"/>
                    </a:lnTo>
                    <a:lnTo>
                      <a:pt x="3" y="8"/>
                    </a:lnTo>
                    <a:lnTo>
                      <a:pt x="6" y="8"/>
                    </a:lnTo>
                    <a:lnTo>
                      <a:pt x="11" y="5"/>
                    </a:lnTo>
                    <a:lnTo>
                      <a:pt x="11" y="2"/>
                    </a:lnTo>
                    <a:lnTo>
                      <a:pt x="17" y="2"/>
                    </a:lnTo>
                    <a:lnTo>
                      <a:pt x="23" y="3"/>
                    </a:lnTo>
                    <a:lnTo>
                      <a:pt x="30" y="3"/>
                    </a:lnTo>
                    <a:lnTo>
                      <a:pt x="36" y="0"/>
                    </a:lnTo>
                    <a:lnTo>
                      <a:pt x="36" y="3"/>
                    </a:lnTo>
                    <a:lnTo>
                      <a:pt x="31" y="5"/>
                    </a:lnTo>
                    <a:lnTo>
                      <a:pt x="28" y="5"/>
                    </a:lnTo>
                    <a:lnTo>
                      <a:pt x="25" y="5"/>
                    </a:lnTo>
                    <a:lnTo>
                      <a:pt x="22" y="6"/>
                    </a:lnTo>
                    <a:lnTo>
                      <a:pt x="14" y="8"/>
                    </a:lnTo>
                    <a:lnTo>
                      <a:pt x="6" y="1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30" name="Freeform 1644"/>
              <p:cNvSpPr>
                <a:spLocks noChangeAspect="1"/>
              </p:cNvSpPr>
              <p:nvPr/>
            </p:nvSpPr>
            <p:spPr bwMode="auto">
              <a:xfrm>
                <a:off x="1972014" y="3165458"/>
                <a:ext cx="14296" cy="25042"/>
              </a:xfrm>
              <a:custGeom>
                <a:avLst/>
                <a:gdLst>
                  <a:gd name="T0" fmla="*/ 13 w 26"/>
                  <a:gd name="T1" fmla="*/ 0 h 36"/>
                  <a:gd name="T2" fmla="*/ 16 w 26"/>
                  <a:gd name="T3" fmla="*/ 3 h 36"/>
                  <a:gd name="T4" fmla="*/ 19 w 26"/>
                  <a:gd name="T5" fmla="*/ 3 h 36"/>
                  <a:gd name="T6" fmla="*/ 21 w 26"/>
                  <a:gd name="T7" fmla="*/ 6 h 36"/>
                  <a:gd name="T8" fmla="*/ 21 w 26"/>
                  <a:gd name="T9" fmla="*/ 9 h 36"/>
                  <a:gd name="T10" fmla="*/ 22 w 26"/>
                  <a:gd name="T11" fmla="*/ 12 h 36"/>
                  <a:gd name="T12" fmla="*/ 22 w 26"/>
                  <a:gd name="T13" fmla="*/ 15 h 36"/>
                  <a:gd name="T14" fmla="*/ 26 w 26"/>
                  <a:gd name="T15" fmla="*/ 19 h 36"/>
                  <a:gd name="T16" fmla="*/ 26 w 26"/>
                  <a:gd name="T17" fmla="*/ 23 h 36"/>
                  <a:gd name="T18" fmla="*/ 26 w 26"/>
                  <a:gd name="T19" fmla="*/ 27 h 36"/>
                  <a:gd name="T20" fmla="*/ 26 w 26"/>
                  <a:gd name="T21" fmla="*/ 30 h 36"/>
                  <a:gd name="T22" fmla="*/ 22 w 26"/>
                  <a:gd name="T23" fmla="*/ 31 h 36"/>
                  <a:gd name="T24" fmla="*/ 18 w 26"/>
                  <a:gd name="T25" fmla="*/ 34 h 36"/>
                  <a:gd name="T26" fmla="*/ 15 w 26"/>
                  <a:gd name="T27" fmla="*/ 36 h 36"/>
                  <a:gd name="T28" fmla="*/ 11 w 26"/>
                  <a:gd name="T29" fmla="*/ 33 h 36"/>
                  <a:gd name="T30" fmla="*/ 11 w 26"/>
                  <a:gd name="T31" fmla="*/ 30 h 36"/>
                  <a:gd name="T32" fmla="*/ 7 w 26"/>
                  <a:gd name="T33" fmla="*/ 30 h 36"/>
                  <a:gd name="T34" fmla="*/ 3 w 26"/>
                  <a:gd name="T35" fmla="*/ 28 h 36"/>
                  <a:gd name="T36" fmla="*/ 0 w 26"/>
                  <a:gd name="T37" fmla="*/ 25 h 36"/>
                  <a:gd name="T38" fmla="*/ 5 w 26"/>
                  <a:gd name="T39" fmla="*/ 22 h 36"/>
                  <a:gd name="T40" fmla="*/ 7 w 26"/>
                  <a:gd name="T41" fmla="*/ 27 h 36"/>
                  <a:gd name="T42" fmla="*/ 8 w 26"/>
                  <a:gd name="T43" fmla="*/ 22 h 36"/>
                  <a:gd name="T44" fmla="*/ 7 w 26"/>
                  <a:gd name="T45" fmla="*/ 19 h 36"/>
                  <a:gd name="T46" fmla="*/ 10 w 26"/>
                  <a:gd name="T47" fmla="*/ 15 h 36"/>
                  <a:gd name="T48" fmla="*/ 11 w 26"/>
                  <a:gd name="T49" fmla="*/ 12 h 36"/>
                  <a:gd name="T50" fmla="*/ 13 w 26"/>
                  <a:gd name="T51" fmla="*/ 9 h 36"/>
                  <a:gd name="T52" fmla="*/ 13 w 26"/>
                  <a:gd name="T53" fmla="*/ 4 h 36"/>
                  <a:gd name="T54" fmla="*/ 13 w 26"/>
                  <a:gd name="T55" fmla="*/ 1 h 36"/>
                  <a:gd name="T56" fmla="*/ 13 w 26"/>
                  <a:gd name="T57" fmla="*/ 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6" h="36">
                    <a:moveTo>
                      <a:pt x="13" y="0"/>
                    </a:moveTo>
                    <a:lnTo>
                      <a:pt x="16" y="3"/>
                    </a:lnTo>
                    <a:lnTo>
                      <a:pt x="19" y="3"/>
                    </a:lnTo>
                    <a:lnTo>
                      <a:pt x="21" y="6"/>
                    </a:lnTo>
                    <a:lnTo>
                      <a:pt x="21" y="9"/>
                    </a:lnTo>
                    <a:lnTo>
                      <a:pt x="22" y="12"/>
                    </a:lnTo>
                    <a:lnTo>
                      <a:pt x="22" y="15"/>
                    </a:lnTo>
                    <a:lnTo>
                      <a:pt x="26" y="19"/>
                    </a:lnTo>
                    <a:lnTo>
                      <a:pt x="26" y="23"/>
                    </a:lnTo>
                    <a:lnTo>
                      <a:pt x="26" y="27"/>
                    </a:lnTo>
                    <a:lnTo>
                      <a:pt x="26" y="30"/>
                    </a:lnTo>
                    <a:lnTo>
                      <a:pt x="22" y="31"/>
                    </a:lnTo>
                    <a:lnTo>
                      <a:pt x="18" y="34"/>
                    </a:lnTo>
                    <a:lnTo>
                      <a:pt x="15" y="36"/>
                    </a:lnTo>
                    <a:lnTo>
                      <a:pt x="11" y="33"/>
                    </a:lnTo>
                    <a:lnTo>
                      <a:pt x="11" y="30"/>
                    </a:lnTo>
                    <a:lnTo>
                      <a:pt x="7" y="30"/>
                    </a:lnTo>
                    <a:lnTo>
                      <a:pt x="3" y="28"/>
                    </a:lnTo>
                    <a:lnTo>
                      <a:pt x="0" y="25"/>
                    </a:lnTo>
                    <a:lnTo>
                      <a:pt x="5" y="22"/>
                    </a:lnTo>
                    <a:lnTo>
                      <a:pt x="7" y="27"/>
                    </a:lnTo>
                    <a:lnTo>
                      <a:pt x="8" y="22"/>
                    </a:lnTo>
                    <a:lnTo>
                      <a:pt x="7" y="19"/>
                    </a:lnTo>
                    <a:lnTo>
                      <a:pt x="10" y="15"/>
                    </a:lnTo>
                    <a:lnTo>
                      <a:pt x="11" y="12"/>
                    </a:lnTo>
                    <a:lnTo>
                      <a:pt x="13" y="9"/>
                    </a:lnTo>
                    <a:lnTo>
                      <a:pt x="13" y="4"/>
                    </a:lnTo>
                    <a:lnTo>
                      <a:pt x="13" y="1"/>
                    </a:lnTo>
                    <a:lnTo>
                      <a:pt x="13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31" name="Freeform 1645"/>
              <p:cNvSpPr>
                <a:spLocks noChangeAspect="1"/>
              </p:cNvSpPr>
              <p:nvPr/>
            </p:nvSpPr>
            <p:spPr bwMode="auto">
              <a:xfrm>
                <a:off x="1980346" y="3193135"/>
                <a:ext cx="2383" cy="1318"/>
              </a:xfrm>
              <a:custGeom>
                <a:avLst/>
                <a:gdLst>
                  <a:gd name="T0" fmla="*/ 0 w 4"/>
                  <a:gd name="T1" fmla="*/ 3 h 3"/>
                  <a:gd name="T2" fmla="*/ 0 w 4"/>
                  <a:gd name="T3" fmla="*/ 0 h 3"/>
                  <a:gd name="T4" fmla="*/ 4 w 4"/>
                  <a:gd name="T5" fmla="*/ 0 h 3"/>
                  <a:gd name="T6" fmla="*/ 0 w 4"/>
                  <a:gd name="T7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0" y="3"/>
                    </a:moveTo>
                    <a:lnTo>
                      <a:pt x="0" y="0"/>
                    </a:lnTo>
                    <a:lnTo>
                      <a:pt x="4" y="0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32" name="Freeform 1646"/>
              <p:cNvSpPr>
                <a:spLocks noChangeAspect="1"/>
              </p:cNvSpPr>
              <p:nvPr/>
            </p:nvSpPr>
            <p:spPr bwMode="auto">
              <a:xfrm>
                <a:off x="1981542" y="3190500"/>
                <a:ext cx="7148" cy="15816"/>
              </a:xfrm>
              <a:custGeom>
                <a:avLst/>
                <a:gdLst>
                  <a:gd name="T0" fmla="*/ 6 w 13"/>
                  <a:gd name="T1" fmla="*/ 23 h 23"/>
                  <a:gd name="T2" fmla="*/ 3 w 13"/>
                  <a:gd name="T3" fmla="*/ 22 h 23"/>
                  <a:gd name="T4" fmla="*/ 6 w 13"/>
                  <a:gd name="T5" fmla="*/ 22 h 23"/>
                  <a:gd name="T6" fmla="*/ 10 w 13"/>
                  <a:gd name="T7" fmla="*/ 19 h 23"/>
                  <a:gd name="T8" fmla="*/ 6 w 13"/>
                  <a:gd name="T9" fmla="*/ 20 h 23"/>
                  <a:gd name="T10" fmla="*/ 3 w 13"/>
                  <a:gd name="T11" fmla="*/ 17 h 23"/>
                  <a:gd name="T12" fmla="*/ 2 w 13"/>
                  <a:gd name="T13" fmla="*/ 14 h 23"/>
                  <a:gd name="T14" fmla="*/ 3 w 13"/>
                  <a:gd name="T15" fmla="*/ 11 h 23"/>
                  <a:gd name="T16" fmla="*/ 0 w 13"/>
                  <a:gd name="T17" fmla="*/ 8 h 23"/>
                  <a:gd name="T18" fmla="*/ 3 w 13"/>
                  <a:gd name="T19" fmla="*/ 4 h 23"/>
                  <a:gd name="T20" fmla="*/ 6 w 13"/>
                  <a:gd name="T21" fmla="*/ 1 h 23"/>
                  <a:gd name="T22" fmla="*/ 10 w 13"/>
                  <a:gd name="T23" fmla="*/ 0 h 23"/>
                  <a:gd name="T24" fmla="*/ 10 w 13"/>
                  <a:gd name="T25" fmla="*/ 3 h 23"/>
                  <a:gd name="T26" fmla="*/ 6 w 13"/>
                  <a:gd name="T27" fmla="*/ 6 h 23"/>
                  <a:gd name="T28" fmla="*/ 6 w 13"/>
                  <a:gd name="T29" fmla="*/ 9 h 23"/>
                  <a:gd name="T30" fmla="*/ 10 w 13"/>
                  <a:gd name="T31" fmla="*/ 6 h 23"/>
                  <a:gd name="T32" fmla="*/ 11 w 13"/>
                  <a:gd name="T33" fmla="*/ 3 h 23"/>
                  <a:gd name="T34" fmla="*/ 13 w 13"/>
                  <a:gd name="T35" fmla="*/ 6 h 23"/>
                  <a:gd name="T36" fmla="*/ 13 w 13"/>
                  <a:gd name="T37" fmla="*/ 9 h 23"/>
                  <a:gd name="T38" fmla="*/ 13 w 13"/>
                  <a:gd name="T39" fmla="*/ 12 h 23"/>
                  <a:gd name="T40" fmla="*/ 13 w 13"/>
                  <a:gd name="T41" fmla="*/ 17 h 23"/>
                  <a:gd name="T42" fmla="*/ 11 w 13"/>
                  <a:gd name="T43" fmla="*/ 20 h 23"/>
                  <a:gd name="T44" fmla="*/ 8 w 13"/>
                  <a:gd name="T45" fmla="*/ 22 h 23"/>
                  <a:gd name="T46" fmla="*/ 6 w 13"/>
                  <a:gd name="T47" fmla="*/ 23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3" h="23">
                    <a:moveTo>
                      <a:pt x="6" y="23"/>
                    </a:moveTo>
                    <a:lnTo>
                      <a:pt x="3" y="22"/>
                    </a:lnTo>
                    <a:lnTo>
                      <a:pt x="6" y="22"/>
                    </a:lnTo>
                    <a:lnTo>
                      <a:pt x="10" y="19"/>
                    </a:lnTo>
                    <a:lnTo>
                      <a:pt x="6" y="20"/>
                    </a:lnTo>
                    <a:lnTo>
                      <a:pt x="3" y="17"/>
                    </a:lnTo>
                    <a:lnTo>
                      <a:pt x="2" y="14"/>
                    </a:lnTo>
                    <a:lnTo>
                      <a:pt x="3" y="11"/>
                    </a:lnTo>
                    <a:lnTo>
                      <a:pt x="0" y="8"/>
                    </a:lnTo>
                    <a:lnTo>
                      <a:pt x="3" y="4"/>
                    </a:lnTo>
                    <a:lnTo>
                      <a:pt x="6" y="1"/>
                    </a:lnTo>
                    <a:lnTo>
                      <a:pt x="10" y="0"/>
                    </a:lnTo>
                    <a:lnTo>
                      <a:pt x="10" y="3"/>
                    </a:lnTo>
                    <a:lnTo>
                      <a:pt x="6" y="6"/>
                    </a:lnTo>
                    <a:lnTo>
                      <a:pt x="6" y="9"/>
                    </a:lnTo>
                    <a:lnTo>
                      <a:pt x="10" y="6"/>
                    </a:lnTo>
                    <a:lnTo>
                      <a:pt x="11" y="3"/>
                    </a:lnTo>
                    <a:lnTo>
                      <a:pt x="13" y="6"/>
                    </a:lnTo>
                    <a:lnTo>
                      <a:pt x="13" y="9"/>
                    </a:lnTo>
                    <a:lnTo>
                      <a:pt x="13" y="12"/>
                    </a:lnTo>
                    <a:lnTo>
                      <a:pt x="13" y="17"/>
                    </a:lnTo>
                    <a:lnTo>
                      <a:pt x="11" y="20"/>
                    </a:lnTo>
                    <a:lnTo>
                      <a:pt x="8" y="22"/>
                    </a:lnTo>
                    <a:lnTo>
                      <a:pt x="6" y="2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33" name="Freeform 1647"/>
              <p:cNvSpPr>
                <a:spLocks noChangeAspect="1"/>
              </p:cNvSpPr>
              <p:nvPr/>
            </p:nvSpPr>
            <p:spPr bwMode="auto">
              <a:xfrm>
                <a:off x="1993456" y="3169412"/>
                <a:ext cx="4765" cy="2636"/>
              </a:xfrm>
              <a:custGeom>
                <a:avLst/>
                <a:gdLst>
                  <a:gd name="T0" fmla="*/ 0 w 8"/>
                  <a:gd name="T1" fmla="*/ 3 h 3"/>
                  <a:gd name="T2" fmla="*/ 1 w 8"/>
                  <a:gd name="T3" fmla="*/ 0 h 3"/>
                  <a:gd name="T4" fmla="*/ 5 w 8"/>
                  <a:gd name="T5" fmla="*/ 0 h 3"/>
                  <a:gd name="T6" fmla="*/ 8 w 8"/>
                  <a:gd name="T7" fmla="*/ 0 h 3"/>
                  <a:gd name="T8" fmla="*/ 5 w 8"/>
                  <a:gd name="T9" fmla="*/ 2 h 3"/>
                  <a:gd name="T10" fmla="*/ 1 w 8"/>
                  <a:gd name="T11" fmla="*/ 3 h 3"/>
                  <a:gd name="T12" fmla="*/ 0 w 8"/>
                  <a:gd name="T13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3">
                    <a:moveTo>
                      <a:pt x="0" y="3"/>
                    </a:moveTo>
                    <a:lnTo>
                      <a:pt x="1" y="0"/>
                    </a:lnTo>
                    <a:lnTo>
                      <a:pt x="5" y="0"/>
                    </a:lnTo>
                    <a:lnTo>
                      <a:pt x="8" y="0"/>
                    </a:lnTo>
                    <a:lnTo>
                      <a:pt x="5" y="2"/>
                    </a:lnTo>
                    <a:lnTo>
                      <a:pt x="1" y="3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34" name="Freeform 1648"/>
              <p:cNvSpPr>
                <a:spLocks noChangeAspect="1"/>
              </p:cNvSpPr>
              <p:nvPr/>
            </p:nvSpPr>
            <p:spPr bwMode="auto">
              <a:xfrm>
                <a:off x="1992257" y="3119339"/>
                <a:ext cx="16679" cy="28995"/>
              </a:xfrm>
              <a:custGeom>
                <a:avLst/>
                <a:gdLst>
                  <a:gd name="T0" fmla="*/ 18 w 29"/>
                  <a:gd name="T1" fmla="*/ 43 h 43"/>
                  <a:gd name="T2" fmla="*/ 16 w 29"/>
                  <a:gd name="T3" fmla="*/ 39 h 43"/>
                  <a:gd name="T4" fmla="*/ 13 w 29"/>
                  <a:gd name="T5" fmla="*/ 38 h 43"/>
                  <a:gd name="T6" fmla="*/ 19 w 29"/>
                  <a:gd name="T7" fmla="*/ 32 h 43"/>
                  <a:gd name="T8" fmla="*/ 19 w 29"/>
                  <a:gd name="T9" fmla="*/ 25 h 43"/>
                  <a:gd name="T10" fmla="*/ 21 w 29"/>
                  <a:gd name="T11" fmla="*/ 20 h 43"/>
                  <a:gd name="T12" fmla="*/ 24 w 29"/>
                  <a:gd name="T13" fmla="*/ 17 h 43"/>
                  <a:gd name="T14" fmla="*/ 24 w 29"/>
                  <a:gd name="T15" fmla="*/ 14 h 43"/>
                  <a:gd name="T16" fmla="*/ 21 w 29"/>
                  <a:gd name="T17" fmla="*/ 14 h 43"/>
                  <a:gd name="T18" fmla="*/ 19 w 29"/>
                  <a:gd name="T19" fmla="*/ 9 h 43"/>
                  <a:gd name="T20" fmla="*/ 16 w 29"/>
                  <a:gd name="T21" fmla="*/ 6 h 43"/>
                  <a:gd name="T22" fmla="*/ 14 w 29"/>
                  <a:gd name="T23" fmla="*/ 3 h 43"/>
                  <a:gd name="T24" fmla="*/ 11 w 29"/>
                  <a:gd name="T25" fmla="*/ 3 h 43"/>
                  <a:gd name="T26" fmla="*/ 7 w 29"/>
                  <a:gd name="T27" fmla="*/ 1 h 43"/>
                  <a:gd name="T28" fmla="*/ 3 w 29"/>
                  <a:gd name="T29" fmla="*/ 0 h 43"/>
                  <a:gd name="T30" fmla="*/ 0 w 29"/>
                  <a:gd name="T31" fmla="*/ 1 h 43"/>
                  <a:gd name="T32" fmla="*/ 3 w 29"/>
                  <a:gd name="T33" fmla="*/ 0 h 43"/>
                  <a:gd name="T34" fmla="*/ 7 w 29"/>
                  <a:gd name="T35" fmla="*/ 0 h 43"/>
                  <a:gd name="T36" fmla="*/ 11 w 29"/>
                  <a:gd name="T37" fmla="*/ 0 h 43"/>
                  <a:gd name="T38" fmla="*/ 14 w 29"/>
                  <a:gd name="T39" fmla="*/ 1 h 43"/>
                  <a:gd name="T40" fmla="*/ 18 w 29"/>
                  <a:gd name="T41" fmla="*/ 5 h 43"/>
                  <a:gd name="T42" fmla="*/ 19 w 29"/>
                  <a:gd name="T43" fmla="*/ 8 h 43"/>
                  <a:gd name="T44" fmla="*/ 21 w 29"/>
                  <a:gd name="T45" fmla="*/ 11 h 43"/>
                  <a:gd name="T46" fmla="*/ 24 w 29"/>
                  <a:gd name="T47" fmla="*/ 12 h 43"/>
                  <a:gd name="T48" fmla="*/ 29 w 29"/>
                  <a:gd name="T49" fmla="*/ 16 h 43"/>
                  <a:gd name="T50" fmla="*/ 27 w 29"/>
                  <a:gd name="T51" fmla="*/ 19 h 43"/>
                  <a:gd name="T52" fmla="*/ 29 w 29"/>
                  <a:gd name="T53" fmla="*/ 24 h 43"/>
                  <a:gd name="T54" fmla="*/ 22 w 29"/>
                  <a:gd name="T55" fmla="*/ 28 h 43"/>
                  <a:gd name="T56" fmla="*/ 21 w 29"/>
                  <a:gd name="T57" fmla="*/ 33 h 43"/>
                  <a:gd name="T58" fmla="*/ 19 w 29"/>
                  <a:gd name="T59" fmla="*/ 36 h 43"/>
                  <a:gd name="T60" fmla="*/ 18 w 29"/>
                  <a:gd name="T61" fmla="*/ 43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" h="43">
                    <a:moveTo>
                      <a:pt x="18" y="43"/>
                    </a:moveTo>
                    <a:lnTo>
                      <a:pt x="16" y="39"/>
                    </a:lnTo>
                    <a:lnTo>
                      <a:pt x="13" y="38"/>
                    </a:lnTo>
                    <a:lnTo>
                      <a:pt x="19" y="32"/>
                    </a:lnTo>
                    <a:lnTo>
                      <a:pt x="19" y="25"/>
                    </a:lnTo>
                    <a:lnTo>
                      <a:pt x="21" y="20"/>
                    </a:lnTo>
                    <a:lnTo>
                      <a:pt x="24" y="17"/>
                    </a:lnTo>
                    <a:lnTo>
                      <a:pt x="24" y="14"/>
                    </a:lnTo>
                    <a:lnTo>
                      <a:pt x="21" y="14"/>
                    </a:lnTo>
                    <a:lnTo>
                      <a:pt x="19" y="9"/>
                    </a:lnTo>
                    <a:lnTo>
                      <a:pt x="16" y="6"/>
                    </a:lnTo>
                    <a:lnTo>
                      <a:pt x="14" y="3"/>
                    </a:lnTo>
                    <a:lnTo>
                      <a:pt x="11" y="3"/>
                    </a:lnTo>
                    <a:lnTo>
                      <a:pt x="7" y="1"/>
                    </a:lnTo>
                    <a:lnTo>
                      <a:pt x="3" y="0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7" y="0"/>
                    </a:lnTo>
                    <a:lnTo>
                      <a:pt x="11" y="0"/>
                    </a:lnTo>
                    <a:lnTo>
                      <a:pt x="14" y="1"/>
                    </a:lnTo>
                    <a:lnTo>
                      <a:pt x="18" y="5"/>
                    </a:lnTo>
                    <a:lnTo>
                      <a:pt x="19" y="8"/>
                    </a:lnTo>
                    <a:lnTo>
                      <a:pt x="21" y="11"/>
                    </a:lnTo>
                    <a:lnTo>
                      <a:pt x="24" y="12"/>
                    </a:lnTo>
                    <a:lnTo>
                      <a:pt x="29" y="16"/>
                    </a:lnTo>
                    <a:lnTo>
                      <a:pt x="27" y="19"/>
                    </a:lnTo>
                    <a:lnTo>
                      <a:pt x="29" y="24"/>
                    </a:lnTo>
                    <a:lnTo>
                      <a:pt x="22" y="28"/>
                    </a:lnTo>
                    <a:lnTo>
                      <a:pt x="21" y="33"/>
                    </a:lnTo>
                    <a:lnTo>
                      <a:pt x="19" y="36"/>
                    </a:lnTo>
                    <a:lnTo>
                      <a:pt x="18" y="43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35" name="Freeform 1649"/>
              <p:cNvSpPr>
                <a:spLocks noChangeAspect="1"/>
              </p:cNvSpPr>
              <p:nvPr/>
            </p:nvSpPr>
            <p:spPr bwMode="auto">
              <a:xfrm>
                <a:off x="2011308" y="3157550"/>
                <a:ext cx="10722" cy="22406"/>
              </a:xfrm>
              <a:custGeom>
                <a:avLst/>
                <a:gdLst>
                  <a:gd name="T0" fmla="*/ 5 w 19"/>
                  <a:gd name="T1" fmla="*/ 5 h 35"/>
                  <a:gd name="T2" fmla="*/ 1 w 19"/>
                  <a:gd name="T3" fmla="*/ 3 h 35"/>
                  <a:gd name="T4" fmla="*/ 0 w 19"/>
                  <a:gd name="T5" fmla="*/ 0 h 35"/>
                  <a:gd name="T6" fmla="*/ 9 w 19"/>
                  <a:gd name="T7" fmla="*/ 6 h 35"/>
                  <a:gd name="T8" fmla="*/ 16 w 19"/>
                  <a:gd name="T9" fmla="*/ 14 h 35"/>
                  <a:gd name="T10" fmla="*/ 19 w 19"/>
                  <a:gd name="T11" fmla="*/ 17 h 35"/>
                  <a:gd name="T12" fmla="*/ 17 w 19"/>
                  <a:gd name="T13" fmla="*/ 21 h 35"/>
                  <a:gd name="T14" fmla="*/ 16 w 19"/>
                  <a:gd name="T15" fmla="*/ 24 h 35"/>
                  <a:gd name="T16" fmla="*/ 16 w 19"/>
                  <a:gd name="T17" fmla="*/ 28 h 35"/>
                  <a:gd name="T18" fmla="*/ 14 w 19"/>
                  <a:gd name="T19" fmla="*/ 32 h 35"/>
                  <a:gd name="T20" fmla="*/ 14 w 19"/>
                  <a:gd name="T21" fmla="*/ 35 h 35"/>
                  <a:gd name="T22" fmla="*/ 13 w 19"/>
                  <a:gd name="T23" fmla="*/ 32 h 35"/>
                  <a:gd name="T24" fmla="*/ 14 w 19"/>
                  <a:gd name="T25" fmla="*/ 28 h 35"/>
                  <a:gd name="T26" fmla="*/ 14 w 19"/>
                  <a:gd name="T27" fmla="*/ 24 h 35"/>
                  <a:gd name="T28" fmla="*/ 17 w 19"/>
                  <a:gd name="T29" fmla="*/ 21 h 35"/>
                  <a:gd name="T30" fmla="*/ 17 w 19"/>
                  <a:gd name="T31" fmla="*/ 17 h 35"/>
                  <a:gd name="T32" fmla="*/ 14 w 19"/>
                  <a:gd name="T33" fmla="*/ 14 h 35"/>
                  <a:gd name="T34" fmla="*/ 13 w 19"/>
                  <a:gd name="T35" fmla="*/ 9 h 35"/>
                  <a:gd name="T36" fmla="*/ 9 w 19"/>
                  <a:gd name="T37" fmla="*/ 8 h 35"/>
                  <a:gd name="T38" fmla="*/ 6 w 19"/>
                  <a:gd name="T39" fmla="*/ 6 h 35"/>
                  <a:gd name="T40" fmla="*/ 5 w 19"/>
                  <a:gd name="T41" fmla="*/ 5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9" h="35">
                    <a:moveTo>
                      <a:pt x="5" y="5"/>
                    </a:moveTo>
                    <a:lnTo>
                      <a:pt x="1" y="3"/>
                    </a:lnTo>
                    <a:lnTo>
                      <a:pt x="0" y="0"/>
                    </a:lnTo>
                    <a:lnTo>
                      <a:pt x="9" y="6"/>
                    </a:lnTo>
                    <a:lnTo>
                      <a:pt x="16" y="14"/>
                    </a:lnTo>
                    <a:lnTo>
                      <a:pt x="19" y="17"/>
                    </a:lnTo>
                    <a:lnTo>
                      <a:pt x="17" y="21"/>
                    </a:lnTo>
                    <a:lnTo>
                      <a:pt x="16" y="24"/>
                    </a:lnTo>
                    <a:lnTo>
                      <a:pt x="16" y="28"/>
                    </a:lnTo>
                    <a:lnTo>
                      <a:pt x="14" y="32"/>
                    </a:lnTo>
                    <a:lnTo>
                      <a:pt x="14" y="35"/>
                    </a:lnTo>
                    <a:lnTo>
                      <a:pt x="13" y="32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7" y="21"/>
                    </a:lnTo>
                    <a:lnTo>
                      <a:pt x="17" y="17"/>
                    </a:lnTo>
                    <a:lnTo>
                      <a:pt x="14" y="14"/>
                    </a:lnTo>
                    <a:lnTo>
                      <a:pt x="13" y="9"/>
                    </a:lnTo>
                    <a:lnTo>
                      <a:pt x="9" y="8"/>
                    </a:lnTo>
                    <a:lnTo>
                      <a:pt x="6" y="6"/>
                    </a:lnTo>
                    <a:lnTo>
                      <a:pt x="5" y="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36" name="Freeform 1650"/>
              <p:cNvSpPr>
                <a:spLocks noChangeAspect="1"/>
              </p:cNvSpPr>
              <p:nvPr/>
            </p:nvSpPr>
            <p:spPr bwMode="auto">
              <a:xfrm>
                <a:off x="2018450" y="3207633"/>
                <a:ext cx="5957" cy="5272"/>
              </a:xfrm>
              <a:custGeom>
                <a:avLst/>
                <a:gdLst>
                  <a:gd name="T0" fmla="*/ 0 w 9"/>
                  <a:gd name="T1" fmla="*/ 0 h 8"/>
                  <a:gd name="T2" fmla="*/ 4 w 9"/>
                  <a:gd name="T3" fmla="*/ 2 h 8"/>
                  <a:gd name="T4" fmla="*/ 6 w 9"/>
                  <a:gd name="T5" fmla="*/ 5 h 8"/>
                  <a:gd name="T6" fmla="*/ 9 w 9"/>
                  <a:gd name="T7" fmla="*/ 8 h 8"/>
                  <a:gd name="T8" fmla="*/ 6 w 9"/>
                  <a:gd name="T9" fmla="*/ 6 h 8"/>
                  <a:gd name="T10" fmla="*/ 3 w 9"/>
                  <a:gd name="T11" fmla="*/ 3 h 8"/>
                  <a:gd name="T12" fmla="*/ 0 w 9"/>
                  <a:gd name="T13" fmla="*/ 0 h 8"/>
                  <a:gd name="T14" fmla="*/ 0 w 9"/>
                  <a:gd name="T1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9" h="8">
                    <a:moveTo>
                      <a:pt x="0" y="0"/>
                    </a:moveTo>
                    <a:lnTo>
                      <a:pt x="4" y="2"/>
                    </a:lnTo>
                    <a:lnTo>
                      <a:pt x="6" y="5"/>
                    </a:lnTo>
                    <a:lnTo>
                      <a:pt x="9" y="8"/>
                    </a:lnTo>
                    <a:lnTo>
                      <a:pt x="6" y="6"/>
                    </a:lnTo>
                    <a:lnTo>
                      <a:pt x="3" y="3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37" name="Freeform 1651"/>
              <p:cNvSpPr>
                <a:spLocks noChangeAspect="1"/>
              </p:cNvSpPr>
              <p:nvPr/>
            </p:nvSpPr>
            <p:spPr bwMode="auto">
              <a:xfrm>
                <a:off x="2026799" y="3214222"/>
                <a:ext cx="1191" cy="1318"/>
              </a:xfrm>
              <a:custGeom>
                <a:avLst/>
                <a:gdLst>
                  <a:gd name="T0" fmla="*/ 3 w 3"/>
                  <a:gd name="T1" fmla="*/ 1 h 1"/>
                  <a:gd name="T2" fmla="*/ 0 w 3"/>
                  <a:gd name="T3" fmla="*/ 0 h 1"/>
                  <a:gd name="T4" fmla="*/ 3 w 3"/>
                  <a:gd name="T5" fmla="*/ 0 h 1"/>
                  <a:gd name="T6" fmla="*/ 3 w 3"/>
                  <a:gd name="T7" fmla="*/ 1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1">
                    <a:moveTo>
                      <a:pt x="3" y="1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3" y="1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38" name="Freeform 1652"/>
              <p:cNvSpPr>
                <a:spLocks noChangeAspect="1"/>
              </p:cNvSpPr>
              <p:nvPr/>
            </p:nvSpPr>
            <p:spPr bwMode="auto">
              <a:xfrm>
                <a:off x="2030366" y="3179944"/>
                <a:ext cx="5957" cy="14498"/>
              </a:xfrm>
              <a:custGeom>
                <a:avLst/>
                <a:gdLst>
                  <a:gd name="T0" fmla="*/ 4 w 9"/>
                  <a:gd name="T1" fmla="*/ 22 h 22"/>
                  <a:gd name="T2" fmla="*/ 3 w 9"/>
                  <a:gd name="T3" fmla="*/ 20 h 22"/>
                  <a:gd name="T4" fmla="*/ 6 w 9"/>
                  <a:gd name="T5" fmla="*/ 17 h 22"/>
                  <a:gd name="T6" fmla="*/ 4 w 9"/>
                  <a:gd name="T7" fmla="*/ 14 h 22"/>
                  <a:gd name="T8" fmla="*/ 1 w 9"/>
                  <a:gd name="T9" fmla="*/ 8 h 22"/>
                  <a:gd name="T10" fmla="*/ 0 w 9"/>
                  <a:gd name="T11" fmla="*/ 3 h 22"/>
                  <a:gd name="T12" fmla="*/ 0 w 9"/>
                  <a:gd name="T13" fmla="*/ 0 h 22"/>
                  <a:gd name="T14" fmla="*/ 1 w 9"/>
                  <a:gd name="T15" fmla="*/ 3 h 22"/>
                  <a:gd name="T16" fmla="*/ 3 w 9"/>
                  <a:gd name="T17" fmla="*/ 8 h 22"/>
                  <a:gd name="T18" fmla="*/ 4 w 9"/>
                  <a:gd name="T19" fmla="*/ 11 h 22"/>
                  <a:gd name="T20" fmla="*/ 8 w 9"/>
                  <a:gd name="T21" fmla="*/ 14 h 22"/>
                  <a:gd name="T22" fmla="*/ 9 w 9"/>
                  <a:gd name="T23" fmla="*/ 17 h 22"/>
                  <a:gd name="T24" fmla="*/ 8 w 9"/>
                  <a:gd name="T25" fmla="*/ 20 h 22"/>
                  <a:gd name="T26" fmla="*/ 4 w 9"/>
                  <a:gd name="T27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" h="22">
                    <a:moveTo>
                      <a:pt x="4" y="22"/>
                    </a:moveTo>
                    <a:lnTo>
                      <a:pt x="3" y="20"/>
                    </a:lnTo>
                    <a:lnTo>
                      <a:pt x="6" y="17"/>
                    </a:lnTo>
                    <a:lnTo>
                      <a:pt x="4" y="14"/>
                    </a:lnTo>
                    <a:lnTo>
                      <a:pt x="1" y="8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1" y="3"/>
                    </a:lnTo>
                    <a:lnTo>
                      <a:pt x="3" y="8"/>
                    </a:lnTo>
                    <a:lnTo>
                      <a:pt x="4" y="11"/>
                    </a:lnTo>
                    <a:lnTo>
                      <a:pt x="8" y="14"/>
                    </a:lnTo>
                    <a:lnTo>
                      <a:pt x="9" y="17"/>
                    </a:lnTo>
                    <a:lnTo>
                      <a:pt x="8" y="20"/>
                    </a:lnTo>
                    <a:lnTo>
                      <a:pt x="4" y="22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39" name="Freeform 1653"/>
              <p:cNvSpPr>
                <a:spLocks noChangeAspect="1"/>
              </p:cNvSpPr>
              <p:nvPr/>
            </p:nvSpPr>
            <p:spPr bwMode="auto">
              <a:xfrm>
                <a:off x="2033953" y="3207621"/>
                <a:ext cx="7148" cy="21088"/>
              </a:xfrm>
              <a:custGeom>
                <a:avLst/>
                <a:gdLst>
                  <a:gd name="T0" fmla="*/ 0 w 13"/>
                  <a:gd name="T1" fmla="*/ 0 h 32"/>
                  <a:gd name="T2" fmla="*/ 2 w 13"/>
                  <a:gd name="T3" fmla="*/ 2 h 32"/>
                  <a:gd name="T4" fmla="*/ 3 w 13"/>
                  <a:gd name="T5" fmla="*/ 5 h 32"/>
                  <a:gd name="T6" fmla="*/ 3 w 13"/>
                  <a:gd name="T7" fmla="*/ 8 h 32"/>
                  <a:gd name="T8" fmla="*/ 5 w 13"/>
                  <a:gd name="T9" fmla="*/ 13 h 32"/>
                  <a:gd name="T10" fmla="*/ 6 w 13"/>
                  <a:gd name="T11" fmla="*/ 16 h 32"/>
                  <a:gd name="T12" fmla="*/ 6 w 13"/>
                  <a:gd name="T13" fmla="*/ 19 h 32"/>
                  <a:gd name="T14" fmla="*/ 8 w 13"/>
                  <a:gd name="T15" fmla="*/ 22 h 32"/>
                  <a:gd name="T16" fmla="*/ 11 w 13"/>
                  <a:gd name="T17" fmla="*/ 24 h 32"/>
                  <a:gd name="T18" fmla="*/ 13 w 13"/>
                  <a:gd name="T19" fmla="*/ 27 h 32"/>
                  <a:gd name="T20" fmla="*/ 11 w 13"/>
                  <a:gd name="T21" fmla="*/ 32 h 32"/>
                  <a:gd name="T22" fmla="*/ 9 w 13"/>
                  <a:gd name="T23" fmla="*/ 27 h 32"/>
                  <a:gd name="T24" fmla="*/ 8 w 13"/>
                  <a:gd name="T25" fmla="*/ 24 h 32"/>
                  <a:gd name="T26" fmla="*/ 3 w 13"/>
                  <a:gd name="T27" fmla="*/ 22 h 32"/>
                  <a:gd name="T28" fmla="*/ 2 w 13"/>
                  <a:gd name="T29" fmla="*/ 19 h 32"/>
                  <a:gd name="T30" fmla="*/ 5 w 13"/>
                  <a:gd name="T31" fmla="*/ 21 h 32"/>
                  <a:gd name="T32" fmla="*/ 3 w 13"/>
                  <a:gd name="T33" fmla="*/ 17 h 32"/>
                  <a:gd name="T34" fmla="*/ 5 w 13"/>
                  <a:gd name="T35" fmla="*/ 14 h 32"/>
                  <a:gd name="T36" fmla="*/ 3 w 13"/>
                  <a:gd name="T37" fmla="*/ 11 h 32"/>
                  <a:gd name="T38" fmla="*/ 2 w 13"/>
                  <a:gd name="T39" fmla="*/ 6 h 32"/>
                  <a:gd name="T40" fmla="*/ 0 w 13"/>
                  <a:gd name="T41" fmla="*/ 3 h 32"/>
                  <a:gd name="T42" fmla="*/ 0 w 13"/>
                  <a:gd name="T43" fmla="*/ 0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3" h="32">
                    <a:moveTo>
                      <a:pt x="0" y="0"/>
                    </a:moveTo>
                    <a:lnTo>
                      <a:pt x="2" y="2"/>
                    </a:lnTo>
                    <a:lnTo>
                      <a:pt x="3" y="5"/>
                    </a:lnTo>
                    <a:lnTo>
                      <a:pt x="3" y="8"/>
                    </a:lnTo>
                    <a:lnTo>
                      <a:pt x="5" y="13"/>
                    </a:lnTo>
                    <a:lnTo>
                      <a:pt x="6" y="16"/>
                    </a:lnTo>
                    <a:lnTo>
                      <a:pt x="6" y="19"/>
                    </a:lnTo>
                    <a:lnTo>
                      <a:pt x="8" y="22"/>
                    </a:lnTo>
                    <a:lnTo>
                      <a:pt x="11" y="24"/>
                    </a:lnTo>
                    <a:lnTo>
                      <a:pt x="13" y="27"/>
                    </a:lnTo>
                    <a:lnTo>
                      <a:pt x="11" y="32"/>
                    </a:lnTo>
                    <a:lnTo>
                      <a:pt x="9" y="27"/>
                    </a:lnTo>
                    <a:lnTo>
                      <a:pt x="8" y="24"/>
                    </a:lnTo>
                    <a:lnTo>
                      <a:pt x="3" y="22"/>
                    </a:lnTo>
                    <a:lnTo>
                      <a:pt x="2" y="19"/>
                    </a:lnTo>
                    <a:lnTo>
                      <a:pt x="5" y="21"/>
                    </a:lnTo>
                    <a:lnTo>
                      <a:pt x="3" y="17"/>
                    </a:lnTo>
                    <a:lnTo>
                      <a:pt x="5" y="14"/>
                    </a:lnTo>
                    <a:lnTo>
                      <a:pt x="3" y="11"/>
                    </a:lnTo>
                    <a:lnTo>
                      <a:pt x="2" y="6"/>
                    </a:lnTo>
                    <a:lnTo>
                      <a:pt x="0" y="3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40" name="Freeform 1654"/>
              <p:cNvSpPr>
                <a:spLocks noChangeAspect="1"/>
              </p:cNvSpPr>
              <p:nvPr/>
            </p:nvSpPr>
            <p:spPr bwMode="auto">
              <a:xfrm>
                <a:off x="2050605" y="3195761"/>
                <a:ext cx="3574" cy="3954"/>
              </a:xfrm>
              <a:custGeom>
                <a:avLst/>
                <a:gdLst>
                  <a:gd name="T0" fmla="*/ 2 w 5"/>
                  <a:gd name="T1" fmla="*/ 0 h 6"/>
                  <a:gd name="T2" fmla="*/ 5 w 5"/>
                  <a:gd name="T3" fmla="*/ 0 h 6"/>
                  <a:gd name="T4" fmla="*/ 5 w 5"/>
                  <a:gd name="T5" fmla="*/ 3 h 6"/>
                  <a:gd name="T6" fmla="*/ 0 w 5"/>
                  <a:gd name="T7" fmla="*/ 6 h 6"/>
                  <a:gd name="T8" fmla="*/ 2 w 5"/>
                  <a:gd name="T9" fmla="*/ 3 h 6"/>
                  <a:gd name="T10" fmla="*/ 2 w 5"/>
                  <a:gd name="T11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6">
                    <a:moveTo>
                      <a:pt x="2" y="0"/>
                    </a:moveTo>
                    <a:lnTo>
                      <a:pt x="5" y="0"/>
                    </a:lnTo>
                    <a:lnTo>
                      <a:pt x="5" y="3"/>
                    </a:lnTo>
                    <a:lnTo>
                      <a:pt x="0" y="6"/>
                    </a:lnTo>
                    <a:lnTo>
                      <a:pt x="2" y="3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41" name="Freeform 1655"/>
              <p:cNvSpPr>
                <a:spLocks noChangeAspect="1"/>
              </p:cNvSpPr>
              <p:nvPr/>
            </p:nvSpPr>
            <p:spPr bwMode="auto">
              <a:xfrm>
                <a:off x="2051769" y="3230044"/>
                <a:ext cx="4765" cy="5272"/>
              </a:xfrm>
              <a:custGeom>
                <a:avLst/>
                <a:gdLst>
                  <a:gd name="T0" fmla="*/ 8 w 8"/>
                  <a:gd name="T1" fmla="*/ 8 h 8"/>
                  <a:gd name="T2" fmla="*/ 5 w 8"/>
                  <a:gd name="T3" fmla="*/ 7 h 8"/>
                  <a:gd name="T4" fmla="*/ 0 w 8"/>
                  <a:gd name="T5" fmla="*/ 3 h 8"/>
                  <a:gd name="T6" fmla="*/ 0 w 8"/>
                  <a:gd name="T7" fmla="*/ 0 h 8"/>
                  <a:gd name="T8" fmla="*/ 5 w 8"/>
                  <a:gd name="T9" fmla="*/ 3 h 8"/>
                  <a:gd name="T10" fmla="*/ 8 w 8"/>
                  <a:gd name="T11" fmla="*/ 5 h 8"/>
                  <a:gd name="T12" fmla="*/ 8 w 8"/>
                  <a:gd name="T13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8" h="8">
                    <a:moveTo>
                      <a:pt x="8" y="8"/>
                    </a:moveTo>
                    <a:lnTo>
                      <a:pt x="5" y="7"/>
                    </a:lnTo>
                    <a:lnTo>
                      <a:pt x="0" y="3"/>
                    </a:lnTo>
                    <a:lnTo>
                      <a:pt x="0" y="0"/>
                    </a:lnTo>
                    <a:lnTo>
                      <a:pt x="5" y="3"/>
                    </a:lnTo>
                    <a:lnTo>
                      <a:pt x="8" y="5"/>
                    </a:lnTo>
                    <a:lnTo>
                      <a:pt x="8" y="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42" name="Freeform 1656"/>
              <p:cNvSpPr>
                <a:spLocks noChangeAspect="1"/>
              </p:cNvSpPr>
              <p:nvPr/>
            </p:nvSpPr>
            <p:spPr bwMode="auto">
              <a:xfrm>
                <a:off x="2058902" y="3270937"/>
                <a:ext cx="15487" cy="10544"/>
              </a:xfrm>
              <a:custGeom>
                <a:avLst/>
                <a:gdLst>
                  <a:gd name="T0" fmla="*/ 0 w 25"/>
                  <a:gd name="T1" fmla="*/ 18 h 18"/>
                  <a:gd name="T2" fmla="*/ 0 w 25"/>
                  <a:gd name="T3" fmla="*/ 14 h 18"/>
                  <a:gd name="T4" fmla="*/ 1 w 25"/>
                  <a:gd name="T5" fmla="*/ 11 h 18"/>
                  <a:gd name="T6" fmla="*/ 5 w 25"/>
                  <a:gd name="T7" fmla="*/ 8 h 18"/>
                  <a:gd name="T8" fmla="*/ 8 w 25"/>
                  <a:gd name="T9" fmla="*/ 7 h 18"/>
                  <a:gd name="T10" fmla="*/ 12 w 25"/>
                  <a:gd name="T11" fmla="*/ 5 h 18"/>
                  <a:gd name="T12" fmla="*/ 16 w 25"/>
                  <a:gd name="T13" fmla="*/ 8 h 18"/>
                  <a:gd name="T14" fmla="*/ 19 w 25"/>
                  <a:gd name="T15" fmla="*/ 7 h 18"/>
                  <a:gd name="T16" fmla="*/ 22 w 25"/>
                  <a:gd name="T17" fmla="*/ 3 h 18"/>
                  <a:gd name="T18" fmla="*/ 25 w 25"/>
                  <a:gd name="T19" fmla="*/ 0 h 18"/>
                  <a:gd name="T20" fmla="*/ 25 w 25"/>
                  <a:gd name="T21" fmla="*/ 5 h 18"/>
                  <a:gd name="T22" fmla="*/ 24 w 25"/>
                  <a:gd name="T23" fmla="*/ 8 h 18"/>
                  <a:gd name="T24" fmla="*/ 20 w 25"/>
                  <a:gd name="T25" fmla="*/ 11 h 18"/>
                  <a:gd name="T26" fmla="*/ 19 w 25"/>
                  <a:gd name="T27" fmla="*/ 14 h 18"/>
                  <a:gd name="T28" fmla="*/ 16 w 25"/>
                  <a:gd name="T29" fmla="*/ 16 h 18"/>
                  <a:gd name="T30" fmla="*/ 12 w 25"/>
                  <a:gd name="T31" fmla="*/ 16 h 18"/>
                  <a:gd name="T32" fmla="*/ 9 w 25"/>
                  <a:gd name="T33" fmla="*/ 16 h 18"/>
                  <a:gd name="T34" fmla="*/ 1 w 25"/>
                  <a:gd name="T35" fmla="*/ 16 h 18"/>
                  <a:gd name="T36" fmla="*/ 0 w 25"/>
                  <a:gd name="T37" fmla="*/ 18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18">
                    <a:moveTo>
                      <a:pt x="0" y="18"/>
                    </a:moveTo>
                    <a:lnTo>
                      <a:pt x="0" y="14"/>
                    </a:lnTo>
                    <a:lnTo>
                      <a:pt x="1" y="11"/>
                    </a:lnTo>
                    <a:lnTo>
                      <a:pt x="5" y="8"/>
                    </a:lnTo>
                    <a:lnTo>
                      <a:pt x="8" y="7"/>
                    </a:lnTo>
                    <a:lnTo>
                      <a:pt x="12" y="5"/>
                    </a:lnTo>
                    <a:lnTo>
                      <a:pt x="16" y="8"/>
                    </a:lnTo>
                    <a:lnTo>
                      <a:pt x="19" y="7"/>
                    </a:lnTo>
                    <a:lnTo>
                      <a:pt x="22" y="3"/>
                    </a:lnTo>
                    <a:lnTo>
                      <a:pt x="25" y="0"/>
                    </a:lnTo>
                    <a:lnTo>
                      <a:pt x="25" y="5"/>
                    </a:lnTo>
                    <a:lnTo>
                      <a:pt x="24" y="8"/>
                    </a:lnTo>
                    <a:lnTo>
                      <a:pt x="20" y="11"/>
                    </a:lnTo>
                    <a:lnTo>
                      <a:pt x="19" y="14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9" y="16"/>
                    </a:lnTo>
                    <a:lnTo>
                      <a:pt x="1" y="16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43" name="Freeform 1657"/>
              <p:cNvSpPr>
                <a:spLocks noChangeAspect="1"/>
              </p:cNvSpPr>
              <p:nvPr/>
            </p:nvSpPr>
            <p:spPr bwMode="auto">
              <a:xfrm>
                <a:off x="2074490" y="3265671"/>
                <a:ext cx="2383" cy="2636"/>
              </a:xfrm>
              <a:custGeom>
                <a:avLst/>
                <a:gdLst>
                  <a:gd name="T0" fmla="*/ 0 w 3"/>
                  <a:gd name="T1" fmla="*/ 5 h 5"/>
                  <a:gd name="T2" fmla="*/ 0 w 3"/>
                  <a:gd name="T3" fmla="*/ 0 h 5"/>
                  <a:gd name="T4" fmla="*/ 3 w 3"/>
                  <a:gd name="T5" fmla="*/ 0 h 5"/>
                  <a:gd name="T6" fmla="*/ 0 w 3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" h="5">
                    <a:moveTo>
                      <a:pt x="0" y="5"/>
                    </a:moveTo>
                    <a:lnTo>
                      <a:pt x="0" y="0"/>
                    </a:lnTo>
                    <a:lnTo>
                      <a:pt x="3" y="0"/>
                    </a:lnTo>
                    <a:lnTo>
                      <a:pt x="0" y="5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  <p:sp>
            <p:nvSpPr>
              <p:cNvPr id="444" name="Freeform 1658"/>
              <p:cNvSpPr>
                <a:spLocks noChangeAspect="1"/>
              </p:cNvSpPr>
              <p:nvPr/>
            </p:nvSpPr>
            <p:spPr bwMode="auto">
              <a:xfrm>
                <a:off x="2075679" y="3240688"/>
                <a:ext cx="7148" cy="5272"/>
              </a:xfrm>
              <a:custGeom>
                <a:avLst/>
                <a:gdLst>
                  <a:gd name="T0" fmla="*/ 11 w 12"/>
                  <a:gd name="T1" fmla="*/ 6 h 6"/>
                  <a:gd name="T2" fmla="*/ 8 w 12"/>
                  <a:gd name="T3" fmla="*/ 3 h 6"/>
                  <a:gd name="T4" fmla="*/ 4 w 12"/>
                  <a:gd name="T5" fmla="*/ 3 h 6"/>
                  <a:gd name="T6" fmla="*/ 1 w 12"/>
                  <a:gd name="T7" fmla="*/ 3 h 6"/>
                  <a:gd name="T8" fmla="*/ 0 w 12"/>
                  <a:gd name="T9" fmla="*/ 0 h 6"/>
                  <a:gd name="T10" fmla="*/ 3 w 12"/>
                  <a:gd name="T11" fmla="*/ 0 h 6"/>
                  <a:gd name="T12" fmla="*/ 6 w 12"/>
                  <a:gd name="T13" fmla="*/ 1 h 6"/>
                  <a:gd name="T14" fmla="*/ 11 w 12"/>
                  <a:gd name="T15" fmla="*/ 1 h 6"/>
                  <a:gd name="T16" fmla="*/ 12 w 12"/>
                  <a:gd name="T17" fmla="*/ 5 h 6"/>
                  <a:gd name="T18" fmla="*/ 11 w 12"/>
                  <a:gd name="T1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2" h="6">
                    <a:moveTo>
                      <a:pt x="11" y="6"/>
                    </a:moveTo>
                    <a:lnTo>
                      <a:pt x="8" y="3"/>
                    </a:lnTo>
                    <a:lnTo>
                      <a:pt x="4" y="3"/>
                    </a:lnTo>
                    <a:lnTo>
                      <a:pt x="1" y="3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6" y="1"/>
                    </a:lnTo>
                    <a:lnTo>
                      <a:pt x="11" y="1"/>
                    </a:lnTo>
                    <a:lnTo>
                      <a:pt x="12" y="5"/>
                    </a:lnTo>
                    <a:lnTo>
                      <a:pt x="11" y="6"/>
                    </a:lnTo>
                    <a:close/>
                  </a:path>
                </a:pathLst>
              </a:custGeom>
              <a:grpFill/>
              <a:ln w="1270" cap="flat" cmpd="sng">
                <a:solidFill>
                  <a:srgbClr val="B9BFDB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0" tIns="0" rIns="0" bIns="0" anchor="ctr"/>
              <a:lstStyle/>
              <a:p>
                <a:endParaRPr lang="en-GB" dirty="0"/>
              </a:p>
            </p:txBody>
          </p:sp>
        </p:grpSp>
        <p:sp>
          <p:nvSpPr>
            <p:cNvPr id="395" name="Freeform 114"/>
            <p:cNvSpPr>
              <a:spLocks noChangeAspect="1"/>
            </p:cNvSpPr>
            <p:nvPr/>
          </p:nvSpPr>
          <p:spPr bwMode="auto">
            <a:xfrm>
              <a:off x="8099025" y="4753401"/>
              <a:ext cx="80851" cy="64738"/>
            </a:xfrm>
            <a:custGeom>
              <a:avLst/>
              <a:gdLst>
                <a:gd name="T0" fmla="*/ 23 w 46"/>
                <a:gd name="T1" fmla="*/ 31 h 31"/>
                <a:gd name="T2" fmla="*/ 27 w 46"/>
                <a:gd name="T3" fmla="*/ 30 h 31"/>
                <a:gd name="T4" fmla="*/ 31 w 46"/>
                <a:gd name="T5" fmla="*/ 30 h 31"/>
                <a:gd name="T6" fmla="*/ 35 w 46"/>
                <a:gd name="T7" fmla="*/ 28 h 31"/>
                <a:gd name="T8" fmla="*/ 38 w 46"/>
                <a:gd name="T9" fmla="*/ 25 h 31"/>
                <a:gd name="T10" fmla="*/ 41 w 46"/>
                <a:gd name="T11" fmla="*/ 25 h 31"/>
                <a:gd name="T12" fmla="*/ 44 w 46"/>
                <a:gd name="T13" fmla="*/ 20 h 31"/>
                <a:gd name="T14" fmla="*/ 44 w 46"/>
                <a:gd name="T15" fmla="*/ 17 h 31"/>
                <a:gd name="T16" fmla="*/ 46 w 46"/>
                <a:gd name="T17" fmla="*/ 14 h 31"/>
                <a:gd name="T18" fmla="*/ 41 w 46"/>
                <a:gd name="T19" fmla="*/ 12 h 31"/>
                <a:gd name="T20" fmla="*/ 38 w 46"/>
                <a:gd name="T21" fmla="*/ 11 h 31"/>
                <a:gd name="T22" fmla="*/ 39 w 46"/>
                <a:gd name="T23" fmla="*/ 8 h 31"/>
                <a:gd name="T24" fmla="*/ 36 w 46"/>
                <a:gd name="T25" fmla="*/ 4 h 31"/>
                <a:gd name="T26" fmla="*/ 30 w 46"/>
                <a:gd name="T27" fmla="*/ 1 h 31"/>
                <a:gd name="T28" fmla="*/ 27 w 46"/>
                <a:gd name="T29" fmla="*/ 0 h 31"/>
                <a:gd name="T30" fmla="*/ 23 w 46"/>
                <a:gd name="T31" fmla="*/ 0 h 31"/>
                <a:gd name="T32" fmla="*/ 11 w 46"/>
                <a:gd name="T33" fmla="*/ 1 h 31"/>
                <a:gd name="T34" fmla="*/ 1 w 46"/>
                <a:gd name="T35" fmla="*/ 3 h 31"/>
                <a:gd name="T36" fmla="*/ 0 w 46"/>
                <a:gd name="T37" fmla="*/ 9 h 31"/>
                <a:gd name="T38" fmla="*/ 1 w 46"/>
                <a:gd name="T39" fmla="*/ 12 h 31"/>
                <a:gd name="T40" fmla="*/ 3 w 46"/>
                <a:gd name="T41" fmla="*/ 17 h 31"/>
                <a:gd name="T42" fmla="*/ 4 w 46"/>
                <a:gd name="T43" fmla="*/ 20 h 31"/>
                <a:gd name="T44" fmla="*/ 14 w 46"/>
                <a:gd name="T45" fmla="*/ 27 h 31"/>
                <a:gd name="T46" fmla="*/ 23 w 46"/>
                <a:gd name="T47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" h="31">
                  <a:moveTo>
                    <a:pt x="23" y="31"/>
                  </a:moveTo>
                  <a:lnTo>
                    <a:pt x="27" y="30"/>
                  </a:lnTo>
                  <a:lnTo>
                    <a:pt x="31" y="30"/>
                  </a:lnTo>
                  <a:lnTo>
                    <a:pt x="35" y="28"/>
                  </a:lnTo>
                  <a:lnTo>
                    <a:pt x="38" y="25"/>
                  </a:lnTo>
                  <a:lnTo>
                    <a:pt x="41" y="25"/>
                  </a:lnTo>
                  <a:lnTo>
                    <a:pt x="44" y="20"/>
                  </a:lnTo>
                  <a:lnTo>
                    <a:pt x="44" y="17"/>
                  </a:lnTo>
                  <a:lnTo>
                    <a:pt x="46" y="14"/>
                  </a:lnTo>
                  <a:lnTo>
                    <a:pt x="41" y="12"/>
                  </a:lnTo>
                  <a:lnTo>
                    <a:pt x="38" y="11"/>
                  </a:lnTo>
                  <a:lnTo>
                    <a:pt x="39" y="8"/>
                  </a:lnTo>
                  <a:lnTo>
                    <a:pt x="36" y="4"/>
                  </a:lnTo>
                  <a:lnTo>
                    <a:pt x="30" y="1"/>
                  </a:lnTo>
                  <a:lnTo>
                    <a:pt x="27" y="0"/>
                  </a:lnTo>
                  <a:lnTo>
                    <a:pt x="23" y="0"/>
                  </a:lnTo>
                  <a:lnTo>
                    <a:pt x="11" y="1"/>
                  </a:lnTo>
                  <a:lnTo>
                    <a:pt x="1" y="3"/>
                  </a:lnTo>
                  <a:lnTo>
                    <a:pt x="0" y="9"/>
                  </a:lnTo>
                  <a:lnTo>
                    <a:pt x="1" y="12"/>
                  </a:lnTo>
                  <a:lnTo>
                    <a:pt x="3" y="17"/>
                  </a:lnTo>
                  <a:lnTo>
                    <a:pt x="4" y="20"/>
                  </a:lnTo>
                  <a:lnTo>
                    <a:pt x="14" y="27"/>
                  </a:lnTo>
                  <a:lnTo>
                    <a:pt x="23" y="31"/>
                  </a:lnTo>
                  <a:close/>
                </a:path>
              </a:pathLst>
            </a:custGeom>
            <a:solidFill>
              <a:srgbClr val="1F497D"/>
            </a:solidFill>
            <a:ln w="127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rIns="0" bIns="0" anchor="ctr"/>
            <a:lstStyle/>
            <a:p>
              <a:endParaRPr lang="en-GB" dirty="0"/>
            </a:p>
          </p:txBody>
        </p:sp>
      </p:grpSp>
      <p:graphicFrame>
        <p:nvGraphicFramePr>
          <p:cNvPr id="899" name="Table 898"/>
          <p:cNvGraphicFramePr>
            <a:graphicFrameLocks noGrp="1"/>
          </p:cNvGraphicFramePr>
          <p:nvPr/>
        </p:nvGraphicFramePr>
        <p:xfrm>
          <a:off x="56456" y="1836801"/>
          <a:ext cx="1944216" cy="1520190"/>
        </p:xfrm>
        <a:graphic>
          <a:graphicData uri="http://schemas.openxmlformats.org/drawingml/2006/table">
            <a:tbl>
              <a:tblPr/>
              <a:tblGrid>
                <a:gridCol w="1944216"/>
              </a:tblGrid>
              <a:tr h="25336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smtClean="0">
                          <a:solidFill>
                            <a:schemeClr val="tx2"/>
                          </a:solidFill>
                          <a:latin typeface="+mn-lt"/>
                          <a:sym typeface="Wingdings"/>
                        </a:rPr>
                        <a:t>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Brazil, Sao Paolo</a:t>
                      </a:r>
                      <a:endParaRPr lang="en-US" sz="1600" b="0" i="0" u="none" strike="noStrike" dirty="0">
                        <a:solidFill>
                          <a:srgbClr val="00B0F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336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smtClean="0">
                          <a:solidFill>
                            <a:schemeClr val="tx2"/>
                          </a:solidFill>
                          <a:latin typeface="+mn-lt"/>
                          <a:sym typeface="Wingdings"/>
                        </a:rPr>
                        <a:t></a:t>
                      </a:r>
                      <a:r>
                        <a:rPr lang="en-US" sz="1600" b="0" i="0" u="none" strike="noStrike" dirty="0" smtClean="0">
                          <a:solidFill>
                            <a:srgbClr val="00B0F0"/>
                          </a:solidFill>
                          <a:latin typeface="+mn-lt"/>
                          <a:sym typeface="Wingdings"/>
                        </a:rPr>
                        <a:t>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Russia,</a:t>
                      </a:r>
                      <a:r>
                        <a:rPr lang="en-US" sz="1600" b="0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Moscow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336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smtClean="0">
                          <a:solidFill>
                            <a:schemeClr val="tx2"/>
                          </a:solidFill>
                          <a:latin typeface="+mn-lt"/>
                          <a:sym typeface="Wingdings"/>
                        </a:rPr>
                        <a:t></a:t>
                      </a:r>
                      <a:r>
                        <a:rPr lang="en-US" sz="1600" b="0" i="0" u="none" strike="noStrike" dirty="0" smtClean="0">
                          <a:solidFill>
                            <a:srgbClr val="00B0F0"/>
                          </a:solidFill>
                          <a:latin typeface="+mn-lt"/>
                          <a:sym typeface="Wingdings"/>
                        </a:rPr>
                        <a:t>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Singapore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336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smtClean="0">
                          <a:solidFill>
                            <a:schemeClr val="tx2"/>
                          </a:solidFill>
                          <a:latin typeface="+mn-lt"/>
                          <a:sym typeface="Wingdings"/>
                        </a:rPr>
                        <a:t></a:t>
                      </a:r>
                      <a:r>
                        <a:rPr lang="en-US" sz="1600" b="0" i="0" u="none" strike="noStrike" dirty="0" smtClean="0">
                          <a:solidFill>
                            <a:srgbClr val="00B0F0"/>
                          </a:solidFill>
                          <a:latin typeface="+mn-lt"/>
                          <a:sym typeface="Wingdings"/>
                        </a:rPr>
                        <a:t>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Turkey, Istanbul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336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smtClean="0">
                          <a:solidFill>
                            <a:schemeClr val="tx2"/>
                          </a:solidFill>
                          <a:latin typeface="+mn-lt"/>
                          <a:sym typeface="Wingdings"/>
                        </a:rPr>
                        <a:t></a:t>
                      </a:r>
                      <a:r>
                        <a:rPr lang="en-US" sz="1600" b="0" i="0" u="none" strike="noStrike" dirty="0" smtClean="0">
                          <a:solidFill>
                            <a:srgbClr val="00B050"/>
                          </a:solidFill>
                          <a:latin typeface="+mn-lt"/>
                          <a:sym typeface="Wingdings"/>
                        </a:rPr>
                        <a:t> </a:t>
                      </a:r>
                      <a:r>
                        <a:rPr lang="en-US" sz="1600" b="1" i="0" u="sng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UK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, London [HQ]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336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smtClean="0">
                          <a:solidFill>
                            <a:schemeClr val="tx2"/>
                          </a:solidFill>
                          <a:latin typeface="+mn-lt"/>
                          <a:sym typeface="Wingdings"/>
                        </a:rPr>
                        <a:t></a:t>
                      </a:r>
                      <a:r>
                        <a:rPr lang="en-US" sz="1600" b="0" i="0" u="none" strike="noStrike" dirty="0" smtClean="0">
                          <a:solidFill>
                            <a:srgbClr val="00B0F0"/>
                          </a:solidFill>
                          <a:latin typeface="+mn-lt"/>
                          <a:sym typeface="Wingdings"/>
                        </a:rPr>
                        <a:t> </a:t>
                      </a:r>
                      <a:r>
                        <a:rPr lang="en-US" sz="16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USA, New York 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</a:tbl>
          </a:graphicData>
        </a:graphic>
      </p:graphicFrame>
      <p:pic>
        <p:nvPicPr>
          <p:cNvPr id="191491" name="Picture 3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4088904" y="5589240"/>
            <a:ext cx="4719654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95" name="TextBox 894"/>
          <p:cNvSpPr txBox="1"/>
          <p:nvPr/>
        </p:nvSpPr>
        <p:spPr>
          <a:xfrm>
            <a:off x="5940000" y="940659"/>
            <a:ext cx="3969654" cy="338544"/>
          </a:xfrm>
          <a:prstGeom prst="rect">
            <a:avLst/>
          </a:prstGeom>
          <a:solidFill>
            <a:schemeClr val="tx2"/>
          </a:solidFill>
        </p:spPr>
        <p:txBody>
          <a:bodyPr wrap="none" lIns="91429" tIns="45715" rIns="91429" bIns="45715" rtlCol="0">
            <a:spAutoFit/>
          </a:bodyPr>
          <a:lstStyle/>
          <a:p>
            <a:r>
              <a:rPr lang="en-US" sz="1600" dirty="0" smtClean="0">
                <a:solidFill>
                  <a:schemeClr val="bg1"/>
                </a:solidFill>
              </a:rPr>
              <a:t>Delivering Trade Finance Solutions since 1984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B2ABE9-6071-4D16-A39E-5B809A1D04EE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16" name="Rectangle 5"/>
          <p:cNvSpPr txBox="1">
            <a:spLocks noChangeArrowheads="1"/>
          </p:cNvSpPr>
          <p:nvPr>
            <p:custDataLst>
              <p:tags r:id="rId1"/>
            </p:custDataLst>
          </p:nvPr>
        </p:nvSpPr>
        <p:spPr>
          <a:xfrm>
            <a:off x="956556" y="2276873"/>
            <a:ext cx="7991475" cy="1548172"/>
          </a:xfrm>
          <a:prstGeom prst="rect">
            <a:avLst/>
          </a:prstGeom>
          <a:noFill/>
        </p:spPr>
        <p:txBody>
          <a:bodyPr lIns="91429" tIns="45715" rIns="91429" bIns="45715" anchor="ctr"/>
          <a:lstStyle/>
          <a:p>
            <a:pPr algn="ctr">
              <a:spcBef>
                <a:spcPct val="0"/>
              </a:spcBef>
              <a:defRPr/>
            </a:pPr>
            <a:r>
              <a:rPr lang="en-US" sz="4300" dirty="0" smtClean="0">
                <a:solidFill>
                  <a:srgbClr val="00B0F0"/>
                </a:solidFill>
                <a:latin typeface="Cambria" pitchFamily="18" charset="0"/>
                <a:ea typeface="+mj-ea"/>
                <a:cs typeface="+mj-cs"/>
              </a:rPr>
              <a:t>Forfaiting: The Basic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faiting : The Basics</a:t>
            </a:r>
            <a:endParaRPr lang="en-US" dirty="0"/>
          </a:p>
        </p:txBody>
      </p:sp>
      <p:graphicFrame>
        <p:nvGraphicFramePr>
          <p:cNvPr id="11" name="Diagram 10"/>
          <p:cNvGraphicFramePr/>
          <p:nvPr/>
        </p:nvGraphicFramePr>
        <p:xfrm>
          <a:off x="3800872" y="980728"/>
          <a:ext cx="5976664" cy="5688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Rounded Rectangle 11"/>
          <p:cNvSpPr/>
          <p:nvPr/>
        </p:nvSpPr>
        <p:spPr>
          <a:xfrm>
            <a:off x="128464" y="980728"/>
            <a:ext cx="2988000" cy="1440000"/>
          </a:xfrm>
          <a:prstGeom prst="roundRect">
            <a:avLst>
              <a:gd name="adj" fmla="val 6919"/>
            </a:avLst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71991" tIns="71991" rIns="71991" bIns="71991" rtlCol="0" anchor="t"/>
          <a:lstStyle/>
          <a:p>
            <a:r>
              <a:rPr lang="en-US" sz="2000" b="1" u="sng" dirty="0" smtClean="0"/>
              <a:t>Definition:</a:t>
            </a:r>
          </a:p>
          <a:p>
            <a:pPr>
              <a:spcBef>
                <a:spcPts val="600"/>
              </a:spcBef>
            </a:pPr>
            <a:r>
              <a:rPr lang="en-US" sz="1400" dirty="0" smtClean="0"/>
              <a:t>Forfaiting is the buy / sell on “Without Recourse” basis of international trade receivables materialized in negotiable instruments (e.g. P/Ns, B/Es, …).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128464" y="2582940"/>
            <a:ext cx="3312000" cy="2052000"/>
          </a:xfrm>
          <a:prstGeom prst="roundRect">
            <a:avLst>
              <a:gd name="adj" fmla="val 4801"/>
            </a:avLst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lIns="71991" tIns="71991" rIns="71991" bIns="71991" rtlCol="0" anchor="t"/>
          <a:lstStyle/>
          <a:p>
            <a:r>
              <a:rPr lang="en-US" sz="2000" b="1" u="sng" dirty="0" smtClean="0"/>
              <a:t>Characteristics:</a:t>
            </a:r>
          </a:p>
          <a:p>
            <a:pPr marL="176193" indent="-176193">
              <a:spcBef>
                <a:spcPts val="600"/>
              </a:spcBef>
              <a:buFont typeface="Wingdings" pitchFamily="2" charset="2"/>
              <a:buChar char="§"/>
            </a:pPr>
            <a:r>
              <a:rPr lang="en-US" sz="1400" dirty="0" smtClean="0"/>
              <a:t>Tenors from 6 months to 10 years;</a:t>
            </a:r>
          </a:p>
          <a:p>
            <a:pPr marL="176193" indent="-176193">
              <a:buFont typeface="Wingdings" pitchFamily="2" charset="2"/>
              <a:buChar char="§"/>
            </a:pPr>
            <a:r>
              <a:rPr lang="en-US" sz="1400" dirty="0" smtClean="0"/>
              <a:t>Amounts of min US$100,000;</a:t>
            </a:r>
          </a:p>
          <a:p>
            <a:pPr marL="176193" indent="-176193">
              <a:buFont typeface="Wingdings" pitchFamily="2" charset="2"/>
              <a:buChar char="§"/>
            </a:pPr>
            <a:r>
              <a:rPr lang="en-US" sz="1400" dirty="0" smtClean="0"/>
              <a:t>All major currencies;</a:t>
            </a:r>
          </a:p>
          <a:p>
            <a:pPr marL="176193" indent="-176193">
              <a:buFont typeface="Wingdings" pitchFamily="2" charset="2"/>
              <a:buChar char="§"/>
            </a:pPr>
            <a:r>
              <a:rPr lang="en-US" sz="1400" dirty="0" smtClean="0"/>
              <a:t>Non recourse to seller/ endorser;</a:t>
            </a:r>
          </a:p>
          <a:p>
            <a:pPr marL="176193" indent="-176193">
              <a:buFont typeface="Wingdings" pitchFamily="2" charset="2"/>
              <a:buChar char="§"/>
            </a:pPr>
            <a:r>
              <a:rPr lang="en-US" sz="1400" dirty="0" smtClean="0"/>
              <a:t>Negotiable instruments;</a:t>
            </a:r>
          </a:p>
          <a:p>
            <a:pPr marL="176193" indent="-176193">
              <a:buFont typeface="Wingdings" pitchFamily="2" charset="2"/>
              <a:buChar char="§"/>
            </a:pPr>
            <a:r>
              <a:rPr lang="en-US" sz="1400" dirty="0" smtClean="0"/>
              <a:t>Usually guaranteed by a financial or sovereign institution </a:t>
            </a:r>
            <a:endParaRPr lang="en-US" sz="1400" dirty="0"/>
          </a:p>
        </p:txBody>
      </p:sp>
      <p:sp>
        <p:nvSpPr>
          <p:cNvPr id="14" name="Rounded Rectangle 13"/>
          <p:cNvSpPr/>
          <p:nvPr/>
        </p:nvSpPr>
        <p:spPr>
          <a:xfrm>
            <a:off x="128464" y="4797152"/>
            <a:ext cx="3600400" cy="1800200"/>
          </a:xfrm>
          <a:prstGeom prst="roundRect">
            <a:avLst>
              <a:gd name="adj" fmla="val 6919"/>
            </a:avLst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71991" tIns="71991" rIns="71991" bIns="71991" rtlCol="0" anchor="t"/>
          <a:lstStyle/>
          <a:p>
            <a:r>
              <a:rPr lang="en-US" sz="2000" b="1" u="sng" dirty="0" smtClean="0"/>
              <a:t>Negotiable Instruments:</a:t>
            </a:r>
          </a:p>
          <a:p>
            <a:pPr marL="176193" indent="-176193">
              <a:spcBef>
                <a:spcPts val="1200"/>
              </a:spcBef>
              <a:buFont typeface="Courier New" pitchFamily="49" charset="0"/>
              <a:buChar char="o"/>
            </a:pPr>
            <a:r>
              <a:rPr lang="en-US" sz="1400" dirty="0" smtClean="0"/>
              <a:t>Letter of Credit;</a:t>
            </a:r>
          </a:p>
          <a:p>
            <a:pPr marL="176193" indent="-176193">
              <a:buFont typeface="Courier New" pitchFamily="49" charset="0"/>
              <a:buChar char="o"/>
            </a:pPr>
            <a:r>
              <a:rPr lang="en-US" sz="1400" dirty="0" smtClean="0"/>
              <a:t>Promissory Note;</a:t>
            </a:r>
          </a:p>
          <a:p>
            <a:pPr marL="176193" indent="-176193">
              <a:buFont typeface="Courier New" pitchFamily="49" charset="0"/>
              <a:buChar char="o"/>
            </a:pPr>
            <a:r>
              <a:rPr lang="en-US" sz="1400" dirty="0" smtClean="0"/>
              <a:t>Accepted Bill of Exchange;</a:t>
            </a:r>
          </a:p>
          <a:p>
            <a:pPr marL="176193" indent="-176193">
              <a:buFont typeface="Courier New" pitchFamily="49" charset="0"/>
              <a:buChar char="o"/>
            </a:pPr>
            <a:r>
              <a:rPr lang="en-US" sz="1400" dirty="0" smtClean="0"/>
              <a:t>Receivables Book with separate Guarantee</a:t>
            </a:r>
          </a:p>
          <a:p>
            <a:pPr marL="176193" indent="-176193">
              <a:buFont typeface="Courier New" pitchFamily="49" charset="0"/>
              <a:buChar char="o"/>
            </a:pPr>
            <a:r>
              <a:rPr lang="en-US" sz="1400" dirty="0" smtClean="0"/>
              <a:t>Financial Lease installments with Guarantee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5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down)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  <p:bldP spid="12" grpId="0" animBg="1"/>
      <p:bldP spid="13" grpId="0" animBg="1"/>
      <p:bldP spid="14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ill of Exchange </a:t>
            </a:r>
            <a:r>
              <a:rPr lang="en-US" sz="1800" dirty="0" smtClean="0"/>
              <a:t>(samples)</a:t>
            </a:r>
            <a:endParaRPr lang="en-US" sz="1800" dirty="0"/>
          </a:p>
        </p:txBody>
      </p:sp>
      <p:pic>
        <p:nvPicPr>
          <p:cNvPr id="231425" name="Picture 1" descr="C:\Users\mariuss\Documents\business\0 jobs\MLE tasks\russia\BoE 03.jp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34006" y="4247167"/>
            <a:ext cx="5481886" cy="2566209"/>
          </a:xfrm>
          <a:prstGeom prst="rect">
            <a:avLst/>
          </a:prstGeom>
          <a:noFill/>
        </p:spPr>
      </p:pic>
      <p:pic>
        <p:nvPicPr>
          <p:cNvPr id="231427" name="Picture 3" descr="C:\Users\mariuss\Documents\business\0 jobs\MLE tasks\russia\BoE 02.gif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6969224" y="1772816"/>
            <a:ext cx="2936776" cy="2322195"/>
          </a:xfrm>
          <a:prstGeom prst="rect">
            <a:avLst/>
          </a:prstGeom>
          <a:noFill/>
        </p:spPr>
      </p:pic>
      <p:pic>
        <p:nvPicPr>
          <p:cNvPr id="231426" name="Picture 2" descr="C:\Users\mariuss\Documents\business\0 jobs\MLE tasks\russia\BoE 01.jpg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313040" y="4293095"/>
            <a:ext cx="4536505" cy="2520281"/>
          </a:xfrm>
          <a:prstGeom prst="rect">
            <a:avLst/>
          </a:prstGeom>
          <a:noFill/>
        </p:spPr>
      </p:pic>
      <p:grpSp>
        <p:nvGrpSpPr>
          <p:cNvPr id="33" name="Group 32"/>
          <p:cNvGrpSpPr/>
          <p:nvPr/>
        </p:nvGrpSpPr>
        <p:grpSpPr>
          <a:xfrm>
            <a:off x="56456" y="980728"/>
            <a:ext cx="6840760" cy="2952328"/>
            <a:chOff x="992560" y="2132856"/>
            <a:chExt cx="6778001" cy="2664296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34" name="Rectangle 33"/>
            <p:cNvSpPr/>
            <p:nvPr/>
          </p:nvSpPr>
          <p:spPr>
            <a:xfrm>
              <a:off x="992560" y="2132856"/>
              <a:ext cx="6778001" cy="2664296"/>
            </a:xfrm>
            <a:prstGeom prst="rect">
              <a:avLst/>
            </a:prstGeom>
            <a:grpFill/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tIns="108000" bIns="108000" rtlCol="0" anchor="t"/>
            <a:lstStyle/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600" b="1" u="sng" dirty="0" smtClean="0">
                  <a:solidFill>
                    <a:schemeClr val="tx1"/>
                  </a:solidFill>
                </a:rPr>
                <a:t>BILL OF EXCHANGE</a:t>
              </a:r>
            </a:p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200" dirty="0" smtClean="0">
                  <a:solidFill>
                    <a:schemeClr val="tx1"/>
                  </a:solidFill>
                </a:rPr>
                <a:t>Per </a:t>
              </a:r>
              <a:r>
                <a:rPr lang="en-US" sz="1200" b="1" dirty="0" err="1" smtClean="0">
                  <a:solidFill>
                    <a:schemeClr val="tx1"/>
                  </a:solidFill>
                </a:rPr>
                <a:t>Aval</a:t>
              </a:r>
              <a:r>
                <a:rPr lang="en-US" sz="1200" dirty="0" smtClean="0">
                  <a:solidFill>
                    <a:schemeClr val="tx1"/>
                  </a:solidFill>
                </a:rPr>
                <a:t>	For Acceptance	… … … … … … … 		Amount … … … … … … … … </a:t>
              </a:r>
            </a:p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200" dirty="0" smtClean="0">
                  <a:solidFill>
                    <a:schemeClr val="tx1"/>
                  </a:solidFill>
                </a:rPr>
                <a:t>for		</a:t>
              </a:r>
              <a:r>
                <a:rPr lang="en-US" sz="1000" dirty="0" smtClean="0">
                  <a:solidFill>
                    <a:schemeClr val="tx1"/>
                  </a:solidFill>
                </a:rPr>
                <a:t>(Place and Date of Issue)</a:t>
              </a:r>
            </a:p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200" dirty="0" smtClean="0">
                  <a:solidFill>
                    <a:schemeClr val="tx1"/>
                  </a:solidFill>
                </a:rPr>
                <a:t>account</a:t>
              </a:r>
            </a:p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200" dirty="0" smtClean="0">
                  <a:solidFill>
                    <a:schemeClr val="tx1"/>
                  </a:solidFill>
                </a:rPr>
                <a:t>of the 		At/On … … … … … … … … … … for value received, pay </a:t>
              </a:r>
              <a:r>
                <a:rPr lang="en-US" sz="1200" u="sng" dirty="0" smtClean="0">
                  <a:solidFill>
                    <a:schemeClr val="tx1"/>
                  </a:solidFill>
                </a:rPr>
                <a:t>against this</a:t>
              </a:r>
              <a:endParaRPr lang="en-US" sz="1200" dirty="0" smtClean="0">
                <a:solidFill>
                  <a:schemeClr val="tx1"/>
                </a:solidFill>
              </a:endParaRPr>
            </a:p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200" dirty="0" err="1" smtClean="0">
                  <a:solidFill>
                    <a:schemeClr val="tx1"/>
                  </a:solidFill>
                </a:rPr>
                <a:t>Drawee</a:t>
              </a:r>
              <a:r>
                <a:rPr lang="en-US" sz="1200" dirty="0" smtClean="0">
                  <a:solidFill>
                    <a:schemeClr val="tx1"/>
                  </a:solidFill>
                </a:rPr>
                <a:t>		</a:t>
              </a:r>
              <a:r>
                <a:rPr lang="en-US" sz="1200" u="sng" dirty="0" smtClean="0">
                  <a:solidFill>
                    <a:schemeClr val="tx1"/>
                  </a:solidFill>
                </a:rPr>
                <a:t>Bill of Exchange</a:t>
              </a:r>
              <a:r>
                <a:rPr lang="en-US" sz="1200" dirty="0" smtClean="0">
                  <a:solidFill>
                    <a:schemeClr val="tx1"/>
                  </a:solidFill>
                </a:rPr>
                <a:t> to the order of … … … … … … … … … </a:t>
              </a:r>
            </a:p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200" dirty="0" smtClean="0">
                  <a:solidFill>
                    <a:schemeClr val="tx1"/>
                  </a:solidFill>
                </a:rPr>
                <a:t>		the sum of … … … … … … … … … … … … … … … </a:t>
              </a:r>
            </a:p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200" dirty="0" smtClean="0">
                  <a:solidFill>
                    <a:schemeClr val="tx1"/>
                  </a:solidFill>
                </a:rPr>
                <a:t>		effective payment to be made in … … … … … … , </a:t>
              </a:r>
            </a:p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200" dirty="0" smtClean="0">
                  <a:solidFill>
                    <a:schemeClr val="tx1"/>
                  </a:solidFill>
                </a:rPr>
                <a:t>		without deductions, for and free of any taxes, duties or imposts </a:t>
              </a:r>
            </a:p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200" dirty="0" smtClean="0">
                  <a:solidFill>
                    <a:schemeClr val="tx1"/>
                  </a:solidFill>
                </a:rPr>
                <a:t>		of any nature.</a:t>
              </a:r>
            </a:p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200" dirty="0" smtClean="0">
                  <a:solidFill>
                    <a:schemeClr val="tx1"/>
                  </a:solidFill>
                </a:rPr>
                <a:t>		This Bill of Exchange is payable at … … … … … … … </a:t>
              </a:r>
            </a:p>
            <a:p>
              <a:pPr>
                <a:tabLst>
                  <a:tab pos="1073027" algn="l"/>
                  <a:tab pos="2507965" algn="l"/>
                </a:tabLst>
              </a:pPr>
              <a:endParaRPr lang="en-US" sz="1200" dirty="0" smtClean="0">
                <a:solidFill>
                  <a:schemeClr val="tx1"/>
                </a:solidFill>
              </a:endParaRPr>
            </a:p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200" dirty="0" smtClean="0">
                  <a:solidFill>
                    <a:schemeClr val="tx1"/>
                  </a:solidFill>
                </a:rPr>
                <a:t>		Drawn on: 		Drawer:</a:t>
              </a:r>
            </a:p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200" dirty="0" smtClean="0">
                  <a:solidFill>
                    <a:schemeClr val="tx1"/>
                  </a:solidFill>
                </a:rPr>
                <a:t>		… … … … … … … 		… … … … … … … </a:t>
              </a:r>
            </a:p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200" dirty="0" smtClean="0">
                  <a:solidFill>
                    <a:schemeClr val="tx1"/>
                  </a:solidFill>
                </a:rPr>
                <a:t>		… … … … … … …		… … … … … … …</a:t>
              </a:r>
            </a:p>
          </p:txBody>
        </p:sp>
        <p:cxnSp>
          <p:nvCxnSpPr>
            <p:cNvPr id="35" name="Straight Connector 34"/>
            <p:cNvCxnSpPr/>
            <p:nvPr/>
          </p:nvCxnSpPr>
          <p:spPr>
            <a:xfrm>
              <a:off x="2072680" y="2458023"/>
              <a:ext cx="0" cy="2274146"/>
            </a:xfrm>
            <a:prstGeom prst="line">
              <a:avLst/>
            </a:prstGeom>
            <a:grpFill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>
              <a:off x="3440832" y="2458023"/>
              <a:ext cx="0" cy="2274146"/>
            </a:xfrm>
            <a:prstGeom prst="line">
              <a:avLst/>
            </a:prstGeom>
            <a:grpFill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37" name="Rounded Rectangular Callout 36"/>
          <p:cNvSpPr/>
          <p:nvPr/>
        </p:nvSpPr>
        <p:spPr>
          <a:xfrm>
            <a:off x="72000" y="2636912"/>
            <a:ext cx="1008000" cy="1080120"/>
          </a:xfrm>
          <a:prstGeom prst="wedgeRoundRectCallout">
            <a:avLst>
              <a:gd name="adj1" fmla="val 12400"/>
              <a:gd name="adj2" fmla="val -83514"/>
              <a:gd name="adj3" fmla="val 16667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/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nconditional Obligations of payment on behalf of the Obligor</a:t>
            </a:r>
            <a:endParaRPr lang="en-US" sz="12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7" dur="80"/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8" dur="80"/>
                                        <p:tgtEl>
                                          <p:spTgt spid="3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" dur="80"/>
                                        <p:tgtEl>
                                          <p:spTgt spid="3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160"/>
                            </p:stCondLst>
                            <p:childTnLst>
                              <p:par>
                                <p:cTn id="11" presetID="6" presetClass="entr" presetSubtype="3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4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3" dur="1000"/>
                                        <p:tgtEl>
                                          <p:spTgt spid="2314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32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4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6" dur="1000"/>
                                        <p:tgtEl>
                                          <p:spTgt spid="2314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32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4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9" dur="1000"/>
                                        <p:tgtEl>
                                          <p:spTgt spid="2314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/>
        </p:nvGrpSpPr>
        <p:grpSpPr>
          <a:xfrm>
            <a:off x="56456" y="980728"/>
            <a:ext cx="6840760" cy="2952328"/>
            <a:chOff x="992560" y="2132856"/>
            <a:chExt cx="6778001" cy="2664296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25" name="Rectangle 24"/>
            <p:cNvSpPr/>
            <p:nvPr/>
          </p:nvSpPr>
          <p:spPr>
            <a:xfrm>
              <a:off x="992560" y="2132856"/>
              <a:ext cx="6778001" cy="2664296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/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tIns="108000" bIns="108000" rtlCol="0" anchor="t"/>
            <a:lstStyle/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600" b="1" u="sng" dirty="0" smtClean="0">
                  <a:solidFill>
                    <a:schemeClr val="tx1"/>
                  </a:solidFill>
                </a:rPr>
                <a:t>PROMISSORY NOTE</a:t>
              </a:r>
            </a:p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200" dirty="0" smtClean="0">
                  <a:solidFill>
                    <a:schemeClr val="tx1"/>
                  </a:solidFill>
                </a:rPr>
                <a:t>Per </a:t>
              </a:r>
              <a:r>
                <a:rPr lang="en-US" sz="1200" b="1" dirty="0" err="1" smtClean="0">
                  <a:solidFill>
                    <a:schemeClr val="tx1"/>
                  </a:solidFill>
                </a:rPr>
                <a:t>Aval</a:t>
              </a:r>
              <a:r>
                <a:rPr lang="en-US" sz="1200" dirty="0" smtClean="0">
                  <a:solidFill>
                    <a:schemeClr val="tx1"/>
                  </a:solidFill>
                </a:rPr>
                <a:t>	 				… … … … … … … … … … … … … … … </a:t>
              </a:r>
            </a:p>
            <a:p>
              <a:pPr algn="r">
                <a:tabLst>
                  <a:tab pos="1073027" algn="l"/>
                  <a:tab pos="2507965" algn="l"/>
                </a:tabLst>
              </a:pPr>
              <a:r>
                <a:rPr lang="en-US" sz="1000" dirty="0" smtClean="0">
                  <a:solidFill>
                    <a:schemeClr val="tx1"/>
                  </a:solidFill>
                </a:rPr>
                <a:t>(amount in figures)</a:t>
              </a:r>
            </a:p>
            <a:p>
              <a:pPr>
                <a:tabLst>
                  <a:tab pos="1071563" algn="l"/>
                </a:tabLst>
              </a:pPr>
              <a:r>
                <a:rPr lang="en-US" sz="1200" dirty="0" smtClean="0">
                  <a:solidFill>
                    <a:schemeClr val="tx1"/>
                  </a:solidFill>
                </a:rPr>
                <a:t>	… … … … … … … … … … 	 	… … … … … … … … … … </a:t>
              </a:r>
            </a:p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200" dirty="0" smtClean="0">
                  <a:solidFill>
                    <a:schemeClr val="tx1"/>
                  </a:solidFill>
                </a:rPr>
                <a:t>	</a:t>
              </a:r>
              <a:r>
                <a:rPr lang="en-US" sz="1000" dirty="0" smtClean="0">
                  <a:solidFill>
                    <a:schemeClr val="tx1"/>
                  </a:solidFill>
                </a:rPr>
                <a:t>(place of Issue)			(date of Issue)</a:t>
              </a:r>
            </a:p>
            <a:p>
              <a:pPr>
                <a:tabLst>
                  <a:tab pos="1073027" algn="l"/>
                  <a:tab pos="2507965" algn="l"/>
                </a:tabLst>
              </a:pPr>
              <a:endParaRPr lang="en-US" sz="1200" dirty="0" smtClean="0">
                <a:solidFill>
                  <a:schemeClr val="tx1"/>
                </a:solidFill>
              </a:endParaRPr>
            </a:p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200" dirty="0" smtClean="0">
                  <a:solidFill>
                    <a:schemeClr val="tx1"/>
                  </a:solidFill>
                </a:rPr>
                <a:t>	On … … … … … … … … … … against this Promissory Note I (We) promise to pay</a:t>
              </a:r>
            </a:p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200" dirty="0" smtClean="0">
                  <a:solidFill>
                    <a:schemeClr val="tx1"/>
                  </a:solidFill>
                </a:rPr>
                <a:t>	to … … … … … … … … … … … or Order the sum of … … … … … … … … … … … … … … … … </a:t>
              </a:r>
            </a:p>
            <a:p>
              <a:pPr>
                <a:tabLst>
                  <a:tab pos="1071563" algn="l"/>
                  <a:tab pos="2506663" algn="l"/>
                  <a:tab pos="5024438" algn="l"/>
                  <a:tab pos="5108575" algn="l"/>
                </a:tabLst>
              </a:pPr>
              <a:r>
                <a:rPr lang="en-US" sz="1000" dirty="0" smtClean="0">
                  <a:solidFill>
                    <a:schemeClr val="tx1"/>
                  </a:solidFill>
                </a:rPr>
                <a:t>				(amount in words)</a:t>
              </a:r>
            </a:p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200" dirty="0" smtClean="0">
                  <a:solidFill>
                    <a:schemeClr val="tx1"/>
                  </a:solidFill>
                </a:rPr>
                <a:t>	effective payment to be made in … … … … … … … … , without deduction for and </a:t>
              </a:r>
            </a:p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200" dirty="0" smtClean="0">
                  <a:solidFill>
                    <a:schemeClr val="tx1"/>
                  </a:solidFill>
                </a:rPr>
                <a:t>	free of any taxes, impost, levies or duties present or future of any nature.</a:t>
              </a:r>
            </a:p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200" dirty="0" smtClean="0">
                  <a:solidFill>
                    <a:schemeClr val="tx1"/>
                  </a:solidFill>
                </a:rPr>
                <a:t>	For Value Received</a:t>
              </a:r>
            </a:p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200" dirty="0" smtClean="0">
                  <a:solidFill>
                    <a:schemeClr val="tx1"/>
                  </a:solidFill>
                </a:rPr>
                <a:t>	Payable at: </a:t>
              </a:r>
            </a:p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200" dirty="0" smtClean="0">
                  <a:solidFill>
                    <a:schemeClr val="tx1"/>
                  </a:solidFill>
                </a:rPr>
                <a:t>	… … … … … … … … … 				Signature of maker:</a:t>
              </a:r>
            </a:p>
            <a:p>
              <a:pPr>
                <a:tabLst>
                  <a:tab pos="1073027" algn="l"/>
                  <a:tab pos="2507965" algn="l"/>
                </a:tabLst>
              </a:pPr>
              <a:r>
                <a:rPr lang="en-US" sz="1200" dirty="0" smtClean="0">
                  <a:solidFill>
                    <a:schemeClr val="tx1"/>
                  </a:solidFill>
                </a:rPr>
                <a:t>			 		… … … … … … … </a:t>
              </a:r>
            </a:p>
          </p:txBody>
        </p:sp>
        <p:cxnSp>
          <p:nvCxnSpPr>
            <p:cNvPr id="26" name="Straight Connector 25"/>
            <p:cNvCxnSpPr/>
            <p:nvPr/>
          </p:nvCxnSpPr>
          <p:spPr>
            <a:xfrm>
              <a:off x="2072680" y="2458023"/>
              <a:ext cx="0" cy="2274146"/>
            </a:xfrm>
            <a:prstGeom prst="line">
              <a:avLst/>
            </a:prstGeom>
            <a:grpFill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21522" name="Rectangle 18"/>
          <p:cNvSpPr>
            <a:spLocks noChangeArrowheads="1"/>
          </p:cNvSpPr>
          <p:nvPr/>
        </p:nvSpPr>
        <p:spPr bwMode="auto">
          <a:xfrm rot="16200000">
            <a:off x="6054418" y="3119670"/>
            <a:ext cx="140743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defTabSz="761913" eaLnBrk="0" hangingPunct="0"/>
            <a:r>
              <a:rPr lang="en-GB" sz="1000" dirty="0">
                <a:solidFill>
                  <a:schemeClr val="tx2"/>
                </a:solidFill>
              </a:rPr>
              <a:t>Stamps on the reverse side</a:t>
            </a:r>
          </a:p>
        </p:txBody>
      </p:sp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missory Note </a:t>
            </a:r>
            <a:r>
              <a:rPr lang="en-US" sz="1800" dirty="0" smtClean="0"/>
              <a:t>(samples)</a:t>
            </a:r>
            <a:endParaRPr lang="en-US" sz="1800" dirty="0"/>
          </a:p>
        </p:txBody>
      </p:sp>
      <p:pic>
        <p:nvPicPr>
          <p:cNvPr id="230401" name="Picture 1" descr="C:\Users\mariuss\Documents\business\0 jobs\MLE tasks\russia\PN 03.jp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4293096"/>
            <a:ext cx="5835448" cy="2564904"/>
          </a:xfrm>
          <a:prstGeom prst="rect">
            <a:avLst/>
          </a:prstGeom>
          <a:noFill/>
        </p:spPr>
      </p:pic>
      <p:pic>
        <p:nvPicPr>
          <p:cNvPr id="230402" name="Picture 2" descr="C:\Users\mariuss\Documents\business\0 jobs\MLE tasks\russia\PN 01.jpg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5838157" y="4221088"/>
            <a:ext cx="4067843" cy="2636912"/>
          </a:xfrm>
          <a:prstGeom prst="rect">
            <a:avLst/>
          </a:prstGeom>
          <a:noFill/>
        </p:spPr>
      </p:pic>
      <p:pic>
        <p:nvPicPr>
          <p:cNvPr id="230403" name="Picture 3" descr="C:\Users\mariuss\Documents\business\0 jobs\MLE tasks\russia\PN 02.png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6889414" y="2204864"/>
            <a:ext cx="2960129" cy="1977376"/>
          </a:xfrm>
          <a:prstGeom prst="rect">
            <a:avLst/>
          </a:prstGeom>
          <a:noFill/>
        </p:spPr>
      </p:pic>
      <p:sp>
        <p:nvSpPr>
          <p:cNvPr id="32" name="Rounded Rectangular Callout 31"/>
          <p:cNvSpPr/>
          <p:nvPr/>
        </p:nvSpPr>
        <p:spPr>
          <a:xfrm>
            <a:off x="72000" y="2636912"/>
            <a:ext cx="1008000" cy="1080120"/>
          </a:xfrm>
          <a:prstGeom prst="wedgeRoundRectCallout">
            <a:avLst>
              <a:gd name="adj1" fmla="val 12400"/>
              <a:gd name="adj2" fmla="val -83514"/>
              <a:gd name="adj3" fmla="val 16667"/>
            </a:avLst>
          </a:prstGeom>
          <a:solidFill>
            <a:schemeClr val="bg1">
              <a:lumMod val="95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36000" rIns="0" bIns="36000" rtlCol="0" anchor="t"/>
          <a:lstStyle/>
          <a:p>
            <a:pPr algn="ctr"/>
            <a:r>
              <a:rPr lang="en-US" sz="12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nconditional Obligations of payment on behalf of the Obligor</a:t>
            </a:r>
            <a:endParaRPr lang="en-US" sz="1200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7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7" dur="80"/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8" dur="80"/>
                                        <p:tgtEl>
                                          <p:spTgt spid="3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9" dur="80"/>
                                        <p:tgtEl>
                                          <p:spTgt spid="3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160"/>
                            </p:stCondLst>
                            <p:childTnLst>
                              <p:par>
                                <p:cTn id="11" presetID="6" presetClass="entr" presetSubtype="32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4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3" dur="1000"/>
                                        <p:tgtEl>
                                          <p:spTgt spid="2304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32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4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6" dur="1000"/>
                                        <p:tgtEl>
                                          <p:spTgt spid="2304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32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4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19" dur="1000"/>
                                        <p:tgtEl>
                                          <p:spTgt spid="2304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7329" name="Picture 1" descr="C:\Users\mariuss\Documents\business\0 jobs\MLE tasks\russia\Price-Tag.jpg"/>
          <p:cNvPicPr>
            <a:picLocks noChangeAspect="1" noChangeArrowheads="1"/>
          </p:cNvPicPr>
          <p:nvPr/>
        </p:nvPicPr>
        <p:blipFill>
          <a:blip r:embed="rId2" cstate="email"/>
          <a:srcRect/>
          <a:stretch>
            <a:fillRect/>
          </a:stretch>
        </p:blipFill>
        <p:spPr bwMode="auto">
          <a:xfrm rot="16200000">
            <a:off x="-810890" y="1811855"/>
            <a:ext cx="3924651" cy="2189959"/>
          </a:xfrm>
          <a:prstGeom prst="rect">
            <a:avLst/>
          </a:prstGeom>
          <a:noFill/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faiting : The Price </a:t>
            </a:r>
            <a:r>
              <a:rPr lang="en-US" sz="1800" dirty="0" smtClean="0"/>
              <a:t>(brief overview)</a:t>
            </a:r>
            <a:endParaRPr lang="en-US" sz="1800" dirty="0"/>
          </a:p>
        </p:txBody>
      </p:sp>
      <p:grpSp>
        <p:nvGrpSpPr>
          <p:cNvPr id="35" name="Group 34"/>
          <p:cNvGrpSpPr/>
          <p:nvPr/>
        </p:nvGrpSpPr>
        <p:grpSpPr>
          <a:xfrm>
            <a:off x="3323824" y="1700808"/>
            <a:ext cx="6336704" cy="1584176"/>
            <a:chOff x="56456" y="1700808"/>
            <a:chExt cx="6336704" cy="1584176"/>
          </a:xfrm>
        </p:grpSpPr>
        <p:sp>
          <p:nvSpPr>
            <p:cNvPr id="7" name="Rectangle 7"/>
            <p:cNvSpPr>
              <a:spLocks noChangeArrowheads="1"/>
            </p:cNvSpPr>
            <p:nvPr/>
          </p:nvSpPr>
          <p:spPr bwMode="auto">
            <a:xfrm>
              <a:off x="2504888" y="1700808"/>
              <a:ext cx="1440000" cy="1512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36000" rIns="36000" bIns="36000"/>
            <a:lstStyle/>
            <a:p>
              <a:pPr algn="ctr" defTabSz="761913"/>
              <a:r>
                <a:rPr lang="en-GB" sz="1200" b="1" u="sng" dirty="0" smtClean="0">
                  <a:solidFill>
                    <a:srgbClr val="002060"/>
                  </a:solidFill>
                </a:rPr>
                <a:t>Effective </a:t>
              </a:r>
              <a:r>
                <a:rPr lang="en-GB" sz="1200" b="1" u="sng" dirty="0">
                  <a:solidFill>
                    <a:srgbClr val="002060"/>
                  </a:solidFill>
                </a:rPr>
                <a:t>interest </a:t>
              </a:r>
              <a:r>
                <a:rPr lang="en-GB" sz="1200" b="1" u="sng" dirty="0" smtClean="0">
                  <a:solidFill>
                    <a:srgbClr val="002060"/>
                  </a:solidFill>
                </a:rPr>
                <a:t>rate</a:t>
              </a:r>
              <a:endParaRPr lang="en-GB" sz="1200" b="1" u="sng" dirty="0">
                <a:solidFill>
                  <a:srgbClr val="002060"/>
                </a:solidFill>
              </a:endParaRPr>
            </a:p>
            <a:p>
              <a:pPr marL="360363" lvl="1" indent="-176213" defTabSz="761913">
                <a:spcBef>
                  <a:spcPts val="300"/>
                </a:spcBef>
                <a:buSzPct val="60000"/>
                <a:buFont typeface="Wingdings" pitchFamily="2" charset="2"/>
                <a:buChar char="q"/>
              </a:pPr>
              <a:r>
                <a:rPr lang="en-GB" sz="1000" dirty="0" smtClean="0">
                  <a:solidFill>
                    <a:srgbClr val="002060"/>
                  </a:solidFill>
                </a:rPr>
                <a:t>Cost </a:t>
              </a:r>
              <a:r>
                <a:rPr lang="en-GB" sz="1000" dirty="0">
                  <a:solidFill>
                    <a:srgbClr val="002060"/>
                  </a:solidFill>
                </a:rPr>
                <a:t>of </a:t>
              </a:r>
              <a:r>
                <a:rPr lang="en-GB" sz="1000" dirty="0" smtClean="0">
                  <a:solidFill>
                    <a:srgbClr val="002060"/>
                  </a:solidFill>
                </a:rPr>
                <a:t>Funding</a:t>
              </a:r>
            </a:p>
            <a:p>
              <a:pPr marL="360363" lvl="1" indent="-176213" defTabSz="761913">
                <a:buSzPct val="60000"/>
                <a:buFont typeface="Wingdings" pitchFamily="2" charset="2"/>
                <a:buChar char="q"/>
              </a:pPr>
              <a:r>
                <a:rPr lang="en-GB" sz="1000" dirty="0" smtClean="0">
                  <a:solidFill>
                    <a:srgbClr val="002060"/>
                  </a:solidFill>
                </a:rPr>
                <a:t>Size </a:t>
              </a:r>
              <a:r>
                <a:rPr lang="en-GB" sz="1000" dirty="0">
                  <a:solidFill>
                    <a:srgbClr val="002060"/>
                  </a:solidFill>
                </a:rPr>
                <a:t>of Transaction</a:t>
              </a:r>
            </a:p>
            <a:p>
              <a:pPr marL="360363" lvl="1" indent="-176213" defTabSz="761913">
                <a:buSzPct val="60000"/>
                <a:buFont typeface="Wingdings" pitchFamily="2" charset="2"/>
                <a:buChar char="q"/>
              </a:pPr>
              <a:r>
                <a:rPr lang="en-GB" sz="1000" dirty="0">
                  <a:solidFill>
                    <a:srgbClr val="002060"/>
                  </a:solidFill>
                </a:rPr>
                <a:t>Credit Rating of </a:t>
              </a:r>
              <a:r>
                <a:rPr lang="en-GB" sz="1000" dirty="0" smtClean="0">
                  <a:solidFill>
                    <a:srgbClr val="002060"/>
                  </a:solidFill>
                </a:rPr>
                <a:t>Obligor Country </a:t>
              </a:r>
              <a:endParaRPr lang="en-GB" sz="1000" dirty="0">
                <a:solidFill>
                  <a:srgbClr val="002060"/>
                </a:solidFill>
              </a:endParaRPr>
            </a:p>
            <a:p>
              <a:pPr marL="360363" lvl="1" indent="-176213" defTabSz="761913">
                <a:buSzPct val="60000"/>
                <a:buFont typeface="Wingdings" pitchFamily="2" charset="2"/>
                <a:buChar char="q"/>
              </a:pPr>
              <a:r>
                <a:rPr lang="en-GB" sz="1000" dirty="0">
                  <a:solidFill>
                    <a:srgbClr val="002060"/>
                  </a:solidFill>
                </a:rPr>
                <a:t>Credit Rating of Guarantee Bank</a:t>
              </a:r>
              <a:r>
                <a:rPr lang="en-GB" sz="1000" dirty="0" smtClean="0">
                  <a:solidFill>
                    <a:srgbClr val="002060"/>
                  </a:solidFill>
                </a:rPr>
                <a:t>/ Corporate </a:t>
              </a:r>
              <a:r>
                <a:rPr lang="en-GB" sz="1000" dirty="0">
                  <a:solidFill>
                    <a:srgbClr val="002060"/>
                  </a:solidFill>
                </a:rPr>
                <a:t>Risk</a:t>
              </a:r>
            </a:p>
            <a:p>
              <a:pPr marL="360363" lvl="1" indent="-176213" defTabSz="761913">
                <a:buSzPct val="60000"/>
                <a:buFont typeface="Wingdings" pitchFamily="2" charset="2"/>
                <a:buChar char="q"/>
              </a:pPr>
              <a:r>
                <a:rPr lang="en-GB" sz="1000" dirty="0">
                  <a:solidFill>
                    <a:srgbClr val="002060"/>
                  </a:solidFill>
                </a:rPr>
                <a:t>Availability</a:t>
              </a:r>
            </a:p>
          </p:txBody>
        </p:sp>
        <p:sp>
          <p:nvSpPr>
            <p:cNvPr id="8" name="Rectangle 4"/>
            <p:cNvSpPr>
              <a:spLocks noChangeArrowheads="1"/>
            </p:cNvSpPr>
            <p:nvPr/>
          </p:nvSpPr>
          <p:spPr bwMode="auto">
            <a:xfrm>
              <a:off x="56456" y="1700808"/>
              <a:ext cx="1440000" cy="14401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36000" rIns="36000" bIns="36000"/>
            <a:lstStyle/>
            <a:p>
              <a:pPr algn="ctr" defTabSz="761913"/>
              <a:r>
                <a:rPr lang="en-GB" sz="1200" b="1" u="sng" dirty="0" smtClean="0">
                  <a:solidFill>
                    <a:srgbClr val="002060"/>
                  </a:solidFill>
                </a:rPr>
                <a:t>Commitment Fee</a:t>
              </a:r>
              <a:endParaRPr lang="en-GB" sz="1200" u="sng" dirty="0">
                <a:solidFill>
                  <a:srgbClr val="002060"/>
                </a:solidFill>
              </a:endParaRPr>
            </a:p>
            <a:p>
              <a:pPr algn="ctr" defTabSz="761913">
                <a:spcBef>
                  <a:spcPts val="300"/>
                </a:spcBef>
              </a:pPr>
              <a:r>
                <a:rPr lang="en-GB" sz="1000" dirty="0" smtClean="0">
                  <a:solidFill>
                    <a:srgbClr val="002060"/>
                  </a:solidFill>
                </a:rPr>
                <a:t>Charged for the period required to process the discounting from the moment of commitment for the deal.</a:t>
              </a:r>
            </a:p>
            <a:p>
              <a:pPr algn="ctr" defTabSz="761913">
                <a:spcBef>
                  <a:spcPts val="300"/>
                </a:spcBef>
              </a:pPr>
              <a:r>
                <a:rPr lang="en-GB" sz="1000" dirty="0" smtClean="0">
                  <a:solidFill>
                    <a:srgbClr val="002060"/>
                  </a:solidFill>
                </a:rPr>
                <a:t>- - - - - - - - - - -</a:t>
              </a:r>
            </a:p>
            <a:p>
              <a:pPr algn="ctr" defTabSz="761913">
                <a:spcBef>
                  <a:spcPts val="300"/>
                </a:spcBef>
              </a:pPr>
              <a:r>
                <a:rPr lang="en-GB" sz="1000" dirty="0" smtClean="0">
                  <a:solidFill>
                    <a:srgbClr val="002060"/>
                  </a:solidFill>
                </a:rPr>
                <a:t>(</a:t>
              </a:r>
              <a:r>
                <a:rPr lang="en-GB" sz="1000" dirty="0">
                  <a:solidFill>
                    <a:srgbClr val="002060"/>
                  </a:solidFill>
                </a:rPr>
                <a:t>Production period)</a:t>
              </a:r>
            </a:p>
          </p:txBody>
        </p:sp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4953000" y="1700808"/>
              <a:ext cx="1440160" cy="15841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36000" tIns="36000" rIns="36000" bIns="36000"/>
            <a:lstStyle/>
            <a:p>
              <a:pPr algn="ctr" defTabSz="761913">
                <a:spcBef>
                  <a:spcPct val="20000"/>
                </a:spcBef>
              </a:pPr>
              <a:r>
                <a:rPr lang="en-GB" sz="1200" b="1" u="sng" dirty="0" smtClean="0">
                  <a:solidFill>
                    <a:srgbClr val="002060"/>
                  </a:solidFill>
                </a:rPr>
                <a:t>Days of Grace</a:t>
              </a:r>
              <a:endParaRPr lang="en-GB" sz="1200" u="sng" dirty="0" smtClean="0"/>
            </a:p>
            <a:p>
              <a:pPr algn="ctr" defTabSz="761913">
                <a:spcBef>
                  <a:spcPts val="300"/>
                </a:spcBef>
              </a:pPr>
              <a:r>
                <a:rPr lang="en-GB" sz="1000" dirty="0" smtClean="0">
                  <a:solidFill>
                    <a:srgbClr val="002060"/>
                  </a:solidFill>
                </a:rPr>
                <a:t>No. </a:t>
              </a:r>
              <a:r>
                <a:rPr lang="en-GB" sz="1000" dirty="0">
                  <a:solidFill>
                    <a:srgbClr val="002060"/>
                  </a:solidFill>
                </a:rPr>
                <a:t>of </a:t>
              </a:r>
              <a:r>
                <a:rPr lang="en-GB" sz="1000" dirty="0" smtClean="0">
                  <a:solidFill>
                    <a:srgbClr val="002060"/>
                  </a:solidFill>
                </a:rPr>
                <a:t>days delay in receiving payments for the instrument (added to the discounting period) </a:t>
              </a:r>
            </a:p>
            <a:p>
              <a:pPr algn="ctr" defTabSz="761913">
                <a:spcBef>
                  <a:spcPts val="300"/>
                </a:spcBef>
              </a:pPr>
              <a:r>
                <a:rPr lang="en-GB" sz="1000" dirty="0" smtClean="0"/>
                <a:t>- - - - - - - - - - - - </a:t>
              </a:r>
            </a:p>
            <a:p>
              <a:pPr algn="ctr" defTabSz="761913">
                <a:spcBef>
                  <a:spcPts val="300"/>
                </a:spcBef>
              </a:pPr>
              <a:r>
                <a:rPr lang="en-GB" sz="1000" dirty="0" smtClean="0"/>
                <a:t>linked to the </a:t>
              </a:r>
            </a:p>
            <a:p>
              <a:pPr algn="ctr" defTabSz="761913"/>
              <a:r>
                <a:rPr lang="en-GB" sz="1000" dirty="0" smtClean="0"/>
                <a:t>location and risk of </a:t>
              </a:r>
            </a:p>
            <a:p>
              <a:pPr algn="ctr" defTabSz="761913"/>
              <a:r>
                <a:rPr lang="en-GB" sz="1000" dirty="0" smtClean="0"/>
                <a:t>the Obligor</a:t>
              </a:r>
            </a:p>
          </p:txBody>
        </p:sp>
      </p:grpSp>
      <p:grpSp>
        <p:nvGrpSpPr>
          <p:cNvPr id="15" name="Group 14"/>
          <p:cNvGrpSpPr>
            <a:grpSpLocks noChangeAspect="1"/>
          </p:cNvGrpSpPr>
          <p:nvPr/>
        </p:nvGrpSpPr>
        <p:grpSpPr>
          <a:xfrm>
            <a:off x="5019814" y="1005510"/>
            <a:ext cx="554956" cy="551282"/>
            <a:chOff x="1592673" y="1774443"/>
            <a:chExt cx="853779" cy="853779"/>
          </a:xfrm>
          <a:solidFill>
            <a:schemeClr val="tx1"/>
          </a:solidFill>
        </p:grpSpPr>
        <p:sp>
          <p:nvSpPr>
            <p:cNvPr id="16" name="Plus 15"/>
            <p:cNvSpPr/>
            <p:nvPr/>
          </p:nvSpPr>
          <p:spPr>
            <a:xfrm>
              <a:off x="1592673" y="1774443"/>
              <a:ext cx="853779" cy="853779"/>
            </a:xfrm>
            <a:prstGeom prst="mathPlus">
              <a:avLst/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Plus 4"/>
            <p:cNvSpPr/>
            <p:nvPr/>
          </p:nvSpPr>
          <p:spPr>
            <a:xfrm>
              <a:off x="1705841" y="2100928"/>
              <a:ext cx="627443" cy="20080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400" kern="1200"/>
            </a:p>
          </p:txBody>
        </p:sp>
      </p:grpSp>
      <p:sp>
        <p:nvSpPr>
          <p:cNvPr id="19" name="Equal 18"/>
          <p:cNvSpPr/>
          <p:nvPr/>
        </p:nvSpPr>
        <p:spPr>
          <a:xfrm>
            <a:off x="2371029" y="908720"/>
            <a:ext cx="853779" cy="853779"/>
          </a:xfrm>
          <a:prstGeom prst="mathEqual">
            <a:avLst/>
          </a:prstGeom>
          <a:solidFill>
            <a:schemeClr val="tx1"/>
          </a:solidFill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Rounded Rectangle 20"/>
          <p:cNvSpPr/>
          <p:nvPr/>
        </p:nvSpPr>
        <p:spPr>
          <a:xfrm>
            <a:off x="3323824" y="980728"/>
            <a:ext cx="1512168" cy="648072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COFFEE</a:t>
            </a:r>
            <a:endParaRPr lang="en-US" b="1" dirty="0"/>
          </a:p>
        </p:txBody>
      </p:sp>
      <p:sp>
        <p:nvSpPr>
          <p:cNvPr id="22" name="Rounded Rectangle 21"/>
          <p:cNvSpPr/>
          <p:nvPr/>
        </p:nvSpPr>
        <p:spPr>
          <a:xfrm>
            <a:off x="5758592" y="980728"/>
            <a:ext cx="1512168" cy="648072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0000"/>
              </a:lnSpc>
            </a:pPr>
            <a:r>
              <a:rPr lang="en-US" b="1" dirty="0" smtClean="0">
                <a:solidFill>
                  <a:schemeClr val="tx1"/>
                </a:solidFill>
              </a:rPr>
              <a:t>Discount Rate</a:t>
            </a:r>
            <a:endParaRPr lang="en-US" b="1" dirty="0">
              <a:solidFill>
                <a:schemeClr val="tx1"/>
              </a:solidFill>
            </a:endParaRPr>
          </a:p>
        </p:txBody>
      </p:sp>
      <p:grpSp>
        <p:nvGrpSpPr>
          <p:cNvPr id="23" name="Group 22"/>
          <p:cNvGrpSpPr>
            <a:grpSpLocks noChangeAspect="1"/>
          </p:cNvGrpSpPr>
          <p:nvPr/>
        </p:nvGrpSpPr>
        <p:grpSpPr>
          <a:xfrm>
            <a:off x="7454582" y="1005510"/>
            <a:ext cx="554956" cy="551282"/>
            <a:chOff x="1592673" y="1774443"/>
            <a:chExt cx="853779" cy="853779"/>
          </a:xfrm>
          <a:solidFill>
            <a:schemeClr val="tx1"/>
          </a:solidFill>
        </p:grpSpPr>
        <p:sp>
          <p:nvSpPr>
            <p:cNvPr id="24" name="Plus 23"/>
            <p:cNvSpPr/>
            <p:nvPr/>
          </p:nvSpPr>
          <p:spPr>
            <a:xfrm>
              <a:off x="1592673" y="1774443"/>
              <a:ext cx="853779" cy="853779"/>
            </a:xfrm>
            <a:prstGeom prst="mathPlus">
              <a:avLst/>
            </a:prstGeom>
            <a:grpFill/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Plus 4"/>
            <p:cNvSpPr/>
            <p:nvPr/>
          </p:nvSpPr>
          <p:spPr>
            <a:xfrm>
              <a:off x="1705841" y="2100928"/>
              <a:ext cx="627443" cy="200809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400" kern="1200"/>
            </a:p>
          </p:txBody>
        </p:sp>
      </p:grpSp>
      <p:sp>
        <p:nvSpPr>
          <p:cNvPr id="26" name="Rounded Rectangle 25"/>
          <p:cNvSpPr/>
          <p:nvPr/>
        </p:nvSpPr>
        <p:spPr>
          <a:xfrm>
            <a:off x="8193360" y="980728"/>
            <a:ext cx="1512168" cy="648072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70000"/>
              </a:lnSpc>
            </a:pPr>
            <a:r>
              <a:rPr lang="en-US" b="1" dirty="0" smtClean="0">
                <a:solidFill>
                  <a:schemeClr val="bg1"/>
                </a:solidFill>
              </a:rPr>
              <a:t>DOGS</a:t>
            </a:r>
            <a:endParaRPr lang="en-US" b="1" dirty="0">
              <a:solidFill>
                <a:schemeClr val="bg1"/>
              </a:solidFill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3296816" y="3284984"/>
            <a:ext cx="6480480" cy="1584176"/>
            <a:chOff x="128464" y="3212976"/>
            <a:chExt cx="6480480" cy="1584176"/>
          </a:xfrm>
        </p:grpSpPr>
        <p:sp>
          <p:nvSpPr>
            <p:cNvPr id="11" name="Rectangle 5"/>
            <p:cNvSpPr>
              <a:spLocks noChangeArrowheads="1"/>
            </p:cNvSpPr>
            <p:nvPr/>
          </p:nvSpPr>
          <p:spPr bwMode="auto">
            <a:xfrm>
              <a:off x="4448944" y="3537152"/>
              <a:ext cx="2160000" cy="1260000"/>
            </a:xfrm>
            <a:prstGeom prst="rect">
              <a:avLst/>
            </a:prstGeom>
            <a:noFill/>
            <a:ln w="952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lIns="36000" tIns="36000" rIns="36000" bIns="36000"/>
            <a:lstStyle/>
            <a:p>
              <a:pPr marL="342861" indent="-342861"/>
              <a:r>
                <a:rPr lang="en-US" sz="1000" b="1" u="sng" dirty="0" smtClean="0">
                  <a:solidFill>
                    <a:srgbClr val="002060"/>
                  </a:solidFill>
                </a:rPr>
                <a:t>Fixed Rate:</a:t>
              </a:r>
            </a:p>
            <a:p>
              <a:pPr>
                <a:spcBef>
                  <a:spcPts val="300"/>
                </a:spcBef>
              </a:pPr>
              <a:r>
                <a:rPr lang="en-US" sz="1000" dirty="0" smtClean="0">
                  <a:solidFill>
                    <a:srgbClr val="002060"/>
                  </a:solidFill>
                  <a:cs typeface="Times New Roman" pitchFamily="18" charset="0"/>
                </a:rPr>
                <a:t>Investor/</a:t>
              </a:r>
              <a:r>
                <a:rPr lang="en-US" sz="1000" dirty="0" err="1" smtClean="0">
                  <a:solidFill>
                    <a:srgbClr val="002060"/>
                  </a:solidFill>
                  <a:cs typeface="Times New Roman" pitchFamily="18" charset="0"/>
                </a:rPr>
                <a:t>Forfaiter</a:t>
              </a:r>
              <a:r>
                <a:rPr lang="en-US" sz="1000" dirty="0" smtClean="0">
                  <a:solidFill>
                    <a:srgbClr val="002060"/>
                  </a:solidFill>
                  <a:cs typeface="Times New Roman" pitchFamily="18" charset="0"/>
                </a:rPr>
                <a:t> commits to a fixed rate for the entire discounting period;</a:t>
              </a:r>
            </a:p>
            <a:p>
              <a:pPr marL="342861" indent="-342861">
                <a:spcBef>
                  <a:spcPts val="600"/>
                </a:spcBef>
              </a:pPr>
              <a:r>
                <a:rPr lang="en-US" sz="1000" b="1" u="sng" dirty="0" smtClean="0">
                  <a:solidFill>
                    <a:srgbClr val="002060"/>
                  </a:solidFill>
                  <a:cs typeface="Times New Roman" pitchFamily="18" charset="0"/>
                </a:rPr>
                <a:t>Fixed Spread:</a:t>
              </a:r>
            </a:p>
            <a:p>
              <a:r>
                <a:rPr lang="en-US" sz="1000" dirty="0" smtClean="0">
                  <a:solidFill>
                    <a:srgbClr val="002060"/>
                  </a:solidFill>
                  <a:cs typeface="Times New Roman" pitchFamily="18" charset="0"/>
                </a:rPr>
                <a:t>Investor/</a:t>
              </a:r>
              <a:r>
                <a:rPr lang="en-US" sz="1000" dirty="0" err="1" smtClean="0">
                  <a:solidFill>
                    <a:srgbClr val="002060"/>
                  </a:solidFill>
                  <a:cs typeface="Times New Roman" pitchFamily="18" charset="0"/>
                </a:rPr>
                <a:t>Forfaiter</a:t>
              </a:r>
              <a:r>
                <a:rPr lang="en-US" sz="1000" dirty="0" smtClean="0">
                  <a:solidFill>
                    <a:srgbClr val="002060"/>
                  </a:solidFill>
                  <a:cs typeface="Times New Roman" pitchFamily="18" charset="0"/>
                </a:rPr>
                <a:t> commits to a “fixed margin” over a market rate (EURIBOR, LIBOR) during the discounting period</a:t>
              </a:r>
            </a:p>
          </p:txBody>
        </p:sp>
        <p:sp>
          <p:nvSpPr>
            <p:cNvPr id="12" name="Rectangle 5"/>
            <p:cNvSpPr>
              <a:spLocks noChangeArrowheads="1"/>
            </p:cNvSpPr>
            <p:nvPr/>
          </p:nvSpPr>
          <p:spPr bwMode="auto">
            <a:xfrm>
              <a:off x="128464" y="3537152"/>
              <a:ext cx="2160000" cy="1260000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lIns="36000" tIns="36000" rIns="36000" bIns="36000"/>
            <a:lstStyle/>
            <a:p>
              <a:pPr marL="342861" indent="-342861"/>
              <a:r>
                <a:rPr lang="en-US" sz="1000" b="1" u="sng" dirty="0" smtClean="0">
                  <a:solidFill>
                    <a:srgbClr val="002060"/>
                  </a:solidFill>
                  <a:cs typeface="Times New Roman" pitchFamily="18" charset="0"/>
                </a:rPr>
                <a:t>Straight Discount:</a:t>
              </a:r>
            </a:p>
            <a:p>
              <a:pPr>
                <a:spcBef>
                  <a:spcPts val="300"/>
                </a:spcBef>
              </a:pPr>
              <a:r>
                <a:rPr lang="en-US" sz="1000" dirty="0" smtClean="0">
                  <a:solidFill>
                    <a:srgbClr val="002060"/>
                  </a:solidFill>
                  <a:cs typeface="Times New Roman" pitchFamily="18" charset="0"/>
                </a:rPr>
                <a:t>Percentage discounted from the face value given the tenor</a:t>
              </a:r>
            </a:p>
            <a:p>
              <a:pPr marL="342861" indent="-342861">
                <a:spcBef>
                  <a:spcPts val="600"/>
                </a:spcBef>
              </a:pPr>
              <a:r>
                <a:rPr lang="en-US" sz="1000" b="1" u="sng" dirty="0" smtClean="0">
                  <a:solidFill>
                    <a:srgbClr val="002060"/>
                  </a:solidFill>
                  <a:cs typeface="Times New Roman" pitchFamily="18" charset="0"/>
                </a:rPr>
                <a:t>Discount to Yield: </a:t>
              </a:r>
            </a:p>
            <a:p>
              <a:r>
                <a:rPr lang="en-US" sz="1000" dirty="0" smtClean="0">
                  <a:solidFill>
                    <a:srgbClr val="002060"/>
                  </a:solidFill>
                  <a:cs typeface="Times New Roman" pitchFamily="18" charset="0"/>
                </a:rPr>
                <a:t>Percentage applied as a true interest cost, on a per annum basis</a:t>
              </a:r>
              <a:endParaRPr lang="en-US" sz="1000" dirty="0" smtClean="0">
                <a:cs typeface="Times New Roman" pitchFamily="18" charset="0"/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2792888" y="3699913"/>
              <a:ext cx="1152000" cy="93447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  <a:prstDash val="dash"/>
            </a:ln>
          </p:spPr>
          <p:txBody>
            <a:bodyPr wrap="square" lIns="36000" tIns="36000" rIns="36000" bIns="36000" rtlCol="0" anchor="ctr">
              <a:spAutoFit/>
            </a:bodyPr>
            <a:lstStyle/>
            <a:p>
              <a:pPr algn="ctr"/>
              <a:r>
                <a:rPr lang="en-US" sz="1400" b="1" dirty="0" smtClean="0"/>
                <a:t>Typical</a:t>
              </a:r>
            </a:p>
            <a:p>
              <a:pPr algn="ctr"/>
              <a:r>
                <a:rPr lang="en-US" sz="1400" b="1" dirty="0" smtClean="0"/>
                <a:t>Discounting</a:t>
              </a:r>
            </a:p>
            <a:p>
              <a:pPr algn="ctr"/>
              <a:r>
                <a:rPr lang="en-US" sz="1400" b="1" dirty="0" smtClean="0"/>
                <a:t>Quote</a:t>
              </a:r>
            </a:p>
            <a:p>
              <a:pPr algn="ctr"/>
              <a:r>
                <a:rPr lang="en-US" sz="1400" b="1" dirty="0" smtClean="0"/>
                <a:t>Options</a:t>
              </a:r>
              <a:endParaRPr lang="en-US" sz="1400" b="1" dirty="0"/>
            </a:p>
          </p:txBody>
        </p:sp>
        <p:sp>
          <p:nvSpPr>
            <p:cNvPr id="31" name="Striped Right Arrow 30"/>
            <p:cNvSpPr/>
            <p:nvPr/>
          </p:nvSpPr>
          <p:spPr>
            <a:xfrm rot="5400000">
              <a:off x="3152864" y="3176972"/>
              <a:ext cx="432048" cy="504056"/>
            </a:xfrm>
            <a:prstGeom prst="stripedRightArrow">
              <a:avLst>
                <a:gd name="adj1" fmla="val 56657"/>
                <a:gd name="adj2" fmla="val 32525"/>
              </a:avLst>
            </a:prstGeom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Striped Right Arrow 31"/>
            <p:cNvSpPr/>
            <p:nvPr/>
          </p:nvSpPr>
          <p:spPr>
            <a:xfrm>
              <a:off x="4016896" y="3915124"/>
              <a:ext cx="432048" cy="504056"/>
            </a:xfrm>
            <a:prstGeom prst="stripedRightArrow">
              <a:avLst>
                <a:gd name="adj1" fmla="val 56657"/>
                <a:gd name="adj2" fmla="val 32525"/>
              </a:avLst>
            </a:prstGeom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Striped Right Arrow 32"/>
            <p:cNvSpPr/>
            <p:nvPr/>
          </p:nvSpPr>
          <p:spPr>
            <a:xfrm rot="10800000">
              <a:off x="2316260" y="3915124"/>
              <a:ext cx="432048" cy="504056"/>
            </a:xfrm>
            <a:prstGeom prst="stripedRightArrow">
              <a:avLst>
                <a:gd name="adj1" fmla="val 56657"/>
                <a:gd name="adj2" fmla="val 32525"/>
              </a:avLst>
            </a:prstGeom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128464" y="4869160"/>
            <a:ext cx="9649072" cy="1800200"/>
            <a:chOff x="128464" y="4869160"/>
            <a:chExt cx="9649072" cy="1800200"/>
          </a:xfrm>
        </p:grpSpPr>
        <p:sp>
          <p:nvSpPr>
            <p:cNvPr id="29" name="Rectangle 5"/>
            <p:cNvSpPr>
              <a:spLocks noChangeArrowheads="1"/>
            </p:cNvSpPr>
            <p:nvPr/>
          </p:nvSpPr>
          <p:spPr bwMode="auto">
            <a:xfrm>
              <a:off x="128464" y="5301208"/>
              <a:ext cx="4752000" cy="136815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lIns="36000" tIns="36000" rIns="36000" bIns="36000"/>
            <a:lstStyle/>
            <a:p>
              <a:pPr marL="342861" indent="-342861"/>
              <a:r>
                <a:rPr lang="en-US" sz="1200" b="1" u="sng" dirty="0" smtClean="0">
                  <a:solidFill>
                    <a:srgbClr val="002060"/>
                  </a:solidFill>
                </a:rPr>
                <a:t>Straight Discount</a:t>
              </a:r>
            </a:p>
            <a:p>
              <a:pPr marL="342861" indent="-342861"/>
              <a:endParaRPr lang="en-US" sz="1000" dirty="0" smtClean="0">
                <a:solidFill>
                  <a:srgbClr val="002060"/>
                </a:solidFill>
                <a:cs typeface="Times New Roman" pitchFamily="18" charset="0"/>
              </a:endParaRPr>
            </a:p>
            <a:p>
              <a:pPr marL="342861" indent="-342861"/>
              <a:r>
                <a:rPr lang="en-US" sz="1000" dirty="0" smtClean="0">
                  <a:solidFill>
                    <a:srgbClr val="002060"/>
                  </a:solidFill>
                  <a:cs typeface="Times New Roman" pitchFamily="18" charset="0"/>
                </a:rPr>
                <a:t>Net Proceeds   =   Face Value   –   </a:t>
              </a:r>
              <a:r>
                <a:rPr lang="en-US" sz="1000" i="1" u="sng" dirty="0" smtClean="0">
                  <a:solidFill>
                    <a:srgbClr val="002060"/>
                  </a:solidFill>
                  <a:cs typeface="Times New Roman" pitchFamily="18" charset="0"/>
                </a:rPr>
                <a:t>Discount Amount</a:t>
              </a:r>
            </a:p>
            <a:p>
              <a:pPr marL="342861" indent="-342861"/>
              <a:endParaRPr lang="en-US" sz="1000" dirty="0" smtClean="0">
                <a:solidFill>
                  <a:srgbClr val="002060"/>
                </a:solidFill>
                <a:cs typeface="Times New Roman" pitchFamily="18" charset="0"/>
              </a:endParaRPr>
            </a:p>
            <a:p>
              <a:pPr marL="342861" indent="-342861">
                <a:tabLst>
                  <a:tab pos="1343025" algn="l"/>
                </a:tabLst>
              </a:pPr>
              <a:r>
                <a:rPr lang="en-US" sz="1000" dirty="0" smtClean="0">
                  <a:solidFill>
                    <a:srgbClr val="002060"/>
                  </a:solidFill>
                  <a:cs typeface="Times New Roman" pitchFamily="18" charset="0"/>
                </a:rPr>
                <a:t>		Discount Rate * Face Value * No. Days</a:t>
              </a:r>
            </a:p>
            <a:p>
              <a:pPr marL="342861" indent="-342861"/>
              <a:r>
                <a:rPr lang="en-US" sz="1000" i="1" u="sng" dirty="0" smtClean="0">
                  <a:solidFill>
                    <a:srgbClr val="002060"/>
                  </a:solidFill>
                  <a:cs typeface="Times New Roman" pitchFamily="18" charset="0"/>
                </a:rPr>
                <a:t>Discount Amount</a:t>
              </a:r>
              <a:r>
                <a:rPr lang="en-US" sz="1000" i="1" dirty="0" smtClean="0">
                  <a:solidFill>
                    <a:srgbClr val="002060"/>
                  </a:solidFill>
                  <a:cs typeface="Times New Roman" pitchFamily="18" charset="0"/>
                </a:rPr>
                <a:t>    </a:t>
              </a:r>
              <a:r>
                <a:rPr lang="en-US" sz="1000" dirty="0" smtClean="0">
                  <a:solidFill>
                    <a:srgbClr val="002060"/>
                  </a:solidFill>
                  <a:cs typeface="Times New Roman" pitchFamily="18" charset="0"/>
                </a:rPr>
                <a:t>=     --------------------------------------------------------</a:t>
              </a:r>
            </a:p>
            <a:p>
              <a:pPr marL="342861" indent="-342861">
                <a:tabLst>
                  <a:tab pos="2155825" algn="l"/>
                </a:tabLst>
              </a:pPr>
              <a:r>
                <a:rPr lang="en-US" sz="1000" dirty="0" smtClean="0">
                  <a:solidFill>
                    <a:srgbClr val="002060"/>
                  </a:solidFill>
                  <a:cs typeface="Times New Roman" pitchFamily="18" charset="0"/>
                </a:rPr>
                <a:t>		360 * 100</a:t>
              </a:r>
              <a:endParaRPr lang="en-US" sz="1000" dirty="0">
                <a:solidFill>
                  <a:srgbClr val="002060"/>
                </a:solidFill>
                <a:cs typeface="Times New Roman" pitchFamily="18" charset="0"/>
              </a:endParaRPr>
            </a:p>
          </p:txBody>
        </p:sp>
        <p:sp>
          <p:nvSpPr>
            <p:cNvPr id="30" name="Rectangle 5"/>
            <p:cNvSpPr>
              <a:spLocks noChangeArrowheads="1"/>
            </p:cNvSpPr>
            <p:nvPr/>
          </p:nvSpPr>
          <p:spPr bwMode="auto">
            <a:xfrm>
              <a:off x="5025536" y="5301208"/>
              <a:ext cx="4752000" cy="1368152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">
              <a:solidFill>
                <a:schemeClr val="bg1">
                  <a:lumMod val="85000"/>
                </a:schemeClr>
              </a:solidFill>
              <a:miter lim="800000"/>
              <a:headEnd/>
              <a:tailEnd/>
            </a:ln>
          </p:spPr>
          <p:txBody>
            <a:bodyPr lIns="36000" tIns="36000" rIns="36000" bIns="36000"/>
            <a:lstStyle/>
            <a:p>
              <a:pPr marL="342861" indent="-342861"/>
              <a:r>
                <a:rPr lang="en-US" sz="1200" b="1" u="sng" dirty="0" smtClean="0">
                  <a:solidFill>
                    <a:srgbClr val="002060"/>
                  </a:solidFill>
                </a:rPr>
                <a:t>Discount to Yield</a:t>
              </a:r>
            </a:p>
            <a:p>
              <a:pPr marL="342861" indent="-342861">
                <a:tabLst>
                  <a:tab pos="1073150" algn="l"/>
                </a:tabLst>
              </a:pPr>
              <a:r>
                <a:rPr lang="en-US" sz="1000" dirty="0" smtClean="0">
                  <a:solidFill>
                    <a:srgbClr val="002060"/>
                  </a:solidFill>
                  <a:cs typeface="Times New Roman" pitchFamily="18" charset="0"/>
                </a:rPr>
                <a:t>		Face Value</a:t>
              </a:r>
            </a:p>
            <a:p>
              <a:pPr marL="342861" indent="-342861"/>
              <a:r>
                <a:rPr lang="en-US" sz="1000" dirty="0" smtClean="0">
                  <a:solidFill>
                    <a:srgbClr val="002060"/>
                  </a:solidFill>
                  <a:cs typeface="Times New Roman" pitchFamily="18" charset="0"/>
                </a:rPr>
                <a:t>Net Proceeds    =     -----------------</a:t>
              </a:r>
            </a:p>
            <a:p>
              <a:pPr marL="342861" indent="-342861">
                <a:tabLst>
                  <a:tab pos="1073150" algn="l"/>
                </a:tabLst>
              </a:pPr>
              <a:r>
                <a:rPr lang="en-US" sz="1000" dirty="0" smtClean="0">
                  <a:solidFill>
                    <a:srgbClr val="002060"/>
                  </a:solidFill>
                  <a:cs typeface="Times New Roman" pitchFamily="18" charset="0"/>
                </a:rPr>
                <a:t>		  </a:t>
              </a:r>
              <a:r>
                <a:rPr lang="en-US" sz="1000" i="1" u="sng" dirty="0" smtClean="0">
                  <a:solidFill>
                    <a:srgbClr val="002060"/>
                  </a:solidFill>
                  <a:cs typeface="Times New Roman" pitchFamily="18" charset="0"/>
                </a:rPr>
                <a:t>Divisor</a:t>
              </a:r>
              <a:endParaRPr lang="en-US" sz="1000" b="1" i="1" dirty="0" smtClean="0">
                <a:solidFill>
                  <a:srgbClr val="002060"/>
                </a:solidFill>
                <a:cs typeface="Times New Roman" pitchFamily="18" charset="0"/>
              </a:endParaRPr>
            </a:p>
            <a:p>
              <a:pPr marL="342861" indent="-342861">
                <a:tabLst>
                  <a:tab pos="1073150" algn="l"/>
                </a:tabLst>
              </a:pPr>
              <a:endParaRPr lang="en-US" sz="1000" b="1" i="1" u="sng" dirty="0" smtClean="0">
                <a:solidFill>
                  <a:srgbClr val="002060"/>
                </a:solidFill>
                <a:cs typeface="Times New Roman" pitchFamily="18" charset="0"/>
              </a:endParaRPr>
            </a:p>
            <a:p>
              <a:pPr marL="342861" indent="-342861">
                <a:tabLst>
                  <a:tab pos="1073150" algn="l"/>
                </a:tabLst>
              </a:pPr>
              <a:r>
                <a:rPr lang="en-US" sz="1000" dirty="0" smtClean="0">
                  <a:solidFill>
                    <a:srgbClr val="002060"/>
                  </a:solidFill>
                  <a:cs typeface="Times New Roman" pitchFamily="18" charset="0"/>
                </a:rPr>
                <a:t>                            Discount Rate * No. Days</a:t>
              </a:r>
            </a:p>
            <a:p>
              <a:pPr marL="342861" indent="-342861">
                <a:tabLst>
                  <a:tab pos="1073150" algn="l"/>
                </a:tabLst>
              </a:pPr>
              <a:r>
                <a:rPr lang="en-US" sz="1000" i="1" u="sng" dirty="0" smtClean="0">
                  <a:solidFill>
                    <a:srgbClr val="002060"/>
                  </a:solidFill>
                  <a:cs typeface="Times New Roman" pitchFamily="18" charset="0"/>
                </a:rPr>
                <a:t>Divisor</a:t>
              </a:r>
              <a:r>
                <a:rPr lang="en-US" sz="1000" i="1" dirty="0" smtClean="0">
                  <a:solidFill>
                    <a:srgbClr val="002060"/>
                  </a:solidFill>
                  <a:cs typeface="Times New Roman" pitchFamily="18" charset="0"/>
                </a:rPr>
                <a:t> </a:t>
              </a:r>
              <a:r>
                <a:rPr lang="en-US" sz="1000" dirty="0" smtClean="0">
                  <a:solidFill>
                    <a:srgbClr val="002060"/>
                  </a:solidFill>
                  <a:cs typeface="Times New Roman" pitchFamily="18" charset="0"/>
                </a:rPr>
                <a:t>   =        ---------------------------------------      +   1</a:t>
              </a:r>
            </a:p>
            <a:p>
              <a:pPr marL="342861" indent="-342861">
                <a:tabLst>
                  <a:tab pos="1073150" algn="l"/>
                </a:tabLst>
              </a:pPr>
              <a:r>
                <a:rPr lang="en-US" sz="1000" dirty="0" smtClean="0">
                  <a:solidFill>
                    <a:srgbClr val="002060"/>
                  </a:solidFill>
                  <a:cs typeface="Times New Roman" pitchFamily="18" charset="0"/>
                </a:rPr>
                <a:t>                                           360 * 100</a:t>
              </a:r>
              <a:endParaRPr lang="en-US" sz="1000" dirty="0">
                <a:solidFill>
                  <a:srgbClr val="002060"/>
                </a:solidFill>
                <a:cs typeface="Times New Roman" pitchFamily="18" charset="0"/>
              </a:endParaRPr>
            </a:p>
          </p:txBody>
        </p:sp>
        <p:sp>
          <p:nvSpPr>
            <p:cNvPr id="34" name="Striped Right Arrow 33"/>
            <p:cNvSpPr/>
            <p:nvPr/>
          </p:nvSpPr>
          <p:spPr>
            <a:xfrm rot="5400000">
              <a:off x="4752000" y="4833156"/>
              <a:ext cx="432048" cy="504056"/>
            </a:xfrm>
            <a:prstGeom prst="stripedRightArrow">
              <a:avLst>
                <a:gd name="adj1" fmla="val 56657"/>
                <a:gd name="adj2" fmla="val 32525"/>
              </a:avLst>
            </a:prstGeom>
            <a:solidFill>
              <a:schemeClr val="bg1">
                <a:lumMod val="75000"/>
              </a:schemeClr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621" name="Rectangle 5"/>
          <p:cNvSpPr>
            <a:spLocks noChangeArrowheads="1"/>
          </p:cNvSpPr>
          <p:nvPr/>
        </p:nvSpPr>
        <p:spPr bwMode="auto">
          <a:xfrm>
            <a:off x="920553" y="980728"/>
            <a:ext cx="5184576" cy="2880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45715" rIns="91429" bIns="45715"/>
          <a:lstStyle/>
          <a:p>
            <a:pPr marL="342861" indent="-342861" algn="just">
              <a:lnSpc>
                <a:spcPct val="90000"/>
              </a:lnSpc>
              <a:spcBef>
                <a:spcPct val="20000"/>
              </a:spcBef>
              <a:spcAft>
                <a:spcPct val="40000"/>
              </a:spcAft>
              <a:buSzPct val="65000"/>
              <a:buFont typeface="Wingdings" pitchFamily="2" charset="2"/>
              <a:buChar char="q"/>
              <a:defRPr/>
            </a:pPr>
            <a:r>
              <a:rPr lang="en-US" dirty="0" smtClean="0">
                <a:solidFill>
                  <a:srgbClr val="002060"/>
                </a:solidFill>
              </a:rPr>
              <a:t>Country </a:t>
            </a:r>
            <a:r>
              <a:rPr lang="en-US" dirty="0">
                <a:solidFill>
                  <a:srgbClr val="002060"/>
                </a:solidFill>
              </a:rPr>
              <a:t>of </a:t>
            </a:r>
            <a:r>
              <a:rPr lang="en-US" dirty="0" smtClean="0">
                <a:solidFill>
                  <a:srgbClr val="002060"/>
                </a:solidFill>
              </a:rPr>
              <a:t>Obligor</a:t>
            </a:r>
            <a:endParaRPr lang="en-US" dirty="0">
              <a:solidFill>
                <a:srgbClr val="002060"/>
              </a:solidFill>
            </a:endParaRPr>
          </a:p>
          <a:p>
            <a:pPr marL="342861" indent="-342861" algn="just">
              <a:lnSpc>
                <a:spcPct val="90000"/>
              </a:lnSpc>
              <a:spcBef>
                <a:spcPct val="20000"/>
              </a:spcBef>
              <a:spcAft>
                <a:spcPct val="40000"/>
              </a:spcAft>
              <a:buSzPct val="65000"/>
              <a:buFont typeface="Wingdings" pitchFamily="2" charset="2"/>
              <a:buChar char="q"/>
              <a:defRPr/>
            </a:pPr>
            <a:r>
              <a:rPr lang="en-US" dirty="0" smtClean="0">
                <a:solidFill>
                  <a:srgbClr val="002060"/>
                </a:solidFill>
              </a:rPr>
              <a:t>Obligor’s </a:t>
            </a:r>
            <a:r>
              <a:rPr lang="en-US" dirty="0">
                <a:solidFill>
                  <a:srgbClr val="002060"/>
                </a:solidFill>
              </a:rPr>
              <a:t>name</a:t>
            </a:r>
          </a:p>
          <a:p>
            <a:pPr marL="342861" indent="-342861" algn="just">
              <a:lnSpc>
                <a:spcPct val="90000"/>
              </a:lnSpc>
              <a:spcBef>
                <a:spcPct val="20000"/>
              </a:spcBef>
              <a:spcAft>
                <a:spcPct val="40000"/>
              </a:spcAft>
              <a:buSzPct val="65000"/>
              <a:buFont typeface="Wingdings" pitchFamily="2" charset="2"/>
              <a:buChar char="q"/>
              <a:defRPr/>
            </a:pPr>
            <a:r>
              <a:rPr lang="en-US" dirty="0">
                <a:solidFill>
                  <a:srgbClr val="002060"/>
                </a:solidFill>
              </a:rPr>
              <a:t>Type of goods</a:t>
            </a:r>
          </a:p>
          <a:p>
            <a:pPr marL="342861" indent="-342861" algn="just">
              <a:lnSpc>
                <a:spcPct val="90000"/>
              </a:lnSpc>
              <a:spcBef>
                <a:spcPct val="20000"/>
              </a:spcBef>
              <a:spcAft>
                <a:spcPct val="40000"/>
              </a:spcAft>
              <a:buSzPct val="65000"/>
              <a:buFont typeface="Wingdings" pitchFamily="2" charset="2"/>
              <a:buChar char="q"/>
              <a:defRPr/>
            </a:pPr>
            <a:r>
              <a:rPr lang="en-US" dirty="0">
                <a:solidFill>
                  <a:srgbClr val="002060"/>
                </a:solidFill>
              </a:rPr>
              <a:t>Value of goods</a:t>
            </a:r>
          </a:p>
          <a:p>
            <a:pPr marL="342861" indent="-342861" algn="just">
              <a:lnSpc>
                <a:spcPct val="90000"/>
              </a:lnSpc>
              <a:spcBef>
                <a:spcPct val="20000"/>
              </a:spcBef>
              <a:spcAft>
                <a:spcPct val="40000"/>
              </a:spcAft>
              <a:buSzPct val="65000"/>
              <a:buFont typeface="Wingdings" pitchFamily="2" charset="2"/>
              <a:buChar char="q"/>
              <a:defRPr/>
            </a:pPr>
            <a:r>
              <a:rPr lang="en-US" dirty="0">
                <a:solidFill>
                  <a:srgbClr val="002060"/>
                </a:solidFill>
              </a:rPr>
              <a:t>Expected shipment date</a:t>
            </a:r>
          </a:p>
          <a:p>
            <a:pPr marL="342861" indent="-342861" algn="just">
              <a:lnSpc>
                <a:spcPct val="90000"/>
              </a:lnSpc>
              <a:spcBef>
                <a:spcPct val="20000"/>
              </a:spcBef>
              <a:spcAft>
                <a:spcPct val="40000"/>
              </a:spcAft>
              <a:buSzPct val="65000"/>
              <a:buFont typeface="Wingdings" pitchFamily="2" charset="2"/>
              <a:buChar char="q"/>
              <a:defRPr/>
            </a:pPr>
            <a:r>
              <a:rPr lang="en-US" dirty="0">
                <a:solidFill>
                  <a:srgbClr val="002060"/>
                </a:solidFill>
              </a:rPr>
              <a:t>Repayment terms sought by </a:t>
            </a:r>
            <a:r>
              <a:rPr lang="en-US" dirty="0" smtClean="0">
                <a:solidFill>
                  <a:srgbClr val="002060"/>
                </a:solidFill>
              </a:rPr>
              <a:t>the Obligor</a:t>
            </a:r>
            <a:endParaRPr lang="en-US" dirty="0">
              <a:solidFill>
                <a:srgbClr val="002060"/>
              </a:solidFill>
            </a:endParaRPr>
          </a:p>
          <a:p>
            <a:pPr marL="342861" indent="-342861" algn="just">
              <a:lnSpc>
                <a:spcPct val="90000"/>
              </a:lnSpc>
              <a:spcBef>
                <a:spcPct val="20000"/>
              </a:spcBef>
              <a:spcAft>
                <a:spcPct val="40000"/>
              </a:spcAft>
              <a:buSzPct val="65000"/>
              <a:buFont typeface="Wingdings" pitchFamily="2" charset="2"/>
              <a:buChar char="q"/>
              <a:defRPr/>
            </a:pPr>
            <a:r>
              <a:rPr lang="en-US" dirty="0" smtClean="0">
                <a:solidFill>
                  <a:srgbClr val="002060"/>
                </a:solidFill>
              </a:rPr>
              <a:t>Name of the Guarantor for the Obligor (if existing)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faiting : Information required</a:t>
            </a:r>
            <a:endParaRPr lang="en-US" dirty="0"/>
          </a:p>
        </p:txBody>
      </p:sp>
      <p:sp>
        <p:nvSpPr>
          <p:cNvPr id="15" name="Rectangle 9"/>
          <p:cNvSpPr>
            <a:spLocks noChangeArrowheads="1"/>
          </p:cNvSpPr>
          <p:nvPr/>
        </p:nvSpPr>
        <p:spPr bwMode="auto">
          <a:xfrm>
            <a:off x="2000341" y="4306888"/>
            <a:ext cx="1960563" cy="519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45715" rIns="91429" bIns="45715"/>
          <a:lstStyle/>
          <a:p>
            <a:endParaRPr lang="en-US"/>
          </a:p>
        </p:txBody>
      </p:sp>
      <p:sp>
        <p:nvSpPr>
          <p:cNvPr id="16" name="Rectangle 10"/>
          <p:cNvSpPr>
            <a:spLocks noChangeArrowheads="1"/>
          </p:cNvSpPr>
          <p:nvPr/>
        </p:nvSpPr>
        <p:spPr bwMode="auto">
          <a:xfrm>
            <a:off x="2000341" y="4306888"/>
            <a:ext cx="1960563" cy="519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29" tIns="45715" rIns="91429" bIns="45715"/>
          <a:lstStyle/>
          <a:p>
            <a:endParaRPr lang="en-US"/>
          </a:p>
        </p:txBody>
      </p:sp>
      <p:grpSp>
        <p:nvGrpSpPr>
          <p:cNvPr id="30" name="Group 29"/>
          <p:cNvGrpSpPr/>
          <p:nvPr/>
        </p:nvGrpSpPr>
        <p:grpSpPr>
          <a:xfrm>
            <a:off x="56456" y="3152232"/>
            <a:ext cx="9793088" cy="3429515"/>
            <a:chOff x="56456" y="3152232"/>
            <a:chExt cx="9793088" cy="3429515"/>
          </a:xfrm>
        </p:grpSpPr>
        <p:pic>
          <p:nvPicPr>
            <p:cNvPr id="17" name="Picture 13" descr="b3"/>
            <p:cNvPicPr>
              <a:picLocks noChangeAspect="1" noChangeArrowheads="1"/>
            </p:cNvPicPr>
            <p:nvPr/>
          </p:nvPicPr>
          <p:blipFill>
            <a:blip r:embed="rId2" cstate="email"/>
            <a:srcRect/>
            <a:stretch>
              <a:fillRect/>
            </a:stretch>
          </p:blipFill>
          <p:spPr bwMode="auto">
            <a:xfrm>
              <a:off x="56456" y="4221088"/>
              <a:ext cx="1702594" cy="23574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" name="Picture 14" descr="Cathedral-Merida-Venezuela"/>
            <p:cNvPicPr>
              <a:picLocks noChangeAspect="1" noChangeArrowheads="1"/>
            </p:cNvPicPr>
            <p:nvPr/>
          </p:nvPicPr>
          <p:blipFill>
            <a:blip r:embed="rId3" cstate="email"/>
            <a:srcRect/>
            <a:stretch>
              <a:fillRect/>
            </a:stretch>
          </p:blipFill>
          <p:spPr bwMode="auto">
            <a:xfrm>
              <a:off x="1784648" y="4221088"/>
              <a:ext cx="1800622" cy="23574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9" name="Text Box 15"/>
            <p:cNvSpPr txBox="1">
              <a:spLocks noChangeArrowheads="1"/>
            </p:cNvSpPr>
            <p:nvPr/>
          </p:nvSpPr>
          <p:spPr bwMode="auto">
            <a:xfrm>
              <a:off x="72603" y="6172126"/>
              <a:ext cx="1547813" cy="400099"/>
            </a:xfrm>
            <a:prstGeom prst="rect">
              <a:avLst/>
            </a:prstGeom>
            <a:solidFill>
              <a:schemeClr val="tx1">
                <a:alpha val="50195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lIns="91429" tIns="45715" rIns="91429" bIns="45715">
              <a:sp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  <a:latin typeface="Myriad Pro" pitchFamily="34" charset="0"/>
                </a:rPr>
                <a:t>Mali</a:t>
              </a:r>
              <a:endParaRPr lang="en-US" sz="2000" b="1" dirty="0">
                <a:solidFill>
                  <a:schemeClr val="bg1"/>
                </a:solidFill>
                <a:latin typeface="Myriad Pro" pitchFamily="34" charset="0"/>
              </a:endParaRPr>
            </a:p>
          </p:txBody>
        </p:sp>
        <p:sp>
          <p:nvSpPr>
            <p:cNvPr id="20" name="Text Box 16"/>
            <p:cNvSpPr txBox="1">
              <a:spLocks noChangeArrowheads="1"/>
            </p:cNvSpPr>
            <p:nvPr/>
          </p:nvSpPr>
          <p:spPr bwMode="auto">
            <a:xfrm>
              <a:off x="1800798" y="6181648"/>
              <a:ext cx="1625203" cy="400099"/>
            </a:xfrm>
            <a:prstGeom prst="rect">
              <a:avLst/>
            </a:prstGeom>
            <a:solidFill>
              <a:schemeClr val="tx1">
                <a:alpha val="50195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lIns="91429" tIns="45715" rIns="91429" bIns="45715">
              <a:sp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  <a:latin typeface="Myriad Pro" pitchFamily="34" charset="0"/>
                </a:rPr>
                <a:t>Venezuela</a:t>
              </a:r>
              <a:endParaRPr lang="en-US" sz="2000" b="1" dirty="0">
                <a:solidFill>
                  <a:schemeClr val="bg1"/>
                </a:solidFill>
                <a:latin typeface="Myriad Pro" pitchFamily="34" charset="0"/>
              </a:endParaRPr>
            </a:p>
          </p:txBody>
        </p:sp>
        <p:pic>
          <p:nvPicPr>
            <p:cNvPr id="21" name="Picture 17" descr="Belarus. Photo #9"/>
            <p:cNvPicPr>
              <a:picLocks noChangeAspect="1" noChangeArrowheads="1"/>
            </p:cNvPicPr>
            <p:nvPr/>
          </p:nvPicPr>
          <p:blipFill>
            <a:blip r:embed="rId4" cstate="email"/>
            <a:srcRect/>
            <a:stretch>
              <a:fillRect/>
            </a:stretch>
          </p:blipFill>
          <p:spPr bwMode="auto">
            <a:xfrm>
              <a:off x="3656856" y="4221088"/>
              <a:ext cx="1635522" cy="23574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2" name="Text Box 21"/>
            <p:cNvSpPr txBox="1">
              <a:spLocks noChangeArrowheads="1"/>
            </p:cNvSpPr>
            <p:nvPr/>
          </p:nvSpPr>
          <p:spPr bwMode="auto">
            <a:xfrm>
              <a:off x="3666125" y="6181648"/>
              <a:ext cx="1470421" cy="400099"/>
            </a:xfrm>
            <a:prstGeom prst="rect">
              <a:avLst/>
            </a:prstGeom>
            <a:solidFill>
              <a:schemeClr val="tx1">
                <a:alpha val="50195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lIns="91429" tIns="45715" rIns="91429" bIns="45715">
              <a:sp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  <a:latin typeface="Myriad Pro" pitchFamily="34" charset="0"/>
                </a:rPr>
                <a:t>Belarus</a:t>
              </a:r>
              <a:endParaRPr lang="en-US" sz="2000" b="1" dirty="0">
                <a:solidFill>
                  <a:schemeClr val="bg1"/>
                </a:solidFill>
                <a:latin typeface="Myriad Pro" pitchFamily="34" charset="0"/>
              </a:endParaRPr>
            </a:p>
          </p:txBody>
        </p:sp>
        <p:pic>
          <p:nvPicPr>
            <p:cNvPr id="23" name="Picture 22" descr="Entrance to Elephant Cave of Goa Gajah in Bali."/>
            <p:cNvPicPr>
              <a:picLocks noChangeAspect="1" noChangeArrowheads="1"/>
            </p:cNvPicPr>
            <p:nvPr/>
          </p:nvPicPr>
          <p:blipFill>
            <a:blip r:embed="rId5" cstate="email"/>
            <a:srcRect/>
            <a:stretch>
              <a:fillRect/>
            </a:stretch>
          </p:blipFill>
          <p:spPr bwMode="auto">
            <a:xfrm>
              <a:off x="7077544" y="4869160"/>
              <a:ext cx="2772000" cy="17039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4" name="Text Box 23"/>
            <p:cNvSpPr txBox="1">
              <a:spLocks noChangeArrowheads="1"/>
            </p:cNvSpPr>
            <p:nvPr/>
          </p:nvSpPr>
          <p:spPr bwMode="auto">
            <a:xfrm>
              <a:off x="8121352" y="6125245"/>
              <a:ext cx="1676796" cy="400099"/>
            </a:xfrm>
            <a:prstGeom prst="rect">
              <a:avLst/>
            </a:prstGeom>
            <a:solidFill>
              <a:schemeClr val="tx1">
                <a:alpha val="50195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lIns="91429" tIns="45715" rIns="91429" bIns="45715">
              <a:sp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  <a:latin typeface="Myriad Pro" pitchFamily="34" charset="0"/>
                </a:rPr>
                <a:t>Indonesia</a:t>
              </a:r>
              <a:endParaRPr lang="en-US" sz="2000" b="1" dirty="0">
                <a:solidFill>
                  <a:schemeClr val="bg1"/>
                </a:solidFill>
                <a:latin typeface="Myriad Pro" pitchFamily="34" charset="0"/>
              </a:endParaRPr>
            </a:p>
          </p:txBody>
        </p:sp>
        <p:pic>
          <p:nvPicPr>
            <p:cNvPr id="25" name="Picture 24" descr="launch"/>
            <p:cNvPicPr>
              <a:picLocks noChangeAspect="1" noChangeArrowheads="1"/>
            </p:cNvPicPr>
            <p:nvPr/>
          </p:nvPicPr>
          <p:blipFill>
            <a:blip r:embed="rId6" cstate="email"/>
            <a:srcRect/>
            <a:stretch>
              <a:fillRect/>
            </a:stretch>
          </p:blipFill>
          <p:spPr bwMode="auto">
            <a:xfrm>
              <a:off x="7077544" y="3152232"/>
              <a:ext cx="2772000" cy="16449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6" name="Text Box 25"/>
            <p:cNvSpPr txBox="1">
              <a:spLocks noChangeArrowheads="1"/>
            </p:cNvSpPr>
            <p:nvPr/>
          </p:nvSpPr>
          <p:spPr bwMode="auto">
            <a:xfrm>
              <a:off x="8625408" y="4365104"/>
              <a:ext cx="1167285" cy="400099"/>
            </a:xfrm>
            <a:prstGeom prst="rect">
              <a:avLst/>
            </a:prstGeom>
            <a:solidFill>
              <a:schemeClr val="tx1">
                <a:alpha val="50195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wrap="none" lIns="91429" tIns="45715" rIns="91429" bIns="45715">
              <a:sp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  <a:latin typeface="Myriad Pro" pitchFamily="34" charset="0"/>
                </a:rPr>
                <a:t>Bangladesh</a:t>
              </a:r>
              <a:endParaRPr lang="en-US" sz="2000" b="1" dirty="0">
                <a:solidFill>
                  <a:schemeClr val="bg1"/>
                </a:solidFill>
                <a:latin typeface="Myriad Pro" pitchFamily="34" charset="0"/>
              </a:endParaRPr>
            </a:p>
          </p:txBody>
        </p:sp>
        <p:pic>
          <p:nvPicPr>
            <p:cNvPr id="27" name="Picture 27" descr="Copan"/>
            <p:cNvPicPr>
              <a:picLocks noChangeAspect="1" noChangeArrowheads="1"/>
            </p:cNvPicPr>
            <p:nvPr/>
          </p:nvPicPr>
          <p:blipFill>
            <a:blip r:embed="rId7" cstate="email"/>
            <a:srcRect/>
            <a:stretch>
              <a:fillRect/>
            </a:stretch>
          </p:blipFill>
          <p:spPr bwMode="auto">
            <a:xfrm>
              <a:off x="5313040" y="4221088"/>
              <a:ext cx="1685396" cy="23574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8" name="Text Box 28"/>
            <p:cNvSpPr txBox="1">
              <a:spLocks noChangeArrowheads="1"/>
            </p:cNvSpPr>
            <p:nvPr/>
          </p:nvSpPr>
          <p:spPr bwMode="auto">
            <a:xfrm>
              <a:off x="5397311" y="6181648"/>
              <a:ext cx="1547813" cy="400099"/>
            </a:xfrm>
            <a:prstGeom prst="rect">
              <a:avLst/>
            </a:prstGeom>
            <a:solidFill>
              <a:schemeClr val="tx1">
                <a:alpha val="50195"/>
              </a:schemeClr>
            </a:solidFill>
            <a:ln w="9525">
              <a:noFill/>
              <a:miter lim="800000"/>
              <a:headEnd/>
              <a:tailEnd/>
            </a:ln>
          </p:spPr>
          <p:txBody>
            <a:bodyPr lIns="91429" tIns="45715" rIns="91429" bIns="45715">
              <a:spAutoFit/>
            </a:bodyPr>
            <a:lstStyle/>
            <a:p>
              <a:pPr algn="ctr"/>
              <a:r>
                <a:rPr lang="en-GB" sz="2000" b="1" dirty="0">
                  <a:solidFill>
                    <a:schemeClr val="bg1"/>
                  </a:solidFill>
                  <a:latin typeface="Myriad Pro" pitchFamily="34" charset="0"/>
                </a:rPr>
                <a:t>Honduras </a:t>
              </a:r>
              <a:endParaRPr lang="en-US" sz="2000" b="1" dirty="0">
                <a:solidFill>
                  <a:schemeClr val="bg1"/>
                </a:solidFill>
                <a:latin typeface="Myriad Pro" pitchFamily="34" charset="0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3wX.nWy0.skqm2YN1R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KKd83uqkSel8k7vmNL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KKd83uqkSel8k7vmNL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KKd83uqkSel8k7vmNL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KKd83uqkSel8k7vmNLe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67</TotalTime>
  <Words>1197</Words>
  <Application>Microsoft Office PowerPoint</Application>
  <PresentationFormat>A4 Paper (210x297 mm)</PresentationFormat>
  <Paragraphs>338</Paragraphs>
  <Slides>23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25" baseType="lpstr">
      <vt:lpstr>Office Theme</vt:lpstr>
      <vt:lpstr>think-cell Slide</vt:lpstr>
      <vt:lpstr>Slide 1</vt:lpstr>
      <vt:lpstr>What will we discuss together</vt:lpstr>
      <vt:lpstr>Forfaiting in FIMBank</vt:lpstr>
      <vt:lpstr>Slide 4</vt:lpstr>
      <vt:lpstr>Forfaiting : The Basics</vt:lpstr>
      <vt:lpstr>Bill of Exchange (samples)</vt:lpstr>
      <vt:lpstr>Promissory Note (samples)</vt:lpstr>
      <vt:lpstr>Forfaiting : The Price (brief overview)</vt:lpstr>
      <vt:lpstr>Forfaiting : Information required</vt:lpstr>
      <vt:lpstr>Forfaiting : Typical Transaction Flow</vt:lpstr>
      <vt:lpstr>Forfaiting : Typical Goods</vt:lpstr>
      <vt:lpstr>Forfaiting : Benefits</vt:lpstr>
      <vt:lpstr>Forfaiting vs. Factoring</vt:lpstr>
      <vt:lpstr>Slide 14</vt:lpstr>
      <vt:lpstr>Forfaiting : Key Ingredients of TRADING</vt:lpstr>
      <vt:lpstr>TRADING : looking into details</vt:lpstr>
      <vt:lpstr>Slide 17</vt:lpstr>
      <vt:lpstr>Slide 18</vt:lpstr>
      <vt:lpstr>Case Study (M/LT Financing) </vt:lpstr>
      <vt:lpstr>Slide 20</vt:lpstr>
      <vt:lpstr>Forfaiting : The Future</vt:lpstr>
      <vt:lpstr>Slide 22</vt:lpstr>
      <vt:lpstr>Slide 23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margrith</dc:creator>
  <cp:lastModifiedBy>margrith</cp:lastModifiedBy>
  <cp:revision>159</cp:revision>
  <dcterms:created xsi:type="dcterms:W3CDTF">2014-01-26T10:39:45Z</dcterms:created>
  <dcterms:modified xsi:type="dcterms:W3CDTF">2014-05-16T09:46:06Z</dcterms:modified>
</cp:coreProperties>
</file>